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6" r:id="rId5"/>
    <p:sldMasterId id="2147484251" r:id="rId6"/>
  </p:sldMasterIdLst>
  <p:notesMasterIdLst>
    <p:notesMasterId r:id="rId57"/>
  </p:notesMasterIdLst>
  <p:handoutMasterIdLst>
    <p:handoutMasterId r:id="rId58"/>
  </p:handoutMasterIdLst>
  <p:sldIdLst>
    <p:sldId id="1218" r:id="rId7"/>
    <p:sldId id="1224" r:id="rId8"/>
    <p:sldId id="1209" r:id="rId9"/>
    <p:sldId id="1216" r:id="rId10"/>
    <p:sldId id="1217" r:id="rId11"/>
    <p:sldId id="1204" r:id="rId12"/>
    <p:sldId id="1206" r:id="rId13"/>
    <p:sldId id="1207" r:id="rId14"/>
    <p:sldId id="1166" r:id="rId15"/>
    <p:sldId id="1169" r:id="rId16"/>
    <p:sldId id="1170" r:id="rId17"/>
    <p:sldId id="1171" r:id="rId18"/>
    <p:sldId id="1172" r:id="rId19"/>
    <p:sldId id="1173" r:id="rId20"/>
    <p:sldId id="1174" r:id="rId21"/>
    <p:sldId id="1175" r:id="rId22"/>
    <p:sldId id="1176" r:id="rId23"/>
    <p:sldId id="1177" r:id="rId24"/>
    <p:sldId id="1178" r:id="rId25"/>
    <p:sldId id="1179" r:id="rId26"/>
    <p:sldId id="1180" r:id="rId27"/>
    <p:sldId id="1181" r:id="rId28"/>
    <p:sldId id="1215" r:id="rId29"/>
    <p:sldId id="1183" r:id="rId30"/>
    <p:sldId id="1185" r:id="rId31"/>
    <p:sldId id="1184" r:id="rId32"/>
    <p:sldId id="1186" r:id="rId33"/>
    <p:sldId id="1187" r:id="rId34"/>
    <p:sldId id="1188" r:id="rId35"/>
    <p:sldId id="1212" r:id="rId36"/>
    <p:sldId id="1190" r:id="rId37"/>
    <p:sldId id="1191" r:id="rId38"/>
    <p:sldId id="1203" r:id="rId39"/>
    <p:sldId id="1192" r:id="rId40"/>
    <p:sldId id="1194" r:id="rId41"/>
    <p:sldId id="1220" r:id="rId42"/>
    <p:sldId id="1223" r:id="rId43"/>
    <p:sldId id="1221" r:id="rId44"/>
    <p:sldId id="1222" r:id="rId45"/>
    <p:sldId id="1229" r:id="rId46"/>
    <p:sldId id="1225" r:id="rId47"/>
    <p:sldId id="1230" r:id="rId48"/>
    <p:sldId id="1226" r:id="rId49"/>
    <p:sldId id="1227" r:id="rId50"/>
    <p:sldId id="1228" r:id="rId51"/>
    <p:sldId id="1197" r:id="rId52"/>
    <p:sldId id="1198" r:id="rId53"/>
    <p:sldId id="1199" r:id="rId54"/>
    <p:sldId id="1214" r:id="rId55"/>
    <p:sldId id="1201" r:id="rId5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re Content Samples - Green People-centric IT" id="{68C173F0-1EB1-41FE-A754-034DE168565C}">
          <p14:sldIdLst>
            <p14:sldId id="1218"/>
            <p14:sldId id="1224"/>
            <p14:sldId id="1209"/>
            <p14:sldId id="1216"/>
            <p14:sldId id="1217"/>
            <p14:sldId id="1204"/>
            <p14:sldId id="1206"/>
            <p14:sldId id="1207"/>
            <p14:sldId id="1166"/>
            <p14:sldId id="1169"/>
            <p14:sldId id="1170"/>
            <p14:sldId id="1171"/>
            <p14:sldId id="1172"/>
            <p14:sldId id="1173"/>
            <p14:sldId id="1174"/>
            <p14:sldId id="1175"/>
            <p14:sldId id="1176"/>
            <p14:sldId id="1177"/>
            <p14:sldId id="1178"/>
            <p14:sldId id="1179"/>
            <p14:sldId id="1180"/>
            <p14:sldId id="1181"/>
            <p14:sldId id="1215"/>
            <p14:sldId id="1183"/>
            <p14:sldId id="1185"/>
            <p14:sldId id="1184"/>
            <p14:sldId id="1186"/>
            <p14:sldId id="1187"/>
            <p14:sldId id="1188"/>
            <p14:sldId id="1212"/>
            <p14:sldId id="1190"/>
            <p14:sldId id="1191"/>
            <p14:sldId id="1203"/>
            <p14:sldId id="1192"/>
            <p14:sldId id="1194"/>
            <p14:sldId id="1220"/>
            <p14:sldId id="1223"/>
            <p14:sldId id="1221"/>
            <p14:sldId id="1222"/>
            <p14:sldId id="1229"/>
            <p14:sldId id="1225"/>
            <p14:sldId id="1230"/>
            <p14:sldId id="1226"/>
            <p14:sldId id="1227"/>
            <p14:sldId id="1228"/>
            <p14:sldId id="1197"/>
            <p14:sldId id="1198"/>
            <p14:sldId id="1199"/>
            <p14:sldId id="1214"/>
            <p14:sldId id="1201"/>
          </p14:sldIdLst>
        </p14:section>
      </p14:sectionLst>
    </p:ex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3413" userDrawn="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302">
          <p15:clr>
            <a:srgbClr val="A4A3A4"/>
          </p15:clr>
        </p15:guide>
        <p15:guide id="10" orient="horz" pos="4104">
          <p15:clr>
            <a:srgbClr val="A4A3A4"/>
          </p15:clr>
        </p15:guide>
        <p15:guide id="11" pos="173">
          <p15:clr>
            <a:srgbClr val="A4A3A4"/>
          </p15:clr>
        </p15:guide>
        <p15:guide id="12" pos="1325">
          <p15:clr>
            <a:srgbClr val="A4A3A4"/>
          </p15:clr>
        </p15:guide>
        <p15:guide id="13" pos="7661">
          <p15:clr>
            <a:srgbClr val="A4A3A4"/>
          </p15:clr>
        </p15:guide>
        <p15:guide id="14" pos="749">
          <p15:clr>
            <a:srgbClr val="A4A3A4"/>
          </p15:clr>
        </p15:guide>
        <p15:guide id="15" pos="7085">
          <p15:clr>
            <a:srgbClr val="A4A3A4"/>
          </p15:clr>
        </p15:guide>
        <p15:guide id="16" pos="3629">
          <p15:clr>
            <a:srgbClr val="A4A3A4"/>
          </p15:clr>
        </p15:guide>
        <p15:guide id="17" pos="1901">
          <p15:clr>
            <a:srgbClr val="A4A3A4"/>
          </p15:clr>
        </p15:guide>
        <p15:guide id="18" pos="2477">
          <p15:clr>
            <a:srgbClr val="A4A3A4"/>
          </p15:clr>
        </p15:guide>
        <p15:guide id="19" pos="4205">
          <p15:clr>
            <a:srgbClr val="A4A3A4"/>
          </p15:clr>
        </p15:guide>
        <p15:guide id="20" pos="4781">
          <p15:clr>
            <a:srgbClr val="A4A3A4"/>
          </p15:clr>
        </p15:guide>
        <p15:guide id="21" pos="5357">
          <p15:clr>
            <a:srgbClr val="A4A3A4"/>
          </p15:clr>
        </p15:guide>
        <p15:guide id="22" pos="6509">
          <p15:clr>
            <a:srgbClr val="A4A3A4"/>
          </p15:clr>
        </p15:guide>
        <p15:guide id="23" pos="3053">
          <p15:clr>
            <a:srgbClr val="A4A3A4"/>
          </p15:clr>
        </p15:guide>
        <p15:guide id="24" pos="5933">
          <p15:clr>
            <a:srgbClr val="A4A3A4"/>
          </p15:clr>
        </p15:guide>
        <p15:guide id="25" pos="288">
          <p15:clr>
            <a:srgbClr val="A4A3A4"/>
          </p15:clr>
        </p15:guide>
        <p15:guide id="26" pos="7546">
          <p15:clr>
            <a:srgbClr val="A4A3A4"/>
          </p15:clr>
        </p15:guide>
        <p15:guide id="27" orient="horz" pos="726">
          <p15:clr>
            <a:srgbClr val="A4A3A4"/>
          </p15:clr>
        </p15:guide>
        <p15:guide id="28" orient="horz" pos="4213">
          <p15:clr>
            <a:srgbClr val="A4A3A4"/>
          </p15:clr>
        </p15:guide>
        <p15:guide id="29" orient="horz" pos="3649">
          <p15:clr>
            <a:srgbClr val="A4A3A4"/>
          </p15:clr>
        </p15:guide>
        <p15:guide id="30" orient="horz" pos="1909">
          <p15:clr>
            <a:srgbClr val="A4A3A4"/>
          </p15:clr>
        </p15:guide>
        <p15:guide id="31" orient="horz" pos="4110">
          <p15:clr>
            <a:srgbClr val="A4A3A4"/>
          </p15:clr>
        </p15:guide>
        <p15:guide id="32" orient="horz" pos="3978">
          <p15:clr>
            <a:srgbClr val="A4A3A4"/>
          </p15:clr>
        </p15:guide>
        <p15:guide id="33" orient="horz" pos="2326">
          <p15:clr>
            <a:srgbClr val="A4A3A4"/>
          </p15:clr>
        </p15:guide>
        <p15:guide id="34" orient="horz" pos="3372">
          <p15:clr>
            <a:srgbClr val="A4A3A4"/>
          </p15:clr>
        </p15:guide>
        <p15:guide id="35" pos="168">
          <p15:clr>
            <a:srgbClr val="A4A3A4"/>
          </p15:clr>
        </p15:guide>
        <p15:guide id="36" pos="743">
          <p15:clr>
            <a:srgbClr val="A4A3A4"/>
          </p15:clr>
        </p15:guide>
        <p15:guide id="37" pos="2450">
          <p15:clr>
            <a:srgbClr val="A4A3A4"/>
          </p15:clr>
        </p15:guide>
        <p15:guide id="38" pos="4790">
          <p15:clr>
            <a:srgbClr val="A4A3A4"/>
          </p15:clr>
        </p15:guide>
        <p15:guide id="39" pos="6495">
          <p15:clr>
            <a:srgbClr val="A4A3A4"/>
          </p15:clr>
        </p15:guide>
        <p15:guide id="40" pos="592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55" clrIdx="1"/>
  <p:cmAuthor id="2" name="Jean Klingman (LCA)" initials="Jeankl" lastIdx="1" clrIdx="2"/>
  <p:cmAuthor id="3" name="Adam Carter" initials="AC" lastIdx="4" clrIdx="3">
    <p:extLst>
      <p:ext uri="{19B8F6BF-5375-455C-9EA6-DF929625EA0E}">
        <p15:presenceInfo xmlns:p15="http://schemas.microsoft.com/office/powerpoint/2012/main" userId="S-1-5-21-2127521184-1604012920-1887927527-1957856" providerId="AD"/>
      </p:ext>
    </p:extLst>
  </p:cmAuthor>
  <p:cmAuthor id="4" name="Tina Burden" initials="TB" lastIdx="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442359"/>
    <a:srgbClr val="3D5800"/>
    <a:srgbClr val="FFFFFF"/>
    <a:srgbClr val="0072C6"/>
    <a:srgbClr val="000000"/>
    <a:srgbClr val="505050"/>
    <a:srgbClr val="CC00CC"/>
    <a:srgbClr val="00FFFF"/>
    <a:srgbClr val="D2D2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436" autoAdjust="0"/>
    <p:restoredTop sz="96305" autoAdjust="0"/>
  </p:normalViewPr>
  <p:slideViewPr>
    <p:cSldViewPr snapToGrid="0">
      <p:cViewPr varScale="1">
        <p:scale>
          <a:sx n="98" d="100"/>
          <a:sy n="98" d="100"/>
        </p:scale>
        <p:origin x="72" y="90"/>
      </p:cViewPr>
      <p:guideLst>
        <p:guide orient="horz" pos="187"/>
        <p:guide orient="horz" pos="763"/>
        <p:guide orient="horz" pos="1339"/>
        <p:guide orient="horz" pos="3413"/>
        <p:guide orient="horz" pos="4219"/>
        <p:guide orient="horz" pos="3643"/>
        <p:guide orient="horz" pos="3067"/>
        <p:guide orient="horz" pos="1915"/>
        <p:guide orient="horz" pos="302"/>
        <p:guide orient="horz" pos="4104"/>
        <p:guide pos="173"/>
        <p:guide pos="1325"/>
        <p:guide pos="7661"/>
        <p:guide pos="749"/>
        <p:guide pos="7085"/>
        <p:guide pos="3629"/>
        <p:guide pos="1901"/>
        <p:guide pos="2477"/>
        <p:guide pos="4205"/>
        <p:guide pos="4781"/>
        <p:guide pos="5357"/>
        <p:guide pos="6509"/>
        <p:guide pos="3053"/>
        <p:guide pos="5933"/>
        <p:guide pos="288"/>
        <p:guide pos="7546"/>
        <p:guide orient="horz" pos="726"/>
        <p:guide orient="horz" pos="4213"/>
        <p:guide orient="horz" pos="3649"/>
        <p:guide orient="horz" pos="1909"/>
        <p:guide orient="horz" pos="4110"/>
        <p:guide orient="horz" pos="3978"/>
        <p:guide orient="horz" pos="2326"/>
        <p:guide orient="horz" pos="3372"/>
        <p:guide pos="168"/>
        <p:guide pos="743"/>
        <p:guide pos="2450"/>
        <p:guide pos="4790"/>
        <p:guide pos="6495"/>
        <p:guide pos="592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snapToGrid="0" showGuides="1">
      <p:cViewPr>
        <p:scale>
          <a:sx n="66" d="100"/>
          <a:sy n="66" d="100"/>
        </p:scale>
        <p:origin x="-4260" y="-6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0">
                      <a:schemeClr val="tx1">
                        <a:lumMod val="50000"/>
                      </a:schemeClr>
                    </a:gs>
                    <a:gs pos="100000">
                      <a:schemeClr val="tx1">
                        <a:lumMod val="50000"/>
                      </a:schemeClr>
                    </a:gs>
                  </a:gsLst>
                  <a:lin ang="5400000" scaled="0"/>
                </a:gradFill>
                <a:latin typeface="Segoe UI" pitchFamily="34" charset="0"/>
              </a:rPr>
              <a:t>Server &amp; Tools Business</a:t>
            </a:r>
            <a:endParaRPr lang="en-US" dirty="0">
              <a:gradFill>
                <a:gsLst>
                  <a:gs pos="0">
                    <a:schemeClr val="tx1">
                      <a:lumMod val="50000"/>
                    </a:schemeClr>
                  </a:gs>
                  <a:gs pos="100000">
                    <a:schemeClr val="tx1">
                      <a:lumMod val="50000"/>
                    </a:schemeClr>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6/3/2013</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0">
                      <a:schemeClr val="tx1">
                        <a:lumMod val="50000"/>
                      </a:schemeClr>
                    </a:gs>
                    <a:gs pos="100000">
                      <a:schemeClr val="tx1">
                        <a:lumMod val="50000"/>
                      </a:schemeClr>
                    </a:gs>
                  </a:gsLst>
                  <a:lin ang="5400000" scaled="0"/>
                </a:gradFill>
                <a:latin typeface="Segoe UI" pitchFamily="34" charset="0"/>
              </a:defRPr>
            </a:lvl1pPr>
          </a:lstStyle>
          <a:p>
            <a:r>
              <a:rPr lang="en-US" smtClean="0"/>
              <a:t>Server &amp; Tools Business</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6/3/2013</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3/2013 2:32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1465451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t>Windows Server Management Marketing</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pPr/>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121425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normAutofit lnSpcReduction="10000"/>
          </a:bodyPr>
          <a:lstStyle/>
          <a:p>
            <a:pPr marL="742806" lvl="2" indent="-285716" defTabSz="-11557698" eaLnBrk="0" hangingPunct="0">
              <a:spcBef>
                <a:spcPts val="500"/>
              </a:spcBef>
              <a:buSzPct val="95000"/>
              <a:defRP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11</a:t>
            </a:fld>
            <a:endParaRPr lang="en-US" dirty="0"/>
          </a:p>
        </p:txBody>
      </p:sp>
    </p:spTree>
    <p:extLst>
      <p:ext uri="{BB962C8B-B14F-4D97-AF65-F5344CB8AC3E}">
        <p14:creationId xmlns:p14="http://schemas.microsoft.com/office/powerpoint/2010/main" val="19869053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normAutofit/>
          </a:bodyPr>
          <a:lstStyle/>
          <a:p>
            <a:pPr marL="742806" lvl="2" indent="-285716" defTabSz="-11557698" eaLnBrk="0" hangingPunct="0">
              <a:spcBef>
                <a:spcPts val="500"/>
              </a:spcBef>
              <a:buSzPct val="95000"/>
              <a:defRP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12</a:t>
            </a:fld>
            <a:endParaRPr lang="en-US" dirty="0"/>
          </a:p>
        </p:txBody>
      </p:sp>
    </p:spTree>
    <p:extLst>
      <p:ext uri="{BB962C8B-B14F-4D97-AF65-F5344CB8AC3E}">
        <p14:creationId xmlns:p14="http://schemas.microsoft.com/office/powerpoint/2010/main" val="475790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normAutofit fontScale="92500" lnSpcReduction="20000"/>
          </a:bodyPr>
          <a:lstStyle/>
          <a:p>
            <a:pPr marL="742806" lvl="2" indent="-285716" defTabSz="-11557698" eaLnBrk="0" hangingPunct="0">
              <a:spcBef>
                <a:spcPts val="500"/>
              </a:spcBef>
              <a:buSzPct val="95000"/>
              <a:defRP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13</a:t>
            </a:fld>
            <a:endParaRPr lang="en-US" dirty="0"/>
          </a:p>
        </p:txBody>
      </p:sp>
    </p:spTree>
    <p:extLst>
      <p:ext uri="{BB962C8B-B14F-4D97-AF65-F5344CB8AC3E}">
        <p14:creationId xmlns:p14="http://schemas.microsoft.com/office/powerpoint/2010/main" val="1634416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t>Windows Server Management Marketing</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4FB9585-1961-4441-B2BD-DD6B722F147F}"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9024801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smtClean="0"/>
              <a:t>Windows Server Management Marketing</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007042A-5BCC-42CD-84C5-50F6CE792000}"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4079568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normAutofit fontScale="92500" lnSpcReduction="10000"/>
          </a:bodyPr>
          <a:lstStyle/>
          <a:p>
            <a:pPr marL="285716" lvl="1" indent="-285716" defTabSz="-11557698" eaLnBrk="0" hangingPunct="0">
              <a:spcBef>
                <a:spcPts val="500"/>
              </a:spcBef>
              <a:buSzPct val="95000"/>
              <a:defRP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16</a:t>
            </a:fld>
            <a:endParaRPr lang="en-US" dirty="0"/>
          </a:p>
        </p:txBody>
      </p:sp>
    </p:spTree>
    <p:extLst>
      <p:ext uri="{BB962C8B-B14F-4D97-AF65-F5344CB8AC3E}">
        <p14:creationId xmlns:p14="http://schemas.microsoft.com/office/powerpoint/2010/main" val="460420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927043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normAutofit/>
          </a:bodyPr>
          <a:lstStyle/>
          <a:p>
            <a:pPr marL="0" lvl="1" defTabSz="-11557698" eaLnBrk="0" hangingPunct="0">
              <a:spcBef>
                <a:spcPts val="500"/>
              </a:spcBef>
              <a:buSzPct val="95000"/>
              <a:defRP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18</a:t>
            </a:fld>
            <a:endParaRPr lang="en-US" dirty="0"/>
          </a:p>
        </p:txBody>
      </p:sp>
    </p:spTree>
    <p:extLst>
      <p:ext uri="{BB962C8B-B14F-4D97-AF65-F5344CB8AC3E}">
        <p14:creationId xmlns:p14="http://schemas.microsoft.com/office/powerpoint/2010/main" val="22803360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normAutofit fontScale="92500" lnSpcReduction="10000"/>
          </a:bodyPr>
          <a:lstStyle/>
          <a:p>
            <a:pPr marL="0" lvl="1" defTabSz="-11557698" eaLnBrk="0" hangingPunct="0">
              <a:spcBef>
                <a:spcPts val="500"/>
              </a:spcBef>
              <a:buSzPct val="95000"/>
              <a:defRP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19</a:t>
            </a:fld>
            <a:endParaRPr lang="en-US" dirty="0"/>
          </a:p>
        </p:txBody>
      </p:sp>
    </p:spTree>
    <p:extLst>
      <p:ext uri="{BB962C8B-B14F-4D97-AF65-F5344CB8AC3E}">
        <p14:creationId xmlns:p14="http://schemas.microsoft.com/office/powerpoint/2010/main" val="824087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
        <p:nvSpPr>
          <p:cNvPr id="10" name="Date Placeholder 9"/>
          <p:cNvSpPr>
            <a:spLocks noGrp="1"/>
          </p:cNvSpPr>
          <p:nvPr>
            <p:ph type="dt" idx="13"/>
          </p:nvPr>
        </p:nvSpPr>
        <p:spPr/>
        <p:txBody>
          <a:bodyPr/>
          <a:lstStyle/>
          <a:p>
            <a:fld id="{677FBE4F-EDB0-402F-A0AC-9374915CF447}" type="datetime8">
              <a:rPr lang="en-US" smtClean="0">
                <a:solidFill>
                  <a:prstClr val="black"/>
                </a:solidFill>
              </a:rPr>
              <a:pPr/>
              <a:t>6/3/2013 2:32 P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25000887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32912479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21</a:t>
            </a:fld>
            <a:endParaRPr lang="en-US" dirty="0"/>
          </a:p>
        </p:txBody>
      </p:sp>
    </p:spTree>
    <p:extLst>
      <p:ext uri="{BB962C8B-B14F-4D97-AF65-F5344CB8AC3E}">
        <p14:creationId xmlns:p14="http://schemas.microsoft.com/office/powerpoint/2010/main" val="25648223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normAutofit fontScale="25000" lnSpcReduction="20000"/>
          </a:bodyPr>
          <a:lstStyle/>
          <a:p>
            <a:pPr marL="0" lvl="1" defTabSz="-11557698" eaLnBrk="0" hangingPunct="0">
              <a:spcBef>
                <a:spcPts val="500"/>
              </a:spcBef>
              <a:buSzPct val="95000"/>
              <a:defRP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22</a:t>
            </a:fld>
            <a:endParaRPr lang="en-US" dirty="0"/>
          </a:p>
        </p:txBody>
      </p:sp>
    </p:spTree>
    <p:extLst>
      <p:ext uri="{BB962C8B-B14F-4D97-AF65-F5344CB8AC3E}">
        <p14:creationId xmlns:p14="http://schemas.microsoft.com/office/powerpoint/2010/main" val="42034086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796151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Server Management Marketing</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584A69B-4407-41B0-99BB-0D35C217B34C}"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8648408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xfrm>
            <a:off x="381000" y="685800"/>
            <a:ext cx="6096000" cy="3429000"/>
          </a:xfrm>
          <a:ln/>
        </p:spPr>
      </p:sp>
      <p:sp>
        <p:nvSpPr>
          <p:cNvPr id="56323" name="Notes Placeholder 2"/>
          <p:cNvSpPr>
            <a:spLocks noGrp="1"/>
          </p:cNvSpPr>
          <p:nvPr>
            <p:ph type="body" idx="1"/>
          </p:nvPr>
        </p:nvSpPr>
        <p:spPr>
          <a:noFill/>
          <a:ln/>
        </p:spPr>
        <p:txBody>
          <a:bodyPr/>
          <a:lstStyle/>
          <a:p>
            <a:pPr marL="0" lvl="1" defTabSz="-11557698" eaLnBrk="0" hangingPunct="0">
              <a:spcBef>
                <a:spcPts val="500"/>
              </a:spcBef>
              <a:buSzPct val="95000"/>
              <a:defRPr/>
            </a:pPr>
            <a:endParaRPr lang="en-US" dirty="0"/>
          </a:p>
        </p:txBody>
      </p:sp>
      <p:sp>
        <p:nvSpPr>
          <p:cNvPr id="56324" name="Slide Number Placeholder 3"/>
          <p:cNvSpPr txBox="1">
            <a:spLocks noGrp="1"/>
          </p:cNvSpPr>
          <p:nvPr/>
        </p:nvSpPr>
        <p:spPr bwMode="auto">
          <a:xfrm>
            <a:off x="3884613" y="8684926"/>
            <a:ext cx="2971800" cy="457513"/>
          </a:xfrm>
          <a:prstGeom prst="rect">
            <a:avLst/>
          </a:prstGeom>
          <a:noFill/>
          <a:ln w="9525">
            <a:noFill/>
            <a:miter lim="800000"/>
            <a:headEnd/>
            <a:tailEnd/>
          </a:ln>
        </p:spPr>
        <p:txBody>
          <a:bodyPr anchor="b"/>
          <a:lstStyle/>
          <a:p>
            <a:pPr algn="r" defTabSz="914400" fontAlgn="base">
              <a:spcBef>
                <a:spcPct val="0"/>
              </a:spcBef>
              <a:spcAft>
                <a:spcPct val="0"/>
              </a:spcAft>
            </a:pPr>
            <a:fld id="{79A09CD1-259F-4B01-9483-00F75DB31B7C}" type="slidenum">
              <a:rPr lang="en-US" sz="1200">
                <a:solidFill>
                  <a:srgbClr val="000000"/>
                </a:solidFill>
                <a:latin typeface="Arial" pitchFamily="34" charset="0"/>
                <a:cs typeface="Arial" pitchFamily="34" charset="0"/>
              </a:rPr>
              <a:pPr algn="r" defTabSz="914400" fontAlgn="base">
                <a:spcBef>
                  <a:spcPct val="0"/>
                </a:spcBef>
                <a:spcAft>
                  <a:spcPct val="0"/>
                </a:spcAft>
              </a:pPr>
              <a:t>25</a:t>
            </a:fld>
            <a:endParaRPr lang="en-US" sz="1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1375500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lstStyle/>
          <a:p>
            <a:pPr marL="0" lvl="1" defTabSz="-11557698" eaLnBrk="0" hangingPunct="0">
              <a:spcBef>
                <a:spcPts val="500"/>
              </a:spcBef>
              <a:buSzPct val="95000"/>
              <a:defRP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pPr/>
              <a:t>26</a:t>
            </a:fld>
            <a:endParaRPr lang="en-US" dirty="0"/>
          </a:p>
        </p:txBody>
      </p:sp>
    </p:spTree>
    <p:extLst>
      <p:ext uri="{BB962C8B-B14F-4D97-AF65-F5344CB8AC3E}">
        <p14:creationId xmlns:p14="http://schemas.microsoft.com/office/powerpoint/2010/main" val="15405377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3/2013 2:32 PM</a:t>
            </a:fld>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27</a:t>
            </a:fld>
            <a:endParaRPr lang="en-US" dirty="0"/>
          </a:p>
        </p:txBody>
      </p:sp>
      <p:sp>
        <p:nvSpPr>
          <p:cNvPr id="8" name="Footer Placeholder 3"/>
          <p:cNvSpPr>
            <a:spLocks noGrp="1"/>
          </p:cNvSpPr>
          <p:nvPr>
            <p:ph type="ftr" sz="quarter" idx="4"/>
          </p:nvPr>
        </p:nvSpPr>
        <p:spPr>
          <a:xfrm>
            <a:off x="0" y="8685213"/>
            <a:ext cx="6248400" cy="457200"/>
          </a:xfrm>
          <a:prstGeom prst="rect">
            <a:avLst/>
          </a:prstGeom>
        </p:spPr>
        <p:txBody>
          <a:bodyPr vert="horz" lIns="91430" tIns="45715" rIns="91430" bIns="45715" rtlCol="0" anchor="b"/>
          <a:lstStyle>
            <a:lvl1pPr algn="l">
              <a:defRPr sz="1200"/>
            </a:lvl1p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0110719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36787682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3/2013 2:32 PM</a:t>
            </a:fld>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29</a:t>
            </a:fld>
            <a:endParaRPr lang="en-US" dirty="0"/>
          </a:p>
        </p:txBody>
      </p:sp>
      <p:sp>
        <p:nvSpPr>
          <p:cNvPr id="8" name="Footer Placeholder 3"/>
          <p:cNvSpPr>
            <a:spLocks noGrp="1"/>
          </p:cNvSpPr>
          <p:nvPr>
            <p:ph type="ftr" sz="quarter" idx="4"/>
          </p:nvPr>
        </p:nvSpPr>
        <p:spPr>
          <a:xfrm>
            <a:off x="0" y="8685213"/>
            <a:ext cx="6248400" cy="457200"/>
          </a:xfrm>
          <a:prstGeom prst="rect">
            <a:avLst/>
          </a:prstGeom>
        </p:spPr>
        <p:txBody>
          <a:bodyPr vert="horz" lIns="91430" tIns="45715" rIns="91430" bIns="45715" rtlCol="0" anchor="b"/>
          <a:lstStyle>
            <a:lvl1pPr algn="l">
              <a:defRPr sz="1200"/>
            </a:lvl1p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587568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4"/>
          <p:cNvSpPr>
            <a:spLocks noGrp="1" noChangeArrowheads="1"/>
          </p:cNvSpPr>
          <p:nvPr>
            <p:ph type="dt" sz="quarter" idx="1"/>
          </p:nvPr>
        </p:nvSpPr>
        <p:spPr/>
        <p:txBody>
          <a:bodyPr/>
          <a:lstStyle/>
          <a:p>
            <a:pPr>
              <a:defRPr/>
            </a:pPr>
            <a:fld id="{E8D35FEC-778B-4C2D-AAD8-248A3520C851}" type="datetime1">
              <a:rPr lang="en-US" smtClean="0">
                <a:solidFill>
                  <a:prstClr val="black"/>
                </a:solidFill>
                <a:latin typeface="Segoe"/>
              </a:rPr>
              <a:pPr>
                <a:defRPr/>
              </a:pPr>
              <a:t>6/3/2013</a:t>
            </a:fld>
            <a:endParaRPr lang="en-US" dirty="0" smtClean="0">
              <a:solidFill>
                <a:prstClr val="black"/>
              </a:solidFill>
              <a:latin typeface="Segoe"/>
            </a:endParaRPr>
          </a:p>
        </p:txBody>
      </p:sp>
      <p:sp>
        <p:nvSpPr>
          <p:cNvPr id="24579" name="Rectangle 5"/>
          <p:cNvSpPr>
            <a:spLocks noGrp="1" noChangeArrowheads="1"/>
          </p:cNvSpPr>
          <p:nvPr>
            <p:ph type="sldNum" sz="quarter" idx="5"/>
          </p:nvPr>
        </p:nvSpPr>
        <p:spPr/>
        <p:txBody>
          <a:bodyPr/>
          <a:lstStyle/>
          <a:p>
            <a:pPr>
              <a:defRPr/>
            </a:pPr>
            <a:fld id="{14E84EE9-EA32-4AF6-9D45-BC202D831510}" type="slidenum">
              <a:rPr lang="en-US" smtClean="0">
                <a:solidFill>
                  <a:prstClr val="black"/>
                </a:solidFill>
              </a:rPr>
              <a:pPr>
                <a:defRPr/>
              </a:pPr>
              <a:t>3</a:t>
            </a:fld>
            <a:endParaRPr lang="en-US" dirty="0" smtClean="0">
              <a:solidFill>
                <a:prstClr val="black"/>
              </a:solidFill>
            </a:endParaRPr>
          </a:p>
        </p:txBody>
      </p:sp>
      <p:sp>
        <p:nvSpPr>
          <p:cNvPr id="24580" name="Shape 4"/>
          <p:cNvSpPr txBox="1">
            <a:spLocks noGrp="1" noChangeArrowheads="1"/>
          </p:cNvSpPr>
          <p:nvPr/>
        </p:nvSpPr>
        <p:spPr bwMode="auto">
          <a:xfrm>
            <a:off x="4235029" y="9271159"/>
            <a:ext cx="3241040" cy="488395"/>
          </a:xfrm>
          <a:prstGeom prst="rect">
            <a:avLst/>
          </a:prstGeom>
          <a:noFill/>
          <a:ln w="9525" algn="ctr">
            <a:noFill/>
            <a:miter lim="800000"/>
            <a:headEnd/>
            <a:tailEnd/>
          </a:ln>
        </p:spPr>
        <p:txBody>
          <a:bodyPr lIns="96649" tIns="48325" rIns="96649" bIns="48325" anchor="b"/>
          <a:lstStyle/>
          <a:p>
            <a:pPr algn="r" defTabSz="966612"/>
            <a:fld id="{A023A363-586A-4B56-A48C-2516159AF108}" type="slidenum">
              <a:rPr lang="en-US" sz="1300">
                <a:solidFill>
                  <a:prstClr val="black"/>
                </a:solidFill>
                <a:latin typeface="Trebuchet MS" pitchFamily="34" charset="0"/>
              </a:rPr>
              <a:pPr algn="r" defTabSz="966612"/>
              <a:t>3</a:t>
            </a:fld>
            <a:endParaRPr lang="en-US" sz="1300" dirty="0">
              <a:solidFill>
                <a:prstClr val="black"/>
              </a:solidFill>
              <a:latin typeface="Trebuchet MS" pitchFamily="34" charset="0"/>
            </a:endParaRPr>
          </a:p>
        </p:txBody>
      </p:sp>
      <p:sp>
        <p:nvSpPr>
          <p:cNvPr id="24581" name="Rectangle 139265"/>
          <p:cNvSpPr>
            <a:spLocks noGrp="1" noRot="1" noChangeAspect="1" noChangeArrowheads="1" noTextEdit="1"/>
          </p:cNvSpPr>
          <p:nvPr>
            <p:ph type="sldImg"/>
          </p:nvPr>
        </p:nvSpPr>
        <p:spPr>
          <a:ln cap="flat" algn="ctr">
            <a:headEnd type="none" w="med" len="med"/>
            <a:tailEnd type="none" w="med" len="med"/>
          </a:ln>
        </p:spPr>
      </p:sp>
      <p:sp>
        <p:nvSpPr>
          <p:cNvPr id="24582" name="Rectangle 139266"/>
          <p:cNvSpPr>
            <a:spLocks noGrp="1" noChangeArrowheads="1"/>
          </p:cNvSpPr>
          <p:nvPr>
            <p:ph type="body" idx="1"/>
          </p:nvPr>
        </p:nvSpPr>
        <p:spPr>
          <a:noFill/>
          <a:ln/>
        </p:spPr>
        <p:txBody>
          <a:bodyPr lIns="96649" tIns="48325" rIns="96649" bIns="48325"/>
          <a:lstStyle/>
          <a:p>
            <a:pPr eaLnBrk="1" hangingPunct="1"/>
            <a:endParaRPr lang="en-US" dirty="0"/>
          </a:p>
        </p:txBody>
      </p:sp>
    </p:spTree>
    <p:extLst>
      <p:ext uri="{BB962C8B-B14F-4D97-AF65-F5344CB8AC3E}">
        <p14:creationId xmlns:p14="http://schemas.microsoft.com/office/powerpoint/2010/main" val="22428275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31265345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5D34DB-F487-4B92-8EA5-3B77D3755CC2}" type="slidenum">
              <a:rPr lang="en-US" smtClean="0"/>
              <a:t>31</a:t>
            </a:fld>
            <a:endParaRPr lang="en-US" dirty="0"/>
          </a:p>
        </p:txBody>
      </p:sp>
    </p:spTree>
    <p:extLst>
      <p:ext uri="{BB962C8B-B14F-4D97-AF65-F5344CB8AC3E}">
        <p14:creationId xmlns:p14="http://schemas.microsoft.com/office/powerpoint/2010/main" val="11684557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Server Management Marketing</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4CD6124-7D55-4FB1-A753-5D12C4B2916B}"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42540900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684213"/>
            <a:ext cx="4848225" cy="2727325"/>
          </a:xfrm>
        </p:spPr>
      </p:sp>
      <p:sp>
        <p:nvSpPr>
          <p:cNvPr id="3" name="Notes Placeholder 2"/>
          <p:cNvSpPr>
            <a:spLocks noGrp="1"/>
          </p:cNvSpPr>
          <p:nvPr>
            <p:ph type="body" idx="1"/>
          </p:nvPr>
        </p:nvSpPr>
        <p:spPr>
          <a:xfrm>
            <a:off x="457200" y="3615194"/>
            <a:ext cx="5817476" cy="4500172"/>
          </a:xfrm>
        </p:spPr>
        <p:txBody>
          <a:bodyPr>
            <a:normAutofit/>
          </a:bodyPr>
          <a:lstStyle/>
          <a:p>
            <a:pPr marL="0" lvl="1" defTabSz="-11557698" eaLnBrk="0" hangingPunct="0">
              <a:spcBef>
                <a:spcPts val="500"/>
              </a:spcBef>
              <a:buSzPct val="95000"/>
              <a:defRPr/>
            </a:pPr>
            <a:endParaRPr lang="en-US" sz="1400" dirty="0">
              <a:ln w="12700">
                <a:noFill/>
                <a:prstDash val="solid"/>
              </a:ln>
              <a:solidFill>
                <a:schemeClr val="bg1"/>
              </a:solidFill>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67741927-6463-459E-A476-6AA29362DB91}" type="slidenum">
              <a:rPr lang="en-US" smtClean="0"/>
              <a:pPr/>
              <a:t>33</a:t>
            </a:fld>
            <a:endParaRPr lang="en-US" dirty="0"/>
          </a:p>
        </p:txBody>
      </p:sp>
    </p:spTree>
    <p:extLst>
      <p:ext uri="{BB962C8B-B14F-4D97-AF65-F5344CB8AC3E}">
        <p14:creationId xmlns:p14="http://schemas.microsoft.com/office/powerpoint/2010/main" val="4696932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t>Windows Server Management Marketing</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2EB29DC-ADB1-4B78-B2DC-572BE607C353}"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5222627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Server Management Marketing</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BBAEE1E-4F2B-4C02-A4A5-8DD246142E6E}"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9174964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36</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3/2013 2:32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21392655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29876247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7689793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121064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6002">
              <a:spcAft>
                <a:spcPts val="359"/>
              </a:spcAft>
            </a:pPr>
            <a:endParaRPr lang="en-US" dirty="0"/>
          </a:p>
        </p:txBody>
      </p:sp>
      <p:sp>
        <p:nvSpPr>
          <p:cNvPr id="4" name="Header Placeholder 3"/>
          <p:cNvSpPr>
            <a:spLocks noGrp="1"/>
          </p:cNvSpPr>
          <p:nvPr>
            <p:ph type="hdr" sz="quarter" idx="10"/>
          </p:nvPr>
        </p:nvSpPr>
        <p:spPr/>
        <p:txBody>
          <a:bodyPr/>
          <a:lstStyle/>
          <a:p>
            <a:r>
              <a:rPr lang="en-US" dirty="0" smtClean="0"/>
              <a:t>System Center Marketing</a:t>
            </a:r>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A2963FC-9880-4ED8-88F9-4852F55792AE}"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6177259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40</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3/2013 2:32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35790462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3/2013 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5632401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25063589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3/2013 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37040117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3/2013 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04054426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5</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solidFill>
                  <a:prstClr val="black"/>
                </a:solidFill>
              </a:rPr>
              <a:pPr/>
              <a:t>6/3/2013 2:32 PM</a:t>
            </a:fld>
            <a:endParaRPr lang="en-US" dirty="0">
              <a:solidFill>
                <a:prstClr val="black"/>
              </a:solidFill>
            </a:endParaRPr>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12649848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Windows Server Management Marketing</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A2CF10C-BD36-4893-A361-14988E9A63DA}"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37063595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2760024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8DC147-12D7-4A0A-A5E2-7F9499EBBEC7}" type="slidenum">
              <a:rPr lang="en-US" smtClean="0"/>
              <a:t>48</a:t>
            </a:fld>
            <a:endParaRPr lang="en-US" dirty="0"/>
          </a:p>
        </p:txBody>
      </p:sp>
    </p:spTree>
    <p:extLst>
      <p:ext uri="{BB962C8B-B14F-4D97-AF65-F5344CB8AC3E}">
        <p14:creationId xmlns:p14="http://schemas.microsoft.com/office/powerpoint/2010/main" val="57539542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5D34DB-F487-4B92-8EA5-3B77D3755CC2}" type="slidenum">
              <a:rPr lang="en-US" smtClean="0"/>
              <a:t>49</a:t>
            </a:fld>
            <a:endParaRPr lang="en-US" dirty="0"/>
          </a:p>
        </p:txBody>
      </p:sp>
    </p:spTree>
    <p:extLst>
      <p:ext uri="{BB962C8B-B14F-4D97-AF65-F5344CB8AC3E}">
        <p14:creationId xmlns:p14="http://schemas.microsoft.com/office/powerpoint/2010/main" val="37232198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6002">
              <a:spcAft>
                <a:spcPts val="359"/>
              </a:spcAft>
            </a:pPr>
            <a:endParaRPr lang="en-US" dirty="0"/>
          </a:p>
        </p:txBody>
      </p:sp>
      <p:sp>
        <p:nvSpPr>
          <p:cNvPr id="4" name="Header Placeholder 3"/>
          <p:cNvSpPr>
            <a:spLocks noGrp="1"/>
          </p:cNvSpPr>
          <p:nvPr>
            <p:ph type="hdr" sz="quarter" idx="10"/>
          </p:nvPr>
        </p:nvSpPr>
        <p:spPr/>
        <p:txBody>
          <a:bodyPr/>
          <a:lstStyle/>
          <a:p>
            <a:r>
              <a:rPr lang="en-US" dirty="0" smtClean="0"/>
              <a:t>System Center Marketing</a:t>
            </a:r>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224AE01-E607-472F-B330-D48EA6509D82}"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7148104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5D34DB-F487-4B92-8EA5-3B77D3755CC2}" type="slidenum">
              <a:rPr lang="en-US" smtClean="0"/>
              <a:t>50</a:t>
            </a:fld>
            <a:endParaRPr lang="en-US" dirty="0"/>
          </a:p>
        </p:txBody>
      </p:sp>
    </p:spTree>
    <p:extLst>
      <p:ext uri="{BB962C8B-B14F-4D97-AF65-F5344CB8AC3E}">
        <p14:creationId xmlns:p14="http://schemas.microsoft.com/office/powerpoint/2010/main" val="37436036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buFont typeface="Arial" pitchFamily="34" charset="0"/>
              <a:buNone/>
            </a:pPr>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CE034E5-E8F4-4E2C-9142-9ECED1E32785}"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578396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marL="233309" indent="-233309">
              <a:buAutoNum type="arabicParenR"/>
            </a:pPr>
            <a:endParaRPr lang="en-US" dirty="0"/>
          </a:p>
        </p:txBody>
      </p:sp>
      <p:sp>
        <p:nvSpPr>
          <p:cNvPr id="64516" name="Slide Number Placeholder 3"/>
          <p:cNvSpPr>
            <a:spLocks noGrp="1"/>
          </p:cNvSpPr>
          <p:nvPr>
            <p:ph type="sldNum" sz="quarter" idx="5"/>
          </p:nvPr>
        </p:nvSpPr>
        <p:spPr bwMode="auto">
          <a:ln>
            <a:miter lim="800000"/>
            <a:headEnd/>
            <a:tailEnd/>
          </a:ln>
        </p:spPr>
        <p:txBody>
          <a:bodyPr/>
          <a:lstStyle/>
          <a:p>
            <a:fld id="{418340C5-4810-4ABC-8ECA-A8D73A790337}" type="slidenum">
              <a:rPr lang="en-US">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236627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fontScale="85000" lnSpcReduction="20000"/>
          </a:bodyPr>
          <a:lstStyle/>
          <a:p>
            <a:pPr eaLnBrk="1" hangingPunct="1">
              <a:lnSpc>
                <a:spcPct val="80000"/>
              </a:lnSpc>
              <a:spcBef>
                <a:spcPct val="0"/>
              </a:spcBef>
            </a:pPr>
            <a:endParaRPr lang="en-US" dirty="0"/>
          </a:p>
        </p:txBody>
      </p:sp>
      <p:sp>
        <p:nvSpPr>
          <p:cNvPr id="71684" name="Slide Number Placeholder 3"/>
          <p:cNvSpPr>
            <a:spLocks noGrp="1"/>
          </p:cNvSpPr>
          <p:nvPr>
            <p:ph type="sldNum" sz="quarter" idx="5"/>
          </p:nvPr>
        </p:nvSpPr>
        <p:spPr bwMode="auto">
          <a:ln>
            <a:miter lim="800000"/>
            <a:headEnd/>
            <a:tailEnd/>
          </a:ln>
        </p:spPr>
        <p:txBody>
          <a:bodyPr/>
          <a:lstStyle/>
          <a:p>
            <a:fld id="{0F4674D3-AE7A-40FF-AFAE-EFA573C5036C}" type="slidenum">
              <a:rPr lang="en-US">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7060812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t>Windows Server Management Marketing</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65F5EA8-2CE1-489B-B403-00E63699FD25}"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249457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567786" y="6272351"/>
            <a:ext cx="1411108" cy="302280"/>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3" y="0"/>
            <a:ext cx="12436477" cy="6994525"/>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304" tIns="91440" rIns="146304" bIns="91440" anchor="t" anchorCtr="0"/>
          <a:lstStyle>
            <a:lvl1pPr>
              <a:defRPr sz="54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74702" y="3954441"/>
            <a:ext cx="7315200" cy="1825625"/>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5" y="6048777"/>
            <a:ext cx="1849308" cy="680256"/>
          </a:xfrm>
          <a:prstGeom prst="rect">
            <a:avLst/>
          </a:prstGeom>
        </p:spPr>
      </p:pic>
    </p:spTree>
    <p:extLst>
      <p:ext uri="{BB962C8B-B14F-4D97-AF65-F5344CB8AC3E}">
        <p14:creationId xmlns:p14="http://schemas.microsoft.com/office/powerpoint/2010/main" val="1689577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3" y="0"/>
            <a:ext cx="12436477" cy="6994525"/>
          </a:xfrm>
          <a:prstGeom prst="rect">
            <a:avLst/>
          </a:prstGeom>
        </p:spPr>
      </p:pic>
      <p:sp>
        <p:nvSpPr>
          <p:cNvPr id="13" name="Rectangle 12"/>
          <p:cNvSpPr/>
          <p:nvPr userDrawn="1"/>
        </p:nvSpPr>
        <p:spPr bwMode="gray">
          <a:xfrm>
            <a:off x="274702" y="2125637"/>
            <a:ext cx="7315200" cy="365760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2" y="2123899"/>
            <a:ext cx="7315200" cy="1830538"/>
          </a:xfrm>
          <a:noFill/>
        </p:spPr>
        <p:txBody>
          <a:bodyPr lIns="146304" tIns="91440" rIns="146304" bIns="91440" anchor="t" anchorCtr="0"/>
          <a:lstStyle>
            <a:lvl1pPr>
              <a:defRPr sz="5400" spc="-100"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74702" y="3954441"/>
            <a:ext cx="7315200" cy="1825625"/>
          </a:xfrm>
        </p:spPr>
        <p:txBody>
          <a:bodyPr tIns="109728" bIns="109728">
            <a:noAutofit/>
          </a:bodyPr>
          <a:lstStyle>
            <a:lvl1pPr marL="0" indent="0">
              <a:spcBef>
                <a:spcPts val="0"/>
              </a:spcBef>
              <a:buNone/>
              <a:defRPr sz="32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5" y="6048777"/>
            <a:ext cx="1849308" cy="680256"/>
          </a:xfrm>
          <a:prstGeom prst="rect">
            <a:avLst/>
          </a:prstGeom>
        </p:spPr>
      </p:pic>
    </p:spTree>
    <p:extLst>
      <p:ext uri="{BB962C8B-B14F-4D97-AF65-F5344CB8AC3E}">
        <p14:creationId xmlns:p14="http://schemas.microsoft.com/office/powerpoint/2010/main" val="16913455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3" y="0"/>
            <a:ext cx="12436477" cy="6994525"/>
          </a:xfrm>
          <a:prstGeom prst="rect">
            <a:avLst/>
          </a:prstGeom>
        </p:spPr>
      </p:pic>
      <p:sp>
        <p:nvSpPr>
          <p:cNvPr id="13" name="Rectangle 12"/>
          <p:cNvSpPr/>
          <p:nvPr userDrawn="1"/>
        </p:nvSpPr>
        <p:spPr bwMode="gray">
          <a:xfrm>
            <a:off x="274702" y="2125637"/>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2" y="2123899"/>
            <a:ext cx="7315200" cy="1830538"/>
          </a:xfrm>
          <a:noFill/>
        </p:spPr>
        <p:txBody>
          <a:bodyPr lIns="146304" tIns="91440" rIns="146304" bIns="91440" anchor="t" anchorCtr="0"/>
          <a:lstStyle>
            <a:lvl1pPr>
              <a:defRPr sz="5400" spc="-100"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74702" y="3954441"/>
            <a:ext cx="7315200" cy="1825625"/>
          </a:xfrm>
        </p:spPr>
        <p:txBody>
          <a:bodyPr tIns="109728" bIns="109728">
            <a:noAutofit/>
          </a:bodyPr>
          <a:lstStyle>
            <a:lvl1pPr marL="0" indent="0">
              <a:spcBef>
                <a:spcPts val="0"/>
              </a:spcBef>
              <a:buNone/>
              <a:defRPr sz="32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5" y="6048777"/>
            <a:ext cx="1849308" cy="680256"/>
          </a:xfrm>
          <a:prstGeom prst="rect">
            <a:avLst/>
          </a:prstGeom>
        </p:spPr>
      </p:pic>
    </p:spTree>
    <p:extLst>
      <p:ext uri="{BB962C8B-B14F-4D97-AF65-F5344CB8AC3E}">
        <p14:creationId xmlns:p14="http://schemas.microsoft.com/office/powerpoint/2010/main" val="416761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3" y="0"/>
            <a:ext cx="12436477" cy="6994525"/>
          </a:xfrm>
          <a:prstGeom prst="rect">
            <a:avLst/>
          </a:prstGeom>
        </p:spPr>
      </p:pic>
      <p:sp>
        <p:nvSpPr>
          <p:cNvPr id="13" name="Rectangle 12"/>
          <p:cNvSpPr/>
          <p:nvPr userDrawn="1"/>
        </p:nvSpPr>
        <p:spPr bwMode="gray">
          <a:xfrm>
            <a:off x="274702" y="2125637"/>
            <a:ext cx="7315200" cy="3657600"/>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2" y="2123899"/>
            <a:ext cx="7315200" cy="1830538"/>
          </a:xfrm>
          <a:noFill/>
        </p:spPr>
        <p:txBody>
          <a:bodyPr lIns="146304" tIns="91440" rIns="146304" bIns="91440" anchor="t" anchorCtr="0"/>
          <a:lstStyle>
            <a:lvl1pPr>
              <a:defRPr sz="5400" spc="-100"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74702" y="3954441"/>
            <a:ext cx="7315200" cy="1825625"/>
          </a:xfrm>
        </p:spPr>
        <p:txBody>
          <a:bodyPr tIns="109728" bIns="109728">
            <a:noAutofit/>
          </a:bodyPr>
          <a:lstStyle>
            <a:lvl1pPr marL="0" indent="0">
              <a:spcBef>
                <a:spcPts val="0"/>
              </a:spcBef>
              <a:buNone/>
              <a:defRPr sz="32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5" y="6048777"/>
            <a:ext cx="1849308" cy="680256"/>
          </a:xfrm>
          <a:prstGeom prst="rect">
            <a:avLst/>
          </a:prstGeom>
        </p:spPr>
      </p:pic>
    </p:spTree>
    <p:extLst>
      <p:ext uri="{BB962C8B-B14F-4D97-AF65-F5344CB8AC3E}">
        <p14:creationId xmlns:p14="http://schemas.microsoft.com/office/powerpoint/2010/main" val="6854243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171"/>
            <a:ext cx="12436475" cy="6992181"/>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
        <p:nvSpPr>
          <p:cNvPr id="10" name="Rectangle 9"/>
          <p:cNvSpPr/>
          <p:nvPr userDrawn="1"/>
        </p:nvSpPr>
        <p:spPr bwMode="gray">
          <a:xfrm>
            <a:off x="274702" y="1211263"/>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74702" y="3030538"/>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61827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171"/>
            <a:ext cx="12436475" cy="6992181"/>
          </a:xfrm>
          <a:prstGeom prst="rect">
            <a:avLst/>
          </a:prstGeom>
        </p:spPr>
      </p:pic>
      <p:sp>
        <p:nvSpPr>
          <p:cNvPr id="10" name="Rectangle 9"/>
          <p:cNvSpPr/>
          <p:nvPr userDrawn="1"/>
        </p:nvSpPr>
        <p:spPr bwMode="gray">
          <a:xfrm>
            <a:off x="274702" y="1211263"/>
            <a:ext cx="7315200" cy="3657600"/>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8" y="1211263"/>
            <a:ext cx="7315200" cy="1828804"/>
          </a:xfrm>
          <a:noFill/>
        </p:spPr>
        <p:txBody>
          <a:bodyPr lIns="146304" tIns="91440" rIns="146304" bIns="91440" anchor="t" anchorCtr="0"/>
          <a:lstStyle>
            <a:lvl1pPr>
              <a:defRPr sz="6000" spc="-100"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74702" y="3030538"/>
            <a:ext cx="7315200" cy="1830388"/>
          </a:xfrm>
          <a:noFill/>
        </p:spPr>
        <p:txBody>
          <a:bodyPr lIns="146304" tIns="109728" rIns="146304" bIns="109728">
            <a:noAutofit/>
          </a:bodyPr>
          <a:lstStyle>
            <a:lvl1pPr marL="0" indent="0">
              <a:spcBef>
                <a:spcPts val="0"/>
              </a:spcBef>
              <a:buNone/>
              <a:defRPr sz="32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4088496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171"/>
            <a:ext cx="12436475" cy="6992181"/>
          </a:xfrm>
          <a:prstGeom prst="rect">
            <a:avLst/>
          </a:prstGeom>
        </p:spPr>
      </p:pic>
      <p:sp>
        <p:nvSpPr>
          <p:cNvPr id="10" name="Rectangle 9"/>
          <p:cNvSpPr/>
          <p:nvPr userDrawn="1"/>
        </p:nvSpPr>
        <p:spPr bwMode="gray">
          <a:xfrm>
            <a:off x="274702" y="1211263"/>
            <a:ext cx="7315200" cy="365760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8" y="1211263"/>
            <a:ext cx="7315200" cy="1828804"/>
          </a:xfrm>
          <a:noFill/>
        </p:spPr>
        <p:txBody>
          <a:bodyPr lIns="146304" tIns="91440" rIns="146304" bIns="91440" anchor="t" anchorCtr="0"/>
          <a:lstStyle>
            <a:lvl1pPr>
              <a:defRPr sz="6000" spc="-100"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74702" y="3030538"/>
            <a:ext cx="7315200" cy="1830388"/>
          </a:xfrm>
          <a:noFill/>
        </p:spPr>
        <p:txBody>
          <a:bodyPr lIns="146304" tIns="109728" rIns="146304" bIns="109728">
            <a:noAutofit/>
          </a:bodyPr>
          <a:lstStyle>
            <a:lvl1pPr marL="0" indent="0">
              <a:spcBef>
                <a:spcPts val="0"/>
              </a:spcBef>
              <a:buNone/>
              <a:defRPr sz="32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31529530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171"/>
            <a:ext cx="12436475" cy="6992181"/>
          </a:xfrm>
          <a:prstGeom prst="rect">
            <a:avLst/>
          </a:prstGeom>
        </p:spPr>
      </p:pic>
      <p:sp>
        <p:nvSpPr>
          <p:cNvPr id="10" name="Rectangle 9"/>
          <p:cNvSpPr/>
          <p:nvPr userDrawn="1"/>
        </p:nvSpPr>
        <p:spPr bwMode="gray">
          <a:xfrm>
            <a:off x="274702" y="1211263"/>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8" y="1211263"/>
            <a:ext cx="7315200" cy="1828804"/>
          </a:xfrm>
          <a:noFill/>
        </p:spPr>
        <p:txBody>
          <a:bodyPr lIns="146304" tIns="91440" rIns="146304" bIns="91440" anchor="t" anchorCtr="0"/>
          <a:lstStyle>
            <a:lvl1pPr>
              <a:defRPr sz="6000" spc="-100"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74702" y="3030538"/>
            <a:ext cx="7315200" cy="1830388"/>
          </a:xfrm>
          <a:noFill/>
        </p:spPr>
        <p:txBody>
          <a:bodyPr lIns="146304" tIns="109728" rIns="146304" bIns="109728">
            <a:noAutofit/>
          </a:bodyPr>
          <a:lstStyle>
            <a:lvl1pPr marL="0" indent="0">
              <a:spcBef>
                <a:spcPts val="0"/>
              </a:spcBef>
              <a:buNone/>
              <a:defRPr sz="32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35988748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chemeClr val="tx1">
                      <a:lumMod val="50000"/>
                    </a:schemeClr>
                  </a:gs>
                  <a:gs pos="100000">
                    <a:schemeClr val="tx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8151736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06414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chemeClr val="tx1">
                      <a:lumMod val="50000"/>
                    </a:schemeClr>
                  </a:gs>
                  <a:gs pos="100000">
                    <a:schemeClr val="tx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9947161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chemeClr val="tx1">
                      <a:lumMod val="50000"/>
                    </a:schemeClr>
                  </a:gs>
                  <a:gs pos="100000">
                    <a:schemeClr val="tx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chemeClr val="tx1">
                        <a:lumMod val="50000"/>
                      </a:schemeClr>
                    </a:gs>
                    <a:gs pos="18000">
                      <a:schemeClr val="tx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50911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09566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516516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5115041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chemeClr val="accent4"/>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chemeClr val="tx1"/>
                  </a:gs>
                  <a:gs pos="100000">
                    <a:schemeClr val="tx1"/>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438238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22761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08040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01862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84314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15459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05042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08712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375743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176814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898338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63234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344129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2" y="1211263"/>
            <a:ext cx="7315200" cy="457200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74703" y="5035252"/>
            <a:ext cx="3651821" cy="573074"/>
          </a:xfrm>
          <a:prstGeom prst="rect">
            <a:avLst/>
          </a:prstGeom>
        </p:spPr>
      </p:pic>
      <p:sp>
        <p:nvSpPr>
          <p:cNvPr id="14" name="Title 1"/>
          <p:cNvSpPr>
            <a:spLocks noGrp="1"/>
          </p:cNvSpPr>
          <p:nvPr>
            <p:ph type="title" hasCustomPrompt="1"/>
          </p:nvPr>
        </p:nvSpPr>
        <p:spPr bwMode="black">
          <a:xfrm>
            <a:off x="274638" y="1211263"/>
            <a:ext cx="7315200" cy="1828804"/>
          </a:xfrm>
          <a:noFill/>
        </p:spPr>
        <p:txBody>
          <a:bodyPr lIns="146304" tIns="91440" rIns="146304" bIns="91440" anchor="t" anchorCtr="0"/>
          <a:lstStyle>
            <a:lvl1pPr>
              <a:defRPr sz="6000" spc="-100"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74702" y="3030538"/>
            <a:ext cx="7315200" cy="1830388"/>
          </a:xfrm>
          <a:noFill/>
        </p:spPr>
        <p:txBody>
          <a:bodyPr lIns="146304" tIns="109728" rIns="146304" bIns="109728">
            <a:noAutofit/>
          </a:bodyPr>
          <a:lstStyle>
            <a:lvl1pPr marL="0" indent="0">
              <a:spcBef>
                <a:spcPts val="0"/>
              </a:spcBef>
              <a:buNone/>
              <a:defRPr sz="32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10867073" y="6287386"/>
            <a:ext cx="1005840" cy="195077"/>
          </a:xfrm>
          <a:prstGeom prst="rect">
            <a:avLst/>
          </a:prstGeom>
        </p:spPr>
      </p:pic>
    </p:spTree>
    <p:extLst>
      <p:ext uri="{BB962C8B-B14F-4D97-AF65-F5344CB8AC3E}">
        <p14:creationId xmlns:p14="http://schemas.microsoft.com/office/powerpoint/2010/main" val="29950144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Section Title">
    <p:bg>
      <p:bgPr>
        <a:solidFill>
          <a:srgbClr val="FFFFFF"/>
        </a:solidFill>
        <a:effectLst/>
      </p:bgPr>
    </p:bg>
    <p:spTree>
      <p:nvGrpSpPr>
        <p:cNvPr id="1" name=""/>
        <p:cNvGrpSpPr/>
        <p:nvPr/>
      </p:nvGrpSpPr>
      <p:grpSpPr>
        <a:xfrm>
          <a:off x="0" y="0"/>
          <a:ext cx="0" cy="0"/>
          <a:chOff x="0" y="0"/>
          <a:chExt cx="0" cy="0"/>
        </a:xfrm>
      </p:grpSpPr>
      <p:pic>
        <p:nvPicPr>
          <p:cNvPr id="2" name="Picture 1" descr="iStock_000012586763Large.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 y="0"/>
            <a:ext cx="12436475" cy="6994525"/>
          </a:xfrm>
          <a:prstGeom prst="rect">
            <a:avLst/>
          </a:prstGeom>
        </p:spPr>
      </p:pic>
      <p:sp>
        <p:nvSpPr>
          <p:cNvPr id="10" name="Title 1"/>
          <p:cNvSpPr>
            <a:spLocks noGrp="1"/>
          </p:cNvSpPr>
          <p:nvPr>
            <p:ph type="ctrTitle"/>
          </p:nvPr>
        </p:nvSpPr>
        <p:spPr bwMode="ltGray">
          <a:xfrm>
            <a:off x="522876" y="938270"/>
            <a:ext cx="5125829"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19968" tIns="868483" rIns="1234160" bIns="868483" numCol="1" anchor="ctr" anchorCtr="0" compatLnSpc="1">
            <a:prstTxWarp prst="textNoShape">
              <a:avLst/>
            </a:prstTxWarp>
            <a:noAutofit/>
          </a:bodyPr>
          <a:lstStyle>
            <a:lvl1pPr algn="l">
              <a:defRPr lang="en-US" sz="6119"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32384" rtl="0" eaLnBrk="1" fontAlgn="base" latinLnBrk="0" hangingPunct="1">
              <a:lnSpc>
                <a:spcPct val="100000"/>
              </a:lnSpc>
              <a:spcBef>
                <a:spcPct val="0"/>
              </a:spcBef>
              <a:spcAft>
                <a:spcPct val="0"/>
              </a:spcAft>
              <a:buFontTx/>
              <a:buNone/>
            </a:pPr>
            <a:r>
              <a:rPr lang="en-US" smtClean="0"/>
              <a:t>Click to edit Master title style</a:t>
            </a:r>
            <a:endParaRPr lang="en-US" dirty="0"/>
          </a:p>
        </p:txBody>
      </p:sp>
    </p:spTree>
    <p:extLst>
      <p:ext uri="{BB962C8B-B14F-4D97-AF65-F5344CB8AC3E}">
        <p14:creationId xmlns:p14="http://schemas.microsoft.com/office/powerpoint/2010/main" val="2204350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950338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21731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973124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lang="en-US" smtClean="0"/>
              <a:pPr>
                <a:lnSpc>
                  <a:spcPct val="90000"/>
                </a:lnSpc>
              </a:pPr>
              <a:t>‹#›</a:t>
            </a:fld>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lang="en-US" smtClean="0"/>
              <a:pPr>
                <a:lnSpc>
                  <a:spcPct val="90000"/>
                </a:lnSpc>
              </a:pPr>
              <a:t>‹#›</a:t>
            </a:fld>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lang="en-US" smtClean="0"/>
              <a:pPr>
                <a:lnSpc>
                  <a:spcPct val="90000"/>
                </a:lnSpc>
              </a:pPr>
              <a:t>‹#›</a:t>
            </a:fld>
            <a:endParaRPr lang="en-US" dirty="0"/>
          </a:p>
        </p:txBody>
      </p:sp>
    </p:spTree>
    <p:extLst>
      <p:ext uri="{BB962C8B-B14F-4D97-AF65-F5344CB8AC3E}">
        <p14:creationId xmlns:p14="http://schemas.microsoft.com/office/powerpoint/2010/main" val="241469488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lang="en-US" smtClean="0"/>
              <a:pPr>
                <a:lnSpc>
                  <a:spcPct val="90000"/>
                </a:lnSpc>
              </a:pPr>
              <a:t>‹#›</a:t>
            </a:fld>
            <a:endParaRPr lang="en-US" dirty="0"/>
          </a:p>
        </p:txBody>
      </p:sp>
    </p:spTree>
    <p:extLst>
      <p:ext uri="{BB962C8B-B14F-4D97-AF65-F5344CB8AC3E}">
        <p14:creationId xmlns:p14="http://schemas.microsoft.com/office/powerpoint/2010/main" val="42936257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lang="en-US" smtClean="0"/>
              <a:pPr>
                <a:lnSpc>
                  <a:spcPct val="90000"/>
                </a:lnSpc>
              </a:pPr>
              <a:t>‹#›</a:t>
            </a:fld>
            <a:endParaRPr lang="en-US" dirty="0"/>
          </a:p>
        </p:txBody>
      </p:sp>
    </p:spTree>
    <p:extLst>
      <p:ext uri="{BB962C8B-B14F-4D97-AF65-F5344CB8AC3E}">
        <p14:creationId xmlns:p14="http://schemas.microsoft.com/office/powerpoint/2010/main" val="156782336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5" y="6048777"/>
            <a:ext cx="1849308" cy="680256"/>
          </a:xfrm>
          <a:prstGeom prst="rect">
            <a:avLst/>
          </a:prstGeom>
        </p:spPr>
      </p:pic>
      <p:sp>
        <p:nvSpPr>
          <p:cNvPr id="12" name="Rectangle 11"/>
          <p:cNvSpPr/>
          <p:nvPr userDrawn="1"/>
        </p:nvSpPr>
        <p:spPr bwMode="gray">
          <a:xfrm>
            <a:off x="274702"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2286680"/>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74702" y="3497943"/>
            <a:ext cx="7315200" cy="2285320"/>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lang="en-US" smtClean="0"/>
              <a:pPr>
                <a:lnSpc>
                  <a:spcPct val="90000"/>
                </a:lnSpc>
              </a:pPr>
              <a:t>‹#›</a:t>
            </a:fld>
            <a:endParaRPr lang="en-US" dirty="0"/>
          </a:p>
        </p:txBody>
      </p:sp>
    </p:spTree>
    <p:extLst>
      <p:ext uri="{BB962C8B-B14F-4D97-AF65-F5344CB8AC3E}">
        <p14:creationId xmlns:p14="http://schemas.microsoft.com/office/powerpoint/2010/main" val="266684351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3027" y="292082"/>
            <a:ext cx="11375536" cy="738664"/>
          </a:xfrm>
        </p:spPr>
        <p:txBody>
          <a:bodyPr/>
          <a:lstStyle>
            <a:lvl1pPr>
              <a:defRPr sz="4000"/>
            </a:lvl1pPr>
          </a:lstStyle>
          <a:p>
            <a:r>
              <a:rPr lang="en-US" dirty="0" smtClean="0"/>
              <a:t>Click to edit master title style</a:t>
            </a:r>
            <a:endParaRPr lang="en-US" dirty="0"/>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3"/>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3099696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86708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66526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41621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smtClean="0"/>
              <a:t>Click to edit Master title style</a:t>
            </a:r>
            <a:endParaRPr lang="en-US" dirty="0"/>
          </a:p>
        </p:txBody>
      </p:sp>
    </p:spTree>
    <p:extLst>
      <p:ext uri="{BB962C8B-B14F-4D97-AF65-F5344CB8AC3E}">
        <p14:creationId xmlns:p14="http://schemas.microsoft.com/office/powerpoint/2010/main" val="4095534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569126"/>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1" y="3283251"/>
            <a:ext cx="7666298" cy="762459"/>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276142148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2" y="1211263"/>
            <a:ext cx="7315200" cy="457200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8" y="1211263"/>
            <a:ext cx="7315200" cy="2249719"/>
          </a:xfrm>
          <a:noFill/>
        </p:spPr>
        <p:txBody>
          <a:bodyPr lIns="146304" tIns="91440" rIns="146304" bIns="91440" anchor="t" anchorCtr="0"/>
          <a:lstStyle>
            <a:lvl1pPr>
              <a:defRPr sz="6000" spc="-100"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74702" y="3483429"/>
            <a:ext cx="7315200" cy="2277387"/>
          </a:xfrm>
          <a:noFill/>
        </p:spPr>
        <p:txBody>
          <a:bodyPr lIns="146304" tIns="109728" rIns="146304" bIns="109728">
            <a:noAutofit/>
          </a:bodyPr>
          <a:lstStyle>
            <a:lvl1pPr marL="0" indent="0">
              <a:spcBef>
                <a:spcPts val="0"/>
              </a:spcBef>
              <a:buNone/>
              <a:defRPr sz="32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5" y="6048777"/>
            <a:ext cx="1849308" cy="680256"/>
          </a:xfrm>
          <a:prstGeom prst="rect">
            <a:avLst/>
          </a:prstGeom>
        </p:spPr>
      </p:pic>
    </p:spTree>
    <p:extLst>
      <p:ext uri="{BB962C8B-B14F-4D97-AF65-F5344CB8AC3E}">
        <p14:creationId xmlns:p14="http://schemas.microsoft.com/office/powerpoint/2010/main" val="33851036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5838181"/>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950338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Section Title">
    <p:bg>
      <p:bgPr>
        <a:solidFill>
          <a:srgbClr val="442359"/>
        </a:solid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bwMode="ltGray">
          <a:xfrm>
            <a:off x="522876" y="938270"/>
            <a:ext cx="5125829"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noFill/>
          <a:ln>
            <a:noFill/>
          </a:ln>
          <a:extLst/>
        </p:spPr>
        <p:txBody>
          <a:bodyPr vert="horz" wrap="square" lIns="319968" tIns="868483" rIns="1234160" bIns="868483" numCol="1" anchor="ctr" anchorCtr="0" compatLnSpc="1">
            <a:prstTxWarp prst="textNoShape">
              <a:avLst/>
            </a:prstTxWarp>
            <a:noAutofit/>
          </a:bodyPr>
          <a:lstStyle>
            <a:lvl1pPr algn="l">
              <a:defRPr lang="en-US" sz="6119"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32384"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2043508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55977577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09552" y="513797"/>
            <a:ext cx="11428171" cy="742628"/>
          </a:xfrm>
        </p:spPr>
        <p:txBody>
          <a:bodyPr vert="horz" lIns="0" tIns="0" rIns="0" bIns="0" rtlCol="0">
            <a:noAutofit/>
          </a:bodyPr>
          <a:lstStyle>
            <a:lvl1pPr>
              <a:defRPr lang="en-US" sz="4899" dirty="0" smtClean="0"/>
            </a:lvl1pPr>
          </a:lstStyle>
          <a:p>
            <a:pPr lvl="0"/>
            <a:r>
              <a:rPr lang="en-US" dirty="0" smtClean="0"/>
              <a:t>Click to edit Master text styles</a:t>
            </a:r>
          </a:p>
        </p:txBody>
      </p:sp>
    </p:spTree>
    <p:extLst>
      <p:ext uri="{BB962C8B-B14F-4D97-AF65-F5344CB8AC3E}">
        <p14:creationId xmlns:p14="http://schemas.microsoft.com/office/powerpoint/2010/main" val="364911529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0440397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542346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5775609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952955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5574232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2" y="1211263"/>
            <a:ext cx="7315200" cy="4572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8" y="1211263"/>
            <a:ext cx="7315200" cy="2249719"/>
          </a:xfrm>
          <a:noFill/>
        </p:spPr>
        <p:txBody>
          <a:bodyPr lIns="146304" tIns="91440" rIns="146304" bIns="91440" anchor="t" anchorCtr="0"/>
          <a:lstStyle>
            <a:lvl1pPr>
              <a:defRPr sz="6000" spc="-100"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74702" y="3483429"/>
            <a:ext cx="7315200" cy="2277387"/>
          </a:xfrm>
          <a:noFill/>
        </p:spPr>
        <p:txBody>
          <a:bodyPr lIns="146304" tIns="109728" rIns="146304" bIns="109728">
            <a:noAutofit/>
          </a:bodyPr>
          <a:lstStyle>
            <a:lvl1pPr marL="0" indent="0">
              <a:spcBef>
                <a:spcPts val="0"/>
              </a:spcBef>
              <a:buNone/>
              <a:defRPr sz="32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5" y="6048777"/>
            <a:ext cx="1849308" cy="680256"/>
          </a:xfrm>
          <a:prstGeom prst="rect">
            <a:avLst/>
          </a:prstGeom>
        </p:spPr>
      </p:pic>
    </p:spTree>
    <p:extLst>
      <p:ext uri="{BB962C8B-B14F-4D97-AF65-F5344CB8AC3E}">
        <p14:creationId xmlns:p14="http://schemas.microsoft.com/office/powerpoint/2010/main" val="23562365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176574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659539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04943980"/>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3832845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4489399"/>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53811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704606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7779707"/>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958949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982848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2" y="1211263"/>
            <a:ext cx="7315200" cy="4572000"/>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8" y="1211263"/>
            <a:ext cx="7315200" cy="2249719"/>
          </a:xfrm>
          <a:noFill/>
        </p:spPr>
        <p:txBody>
          <a:bodyPr lIns="146304" tIns="91440" rIns="146304" bIns="91440" anchor="t" anchorCtr="0"/>
          <a:lstStyle>
            <a:lvl1pPr>
              <a:defRPr sz="6000" spc="-100"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74702" y="3483429"/>
            <a:ext cx="7315200" cy="2277387"/>
          </a:xfrm>
          <a:noFill/>
        </p:spPr>
        <p:txBody>
          <a:bodyPr lIns="146304" tIns="109728" rIns="146304" bIns="109728">
            <a:noAutofit/>
          </a:bodyPr>
          <a:lstStyle>
            <a:lvl1pPr marL="0" indent="0">
              <a:spcBef>
                <a:spcPts val="0"/>
              </a:spcBef>
              <a:buNone/>
              <a:defRPr sz="32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5" y="6048777"/>
            <a:ext cx="1849308" cy="680256"/>
          </a:xfrm>
          <a:prstGeom prst="rect">
            <a:avLst/>
          </a:prstGeom>
        </p:spPr>
      </p:pic>
    </p:spTree>
    <p:extLst>
      <p:ext uri="{BB962C8B-B14F-4D97-AF65-F5344CB8AC3E}">
        <p14:creationId xmlns:p14="http://schemas.microsoft.com/office/powerpoint/2010/main" val="6702913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9528998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2037619"/>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9864033"/>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67924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049846"/>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08450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916942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129331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theme" Target="../theme/theme2.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theme" Target="../theme/theme3.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183" r:id="rId2"/>
    <p:sldLayoutId id="2147484196" r:id="rId3"/>
    <p:sldLayoutId id="2147484197" r:id="rId4"/>
    <p:sldLayoutId id="2147484198" r:id="rId5"/>
    <p:sldLayoutId id="2147484162" r:id="rId6"/>
    <p:sldLayoutId id="2147484201" r:id="rId7"/>
    <p:sldLayoutId id="2147484220" r:id="rId8"/>
    <p:sldLayoutId id="2147484221" r:id="rId9"/>
    <p:sldLayoutId id="2147484191" r:id="rId10"/>
    <p:sldLayoutId id="2147484202" r:id="rId11"/>
    <p:sldLayoutId id="2147484203" r:id="rId12"/>
    <p:sldLayoutId id="2147484204" r:id="rId13"/>
    <p:sldLayoutId id="2147484193" r:id="rId14"/>
    <p:sldLayoutId id="2147484205" r:id="rId15"/>
    <p:sldLayoutId id="2147484206" r:id="rId16"/>
    <p:sldLayoutId id="2147484207" r:id="rId17"/>
    <p:sldLayoutId id="2147484105" r:id="rId18"/>
    <p:sldLayoutId id="2147484208" r:id="rId19"/>
    <p:sldLayoutId id="2147484209" r:id="rId20"/>
    <p:sldLayoutId id="2147484210" r:id="rId21"/>
    <p:sldLayoutId id="2147484184" r:id="rId22"/>
    <p:sldLayoutId id="2147484211" r:id="rId23"/>
    <p:sldLayoutId id="2147484212" r:id="rId24"/>
    <p:sldLayoutId id="2147484213" r:id="rId25"/>
    <p:sldLayoutId id="2147484182" r:id="rId26"/>
    <p:sldLayoutId id="2147484214" r:id="rId27"/>
    <p:sldLayoutId id="2147484215" r:id="rId28"/>
    <p:sldLayoutId id="2147484216" r:id="rId29"/>
    <p:sldLayoutId id="2147484185" r:id="rId30"/>
    <p:sldLayoutId id="2147484217" r:id="rId31"/>
    <p:sldLayoutId id="2147484218" r:id="rId32"/>
    <p:sldLayoutId id="2147484219" r:id="rId33"/>
    <p:sldLayoutId id="2147484130" r:id="rId34"/>
    <p:sldLayoutId id="2147484101" r:id="rId35"/>
    <p:sldLayoutId id="2147484102" r:id="rId36"/>
    <p:sldLayoutId id="2147484195" r:id="rId37"/>
    <p:sldLayoutId id="2147484098" r:id="rId38"/>
    <p:sldLayoutId id="2147484086" r:id="rId39"/>
    <p:sldLayoutId id="2147484100" r:id="rId40"/>
    <p:sldLayoutId id="2147484089" r:id="rId41"/>
    <p:sldLayoutId id="2147484092" r:id="rId42"/>
    <p:sldLayoutId id="2147484093" r:id="rId43"/>
    <p:sldLayoutId id="2147484127" r:id="rId44"/>
    <p:sldLayoutId id="2147484128" r:id="rId45"/>
    <p:sldLayoutId id="2147484129" r:id="rId46"/>
    <p:sldLayoutId id="2147484194" r:id="rId47"/>
    <p:sldLayoutId id="2147484094" r:id="rId48"/>
    <p:sldLayoutId id="2147484096" r:id="rId49"/>
    <p:sldLayoutId id="2147484223" r:id="rId50"/>
    <p:sldLayoutId id="2147484224" r:id="rId51"/>
    <p:sldLayoutId id="2147484225" r:id="rId5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accent1"/>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3013"/>
            <a:ext cx="511664" cy="124650"/>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a:lnSpc>
                <a:spcPct val="90000"/>
              </a:lnSpc>
            </a:pPr>
            <a:fld id="{1BC86A1F-E589-44B2-A543-2EC98F5547A7}" type="slidenum">
              <a:rPr lang="en-US" smtClean="0"/>
              <a:pPr>
                <a:lnSpc>
                  <a:spcPct val="90000"/>
                </a:lnSpc>
              </a:pPr>
              <a:t>‹#›</a:t>
            </a:fld>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6" r:id="rId19"/>
    <p:sldLayoutId id="2147484247" r:id="rId20"/>
    <p:sldLayoutId id="2147484248" r:id="rId21"/>
    <p:sldLayoutId id="2147484250"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solidFill>
            <a:schemeClr val="accent1"/>
          </a:soli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5639050"/>
      </p:ext>
    </p:extLst>
  </p:cSld>
  <p:clrMap bg1="dk1" tx1="lt1" bg2="dk2" tx2="lt2" accent1="accent1" accent2="accent2" accent3="accent3" accent4="accent4" accent5="accent5" accent6="accent6" hlink="hlink" folHlink="folHlink"/>
  <p:sldLayoutIdLst>
    <p:sldLayoutId id="2147484252" r:id="rId1"/>
    <p:sldLayoutId id="2147484253" r:id="rId2"/>
    <p:sldLayoutId id="2147484254" r:id="rId3"/>
    <p:sldLayoutId id="2147484255" r:id="rId4"/>
    <p:sldLayoutId id="2147484256" r:id="rId5"/>
    <p:sldLayoutId id="2147484257" r:id="rId6"/>
    <p:sldLayoutId id="2147484258" r:id="rId7"/>
    <p:sldLayoutId id="2147484259" r:id="rId8"/>
    <p:sldLayoutId id="2147484260" r:id="rId9"/>
    <p:sldLayoutId id="2147484261" r:id="rId10"/>
    <p:sldLayoutId id="2147484262" r:id="rId11"/>
    <p:sldLayoutId id="2147484263" r:id="rId12"/>
    <p:sldLayoutId id="2147484264" r:id="rId13"/>
    <p:sldLayoutId id="2147484265" r:id="rId14"/>
    <p:sldLayoutId id="2147484266" r:id="rId15"/>
    <p:sldLayoutId id="2147484267" r:id="rId16"/>
    <p:sldLayoutId id="2147484268" r:id="rId17"/>
    <p:sldLayoutId id="2147484269" r:id="rId18"/>
    <p:sldLayoutId id="2147484270" r:id="rId19"/>
    <p:sldLayoutId id="2147484271" r:id="rId20"/>
    <p:sldLayoutId id="2147484272" r:id="rId21"/>
    <p:sldLayoutId id="2147484273" r:id="rId22"/>
    <p:sldLayoutId id="2147484274"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3.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61.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61.xml"/><Relationship Id="rId6" Type="http://schemas.microsoft.com/office/2007/relationships/hdphoto" Target="../media/hdphoto2.wdp"/><Relationship Id="rId5" Type="http://schemas.openxmlformats.org/officeDocument/2006/relationships/image" Target="../media/image26.png"/><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1.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29.png"/><Relationship Id="rId7"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61.xml"/><Relationship Id="rId6" Type="http://schemas.microsoft.com/office/2007/relationships/hdphoto" Target="../media/hdphoto6.wdp"/><Relationship Id="rId5" Type="http://schemas.microsoft.com/office/2007/relationships/hdphoto" Target="../media/hdphoto5.wdp"/><Relationship Id="rId4" Type="http://schemas.microsoft.com/office/2007/relationships/hdphoto" Target="../media/hdphoto4.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23.xml"/><Relationship Id="rId1" Type="http://schemas.openxmlformats.org/officeDocument/2006/relationships/slideLayout" Target="../slideLayouts/slideLayout61.xml"/><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61.xml"/><Relationship Id="rId6" Type="http://schemas.openxmlformats.org/officeDocument/2006/relationships/image" Target="../media/image34.png"/><Relationship Id="rId5" Type="http://schemas.openxmlformats.org/officeDocument/2006/relationships/image" Target="../media/image14.png"/><Relationship Id="rId4" Type="http://schemas.microsoft.com/office/2007/relationships/hdphoto" Target="../media/hdphoto8.wdp"/></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6.xml"/><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61.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7" Type="http://schemas.microsoft.com/office/2007/relationships/hdphoto" Target="../media/hdphoto10.wdp"/><Relationship Id="rId2" Type="http://schemas.openxmlformats.org/officeDocument/2006/relationships/notesSlide" Target="../notesSlides/notesSlide28.xml"/><Relationship Id="rId1" Type="http://schemas.openxmlformats.org/officeDocument/2006/relationships/slideLayout" Target="../slideLayouts/slideLayout61.xml"/><Relationship Id="rId6" Type="http://schemas.openxmlformats.org/officeDocument/2006/relationships/image" Target="../media/image38.jpeg"/><Relationship Id="rId5" Type="http://schemas.microsoft.com/office/2007/relationships/hdphoto" Target="../media/hdphoto9.wdp"/><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30.xml.rels><?xml version="1.0" encoding="UTF-8" standalone="yes"?>
<Relationships xmlns="http://schemas.openxmlformats.org/package/2006/relationships"><Relationship Id="rId8" Type="http://schemas.microsoft.com/office/2007/relationships/hdphoto" Target="../media/hdphoto13.wdp"/><Relationship Id="rId3" Type="http://schemas.openxmlformats.org/officeDocument/2006/relationships/image" Target="../media/image40.png"/><Relationship Id="rId7"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61.xml"/><Relationship Id="rId6" Type="http://schemas.microsoft.com/office/2007/relationships/hdphoto" Target="../media/hdphoto12.wdp"/><Relationship Id="rId11" Type="http://schemas.openxmlformats.org/officeDocument/2006/relationships/image" Target="../media/image39.png"/><Relationship Id="rId5" Type="http://schemas.openxmlformats.org/officeDocument/2006/relationships/image" Target="../media/image41.png"/><Relationship Id="rId10" Type="http://schemas.microsoft.com/office/2007/relationships/hdphoto" Target="../media/hdphoto14.wdp"/><Relationship Id="rId4" Type="http://schemas.microsoft.com/office/2007/relationships/hdphoto" Target="../media/hdphoto11.wdp"/><Relationship Id="rId9"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1.xml"/><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1.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3.xml"/><Relationship Id="rId1" Type="http://schemas.openxmlformats.org/officeDocument/2006/relationships/slideLayout" Target="../slideLayouts/slideLayout61.xml"/><Relationship Id="rId4" Type="http://schemas.openxmlformats.org/officeDocument/2006/relationships/image" Target="../media/image34.png"/></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4.xml"/><Relationship Id="rId1" Type="http://schemas.openxmlformats.org/officeDocument/2006/relationships/slideLayout" Target="../slideLayouts/slideLayout6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1.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6.xml"/><Relationship Id="rId1" Type="http://schemas.openxmlformats.org/officeDocument/2006/relationships/slideLayout" Target="../slideLayouts/slideLayout61.xml"/></Relationships>
</file>

<file path=ppt/slides/_rels/slide37.xml.rels><?xml version="1.0" encoding="UTF-8" standalone="yes"?>
<Relationships xmlns="http://schemas.openxmlformats.org/package/2006/relationships"><Relationship Id="rId8" Type="http://schemas.openxmlformats.org/officeDocument/2006/relationships/hyperlink" Target="http://www.microsoft.com/workstyle" TargetMode="External"/><Relationship Id="rId3" Type="http://schemas.openxmlformats.org/officeDocument/2006/relationships/hyperlink" Target="../technet.microsoft.com/en-us/evalcenter/hh667640.aspx?wt.mc_id=TEC_105_1_33" TargetMode="External"/><Relationship Id="rId7" Type="http://schemas.openxmlformats.org/officeDocument/2006/relationships/hyperlink" Target="http://www.microsoft.com/en-us/server-cloud/windows-server/virtual-desktop-infrastructure.aspx" TargetMode="External"/><Relationship Id="rId2" Type="http://schemas.openxmlformats.org/officeDocument/2006/relationships/notesSlide" Target="../notesSlides/notesSlide37.xml"/><Relationship Id="rId1" Type="http://schemas.openxmlformats.org/officeDocument/2006/relationships/slideLayout" Target="../slideLayouts/slideLayout74.xml"/><Relationship Id="rId6" Type="http://schemas.openxmlformats.org/officeDocument/2006/relationships/hyperlink" Target="http://technet.microsoft.com/en-us/evalcenter/hh670538.aspx?ocid=&amp;wt.mc_id=TEC_108_1_33" TargetMode="External"/><Relationship Id="rId11" Type="http://schemas.openxmlformats.org/officeDocument/2006/relationships/image" Target="../media/image46.png"/><Relationship Id="rId5" Type="http://schemas.openxmlformats.org/officeDocument/2006/relationships/hyperlink" Target="http://www.microsoft.com/en-us/server-cloud/windows-server" TargetMode="External"/><Relationship Id="rId10" Type="http://schemas.openxmlformats.org/officeDocument/2006/relationships/image" Target="../media/image45.png"/><Relationship Id="rId4" Type="http://schemas.openxmlformats.org/officeDocument/2006/relationships/hyperlink" Target="http://www.microsoft.com/en-us/windows/windowsintune/try-and-buy" TargetMode="External"/><Relationship Id="rId9" Type="http://schemas.openxmlformats.org/officeDocument/2006/relationships/hyperlink" Target="http://www.microsoft.com/server-cloud/user-device-management"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47.png"/><Relationship Id="rId2" Type="http://schemas.openxmlformats.org/officeDocument/2006/relationships/notesSlide" Target="../notesSlides/notesSlide38.xml"/><Relationship Id="rId1" Type="http://schemas.openxmlformats.org/officeDocument/2006/relationships/slideLayout" Target="../slideLayouts/slideLayout61.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48.png"/><Relationship Id="rId7" Type="http://schemas.openxmlformats.org/officeDocument/2006/relationships/image" Target="../media/image52.jpeg"/><Relationship Id="rId2" Type="http://schemas.openxmlformats.org/officeDocument/2006/relationships/notesSlide" Target="../notesSlides/notesSlide39.xml"/><Relationship Id="rId1" Type="http://schemas.openxmlformats.org/officeDocument/2006/relationships/slideLayout" Target="../slideLayouts/slideLayout61.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png"/><Relationship Id="rId9" Type="http://schemas.openxmlformats.org/officeDocument/2006/relationships/image" Target="../media/image54.jpe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6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40.xml.rels><?xml version="1.0" encoding="UTF-8" standalone="yes"?>
<Relationships xmlns="http://schemas.openxmlformats.org/package/2006/relationships"><Relationship Id="rId8" Type="http://schemas.openxmlformats.org/officeDocument/2006/relationships/hyperlink" Target="microsoft.com/windows/wtg" TargetMode="External"/><Relationship Id="rId3" Type="http://schemas.openxmlformats.org/officeDocument/2006/relationships/image" Target="../media/image44.png"/><Relationship Id="rId7" Type="http://schemas.openxmlformats.org/officeDocument/2006/relationships/hyperlink" Target="microsoft.com/dv" TargetMode="External"/><Relationship Id="rId2" Type="http://schemas.openxmlformats.org/officeDocument/2006/relationships/notesSlide" Target="../notesSlides/notesSlide40.xml"/><Relationship Id="rId1" Type="http://schemas.openxmlformats.org/officeDocument/2006/relationships/slideLayout" Target="../slideLayouts/slideLayout90.xml"/><Relationship Id="rId6" Type="http://schemas.openxmlformats.org/officeDocument/2006/relationships/hyperlink" Target="microsoft.com/mdop" TargetMode="External"/><Relationship Id="rId5" Type="http://schemas.openxmlformats.org/officeDocument/2006/relationships/hyperlink" Target="windows.com/ITpro" TargetMode="External"/><Relationship Id="rId4" Type="http://schemas.openxmlformats.org/officeDocument/2006/relationships/hyperlink" Target="windows.com/enterprise" TargetMode="External"/><Relationship Id="rId9" Type="http://schemas.openxmlformats.org/officeDocument/2006/relationships/hyperlink" Target="tryoutlook.com"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47.png"/><Relationship Id="rId2" Type="http://schemas.openxmlformats.org/officeDocument/2006/relationships/notesSlide" Target="../notesSlides/notesSlide41.xml"/><Relationship Id="rId1" Type="http://schemas.openxmlformats.org/officeDocument/2006/relationships/slideLayout" Target="../slideLayouts/slideLayout90.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42.xml.rels><?xml version="1.0" encoding="UTF-8" standalone="yes"?>
<Relationships xmlns="http://schemas.openxmlformats.org/package/2006/relationships"><Relationship Id="rId8" Type="http://schemas.openxmlformats.org/officeDocument/2006/relationships/hyperlink" Target="http://www.microsoft.com/workstyle" TargetMode="External"/><Relationship Id="rId3" Type="http://schemas.openxmlformats.org/officeDocument/2006/relationships/hyperlink" Target="../technet.microsoft.com/en-us/evalcenter/hh667640.aspx?wt.mc_id=TEC_105_1_33" TargetMode="External"/><Relationship Id="rId7" Type="http://schemas.openxmlformats.org/officeDocument/2006/relationships/hyperlink" Target="http://www.microsoft.com/en-us/server-cloud/windows-server/virtual-desktop-infrastructure.aspx" TargetMode="External"/><Relationship Id="rId2" Type="http://schemas.openxmlformats.org/officeDocument/2006/relationships/notesSlide" Target="../notesSlides/notesSlide42.xml"/><Relationship Id="rId1" Type="http://schemas.openxmlformats.org/officeDocument/2006/relationships/slideLayout" Target="../slideLayouts/slideLayout85.xml"/><Relationship Id="rId6" Type="http://schemas.openxmlformats.org/officeDocument/2006/relationships/hyperlink" Target="http://technet.microsoft.com/en-us/evalcenter/hh670538.aspx?ocid=&amp;wt.mc_id=TEC_108_1_33" TargetMode="External"/><Relationship Id="rId11" Type="http://schemas.openxmlformats.org/officeDocument/2006/relationships/image" Target="../media/image46.png"/><Relationship Id="rId5" Type="http://schemas.openxmlformats.org/officeDocument/2006/relationships/hyperlink" Target="http://www.microsoft.com/en-us/server-cloud/windows-server" TargetMode="External"/><Relationship Id="rId10" Type="http://schemas.openxmlformats.org/officeDocument/2006/relationships/image" Target="../media/image45.png"/><Relationship Id="rId4" Type="http://schemas.openxmlformats.org/officeDocument/2006/relationships/hyperlink" Target="http://www.microsoft.com/en-us/windows/windowsintune/try-and-buy" TargetMode="External"/><Relationship Id="rId9" Type="http://schemas.openxmlformats.org/officeDocument/2006/relationships/hyperlink" Target="http://www.microsoft.com/server-cloud/user-device-management"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55.png"/><Relationship Id="rId7" Type="http://schemas.openxmlformats.org/officeDocument/2006/relationships/image" Target="../media/image52.jpeg"/><Relationship Id="rId2" Type="http://schemas.openxmlformats.org/officeDocument/2006/relationships/notesSlide" Target="../notesSlides/notesSlide43.xml"/><Relationship Id="rId1" Type="http://schemas.openxmlformats.org/officeDocument/2006/relationships/slideLayout" Target="../slideLayouts/slideLayout90.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png"/><Relationship Id="rId9" Type="http://schemas.openxmlformats.org/officeDocument/2006/relationships/image" Target="../media/image54.jpeg"/></Relationships>
</file>

<file path=ppt/slides/_rels/slide4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4.xml"/><Relationship Id="rId1" Type="http://schemas.openxmlformats.org/officeDocument/2006/relationships/slideLayout" Target="../slideLayouts/slideLayout90.xml"/><Relationship Id="rId5" Type="http://schemas.openxmlformats.org/officeDocument/2006/relationships/image" Target="../media/image58.png"/><Relationship Id="rId4" Type="http://schemas.openxmlformats.org/officeDocument/2006/relationships/image" Target="../media/image57.png"/></Relationships>
</file>

<file path=ppt/slides/_rels/slide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5.xml"/><Relationship Id="rId1" Type="http://schemas.openxmlformats.org/officeDocument/2006/relationships/slideLayout" Target="../slideLayouts/slideLayout91.xml"/></Relationships>
</file>

<file path=ppt/slides/_rels/slide4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6.xml"/><Relationship Id="rId1" Type="http://schemas.openxmlformats.org/officeDocument/2006/relationships/slideLayout" Target="../slideLayouts/slideLayout72.xml"/></Relationships>
</file>

<file path=ppt/slides/_rels/slide47.xml.rels><?xml version="1.0" encoding="UTF-8" standalone="yes"?>
<Relationships xmlns="http://schemas.openxmlformats.org/package/2006/relationships"><Relationship Id="rId8" Type="http://schemas.microsoft.com/office/2007/relationships/hdphoto" Target="../media/hdphoto16.wdp"/><Relationship Id="rId13" Type="http://schemas.openxmlformats.org/officeDocument/2006/relationships/image" Target="../media/image65.png"/><Relationship Id="rId18" Type="http://schemas.microsoft.com/office/2007/relationships/hdphoto" Target="../media/hdphoto20.wdp"/><Relationship Id="rId3" Type="http://schemas.openxmlformats.org/officeDocument/2006/relationships/image" Target="../media/image59.png"/><Relationship Id="rId21" Type="http://schemas.openxmlformats.org/officeDocument/2006/relationships/image" Target="../media/image71.png"/><Relationship Id="rId7" Type="http://schemas.openxmlformats.org/officeDocument/2006/relationships/image" Target="../media/image62.png"/><Relationship Id="rId12" Type="http://schemas.microsoft.com/office/2007/relationships/hdphoto" Target="../media/hdphoto18.wdp"/><Relationship Id="rId17" Type="http://schemas.openxmlformats.org/officeDocument/2006/relationships/image" Target="../media/image68.png"/><Relationship Id="rId2" Type="http://schemas.openxmlformats.org/officeDocument/2006/relationships/notesSlide" Target="../notesSlides/notesSlide47.xml"/><Relationship Id="rId16" Type="http://schemas.openxmlformats.org/officeDocument/2006/relationships/image" Target="../media/image67.png"/><Relationship Id="rId20" Type="http://schemas.openxmlformats.org/officeDocument/2006/relationships/image" Target="../media/image70.png"/><Relationship Id="rId1" Type="http://schemas.openxmlformats.org/officeDocument/2006/relationships/slideLayout" Target="../slideLayouts/slideLayout61.xml"/><Relationship Id="rId6" Type="http://schemas.microsoft.com/office/2007/relationships/hdphoto" Target="../media/hdphoto15.wdp"/><Relationship Id="rId11" Type="http://schemas.openxmlformats.org/officeDocument/2006/relationships/image" Target="../media/image64.png"/><Relationship Id="rId5" Type="http://schemas.openxmlformats.org/officeDocument/2006/relationships/image" Target="../media/image61.png"/><Relationship Id="rId15" Type="http://schemas.openxmlformats.org/officeDocument/2006/relationships/image" Target="../media/image66.png"/><Relationship Id="rId23" Type="http://schemas.microsoft.com/office/2007/relationships/hdphoto" Target="../media/hdphoto8.wdp"/><Relationship Id="rId10" Type="http://schemas.microsoft.com/office/2007/relationships/hdphoto" Target="../media/hdphoto17.wdp"/><Relationship Id="rId19" Type="http://schemas.openxmlformats.org/officeDocument/2006/relationships/image" Target="../media/image69.png"/><Relationship Id="rId4" Type="http://schemas.openxmlformats.org/officeDocument/2006/relationships/image" Target="../media/image60.gif"/><Relationship Id="rId9" Type="http://schemas.openxmlformats.org/officeDocument/2006/relationships/image" Target="../media/image63.png"/><Relationship Id="rId14" Type="http://schemas.microsoft.com/office/2007/relationships/hdphoto" Target="../media/hdphoto19.wdp"/><Relationship Id="rId22" Type="http://schemas.openxmlformats.org/officeDocument/2006/relationships/image" Target="../media/image72.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1.xml"/></Relationships>
</file>

<file path=ppt/slides/_rels/slide4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9.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1.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0.png"/><Relationship Id="rId4" Type="http://schemas.openxmlformats.org/officeDocument/2006/relationships/image" Target="../media/image15.png"/><Relationship Id="rId9" Type="http://schemas.openxmlformats.org/officeDocument/2006/relationships/image" Target="../media/image19.png"/></Relationships>
</file>

<file path=ppt/slides/_rels/slide5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0.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1.xml"/><Relationship Id="rId1" Type="http://schemas.openxmlformats.org/officeDocument/2006/relationships/tags" Target="../tags/tag1.xml"/><Relationship Id="rId5" Type="http://schemas.openxmlformats.org/officeDocument/2006/relationships/image" Target="../media/image21.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71.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4.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32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8489781" y="5089564"/>
            <a:ext cx="3489494" cy="11682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r>
              <a:rPr lang="en-US" sz="1600" dirty="0">
                <a:solidFill>
                  <a:schemeClr val="tx1"/>
                </a:solidFill>
              </a:rPr>
              <a:t>Automated deployment and configuration</a:t>
            </a:r>
          </a:p>
        </p:txBody>
      </p:sp>
      <p:sp>
        <p:nvSpPr>
          <p:cNvPr id="32" name="Rectangle 31"/>
          <p:cNvSpPr/>
          <p:nvPr/>
        </p:nvSpPr>
        <p:spPr bwMode="auto">
          <a:xfrm>
            <a:off x="4568820" y="5533473"/>
            <a:ext cx="3021017" cy="7266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r>
              <a:rPr lang="en-US" sz="1600" dirty="0">
                <a:solidFill>
                  <a:schemeClr val="tx1"/>
                </a:solidFill>
              </a:rPr>
              <a:t>Admin tools integrated in server </a:t>
            </a:r>
            <a:r>
              <a:rPr lang="en-US" sz="1600" dirty="0" smtClean="0">
                <a:solidFill>
                  <a:schemeClr val="tx1"/>
                </a:solidFill>
              </a:rPr>
              <a:t>manager</a:t>
            </a:r>
          </a:p>
          <a:p>
            <a:r>
              <a:rPr lang="en-US" sz="1600" dirty="0" smtClean="0">
                <a:solidFill>
                  <a:schemeClr val="tx1"/>
                </a:solidFill>
              </a:rPr>
              <a:t>Session Shadowing</a:t>
            </a:r>
            <a:endParaRPr lang="en-US" sz="1600" dirty="0">
              <a:solidFill>
                <a:schemeClr val="tx1"/>
              </a:solidFill>
            </a:endParaRPr>
          </a:p>
        </p:txBody>
      </p:sp>
      <p:sp>
        <p:nvSpPr>
          <p:cNvPr id="2" name="Title 1"/>
          <p:cNvSpPr>
            <a:spLocks noGrp="1"/>
          </p:cNvSpPr>
          <p:nvPr>
            <p:ph type="title"/>
          </p:nvPr>
        </p:nvSpPr>
        <p:spPr>
          <a:xfrm>
            <a:off x="256324" y="305760"/>
            <a:ext cx="11714483" cy="1314847"/>
          </a:xfrm>
        </p:spPr>
        <p:txBody>
          <a:bodyPr/>
          <a:lstStyle/>
          <a:p>
            <a:r>
              <a:rPr lang="en-US" dirty="0"/>
              <a:t>Efficient management with simple deployment, intuitive administration, and scalability</a:t>
            </a:r>
          </a:p>
        </p:txBody>
      </p:sp>
      <p:sp>
        <p:nvSpPr>
          <p:cNvPr id="12" name="Slide Number Placeholder 3"/>
          <p:cNvSpPr>
            <a:spLocks noGrp="1"/>
          </p:cNvSpPr>
          <p:nvPr>
            <p:ph type="sldNum" sz="quarter" idx="4294967295"/>
          </p:nvPr>
        </p:nvSpPr>
        <p:spPr>
          <a:xfrm>
            <a:off x="11796063" y="6581480"/>
            <a:ext cx="369486" cy="124650"/>
          </a:xfrm>
          <a:prstGeom prst="rect">
            <a:avLst/>
          </a:prstGeom>
        </p:spPr>
        <p:txBody>
          <a:bodyPr/>
          <a:lstStyle/>
          <a:p>
            <a:pPr>
              <a:lnSpc>
                <a:spcPct val="90000"/>
              </a:lnSpc>
            </a:pPr>
            <a:fld id="{1BC86A1F-E589-44B2-A543-2EC98F5547A7}" type="slidenum">
              <a:rPr smtClean="0"/>
              <a:pPr>
                <a:lnSpc>
                  <a:spcPct val="90000"/>
                </a:lnSpc>
              </a:pPr>
              <a:t>10</a:t>
            </a:fld>
            <a:endParaRPr dirty="0"/>
          </a:p>
        </p:txBody>
      </p:sp>
      <p:sp>
        <p:nvSpPr>
          <p:cNvPr id="16" name="Rectangle 15"/>
          <p:cNvSpPr/>
          <p:nvPr/>
        </p:nvSpPr>
        <p:spPr bwMode="auto">
          <a:xfrm>
            <a:off x="287981" y="5461000"/>
            <a:ext cx="3546243" cy="8038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r>
              <a:rPr lang="en-US" sz="1600" dirty="0">
                <a:solidFill>
                  <a:schemeClr val="tx1"/>
                </a:solidFill>
              </a:rPr>
              <a:t>Simplifies management of  pooled and personal virtual machines</a:t>
            </a:r>
          </a:p>
        </p:txBody>
      </p:sp>
      <p:sp>
        <p:nvSpPr>
          <p:cNvPr id="17" name="Rectangle 16"/>
          <p:cNvSpPr/>
          <p:nvPr/>
        </p:nvSpPr>
        <p:spPr bwMode="auto">
          <a:xfrm>
            <a:off x="4538133" y="4569420"/>
            <a:ext cx="3293534" cy="5480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r>
              <a:rPr lang="en-US" sz="2000" b="1" dirty="0">
                <a:solidFill>
                  <a:schemeClr val="accent1"/>
                </a:solidFill>
              </a:rPr>
              <a:t>Unified administration</a:t>
            </a:r>
          </a:p>
        </p:txBody>
      </p:sp>
      <p:sp>
        <p:nvSpPr>
          <p:cNvPr id="18" name="Rectangle 17"/>
          <p:cNvSpPr/>
          <p:nvPr/>
        </p:nvSpPr>
        <p:spPr bwMode="auto">
          <a:xfrm>
            <a:off x="8469508" y="4572223"/>
            <a:ext cx="3509767" cy="8504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r>
              <a:rPr lang="en-US" sz="2000" b="1" dirty="0">
                <a:solidFill>
                  <a:schemeClr val="accent1"/>
                </a:solidFill>
              </a:rPr>
              <a:t>Remote Desktop Services installation wizard</a:t>
            </a:r>
          </a:p>
        </p:txBody>
      </p:sp>
      <p:sp>
        <p:nvSpPr>
          <p:cNvPr id="30" name="Rectangle 29"/>
          <p:cNvSpPr/>
          <p:nvPr/>
        </p:nvSpPr>
        <p:spPr bwMode="auto">
          <a:xfrm>
            <a:off x="275287" y="4538827"/>
            <a:ext cx="3664888" cy="8865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r>
              <a:rPr lang="en-US" sz="2000" b="1" dirty="0">
                <a:solidFill>
                  <a:schemeClr val="accent1"/>
                </a:solidFill>
              </a:rPr>
              <a:t>Streamlined management </a:t>
            </a:r>
            <a:br>
              <a:rPr lang="en-US" sz="2000" b="1" dirty="0">
                <a:solidFill>
                  <a:schemeClr val="accent1"/>
                </a:solidFill>
              </a:rPr>
            </a:br>
            <a:r>
              <a:rPr lang="en-US" sz="2000" b="1" dirty="0">
                <a:solidFill>
                  <a:schemeClr val="accent1"/>
                </a:solidFill>
              </a:rPr>
              <a:t>of virtual machines</a:t>
            </a:r>
          </a:p>
        </p:txBody>
      </p:sp>
      <p:grpSp>
        <p:nvGrpSpPr>
          <p:cNvPr id="9" name="Group 8"/>
          <p:cNvGrpSpPr/>
          <p:nvPr/>
        </p:nvGrpSpPr>
        <p:grpSpPr>
          <a:xfrm>
            <a:off x="4896728" y="1972303"/>
            <a:ext cx="2295873" cy="2156272"/>
            <a:chOff x="4830053" y="1972303"/>
            <a:chExt cx="2295873" cy="2156272"/>
          </a:xfrm>
        </p:grpSpPr>
        <p:cxnSp>
          <p:nvCxnSpPr>
            <p:cNvPr id="23" name="Straight Connector 22"/>
            <p:cNvCxnSpPr/>
            <p:nvPr/>
          </p:nvCxnSpPr>
          <p:spPr>
            <a:xfrm flipH="1">
              <a:off x="5297126" y="2652922"/>
              <a:ext cx="1264541" cy="1039603"/>
            </a:xfrm>
            <a:prstGeom prst="line">
              <a:avLst/>
            </a:prstGeom>
            <a:ln w="22225" cap="rnd">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flipV="1">
              <a:off x="5280541" y="2652922"/>
              <a:ext cx="1377694" cy="1039603"/>
            </a:xfrm>
            <a:prstGeom prst="line">
              <a:avLst/>
            </a:prstGeom>
            <a:ln w="22225" cap="rnd">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4" name="Freeform 13"/>
            <p:cNvSpPr>
              <a:spLocks noEditPoints="1"/>
            </p:cNvSpPr>
            <p:nvPr/>
          </p:nvSpPr>
          <p:spPr bwMode="auto">
            <a:xfrm>
              <a:off x="4846638" y="3447956"/>
              <a:ext cx="450488" cy="680619"/>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5" name="Freeform 14"/>
            <p:cNvSpPr>
              <a:spLocks noEditPoints="1"/>
            </p:cNvSpPr>
            <p:nvPr/>
          </p:nvSpPr>
          <p:spPr bwMode="auto">
            <a:xfrm>
              <a:off x="4830053" y="1972303"/>
              <a:ext cx="450488" cy="680619"/>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6" name="Rectangle 5"/>
            <p:cNvSpPr/>
            <p:nvPr/>
          </p:nvSpPr>
          <p:spPr bwMode="auto">
            <a:xfrm>
              <a:off x="5850467" y="2936118"/>
              <a:ext cx="237328" cy="42513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19" name="Freeform 18"/>
            <p:cNvSpPr>
              <a:spLocks noEditPoints="1"/>
            </p:cNvSpPr>
            <p:nvPr/>
          </p:nvSpPr>
          <p:spPr bwMode="auto">
            <a:xfrm>
              <a:off x="6675438" y="3447956"/>
              <a:ext cx="450488" cy="680619"/>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0" name="Freeform 19"/>
            <p:cNvSpPr>
              <a:spLocks noEditPoints="1"/>
            </p:cNvSpPr>
            <p:nvPr/>
          </p:nvSpPr>
          <p:spPr bwMode="auto">
            <a:xfrm>
              <a:off x="6658853" y="1972303"/>
              <a:ext cx="450488" cy="680619"/>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3"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613130" y="2546432"/>
              <a:ext cx="688990" cy="1037738"/>
            </a:xfrm>
            <a:prstGeom prst="rect">
              <a:avLst/>
            </a:prstGeom>
            <a:blipFill dpi="0" rotWithShape="1">
              <a:blip r:embed="rId4">
                <a:duotone>
                  <a:prstClr val="black"/>
                  <a:schemeClr val="tx1">
                    <a:tint val="45000"/>
                    <a:satMod val="400000"/>
                  </a:schemeClr>
                </a:duotone>
                <a:alphaModFix amt="95000"/>
              </a:blip>
              <a:srcRect/>
              <a:stretch>
                <a:fillRect/>
              </a:stretch>
            </a:blipFill>
            <a:ln w="55000" cap="flat" cmpd="thickThin" algn="ctr">
              <a:noFill/>
              <a:prstDash val="solid"/>
              <a:headEnd type="none" w="med" len="med"/>
              <a:tailEnd type="none" w="med" len="med"/>
            </a:ln>
            <a:effectLst/>
          </p:spPr>
        </p:pic>
      </p:grpSp>
      <p:grpSp>
        <p:nvGrpSpPr>
          <p:cNvPr id="148" name="Group 147"/>
          <p:cNvGrpSpPr/>
          <p:nvPr/>
        </p:nvGrpSpPr>
        <p:grpSpPr>
          <a:xfrm>
            <a:off x="9213943" y="1928394"/>
            <a:ext cx="1720893" cy="2376942"/>
            <a:chOff x="11050071" y="1898694"/>
            <a:chExt cx="713562" cy="985589"/>
          </a:xfrm>
        </p:grpSpPr>
        <p:sp>
          <p:nvSpPr>
            <p:cNvPr id="154" name="Freeform 24"/>
            <p:cNvSpPr>
              <a:spLocks noEditPoints="1"/>
            </p:cNvSpPr>
            <p:nvPr/>
          </p:nvSpPr>
          <p:spPr bwMode="auto">
            <a:xfrm>
              <a:off x="11263458" y="1898694"/>
              <a:ext cx="500175" cy="985589"/>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540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5" name="Freeform 25"/>
            <p:cNvSpPr>
              <a:spLocks noEditPoints="1"/>
            </p:cNvSpPr>
            <p:nvPr/>
          </p:nvSpPr>
          <p:spPr bwMode="auto">
            <a:xfrm>
              <a:off x="11063097" y="2037121"/>
              <a:ext cx="619142" cy="528832"/>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Freeform 26"/>
            <p:cNvSpPr>
              <a:spLocks noEditPoints="1"/>
            </p:cNvSpPr>
            <p:nvPr/>
          </p:nvSpPr>
          <p:spPr bwMode="auto">
            <a:xfrm>
              <a:off x="11050071" y="2028997"/>
              <a:ext cx="632167" cy="548803"/>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9" name="Group 29"/>
          <p:cNvGrpSpPr>
            <a:grpSpLocks noChangeAspect="1"/>
          </p:cNvGrpSpPr>
          <p:nvPr/>
        </p:nvGrpSpPr>
        <p:grpSpPr bwMode="auto">
          <a:xfrm>
            <a:off x="807533" y="2000470"/>
            <a:ext cx="1766098" cy="2323920"/>
            <a:chOff x="5135" y="2499"/>
            <a:chExt cx="858" cy="1129"/>
          </a:xfrm>
        </p:grpSpPr>
        <p:sp>
          <p:nvSpPr>
            <p:cNvPr id="161"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2"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628534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p:cNvSpPr>
            <a:spLocks noGrp="1"/>
          </p:cNvSpPr>
          <p:nvPr>
            <p:ph type="title"/>
          </p:nvPr>
        </p:nvSpPr>
        <p:spPr>
          <a:xfrm>
            <a:off x="251192" y="296863"/>
            <a:ext cx="9658804" cy="779309"/>
          </a:xfrm>
        </p:spPr>
        <p:txBody>
          <a:bodyPr/>
          <a:lstStyle/>
          <a:p>
            <a:pPr lvl="0"/>
            <a:r>
              <a:rPr lang="en-US" dirty="0" smtClean="0"/>
              <a:t>Easy deployment with automation</a:t>
            </a:r>
            <a:endParaRPr lang="en-US" dirty="0"/>
          </a:p>
        </p:txBody>
      </p:sp>
      <p:sp>
        <p:nvSpPr>
          <p:cNvPr id="24" name="Rectangle 6"/>
          <p:cNvSpPr>
            <a:spLocks noChangeArrowheads="1"/>
          </p:cNvSpPr>
          <p:nvPr/>
        </p:nvSpPr>
        <p:spPr bwMode="auto">
          <a:xfrm>
            <a:off x="152400" y="4490828"/>
            <a:ext cx="3787775" cy="1153190"/>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00" dirty="0"/>
              <a:t>Set up a simple VDI deployment easily and quickly</a:t>
            </a:r>
          </a:p>
        </p:txBody>
      </p:sp>
      <p:sp>
        <p:nvSpPr>
          <p:cNvPr id="26" name="Rectangle 7"/>
          <p:cNvSpPr>
            <a:spLocks noChangeArrowheads="1"/>
          </p:cNvSpPr>
          <p:nvPr/>
        </p:nvSpPr>
        <p:spPr bwMode="auto">
          <a:xfrm>
            <a:off x="3940175" y="4562045"/>
            <a:ext cx="4564063" cy="812298"/>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00" dirty="0"/>
              <a:t>Use wizard-based setup and </a:t>
            </a:r>
            <a:br>
              <a:rPr lang="en-US" sz="2000" dirty="0"/>
            </a:br>
            <a:r>
              <a:rPr lang="en-US" sz="2000" dirty="0"/>
              <a:t>deployment for multiple scenarios</a:t>
            </a:r>
          </a:p>
        </p:txBody>
      </p:sp>
      <p:sp>
        <p:nvSpPr>
          <p:cNvPr id="27" name="Rectangle 8"/>
          <p:cNvSpPr>
            <a:spLocks noChangeArrowheads="1"/>
          </p:cNvSpPr>
          <p:nvPr/>
        </p:nvSpPr>
        <p:spPr bwMode="auto">
          <a:xfrm>
            <a:off x="8720138" y="4491428"/>
            <a:ext cx="3713649" cy="882915"/>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00" dirty="0"/>
              <a:t>Create virtual machines automatically with </a:t>
            </a:r>
            <a:r>
              <a:rPr lang="en-US" sz="2000" dirty="0" smtClean="0"/>
              <a:t>settings</a:t>
            </a:r>
            <a:endParaRPr lang="en-US" sz="2000" dirty="0"/>
          </a:p>
        </p:txBody>
      </p:sp>
      <p:grpSp>
        <p:nvGrpSpPr>
          <p:cNvPr id="43" name="Group 29"/>
          <p:cNvGrpSpPr>
            <a:grpSpLocks noChangeAspect="1"/>
          </p:cNvGrpSpPr>
          <p:nvPr/>
        </p:nvGrpSpPr>
        <p:grpSpPr bwMode="auto">
          <a:xfrm>
            <a:off x="698406" y="1857519"/>
            <a:ext cx="1815499" cy="2365088"/>
            <a:chOff x="5121" y="2489"/>
            <a:chExt cx="882" cy="1149"/>
          </a:xfrm>
        </p:grpSpPr>
        <p:sp>
          <p:nvSpPr>
            <p:cNvPr id="44"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6" name="Group 55"/>
          <p:cNvGrpSpPr/>
          <p:nvPr/>
        </p:nvGrpSpPr>
        <p:grpSpPr>
          <a:xfrm>
            <a:off x="4809483" y="1943968"/>
            <a:ext cx="2354127" cy="2278639"/>
            <a:chOff x="2836676" y="1239680"/>
            <a:chExt cx="1595466" cy="1544305"/>
          </a:xfrm>
        </p:grpSpPr>
        <p:grpSp>
          <p:nvGrpSpPr>
            <p:cNvPr id="57" name="Group 56"/>
            <p:cNvGrpSpPr/>
            <p:nvPr/>
          </p:nvGrpSpPr>
          <p:grpSpPr>
            <a:xfrm>
              <a:off x="3217877" y="1288216"/>
              <a:ext cx="1214265" cy="1039537"/>
              <a:chOff x="3427413" y="2970213"/>
              <a:chExt cx="1092200" cy="935037"/>
            </a:xfrm>
          </p:grpSpPr>
          <p:sp>
            <p:nvSpPr>
              <p:cNvPr id="66" name="Rectangle 5"/>
              <p:cNvSpPr>
                <a:spLocks noChangeArrowheads="1"/>
              </p:cNvSpPr>
              <p:nvPr/>
            </p:nvSpPr>
            <p:spPr bwMode="auto">
              <a:xfrm>
                <a:off x="3473450" y="3019425"/>
                <a:ext cx="1000125" cy="6969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6"/>
              <p:cNvSpPr>
                <a:spLocks noEditPoints="1"/>
              </p:cNvSpPr>
              <p:nvPr/>
            </p:nvSpPr>
            <p:spPr bwMode="auto">
              <a:xfrm>
                <a:off x="3427413" y="2970213"/>
                <a:ext cx="1092200" cy="935037"/>
              </a:xfrm>
              <a:custGeom>
                <a:avLst/>
                <a:gdLst>
                  <a:gd name="T0" fmla="*/ 1325 w 1369"/>
                  <a:gd name="T1" fmla="*/ 0 h 1170"/>
                  <a:gd name="T2" fmla="*/ 47 w 1369"/>
                  <a:gd name="T3" fmla="*/ 0 h 1170"/>
                  <a:gd name="T4" fmla="*/ 0 w 1369"/>
                  <a:gd name="T5" fmla="*/ 42 h 1170"/>
                  <a:gd name="T6" fmla="*/ 0 w 1369"/>
                  <a:gd name="T7" fmla="*/ 957 h 1170"/>
                  <a:gd name="T8" fmla="*/ 47 w 1369"/>
                  <a:gd name="T9" fmla="*/ 1001 h 1170"/>
                  <a:gd name="T10" fmla="*/ 467 w 1369"/>
                  <a:gd name="T11" fmla="*/ 1001 h 1170"/>
                  <a:gd name="T12" fmla="*/ 454 w 1369"/>
                  <a:gd name="T13" fmla="*/ 1067 h 1170"/>
                  <a:gd name="T14" fmla="*/ 382 w 1369"/>
                  <a:gd name="T15" fmla="*/ 1092 h 1170"/>
                  <a:gd name="T16" fmla="*/ 375 w 1369"/>
                  <a:gd name="T17" fmla="*/ 1092 h 1170"/>
                  <a:gd name="T18" fmla="*/ 346 w 1369"/>
                  <a:gd name="T19" fmla="*/ 1123 h 1170"/>
                  <a:gd name="T20" fmla="*/ 346 w 1369"/>
                  <a:gd name="T21" fmla="*/ 1139 h 1170"/>
                  <a:gd name="T22" fmla="*/ 375 w 1369"/>
                  <a:gd name="T23" fmla="*/ 1170 h 1170"/>
                  <a:gd name="T24" fmla="*/ 1011 w 1369"/>
                  <a:gd name="T25" fmla="*/ 1170 h 1170"/>
                  <a:gd name="T26" fmla="*/ 1040 w 1369"/>
                  <a:gd name="T27" fmla="*/ 1139 h 1170"/>
                  <a:gd name="T28" fmla="*/ 1040 w 1369"/>
                  <a:gd name="T29" fmla="*/ 1123 h 1170"/>
                  <a:gd name="T30" fmla="*/ 1011 w 1369"/>
                  <a:gd name="T31" fmla="*/ 1092 h 1170"/>
                  <a:gd name="T32" fmla="*/ 1008 w 1369"/>
                  <a:gd name="T33" fmla="*/ 1092 h 1170"/>
                  <a:gd name="T34" fmla="*/ 940 w 1369"/>
                  <a:gd name="T35" fmla="*/ 1067 h 1170"/>
                  <a:gd name="T36" fmla="*/ 929 w 1369"/>
                  <a:gd name="T37" fmla="*/ 1001 h 1170"/>
                  <a:gd name="T38" fmla="*/ 1325 w 1369"/>
                  <a:gd name="T39" fmla="*/ 1001 h 1170"/>
                  <a:gd name="T40" fmla="*/ 1369 w 1369"/>
                  <a:gd name="T41" fmla="*/ 957 h 1170"/>
                  <a:gd name="T42" fmla="*/ 1369 w 1369"/>
                  <a:gd name="T43" fmla="*/ 42 h 1170"/>
                  <a:gd name="T44" fmla="*/ 1325 w 1369"/>
                  <a:gd name="T45" fmla="*/ 0 h 1170"/>
                  <a:gd name="T46" fmla="*/ 1290 w 1369"/>
                  <a:gd name="T47" fmla="*/ 889 h 1170"/>
                  <a:gd name="T48" fmla="*/ 1254 w 1369"/>
                  <a:gd name="T49" fmla="*/ 925 h 1170"/>
                  <a:gd name="T50" fmla="*/ 118 w 1369"/>
                  <a:gd name="T51" fmla="*/ 925 h 1170"/>
                  <a:gd name="T52" fmla="*/ 80 w 1369"/>
                  <a:gd name="T53" fmla="*/ 889 h 1170"/>
                  <a:gd name="T54" fmla="*/ 80 w 1369"/>
                  <a:gd name="T55" fmla="*/ 110 h 1170"/>
                  <a:gd name="T56" fmla="*/ 118 w 1369"/>
                  <a:gd name="T57" fmla="*/ 74 h 1170"/>
                  <a:gd name="T58" fmla="*/ 1254 w 1369"/>
                  <a:gd name="T59" fmla="*/ 74 h 1170"/>
                  <a:gd name="T60" fmla="*/ 1290 w 1369"/>
                  <a:gd name="T61" fmla="*/ 110 h 1170"/>
                  <a:gd name="T62" fmla="*/ 1290 w 1369"/>
                  <a:gd name="T63" fmla="*/ 889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9" h="1170">
                    <a:moveTo>
                      <a:pt x="1325" y="0"/>
                    </a:moveTo>
                    <a:cubicBezTo>
                      <a:pt x="47" y="0"/>
                      <a:pt x="47" y="0"/>
                      <a:pt x="47" y="0"/>
                    </a:cubicBezTo>
                    <a:cubicBezTo>
                      <a:pt x="21" y="0"/>
                      <a:pt x="0" y="18"/>
                      <a:pt x="0" y="42"/>
                    </a:cubicBezTo>
                    <a:cubicBezTo>
                      <a:pt x="0" y="957"/>
                      <a:pt x="0" y="957"/>
                      <a:pt x="0" y="957"/>
                    </a:cubicBezTo>
                    <a:cubicBezTo>
                      <a:pt x="0" y="981"/>
                      <a:pt x="21" y="1001"/>
                      <a:pt x="47" y="1001"/>
                    </a:cubicBezTo>
                    <a:cubicBezTo>
                      <a:pt x="467" y="1001"/>
                      <a:pt x="467" y="1001"/>
                      <a:pt x="467" y="1001"/>
                    </a:cubicBezTo>
                    <a:cubicBezTo>
                      <a:pt x="467" y="1001"/>
                      <a:pt x="464" y="1053"/>
                      <a:pt x="454" y="1067"/>
                    </a:cubicBezTo>
                    <a:cubicBezTo>
                      <a:pt x="437" y="1092"/>
                      <a:pt x="405" y="1085"/>
                      <a:pt x="382" y="1092"/>
                    </a:cubicBezTo>
                    <a:cubicBezTo>
                      <a:pt x="375" y="1092"/>
                      <a:pt x="375" y="1092"/>
                      <a:pt x="375" y="1092"/>
                    </a:cubicBezTo>
                    <a:cubicBezTo>
                      <a:pt x="359" y="1092"/>
                      <a:pt x="346" y="1106"/>
                      <a:pt x="346" y="1123"/>
                    </a:cubicBezTo>
                    <a:cubicBezTo>
                      <a:pt x="346" y="1139"/>
                      <a:pt x="346" y="1139"/>
                      <a:pt x="346" y="1139"/>
                    </a:cubicBezTo>
                    <a:cubicBezTo>
                      <a:pt x="346" y="1156"/>
                      <a:pt x="359" y="1170"/>
                      <a:pt x="375" y="1170"/>
                    </a:cubicBezTo>
                    <a:cubicBezTo>
                      <a:pt x="1011" y="1170"/>
                      <a:pt x="1011" y="1170"/>
                      <a:pt x="1011" y="1170"/>
                    </a:cubicBezTo>
                    <a:cubicBezTo>
                      <a:pt x="1026" y="1170"/>
                      <a:pt x="1040" y="1156"/>
                      <a:pt x="1040" y="1139"/>
                    </a:cubicBezTo>
                    <a:cubicBezTo>
                      <a:pt x="1040" y="1123"/>
                      <a:pt x="1040" y="1123"/>
                      <a:pt x="1040" y="1123"/>
                    </a:cubicBezTo>
                    <a:cubicBezTo>
                      <a:pt x="1040" y="1106"/>
                      <a:pt x="1026" y="1092"/>
                      <a:pt x="1011" y="1092"/>
                    </a:cubicBezTo>
                    <a:cubicBezTo>
                      <a:pt x="1008" y="1092"/>
                      <a:pt x="1008" y="1092"/>
                      <a:pt x="1008" y="1092"/>
                    </a:cubicBezTo>
                    <a:cubicBezTo>
                      <a:pt x="995" y="1090"/>
                      <a:pt x="957" y="1093"/>
                      <a:pt x="940" y="1067"/>
                    </a:cubicBezTo>
                    <a:cubicBezTo>
                      <a:pt x="932" y="1053"/>
                      <a:pt x="929" y="1001"/>
                      <a:pt x="929" y="1001"/>
                    </a:cubicBezTo>
                    <a:cubicBezTo>
                      <a:pt x="1325" y="1001"/>
                      <a:pt x="1325" y="1001"/>
                      <a:pt x="1325" y="1001"/>
                    </a:cubicBezTo>
                    <a:cubicBezTo>
                      <a:pt x="1349" y="1001"/>
                      <a:pt x="1369" y="981"/>
                      <a:pt x="1369" y="957"/>
                    </a:cubicBezTo>
                    <a:cubicBezTo>
                      <a:pt x="1369" y="42"/>
                      <a:pt x="1369" y="42"/>
                      <a:pt x="1369" y="42"/>
                    </a:cubicBezTo>
                    <a:cubicBezTo>
                      <a:pt x="1369" y="18"/>
                      <a:pt x="1349" y="0"/>
                      <a:pt x="1325" y="0"/>
                    </a:cubicBezTo>
                    <a:close/>
                    <a:moveTo>
                      <a:pt x="1290" y="889"/>
                    </a:moveTo>
                    <a:cubicBezTo>
                      <a:pt x="1290" y="910"/>
                      <a:pt x="1273" y="925"/>
                      <a:pt x="1254" y="925"/>
                    </a:cubicBezTo>
                    <a:cubicBezTo>
                      <a:pt x="118" y="925"/>
                      <a:pt x="118" y="925"/>
                      <a:pt x="118" y="925"/>
                    </a:cubicBezTo>
                    <a:cubicBezTo>
                      <a:pt x="97" y="925"/>
                      <a:pt x="80" y="910"/>
                      <a:pt x="80" y="889"/>
                    </a:cubicBezTo>
                    <a:cubicBezTo>
                      <a:pt x="80" y="110"/>
                      <a:pt x="80" y="110"/>
                      <a:pt x="80" y="110"/>
                    </a:cubicBezTo>
                    <a:cubicBezTo>
                      <a:pt x="80" y="89"/>
                      <a:pt x="97" y="74"/>
                      <a:pt x="118" y="74"/>
                    </a:cubicBezTo>
                    <a:cubicBezTo>
                      <a:pt x="1254" y="74"/>
                      <a:pt x="1254" y="74"/>
                      <a:pt x="1254" y="74"/>
                    </a:cubicBezTo>
                    <a:cubicBezTo>
                      <a:pt x="1273" y="74"/>
                      <a:pt x="1290" y="89"/>
                      <a:pt x="1290" y="110"/>
                    </a:cubicBezTo>
                    <a:cubicBezTo>
                      <a:pt x="1290" y="889"/>
                      <a:pt x="1290" y="889"/>
                      <a:pt x="1290" y="889"/>
                    </a:cubicBezTo>
                    <a:close/>
                  </a:path>
                </a:pathLst>
              </a:custGeom>
              <a:solidFill>
                <a:srgbClr val="0071BC"/>
              </a:solidFill>
              <a:ln w="2"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9" name="Group 58"/>
            <p:cNvGrpSpPr/>
            <p:nvPr/>
          </p:nvGrpSpPr>
          <p:grpSpPr>
            <a:xfrm>
              <a:off x="2836676" y="1239680"/>
              <a:ext cx="1021860" cy="1544305"/>
              <a:chOff x="2967844" y="1151940"/>
              <a:chExt cx="919137" cy="1389063"/>
            </a:xfrm>
          </p:grpSpPr>
          <p:sp>
            <p:nvSpPr>
              <p:cNvPr id="60" name="Oval 59"/>
              <p:cNvSpPr/>
              <p:nvPr/>
            </p:nvSpPr>
            <p:spPr bwMode="auto">
              <a:xfrm>
                <a:off x="3194269" y="1421929"/>
                <a:ext cx="464706" cy="443199"/>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61" name="Freeform 6"/>
              <p:cNvSpPr>
                <a:spLocks/>
              </p:cNvSpPr>
              <p:nvPr/>
            </p:nvSpPr>
            <p:spPr bwMode="auto">
              <a:xfrm>
                <a:off x="3157456" y="1151940"/>
                <a:ext cx="536342" cy="536343"/>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sp>
            <p:nvSpPr>
              <p:cNvPr id="62" name="Freeform 7"/>
              <p:cNvSpPr>
                <a:spLocks/>
              </p:cNvSpPr>
              <p:nvPr/>
            </p:nvSpPr>
            <p:spPr bwMode="auto">
              <a:xfrm>
                <a:off x="2967844" y="1628649"/>
                <a:ext cx="919137" cy="912354"/>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158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grpSp>
      </p:grpSp>
      <p:grpSp>
        <p:nvGrpSpPr>
          <p:cNvPr id="3" name="Group 2"/>
          <p:cNvGrpSpPr/>
          <p:nvPr/>
        </p:nvGrpSpPr>
        <p:grpSpPr>
          <a:xfrm>
            <a:off x="9470128" y="1657921"/>
            <a:ext cx="1680045" cy="2430174"/>
            <a:chOff x="9470128" y="1657921"/>
            <a:chExt cx="1680045" cy="2430174"/>
          </a:xfrm>
        </p:grpSpPr>
        <p:grpSp>
          <p:nvGrpSpPr>
            <p:cNvPr id="50" name="Group 49"/>
            <p:cNvGrpSpPr/>
            <p:nvPr/>
          </p:nvGrpSpPr>
          <p:grpSpPr>
            <a:xfrm>
              <a:off x="10060288" y="3171953"/>
              <a:ext cx="511450" cy="916142"/>
              <a:chOff x="4233903" y="825881"/>
              <a:chExt cx="934064" cy="1673156"/>
            </a:xfrm>
          </p:grpSpPr>
          <p:sp>
            <p:nvSpPr>
              <p:cNvPr id="52" name="Rounded Rectangle 51"/>
              <p:cNvSpPr/>
              <p:nvPr/>
            </p:nvSpPr>
            <p:spPr bwMode="auto">
              <a:xfrm>
                <a:off x="4233903" y="825881"/>
                <a:ext cx="934064" cy="1673156"/>
              </a:xfrm>
              <a:prstGeom prst="roundRect">
                <a:avLst/>
              </a:prstGeom>
              <a:noFill/>
              <a:ln w="22225" cap="sq">
                <a:solidFill>
                  <a:schemeClr val="accent3"/>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53" name="Freeform 59"/>
              <p:cNvSpPr>
                <a:spLocks noEditPoints="1"/>
              </p:cNvSpPr>
              <p:nvPr/>
            </p:nvSpPr>
            <p:spPr bwMode="auto">
              <a:xfrm>
                <a:off x="4325644" y="922788"/>
                <a:ext cx="761843" cy="1459675"/>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 name="Group 1"/>
            <p:cNvGrpSpPr/>
            <p:nvPr/>
          </p:nvGrpSpPr>
          <p:grpSpPr>
            <a:xfrm>
              <a:off x="10638723" y="3167303"/>
              <a:ext cx="511450" cy="916142"/>
              <a:chOff x="11078304" y="3478274"/>
              <a:chExt cx="557589" cy="998789"/>
            </a:xfrm>
          </p:grpSpPr>
          <p:sp>
            <p:nvSpPr>
              <p:cNvPr id="54" name="Rounded Rectangle 53"/>
              <p:cNvSpPr/>
              <p:nvPr/>
            </p:nvSpPr>
            <p:spPr bwMode="auto">
              <a:xfrm>
                <a:off x="11078304" y="3478274"/>
                <a:ext cx="557589" cy="998789"/>
              </a:xfrm>
              <a:prstGeom prst="roundRect">
                <a:avLst/>
              </a:prstGeom>
              <a:noFill/>
              <a:ln w="22225" cap="sq">
                <a:solidFill>
                  <a:schemeClr val="accent3"/>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55" name="Freeform 59"/>
              <p:cNvSpPr>
                <a:spLocks noEditPoints="1"/>
              </p:cNvSpPr>
              <p:nvPr/>
            </p:nvSpPr>
            <p:spPr bwMode="auto">
              <a:xfrm>
                <a:off x="11133069" y="3536123"/>
                <a:ext cx="454782" cy="871352"/>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8" name="Group 67"/>
            <p:cNvGrpSpPr/>
            <p:nvPr/>
          </p:nvGrpSpPr>
          <p:grpSpPr>
            <a:xfrm>
              <a:off x="9470128" y="3167787"/>
              <a:ext cx="511450" cy="916142"/>
              <a:chOff x="4320883" y="791089"/>
              <a:chExt cx="934064" cy="1673156"/>
            </a:xfrm>
          </p:grpSpPr>
          <p:sp>
            <p:nvSpPr>
              <p:cNvPr id="69" name="Rounded Rectangle 68"/>
              <p:cNvSpPr/>
              <p:nvPr/>
            </p:nvSpPr>
            <p:spPr bwMode="auto">
              <a:xfrm>
                <a:off x="4320883" y="791089"/>
                <a:ext cx="934064" cy="1673156"/>
              </a:xfrm>
              <a:prstGeom prst="roundRect">
                <a:avLst/>
              </a:prstGeom>
              <a:noFill/>
              <a:ln w="22225" cap="sq">
                <a:solidFill>
                  <a:schemeClr val="accent3"/>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70" name="Freeform 59"/>
              <p:cNvSpPr>
                <a:spLocks noEditPoints="1"/>
              </p:cNvSpPr>
              <p:nvPr/>
            </p:nvSpPr>
            <p:spPr bwMode="auto">
              <a:xfrm>
                <a:off x="4412624" y="887996"/>
                <a:ext cx="761843" cy="1459675"/>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4" name="Group 3"/>
            <p:cNvGrpSpPr/>
            <p:nvPr/>
          </p:nvGrpSpPr>
          <p:grpSpPr>
            <a:xfrm>
              <a:off x="9933836" y="1657921"/>
              <a:ext cx="720431" cy="1088766"/>
              <a:chOff x="9641392" y="565991"/>
              <a:chExt cx="1507765" cy="2278639"/>
            </a:xfrm>
          </p:grpSpPr>
          <p:sp>
            <p:nvSpPr>
              <p:cNvPr id="71" name="Freeform 6"/>
              <p:cNvSpPr>
                <a:spLocks/>
              </p:cNvSpPr>
              <p:nvPr/>
            </p:nvSpPr>
            <p:spPr bwMode="auto">
              <a:xfrm>
                <a:off x="9952434" y="565991"/>
                <a:ext cx="879823" cy="879825"/>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sp>
            <p:nvSpPr>
              <p:cNvPr id="72" name="Freeform 7"/>
              <p:cNvSpPr>
                <a:spLocks/>
              </p:cNvSpPr>
              <p:nvPr/>
            </p:nvSpPr>
            <p:spPr bwMode="auto">
              <a:xfrm>
                <a:off x="9641392" y="1347991"/>
                <a:ext cx="1507765" cy="1496639"/>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158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grpSp>
        <p:cxnSp>
          <p:nvCxnSpPr>
            <p:cNvPr id="6" name="Straight Connector 5"/>
            <p:cNvCxnSpPr/>
            <p:nvPr/>
          </p:nvCxnSpPr>
          <p:spPr>
            <a:xfrm flipH="1">
              <a:off x="9879314" y="2746687"/>
              <a:ext cx="124530" cy="315082"/>
            </a:xfrm>
            <a:prstGeom prst="line">
              <a:avLst/>
            </a:prstGeom>
            <a:ln w="15875" cap="rnd">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0588517" y="2741980"/>
              <a:ext cx="161286" cy="328211"/>
            </a:xfrm>
            <a:prstGeom prst="line">
              <a:avLst/>
            </a:prstGeom>
            <a:ln w="15875" cap="rnd">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0310168" y="2804008"/>
              <a:ext cx="527" cy="266344"/>
            </a:xfrm>
            <a:prstGeom prst="line">
              <a:avLst/>
            </a:prstGeom>
            <a:ln w="15875" cap="rnd">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4882981"/>
      </p:ext>
    </p:extLst>
  </p:cSld>
  <p:clrMapOvr>
    <a:masterClrMapping/>
  </p:clrMapOvr>
  <p:transition spd="slow">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p:cNvSpPr>
            <a:spLocks noGrp="1"/>
          </p:cNvSpPr>
          <p:nvPr>
            <p:ph type="title"/>
          </p:nvPr>
        </p:nvSpPr>
        <p:spPr>
          <a:xfrm>
            <a:off x="266376" y="305330"/>
            <a:ext cx="10233351" cy="779309"/>
          </a:xfrm>
        </p:spPr>
        <p:txBody>
          <a:bodyPr/>
          <a:lstStyle/>
          <a:p>
            <a:pPr lvl="0"/>
            <a:r>
              <a:rPr lang="en-US" dirty="0" smtClean="0"/>
              <a:t>Unified administration that is intuitive to manage</a:t>
            </a:r>
            <a:endParaRPr lang="en-US" dirty="0"/>
          </a:p>
        </p:txBody>
      </p:sp>
      <p:sp>
        <p:nvSpPr>
          <p:cNvPr id="22" name="Rectangle 7"/>
          <p:cNvSpPr>
            <a:spLocks noChangeArrowheads="1"/>
          </p:cNvSpPr>
          <p:nvPr/>
        </p:nvSpPr>
        <p:spPr bwMode="auto">
          <a:xfrm>
            <a:off x="392765" y="5156731"/>
            <a:ext cx="3793831" cy="1288353"/>
          </a:xfrm>
          <a:prstGeom prst="rect">
            <a:avLst/>
          </a:prstGeom>
          <a:noFill/>
          <a:ln w="9525" algn="ctr">
            <a:noFill/>
            <a:miter lim="800000"/>
            <a:headEnd/>
            <a:tailEnd/>
          </a:ln>
        </p:spPr>
        <p:txBody>
          <a:bodyPr lIns="279781" tIns="38495" rIns="279781" bIns="177195" anchor="b"/>
          <a:lstStyle/>
          <a:p>
            <a:pPr>
              <a:lnSpc>
                <a:spcPct val="80000"/>
              </a:lnSpc>
              <a:spcBef>
                <a:spcPct val="50000"/>
              </a:spcBef>
              <a:buClr>
                <a:schemeClr val="accent2"/>
              </a:buClr>
            </a:pPr>
            <a:r>
              <a:rPr lang="en-US" sz="2000" dirty="0"/>
              <a:t>Provide one, integrated console for roles, servers, collections, users, and virtual </a:t>
            </a:r>
            <a:r>
              <a:rPr lang="en-US" sz="2000" dirty="0" smtClean="0"/>
              <a:t>machines</a:t>
            </a:r>
          </a:p>
          <a:p>
            <a:pPr>
              <a:lnSpc>
                <a:spcPct val="80000"/>
              </a:lnSpc>
              <a:spcBef>
                <a:spcPct val="50000"/>
              </a:spcBef>
              <a:buClr>
                <a:schemeClr val="accent2"/>
              </a:buClr>
            </a:pPr>
            <a:r>
              <a:rPr lang="en-US" sz="2000" dirty="0" smtClean="0"/>
              <a:t>Session Shadowing integrated with console</a:t>
            </a:r>
            <a:endParaRPr lang="en-US" sz="2000" dirty="0"/>
          </a:p>
        </p:txBody>
      </p:sp>
      <p:sp>
        <p:nvSpPr>
          <p:cNvPr id="23" name="Rectangle 9"/>
          <p:cNvSpPr>
            <a:spLocks noChangeArrowheads="1"/>
          </p:cNvSpPr>
          <p:nvPr/>
        </p:nvSpPr>
        <p:spPr bwMode="auto">
          <a:xfrm>
            <a:off x="8241299" y="4468794"/>
            <a:ext cx="4125490" cy="880031"/>
          </a:xfrm>
          <a:prstGeom prst="rect">
            <a:avLst/>
          </a:prstGeom>
          <a:noFill/>
          <a:ln w="9525" algn="ctr">
            <a:noFill/>
            <a:miter lim="800000"/>
            <a:headEnd/>
            <a:tailEnd/>
          </a:ln>
        </p:spPr>
        <p:txBody>
          <a:bodyPr lIns="279781" tIns="38495" rIns="279781" bIns="177195" anchor="b"/>
          <a:lstStyle/>
          <a:p>
            <a:pPr>
              <a:lnSpc>
                <a:spcPct val="80000"/>
              </a:lnSpc>
              <a:spcBef>
                <a:spcPct val="50000"/>
              </a:spcBef>
              <a:buClr>
                <a:schemeClr val="accent2"/>
              </a:buClr>
            </a:pPr>
            <a:r>
              <a:rPr lang="en-US" sz="2000" dirty="0"/>
              <a:t>Automate and manage at scale with Windows PowerShell</a:t>
            </a:r>
          </a:p>
        </p:txBody>
      </p:sp>
      <p:sp>
        <p:nvSpPr>
          <p:cNvPr id="28" name="Rectangle 6"/>
          <p:cNvSpPr>
            <a:spLocks noChangeArrowheads="1"/>
          </p:cNvSpPr>
          <p:nvPr/>
        </p:nvSpPr>
        <p:spPr bwMode="auto">
          <a:xfrm>
            <a:off x="4386746" y="4479595"/>
            <a:ext cx="3668230" cy="891380"/>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00" dirty="0"/>
              <a:t>Offer consistent publishing applications and desktops </a:t>
            </a:r>
          </a:p>
        </p:txBody>
      </p:sp>
      <p:grpSp>
        <p:nvGrpSpPr>
          <p:cNvPr id="6" name="Group 5"/>
          <p:cNvGrpSpPr/>
          <p:nvPr/>
        </p:nvGrpSpPr>
        <p:grpSpPr>
          <a:xfrm>
            <a:off x="774483" y="1695450"/>
            <a:ext cx="2266950" cy="2607528"/>
            <a:chOff x="664660" y="1695450"/>
            <a:chExt cx="2266950" cy="2607528"/>
          </a:xfrm>
        </p:grpSpPr>
        <p:sp>
          <p:nvSpPr>
            <p:cNvPr id="31" name="Freeform 30"/>
            <p:cNvSpPr>
              <a:spLocks noEditPoints="1"/>
            </p:cNvSpPr>
            <p:nvPr/>
          </p:nvSpPr>
          <p:spPr bwMode="auto">
            <a:xfrm>
              <a:off x="2179858" y="1836429"/>
              <a:ext cx="537320" cy="1028192"/>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38" name="Group 37"/>
            <p:cNvGrpSpPr/>
            <p:nvPr/>
          </p:nvGrpSpPr>
          <p:grpSpPr>
            <a:xfrm>
              <a:off x="937538" y="2996824"/>
              <a:ext cx="769431" cy="1162818"/>
              <a:chOff x="9641392" y="565991"/>
              <a:chExt cx="1507765" cy="2278639"/>
            </a:xfrm>
          </p:grpSpPr>
          <p:sp>
            <p:nvSpPr>
              <p:cNvPr id="42" name="Freeform 6"/>
              <p:cNvSpPr>
                <a:spLocks/>
              </p:cNvSpPr>
              <p:nvPr/>
            </p:nvSpPr>
            <p:spPr bwMode="auto">
              <a:xfrm>
                <a:off x="9952434" y="565991"/>
                <a:ext cx="879823" cy="879825"/>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sp>
            <p:nvSpPr>
              <p:cNvPr id="43" name="Freeform 7"/>
              <p:cNvSpPr>
                <a:spLocks/>
              </p:cNvSpPr>
              <p:nvPr/>
            </p:nvSpPr>
            <p:spPr bwMode="auto">
              <a:xfrm>
                <a:off x="9641392" y="1347991"/>
                <a:ext cx="1507765" cy="1496639"/>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158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grpSp>
        <p:sp>
          <p:nvSpPr>
            <p:cNvPr id="4" name="Rectangle 3"/>
            <p:cNvSpPr/>
            <p:nvPr/>
          </p:nvSpPr>
          <p:spPr bwMode="auto">
            <a:xfrm>
              <a:off x="664660" y="1695450"/>
              <a:ext cx="2266950" cy="2607528"/>
            </a:xfrm>
            <a:prstGeom prst="rect">
              <a:avLst/>
            </a:prstGeom>
            <a:noFill/>
            <a:ln w="25400" cmpd="sng">
              <a:solidFill>
                <a:schemeClr val="accent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nvGrpSpPr>
            <p:cNvPr id="5" name="Group 4"/>
            <p:cNvGrpSpPr/>
            <p:nvPr/>
          </p:nvGrpSpPr>
          <p:grpSpPr>
            <a:xfrm>
              <a:off x="855330" y="1919645"/>
              <a:ext cx="995111" cy="851919"/>
              <a:chOff x="2999269" y="1270831"/>
              <a:chExt cx="1641695" cy="1405462"/>
            </a:xfrm>
          </p:grpSpPr>
          <p:sp>
            <p:nvSpPr>
              <p:cNvPr id="54" name="Freeform 6"/>
              <p:cNvSpPr>
                <a:spLocks noEditPoints="1"/>
              </p:cNvSpPr>
              <p:nvPr/>
            </p:nvSpPr>
            <p:spPr bwMode="auto">
              <a:xfrm>
                <a:off x="2999269" y="1270831"/>
                <a:ext cx="1641695" cy="1405462"/>
              </a:xfrm>
              <a:custGeom>
                <a:avLst/>
                <a:gdLst>
                  <a:gd name="T0" fmla="*/ 1325 w 1369"/>
                  <a:gd name="T1" fmla="*/ 0 h 1170"/>
                  <a:gd name="T2" fmla="*/ 47 w 1369"/>
                  <a:gd name="T3" fmla="*/ 0 h 1170"/>
                  <a:gd name="T4" fmla="*/ 0 w 1369"/>
                  <a:gd name="T5" fmla="*/ 42 h 1170"/>
                  <a:gd name="T6" fmla="*/ 0 w 1369"/>
                  <a:gd name="T7" fmla="*/ 957 h 1170"/>
                  <a:gd name="T8" fmla="*/ 47 w 1369"/>
                  <a:gd name="T9" fmla="*/ 1001 h 1170"/>
                  <a:gd name="T10" fmla="*/ 467 w 1369"/>
                  <a:gd name="T11" fmla="*/ 1001 h 1170"/>
                  <a:gd name="T12" fmla="*/ 454 w 1369"/>
                  <a:gd name="T13" fmla="*/ 1067 h 1170"/>
                  <a:gd name="T14" fmla="*/ 382 w 1369"/>
                  <a:gd name="T15" fmla="*/ 1092 h 1170"/>
                  <a:gd name="T16" fmla="*/ 375 w 1369"/>
                  <a:gd name="T17" fmla="*/ 1092 h 1170"/>
                  <a:gd name="T18" fmla="*/ 346 w 1369"/>
                  <a:gd name="T19" fmla="*/ 1123 h 1170"/>
                  <a:gd name="T20" fmla="*/ 346 w 1369"/>
                  <a:gd name="T21" fmla="*/ 1139 h 1170"/>
                  <a:gd name="T22" fmla="*/ 375 w 1369"/>
                  <a:gd name="T23" fmla="*/ 1170 h 1170"/>
                  <a:gd name="T24" fmla="*/ 1011 w 1369"/>
                  <a:gd name="T25" fmla="*/ 1170 h 1170"/>
                  <a:gd name="T26" fmla="*/ 1040 w 1369"/>
                  <a:gd name="T27" fmla="*/ 1139 h 1170"/>
                  <a:gd name="T28" fmla="*/ 1040 w 1369"/>
                  <a:gd name="T29" fmla="*/ 1123 h 1170"/>
                  <a:gd name="T30" fmla="*/ 1011 w 1369"/>
                  <a:gd name="T31" fmla="*/ 1092 h 1170"/>
                  <a:gd name="T32" fmla="*/ 1008 w 1369"/>
                  <a:gd name="T33" fmla="*/ 1092 h 1170"/>
                  <a:gd name="T34" fmla="*/ 940 w 1369"/>
                  <a:gd name="T35" fmla="*/ 1067 h 1170"/>
                  <a:gd name="T36" fmla="*/ 929 w 1369"/>
                  <a:gd name="T37" fmla="*/ 1001 h 1170"/>
                  <a:gd name="T38" fmla="*/ 1325 w 1369"/>
                  <a:gd name="T39" fmla="*/ 1001 h 1170"/>
                  <a:gd name="T40" fmla="*/ 1369 w 1369"/>
                  <a:gd name="T41" fmla="*/ 957 h 1170"/>
                  <a:gd name="T42" fmla="*/ 1369 w 1369"/>
                  <a:gd name="T43" fmla="*/ 42 h 1170"/>
                  <a:gd name="T44" fmla="*/ 1325 w 1369"/>
                  <a:gd name="T45" fmla="*/ 0 h 1170"/>
                  <a:gd name="T46" fmla="*/ 1290 w 1369"/>
                  <a:gd name="T47" fmla="*/ 889 h 1170"/>
                  <a:gd name="T48" fmla="*/ 1254 w 1369"/>
                  <a:gd name="T49" fmla="*/ 925 h 1170"/>
                  <a:gd name="T50" fmla="*/ 118 w 1369"/>
                  <a:gd name="T51" fmla="*/ 925 h 1170"/>
                  <a:gd name="T52" fmla="*/ 80 w 1369"/>
                  <a:gd name="T53" fmla="*/ 889 h 1170"/>
                  <a:gd name="T54" fmla="*/ 80 w 1369"/>
                  <a:gd name="T55" fmla="*/ 110 h 1170"/>
                  <a:gd name="T56" fmla="*/ 118 w 1369"/>
                  <a:gd name="T57" fmla="*/ 74 h 1170"/>
                  <a:gd name="T58" fmla="*/ 1254 w 1369"/>
                  <a:gd name="T59" fmla="*/ 74 h 1170"/>
                  <a:gd name="T60" fmla="*/ 1290 w 1369"/>
                  <a:gd name="T61" fmla="*/ 110 h 1170"/>
                  <a:gd name="T62" fmla="*/ 1290 w 1369"/>
                  <a:gd name="T63" fmla="*/ 889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9" h="1170">
                    <a:moveTo>
                      <a:pt x="1325" y="0"/>
                    </a:moveTo>
                    <a:cubicBezTo>
                      <a:pt x="47" y="0"/>
                      <a:pt x="47" y="0"/>
                      <a:pt x="47" y="0"/>
                    </a:cubicBezTo>
                    <a:cubicBezTo>
                      <a:pt x="21" y="0"/>
                      <a:pt x="0" y="18"/>
                      <a:pt x="0" y="42"/>
                    </a:cubicBezTo>
                    <a:cubicBezTo>
                      <a:pt x="0" y="957"/>
                      <a:pt x="0" y="957"/>
                      <a:pt x="0" y="957"/>
                    </a:cubicBezTo>
                    <a:cubicBezTo>
                      <a:pt x="0" y="981"/>
                      <a:pt x="21" y="1001"/>
                      <a:pt x="47" y="1001"/>
                    </a:cubicBezTo>
                    <a:cubicBezTo>
                      <a:pt x="467" y="1001"/>
                      <a:pt x="467" y="1001"/>
                      <a:pt x="467" y="1001"/>
                    </a:cubicBezTo>
                    <a:cubicBezTo>
                      <a:pt x="467" y="1001"/>
                      <a:pt x="464" y="1053"/>
                      <a:pt x="454" y="1067"/>
                    </a:cubicBezTo>
                    <a:cubicBezTo>
                      <a:pt x="437" y="1092"/>
                      <a:pt x="405" y="1085"/>
                      <a:pt x="382" y="1092"/>
                    </a:cubicBezTo>
                    <a:cubicBezTo>
                      <a:pt x="375" y="1092"/>
                      <a:pt x="375" y="1092"/>
                      <a:pt x="375" y="1092"/>
                    </a:cubicBezTo>
                    <a:cubicBezTo>
                      <a:pt x="359" y="1092"/>
                      <a:pt x="346" y="1106"/>
                      <a:pt x="346" y="1123"/>
                    </a:cubicBezTo>
                    <a:cubicBezTo>
                      <a:pt x="346" y="1139"/>
                      <a:pt x="346" y="1139"/>
                      <a:pt x="346" y="1139"/>
                    </a:cubicBezTo>
                    <a:cubicBezTo>
                      <a:pt x="346" y="1156"/>
                      <a:pt x="359" y="1170"/>
                      <a:pt x="375" y="1170"/>
                    </a:cubicBezTo>
                    <a:cubicBezTo>
                      <a:pt x="1011" y="1170"/>
                      <a:pt x="1011" y="1170"/>
                      <a:pt x="1011" y="1170"/>
                    </a:cubicBezTo>
                    <a:cubicBezTo>
                      <a:pt x="1026" y="1170"/>
                      <a:pt x="1040" y="1156"/>
                      <a:pt x="1040" y="1139"/>
                    </a:cubicBezTo>
                    <a:cubicBezTo>
                      <a:pt x="1040" y="1123"/>
                      <a:pt x="1040" y="1123"/>
                      <a:pt x="1040" y="1123"/>
                    </a:cubicBezTo>
                    <a:cubicBezTo>
                      <a:pt x="1040" y="1106"/>
                      <a:pt x="1026" y="1092"/>
                      <a:pt x="1011" y="1092"/>
                    </a:cubicBezTo>
                    <a:cubicBezTo>
                      <a:pt x="1008" y="1092"/>
                      <a:pt x="1008" y="1092"/>
                      <a:pt x="1008" y="1092"/>
                    </a:cubicBezTo>
                    <a:cubicBezTo>
                      <a:pt x="995" y="1090"/>
                      <a:pt x="957" y="1093"/>
                      <a:pt x="940" y="1067"/>
                    </a:cubicBezTo>
                    <a:cubicBezTo>
                      <a:pt x="932" y="1053"/>
                      <a:pt x="929" y="1001"/>
                      <a:pt x="929" y="1001"/>
                    </a:cubicBezTo>
                    <a:cubicBezTo>
                      <a:pt x="1325" y="1001"/>
                      <a:pt x="1325" y="1001"/>
                      <a:pt x="1325" y="1001"/>
                    </a:cubicBezTo>
                    <a:cubicBezTo>
                      <a:pt x="1349" y="1001"/>
                      <a:pt x="1369" y="981"/>
                      <a:pt x="1369" y="957"/>
                    </a:cubicBezTo>
                    <a:cubicBezTo>
                      <a:pt x="1369" y="42"/>
                      <a:pt x="1369" y="42"/>
                      <a:pt x="1369" y="42"/>
                    </a:cubicBezTo>
                    <a:cubicBezTo>
                      <a:pt x="1369" y="18"/>
                      <a:pt x="1349" y="0"/>
                      <a:pt x="1325" y="0"/>
                    </a:cubicBezTo>
                    <a:close/>
                    <a:moveTo>
                      <a:pt x="1290" y="889"/>
                    </a:moveTo>
                    <a:cubicBezTo>
                      <a:pt x="1290" y="910"/>
                      <a:pt x="1273" y="925"/>
                      <a:pt x="1254" y="925"/>
                    </a:cubicBezTo>
                    <a:cubicBezTo>
                      <a:pt x="118" y="925"/>
                      <a:pt x="118" y="925"/>
                      <a:pt x="118" y="925"/>
                    </a:cubicBezTo>
                    <a:cubicBezTo>
                      <a:pt x="97" y="925"/>
                      <a:pt x="80" y="910"/>
                      <a:pt x="80" y="889"/>
                    </a:cubicBezTo>
                    <a:cubicBezTo>
                      <a:pt x="80" y="110"/>
                      <a:pt x="80" y="110"/>
                      <a:pt x="80" y="110"/>
                    </a:cubicBezTo>
                    <a:cubicBezTo>
                      <a:pt x="80" y="89"/>
                      <a:pt x="97" y="74"/>
                      <a:pt x="118" y="74"/>
                    </a:cubicBezTo>
                    <a:cubicBezTo>
                      <a:pt x="1254" y="74"/>
                      <a:pt x="1254" y="74"/>
                      <a:pt x="1254" y="74"/>
                    </a:cubicBezTo>
                    <a:cubicBezTo>
                      <a:pt x="1273" y="74"/>
                      <a:pt x="1290" y="89"/>
                      <a:pt x="1290" y="110"/>
                    </a:cubicBezTo>
                    <a:cubicBezTo>
                      <a:pt x="1290" y="889"/>
                      <a:pt x="1290" y="889"/>
                      <a:pt x="1290" y="889"/>
                    </a:cubicBezTo>
                    <a:close/>
                  </a:path>
                </a:pathLst>
              </a:custGeom>
              <a:solidFill>
                <a:srgbClr val="0071BC"/>
              </a:solidFill>
              <a:ln w="2"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5"/>
              <p:cNvSpPr>
                <a:spLocks noEditPoints="1"/>
              </p:cNvSpPr>
              <p:nvPr/>
            </p:nvSpPr>
            <p:spPr bwMode="auto">
              <a:xfrm>
                <a:off x="3241475" y="1570158"/>
                <a:ext cx="1176332" cy="761581"/>
              </a:xfrm>
              <a:custGeom>
                <a:avLst/>
                <a:gdLst>
                  <a:gd name="T0" fmla="*/ 1080 w 1136"/>
                  <a:gd name="T1" fmla="*/ 0 h 737"/>
                  <a:gd name="T2" fmla="*/ 56 w 1136"/>
                  <a:gd name="T3" fmla="*/ 0 h 737"/>
                  <a:gd name="T4" fmla="*/ 0 w 1136"/>
                  <a:gd name="T5" fmla="*/ 56 h 737"/>
                  <a:gd name="T6" fmla="*/ 0 w 1136"/>
                  <a:gd name="T7" fmla="*/ 681 h 737"/>
                  <a:gd name="T8" fmla="*/ 56 w 1136"/>
                  <a:gd name="T9" fmla="*/ 737 h 737"/>
                  <a:gd name="T10" fmla="*/ 1080 w 1136"/>
                  <a:gd name="T11" fmla="*/ 737 h 737"/>
                  <a:gd name="T12" fmla="*/ 1136 w 1136"/>
                  <a:gd name="T13" fmla="*/ 681 h 737"/>
                  <a:gd name="T14" fmla="*/ 1136 w 1136"/>
                  <a:gd name="T15" fmla="*/ 56 h 737"/>
                  <a:gd name="T16" fmla="*/ 1080 w 1136"/>
                  <a:gd name="T17" fmla="*/ 0 h 737"/>
                  <a:gd name="T18" fmla="*/ 1080 w 1136"/>
                  <a:gd name="T19" fmla="*/ 681 h 737"/>
                  <a:gd name="T20" fmla="*/ 1080 w 1136"/>
                  <a:gd name="T21" fmla="*/ 681 h 737"/>
                  <a:gd name="T22" fmla="*/ 56 w 1136"/>
                  <a:gd name="T23" fmla="*/ 681 h 737"/>
                  <a:gd name="T24" fmla="*/ 56 w 1136"/>
                  <a:gd name="T25" fmla="*/ 681 h 737"/>
                  <a:gd name="T26" fmla="*/ 56 w 1136"/>
                  <a:gd name="T27" fmla="*/ 56 h 737"/>
                  <a:gd name="T28" fmla="*/ 56 w 1136"/>
                  <a:gd name="T29" fmla="*/ 56 h 737"/>
                  <a:gd name="T30" fmla="*/ 1080 w 1136"/>
                  <a:gd name="T31" fmla="*/ 56 h 737"/>
                  <a:gd name="T32" fmla="*/ 1080 w 1136"/>
                  <a:gd name="T33" fmla="*/ 56 h 737"/>
                  <a:gd name="T34" fmla="*/ 1080 w 1136"/>
                  <a:gd name="T35" fmla="*/ 681 h 737"/>
                  <a:gd name="T36" fmla="*/ 1080 w 1136"/>
                  <a:gd name="T37" fmla="*/ 68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6" h="737">
                    <a:moveTo>
                      <a:pt x="1080" y="0"/>
                    </a:moveTo>
                    <a:cubicBezTo>
                      <a:pt x="56" y="0"/>
                      <a:pt x="56" y="0"/>
                      <a:pt x="56" y="0"/>
                    </a:cubicBezTo>
                    <a:cubicBezTo>
                      <a:pt x="25" y="0"/>
                      <a:pt x="0" y="25"/>
                      <a:pt x="0" y="56"/>
                    </a:cubicBezTo>
                    <a:cubicBezTo>
                      <a:pt x="0" y="681"/>
                      <a:pt x="0" y="681"/>
                      <a:pt x="0" y="681"/>
                    </a:cubicBezTo>
                    <a:cubicBezTo>
                      <a:pt x="0" y="712"/>
                      <a:pt x="25" y="737"/>
                      <a:pt x="56" y="737"/>
                    </a:cubicBezTo>
                    <a:cubicBezTo>
                      <a:pt x="1080" y="737"/>
                      <a:pt x="1080" y="737"/>
                      <a:pt x="1080" y="737"/>
                    </a:cubicBezTo>
                    <a:cubicBezTo>
                      <a:pt x="1111" y="737"/>
                      <a:pt x="1136" y="712"/>
                      <a:pt x="1136" y="681"/>
                    </a:cubicBezTo>
                    <a:cubicBezTo>
                      <a:pt x="1136" y="56"/>
                      <a:pt x="1136" y="56"/>
                      <a:pt x="1136" y="56"/>
                    </a:cubicBezTo>
                    <a:cubicBezTo>
                      <a:pt x="1136" y="25"/>
                      <a:pt x="1111" y="0"/>
                      <a:pt x="1080" y="0"/>
                    </a:cubicBezTo>
                    <a:close/>
                    <a:moveTo>
                      <a:pt x="1080" y="681"/>
                    </a:moveTo>
                    <a:cubicBezTo>
                      <a:pt x="1080" y="681"/>
                      <a:pt x="1080" y="681"/>
                      <a:pt x="1080" y="681"/>
                    </a:cubicBezTo>
                    <a:cubicBezTo>
                      <a:pt x="56" y="681"/>
                      <a:pt x="56" y="681"/>
                      <a:pt x="56" y="681"/>
                    </a:cubicBezTo>
                    <a:cubicBezTo>
                      <a:pt x="56" y="681"/>
                      <a:pt x="56" y="681"/>
                      <a:pt x="56" y="681"/>
                    </a:cubicBezTo>
                    <a:cubicBezTo>
                      <a:pt x="56" y="56"/>
                      <a:pt x="56" y="56"/>
                      <a:pt x="56" y="56"/>
                    </a:cubicBezTo>
                    <a:cubicBezTo>
                      <a:pt x="56" y="56"/>
                      <a:pt x="56" y="56"/>
                      <a:pt x="56" y="56"/>
                    </a:cubicBezTo>
                    <a:cubicBezTo>
                      <a:pt x="1080" y="56"/>
                      <a:pt x="1080" y="56"/>
                      <a:pt x="1080" y="56"/>
                    </a:cubicBezTo>
                    <a:cubicBezTo>
                      <a:pt x="1080" y="56"/>
                      <a:pt x="1080" y="56"/>
                      <a:pt x="1080" y="56"/>
                    </a:cubicBezTo>
                    <a:cubicBezTo>
                      <a:pt x="1080" y="681"/>
                      <a:pt x="1080" y="681"/>
                      <a:pt x="1080" y="681"/>
                    </a:cubicBezTo>
                    <a:cubicBezTo>
                      <a:pt x="1080" y="681"/>
                      <a:pt x="1080" y="681"/>
                      <a:pt x="1080" y="681"/>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6"/>
              <p:cNvSpPr>
                <a:spLocks noEditPoints="1"/>
              </p:cNvSpPr>
              <p:nvPr/>
            </p:nvSpPr>
            <p:spPr bwMode="auto">
              <a:xfrm>
                <a:off x="3241475" y="1419865"/>
                <a:ext cx="1176332" cy="137287"/>
              </a:xfrm>
              <a:custGeom>
                <a:avLst/>
                <a:gdLst>
                  <a:gd name="T0" fmla="*/ 1080 w 1136"/>
                  <a:gd name="T1" fmla="*/ 0 h 132"/>
                  <a:gd name="T2" fmla="*/ 56 w 1136"/>
                  <a:gd name="T3" fmla="*/ 0 h 132"/>
                  <a:gd name="T4" fmla="*/ 0 w 1136"/>
                  <a:gd name="T5" fmla="*/ 56 h 132"/>
                  <a:gd name="T6" fmla="*/ 0 w 1136"/>
                  <a:gd name="T7" fmla="*/ 127 h 132"/>
                  <a:gd name="T8" fmla="*/ 39 w 1136"/>
                  <a:gd name="T9" fmla="*/ 112 h 132"/>
                  <a:gd name="T10" fmla="*/ 1092 w 1136"/>
                  <a:gd name="T11" fmla="*/ 112 h 132"/>
                  <a:gd name="T12" fmla="*/ 1136 w 1136"/>
                  <a:gd name="T13" fmla="*/ 132 h 132"/>
                  <a:gd name="T14" fmla="*/ 1136 w 1136"/>
                  <a:gd name="T15" fmla="*/ 56 h 132"/>
                  <a:gd name="T16" fmla="*/ 1080 w 1136"/>
                  <a:gd name="T17" fmla="*/ 0 h 132"/>
                  <a:gd name="T18" fmla="*/ 909 w 1136"/>
                  <a:gd name="T19" fmla="*/ 79 h 132"/>
                  <a:gd name="T20" fmla="*/ 859 w 1136"/>
                  <a:gd name="T21" fmla="*/ 79 h 132"/>
                  <a:gd name="T22" fmla="*/ 859 w 1136"/>
                  <a:gd name="T23" fmla="*/ 69 h 132"/>
                  <a:gd name="T24" fmla="*/ 909 w 1136"/>
                  <a:gd name="T25" fmla="*/ 69 h 132"/>
                  <a:gd name="T26" fmla="*/ 909 w 1136"/>
                  <a:gd name="T27" fmla="*/ 79 h 132"/>
                  <a:gd name="T28" fmla="*/ 979 w 1136"/>
                  <a:gd name="T29" fmla="*/ 78 h 132"/>
                  <a:gd name="T30" fmla="*/ 938 w 1136"/>
                  <a:gd name="T31" fmla="*/ 78 h 132"/>
                  <a:gd name="T32" fmla="*/ 938 w 1136"/>
                  <a:gd name="T33" fmla="*/ 37 h 132"/>
                  <a:gd name="T34" fmla="*/ 979 w 1136"/>
                  <a:gd name="T35" fmla="*/ 37 h 132"/>
                  <a:gd name="T36" fmla="*/ 979 w 1136"/>
                  <a:gd name="T37" fmla="*/ 78 h 132"/>
                  <a:gd name="T38" fmla="*/ 1069 w 1136"/>
                  <a:gd name="T39" fmla="*/ 78 h 132"/>
                  <a:gd name="T40" fmla="*/ 1055 w 1136"/>
                  <a:gd name="T41" fmla="*/ 78 h 132"/>
                  <a:gd name="T42" fmla="*/ 1047 w 1136"/>
                  <a:gd name="T43" fmla="*/ 70 h 132"/>
                  <a:gd name="T44" fmla="*/ 1041 w 1136"/>
                  <a:gd name="T45" fmla="*/ 64 h 132"/>
                  <a:gd name="T46" fmla="*/ 1028 w 1136"/>
                  <a:gd name="T47" fmla="*/ 77 h 132"/>
                  <a:gd name="T48" fmla="*/ 1027 w 1136"/>
                  <a:gd name="T49" fmla="*/ 78 h 132"/>
                  <a:gd name="T50" fmla="*/ 1014 w 1136"/>
                  <a:gd name="T51" fmla="*/ 78 h 132"/>
                  <a:gd name="T52" fmla="*/ 1035 w 1136"/>
                  <a:gd name="T53" fmla="*/ 57 h 132"/>
                  <a:gd name="T54" fmla="*/ 1014 w 1136"/>
                  <a:gd name="T55" fmla="*/ 36 h 132"/>
                  <a:gd name="T56" fmla="*/ 1027 w 1136"/>
                  <a:gd name="T57" fmla="*/ 37 h 132"/>
                  <a:gd name="T58" fmla="*/ 1041 w 1136"/>
                  <a:gd name="T59" fmla="*/ 51 h 132"/>
                  <a:gd name="T60" fmla="*/ 1055 w 1136"/>
                  <a:gd name="T61" fmla="*/ 37 h 132"/>
                  <a:gd name="T62" fmla="*/ 1069 w 1136"/>
                  <a:gd name="T63" fmla="*/ 37 h 132"/>
                  <a:gd name="T64" fmla="*/ 1048 w 1136"/>
                  <a:gd name="T65" fmla="*/ 57 h 132"/>
                  <a:gd name="T66" fmla="*/ 1069 w 1136"/>
                  <a:gd name="T67" fmla="*/ 78 h 132"/>
                  <a:gd name="T68" fmla="*/ 973 w 1136"/>
                  <a:gd name="T69" fmla="*/ 44 h 132"/>
                  <a:gd name="T70" fmla="*/ 945 w 1136"/>
                  <a:gd name="T71" fmla="*/ 44 h 132"/>
                  <a:gd name="T72" fmla="*/ 945 w 1136"/>
                  <a:gd name="T73" fmla="*/ 72 h 132"/>
                  <a:gd name="T74" fmla="*/ 973 w 1136"/>
                  <a:gd name="T75" fmla="*/ 72 h 132"/>
                  <a:gd name="T76" fmla="*/ 973 w 1136"/>
                  <a:gd name="T77"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6" h="132">
                    <a:moveTo>
                      <a:pt x="1080" y="0"/>
                    </a:moveTo>
                    <a:cubicBezTo>
                      <a:pt x="56" y="0"/>
                      <a:pt x="56" y="0"/>
                      <a:pt x="56" y="0"/>
                    </a:cubicBezTo>
                    <a:cubicBezTo>
                      <a:pt x="25" y="0"/>
                      <a:pt x="0" y="25"/>
                      <a:pt x="0" y="56"/>
                    </a:cubicBezTo>
                    <a:cubicBezTo>
                      <a:pt x="0" y="127"/>
                      <a:pt x="0" y="127"/>
                      <a:pt x="0" y="127"/>
                    </a:cubicBezTo>
                    <a:cubicBezTo>
                      <a:pt x="10" y="118"/>
                      <a:pt x="24" y="112"/>
                      <a:pt x="39" y="112"/>
                    </a:cubicBezTo>
                    <a:cubicBezTo>
                      <a:pt x="1092" y="112"/>
                      <a:pt x="1092" y="112"/>
                      <a:pt x="1092" y="112"/>
                    </a:cubicBezTo>
                    <a:cubicBezTo>
                      <a:pt x="1110" y="112"/>
                      <a:pt x="1126" y="120"/>
                      <a:pt x="1136" y="132"/>
                    </a:cubicBezTo>
                    <a:cubicBezTo>
                      <a:pt x="1136" y="56"/>
                      <a:pt x="1136" y="56"/>
                      <a:pt x="1136" y="56"/>
                    </a:cubicBezTo>
                    <a:cubicBezTo>
                      <a:pt x="1136" y="25"/>
                      <a:pt x="1111" y="0"/>
                      <a:pt x="1080" y="0"/>
                    </a:cubicBezTo>
                    <a:close/>
                    <a:moveTo>
                      <a:pt x="909" y="79"/>
                    </a:moveTo>
                    <a:cubicBezTo>
                      <a:pt x="859" y="79"/>
                      <a:pt x="859" y="79"/>
                      <a:pt x="859" y="79"/>
                    </a:cubicBezTo>
                    <a:cubicBezTo>
                      <a:pt x="859" y="69"/>
                      <a:pt x="859" y="69"/>
                      <a:pt x="859" y="69"/>
                    </a:cubicBezTo>
                    <a:cubicBezTo>
                      <a:pt x="909" y="69"/>
                      <a:pt x="909" y="69"/>
                      <a:pt x="909" y="69"/>
                    </a:cubicBezTo>
                    <a:lnTo>
                      <a:pt x="909" y="79"/>
                    </a:lnTo>
                    <a:close/>
                    <a:moveTo>
                      <a:pt x="979" y="78"/>
                    </a:moveTo>
                    <a:cubicBezTo>
                      <a:pt x="938" y="78"/>
                      <a:pt x="938" y="78"/>
                      <a:pt x="938" y="78"/>
                    </a:cubicBezTo>
                    <a:cubicBezTo>
                      <a:pt x="938" y="37"/>
                      <a:pt x="938" y="37"/>
                      <a:pt x="938" y="37"/>
                    </a:cubicBezTo>
                    <a:cubicBezTo>
                      <a:pt x="979" y="37"/>
                      <a:pt x="979" y="37"/>
                      <a:pt x="979" y="37"/>
                    </a:cubicBezTo>
                    <a:lnTo>
                      <a:pt x="979" y="78"/>
                    </a:lnTo>
                    <a:close/>
                    <a:moveTo>
                      <a:pt x="1069" y="78"/>
                    </a:moveTo>
                    <a:cubicBezTo>
                      <a:pt x="1055" y="78"/>
                      <a:pt x="1055" y="78"/>
                      <a:pt x="1055" y="78"/>
                    </a:cubicBezTo>
                    <a:cubicBezTo>
                      <a:pt x="1047" y="70"/>
                      <a:pt x="1047" y="70"/>
                      <a:pt x="1047" y="70"/>
                    </a:cubicBezTo>
                    <a:cubicBezTo>
                      <a:pt x="1041" y="64"/>
                      <a:pt x="1041" y="64"/>
                      <a:pt x="1041" y="64"/>
                    </a:cubicBezTo>
                    <a:cubicBezTo>
                      <a:pt x="1028" y="77"/>
                      <a:pt x="1028" y="77"/>
                      <a:pt x="1028" y="77"/>
                    </a:cubicBezTo>
                    <a:cubicBezTo>
                      <a:pt x="1027" y="78"/>
                      <a:pt x="1027" y="78"/>
                      <a:pt x="1027" y="78"/>
                    </a:cubicBezTo>
                    <a:cubicBezTo>
                      <a:pt x="1014" y="78"/>
                      <a:pt x="1014" y="78"/>
                      <a:pt x="1014" y="78"/>
                    </a:cubicBezTo>
                    <a:cubicBezTo>
                      <a:pt x="1035" y="57"/>
                      <a:pt x="1035" y="57"/>
                      <a:pt x="1035" y="57"/>
                    </a:cubicBezTo>
                    <a:cubicBezTo>
                      <a:pt x="1014" y="36"/>
                      <a:pt x="1014" y="36"/>
                      <a:pt x="1014" y="36"/>
                    </a:cubicBezTo>
                    <a:cubicBezTo>
                      <a:pt x="1027" y="37"/>
                      <a:pt x="1027" y="37"/>
                      <a:pt x="1027" y="37"/>
                    </a:cubicBezTo>
                    <a:cubicBezTo>
                      <a:pt x="1041" y="51"/>
                      <a:pt x="1041" y="51"/>
                      <a:pt x="1041" y="51"/>
                    </a:cubicBezTo>
                    <a:cubicBezTo>
                      <a:pt x="1055" y="37"/>
                      <a:pt x="1055" y="37"/>
                      <a:pt x="1055" y="37"/>
                    </a:cubicBezTo>
                    <a:cubicBezTo>
                      <a:pt x="1069" y="37"/>
                      <a:pt x="1069" y="37"/>
                      <a:pt x="1069" y="37"/>
                    </a:cubicBezTo>
                    <a:cubicBezTo>
                      <a:pt x="1048" y="57"/>
                      <a:pt x="1048" y="57"/>
                      <a:pt x="1048" y="57"/>
                    </a:cubicBezTo>
                    <a:lnTo>
                      <a:pt x="1069" y="78"/>
                    </a:lnTo>
                    <a:close/>
                    <a:moveTo>
                      <a:pt x="973" y="44"/>
                    </a:moveTo>
                    <a:cubicBezTo>
                      <a:pt x="945" y="44"/>
                      <a:pt x="945" y="44"/>
                      <a:pt x="945" y="44"/>
                    </a:cubicBezTo>
                    <a:cubicBezTo>
                      <a:pt x="945" y="72"/>
                      <a:pt x="945" y="72"/>
                      <a:pt x="945" y="72"/>
                    </a:cubicBezTo>
                    <a:cubicBezTo>
                      <a:pt x="973" y="72"/>
                      <a:pt x="973" y="72"/>
                      <a:pt x="973" y="72"/>
                    </a:cubicBezTo>
                    <a:lnTo>
                      <a:pt x="973" y="4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57" name="Group 56"/>
          <p:cNvGrpSpPr/>
          <p:nvPr/>
        </p:nvGrpSpPr>
        <p:grpSpPr>
          <a:xfrm>
            <a:off x="8962034" y="1919645"/>
            <a:ext cx="2482519" cy="2402914"/>
            <a:chOff x="2836676" y="1239680"/>
            <a:chExt cx="1595466" cy="1544305"/>
          </a:xfrm>
        </p:grpSpPr>
        <p:grpSp>
          <p:nvGrpSpPr>
            <p:cNvPr id="58" name="Group 57"/>
            <p:cNvGrpSpPr/>
            <p:nvPr/>
          </p:nvGrpSpPr>
          <p:grpSpPr>
            <a:xfrm>
              <a:off x="3217877" y="1288216"/>
              <a:ext cx="1214265" cy="1039537"/>
              <a:chOff x="3427413" y="2970213"/>
              <a:chExt cx="1092200" cy="935037"/>
            </a:xfrm>
          </p:grpSpPr>
          <p:sp>
            <p:nvSpPr>
              <p:cNvPr id="67" name="Rectangle 5"/>
              <p:cNvSpPr>
                <a:spLocks noChangeArrowheads="1"/>
              </p:cNvSpPr>
              <p:nvPr/>
            </p:nvSpPr>
            <p:spPr bwMode="auto">
              <a:xfrm>
                <a:off x="3473450" y="3019425"/>
                <a:ext cx="1000125" cy="6969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6"/>
              <p:cNvSpPr>
                <a:spLocks noEditPoints="1"/>
              </p:cNvSpPr>
              <p:nvPr/>
            </p:nvSpPr>
            <p:spPr bwMode="auto">
              <a:xfrm>
                <a:off x="3427413" y="2970213"/>
                <a:ext cx="1092200" cy="935037"/>
              </a:xfrm>
              <a:custGeom>
                <a:avLst/>
                <a:gdLst>
                  <a:gd name="T0" fmla="*/ 1325 w 1369"/>
                  <a:gd name="T1" fmla="*/ 0 h 1170"/>
                  <a:gd name="T2" fmla="*/ 47 w 1369"/>
                  <a:gd name="T3" fmla="*/ 0 h 1170"/>
                  <a:gd name="T4" fmla="*/ 0 w 1369"/>
                  <a:gd name="T5" fmla="*/ 42 h 1170"/>
                  <a:gd name="T6" fmla="*/ 0 w 1369"/>
                  <a:gd name="T7" fmla="*/ 957 h 1170"/>
                  <a:gd name="T8" fmla="*/ 47 w 1369"/>
                  <a:gd name="T9" fmla="*/ 1001 h 1170"/>
                  <a:gd name="T10" fmla="*/ 467 w 1369"/>
                  <a:gd name="T11" fmla="*/ 1001 h 1170"/>
                  <a:gd name="T12" fmla="*/ 454 w 1369"/>
                  <a:gd name="T13" fmla="*/ 1067 h 1170"/>
                  <a:gd name="T14" fmla="*/ 382 w 1369"/>
                  <a:gd name="T15" fmla="*/ 1092 h 1170"/>
                  <a:gd name="T16" fmla="*/ 375 w 1369"/>
                  <a:gd name="T17" fmla="*/ 1092 h 1170"/>
                  <a:gd name="T18" fmla="*/ 346 w 1369"/>
                  <a:gd name="T19" fmla="*/ 1123 h 1170"/>
                  <a:gd name="T20" fmla="*/ 346 w 1369"/>
                  <a:gd name="T21" fmla="*/ 1139 h 1170"/>
                  <a:gd name="T22" fmla="*/ 375 w 1369"/>
                  <a:gd name="T23" fmla="*/ 1170 h 1170"/>
                  <a:gd name="T24" fmla="*/ 1011 w 1369"/>
                  <a:gd name="T25" fmla="*/ 1170 h 1170"/>
                  <a:gd name="T26" fmla="*/ 1040 w 1369"/>
                  <a:gd name="T27" fmla="*/ 1139 h 1170"/>
                  <a:gd name="T28" fmla="*/ 1040 w 1369"/>
                  <a:gd name="T29" fmla="*/ 1123 h 1170"/>
                  <a:gd name="T30" fmla="*/ 1011 w 1369"/>
                  <a:gd name="T31" fmla="*/ 1092 h 1170"/>
                  <a:gd name="T32" fmla="*/ 1008 w 1369"/>
                  <a:gd name="T33" fmla="*/ 1092 h 1170"/>
                  <a:gd name="T34" fmla="*/ 940 w 1369"/>
                  <a:gd name="T35" fmla="*/ 1067 h 1170"/>
                  <a:gd name="T36" fmla="*/ 929 w 1369"/>
                  <a:gd name="T37" fmla="*/ 1001 h 1170"/>
                  <a:gd name="T38" fmla="*/ 1325 w 1369"/>
                  <a:gd name="T39" fmla="*/ 1001 h 1170"/>
                  <a:gd name="T40" fmla="*/ 1369 w 1369"/>
                  <a:gd name="T41" fmla="*/ 957 h 1170"/>
                  <a:gd name="T42" fmla="*/ 1369 w 1369"/>
                  <a:gd name="T43" fmla="*/ 42 h 1170"/>
                  <a:gd name="T44" fmla="*/ 1325 w 1369"/>
                  <a:gd name="T45" fmla="*/ 0 h 1170"/>
                  <a:gd name="T46" fmla="*/ 1290 w 1369"/>
                  <a:gd name="T47" fmla="*/ 889 h 1170"/>
                  <a:gd name="T48" fmla="*/ 1254 w 1369"/>
                  <a:gd name="T49" fmla="*/ 925 h 1170"/>
                  <a:gd name="T50" fmla="*/ 118 w 1369"/>
                  <a:gd name="T51" fmla="*/ 925 h 1170"/>
                  <a:gd name="T52" fmla="*/ 80 w 1369"/>
                  <a:gd name="T53" fmla="*/ 889 h 1170"/>
                  <a:gd name="T54" fmla="*/ 80 w 1369"/>
                  <a:gd name="T55" fmla="*/ 110 h 1170"/>
                  <a:gd name="T56" fmla="*/ 118 w 1369"/>
                  <a:gd name="T57" fmla="*/ 74 h 1170"/>
                  <a:gd name="T58" fmla="*/ 1254 w 1369"/>
                  <a:gd name="T59" fmla="*/ 74 h 1170"/>
                  <a:gd name="T60" fmla="*/ 1290 w 1369"/>
                  <a:gd name="T61" fmla="*/ 110 h 1170"/>
                  <a:gd name="T62" fmla="*/ 1290 w 1369"/>
                  <a:gd name="T63" fmla="*/ 889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9" h="1170">
                    <a:moveTo>
                      <a:pt x="1325" y="0"/>
                    </a:moveTo>
                    <a:cubicBezTo>
                      <a:pt x="47" y="0"/>
                      <a:pt x="47" y="0"/>
                      <a:pt x="47" y="0"/>
                    </a:cubicBezTo>
                    <a:cubicBezTo>
                      <a:pt x="21" y="0"/>
                      <a:pt x="0" y="18"/>
                      <a:pt x="0" y="42"/>
                    </a:cubicBezTo>
                    <a:cubicBezTo>
                      <a:pt x="0" y="957"/>
                      <a:pt x="0" y="957"/>
                      <a:pt x="0" y="957"/>
                    </a:cubicBezTo>
                    <a:cubicBezTo>
                      <a:pt x="0" y="981"/>
                      <a:pt x="21" y="1001"/>
                      <a:pt x="47" y="1001"/>
                    </a:cubicBezTo>
                    <a:cubicBezTo>
                      <a:pt x="467" y="1001"/>
                      <a:pt x="467" y="1001"/>
                      <a:pt x="467" y="1001"/>
                    </a:cubicBezTo>
                    <a:cubicBezTo>
                      <a:pt x="467" y="1001"/>
                      <a:pt x="464" y="1053"/>
                      <a:pt x="454" y="1067"/>
                    </a:cubicBezTo>
                    <a:cubicBezTo>
                      <a:pt x="437" y="1092"/>
                      <a:pt x="405" y="1085"/>
                      <a:pt x="382" y="1092"/>
                    </a:cubicBezTo>
                    <a:cubicBezTo>
                      <a:pt x="375" y="1092"/>
                      <a:pt x="375" y="1092"/>
                      <a:pt x="375" y="1092"/>
                    </a:cubicBezTo>
                    <a:cubicBezTo>
                      <a:pt x="359" y="1092"/>
                      <a:pt x="346" y="1106"/>
                      <a:pt x="346" y="1123"/>
                    </a:cubicBezTo>
                    <a:cubicBezTo>
                      <a:pt x="346" y="1139"/>
                      <a:pt x="346" y="1139"/>
                      <a:pt x="346" y="1139"/>
                    </a:cubicBezTo>
                    <a:cubicBezTo>
                      <a:pt x="346" y="1156"/>
                      <a:pt x="359" y="1170"/>
                      <a:pt x="375" y="1170"/>
                    </a:cubicBezTo>
                    <a:cubicBezTo>
                      <a:pt x="1011" y="1170"/>
                      <a:pt x="1011" y="1170"/>
                      <a:pt x="1011" y="1170"/>
                    </a:cubicBezTo>
                    <a:cubicBezTo>
                      <a:pt x="1026" y="1170"/>
                      <a:pt x="1040" y="1156"/>
                      <a:pt x="1040" y="1139"/>
                    </a:cubicBezTo>
                    <a:cubicBezTo>
                      <a:pt x="1040" y="1123"/>
                      <a:pt x="1040" y="1123"/>
                      <a:pt x="1040" y="1123"/>
                    </a:cubicBezTo>
                    <a:cubicBezTo>
                      <a:pt x="1040" y="1106"/>
                      <a:pt x="1026" y="1092"/>
                      <a:pt x="1011" y="1092"/>
                    </a:cubicBezTo>
                    <a:cubicBezTo>
                      <a:pt x="1008" y="1092"/>
                      <a:pt x="1008" y="1092"/>
                      <a:pt x="1008" y="1092"/>
                    </a:cubicBezTo>
                    <a:cubicBezTo>
                      <a:pt x="995" y="1090"/>
                      <a:pt x="957" y="1093"/>
                      <a:pt x="940" y="1067"/>
                    </a:cubicBezTo>
                    <a:cubicBezTo>
                      <a:pt x="932" y="1053"/>
                      <a:pt x="929" y="1001"/>
                      <a:pt x="929" y="1001"/>
                    </a:cubicBezTo>
                    <a:cubicBezTo>
                      <a:pt x="1325" y="1001"/>
                      <a:pt x="1325" y="1001"/>
                      <a:pt x="1325" y="1001"/>
                    </a:cubicBezTo>
                    <a:cubicBezTo>
                      <a:pt x="1349" y="1001"/>
                      <a:pt x="1369" y="981"/>
                      <a:pt x="1369" y="957"/>
                    </a:cubicBezTo>
                    <a:cubicBezTo>
                      <a:pt x="1369" y="42"/>
                      <a:pt x="1369" y="42"/>
                      <a:pt x="1369" y="42"/>
                    </a:cubicBezTo>
                    <a:cubicBezTo>
                      <a:pt x="1369" y="18"/>
                      <a:pt x="1349" y="0"/>
                      <a:pt x="1325" y="0"/>
                    </a:cubicBezTo>
                    <a:close/>
                    <a:moveTo>
                      <a:pt x="1290" y="889"/>
                    </a:moveTo>
                    <a:cubicBezTo>
                      <a:pt x="1290" y="910"/>
                      <a:pt x="1273" y="925"/>
                      <a:pt x="1254" y="925"/>
                    </a:cubicBezTo>
                    <a:cubicBezTo>
                      <a:pt x="118" y="925"/>
                      <a:pt x="118" y="925"/>
                      <a:pt x="118" y="925"/>
                    </a:cubicBezTo>
                    <a:cubicBezTo>
                      <a:pt x="97" y="925"/>
                      <a:pt x="80" y="910"/>
                      <a:pt x="80" y="889"/>
                    </a:cubicBezTo>
                    <a:cubicBezTo>
                      <a:pt x="80" y="110"/>
                      <a:pt x="80" y="110"/>
                      <a:pt x="80" y="110"/>
                    </a:cubicBezTo>
                    <a:cubicBezTo>
                      <a:pt x="80" y="89"/>
                      <a:pt x="97" y="74"/>
                      <a:pt x="118" y="74"/>
                    </a:cubicBezTo>
                    <a:cubicBezTo>
                      <a:pt x="1254" y="74"/>
                      <a:pt x="1254" y="74"/>
                      <a:pt x="1254" y="74"/>
                    </a:cubicBezTo>
                    <a:cubicBezTo>
                      <a:pt x="1273" y="74"/>
                      <a:pt x="1290" y="89"/>
                      <a:pt x="1290" y="110"/>
                    </a:cubicBezTo>
                    <a:cubicBezTo>
                      <a:pt x="1290" y="889"/>
                      <a:pt x="1290" y="889"/>
                      <a:pt x="1290" y="889"/>
                    </a:cubicBezTo>
                    <a:close/>
                  </a:path>
                </a:pathLst>
              </a:custGeom>
              <a:solidFill>
                <a:srgbClr val="0071BC"/>
              </a:solidFill>
              <a:ln w="2"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9" name="Group 58"/>
            <p:cNvGrpSpPr/>
            <p:nvPr/>
          </p:nvGrpSpPr>
          <p:grpSpPr>
            <a:xfrm>
              <a:off x="3516117" y="1415170"/>
              <a:ext cx="812321" cy="534932"/>
              <a:chOff x="6182193" y="4712006"/>
              <a:chExt cx="1134712" cy="747235"/>
            </a:xfrm>
          </p:grpSpPr>
          <p:sp>
            <p:nvSpPr>
              <p:cNvPr id="64" name="Freeform 63"/>
              <p:cNvSpPr>
                <a:spLocks noEditPoints="1"/>
              </p:cNvSpPr>
              <p:nvPr/>
            </p:nvSpPr>
            <p:spPr bwMode="auto">
              <a:xfrm>
                <a:off x="6182193" y="4712006"/>
                <a:ext cx="1134712"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64"/>
              <p:cNvSpPr>
                <a:spLocks noEditPoints="1"/>
              </p:cNvSpPr>
              <p:nvPr/>
            </p:nvSpPr>
            <p:spPr bwMode="auto">
              <a:xfrm>
                <a:off x="6317783" y="4918699"/>
                <a:ext cx="871373" cy="456778"/>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65"/>
              <p:cNvSpPr>
                <a:spLocks noEditPoints="1"/>
              </p:cNvSpPr>
              <p:nvPr/>
            </p:nvSpPr>
            <p:spPr bwMode="auto">
              <a:xfrm>
                <a:off x="6405163" y="4972934"/>
                <a:ext cx="696014" cy="335052"/>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5875"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nvGrpSpPr>
            <p:cNvPr id="60" name="Group 59"/>
            <p:cNvGrpSpPr/>
            <p:nvPr/>
          </p:nvGrpSpPr>
          <p:grpSpPr>
            <a:xfrm>
              <a:off x="2836676" y="1239680"/>
              <a:ext cx="1021860" cy="1544305"/>
              <a:chOff x="2967844" y="1151940"/>
              <a:chExt cx="919137" cy="1389063"/>
            </a:xfrm>
          </p:grpSpPr>
          <p:sp>
            <p:nvSpPr>
              <p:cNvPr id="61" name="Oval 60"/>
              <p:cNvSpPr/>
              <p:nvPr/>
            </p:nvSpPr>
            <p:spPr bwMode="auto">
              <a:xfrm>
                <a:off x="3194269" y="1421929"/>
                <a:ext cx="464706" cy="443199"/>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62" name="Freeform 6"/>
              <p:cNvSpPr>
                <a:spLocks/>
              </p:cNvSpPr>
              <p:nvPr/>
            </p:nvSpPr>
            <p:spPr bwMode="auto">
              <a:xfrm>
                <a:off x="3157456" y="1151940"/>
                <a:ext cx="536342" cy="536343"/>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sp>
            <p:nvSpPr>
              <p:cNvPr id="63" name="Freeform 7"/>
              <p:cNvSpPr>
                <a:spLocks/>
              </p:cNvSpPr>
              <p:nvPr/>
            </p:nvSpPr>
            <p:spPr bwMode="auto">
              <a:xfrm>
                <a:off x="2967844" y="1628649"/>
                <a:ext cx="919137" cy="912354"/>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158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grpSp>
      </p:grpSp>
      <p:grpSp>
        <p:nvGrpSpPr>
          <p:cNvPr id="7" name="Group 6"/>
          <p:cNvGrpSpPr/>
          <p:nvPr/>
        </p:nvGrpSpPr>
        <p:grpSpPr>
          <a:xfrm>
            <a:off x="4789971" y="1919645"/>
            <a:ext cx="2814154" cy="2409210"/>
            <a:chOff x="4386746" y="1919645"/>
            <a:chExt cx="995111" cy="851919"/>
          </a:xfrm>
        </p:grpSpPr>
        <p:sp>
          <p:nvSpPr>
            <p:cNvPr id="71" name="Freeform 6"/>
            <p:cNvSpPr>
              <a:spLocks noEditPoints="1"/>
            </p:cNvSpPr>
            <p:nvPr/>
          </p:nvSpPr>
          <p:spPr bwMode="auto">
            <a:xfrm>
              <a:off x="4386746" y="1919645"/>
              <a:ext cx="995111" cy="851919"/>
            </a:xfrm>
            <a:custGeom>
              <a:avLst/>
              <a:gdLst>
                <a:gd name="T0" fmla="*/ 1325 w 1369"/>
                <a:gd name="T1" fmla="*/ 0 h 1170"/>
                <a:gd name="T2" fmla="*/ 47 w 1369"/>
                <a:gd name="T3" fmla="*/ 0 h 1170"/>
                <a:gd name="T4" fmla="*/ 0 w 1369"/>
                <a:gd name="T5" fmla="*/ 42 h 1170"/>
                <a:gd name="T6" fmla="*/ 0 w 1369"/>
                <a:gd name="T7" fmla="*/ 957 h 1170"/>
                <a:gd name="T8" fmla="*/ 47 w 1369"/>
                <a:gd name="T9" fmla="*/ 1001 h 1170"/>
                <a:gd name="T10" fmla="*/ 467 w 1369"/>
                <a:gd name="T11" fmla="*/ 1001 h 1170"/>
                <a:gd name="T12" fmla="*/ 454 w 1369"/>
                <a:gd name="T13" fmla="*/ 1067 h 1170"/>
                <a:gd name="T14" fmla="*/ 382 w 1369"/>
                <a:gd name="T15" fmla="*/ 1092 h 1170"/>
                <a:gd name="T16" fmla="*/ 375 w 1369"/>
                <a:gd name="T17" fmla="*/ 1092 h 1170"/>
                <a:gd name="T18" fmla="*/ 346 w 1369"/>
                <a:gd name="T19" fmla="*/ 1123 h 1170"/>
                <a:gd name="T20" fmla="*/ 346 w 1369"/>
                <a:gd name="T21" fmla="*/ 1139 h 1170"/>
                <a:gd name="T22" fmla="*/ 375 w 1369"/>
                <a:gd name="T23" fmla="*/ 1170 h 1170"/>
                <a:gd name="T24" fmla="*/ 1011 w 1369"/>
                <a:gd name="T25" fmla="*/ 1170 h 1170"/>
                <a:gd name="T26" fmla="*/ 1040 w 1369"/>
                <a:gd name="T27" fmla="*/ 1139 h 1170"/>
                <a:gd name="T28" fmla="*/ 1040 w 1369"/>
                <a:gd name="T29" fmla="*/ 1123 h 1170"/>
                <a:gd name="T30" fmla="*/ 1011 w 1369"/>
                <a:gd name="T31" fmla="*/ 1092 h 1170"/>
                <a:gd name="T32" fmla="*/ 1008 w 1369"/>
                <a:gd name="T33" fmla="*/ 1092 h 1170"/>
                <a:gd name="T34" fmla="*/ 940 w 1369"/>
                <a:gd name="T35" fmla="*/ 1067 h 1170"/>
                <a:gd name="T36" fmla="*/ 929 w 1369"/>
                <a:gd name="T37" fmla="*/ 1001 h 1170"/>
                <a:gd name="T38" fmla="*/ 1325 w 1369"/>
                <a:gd name="T39" fmla="*/ 1001 h 1170"/>
                <a:gd name="T40" fmla="*/ 1369 w 1369"/>
                <a:gd name="T41" fmla="*/ 957 h 1170"/>
                <a:gd name="T42" fmla="*/ 1369 w 1369"/>
                <a:gd name="T43" fmla="*/ 42 h 1170"/>
                <a:gd name="T44" fmla="*/ 1325 w 1369"/>
                <a:gd name="T45" fmla="*/ 0 h 1170"/>
                <a:gd name="T46" fmla="*/ 1290 w 1369"/>
                <a:gd name="T47" fmla="*/ 889 h 1170"/>
                <a:gd name="T48" fmla="*/ 1254 w 1369"/>
                <a:gd name="T49" fmla="*/ 925 h 1170"/>
                <a:gd name="T50" fmla="*/ 118 w 1369"/>
                <a:gd name="T51" fmla="*/ 925 h 1170"/>
                <a:gd name="T52" fmla="*/ 80 w 1369"/>
                <a:gd name="T53" fmla="*/ 889 h 1170"/>
                <a:gd name="T54" fmla="*/ 80 w 1369"/>
                <a:gd name="T55" fmla="*/ 110 h 1170"/>
                <a:gd name="T56" fmla="*/ 118 w 1369"/>
                <a:gd name="T57" fmla="*/ 74 h 1170"/>
                <a:gd name="T58" fmla="*/ 1254 w 1369"/>
                <a:gd name="T59" fmla="*/ 74 h 1170"/>
                <a:gd name="T60" fmla="*/ 1290 w 1369"/>
                <a:gd name="T61" fmla="*/ 110 h 1170"/>
                <a:gd name="T62" fmla="*/ 1290 w 1369"/>
                <a:gd name="T63" fmla="*/ 889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9" h="1170">
                  <a:moveTo>
                    <a:pt x="1325" y="0"/>
                  </a:moveTo>
                  <a:cubicBezTo>
                    <a:pt x="47" y="0"/>
                    <a:pt x="47" y="0"/>
                    <a:pt x="47" y="0"/>
                  </a:cubicBezTo>
                  <a:cubicBezTo>
                    <a:pt x="21" y="0"/>
                    <a:pt x="0" y="18"/>
                    <a:pt x="0" y="42"/>
                  </a:cubicBezTo>
                  <a:cubicBezTo>
                    <a:pt x="0" y="957"/>
                    <a:pt x="0" y="957"/>
                    <a:pt x="0" y="957"/>
                  </a:cubicBezTo>
                  <a:cubicBezTo>
                    <a:pt x="0" y="981"/>
                    <a:pt x="21" y="1001"/>
                    <a:pt x="47" y="1001"/>
                  </a:cubicBezTo>
                  <a:cubicBezTo>
                    <a:pt x="467" y="1001"/>
                    <a:pt x="467" y="1001"/>
                    <a:pt x="467" y="1001"/>
                  </a:cubicBezTo>
                  <a:cubicBezTo>
                    <a:pt x="467" y="1001"/>
                    <a:pt x="464" y="1053"/>
                    <a:pt x="454" y="1067"/>
                  </a:cubicBezTo>
                  <a:cubicBezTo>
                    <a:pt x="437" y="1092"/>
                    <a:pt x="405" y="1085"/>
                    <a:pt x="382" y="1092"/>
                  </a:cubicBezTo>
                  <a:cubicBezTo>
                    <a:pt x="375" y="1092"/>
                    <a:pt x="375" y="1092"/>
                    <a:pt x="375" y="1092"/>
                  </a:cubicBezTo>
                  <a:cubicBezTo>
                    <a:pt x="359" y="1092"/>
                    <a:pt x="346" y="1106"/>
                    <a:pt x="346" y="1123"/>
                  </a:cubicBezTo>
                  <a:cubicBezTo>
                    <a:pt x="346" y="1139"/>
                    <a:pt x="346" y="1139"/>
                    <a:pt x="346" y="1139"/>
                  </a:cubicBezTo>
                  <a:cubicBezTo>
                    <a:pt x="346" y="1156"/>
                    <a:pt x="359" y="1170"/>
                    <a:pt x="375" y="1170"/>
                  </a:cubicBezTo>
                  <a:cubicBezTo>
                    <a:pt x="1011" y="1170"/>
                    <a:pt x="1011" y="1170"/>
                    <a:pt x="1011" y="1170"/>
                  </a:cubicBezTo>
                  <a:cubicBezTo>
                    <a:pt x="1026" y="1170"/>
                    <a:pt x="1040" y="1156"/>
                    <a:pt x="1040" y="1139"/>
                  </a:cubicBezTo>
                  <a:cubicBezTo>
                    <a:pt x="1040" y="1123"/>
                    <a:pt x="1040" y="1123"/>
                    <a:pt x="1040" y="1123"/>
                  </a:cubicBezTo>
                  <a:cubicBezTo>
                    <a:pt x="1040" y="1106"/>
                    <a:pt x="1026" y="1092"/>
                    <a:pt x="1011" y="1092"/>
                  </a:cubicBezTo>
                  <a:cubicBezTo>
                    <a:pt x="1008" y="1092"/>
                    <a:pt x="1008" y="1092"/>
                    <a:pt x="1008" y="1092"/>
                  </a:cubicBezTo>
                  <a:cubicBezTo>
                    <a:pt x="995" y="1090"/>
                    <a:pt x="957" y="1093"/>
                    <a:pt x="940" y="1067"/>
                  </a:cubicBezTo>
                  <a:cubicBezTo>
                    <a:pt x="932" y="1053"/>
                    <a:pt x="929" y="1001"/>
                    <a:pt x="929" y="1001"/>
                  </a:cubicBezTo>
                  <a:cubicBezTo>
                    <a:pt x="1325" y="1001"/>
                    <a:pt x="1325" y="1001"/>
                    <a:pt x="1325" y="1001"/>
                  </a:cubicBezTo>
                  <a:cubicBezTo>
                    <a:pt x="1349" y="1001"/>
                    <a:pt x="1369" y="981"/>
                    <a:pt x="1369" y="957"/>
                  </a:cubicBezTo>
                  <a:cubicBezTo>
                    <a:pt x="1369" y="42"/>
                    <a:pt x="1369" y="42"/>
                    <a:pt x="1369" y="42"/>
                  </a:cubicBezTo>
                  <a:cubicBezTo>
                    <a:pt x="1369" y="18"/>
                    <a:pt x="1349" y="0"/>
                    <a:pt x="1325" y="0"/>
                  </a:cubicBezTo>
                  <a:close/>
                  <a:moveTo>
                    <a:pt x="1290" y="889"/>
                  </a:moveTo>
                  <a:cubicBezTo>
                    <a:pt x="1290" y="910"/>
                    <a:pt x="1273" y="925"/>
                    <a:pt x="1254" y="925"/>
                  </a:cubicBezTo>
                  <a:cubicBezTo>
                    <a:pt x="118" y="925"/>
                    <a:pt x="118" y="925"/>
                    <a:pt x="118" y="925"/>
                  </a:cubicBezTo>
                  <a:cubicBezTo>
                    <a:pt x="97" y="925"/>
                    <a:pt x="80" y="910"/>
                    <a:pt x="80" y="889"/>
                  </a:cubicBezTo>
                  <a:cubicBezTo>
                    <a:pt x="80" y="110"/>
                    <a:pt x="80" y="110"/>
                    <a:pt x="80" y="110"/>
                  </a:cubicBezTo>
                  <a:cubicBezTo>
                    <a:pt x="80" y="89"/>
                    <a:pt x="97" y="74"/>
                    <a:pt x="118" y="74"/>
                  </a:cubicBezTo>
                  <a:cubicBezTo>
                    <a:pt x="1254" y="74"/>
                    <a:pt x="1254" y="74"/>
                    <a:pt x="1254" y="74"/>
                  </a:cubicBezTo>
                  <a:cubicBezTo>
                    <a:pt x="1273" y="74"/>
                    <a:pt x="1290" y="89"/>
                    <a:pt x="1290" y="110"/>
                  </a:cubicBezTo>
                  <a:cubicBezTo>
                    <a:pt x="1290" y="889"/>
                    <a:pt x="1290" y="889"/>
                    <a:pt x="1290" y="889"/>
                  </a:cubicBezTo>
                  <a:close/>
                </a:path>
              </a:pathLst>
            </a:custGeom>
            <a:solidFill>
              <a:srgbClr val="0071BC"/>
            </a:solidFill>
            <a:ln w="2"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 name="Freeform 5"/>
            <p:cNvSpPr>
              <a:spLocks noEditPoints="1"/>
            </p:cNvSpPr>
            <p:nvPr/>
          </p:nvSpPr>
          <p:spPr bwMode="auto">
            <a:xfrm>
              <a:off x="4533559" y="2101082"/>
              <a:ext cx="713032" cy="461631"/>
            </a:xfrm>
            <a:custGeom>
              <a:avLst/>
              <a:gdLst>
                <a:gd name="T0" fmla="*/ 1080 w 1136"/>
                <a:gd name="T1" fmla="*/ 0 h 737"/>
                <a:gd name="T2" fmla="*/ 56 w 1136"/>
                <a:gd name="T3" fmla="*/ 0 h 737"/>
                <a:gd name="T4" fmla="*/ 0 w 1136"/>
                <a:gd name="T5" fmla="*/ 56 h 737"/>
                <a:gd name="T6" fmla="*/ 0 w 1136"/>
                <a:gd name="T7" fmla="*/ 681 h 737"/>
                <a:gd name="T8" fmla="*/ 56 w 1136"/>
                <a:gd name="T9" fmla="*/ 737 h 737"/>
                <a:gd name="T10" fmla="*/ 1080 w 1136"/>
                <a:gd name="T11" fmla="*/ 737 h 737"/>
                <a:gd name="T12" fmla="*/ 1136 w 1136"/>
                <a:gd name="T13" fmla="*/ 681 h 737"/>
                <a:gd name="T14" fmla="*/ 1136 w 1136"/>
                <a:gd name="T15" fmla="*/ 56 h 737"/>
                <a:gd name="T16" fmla="*/ 1080 w 1136"/>
                <a:gd name="T17" fmla="*/ 0 h 737"/>
                <a:gd name="T18" fmla="*/ 1080 w 1136"/>
                <a:gd name="T19" fmla="*/ 681 h 737"/>
                <a:gd name="T20" fmla="*/ 1080 w 1136"/>
                <a:gd name="T21" fmla="*/ 681 h 737"/>
                <a:gd name="T22" fmla="*/ 56 w 1136"/>
                <a:gd name="T23" fmla="*/ 681 h 737"/>
                <a:gd name="T24" fmla="*/ 56 w 1136"/>
                <a:gd name="T25" fmla="*/ 681 h 737"/>
                <a:gd name="T26" fmla="*/ 56 w 1136"/>
                <a:gd name="T27" fmla="*/ 56 h 737"/>
                <a:gd name="T28" fmla="*/ 56 w 1136"/>
                <a:gd name="T29" fmla="*/ 56 h 737"/>
                <a:gd name="T30" fmla="*/ 1080 w 1136"/>
                <a:gd name="T31" fmla="*/ 56 h 737"/>
                <a:gd name="T32" fmla="*/ 1080 w 1136"/>
                <a:gd name="T33" fmla="*/ 56 h 737"/>
                <a:gd name="T34" fmla="*/ 1080 w 1136"/>
                <a:gd name="T35" fmla="*/ 681 h 737"/>
                <a:gd name="T36" fmla="*/ 1080 w 1136"/>
                <a:gd name="T37" fmla="*/ 68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6" h="737">
                  <a:moveTo>
                    <a:pt x="1080" y="0"/>
                  </a:moveTo>
                  <a:cubicBezTo>
                    <a:pt x="56" y="0"/>
                    <a:pt x="56" y="0"/>
                    <a:pt x="56" y="0"/>
                  </a:cubicBezTo>
                  <a:cubicBezTo>
                    <a:pt x="25" y="0"/>
                    <a:pt x="0" y="25"/>
                    <a:pt x="0" y="56"/>
                  </a:cubicBezTo>
                  <a:cubicBezTo>
                    <a:pt x="0" y="681"/>
                    <a:pt x="0" y="681"/>
                    <a:pt x="0" y="681"/>
                  </a:cubicBezTo>
                  <a:cubicBezTo>
                    <a:pt x="0" y="712"/>
                    <a:pt x="25" y="737"/>
                    <a:pt x="56" y="737"/>
                  </a:cubicBezTo>
                  <a:cubicBezTo>
                    <a:pt x="1080" y="737"/>
                    <a:pt x="1080" y="737"/>
                    <a:pt x="1080" y="737"/>
                  </a:cubicBezTo>
                  <a:cubicBezTo>
                    <a:pt x="1111" y="737"/>
                    <a:pt x="1136" y="712"/>
                    <a:pt x="1136" y="681"/>
                  </a:cubicBezTo>
                  <a:cubicBezTo>
                    <a:pt x="1136" y="56"/>
                    <a:pt x="1136" y="56"/>
                    <a:pt x="1136" y="56"/>
                  </a:cubicBezTo>
                  <a:cubicBezTo>
                    <a:pt x="1136" y="25"/>
                    <a:pt x="1111" y="0"/>
                    <a:pt x="1080" y="0"/>
                  </a:cubicBezTo>
                  <a:close/>
                  <a:moveTo>
                    <a:pt x="1080" y="681"/>
                  </a:moveTo>
                  <a:cubicBezTo>
                    <a:pt x="1080" y="681"/>
                    <a:pt x="1080" y="681"/>
                    <a:pt x="1080" y="681"/>
                  </a:cubicBezTo>
                  <a:cubicBezTo>
                    <a:pt x="56" y="681"/>
                    <a:pt x="56" y="681"/>
                    <a:pt x="56" y="681"/>
                  </a:cubicBezTo>
                  <a:cubicBezTo>
                    <a:pt x="56" y="681"/>
                    <a:pt x="56" y="681"/>
                    <a:pt x="56" y="681"/>
                  </a:cubicBezTo>
                  <a:cubicBezTo>
                    <a:pt x="56" y="56"/>
                    <a:pt x="56" y="56"/>
                    <a:pt x="56" y="56"/>
                  </a:cubicBezTo>
                  <a:cubicBezTo>
                    <a:pt x="56" y="56"/>
                    <a:pt x="56" y="56"/>
                    <a:pt x="56" y="56"/>
                  </a:cubicBezTo>
                  <a:cubicBezTo>
                    <a:pt x="1080" y="56"/>
                    <a:pt x="1080" y="56"/>
                    <a:pt x="1080" y="56"/>
                  </a:cubicBezTo>
                  <a:cubicBezTo>
                    <a:pt x="1080" y="56"/>
                    <a:pt x="1080" y="56"/>
                    <a:pt x="1080" y="56"/>
                  </a:cubicBezTo>
                  <a:cubicBezTo>
                    <a:pt x="1080" y="681"/>
                    <a:pt x="1080" y="681"/>
                    <a:pt x="1080" y="681"/>
                  </a:cubicBezTo>
                  <a:cubicBezTo>
                    <a:pt x="1080" y="681"/>
                    <a:pt x="1080" y="681"/>
                    <a:pt x="1080" y="681"/>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6"/>
            <p:cNvSpPr>
              <a:spLocks noEditPoints="1"/>
            </p:cNvSpPr>
            <p:nvPr/>
          </p:nvSpPr>
          <p:spPr bwMode="auto">
            <a:xfrm>
              <a:off x="4533559" y="2009982"/>
              <a:ext cx="713032" cy="83216"/>
            </a:xfrm>
            <a:custGeom>
              <a:avLst/>
              <a:gdLst>
                <a:gd name="T0" fmla="*/ 1080 w 1136"/>
                <a:gd name="T1" fmla="*/ 0 h 132"/>
                <a:gd name="T2" fmla="*/ 56 w 1136"/>
                <a:gd name="T3" fmla="*/ 0 h 132"/>
                <a:gd name="T4" fmla="*/ 0 w 1136"/>
                <a:gd name="T5" fmla="*/ 56 h 132"/>
                <a:gd name="T6" fmla="*/ 0 w 1136"/>
                <a:gd name="T7" fmla="*/ 127 h 132"/>
                <a:gd name="T8" fmla="*/ 39 w 1136"/>
                <a:gd name="T9" fmla="*/ 112 h 132"/>
                <a:gd name="T10" fmla="*/ 1092 w 1136"/>
                <a:gd name="T11" fmla="*/ 112 h 132"/>
                <a:gd name="T12" fmla="*/ 1136 w 1136"/>
                <a:gd name="T13" fmla="*/ 132 h 132"/>
                <a:gd name="T14" fmla="*/ 1136 w 1136"/>
                <a:gd name="T15" fmla="*/ 56 h 132"/>
                <a:gd name="T16" fmla="*/ 1080 w 1136"/>
                <a:gd name="T17" fmla="*/ 0 h 132"/>
                <a:gd name="T18" fmla="*/ 909 w 1136"/>
                <a:gd name="T19" fmla="*/ 79 h 132"/>
                <a:gd name="T20" fmla="*/ 859 w 1136"/>
                <a:gd name="T21" fmla="*/ 79 h 132"/>
                <a:gd name="T22" fmla="*/ 859 w 1136"/>
                <a:gd name="T23" fmla="*/ 69 h 132"/>
                <a:gd name="T24" fmla="*/ 909 w 1136"/>
                <a:gd name="T25" fmla="*/ 69 h 132"/>
                <a:gd name="T26" fmla="*/ 909 w 1136"/>
                <a:gd name="T27" fmla="*/ 79 h 132"/>
                <a:gd name="T28" fmla="*/ 979 w 1136"/>
                <a:gd name="T29" fmla="*/ 78 h 132"/>
                <a:gd name="T30" fmla="*/ 938 w 1136"/>
                <a:gd name="T31" fmla="*/ 78 h 132"/>
                <a:gd name="T32" fmla="*/ 938 w 1136"/>
                <a:gd name="T33" fmla="*/ 37 h 132"/>
                <a:gd name="T34" fmla="*/ 979 w 1136"/>
                <a:gd name="T35" fmla="*/ 37 h 132"/>
                <a:gd name="T36" fmla="*/ 979 w 1136"/>
                <a:gd name="T37" fmla="*/ 78 h 132"/>
                <a:gd name="T38" fmla="*/ 1069 w 1136"/>
                <a:gd name="T39" fmla="*/ 78 h 132"/>
                <a:gd name="T40" fmla="*/ 1055 w 1136"/>
                <a:gd name="T41" fmla="*/ 78 h 132"/>
                <a:gd name="T42" fmla="*/ 1047 w 1136"/>
                <a:gd name="T43" fmla="*/ 70 h 132"/>
                <a:gd name="T44" fmla="*/ 1041 w 1136"/>
                <a:gd name="T45" fmla="*/ 64 h 132"/>
                <a:gd name="T46" fmla="*/ 1028 w 1136"/>
                <a:gd name="T47" fmla="*/ 77 h 132"/>
                <a:gd name="T48" fmla="*/ 1027 w 1136"/>
                <a:gd name="T49" fmla="*/ 78 h 132"/>
                <a:gd name="T50" fmla="*/ 1014 w 1136"/>
                <a:gd name="T51" fmla="*/ 78 h 132"/>
                <a:gd name="T52" fmla="*/ 1035 w 1136"/>
                <a:gd name="T53" fmla="*/ 57 h 132"/>
                <a:gd name="T54" fmla="*/ 1014 w 1136"/>
                <a:gd name="T55" fmla="*/ 36 h 132"/>
                <a:gd name="T56" fmla="*/ 1027 w 1136"/>
                <a:gd name="T57" fmla="*/ 37 h 132"/>
                <a:gd name="T58" fmla="*/ 1041 w 1136"/>
                <a:gd name="T59" fmla="*/ 51 h 132"/>
                <a:gd name="T60" fmla="*/ 1055 w 1136"/>
                <a:gd name="T61" fmla="*/ 37 h 132"/>
                <a:gd name="T62" fmla="*/ 1069 w 1136"/>
                <a:gd name="T63" fmla="*/ 37 h 132"/>
                <a:gd name="T64" fmla="*/ 1048 w 1136"/>
                <a:gd name="T65" fmla="*/ 57 h 132"/>
                <a:gd name="T66" fmla="*/ 1069 w 1136"/>
                <a:gd name="T67" fmla="*/ 78 h 132"/>
                <a:gd name="T68" fmla="*/ 973 w 1136"/>
                <a:gd name="T69" fmla="*/ 44 h 132"/>
                <a:gd name="T70" fmla="*/ 945 w 1136"/>
                <a:gd name="T71" fmla="*/ 44 h 132"/>
                <a:gd name="T72" fmla="*/ 945 w 1136"/>
                <a:gd name="T73" fmla="*/ 72 h 132"/>
                <a:gd name="T74" fmla="*/ 973 w 1136"/>
                <a:gd name="T75" fmla="*/ 72 h 132"/>
                <a:gd name="T76" fmla="*/ 973 w 1136"/>
                <a:gd name="T77"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6" h="132">
                  <a:moveTo>
                    <a:pt x="1080" y="0"/>
                  </a:moveTo>
                  <a:cubicBezTo>
                    <a:pt x="56" y="0"/>
                    <a:pt x="56" y="0"/>
                    <a:pt x="56" y="0"/>
                  </a:cubicBezTo>
                  <a:cubicBezTo>
                    <a:pt x="25" y="0"/>
                    <a:pt x="0" y="25"/>
                    <a:pt x="0" y="56"/>
                  </a:cubicBezTo>
                  <a:cubicBezTo>
                    <a:pt x="0" y="127"/>
                    <a:pt x="0" y="127"/>
                    <a:pt x="0" y="127"/>
                  </a:cubicBezTo>
                  <a:cubicBezTo>
                    <a:pt x="10" y="118"/>
                    <a:pt x="24" y="112"/>
                    <a:pt x="39" y="112"/>
                  </a:cubicBezTo>
                  <a:cubicBezTo>
                    <a:pt x="1092" y="112"/>
                    <a:pt x="1092" y="112"/>
                    <a:pt x="1092" y="112"/>
                  </a:cubicBezTo>
                  <a:cubicBezTo>
                    <a:pt x="1110" y="112"/>
                    <a:pt x="1126" y="120"/>
                    <a:pt x="1136" y="132"/>
                  </a:cubicBezTo>
                  <a:cubicBezTo>
                    <a:pt x="1136" y="56"/>
                    <a:pt x="1136" y="56"/>
                    <a:pt x="1136" y="56"/>
                  </a:cubicBezTo>
                  <a:cubicBezTo>
                    <a:pt x="1136" y="25"/>
                    <a:pt x="1111" y="0"/>
                    <a:pt x="1080" y="0"/>
                  </a:cubicBezTo>
                  <a:close/>
                  <a:moveTo>
                    <a:pt x="909" y="79"/>
                  </a:moveTo>
                  <a:cubicBezTo>
                    <a:pt x="859" y="79"/>
                    <a:pt x="859" y="79"/>
                    <a:pt x="859" y="79"/>
                  </a:cubicBezTo>
                  <a:cubicBezTo>
                    <a:pt x="859" y="69"/>
                    <a:pt x="859" y="69"/>
                    <a:pt x="859" y="69"/>
                  </a:cubicBezTo>
                  <a:cubicBezTo>
                    <a:pt x="909" y="69"/>
                    <a:pt x="909" y="69"/>
                    <a:pt x="909" y="69"/>
                  </a:cubicBezTo>
                  <a:lnTo>
                    <a:pt x="909" y="79"/>
                  </a:lnTo>
                  <a:close/>
                  <a:moveTo>
                    <a:pt x="979" y="78"/>
                  </a:moveTo>
                  <a:cubicBezTo>
                    <a:pt x="938" y="78"/>
                    <a:pt x="938" y="78"/>
                    <a:pt x="938" y="78"/>
                  </a:cubicBezTo>
                  <a:cubicBezTo>
                    <a:pt x="938" y="37"/>
                    <a:pt x="938" y="37"/>
                    <a:pt x="938" y="37"/>
                  </a:cubicBezTo>
                  <a:cubicBezTo>
                    <a:pt x="979" y="37"/>
                    <a:pt x="979" y="37"/>
                    <a:pt x="979" y="37"/>
                  </a:cubicBezTo>
                  <a:lnTo>
                    <a:pt x="979" y="78"/>
                  </a:lnTo>
                  <a:close/>
                  <a:moveTo>
                    <a:pt x="1069" y="78"/>
                  </a:moveTo>
                  <a:cubicBezTo>
                    <a:pt x="1055" y="78"/>
                    <a:pt x="1055" y="78"/>
                    <a:pt x="1055" y="78"/>
                  </a:cubicBezTo>
                  <a:cubicBezTo>
                    <a:pt x="1047" y="70"/>
                    <a:pt x="1047" y="70"/>
                    <a:pt x="1047" y="70"/>
                  </a:cubicBezTo>
                  <a:cubicBezTo>
                    <a:pt x="1041" y="64"/>
                    <a:pt x="1041" y="64"/>
                    <a:pt x="1041" y="64"/>
                  </a:cubicBezTo>
                  <a:cubicBezTo>
                    <a:pt x="1028" y="77"/>
                    <a:pt x="1028" y="77"/>
                    <a:pt x="1028" y="77"/>
                  </a:cubicBezTo>
                  <a:cubicBezTo>
                    <a:pt x="1027" y="78"/>
                    <a:pt x="1027" y="78"/>
                    <a:pt x="1027" y="78"/>
                  </a:cubicBezTo>
                  <a:cubicBezTo>
                    <a:pt x="1014" y="78"/>
                    <a:pt x="1014" y="78"/>
                    <a:pt x="1014" y="78"/>
                  </a:cubicBezTo>
                  <a:cubicBezTo>
                    <a:pt x="1035" y="57"/>
                    <a:pt x="1035" y="57"/>
                    <a:pt x="1035" y="57"/>
                  </a:cubicBezTo>
                  <a:cubicBezTo>
                    <a:pt x="1014" y="36"/>
                    <a:pt x="1014" y="36"/>
                    <a:pt x="1014" y="36"/>
                  </a:cubicBezTo>
                  <a:cubicBezTo>
                    <a:pt x="1027" y="37"/>
                    <a:pt x="1027" y="37"/>
                    <a:pt x="1027" y="37"/>
                  </a:cubicBezTo>
                  <a:cubicBezTo>
                    <a:pt x="1041" y="51"/>
                    <a:pt x="1041" y="51"/>
                    <a:pt x="1041" y="51"/>
                  </a:cubicBezTo>
                  <a:cubicBezTo>
                    <a:pt x="1055" y="37"/>
                    <a:pt x="1055" y="37"/>
                    <a:pt x="1055" y="37"/>
                  </a:cubicBezTo>
                  <a:cubicBezTo>
                    <a:pt x="1069" y="37"/>
                    <a:pt x="1069" y="37"/>
                    <a:pt x="1069" y="37"/>
                  </a:cubicBezTo>
                  <a:cubicBezTo>
                    <a:pt x="1048" y="57"/>
                    <a:pt x="1048" y="57"/>
                    <a:pt x="1048" y="57"/>
                  </a:cubicBezTo>
                  <a:lnTo>
                    <a:pt x="1069" y="78"/>
                  </a:lnTo>
                  <a:close/>
                  <a:moveTo>
                    <a:pt x="973" y="44"/>
                  </a:moveTo>
                  <a:cubicBezTo>
                    <a:pt x="945" y="44"/>
                    <a:pt x="945" y="44"/>
                    <a:pt x="945" y="44"/>
                  </a:cubicBezTo>
                  <a:cubicBezTo>
                    <a:pt x="945" y="72"/>
                    <a:pt x="945" y="72"/>
                    <a:pt x="945" y="72"/>
                  </a:cubicBezTo>
                  <a:cubicBezTo>
                    <a:pt x="973" y="72"/>
                    <a:pt x="973" y="72"/>
                    <a:pt x="973" y="72"/>
                  </a:cubicBezTo>
                  <a:lnTo>
                    <a:pt x="973" y="4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9" name="Group 29"/>
          <p:cNvGrpSpPr>
            <a:grpSpLocks noChangeAspect="1"/>
          </p:cNvGrpSpPr>
          <p:nvPr/>
        </p:nvGrpSpPr>
        <p:grpSpPr bwMode="auto">
          <a:xfrm>
            <a:off x="1983226" y="3006349"/>
            <a:ext cx="853300" cy="1111611"/>
            <a:chOff x="5121" y="2489"/>
            <a:chExt cx="882" cy="1149"/>
          </a:xfrm>
        </p:grpSpPr>
        <p:sp>
          <p:nvSpPr>
            <p:cNvPr id="80"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0" name="Group 29"/>
          <p:cNvGrpSpPr>
            <a:grpSpLocks noChangeAspect="1"/>
          </p:cNvGrpSpPr>
          <p:nvPr/>
        </p:nvGrpSpPr>
        <p:grpSpPr bwMode="auto">
          <a:xfrm>
            <a:off x="5533681" y="3047784"/>
            <a:ext cx="309757" cy="267401"/>
            <a:chOff x="4698" y="2489"/>
            <a:chExt cx="1331" cy="1149"/>
          </a:xfrm>
        </p:grpSpPr>
        <p:sp>
          <p:nvSpPr>
            <p:cNvPr id="41"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30"/>
            <p:cNvSpPr>
              <a:spLocks noEditPoints="1"/>
            </p:cNvSpPr>
            <p:nvPr/>
          </p:nvSpPr>
          <p:spPr bwMode="auto">
            <a:xfrm>
              <a:off x="5439"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31"/>
            <p:cNvSpPr>
              <a:spLocks/>
            </p:cNvSpPr>
            <p:nvPr/>
          </p:nvSpPr>
          <p:spPr bwMode="auto">
            <a:xfrm>
              <a:off x="4717" y="3057"/>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32"/>
            <p:cNvSpPr>
              <a:spLocks noEditPoints="1"/>
            </p:cNvSpPr>
            <p:nvPr/>
          </p:nvSpPr>
          <p:spPr bwMode="auto">
            <a:xfrm>
              <a:off x="4698" y="3034"/>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3" name="Picture 2"/>
          <p:cNvPicPr>
            <a:picLocks noChangeAspect="1"/>
          </p:cNvPicPr>
          <p:nvPr/>
        </p:nvPicPr>
        <p:blipFill rotWithShape="1">
          <a:blip r:embed="rId3">
            <a:duotone>
              <a:prstClr val="black"/>
              <a:schemeClr val="tx2">
                <a:tint val="45000"/>
                <a:satMod val="400000"/>
              </a:schemeClr>
            </a:duotone>
            <a:extLst>
              <a:ext uri="{BEBA8EAE-BF5A-486C-A8C5-ECC9F3942E4B}">
                <a14:imgProps xmlns:a14="http://schemas.microsoft.com/office/drawing/2010/main">
                  <a14:imgLayer r:embed="rId4">
                    <a14:imgEffect>
                      <a14:colorTemperature colorTemp="1500"/>
                    </a14:imgEffect>
                    <a14:imgEffect>
                      <a14:brightnessContrast bright="-60000"/>
                    </a14:imgEffect>
                  </a14:imgLayer>
                </a14:imgProps>
              </a:ext>
              <a:ext uri="{28A0092B-C50C-407E-A947-70E740481C1C}">
                <a14:useLocalDpi xmlns:a14="http://schemas.microsoft.com/office/drawing/2010/main" val="0"/>
              </a:ext>
            </a:extLst>
          </a:blip>
          <a:srcRect r="56871"/>
          <a:stretch/>
        </p:blipFill>
        <p:spPr>
          <a:xfrm>
            <a:off x="6299674" y="3047888"/>
            <a:ext cx="394536" cy="333582"/>
          </a:xfrm>
          <a:prstGeom prst="rect">
            <a:avLst/>
          </a:prstGeom>
        </p:spPr>
      </p:pic>
      <p:pic>
        <p:nvPicPr>
          <p:cNvPr id="8" name="Picture 7"/>
          <p:cNvPicPr>
            <a:picLocks noChangeAspect="1"/>
          </p:cNvPicPr>
          <p:nvPr/>
        </p:nvPicPr>
        <p:blipFill rotWithShape="1">
          <a:blip r:embed="rId5">
            <a:duotone>
              <a:prstClr val="black"/>
              <a:schemeClr val="tx2">
                <a:tint val="45000"/>
                <a:satMod val="400000"/>
              </a:schemeClr>
            </a:duotone>
            <a:extLst>
              <a:ext uri="{BEBA8EAE-BF5A-486C-A8C5-ECC9F3942E4B}">
                <a14:imgProps xmlns:a14="http://schemas.microsoft.com/office/drawing/2010/main">
                  <a14:imgLayer r:embed="rId6">
                    <a14:imgEffect>
                      <a14:colorTemperature colorTemp="1500"/>
                    </a14:imgEffect>
                    <a14:imgEffect>
                      <a14:brightnessContrast bright="-60000"/>
                    </a14:imgEffect>
                  </a14:imgLayer>
                </a14:imgProps>
              </a:ext>
              <a:ext uri="{28A0092B-C50C-407E-A947-70E740481C1C}">
                <a14:useLocalDpi xmlns:a14="http://schemas.microsoft.com/office/drawing/2010/main" val="0"/>
              </a:ext>
            </a:extLst>
          </a:blip>
          <a:srcRect r="69600"/>
          <a:stretch/>
        </p:blipFill>
        <p:spPr>
          <a:xfrm>
            <a:off x="5569960" y="2575104"/>
            <a:ext cx="382155" cy="311067"/>
          </a:xfrm>
          <a:prstGeom prst="rect">
            <a:avLst/>
          </a:prstGeom>
        </p:spPr>
      </p:pic>
      <p:pic>
        <p:nvPicPr>
          <p:cNvPr id="9" name="Picture 8"/>
          <p:cNvPicPr>
            <a:picLocks noChangeAspect="1"/>
          </p:cNvPicPr>
          <p:nvPr/>
        </p:nvPicPr>
        <p:blipFill rotWithShape="1">
          <a:blip r:embed="rId7">
            <a:duotone>
              <a:prstClr val="black"/>
              <a:schemeClr val="tx2">
                <a:tint val="45000"/>
                <a:satMod val="400000"/>
              </a:schemeClr>
            </a:duotone>
            <a:extLst>
              <a:ext uri="{BEBA8EAE-BF5A-486C-A8C5-ECC9F3942E4B}">
                <a14:imgProps xmlns:a14="http://schemas.microsoft.com/office/drawing/2010/main">
                  <a14:imgLayer r:embed="rId8">
                    <a14:imgEffect>
                      <a14:colorTemperature colorTemp="1500"/>
                    </a14:imgEffect>
                    <a14:imgEffect>
                      <a14:brightnessContrast bright="-60000"/>
                    </a14:imgEffect>
                  </a14:imgLayer>
                </a14:imgProps>
              </a:ext>
              <a:ext uri="{28A0092B-C50C-407E-A947-70E740481C1C}">
                <a14:useLocalDpi xmlns:a14="http://schemas.microsoft.com/office/drawing/2010/main" val="0"/>
              </a:ext>
            </a:extLst>
          </a:blip>
          <a:srcRect r="76927"/>
          <a:stretch/>
        </p:blipFill>
        <p:spPr>
          <a:xfrm>
            <a:off x="6305864" y="2577811"/>
            <a:ext cx="382155" cy="334047"/>
          </a:xfrm>
          <a:prstGeom prst="rect">
            <a:avLst/>
          </a:prstGeom>
        </p:spPr>
      </p:pic>
    </p:spTree>
    <p:extLst>
      <p:ext uri="{BB962C8B-B14F-4D97-AF65-F5344CB8AC3E}">
        <p14:creationId xmlns:p14="http://schemas.microsoft.com/office/powerpoint/2010/main" val="3118613876"/>
      </p:ext>
    </p:extLst>
  </p:cSld>
  <p:clrMapOvr>
    <a:masterClrMapping/>
  </p:clrMapOvr>
  <p:transition spd="slow">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p:cNvSpPr>
            <a:spLocks noGrp="1"/>
          </p:cNvSpPr>
          <p:nvPr>
            <p:ph type="title"/>
          </p:nvPr>
        </p:nvSpPr>
        <p:spPr>
          <a:xfrm>
            <a:off x="262916" y="296863"/>
            <a:ext cx="9396900" cy="779309"/>
          </a:xfrm>
        </p:spPr>
        <p:txBody>
          <a:bodyPr/>
          <a:lstStyle/>
          <a:p>
            <a:pPr lvl="0"/>
            <a:r>
              <a:rPr lang="en-US" dirty="0" smtClean="0"/>
              <a:t>Streamlined management of virtual machines for scalability</a:t>
            </a:r>
            <a:endParaRPr lang="en-US" dirty="0"/>
          </a:p>
        </p:txBody>
      </p:sp>
      <p:sp>
        <p:nvSpPr>
          <p:cNvPr id="22" name="Rectangle 6"/>
          <p:cNvSpPr>
            <a:spLocks noChangeArrowheads="1"/>
          </p:cNvSpPr>
          <p:nvPr/>
        </p:nvSpPr>
        <p:spPr bwMode="auto">
          <a:xfrm>
            <a:off x="3940175" y="4531520"/>
            <a:ext cx="4114800" cy="840580"/>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00" dirty="0"/>
              <a:t>Use master images for personal and pooled virtual machines</a:t>
            </a:r>
          </a:p>
        </p:txBody>
      </p:sp>
      <p:sp>
        <p:nvSpPr>
          <p:cNvPr id="23" name="Rectangle 7"/>
          <p:cNvSpPr>
            <a:spLocks noChangeArrowheads="1"/>
          </p:cNvSpPr>
          <p:nvPr/>
        </p:nvSpPr>
        <p:spPr bwMode="auto">
          <a:xfrm>
            <a:off x="518790" y="4505524"/>
            <a:ext cx="3090408" cy="1141819"/>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00" dirty="0"/>
              <a:t>Avoid patch storms by queuing maintenance updates</a:t>
            </a:r>
          </a:p>
        </p:txBody>
      </p:sp>
      <p:sp>
        <p:nvSpPr>
          <p:cNvPr id="24" name="Rectangle 8"/>
          <p:cNvSpPr>
            <a:spLocks noChangeArrowheads="1"/>
          </p:cNvSpPr>
          <p:nvPr/>
        </p:nvSpPr>
        <p:spPr bwMode="auto">
          <a:xfrm>
            <a:off x="8504239" y="4495999"/>
            <a:ext cx="3869208" cy="1431586"/>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00" dirty="0"/>
              <a:t>Accelerate system preparation, optimize logons, and provide automatic rollbacks</a:t>
            </a:r>
          </a:p>
        </p:txBody>
      </p:sp>
      <p:cxnSp>
        <p:nvCxnSpPr>
          <p:cNvPr id="4" name="Straight Arrow Connector 3"/>
          <p:cNvCxnSpPr/>
          <p:nvPr/>
        </p:nvCxnSpPr>
        <p:spPr>
          <a:xfrm>
            <a:off x="6353087" y="3030537"/>
            <a:ext cx="174859" cy="269304"/>
          </a:xfrm>
          <a:prstGeom prst="straightConnector1">
            <a:avLst/>
          </a:prstGeom>
          <a:ln w="19050">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a:off x="5417884" y="3030537"/>
            <a:ext cx="223646" cy="269303"/>
          </a:xfrm>
          <a:prstGeom prst="straightConnector1">
            <a:avLst/>
          </a:prstGeom>
          <a:ln w="19050">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9191017" y="1940928"/>
            <a:ext cx="1872928" cy="2533699"/>
            <a:chOff x="11015106" y="2383179"/>
            <a:chExt cx="877602" cy="1187221"/>
          </a:xfrm>
        </p:grpSpPr>
        <p:sp>
          <p:nvSpPr>
            <p:cNvPr id="57" name="Freeform 24"/>
            <p:cNvSpPr>
              <a:spLocks noEditPoints="1"/>
            </p:cNvSpPr>
            <p:nvPr/>
          </p:nvSpPr>
          <p:spPr bwMode="auto">
            <a:xfrm>
              <a:off x="11290207" y="2383179"/>
              <a:ext cx="602501" cy="1187221"/>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noEditPoints="1"/>
            </p:cNvSpPr>
            <p:nvPr/>
          </p:nvSpPr>
          <p:spPr bwMode="auto">
            <a:xfrm>
              <a:off x="11015106" y="2613301"/>
              <a:ext cx="745805" cy="637020"/>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6"/>
            <p:cNvSpPr>
              <a:spLocks noEditPoints="1"/>
            </p:cNvSpPr>
            <p:nvPr/>
          </p:nvSpPr>
          <p:spPr bwMode="auto">
            <a:xfrm>
              <a:off x="11076821" y="2602841"/>
              <a:ext cx="761495" cy="661078"/>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0" name="Group 29"/>
          <p:cNvGrpSpPr>
            <a:grpSpLocks noChangeAspect="1"/>
          </p:cNvGrpSpPr>
          <p:nvPr/>
        </p:nvGrpSpPr>
        <p:grpSpPr bwMode="auto">
          <a:xfrm>
            <a:off x="5316777" y="1532834"/>
            <a:ext cx="1074127" cy="1399287"/>
            <a:chOff x="5121" y="2489"/>
            <a:chExt cx="882" cy="1149"/>
          </a:xfrm>
        </p:grpSpPr>
        <p:sp>
          <p:nvSpPr>
            <p:cNvPr id="61"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76"/>
          <p:cNvGrpSpPr/>
          <p:nvPr/>
        </p:nvGrpSpPr>
        <p:grpSpPr>
          <a:xfrm>
            <a:off x="6182655" y="3388002"/>
            <a:ext cx="967133" cy="1099797"/>
            <a:chOff x="6182655" y="3183946"/>
            <a:chExt cx="1198332" cy="1362710"/>
          </a:xfrm>
        </p:grpSpPr>
        <p:grpSp>
          <p:nvGrpSpPr>
            <p:cNvPr id="74" name="Group 73"/>
            <p:cNvGrpSpPr/>
            <p:nvPr/>
          </p:nvGrpSpPr>
          <p:grpSpPr>
            <a:xfrm>
              <a:off x="6182655" y="3183946"/>
              <a:ext cx="901700" cy="1362710"/>
              <a:chOff x="689925" y="1568641"/>
              <a:chExt cx="919137" cy="1389062"/>
            </a:xfrm>
          </p:grpSpPr>
          <p:sp>
            <p:nvSpPr>
              <p:cNvPr id="75" name="Freeform 6"/>
              <p:cNvSpPr>
                <a:spLocks/>
              </p:cNvSpPr>
              <p:nvPr/>
            </p:nvSpPr>
            <p:spPr bwMode="auto">
              <a:xfrm>
                <a:off x="879538" y="1568641"/>
                <a:ext cx="536342" cy="536342"/>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sp>
            <p:nvSpPr>
              <p:cNvPr id="76" name="Freeform 7"/>
              <p:cNvSpPr>
                <a:spLocks/>
              </p:cNvSpPr>
              <p:nvPr/>
            </p:nvSpPr>
            <p:spPr bwMode="auto">
              <a:xfrm>
                <a:off x="689925" y="2045350"/>
                <a:ext cx="919137" cy="912353"/>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158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grpSp>
        <p:grpSp>
          <p:nvGrpSpPr>
            <p:cNvPr id="65" name="Group 29"/>
            <p:cNvGrpSpPr>
              <a:grpSpLocks noChangeAspect="1"/>
            </p:cNvGrpSpPr>
            <p:nvPr/>
          </p:nvGrpSpPr>
          <p:grpSpPr bwMode="auto">
            <a:xfrm>
              <a:off x="6502532" y="3415147"/>
              <a:ext cx="878455" cy="1113546"/>
              <a:chOff x="5121" y="2489"/>
              <a:chExt cx="908" cy="1151"/>
            </a:xfrm>
          </p:grpSpPr>
          <p:sp>
            <p:nvSpPr>
              <p:cNvPr id="66"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0"/>
              <p:cNvSpPr>
                <a:spLocks noEditPoints="1"/>
              </p:cNvSpPr>
              <p:nvPr/>
            </p:nvSpPr>
            <p:spPr bwMode="auto">
              <a:xfrm>
                <a:off x="5439" y="2511"/>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31"/>
              <p:cNvSpPr>
                <a:spLocks/>
              </p:cNvSpPr>
              <p:nvPr/>
            </p:nvSpPr>
            <p:spPr bwMode="auto">
              <a:xfrm>
                <a:off x="5190" y="2796"/>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32"/>
              <p:cNvSpPr>
                <a:spLocks noEditPoints="1"/>
              </p:cNvSpPr>
              <p:nvPr/>
            </p:nvSpPr>
            <p:spPr bwMode="auto">
              <a:xfrm>
                <a:off x="5171" y="2773"/>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9" name="Group 78"/>
          <p:cNvGrpSpPr/>
          <p:nvPr/>
        </p:nvGrpSpPr>
        <p:grpSpPr>
          <a:xfrm>
            <a:off x="4686218" y="3405250"/>
            <a:ext cx="781020" cy="1056565"/>
            <a:chOff x="11015106" y="2383179"/>
            <a:chExt cx="877602" cy="1187221"/>
          </a:xfrm>
        </p:grpSpPr>
        <p:sp>
          <p:nvSpPr>
            <p:cNvPr id="80" name="Freeform 24"/>
            <p:cNvSpPr>
              <a:spLocks noEditPoints="1"/>
            </p:cNvSpPr>
            <p:nvPr/>
          </p:nvSpPr>
          <p:spPr bwMode="auto">
            <a:xfrm>
              <a:off x="11290207" y="2383179"/>
              <a:ext cx="602501" cy="1187221"/>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25"/>
            <p:cNvSpPr>
              <a:spLocks noEditPoints="1"/>
            </p:cNvSpPr>
            <p:nvPr/>
          </p:nvSpPr>
          <p:spPr bwMode="auto">
            <a:xfrm>
              <a:off x="11015106" y="2613301"/>
              <a:ext cx="745805" cy="637020"/>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26"/>
            <p:cNvSpPr>
              <a:spLocks noEditPoints="1"/>
            </p:cNvSpPr>
            <p:nvPr/>
          </p:nvSpPr>
          <p:spPr bwMode="auto">
            <a:xfrm>
              <a:off x="11076821" y="2602841"/>
              <a:ext cx="761495" cy="661078"/>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4" name="Group 93"/>
          <p:cNvGrpSpPr/>
          <p:nvPr/>
        </p:nvGrpSpPr>
        <p:grpSpPr>
          <a:xfrm>
            <a:off x="1198869" y="2154477"/>
            <a:ext cx="1996865" cy="2263749"/>
            <a:chOff x="1198869" y="2154477"/>
            <a:chExt cx="1996865" cy="2263749"/>
          </a:xfrm>
        </p:grpSpPr>
        <p:sp>
          <p:nvSpPr>
            <p:cNvPr id="92" name="Freeform 91"/>
            <p:cNvSpPr>
              <a:spLocks noEditPoints="1"/>
            </p:cNvSpPr>
            <p:nvPr/>
          </p:nvSpPr>
          <p:spPr bwMode="auto">
            <a:xfrm>
              <a:off x="1198869" y="2154477"/>
              <a:ext cx="1498329" cy="2263749"/>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93" name="Rectangle 92"/>
            <p:cNvSpPr/>
            <p:nvPr/>
          </p:nvSpPr>
          <p:spPr bwMode="auto">
            <a:xfrm rot="19361316">
              <a:off x="1835394" y="3596754"/>
              <a:ext cx="953844" cy="18669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nvGrpSpPr>
            <p:cNvPr id="86" name="Group 4"/>
            <p:cNvGrpSpPr>
              <a:grpSpLocks noChangeAspect="1"/>
            </p:cNvGrpSpPr>
            <p:nvPr/>
          </p:nvGrpSpPr>
          <p:grpSpPr bwMode="auto">
            <a:xfrm rot="19362681">
              <a:off x="1437559" y="3444023"/>
              <a:ext cx="1758175" cy="484320"/>
              <a:chOff x="192" y="1580"/>
              <a:chExt cx="3583" cy="987"/>
            </a:xfrm>
            <a:solidFill>
              <a:schemeClr val="accent1"/>
            </a:solidFill>
          </p:grpSpPr>
          <p:sp>
            <p:nvSpPr>
              <p:cNvPr id="89" name="Freeform 6"/>
              <p:cNvSpPr>
                <a:spLocks/>
              </p:cNvSpPr>
              <p:nvPr/>
            </p:nvSpPr>
            <p:spPr bwMode="auto">
              <a:xfrm>
                <a:off x="2998" y="1587"/>
                <a:ext cx="777" cy="980"/>
              </a:xfrm>
              <a:custGeom>
                <a:avLst/>
                <a:gdLst>
                  <a:gd name="T0" fmla="*/ 299 w 777"/>
                  <a:gd name="T1" fmla="*/ 0 h 980"/>
                  <a:gd name="T2" fmla="*/ 385 w 777"/>
                  <a:gd name="T3" fmla="*/ 15 h 980"/>
                  <a:gd name="T4" fmla="*/ 481 w 777"/>
                  <a:gd name="T5" fmla="*/ 42 h 980"/>
                  <a:gd name="T6" fmla="*/ 576 w 777"/>
                  <a:gd name="T7" fmla="*/ 75 h 980"/>
                  <a:gd name="T8" fmla="*/ 667 w 777"/>
                  <a:gd name="T9" fmla="*/ 106 h 980"/>
                  <a:gd name="T10" fmla="*/ 734 w 777"/>
                  <a:gd name="T11" fmla="*/ 131 h 980"/>
                  <a:gd name="T12" fmla="*/ 770 w 777"/>
                  <a:gd name="T13" fmla="*/ 174 h 980"/>
                  <a:gd name="T14" fmla="*/ 773 w 777"/>
                  <a:gd name="T15" fmla="*/ 224 h 980"/>
                  <a:gd name="T16" fmla="*/ 747 w 777"/>
                  <a:gd name="T17" fmla="*/ 258 h 980"/>
                  <a:gd name="T18" fmla="*/ 708 w 777"/>
                  <a:gd name="T19" fmla="*/ 270 h 980"/>
                  <a:gd name="T20" fmla="*/ 616 w 777"/>
                  <a:gd name="T21" fmla="*/ 272 h 980"/>
                  <a:gd name="T22" fmla="*/ 515 w 777"/>
                  <a:gd name="T23" fmla="*/ 272 h 980"/>
                  <a:gd name="T24" fmla="*/ 410 w 777"/>
                  <a:gd name="T25" fmla="*/ 275 h 980"/>
                  <a:gd name="T26" fmla="*/ 318 w 777"/>
                  <a:gd name="T27" fmla="*/ 277 h 980"/>
                  <a:gd name="T28" fmla="*/ 246 w 777"/>
                  <a:gd name="T29" fmla="*/ 279 h 980"/>
                  <a:gd name="T30" fmla="*/ 205 w 777"/>
                  <a:gd name="T31" fmla="*/ 279 h 980"/>
                  <a:gd name="T32" fmla="*/ 198 w 777"/>
                  <a:gd name="T33" fmla="*/ 285 h 980"/>
                  <a:gd name="T34" fmla="*/ 197 w 777"/>
                  <a:gd name="T35" fmla="*/ 326 h 980"/>
                  <a:gd name="T36" fmla="*/ 195 w 777"/>
                  <a:gd name="T37" fmla="*/ 395 h 980"/>
                  <a:gd name="T38" fmla="*/ 193 w 777"/>
                  <a:gd name="T39" fmla="*/ 470 h 980"/>
                  <a:gd name="T40" fmla="*/ 195 w 777"/>
                  <a:gd name="T41" fmla="*/ 671 h 980"/>
                  <a:gd name="T42" fmla="*/ 217 w 777"/>
                  <a:gd name="T43" fmla="*/ 672 h 980"/>
                  <a:gd name="T44" fmla="*/ 272 w 777"/>
                  <a:gd name="T45" fmla="*/ 677 h 980"/>
                  <a:gd name="T46" fmla="*/ 354 w 777"/>
                  <a:gd name="T47" fmla="*/ 684 h 980"/>
                  <a:gd name="T48" fmla="*/ 452 w 777"/>
                  <a:gd name="T49" fmla="*/ 691 h 980"/>
                  <a:gd name="T50" fmla="*/ 558 w 777"/>
                  <a:gd name="T51" fmla="*/ 698 h 980"/>
                  <a:gd name="T52" fmla="*/ 660 w 777"/>
                  <a:gd name="T53" fmla="*/ 701 h 980"/>
                  <a:gd name="T54" fmla="*/ 730 w 777"/>
                  <a:gd name="T55" fmla="*/ 706 h 980"/>
                  <a:gd name="T56" fmla="*/ 763 w 777"/>
                  <a:gd name="T57" fmla="*/ 736 h 980"/>
                  <a:gd name="T58" fmla="*/ 777 w 777"/>
                  <a:gd name="T59" fmla="*/ 778 h 980"/>
                  <a:gd name="T60" fmla="*/ 766 w 777"/>
                  <a:gd name="T61" fmla="*/ 821 h 980"/>
                  <a:gd name="T62" fmla="*/ 742 w 777"/>
                  <a:gd name="T63" fmla="*/ 860 h 980"/>
                  <a:gd name="T64" fmla="*/ 708 w 777"/>
                  <a:gd name="T65" fmla="*/ 879 h 980"/>
                  <a:gd name="T66" fmla="*/ 669 w 777"/>
                  <a:gd name="T67" fmla="*/ 895 h 980"/>
                  <a:gd name="T68" fmla="*/ 604 w 777"/>
                  <a:gd name="T69" fmla="*/ 920 h 980"/>
                  <a:gd name="T70" fmla="*/ 522 w 777"/>
                  <a:gd name="T71" fmla="*/ 948 h 980"/>
                  <a:gd name="T72" fmla="*/ 431 w 777"/>
                  <a:gd name="T73" fmla="*/ 970 h 980"/>
                  <a:gd name="T74" fmla="*/ 337 w 777"/>
                  <a:gd name="T75" fmla="*/ 980 h 980"/>
                  <a:gd name="T76" fmla="*/ 250 w 777"/>
                  <a:gd name="T77" fmla="*/ 973 h 980"/>
                  <a:gd name="T78" fmla="*/ 166 w 777"/>
                  <a:gd name="T79" fmla="*/ 936 h 980"/>
                  <a:gd name="T80" fmla="*/ 97 w 777"/>
                  <a:gd name="T81" fmla="*/ 872 h 980"/>
                  <a:gd name="T82" fmla="*/ 49 w 777"/>
                  <a:gd name="T83" fmla="*/ 792 h 980"/>
                  <a:gd name="T84" fmla="*/ 19 w 777"/>
                  <a:gd name="T85" fmla="*/ 703 h 980"/>
                  <a:gd name="T86" fmla="*/ 5 w 777"/>
                  <a:gd name="T87" fmla="*/ 609 h 980"/>
                  <a:gd name="T88" fmla="*/ 0 w 777"/>
                  <a:gd name="T89" fmla="*/ 515 h 980"/>
                  <a:gd name="T90" fmla="*/ 3 w 777"/>
                  <a:gd name="T91" fmla="*/ 429 h 980"/>
                  <a:gd name="T92" fmla="*/ 15 w 777"/>
                  <a:gd name="T93" fmla="*/ 335 h 980"/>
                  <a:gd name="T94" fmla="*/ 37 w 777"/>
                  <a:gd name="T95" fmla="*/ 239 h 980"/>
                  <a:gd name="T96" fmla="*/ 72 w 777"/>
                  <a:gd name="T97" fmla="*/ 150 h 980"/>
                  <a:gd name="T98" fmla="*/ 121 w 777"/>
                  <a:gd name="T99" fmla="*/ 75 h 980"/>
                  <a:gd name="T100" fmla="*/ 186 w 777"/>
                  <a:gd name="T101" fmla="*/ 22 h 980"/>
                  <a:gd name="T102" fmla="*/ 260 w 777"/>
                  <a:gd name="T103" fmla="*/ 0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7" h="980">
                    <a:moveTo>
                      <a:pt x="260" y="0"/>
                    </a:moveTo>
                    <a:lnTo>
                      <a:pt x="299" y="0"/>
                    </a:lnTo>
                    <a:lnTo>
                      <a:pt x="340" y="5"/>
                    </a:lnTo>
                    <a:lnTo>
                      <a:pt x="385" y="15"/>
                    </a:lnTo>
                    <a:lnTo>
                      <a:pt x="433" y="27"/>
                    </a:lnTo>
                    <a:lnTo>
                      <a:pt x="481" y="42"/>
                    </a:lnTo>
                    <a:lnTo>
                      <a:pt x="528" y="59"/>
                    </a:lnTo>
                    <a:lnTo>
                      <a:pt x="576" y="75"/>
                    </a:lnTo>
                    <a:lnTo>
                      <a:pt x="623" y="92"/>
                    </a:lnTo>
                    <a:lnTo>
                      <a:pt x="667" y="106"/>
                    </a:lnTo>
                    <a:lnTo>
                      <a:pt x="708" y="119"/>
                    </a:lnTo>
                    <a:lnTo>
                      <a:pt x="734" y="131"/>
                    </a:lnTo>
                    <a:lnTo>
                      <a:pt x="756" y="150"/>
                    </a:lnTo>
                    <a:lnTo>
                      <a:pt x="770" y="174"/>
                    </a:lnTo>
                    <a:lnTo>
                      <a:pt x="777" y="203"/>
                    </a:lnTo>
                    <a:lnTo>
                      <a:pt x="773" y="224"/>
                    </a:lnTo>
                    <a:lnTo>
                      <a:pt x="763" y="243"/>
                    </a:lnTo>
                    <a:lnTo>
                      <a:pt x="747" y="258"/>
                    </a:lnTo>
                    <a:lnTo>
                      <a:pt x="730" y="267"/>
                    </a:lnTo>
                    <a:lnTo>
                      <a:pt x="708" y="270"/>
                    </a:lnTo>
                    <a:lnTo>
                      <a:pt x="664" y="270"/>
                    </a:lnTo>
                    <a:lnTo>
                      <a:pt x="616" y="272"/>
                    </a:lnTo>
                    <a:lnTo>
                      <a:pt x="566" y="272"/>
                    </a:lnTo>
                    <a:lnTo>
                      <a:pt x="515" y="272"/>
                    </a:lnTo>
                    <a:lnTo>
                      <a:pt x="462" y="273"/>
                    </a:lnTo>
                    <a:lnTo>
                      <a:pt x="410" y="275"/>
                    </a:lnTo>
                    <a:lnTo>
                      <a:pt x="363" y="275"/>
                    </a:lnTo>
                    <a:lnTo>
                      <a:pt x="318" y="277"/>
                    </a:lnTo>
                    <a:lnTo>
                      <a:pt x="279" y="277"/>
                    </a:lnTo>
                    <a:lnTo>
                      <a:pt x="246" y="279"/>
                    </a:lnTo>
                    <a:lnTo>
                      <a:pt x="221" y="279"/>
                    </a:lnTo>
                    <a:lnTo>
                      <a:pt x="205" y="279"/>
                    </a:lnTo>
                    <a:lnTo>
                      <a:pt x="200" y="279"/>
                    </a:lnTo>
                    <a:lnTo>
                      <a:pt x="198" y="285"/>
                    </a:lnTo>
                    <a:lnTo>
                      <a:pt x="198" y="303"/>
                    </a:lnTo>
                    <a:lnTo>
                      <a:pt x="197" y="326"/>
                    </a:lnTo>
                    <a:lnTo>
                      <a:pt x="195" y="359"/>
                    </a:lnTo>
                    <a:lnTo>
                      <a:pt x="195" y="395"/>
                    </a:lnTo>
                    <a:lnTo>
                      <a:pt x="193" y="433"/>
                    </a:lnTo>
                    <a:lnTo>
                      <a:pt x="193" y="470"/>
                    </a:lnTo>
                    <a:lnTo>
                      <a:pt x="191" y="506"/>
                    </a:lnTo>
                    <a:lnTo>
                      <a:pt x="195" y="671"/>
                    </a:lnTo>
                    <a:lnTo>
                      <a:pt x="202" y="671"/>
                    </a:lnTo>
                    <a:lnTo>
                      <a:pt x="217" y="672"/>
                    </a:lnTo>
                    <a:lnTo>
                      <a:pt x="241" y="674"/>
                    </a:lnTo>
                    <a:lnTo>
                      <a:pt x="272" y="677"/>
                    </a:lnTo>
                    <a:lnTo>
                      <a:pt x="311" y="681"/>
                    </a:lnTo>
                    <a:lnTo>
                      <a:pt x="354" y="684"/>
                    </a:lnTo>
                    <a:lnTo>
                      <a:pt x="402" y="688"/>
                    </a:lnTo>
                    <a:lnTo>
                      <a:pt x="452" y="691"/>
                    </a:lnTo>
                    <a:lnTo>
                      <a:pt x="505" y="694"/>
                    </a:lnTo>
                    <a:lnTo>
                      <a:pt x="558" y="698"/>
                    </a:lnTo>
                    <a:lnTo>
                      <a:pt x="611" y="701"/>
                    </a:lnTo>
                    <a:lnTo>
                      <a:pt x="660" y="701"/>
                    </a:lnTo>
                    <a:lnTo>
                      <a:pt x="708" y="703"/>
                    </a:lnTo>
                    <a:lnTo>
                      <a:pt x="730" y="706"/>
                    </a:lnTo>
                    <a:lnTo>
                      <a:pt x="747" y="718"/>
                    </a:lnTo>
                    <a:lnTo>
                      <a:pt x="763" y="736"/>
                    </a:lnTo>
                    <a:lnTo>
                      <a:pt x="773" y="756"/>
                    </a:lnTo>
                    <a:lnTo>
                      <a:pt x="777" y="778"/>
                    </a:lnTo>
                    <a:lnTo>
                      <a:pt x="773" y="799"/>
                    </a:lnTo>
                    <a:lnTo>
                      <a:pt x="766" y="821"/>
                    </a:lnTo>
                    <a:lnTo>
                      <a:pt x="756" y="843"/>
                    </a:lnTo>
                    <a:lnTo>
                      <a:pt x="742" y="860"/>
                    </a:lnTo>
                    <a:lnTo>
                      <a:pt x="727" y="874"/>
                    </a:lnTo>
                    <a:lnTo>
                      <a:pt x="708" y="879"/>
                    </a:lnTo>
                    <a:lnTo>
                      <a:pt x="691" y="884"/>
                    </a:lnTo>
                    <a:lnTo>
                      <a:pt x="669" y="895"/>
                    </a:lnTo>
                    <a:lnTo>
                      <a:pt x="638" y="907"/>
                    </a:lnTo>
                    <a:lnTo>
                      <a:pt x="604" y="920"/>
                    </a:lnTo>
                    <a:lnTo>
                      <a:pt x="564" y="934"/>
                    </a:lnTo>
                    <a:lnTo>
                      <a:pt x="522" y="948"/>
                    </a:lnTo>
                    <a:lnTo>
                      <a:pt x="477" y="960"/>
                    </a:lnTo>
                    <a:lnTo>
                      <a:pt x="431" y="970"/>
                    </a:lnTo>
                    <a:lnTo>
                      <a:pt x="383" y="977"/>
                    </a:lnTo>
                    <a:lnTo>
                      <a:pt x="337" y="980"/>
                    </a:lnTo>
                    <a:lnTo>
                      <a:pt x="292" y="980"/>
                    </a:lnTo>
                    <a:lnTo>
                      <a:pt x="250" y="973"/>
                    </a:lnTo>
                    <a:lnTo>
                      <a:pt x="210" y="960"/>
                    </a:lnTo>
                    <a:lnTo>
                      <a:pt x="166" y="936"/>
                    </a:lnTo>
                    <a:lnTo>
                      <a:pt x="128" y="907"/>
                    </a:lnTo>
                    <a:lnTo>
                      <a:pt x="97" y="872"/>
                    </a:lnTo>
                    <a:lnTo>
                      <a:pt x="70" y="835"/>
                    </a:lnTo>
                    <a:lnTo>
                      <a:pt x="49" y="792"/>
                    </a:lnTo>
                    <a:lnTo>
                      <a:pt x="32" y="749"/>
                    </a:lnTo>
                    <a:lnTo>
                      <a:pt x="19" y="703"/>
                    </a:lnTo>
                    <a:lnTo>
                      <a:pt x="10" y="657"/>
                    </a:lnTo>
                    <a:lnTo>
                      <a:pt x="5" y="609"/>
                    </a:lnTo>
                    <a:lnTo>
                      <a:pt x="2" y="561"/>
                    </a:lnTo>
                    <a:lnTo>
                      <a:pt x="0" y="515"/>
                    </a:lnTo>
                    <a:lnTo>
                      <a:pt x="2" y="474"/>
                    </a:lnTo>
                    <a:lnTo>
                      <a:pt x="3" y="429"/>
                    </a:lnTo>
                    <a:lnTo>
                      <a:pt x="8" y="383"/>
                    </a:lnTo>
                    <a:lnTo>
                      <a:pt x="15" y="335"/>
                    </a:lnTo>
                    <a:lnTo>
                      <a:pt x="25" y="287"/>
                    </a:lnTo>
                    <a:lnTo>
                      <a:pt x="37" y="239"/>
                    </a:lnTo>
                    <a:lnTo>
                      <a:pt x="53" y="195"/>
                    </a:lnTo>
                    <a:lnTo>
                      <a:pt x="72" y="150"/>
                    </a:lnTo>
                    <a:lnTo>
                      <a:pt x="94" y="111"/>
                    </a:lnTo>
                    <a:lnTo>
                      <a:pt x="121" y="75"/>
                    </a:lnTo>
                    <a:lnTo>
                      <a:pt x="152" y="46"/>
                    </a:lnTo>
                    <a:lnTo>
                      <a:pt x="186" y="22"/>
                    </a:lnTo>
                    <a:lnTo>
                      <a:pt x="227" y="5"/>
                    </a:lnTo>
                    <a:lnTo>
                      <a:pt x="260" y="0"/>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0" name="Freeform 7"/>
              <p:cNvSpPr>
                <a:spLocks/>
              </p:cNvSpPr>
              <p:nvPr/>
            </p:nvSpPr>
            <p:spPr bwMode="auto">
              <a:xfrm>
                <a:off x="192" y="1580"/>
                <a:ext cx="775" cy="982"/>
              </a:xfrm>
              <a:custGeom>
                <a:avLst/>
                <a:gdLst>
                  <a:gd name="T0" fmla="*/ 549 w 775"/>
                  <a:gd name="T1" fmla="*/ 7 h 982"/>
                  <a:gd name="T2" fmla="*/ 624 w 775"/>
                  <a:gd name="T3" fmla="*/ 46 h 982"/>
                  <a:gd name="T4" fmla="*/ 681 w 775"/>
                  <a:gd name="T5" fmla="*/ 111 h 982"/>
                  <a:gd name="T6" fmla="*/ 722 w 775"/>
                  <a:gd name="T7" fmla="*/ 195 h 982"/>
                  <a:gd name="T8" fmla="*/ 751 w 775"/>
                  <a:gd name="T9" fmla="*/ 289 h 982"/>
                  <a:gd name="T10" fmla="*/ 766 w 775"/>
                  <a:gd name="T11" fmla="*/ 385 h 982"/>
                  <a:gd name="T12" fmla="*/ 775 w 775"/>
                  <a:gd name="T13" fmla="*/ 476 h 982"/>
                  <a:gd name="T14" fmla="*/ 773 w 775"/>
                  <a:gd name="T15" fmla="*/ 563 h 982"/>
                  <a:gd name="T16" fmla="*/ 765 w 775"/>
                  <a:gd name="T17" fmla="*/ 657 h 982"/>
                  <a:gd name="T18" fmla="*/ 744 w 775"/>
                  <a:gd name="T19" fmla="*/ 749 h 982"/>
                  <a:gd name="T20" fmla="*/ 705 w 775"/>
                  <a:gd name="T21" fmla="*/ 835 h 982"/>
                  <a:gd name="T22" fmla="*/ 647 w 775"/>
                  <a:gd name="T23" fmla="*/ 907 h 982"/>
                  <a:gd name="T24" fmla="*/ 565 w 775"/>
                  <a:gd name="T25" fmla="*/ 962 h 982"/>
                  <a:gd name="T26" fmla="*/ 482 w 775"/>
                  <a:gd name="T27" fmla="*/ 980 h 982"/>
                  <a:gd name="T28" fmla="*/ 392 w 775"/>
                  <a:gd name="T29" fmla="*/ 979 h 982"/>
                  <a:gd name="T30" fmla="*/ 299 w 775"/>
                  <a:gd name="T31" fmla="*/ 960 h 982"/>
                  <a:gd name="T32" fmla="*/ 212 w 775"/>
                  <a:gd name="T33" fmla="*/ 934 h 982"/>
                  <a:gd name="T34" fmla="*/ 137 w 775"/>
                  <a:gd name="T35" fmla="*/ 907 h 982"/>
                  <a:gd name="T36" fmla="*/ 84 w 775"/>
                  <a:gd name="T37" fmla="*/ 886 h 982"/>
                  <a:gd name="T38" fmla="*/ 50 w 775"/>
                  <a:gd name="T39" fmla="*/ 874 h 982"/>
                  <a:gd name="T40" fmla="*/ 19 w 775"/>
                  <a:gd name="T41" fmla="*/ 844 h 982"/>
                  <a:gd name="T42" fmla="*/ 2 w 775"/>
                  <a:gd name="T43" fmla="*/ 801 h 982"/>
                  <a:gd name="T44" fmla="*/ 3 w 775"/>
                  <a:gd name="T45" fmla="*/ 758 h 982"/>
                  <a:gd name="T46" fmla="*/ 27 w 775"/>
                  <a:gd name="T47" fmla="*/ 720 h 982"/>
                  <a:gd name="T48" fmla="*/ 67 w 775"/>
                  <a:gd name="T49" fmla="*/ 703 h 982"/>
                  <a:gd name="T50" fmla="*/ 166 w 775"/>
                  <a:gd name="T51" fmla="*/ 701 h 982"/>
                  <a:gd name="T52" fmla="*/ 270 w 775"/>
                  <a:gd name="T53" fmla="*/ 696 h 982"/>
                  <a:gd name="T54" fmla="*/ 373 w 775"/>
                  <a:gd name="T55" fmla="*/ 689 h 982"/>
                  <a:gd name="T56" fmla="*/ 465 w 775"/>
                  <a:gd name="T57" fmla="*/ 681 h 982"/>
                  <a:gd name="T58" fmla="*/ 535 w 775"/>
                  <a:gd name="T59" fmla="*/ 676 h 982"/>
                  <a:gd name="T60" fmla="*/ 575 w 775"/>
                  <a:gd name="T61" fmla="*/ 671 h 982"/>
                  <a:gd name="T62" fmla="*/ 583 w 775"/>
                  <a:gd name="T63" fmla="*/ 508 h 982"/>
                  <a:gd name="T64" fmla="*/ 582 w 775"/>
                  <a:gd name="T65" fmla="*/ 434 h 982"/>
                  <a:gd name="T66" fmla="*/ 580 w 775"/>
                  <a:gd name="T67" fmla="*/ 359 h 982"/>
                  <a:gd name="T68" fmla="*/ 577 w 775"/>
                  <a:gd name="T69" fmla="*/ 303 h 982"/>
                  <a:gd name="T70" fmla="*/ 577 w 775"/>
                  <a:gd name="T71" fmla="*/ 280 h 982"/>
                  <a:gd name="T72" fmla="*/ 554 w 775"/>
                  <a:gd name="T73" fmla="*/ 280 h 982"/>
                  <a:gd name="T74" fmla="*/ 496 w 775"/>
                  <a:gd name="T75" fmla="*/ 279 h 982"/>
                  <a:gd name="T76" fmla="*/ 412 w 775"/>
                  <a:gd name="T77" fmla="*/ 277 h 982"/>
                  <a:gd name="T78" fmla="*/ 313 w 775"/>
                  <a:gd name="T79" fmla="*/ 275 h 982"/>
                  <a:gd name="T80" fmla="*/ 209 w 775"/>
                  <a:gd name="T81" fmla="*/ 274 h 982"/>
                  <a:gd name="T82" fmla="*/ 111 w 775"/>
                  <a:gd name="T83" fmla="*/ 272 h 982"/>
                  <a:gd name="T84" fmla="*/ 46 w 775"/>
                  <a:gd name="T85" fmla="*/ 268 h 982"/>
                  <a:gd name="T86" fmla="*/ 12 w 775"/>
                  <a:gd name="T87" fmla="*/ 244 h 982"/>
                  <a:gd name="T88" fmla="*/ 0 w 775"/>
                  <a:gd name="T89" fmla="*/ 203 h 982"/>
                  <a:gd name="T90" fmla="*/ 20 w 775"/>
                  <a:gd name="T91" fmla="*/ 150 h 982"/>
                  <a:gd name="T92" fmla="*/ 67 w 775"/>
                  <a:gd name="T93" fmla="*/ 120 h 982"/>
                  <a:gd name="T94" fmla="*/ 152 w 775"/>
                  <a:gd name="T95" fmla="*/ 92 h 982"/>
                  <a:gd name="T96" fmla="*/ 246 w 775"/>
                  <a:gd name="T97" fmla="*/ 60 h 982"/>
                  <a:gd name="T98" fmla="*/ 344 w 775"/>
                  <a:gd name="T99" fmla="*/ 29 h 982"/>
                  <a:gd name="T100" fmla="*/ 435 w 775"/>
                  <a:gd name="T101" fmla="*/ 7 h 982"/>
                  <a:gd name="T102" fmla="*/ 515 w 775"/>
                  <a:gd name="T103" fmla="*/ 0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75" h="982">
                    <a:moveTo>
                      <a:pt x="515" y="0"/>
                    </a:moveTo>
                    <a:lnTo>
                      <a:pt x="549" y="7"/>
                    </a:lnTo>
                    <a:lnTo>
                      <a:pt x="588" y="22"/>
                    </a:lnTo>
                    <a:lnTo>
                      <a:pt x="624" y="46"/>
                    </a:lnTo>
                    <a:lnTo>
                      <a:pt x="655" y="77"/>
                    </a:lnTo>
                    <a:lnTo>
                      <a:pt x="681" y="111"/>
                    </a:lnTo>
                    <a:lnTo>
                      <a:pt x="703" y="152"/>
                    </a:lnTo>
                    <a:lnTo>
                      <a:pt x="722" y="195"/>
                    </a:lnTo>
                    <a:lnTo>
                      <a:pt x="739" y="241"/>
                    </a:lnTo>
                    <a:lnTo>
                      <a:pt x="751" y="289"/>
                    </a:lnTo>
                    <a:lnTo>
                      <a:pt x="760" y="337"/>
                    </a:lnTo>
                    <a:lnTo>
                      <a:pt x="766" y="385"/>
                    </a:lnTo>
                    <a:lnTo>
                      <a:pt x="772" y="431"/>
                    </a:lnTo>
                    <a:lnTo>
                      <a:pt x="775" y="476"/>
                    </a:lnTo>
                    <a:lnTo>
                      <a:pt x="775" y="515"/>
                    </a:lnTo>
                    <a:lnTo>
                      <a:pt x="773" y="563"/>
                    </a:lnTo>
                    <a:lnTo>
                      <a:pt x="772" y="609"/>
                    </a:lnTo>
                    <a:lnTo>
                      <a:pt x="765" y="657"/>
                    </a:lnTo>
                    <a:lnTo>
                      <a:pt x="756" y="703"/>
                    </a:lnTo>
                    <a:lnTo>
                      <a:pt x="744" y="749"/>
                    </a:lnTo>
                    <a:lnTo>
                      <a:pt x="727" y="794"/>
                    </a:lnTo>
                    <a:lnTo>
                      <a:pt x="705" y="835"/>
                    </a:lnTo>
                    <a:lnTo>
                      <a:pt x="679" y="873"/>
                    </a:lnTo>
                    <a:lnTo>
                      <a:pt x="647" y="907"/>
                    </a:lnTo>
                    <a:lnTo>
                      <a:pt x="609" y="936"/>
                    </a:lnTo>
                    <a:lnTo>
                      <a:pt x="565" y="962"/>
                    </a:lnTo>
                    <a:lnTo>
                      <a:pt x="525" y="974"/>
                    </a:lnTo>
                    <a:lnTo>
                      <a:pt x="482" y="980"/>
                    </a:lnTo>
                    <a:lnTo>
                      <a:pt x="438" y="982"/>
                    </a:lnTo>
                    <a:lnTo>
                      <a:pt x="392" y="979"/>
                    </a:lnTo>
                    <a:lnTo>
                      <a:pt x="346" y="970"/>
                    </a:lnTo>
                    <a:lnTo>
                      <a:pt x="299" y="960"/>
                    </a:lnTo>
                    <a:lnTo>
                      <a:pt x="253" y="948"/>
                    </a:lnTo>
                    <a:lnTo>
                      <a:pt x="212" y="934"/>
                    </a:lnTo>
                    <a:lnTo>
                      <a:pt x="173" y="921"/>
                    </a:lnTo>
                    <a:lnTo>
                      <a:pt x="137" y="907"/>
                    </a:lnTo>
                    <a:lnTo>
                      <a:pt x="108" y="895"/>
                    </a:lnTo>
                    <a:lnTo>
                      <a:pt x="84" y="886"/>
                    </a:lnTo>
                    <a:lnTo>
                      <a:pt x="67" y="879"/>
                    </a:lnTo>
                    <a:lnTo>
                      <a:pt x="50" y="874"/>
                    </a:lnTo>
                    <a:lnTo>
                      <a:pt x="32" y="862"/>
                    </a:lnTo>
                    <a:lnTo>
                      <a:pt x="19" y="844"/>
                    </a:lnTo>
                    <a:lnTo>
                      <a:pt x="8" y="823"/>
                    </a:lnTo>
                    <a:lnTo>
                      <a:pt x="2" y="801"/>
                    </a:lnTo>
                    <a:lnTo>
                      <a:pt x="0" y="780"/>
                    </a:lnTo>
                    <a:lnTo>
                      <a:pt x="3" y="758"/>
                    </a:lnTo>
                    <a:lnTo>
                      <a:pt x="12" y="737"/>
                    </a:lnTo>
                    <a:lnTo>
                      <a:pt x="27" y="720"/>
                    </a:lnTo>
                    <a:lnTo>
                      <a:pt x="46" y="708"/>
                    </a:lnTo>
                    <a:lnTo>
                      <a:pt x="67" y="703"/>
                    </a:lnTo>
                    <a:lnTo>
                      <a:pt x="115" y="703"/>
                    </a:lnTo>
                    <a:lnTo>
                      <a:pt x="166" y="701"/>
                    </a:lnTo>
                    <a:lnTo>
                      <a:pt x="217" y="700"/>
                    </a:lnTo>
                    <a:lnTo>
                      <a:pt x="270" y="696"/>
                    </a:lnTo>
                    <a:lnTo>
                      <a:pt x="323" y="693"/>
                    </a:lnTo>
                    <a:lnTo>
                      <a:pt x="373" y="689"/>
                    </a:lnTo>
                    <a:lnTo>
                      <a:pt x="421" y="686"/>
                    </a:lnTo>
                    <a:lnTo>
                      <a:pt x="465" y="681"/>
                    </a:lnTo>
                    <a:lnTo>
                      <a:pt x="503" y="678"/>
                    </a:lnTo>
                    <a:lnTo>
                      <a:pt x="535" y="676"/>
                    </a:lnTo>
                    <a:lnTo>
                      <a:pt x="559" y="672"/>
                    </a:lnTo>
                    <a:lnTo>
                      <a:pt x="575" y="671"/>
                    </a:lnTo>
                    <a:lnTo>
                      <a:pt x="580" y="671"/>
                    </a:lnTo>
                    <a:lnTo>
                      <a:pt x="583" y="508"/>
                    </a:lnTo>
                    <a:lnTo>
                      <a:pt x="583" y="472"/>
                    </a:lnTo>
                    <a:lnTo>
                      <a:pt x="582" y="434"/>
                    </a:lnTo>
                    <a:lnTo>
                      <a:pt x="582" y="395"/>
                    </a:lnTo>
                    <a:lnTo>
                      <a:pt x="580" y="359"/>
                    </a:lnTo>
                    <a:lnTo>
                      <a:pt x="578" y="328"/>
                    </a:lnTo>
                    <a:lnTo>
                      <a:pt x="577" y="303"/>
                    </a:lnTo>
                    <a:lnTo>
                      <a:pt x="577" y="287"/>
                    </a:lnTo>
                    <a:lnTo>
                      <a:pt x="577" y="280"/>
                    </a:lnTo>
                    <a:lnTo>
                      <a:pt x="571" y="280"/>
                    </a:lnTo>
                    <a:lnTo>
                      <a:pt x="554" y="280"/>
                    </a:lnTo>
                    <a:lnTo>
                      <a:pt x="529" y="279"/>
                    </a:lnTo>
                    <a:lnTo>
                      <a:pt x="496" y="279"/>
                    </a:lnTo>
                    <a:lnTo>
                      <a:pt x="457" y="277"/>
                    </a:lnTo>
                    <a:lnTo>
                      <a:pt x="412" y="277"/>
                    </a:lnTo>
                    <a:lnTo>
                      <a:pt x="364" y="275"/>
                    </a:lnTo>
                    <a:lnTo>
                      <a:pt x="313" y="275"/>
                    </a:lnTo>
                    <a:lnTo>
                      <a:pt x="262" y="274"/>
                    </a:lnTo>
                    <a:lnTo>
                      <a:pt x="209" y="274"/>
                    </a:lnTo>
                    <a:lnTo>
                      <a:pt x="159" y="272"/>
                    </a:lnTo>
                    <a:lnTo>
                      <a:pt x="111" y="272"/>
                    </a:lnTo>
                    <a:lnTo>
                      <a:pt x="67" y="272"/>
                    </a:lnTo>
                    <a:lnTo>
                      <a:pt x="46" y="268"/>
                    </a:lnTo>
                    <a:lnTo>
                      <a:pt x="27" y="258"/>
                    </a:lnTo>
                    <a:lnTo>
                      <a:pt x="12" y="244"/>
                    </a:lnTo>
                    <a:lnTo>
                      <a:pt x="3" y="226"/>
                    </a:lnTo>
                    <a:lnTo>
                      <a:pt x="0" y="203"/>
                    </a:lnTo>
                    <a:lnTo>
                      <a:pt x="5" y="176"/>
                    </a:lnTo>
                    <a:lnTo>
                      <a:pt x="20" y="150"/>
                    </a:lnTo>
                    <a:lnTo>
                      <a:pt x="41" y="132"/>
                    </a:lnTo>
                    <a:lnTo>
                      <a:pt x="67" y="120"/>
                    </a:lnTo>
                    <a:lnTo>
                      <a:pt x="109" y="108"/>
                    </a:lnTo>
                    <a:lnTo>
                      <a:pt x="152" y="92"/>
                    </a:lnTo>
                    <a:lnTo>
                      <a:pt x="200" y="77"/>
                    </a:lnTo>
                    <a:lnTo>
                      <a:pt x="246" y="60"/>
                    </a:lnTo>
                    <a:lnTo>
                      <a:pt x="296" y="43"/>
                    </a:lnTo>
                    <a:lnTo>
                      <a:pt x="344" y="29"/>
                    </a:lnTo>
                    <a:lnTo>
                      <a:pt x="390" y="15"/>
                    </a:lnTo>
                    <a:lnTo>
                      <a:pt x="435" y="7"/>
                    </a:lnTo>
                    <a:lnTo>
                      <a:pt x="477" y="1"/>
                    </a:lnTo>
                    <a:lnTo>
                      <a:pt x="515" y="0"/>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8"/>
              <p:cNvSpPr>
                <a:spLocks noEditPoints="1"/>
              </p:cNvSpPr>
              <p:nvPr/>
            </p:nvSpPr>
            <p:spPr bwMode="auto">
              <a:xfrm>
                <a:off x="820" y="1838"/>
                <a:ext cx="2310" cy="466"/>
              </a:xfrm>
              <a:custGeom>
                <a:avLst/>
                <a:gdLst>
                  <a:gd name="T0" fmla="*/ 369 w 2310"/>
                  <a:gd name="T1" fmla="*/ 89 h 466"/>
                  <a:gd name="T2" fmla="*/ 347 w 2310"/>
                  <a:gd name="T3" fmla="*/ 93 h 466"/>
                  <a:gd name="T4" fmla="*/ 327 w 2310"/>
                  <a:gd name="T5" fmla="*/ 99 h 466"/>
                  <a:gd name="T6" fmla="*/ 311 w 2310"/>
                  <a:gd name="T7" fmla="*/ 113 h 466"/>
                  <a:gd name="T8" fmla="*/ 301 w 2310"/>
                  <a:gd name="T9" fmla="*/ 129 h 466"/>
                  <a:gd name="T10" fmla="*/ 298 w 2310"/>
                  <a:gd name="T11" fmla="*/ 147 h 466"/>
                  <a:gd name="T12" fmla="*/ 298 w 2310"/>
                  <a:gd name="T13" fmla="*/ 312 h 466"/>
                  <a:gd name="T14" fmla="*/ 301 w 2310"/>
                  <a:gd name="T15" fmla="*/ 329 h 466"/>
                  <a:gd name="T16" fmla="*/ 311 w 2310"/>
                  <a:gd name="T17" fmla="*/ 346 h 466"/>
                  <a:gd name="T18" fmla="*/ 327 w 2310"/>
                  <a:gd name="T19" fmla="*/ 358 h 466"/>
                  <a:gd name="T20" fmla="*/ 347 w 2310"/>
                  <a:gd name="T21" fmla="*/ 366 h 466"/>
                  <a:gd name="T22" fmla="*/ 369 w 2310"/>
                  <a:gd name="T23" fmla="*/ 368 h 466"/>
                  <a:gd name="T24" fmla="*/ 1955 w 2310"/>
                  <a:gd name="T25" fmla="*/ 368 h 466"/>
                  <a:gd name="T26" fmla="*/ 1978 w 2310"/>
                  <a:gd name="T27" fmla="*/ 366 h 466"/>
                  <a:gd name="T28" fmla="*/ 1998 w 2310"/>
                  <a:gd name="T29" fmla="*/ 358 h 466"/>
                  <a:gd name="T30" fmla="*/ 2014 w 2310"/>
                  <a:gd name="T31" fmla="*/ 346 h 466"/>
                  <a:gd name="T32" fmla="*/ 2024 w 2310"/>
                  <a:gd name="T33" fmla="*/ 329 h 466"/>
                  <a:gd name="T34" fmla="*/ 2027 w 2310"/>
                  <a:gd name="T35" fmla="*/ 312 h 466"/>
                  <a:gd name="T36" fmla="*/ 2027 w 2310"/>
                  <a:gd name="T37" fmla="*/ 147 h 466"/>
                  <a:gd name="T38" fmla="*/ 2024 w 2310"/>
                  <a:gd name="T39" fmla="*/ 129 h 466"/>
                  <a:gd name="T40" fmla="*/ 2014 w 2310"/>
                  <a:gd name="T41" fmla="*/ 113 h 466"/>
                  <a:gd name="T42" fmla="*/ 1998 w 2310"/>
                  <a:gd name="T43" fmla="*/ 99 h 466"/>
                  <a:gd name="T44" fmla="*/ 1978 w 2310"/>
                  <a:gd name="T45" fmla="*/ 93 h 466"/>
                  <a:gd name="T46" fmla="*/ 1955 w 2310"/>
                  <a:gd name="T47" fmla="*/ 89 h 466"/>
                  <a:gd name="T48" fmla="*/ 369 w 2310"/>
                  <a:gd name="T49" fmla="*/ 89 h 466"/>
                  <a:gd name="T50" fmla="*/ 96 w 2310"/>
                  <a:gd name="T51" fmla="*/ 0 h 466"/>
                  <a:gd name="T52" fmla="*/ 2214 w 2310"/>
                  <a:gd name="T53" fmla="*/ 0 h 466"/>
                  <a:gd name="T54" fmla="*/ 2245 w 2310"/>
                  <a:gd name="T55" fmla="*/ 5 h 466"/>
                  <a:gd name="T56" fmla="*/ 2270 w 2310"/>
                  <a:gd name="T57" fmla="*/ 19 h 466"/>
                  <a:gd name="T58" fmla="*/ 2292 w 2310"/>
                  <a:gd name="T59" fmla="*/ 40 h 466"/>
                  <a:gd name="T60" fmla="*/ 2306 w 2310"/>
                  <a:gd name="T61" fmla="*/ 67 h 466"/>
                  <a:gd name="T62" fmla="*/ 2310 w 2310"/>
                  <a:gd name="T63" fmla="*/ 98 h 466"/>
                  <a:gd name="T64" fmla="*/ 2310 w 2310"/>
                  <a:gd name="T65" fmla="*/ 368 h 466"/>
                  <a:gd name="T66" fmla="*/ 2306 w 2310"/>
                  <a:gd name="T67" fmla="*/ 399 h 466"/>
                  <a:gd name="T68" fmla="*/ 2292 w 2310"/>
                  <a:gd name="T69" fmla="*/ 426 h 466"/>
                  <a:gd name="T70" fmla="*/ 2270 w 2310"/>
                  <a:gd name="T71" fmla="*/ 447 h 466"/>
                  <a:gd name="T72" fmla="*/ 2245 w 2310"/>
                  <a:gd name="T73" fmla="*/ 461 h 466"/>
                  <a:gd name="T74" fmla="*/ 2214 w 2310"/>
                  <a:gd name="T75" fmla="*/ 466 h 466"/>
                  <a:gd name="T76" fmla="*/ 96 w 2310"/>
                  <a:gd name="T77" fmla="*/ 466 h 466"/>
                  <a:gd name="T78" fmla="*/ 65 w 2310"/>
                  <a:gd name="T79" fmla="*/ 461 h 466"/>
                  <a:gd name="T80" fmla="*/ 39 w 2310"/>
                  <a:gd name="T81" fmla="*/ 447 h 466"/>
                  <a:gd name="T82" fmla="*/ 17 w 2310"/>
                  <a:gd name="T83" fmla="*/ 426 h 466"/>
                  <a:gd name="T84" fmla="*/ 3 w 2310"/>
                  <a:gd name="T85" fmla="*/ 399 h 466"/>
                  <a:gd name="T86" fmla="*/ 0 w 2310"/>
                  <a:gd name="T87" fmla="*/ 368 h 466"/>
                  <a:gd name="T88" fmla="*/ 0 w 2310"/>
                  <a:gd name="T89" fmla="*/ 98 h 466"/>
                  <a:gd name="T90" fmla="*/ 3 w 2310"/>
                  <a:gd name="T91" fmla="*/ 67 h 466"/>
                  <a:gd name="T92" fmla="*/ 17 w 2310"/>
                  <a:gd name="T93" fmla="*/ 40 h 466"/>
                  <a:gd name="T94" fmla="*/ 39 w 2310"/>
                  <a:gd name="T95" fmla="*/ 19 h 466"/>
                  <a:gd name="T96" fmla="*/ 65 w 2310"/>
                  <a:gd name="T97" fmla="*/ 5 h 466"/>
                  <a:gd name="T98" fmla="*/ 96 w 2310"/>
                  <a:gd name="T99"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10" h="466">
                    <a:moveTo>
                      <a:pt x="369" y="89"/>
                    </a:moveTo>
                    <a:lnTo>
                      <a:pt x="347" y="93"/>
                    </a:lnTo>
                    <a:lnTo>
                      <a:pt x="327" y="99"/>
                    </a:lnTo>
                    <a:lnTo>
                      <a:pt x="311" y="113"/>
                    </a:lnTo>
                    <a:lnTo>
                      <a:pt x="301" y="129"/>
                    </a:lnTo>
                    <a:lnTo>
                      <a:pt x="298" y="147"/>
                    </a:lnTo>
                    <a:lnTo>
                      <a:pt x="298" y="312"/>
                    </a:lnTo>
                    <a:lnTo>
                      <a:pt x="301" y="329"/>
                    </a:lnTo>
                    <a:lnTo>
                      <a:pt x="311" y="346"/>
                    </a:lnTo>
                    <a:lnTo>
                      <a:pt x="327" y="358"/>
                    </a:lnTo>
                    <a:lnTo>
                      <a:pt x="347" y="366"/>
                    </a:lnTo>
                    <a:lnTo>
                      <a:pt x="369" y="368"/>
                    </a:lnTo>
                    <a:lnTo>
                      <a:pt x="1955" y="368"/>
                    </a:lnTo>
                    <a:lnTo>
                      <a:pt x="1978" y="366"/>
                    </a:lnTo>
                    <a:lnTo>
                      <a:pt x="1998" y="358"/>
                    </a:lnTo>
                    <a:lnTo>
                      <a:pt x="2014" y="346"/>
                    </a:lnTo>
                    <a:lnTo>
                      <a:pt x="2024" y="329"/>
                    </a:lnTo>
                    <a:lnTo>
                      <a:pt x="2027" y="312"/>
                    </a:lnTo>
                    <a:lnTo>
                      <a:pt x="2027" y="147"/>
                    </a:lnTo>
                    <a:lnTo>
                      <a:pt x="2024" y="129"/>
                    </a:lnTo>
                    <a:lnTo>
                      <a:pt x="2014" y="113"/>
                    </a:lnTo>
                    <a:lnTo>
                      <a:pt x="1998" y="99"/>
                    </a:lnTo>
                    <a:lnTo>
                      <a:pt x="1978" y="93"/>
                    </a:lnTo>
                    <a:lnTo>
                      <a:pt x="1955" y="89"/>
                    </a:lnTo>
                    <a:lnTo>
                      <a:pt x="369" y="89"/>
                    </a:lnTo>
                    <a:close/>
                    <a:moveTo>
                      <a:pt x="96" y="0"/>
                    </a:moveTo>
                    <a:lnTo>
                      <a:pt x="2214" y="0"/>
                    </a:lnTo>
                    <a:lnTo>
                      <a:pt x="2245" y="5"/>
                    </a:lnTo>
                    <a:lnTo>
                      <a:pt x="2270" y="19"/>
                    </a:lnTo>
                    <a:lnTo>
                      <a:pt x="2292" y="40"/>
                    </a:lnTo>
                    <a:lnTo>
                      <a:pt x="2306" y="67"/>
                    </a:lnTo>
                    <a:lnTo>
                      <a:pt x="2310" y="98"/>
                    </a:lnTo>
                    <a:lnTo>
                      <a:pt x="2310" y="368"/>
                    </a:lnTo>
                    <a:lnTo>
                      <a:pt x="2306" y="399"/>
                    </a:lnTo>
                    <a:lnTo>
                      <a:pt x="2292" y="426"/>
                    </a:lnTo>
                    <a:lnTo>
                      <a:pt x="2270" y="447"/>
                    </a:lnTo>
                    <a:lnTo>
                      <a:pt x="2245" y="461"/>
                    </a:lnTo>
                    <a:lnTo>
                      <a:pt x="2214" y="466"/>
                    </a:lnTo>
                    <a:lnTo>
                      <a:pt x="96" y="466"/>
                    </a:lnTo>
                    <a:lnTo>
                      <a:pt x="65" y="461"/>
                    </a:lnTo>
                    <a:lnTo>
                      <a:pt x="39" y="447"/>
                    </a:lnTo>
                    <a:lnTo>
                      <a:pt x="17" y="426"/>
                    </a:lnTo>
                    <a:lnTo>
                      <a:pt x="3" y="399"/>
                    </a:lnTo>
                    <a:lnTo>
                      <a:pt x="0" y="368"/>
                    </a:lnTo>
                    <a:lnTo>
                      <a:pt x="0" y="98"/>
                    </a:lnTo>
                    <a:lnTo>
                      <a:pt x="3" y="67"/>
                    </a:lnTo>
                    <a:lnTo>
                      <a:pt x="17" y="40"/>
                    </a:lnTo>
                    <a:lnTo>
                      <a:pt x="39" y="19"/>
                    </a:lnTo>
                    <a:lnTo>
                      <a:pt x="65" y="5"/>
                    </a:lnTo>
                    <a:lnTo>
                      <a:pt x="96" y="0"/>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98943649"/>
      </p:ext>
    </p:extLst>
  </p:cSld>
  <p:clrMapOvr>
    <a:masterClrMapping/>
  </p:clrMapOvr>
  <p:transition spd="slow">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442359"/>
        </a:solidFill>
        <a:effectLst/>
      </p:bgPr>
    </p:bg>
    <p:spTree>
      <p:nvGrpSpPr>
        <p:cNvPr id="1" name=""/>
        <p:cNvGrpSpPr/>
        <p:nvPr/>
      </p:nvGrpSpPr>
      <p:grpSpPr>
        <a:xfrm>
          <a:off x="0" y="0"/>
          <a:ext cx="0" cy="0"/>
          <a:chOff x="0" y="0"/>
          <a:chExt cx="0" cy="0"/>
        </a:xfrm>
      </p:grpSpPr>
      <p:sp>
        <p:nvSpPr>
          <p:cNvPr id="8" name="Title 1"/>
          <p:cNvSpPr txBox="1">
            <a:spLocks/>
          </p:cNvSpPr>
          <p:nvPr/>
        </p:nvSpPr>
        <p:spPr>
          <a:xfrm>
            <a:off x="386862" y="1919801"/>
            <a:ext cx="3776683" cy="830997"/>
          </a:xfrm>
          <a:prstGeom prst="rect">
            <a:avLst/>
          </a:prstGeom>
        </p:spPr>
        <p:txBody>
          <a:bodyPr wrap="square" lIns="0" tIns="0" rIns="0" bIns="0">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sz="6000" dirty="0">
                <a:gradFill>
                  <a:gsLst>
                    <a:gs pos="1667">
                      <a:schemeClr val="bg1"/>
                    </a:gs>
                    <a:gs pos="26000">
                      <a:schemeClr val="bg1"/>
                    </a:gs>
                  </a:gsLst>
                  <a:lin ang="5400000" scaled="0"/>
                </a:gradFill>
              </a:rPr>
              <a:t>Demo</a:t>
            </a:r>
          </a:p>
        </p:txBody>
      </p:sp>
      <p:sp>
        <p:nvSpPr>
          <p:cNvPr id="9" name="Title 1"/>
          <p:cNvSpPr txBox="1">
            <a:spLocks/>
          </p:cNvSpPr>
          <p:nvPr/>
        </p:nvSpPr>
        <p:spPr>
          <a:xfrm>
            <a:off x="422031" y="2855874"/>
            <a:ext cx="5339007" cy="830997"/>
          </a:xfrm>
          <a:prstGeom prst="rect">
            <a:avLst/>
          </a:prstGeom>
        </p:spPr>
        <p:txBody>
          <a:bodyPr wrap="square" lIns="0" tIns="0" rIns="0" bIns="0">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a:spcBef>
                <a:spcPts val="1224"/>
              </a:spcBef>
            </a:pPr>
            <a:r>
              <a:rPr lang="en-US" sz="3000" dirty="0">
                <a:gradFill>
                  <a:gsLst>
                    <a:gs pos="1667">
                      <a:schemeClr val="bg1"/>
                    </a:gs>
                    <a:gs pos="26000">
                      <a:schemeClr val="bg1"/>
                    </a:gs>
                  </a:gsLst>
                  <a:lin ang="5400000" scaled="0"/>
                </a:gradFill>
              </a:rPr>
              <a:t>VDI deployment, administration, and management</a:t>
            </a:r>
          </a:p>
        </p:txBody>
      </p:sp>
      <p:sp>
        <p:nvSpPr>
          <p:cNvPr id="2" name="Slide Number Placeholder 1"/>
          <p:cNvSpPr>
            <a:spLocks noGrp="1"/>
          </p:cNvSpPr>
          <p:nvPr>
            <p:ph type="sldNum" sz="quarter" idx="4294967295"/>
          </p:nvPr>
        </p:nvSpPr>
        <p:spPr>
          <a:xfrm>
            <a:off x="11674615" y="6557369"/>
            <a:ext cx="233151" cy="131883"/>
          </a:xfrm>
          <a:prstGeom prst="rect">
            <a:avLst/>
          </a:prstGeom>
        </p:spPr>
        <p:txBody>
          <a:bodyPr/>
          <a:lstStyle/>
          <a:p>
            <a:pPr>
              <a:lnSpc>
                <a:spcPct val="90000"/>
              </a:lnSpc>
            </a:pPr>
            <a:fld id="{1BC86A1F-E589-44B2-A543-2EC98F5547A7}" type="slidenum">
              <a:rPr lang="en-US" smtClean="0"/>
              <a:pPr>
                <a:lnSpc>
                  <a:spcPct val="90000"/>
                </a:lnSpc>
              </a:pPr>
              <a:t>14</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3496" y="6146389"/>
            <a:ext cx="1659467" cy="355482"/>
          </a:xfrm>
          <a:prstGeom prst="rect">
            <a:avLst/>
          </a:prstGeom>
        </p:spPr>
      </p:pic>
    </p:spTree>
    <p:extLst>
      <p:ext uri="{BB962C8B-B14F-4D97-AF65-F5344CB8AC3E}">
        <p14:creationId xmlns:p14="http://schemas.microsoft.com/office/powerpoint/2010/main" val="1726887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765854" y="4611310"/>
            <a:ext cx="2866180" cy="56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pPr algn="ctr"/>
            <a:r>
              <a:rPr lang="en-US" sz="2000" b="1" dirty="0">
                <a:solidFill>
                  <a:schemeClr val="accent1"/>
                </a:solidFill>
              </a:rPr>
              <a:t>User Profile Disk</a:t>
            </a:r>
          </a:p>
        </p:txBody>
      </p:sp>
      <p:sp>
        <p:nvSpPr>
          <p:cNvPr id="30" name="Rectangle 29"/>
          <p:cNvSpPr/>
          <p:nvPr/>
        </p:nvSpPr>
        <p:spPr bwMode="auto">
          <a:xfrm>
            <a:off x="8345045" y="4681206"/>
            <a:ext cx="3285460" cy="347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t" anchorCtr="0" forceAA="0" compatLnSpc="1">
            <a:prstTxWarp prst="textNoShape">
              <a:avLst/>
            </a:prstTxWarp>
            <a:noAutofit/>
          </a:bodyPr>
          <a:lstStyle/>
          <a:p>
            <a:r>
              <a:rPr lang="en-US" sz="2000" b="1" dirty="0">
                <a:solidFill>
                  <a:schemeClr val="accent1"/>
                </a:solidFill>
              </a:rPr>
              <a:t>Multiple storage options</a:t>
            </a:r>
          </a:p>
        </p:txBody>
      </p:sp>
      <p:sp>
        <p:nvSpPr>
          <p:cNvPr id="32" name="Rectangle 31"/>
          <p:cNvSpPr/>
          <p:nvPr/>
        </p:nvSpPr>
        <p:spPr bwMode="auto">
          <a:xfrm>
            <a:off x="4760261" y="4602843"/>
            <a:ext cx="2743851" cy="5691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pPr algn="ctr"/>
            <a:r>
              <a:rPr lang="en-US" sz="2000" b="1" dirty="0">
                <a:solidFill>
                  <a:schemeClr val="accent1"/>
                </a:solidFill>
              </a:rPr>
              <a:t>Fair Share</a:t>
            </a:r>
          </a:p>
        </p:txBody>
      </p:sp>
      <p:sp>
        <p:nvSpPr>
          <p:cNvPr id="2" name="Title 1"/>
          <p:cNvSpPr>
            <a:spLocks noGrp="1"/>
          </p:cNvSpPr>
          <p:nvPr>
            <p:ph type="title"/>
          </p:nvPr>
        </p:nvSpPr>
        <p:spPr>
          <a:xfrm>
            <a:off x="256554" y="295805"/>
            <a:ext cx="11370961" cy="739863"/>
          </a:xfrm>
        </p:spPr>
        <p:txBody>
          <a:bodyPr/>
          <a:lstStyle/>
          <a:p>
            <a:r>
              <a:rPr lang="en-US" dirty="0" smtClean="0"/>
              <a:t>Best value for VDI with key platform capabilities</a:t>
            </a:r>
            <a:endParaRPr lang="en-US" sz="4080" dirty="0"/>
          </a:p>
        </p:txBody>
      </p:sp>
      <p:sp>
        <p:nvSpPr>
          <p:cNvPr id="16" name="Rectangle 15"/>
          <p:cNvSpPr/>
          <p:nvPr/>
        </p:nvSpPr>
        <p:spPr bwMode="auto">
          <a:xfrm>
            <a:off x="8352759" y="5037399"/>
            <a:ext cx="3837264" cy="10533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r>
              <a:rPr lang="en-US" sz="1600" dirty="0">
                <a:solidFill>
                  <a:schemeClr val="tx1"/>
                </a:solidFill>
              </a:rPr>
              <a:t>Support </a:t>
            </a:r>
            <a:r>
              <a:rPr lang="en-US" sz="1600" dirty="0" smtClean="0">
                <a:solidFill>
                  <a:schemeClr val="tx1"/>
                </a:solidFill>
              </a:rPr>
              <a:t>direct </a:t>
            </a:r>
            <a:r>
              <a:rPr lang="en-US" sz="1600" dirty="0">
                <a:solidFill>
                  <a:schemeClr val="tx1"/>
                </a:solidFill>
              </a:rPr>
              <a:t>attached, network, or SAN storage of virtual </a:t>
            </a:r>
            <a:r>
              <a:rPr lang="en-US" sz="1600" dirty="0" smtClean="0">
                <a:solidFill>
                  <a:schemeClr val="tx1"/>
                </a:solidFill>
              </a:rPr>
              <a:t>machines. Automatic </a:t>
            </a:r>
            <a:r>
              <a:rPr lang="en-US" sz="1600" dirty="0" err="1" smtClean="0">
                <a:solidFill>
                  <a:schemeClr val="tx1"/>
                </a:solidFill>
              </a:rPr>
              <a:t>Tiering</a:t>
            </a:r>
            <a:r>
              <a:rPr lang="en-US" sz="1600" dirty="0" smtClean="0">
                <a:solidFill>
                  <a:schemeClr val="tx1"/>
                </a:solidFill>
              </a:rPr>
              <a:t> and </a:t>
            </a:r>
            <a:r>
              <a:rPr lang="en-US" sz="1600" dirty="0" err="1" smtClean="0">
                <a:solidFill>
                  <a:schemeClr val="tx1"/>
                </a:solidFill>
              </a:rPr>
              <a:t>Deduplication</a:t>
            </a:r>
            <a:endParaRPr lang="en-US" sz="1600" dirty="0">
              <a:solidFill>
                <a:schemeClr val="tx1"/>
              </a:solidFill>
            </a:endParaRPr>
          </a:p>
        </p:txBody>
      </p:sp>
      <p:sp>
        <p:nvSpPr>
          <p:cNvPr id="17" name="Rectangle 16"/>
          <p:cNvSpPr/>
          <p:nvPr/>
        </p:nvSpPr>
        <p:spPr bwMode="auto">
          <a:xfrm>
            <a:off x="4760167" y="5047210"/>
            <a:ext cx="2743946" cy="10508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r>
              <a:rPr lang="en-US" sz="1600" dirty="0">
                <a:solidFill>
                  <a:schemeClr val="tx1"/>
                </a:solidFill>
              </a:rPr>
              <a:t>Dynamically distribute bandwidth, CPU, and disk use</a:t>
            </a:r>
          </a:p>
        </p:txBody>
      </p:sp>
      <p:sp>
        <p:nvSpPr>
          <p:cNvPr id="18" name="Rectangle 17"/>
          <p:cNvSpPr/>
          <p:nvPr/>
        </p:nvSpPr>
        <p:spPr bwMode="auto">
          <a:xfrm>
            <a:off x="762000" y="5045336"/>
            <a:ext cx="2870200" cy="105331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pPr marL="0" lvl="1"/>
            <a:r>
              <a:rPr lang="en-US" sz="1600" dirty="0">
                <a:solidFill>
                  <a:schemeClr val="tx1"/>
                </a:solidFill>
              </a:rPr>
              <a:t>Maintain user personalization in pooled deployments</a:t>
            </a:r>
          </a:p>
        </p:txBody>
      </p:sp>
      <p:sp>
        <p:nvSpPr>
          <p:cNvPr id="13" name="Rectangle 12"/>
          <p:cNvSpPr/>
          <p:nvPr/>
        </p:nvSpPr>
        <p:spPr bwMode="auto">
          <a:xfrm>
            <a:off x="4239892" y="6016697"/>
            <a:ext cx="3676161" cy="7620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r>
              <a:rPr lang="en-US" sz="2000" b="1" dirty="0">
                <a:solidFill>
                  <a:schemeClr val="accent1"/>
                </a:solidFill>
              </a:rPr>
              <a:t>High availability for all roles</a:t>
            </a:r>
          </a:p>
        </p:txBody>
      </p:sp>
      <p:sp>
        <p:nvSpPr>
          <p:cNvPr id="20" name="Freeform 21"/>
          <p:cNvSpPr>
            <a:spLocks noEditPoints="1"/>
          </p:cNvSpPr>
          <p:nvPr/>
        </p:nvSpPr>
        <p:spPr bwMode="black">
          <a:xfrm>
            <a:off x="4846638" y="1826817"/>
            <a:ext cx="2383583" cy="2382967"/>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0070C0"/>
          </a:solidFill>
          <a:ln>
            <a:noFill/>
          </a:ln>
          <a:extLst/>
        </p:spPr>
        <p:txBody>
          <a:bodyPr vert="horz" wrap="square" lIns="83943" tIns="41972" rIns="83943" bIns="41972" numCol="1" anchor="t" anchorCtr="0" compatLnSpc="1">
            <a:prstTxWarp prst="textNoShape">
              <a:avLst/>
            </a:prstTxWarp>
          </a:bodyPr>
          <a:lstStyle/>
          <a:p>
            <a:endParaRPr lang="en-US" sz="1632" dirty="0"/>
          </a:p>
        </p:txBody>
      </p:sp>
      <p:grpSp>
        <p:nvGrpSpPr>
          <p:cNvPr id="3" name="Group 2"/>
          <p:cNvGrpSpPr/>
          <p:nvPr/>
        </p:nvGrpSpPr>
        <p:grpSpPr>
          <a:xfrm>
            <a:off x="8776341" y="1841684"/>
            <a:ext cx="2630896" cy="2368100"/>
            <a:chOff x="8819404" y="2124184"/>
            <a:chExt cx="2317046" cy="2085600"/>
          </a:xfrm>
        </p:grpSpPr>
        <p:grpSp>
          <p:nvGrpSpPr>
            <p:cNvPr id="14" name="Group 13"/>
            <p:cNvGrpSpPr/>
            <p:nvPr/>
          </p:nvGrpSpPr>
          <p:grpSpPr>
            <a:xfrm>
              <a:off x="8819404" y="2124184"/>
              <a:ext cx="1602097" cy="2085600"/>
              <a:chOff x="9412225" y="2871178"/>
              <a:chExt cx="2096029" cy="2728597"/>
            </a:xfrm>
          </p:grpSpPr>
          <p:sp>
            <p:nvSpPr>
              <p:cNvPr id="19" name="Freeform 59"/>
              <p:cNvSpPr>
                <a:spLocks noEditPoints="1"/>
              </p:cNvSpPr>
              <p:nvPr/>
            </p:nvSpPr>
            <p:spPr bwMode="auto">
              <a:xfrm>
                <a:off x="10466651" y="2871178"/>
                <a:ext cx="1041603" cy="199568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 name="Rectangle 21"/>
              <p:cNvSpPr/>
              <p:nvPr/>
            </p:nvSpPr>
            <p:spPr bwMode="auto">
              <a:xfrm>
                <a:off x="10326512" y="3319367"/>
                <a:ext cx="280278" cy="78614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23" name="Freeform 59"/>
              <p:cNvSpPr>
                <a:spLocks noEditPoints="1"/>
              </p:cNvSpPr>
              <p:nvPr/>
            </p:nvSpPr>
            <p:spPr bwMode="auto">
              <a:xfrm>
                <a:off x="9942201" y="3234776"/>
                <a:ext cx="1041603" cy="199568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 name="Rectangle 23"/>
              <p:cNvSpPr/>
              <p:nvPr/>
            </p:nvSpPr>
            <p:spPr bwMode="auto">
              <a:xfrm>
                <a:off x="9802062" y="3712441"/>
                <a:ext cx="280278" cy="78614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25" name="Freeform 59"/>
              <p:cNvSpPr>
                <a:spLocks noEditPoints="1"/>
              </p:cNvSpPr>
              <p:nvPr/>
            </p:nvSpPr>
            <p:spPr bwMode="auto">
              <a:xfrm>
                <a:off x="9412225" y="3604089"/>
                <a:ext cx="1041603" cy="199568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6" name="Group 25"/>
            <p:cNvGrpSpPr/>
            <p:nvPr/>
          </p:nvGrpSpPr>
          <p:grpSpPr>
            <a:xfrm>
              <a:off x="9763122" y="2366091"/>
              <a:ext cx="1373328" cy="1751278"/>
              <a:chOff x="5961974" y="3799093"/>
              <a:chExt cx="1157038" cy="1475463"/>
            </a:xfrm>
          </p:grpSpPr>
          <p:sp>
            <p:nvSpPr>
              <p:cNvPr id="27" name="Freeform 26"/>
              <p:cNvSpPr>
                <a:spLocks noEditPoints="1"/>
              </p:cNvSpPr>
              <p:nvPr/>
            </p:nvSpPr>
            <p:spPr bwMode="auto">
              <a:xfrm>
                <a:off x="6430433" y="3799093"/>
                <a:ext cx="688579" cy="101772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GB"/>
              </a:p>
            </p:txBody>
          </p:sp>
          <p:sp>
            <p:nvSpPr>
              <p:cNvPr id="28" name="Rectangle 27"/>
              <p:cNvSpPr/>
              <p:nvPr/>
            </p:nvSpPr>
            <p:spPr bwMode="auto">
              <a:xfrm>
                <a:off x="6204670" y="4126144"/>
                <a:ext cx="688579" cy="87856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31" name="Freeform 30"/>
              <p:cNvSpPr>
                <a:spLocks noEditPoints="1"/>
              </p:cNvSpPr>
              <p:nvPr/>
            </p:nvSpPr>
            <p:spPr bwMode="auto">
              <a:xfrm>
                <a:off x="6204671" y="4021342"/>
                <a:ext cx="688579" cy="101772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p>
            </p:txBody>
          </p:sp>
          <p:sp>
            <p:nvSpPr>
              <p:cNvPr id="33" name="Rectangle 32"/>
              <p:cNvSpPr/>
              <p:nvPr/>
            </p:nvSpPr>
            <p:spPr bwMode="auto">
              <a:xfrm>
                <a:off x="5961974" y="4349522"/>
                <a:ext cx="688579" cy="87856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34" name="Freeform 33"/>
              <p:cNvSpPr>
                <a:spLocks noEditPoints="1"/>
              </p:cNvSpPr>
              <p:nvPr/>
            </p:nvSpPr>
            <p:spPr bwMode="auto">
              <a:xfrm>
                <a:off x="5961974" y="4256836"/>
                <a:ext cx="688579" cy="101772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p>
            </p:txBody>
          </p:sp>
        </p:grpSp>
      </p:grpSp>
      <p:grpSp>
        <p:nvGrpSpPr>
          <p:cNvPr id="7" name="Group 6"/>
          <p:cNvGrpSpPr/>
          <p:nvPr/>
        </p:nvGrpSpPr>
        <p:grpSpPr>
          <a:xfrm>
            <a:off x="1012114" y="1955800"/>
            <a:ext cx="2325523" cy="2517974"/>
            <a:chOff x="890955" y="1746478"/>
            <a:chExt cx="2325523" cy="2517974"/>
          </a:xfrm>
        </p:grpSpPr>
        <p:sp>
          <p:nvSpPr>
            <p:cNvPr id="40" name="Freeform 5"/>
            <p:cNvSpPr>
              <a:spLocks noEditPoints="1"/>
            </p:cNvSpPr>
            <p:nvPr/>
          </p:nvSpPr>
          <p:spPr bwMode="auto">
            <a:xfrm>
              <a:off x="890955" y="1746478"/>
              <a:ext cx="1480515" cy="2222425"/>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Rectangle 3"/>
            <p:cNvSpPr/>
            <p:nvPr/>
          </p:nvSpPr>
          <p:spPr bwMode="auto">
            <a:xfrm>
              <a:off x="1295954" y="3675681"/>
              <a:ext cx="1131456" cy="58877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solidFill>
                  <a:schemeClr val="bg1"/>
                </a:solidFill>
              </a:endParaRPr>
            </a:p>
          </p:txBody>
        </p:sp>
        <p:grpSp>
          <p:nvGrpSpPr>
            <p:cNvPr id="36" name="Group 35"/>
            <p:cNvGrpSpPr/>
            <p:nvPr/>
          </p:nvGrpSpPr>
          <p:grpSpPr>
            <a:xfrm>
              <a:off x="1219434" y="3342645"/>
              <a:ext cx="1997044" cy="897221"/>
              <a:chOff x="4429125" y="2109139"/>
              <a:chExt cx="1423988" cy="639762"/>
            </a:xfrm>
            <a:solidFill>
              <a:srgbClr val="0070C0"/>
            </a:solidFill>
          </p:grpSpPr>
          <p:sp>
            <p:nvSpPr>
              <p:cNvPr id="37"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8" name="Freeform 512"/>
              <p:cNvSpPr>
                <a:spLocks noEditPoints="1"/>
              </p:cNvSpPr>
              <p:nvPr/>
            </p:nvSpPr>
            <p:spPr bwMode="auto">
              <a:xfrm>
                <a:off x="4429125" y="2109139"/>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9" name="Freeform 513"/>
              <p:cNvSpPr>
                <a:spLocks/>
              </p:cNvSpPr>
              <p:nvPr/>
            </p:nvSpPr>
            <p:spPr bwMode="auto">
              <a:xfrm>
                <a:off x="4530725" y="2425520"/>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56449763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p:cNvSpPr>
            <a:spLocks noGrp="1"/>
          </p:cNvSpPr>
          <p:nvPr>
            <p:ph type="title"/>
          </p:nvPr>
        </p:nvSpPr>
        <p:spPr>
          <a:xfrm>
            <a:off x="259581" y="309016"/>
            <a:ext cx="11375536" cy="738664"/>
          </a:xfrm>
        </p:spPr>
        <p:txBody>
          <a:bodyPr/>
          <a:lstStyle/>
          <a:p>
            <a:pPr lvl="0"/>
            <a:r>
              <a:rPr lang="en-US" dirty="0" smtClean="0"/>
              <a:t>User Profile Disk</a:t>
            </a:r>
            <a:endParaRPr lang="en-US" dirty="0"/>
          </a:p>
        </p:txBody>
      </p:sp>
      <p:sp>
        <p:nvSpPr>
          <p:cNvPr id="65" name="Rectangle 6"/>
          <p:cNvSpPr>
            <a:spLocks noChangeArrowheads="1"/>
          </p:cNvSpPr>
          <p:nvPr/>
        </p:nvSpPr>
        <p:spPr bwMode="auto">
          <a:xfrm>
            <a:off x="195009" y="4497257"/>
            <a:ext cx="4172736" cy="1161784"/>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40" dirty="0"/>
              <a:t>Enable personalization on pooled virtual machines or sessions</a:t>
            </a:r>
          </a:p>
        </p:txBody>
      </p:sp>
      <p:sp>
        <p:nvSpPr>
          <p:cNvPr id="66" name="Rectangle 7"/>
          <p:cNvSpPr>
            <a:spLocks noChangeArrowheads="1"/>
          </p:cNvSpPr>
          <p:nvPr/>
        </p:nvSpPr>
        <p:spPr bwMode="auto">
          <a:xfrm>
            <a:off x="3996539" y="4525650"/>
            <a:ext cx="4172736" cy="854631"/>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40" dirty="0"/>
              <a:t>Store user data and settings on a separate virtual hard disk</a:t>
            </a:r>
          </a:p>
        </p:txBody>
      </p:sp>
      <p:sp>
        <p:nvSpPr>
          <p:cNvPr id="67" name="Rectangle 8"/>
          <p:cNvSpPr>
            <a:spLocks noChangeArrowheads="1"/>
          </p:cNvSpPr>
          <p:nvPr/>
        </p:nvSpPr>
        <p:spPr bwMode="auto">
          <a:xfrm>
            <a:off x="8222623" y="4468926"/>
            <a:ext cx="4125489" cy="1198581"/>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40" dirty="0"/>
              <a:t>Simplify deployment of lower-cost VDIs (pooled virtual machines and sessions) </a:t>
            </a:r>
          </a:p>
        </p:txBody>
      </p:sp>
      <p:grpSp>
        <p:nvGrpSpPr>
          <p:cNvPr id="58" name="Group 57"/>
          <p:cNvGrpSpPr/>
          <p:nvPr/>
        </p:nvGrpSpPr>
        <p:grpSpPr>
          <a:xfrm>
            <a:off x="4310595" y="2123683"/>
            <a:ext cx="3414180" cy="1958588"/>
            <a:chOff x="4253445" y="2152258"/>
            <a:chExt cx="3414180" cy="1958588"/>
          </a:xfrm>
        </p:grpSpPr>
        <p:sp>
          <p:nvSpPr>
            <p:cNvPr id="50" name="Freeform 49"/>
            <p:cNvSpPr>
              <a:spLocks noEditPoints="1"/>
            </p:cNvSpPr>
            <p:nvPr/>
          </p:nvSpPr>
          <p:spPr bwMode="auto">
            <a:xfrm>
              <a:off x="4253445" y="2152258"/>
              <a:ext cx="1296355" cy="1958588"/>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nvGrpSpPr>
            <p:cNvPr id="12" name="Group 11"/>
            <p:cNvGrpSpPr/>
            <p:nvPr/>
          </p:nvGrpSpPr>
          <p:grpSpPr>
            <a:xfrm>
              <a:off x="6317927" y="2591463"/>
              <a:ext cx="1258134" cy="1047558"/>
              <a:chOff x="5807105" y="2894760"/>
              <a:chExt cx="1258134" cy="1047558"/>
            </a:xfrm>
          </p:grpSpPr>
          <p:pic>
            <p:nvPicPr>
              <p:cNvPr id="49" name="Picture 4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8536" y="2894760"/>
                <a:ext cx="453355" cy="685998"/>
              </a:xfrm>
              <a:prstGeom prst="rect">
                <a:avLst/>
              </a:prstGeom>
            </p:spPr>
          </p:pic>
          <p:grpSp>
            <p:nvGrpSpPr>
              <p:cNvPr id="3" name="Group 4"/>
              <p:cNvGrpSpPr>
                <a:grpSpLocks noChangeAspect="1"/>
              </p:cNvGrpSpPr>
              <p:nvPr/>
            </p:nvGrpSpPr>
            <p:grpSpPr bwMode="auto">
              <a:xfrm>
                <a:off x="5855935" y="2896601"/>
                <a:ext cx="600583" cy="685130"/>
                <a:chOff x="3320" y="2030"/>
                <a:chExt cx="618" cy="705"/>
              </a:xfrm>
              <a:solidFill>
                <a:srgbClr val="442359"/>
              </a:solidFill>
            </p:grpSpPr>
            <p:sp>
              <p:nvSpPr>
                <p:cNvPr id="5" name="Freeform 5"/>
                <p:cNvSpPr>
                  <a:spLocks noEditPoints="1"/>
                </p:cNvSpPr>
                <p:nvPr/>
              </p:nvSpPr>
              <p:spPr bwMode="auto">
                <a:xfrm>
                  <a:off x="3320" y="2030"/>
                  <a:ext cx="618" cy="705"/>
                </a:xfrm>
                <a:custGeom>
                  <a:avLst/>
                  <a:gdLst>
                    <a:gd name="T0" fmla="*/ 868 w 932"/>
                    <a:gd name="T1" fmla="*/ 1064 h 1064"/>
                    <a:gd name="T2" fmla="*/ 932 w 932"/>
                    <a:gd name="T3" fmla="*/ 1064 h 1064"/>
                    <a:gd name="T4" fmla="*/ 932 w 932"/>
                    <a:gd name="T5" fmla="*/ 104 h 1064"/>
                    <a:gd name="T6" fmla="*/ 824 w 932"/>
                    <a:gd name="T7" fmla="*/ 0 h 1064"/>
                    <a:gd name="T8" fmla="*/ 301 w 932"/>
                    <a:gd name="T9" fmla="*/ 0 h 1064"/>
                    <a:gd name="T10" fmla="*/ 0 w 932"/>
                    <a:gd name="T11" fmla="*/ 269 h 1064"/>
                    <a:gd name="T12" fmla="*/ 0 w 932"/>
                    <a:gd name="T13" fmla="*/ 961 h 1064"/>
                    <a:gd name="T14" fmla="*/ 105 w 932"/>
                    <a:gd name="T15" fmla="*/ 1064 h 1064"/>
                    <a:gd name="T16" fmla="*/ 868 w 932"/>
                    <a:gd name="T17" fmla="*/ 1064 h 1064"/>
                    <a:gd name="T18" fmla="*/ 136 w 932"/>
                    <a:gd name="T19" fmla="*/ 1005 h 1064"/>
                    <a:gd name="T20" fmla="*/ 64 w 932"/>
                    <a:gd name="T21" fmla="*/ 933 h 1064"/>
                    <a:gd name="T22" fmla="*/ 64 w 932"/>
                    <a:gd name="T23" fmla="*/ 309 h 1064"/>
                    <a:gd name="T24" fmla="*/ 250 w 932"/>
                    <a:gd name="T25" fmla="*/ 309 h 1064"/>
                    <a:gd name="T26" fmla="*/ 311 w 932"/>
                    <a:gd name="T27" fmla="*/ 296 h 1064"/>
                    <a:gd name="T28" fmla="*/ 335 w 932"/>
                    <a:gd name="T29" fmla="*/ 240 h 1064"/>
                    <a:gd name="T30" fmla="*/ 335 w 932"/>
                    <a:gd name="T31" fmla="*/ 67 h 1064"/>
                    <a:gd name="T32" fmla="*/ 796 w 932"/>
                    <a:gd name="T33" fmla="*/ 67 h 1064"/>
                    <a:gd name="T34" fmla="*/ 868 w 932"/>
                    <a:gd name="T35" fmla="*/ 138 h 1064"/>
                    <a:gd name="T36" fmla="*/ 868 w 932"/>
                    <a:gd name="T37" fmla="*/ 1005 h 1064"/>
                    <a:gd name="T38" fmla="*/ 136 w 932"/>
                    <a:gd name="T39" fmla="*/ 1005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2" h="1064">
                      <a:moveTo>
                        <a:pt x="868" y="1064"/>
                      </a:moveTo>
                      <a:cubicBezTo>
                        <a:pt x="932" y="1064"/>
                        <a:pt x="932" y="1064"/>
                        <a:pt x="932" y="1064"/>
                      </a:cubicBezTo>
                      <a:cubicBezTo>
                        <a:pt x="932" y="104"/>
                        <a:pt x="932" y="104"/>
                        <a:pt x="932" y="104"/>
                      </a:cubicBezTo>
                      <a:cubicBezTo>
                        <a:pt x="932" y="42"/>
                        <a:pt x="873" y="0"/>
                        <a:pt x="824" y="0"/>
                      </a:cubicBezTo>
                      <a:cubicBezTo>
                        <a:pt x="301" y="0"/>
                        <a:pt x="301" y="0"/>
                        <a:pt x="301" y="0"/>
                      </a:cubicBezTo>
                      <a:cubicBezTo>
                        <a:pt x="222" y="69"/>
                        <a:pt x="122" y="169"/>
                        <a:pt x="0" y="269"/>
                      </a:cubicBezTo>
                      <a:cubicBezTo>
                        <a:pt x="0" y="961"/>
                        <a:pt x="0" y="961"/>
                        <a:pt x="0" y="961"/>
                      </a:cubicBezTo>
                      <a:cubicBezTo>
                        <a:pt x="0" y="1025"/>
                        <a:pt x="55" y="1064"/>
                        <a:pt x="105" y="1064"/>
                      </a:cubicBezTo>
                      <a:cubicBezTo>
                        <a:pt x="868" y="1064"/>
                        <a:pt x="868" y="1064"/>
                        <a:pt x="868" y="1064"/>
                      </a:cubicBezTo>
                      <a:close/>
                      <a:moveTo>
                        <a:pt x="136" y="1005"/>
                      </a:moveTo>
                      <a:cubicBezTo>
                        <a:pt x="96" y="1005"/>
                        <a:pt x="64" y="972"/>
                        <a:pt x="64" y="933"/>
                      </a:cubicBezTo>
                      <a:cubicBezTo>
                        <a:pt x="64" y="309"/>
                        <a:pt x="64" y="309"/>
                        <a:pt x="64" y="309"/>
                      </a:cubicBezTo>
                      <a:cubicBezTo>
                        <a:pt x="250" y="309"/>
                        <a:pt x="250" y="309"/>
                        <a:pt x="250" y="309"/>
                      </a:cubicBezTo>
                      <a:cubicBezTo>
                        <a:pt x="250" y="309"/>
                        <a:pt x="291" y="308"/>
                        <a:pt x="311" y="296"/>
                      </a:cubicBezTo>
                      <a:cubicBezTo>
                        <a:pt x="337" y="279"/>
                        <a:pt x="335" y="240"/>
                        <a:pt x="335" y="240"/>
                      </a:cubicBezTo>
                      <a:cubicBezTo>
                        <a:pt x="335" y="67"/>
                        <a:pt x="335" y="67"/>
                        <a:pt x="335" y="67"/>
                      </a:cubicBezTo>
                      <a:cubicBezTo>
                        <a:pt x="796" y="67"/>
                        <a:pt x="796" y="67"/>
                        <a:pt x="796" y="67"/>
                      </a:cubicBezTo>
                      <a:cubicBezTo>
                        <a:pt x="836" y="67"/>
                        <a:pt x="868" y="99"/>
                        <a:pt x="868" y="138"/>
                      </a:cubicBezTo>
                      <a:cubicBezTo>
                        <a:pt x="868" y="1005"/>
                        <a:pt x="868" y="1005"/>
                        <a:pt x="868" y="1005"/>
                      </a:cubicBezTo>
                      <a:lnTo>
                        <a:pt x="136" y="10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6"/>
                <p:cNvSpPr>
                  <a:spLocks noEditPoints="1"/>
                </p:cNvSpPr>
                <p:nvPr/>
              </p:nvSpPr>
              <p:spPr bwMode="auto">
                <a:xfrm>
                  <a:off x="3579" y="2357"/>
                  <a:ext cx="276" cy="276"/>
                </a:xfrm>
                <a:custGeom>
                  <a:avLst/>
                  <a:gdLst>
                    <a:gd name="T0" fmla="*/ 365 w 417"/>
                    <a:gd name="T1" fmla="*/ 272 h 417"/>
                    <a:gd name="T2" fmla="*/ 414 w 417"/>
                    <a:gd name="T3" fmla="*/ 235 h 417"/>
                    <a:gd name="T4" fmla="*/ 414 w 417"/>
                    <a:gd name="T5" fmla="*/ 181 h 417"/>
                    <a:gd name="T6" fmla="*/ 365 w 417"/>
                    <a:gd name="T7" fmla="*/ 144 h 417"/>
                    <a:gd name="T8" fmla="*/ 374 w 417"/>
                    <a:gd name="T9" fmla="*/ 83 h 417"/>
                    <a:gd name="T10" fmla="*/ 335 w 417"/>
                    <a:gd name="T11" fmla="*/ 44 h 417"/>
                    <a:gd name="T12" fmla="*/ 275 w 417"/>
                    <a:gd name="T13" fmla="*/ 52 h 417"/>
                    <a:gd name="T14" fmla="*/ 238 w 417"/>
                    <a:gd name="T15" fmla="*/ 3 h 417"/>
                    <a:gd name="T16" fmla="*/ 178 w 417"/>
                    <a:gd name="T17" fmla="*/ 3 h 417"/>
                    <a:gd name="T18" fmla="*/ 142 w 417"/>
                    <a:gd name="T19" fmla="*/ 52 h 417"/>
                    <a:gd name="T20" fmla="*/ 81 w 417"/>
                    <a:gd name="T21" fmla="*/ 44 h 417"/>
                    <a:gd name="T22" fmla="*/ 42 w 417"/>
                    <a:gd name="T23" fmla="*/ 83 h 417"/>
                    <a:gd name="T24" fmla="*/ 52 w 417"/>
                    <a:gd name="T25" fmla="*/ 144 h 417"/>
                    <a:gd name="T26" fmla="*/ 2 w 417"/>
                    <a:gd name="T27" fmla="*/ 181 h 417"/>
                    <a:gd name="T28" fmla="*/ 2 w 417"/>
                    <a:gd name="T29" fmla="*/ 235 h 417"/>
                    <a:gd name="T30" fmla="*/ 52 w 417"/>
                    <a:gd name="T31" fmla="*/ 272 h 417"/>
                    <a:gd name="T32" fmla="*/ 42 w 417"/>
                    <a:gd name="T33" fmla="*/ 333 h 417"/>
                    <a:gd name="T34" fmla="*/ 81 w 417"/>
                    <a:gd name="T35" fmla="*/ 372 h 417"/>
                    <a:gd name="T36" fmla="*/ 142 w 417"/>
                    <a:gd name="T37" fmla="*/ 364 h 417"/>
                    <a:gd name="T38" fmla="*/ 178 w 417"/>
                    <a:gd name="T39" fmla="*/ 414 h 417"/>
                    <a:gd name="T40" fmla="*/ 238 w 417"/>
                    <a:gd name="T41" fmla="*/ 414 h 417"/>
                    <a:gd name="T42" fmla="*/ 275 w 417"/>
                    <a:gd name="T43" fmla="*/ 364 h 417"/>
                    <a:gd name="T44" fmla="*/ 335 w 417"/>
                    <a:gd name="T45" fmla="*/ 372 h 417"/>
                    <a:gd name="T46" fmla="*/ 374 w 417"/>
                    <a:gd name="T47" fmla="*/ 333 h 417"/>
                    <a:gd name="T48" fmla="*/ 365 w 417"/>
                    <a:gd name="T49" fmla="*/ 272 h 417"/>
                    <a:gd name="T50" fmla="*/ 159 w 417"/>
                    <a:gd name="T51" fmla="*/ 324 h 417"/>
                    <a:gd name="T52" fmla="*/ 92 w 417"/>
                    <a:gd name="T53" fmla="*/ 159 h 417"/>
                    <a:gd name="T54" fmla="*/ 258 w 417"/>
                    <a:gd name="T55" fmla="*/ 92 h 417"/>
                    <a:gd name="T56" fmla="*/ 324 w 417"/>
                    <a:gd name="T57" fmla="*/ 257 h 417"/>
                    <a:gd name="T58" fmla="*/ 159 w 417"/>
                    <a:gd name="T59" fmla="*/ 324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17" h="417">
                      <a:moveTo>
                        <a:pt x="365" y="272"/>
                      </a:moveTo>
                      <a:cubicBezTo>
                        <a:pt x="374" y="251"/>
                        <a:pt x="393" y="238"/>
                        <a:pt x="414" y="235"/>
                      </a:cubicBezTo>
                      <a:cubicBezTo>
                        <a:pt x="417" y="217"/>
                        <a:pt x="417" y="199"/>
                        <a:pt x="414" y="181"/>
                      </a:cubicBezTo>
                      <a:cubicBezTo>
                        <a:pt x="393" y="179"/>
                        <a:pt x="374" y="165"/>
                        <a:pt x="365" y="144"/>
                      </a:cubicBezTo>
                      <a:cubicBezTo>
                        <a:pt x="357" y="123"/>
                        <a:pt x="361" y="100"/>
                        <a:pt x="374" y="83"/>
                      </a:cubicBezTo>
                      <a:cubicBezTo>
                        <a:pt x="363" y="69"/>
                        <a:pt x="350" y="55"/>
                        <a:pt x="335" y="44"/>
                      </a:cubicBezTo>
                      <a:cubicBezTo>
                        <a:pt x="319" y="57"/>
                        <a:pt x="296" y="61"/>
                        <a:pt x="275" y="52"/>
                      </a:cubicBezTo>
                      <a:cubicBezTo>
                        <a:pt x="254" y="43"/>
                        <a:pt x="240" y="24"/>
                        <a:pt x="238" y="3"/>
                      </a:cubicBezTo>
                      <a:cubicBezTo>
                        <a:pt x="218" y="0"/>
                        <a:pt x="198" y="0"/>
                        <a:pt x="178" y="3"/>
                      </a:cubicBezTo>
                      <a:cubicBezTo>
                        <a:pt x="176" y="24"/>
                        <a:pt x="163" y="43"/>
                        <a:pt x="142" y="52"/>
                      </a:cubicBezTo>
                      <a:cubicBezTo>
                        <a:pt x="121" y="61"/>
                        <a:pt x="98" y="57"/>
                        <a:pt x="81" y="44"/>
                      </a:cubicBezTo>
                      <a:cubicBezTo>
                        <a:pt x="67" y="55"/>
                        <a:pt x="54" y="68"/>
                        <a:pt x="42" y="83"/>
                      </a:cubicBezTo>
                      <a:cubicBezTo>
                        <a:pt x="56" y="100"/>
                        <a:pt x="60" y="123"/>
                        <a:pt x="52" y="144"/>
                      </a:cubicBezTo>
                      <a:cubicBezTo>
                        <a:pt x="43" y="165"/>
                        <a:pt x="24" y="178"/>
                        <a:pt x="2" y="181"/>
                      </a:cubicBezTo>
                      <a:cubicBezTo>
                        <a:pt x="0" y="199"/>
                        <a:pt x="0" y="217"/>
                        <a:pt x="2" y="235"/>
                      </a:cubicBezTo>
                      <a:cubicBezTo>
                        <a:pt x="24" y="238"/>
                        <a:pt x="43" y="251"/>
                        <a:pt x="52" y="272"/>
                      </a:cubicBezTo>
                      <a:cubicBezTo>
                        <a:pt x="60" y="293"/>
                        <a:pt x="56" y="316"/>
                        <a:pt x="42" y="333"/>
                      </a:cubicBezTo>
                      <a:cubicBezTo>
                        <a:pt x="53" y="348"/>
                        <a:pt x="66" y="361"/>
                        <a:pt x="81" y="372"/>
                      </a:cubicBezTo>
                      <a:cubicBezTo>
                        <a:pt x="98" y="359"/>
                        <a:pt x="121" y="355"/>
                        <a:pt x="142" y="364"/>
                      </a:cubicBezTo>
                      <a:cubicBezTo>
                        <a:pt x="163" y="373"/>
                        <a:pt x="176" y="392"/>
                        <a:pt x="178" y="414"/>
                      </a:cubicBezTo>
                      <a:cubicBezTo>
                        <a:pt x="199" y="417"/>
                        <a:pt x="219" y="416"/>
                        <a:pt x="238" y="414"/>
                      </a:cubicBezTo>
                      <a:cubicBezTo>
                        <a:pt x="240" y="392"/>
                        <a:pt x="254" y="373"/>
                        <a:pt x="275" y="364"/>
                      </a:cubicBezTo>
                      <a:cubicBezTo>
                        <a:pt x="296" y="355"/>
                        <a:pt x="319" y="359"/>
                        <a:pt x="335" y="372"/>
                      </a:cubicBezTo>
                      <a:cubicBezTo>
                        <a:pt x="350" y="361"/>
                        <a:pt x="363" y="348"/>
                        <a:pt x="374" y="333"/>
                      </a:cubicBezTo>
                      <a:cubicBezTo>
                        <a:pt x="361" y="316"/>
                        <a:pt x="356" y="293"/>
                        <a:pt x="365" y="272"/>
                      </a:cubicBezTo>
                      <a:close/>
                      <a:moveTo>
                        <a:pt x="159" y="324"/>
                      </a:moveTo>
                      <a:cubicBezTo>
                        <a:pt x="95" y="297"/>
                        <a:pt x="65" y="223"/>
                        <a:pt x="92" y="159"/>
                      </a:cubicBezTo>
                      <a:cubicBezTo>
                        <a:pt x="120" y="95"/>
                        <a:pt x="194" y="65"/>
                        <a:pt x="258" y="92"/>
                      </a:cubicBezTo>
                      <a:cubicBezTo>
                        <a:pt x="322" y="119"/>
                        <a:pt x="351" y="193"/>
                        <a:pt x="324" y="257"/>
                      </a:cubicBezTo>
                      <a:cubicBezTo>
                        <a:pt x="297" y="321"/>
                        <a:pt x="223" y="351"/>
                        <a:pt x="15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7"/>
                <p:cNvSpPr>
                  <a:spLocks noEditPoints="1"/>
                </p:cNvSpPr>
                <p:nvPr/>
              </p:nvSpPr>
              <p:spPr bwMode="auto">
                <a:xfrm>
                  <a:off x="3652" y="2430"/>
                  <a:ext cx="129" cy="130"/>
                </a:xfrm>
                <a:custGeom>
                  <a:avLst/>
                  <a:gdLst>
                    <a:gd name="T0" fmla="*/ 132 w 196"/>
                    <a:gd name="T1" fmla="*/ 19 h 196"/>
                    <a:gd name="T2" fmla="*/ 19 w 196"/>
                    <a:gd name="T3" fmla="*/ 64 h 196"/>
                    <a:gd name="T4" fmla="*/ 65 w 196"/>
                    <a:gd name="T5" fmla="*/ 177 h 196"/>
                    <a:gd name="T6" fmla="*/ 178 w 196"/>
                    <a:gd name="T7" fmla="*/ 132 h 196"/>
                    <a:gd name="T8" fmla="*/ 132 w 196"/>
                    <a:gd name="T9" fmla="*/ 19 h 196"/>
                    <a:gd name="T10" fmla="*/ 81 w 196"/>
                    <a:gd name="T11" fmla="*/ 139 h 196"/>
                    <a:gd name="T12" fmla="*/ 58 w 196"/>
                    <a:gd name="T13" fmla="*/ 81 h 196"/>
                    <a:gd name="T14" fmla="*/ 116 w 196"/>
                    <a:gd name="T15" fmla="*/ 57 h 196"/>
                    <a:gd name="T16" fmla="*/ 139 w 196"/>
                    <a:gd name="T17" fmla="*/ 115 h 196"/>
                    <a:gd name="T18" fmla="*/ 81 w 196"/>
                    <a:gd name="T19" fmla="*/ 13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96">
                      <a:moveTo>
                        <a:pt x="132" y="19"/>
                      </a:moveTo>
                      <a:cubicBezTo>
                        <a:pt x="88" y="0"/>
                        <a:pt x="38" y="21"/>
                        <a:pt x="19" y="64"/>
                      </a:cubicBezTo>
                      <a:cubicBezTo>
                        <a:pt x="0" y="108"/>
                        <a:pt x="21" y="159"/>
                        <a:pt x="65" y="177"/>
                      </a:cubicBezTo>
                      <a:cubicBezTo>
                        <a:pt x="108" y="196"/>
                        <a:pt x="159" y="176"/>
                        <a:pt x="178" y="132"/>
                      </a:cubicBezTo>
                      <a:cubicBezTo>
                        <a:pt x="196" y="88"/>
                        <a:pt x="176" y="37"/>
                        <a:pt x="132" y="19"/>
                      </a:cubicBezTo>
                      <a:close/>
                      <a:moveTo>
                        <a:pt x="81" y="139"/>
                      </a:moveTo>
                      <a:cubicBezTo>
                        <a:pt x="58" y="129"/>
                        <a:pt x="48" y="103"/>
                        <a:pt x="58" y="81"/>
                      </a:cubicBezTo>
                      <a:cubicBezTo>
                        <a:pt x="67" y="58"/>
                        <a:pt x="93" y="48"/>
                        <a:pt x="116" y="57"/>
                      </a:cubicBezTo>
                      <a:cubicBezTo>
                        <a:pt x="138" y="67"/>
                        <a:pt x="149" y="93"/>
                        <a:pt x="139" y="115"/>
                      </a:cubicBezTo>
                      <a:cubicBezTo>
                        <a:pt x="130" y="138"/>
                        <a:pt x="104" y="148"/>
                        <a:pt x="81"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8"/>
                <p:cNvSpPr>
                  <a:spLocks noEditPoints="1"/>
                </p:cNvSpPr>
                <p:nvPr/>
              </p:nvSpPr>
              <p:spPr bwMode="auto">
                <a:xfrm>
                  <a:off x="3418" y="2284"/>
                  <a:ext cx="181" cy="181"/>
                </a:xfrm>
                <a:custGeom>
                  <a:avLst/>
                  <a:gdLst>
                    <a:gd name="T0" fmla="*/ 239 w 273"/>
                    <a:gd name="T1" fmla="*/ 179 h 274"/>
                    <a:gd name="T2" fmla="*/ 271 w 273"/>
                    <a:gd name="T3" fmla="*/ 155 h 274"/>
                    <a:gd name="T4" fmla="*/ 271 w 273"/>
                    <a:gd name="T5" fmla="*/ 119 h 274"/>
                    <a:gd name="T6" fmla="*/ 239 w 273"/>
                    <a:gd name="T7" fmla="*/ 95 h 274"/>
                    <a:gd name="T8" fmla="*/ 245 w 273"/>
                    <a:gd name="T9" fmla="*/ 55 h 274"/>
                    <a:gd name="T10" fmla="*/ 220 w 273"/>
                    <a:gd name="T11" fmla="*/ 29 h 274"/>
                    <a:gd name="T12" fmla="*/ 180 w 273"/>
                    <a:gd name="T13" fmla="*/ 35 h 274"/>
                    <a:gd name="T14" fmla="*/ 156 w 273"/>
                    <a:gd name="T15" fmla="*/ 2 h 274"/>
                    <a:gd name="T16" fmla="*/ 117 w 273"/>
                    <a:gd name="T17" fmla="*/ 2 h 274"/>
                    <a:gd name="T18" fmla="*/ 93 w 273"/>
                    <a:gd name="T19" fmla="*/ 35 h 274"/>
                    <a:gd name="T20" fmla="*/ 53 w 273"/>
                    <a:gd name="T21" fmla="*/ 29 h 274"/>
                    <a:gd name="T22" fmla="*/ 28 w 273"/>
                    <a:gd name="T23" fmla="*/ 55 h 274"/>
                    <a:gd name="T24" fmla="*/ 34 w 273"/>
                    <a:gd name="T25" fmla="*/ 95 h 274"/>
                    <a:gd name="T26" fmla="*/ 1 w 273"/>
                    <a:gd name="T27" fmla="*/ 119 h 274"/>
                    <a:gd name="T28" fmla="*/ 1 w 273"/>
                    <a:gd name="T29" fmla="*/ 155 h 274"/>
                    <a:gd name="T30" fmla="*/ 34 w 273"/>
                    <a:gd name="T31" fmla="*/ 179 h 274"/>
                    <a:gd name="T32" fmla="*/ 28 w 273"/>
                    <a:gd name="T33" fmla="*/ 219 h 274"/>
                    <a:gd name="T34" fmla="*/ 53 w 273"/>
                    <a:gd name="T35" fmla="*/ 245 h 274"/>
                    <a:gd name="T36" fmla="*/ 93 w 273"/>
                    <a:gd name="T37" fmla="*/ 239 h 274"/>
                    <a:gd name="T38" fmla="*/ 117 w 273"/>
                    <a:gd name="T39" fmla="*/ 272 h 274"/>
                    <a:gd name="T40" fmla="*/ 156 w 273"/>
                    <a:gd name="T41" fmla="*/ 272 h 274"/>
                    <a:gd name="T42" fmla="*/ 180 w 273"/>
                    <a:gd name="T43" fmla="*/ 239 h 274"/>
                    <a:gd name="T44" fmla="*/ 220 w 273"/>
                    <a:gd name="T45" fmla="*/ 245 h 274"/>
                    <a:gd name="T46" fmla="*/ 245 w 273"/>
                    <a:gd name="T47" fmla="*/ 219 h 274"/>
                    <a:gd name="T48" fmla="*/ 239 w 273"/>
                    <a:gd name="T49" fmla="*/ 179 h 274"/>
                    <a:gd name="T50" fmla="*/ 104 w 273"/>
                    <a:gd name="T51" fmla="*/ 213 h 274"/>
                    <a:gd name="T52" fmla="*/ 60 w 273"/>
                    <a:gd name="T53" fmla="*/ 105 h 274"/>
                    <a:gd name="T54" fmla="*/ 169 w 273"/>
                    <a:gd name="T55" fmla="*/ 61 h 274"/>
                    <a:gd name="T56" fmla="*/ 212 w 273"/>
                    <a:gd name="T57" fmla="*/ 169 h 274"/>
                    <a:gd name="T58" fmla="*/ 104 w 273"/>
                    <a:gd name="T59" fmla="*/ 21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3" h="274">
                      <a:moveTo>
                        <a:pt x="239" y="179"/>
                      </a:moveTo>
                      <a:cubicBezTo>
                        <a:pt x="245" y="165"/>
                        <a:pt x="258" y="156"/>
                        <a:pt x="271" y="155"/>
                      </a:cubicBezTo>
                      <a:cubicBezTo>
                        <a:pt x="273" y="143"/>
                        <a:pt x="273" y="131"/>
                        <a:pt x="271" y="119"/>
                      </a:cubicBezTo>
                      <a:cubicBezTo>
                        <a:pt x="258" y="117"/>
                        <a:pt x="245" y="109"/>
                        <a:pt x="239" y="95"/>
                      </a:cubicBezTo>
                      <a:cubicBezTo>
                        <a:pt x="234" y="81"/>
                        <a:pt x="236" y="66"/>
                        <a:pt x="245" y="55"/>
                      </a:cubicBezTo>
                      <a:cubicBezTo>
                        <a:pt x="238" y="45"/>
                        <a:pt x="230" y="37"/>
                        <a:pt x="220" y="29"/>
                      </a:cubicBezTo>
                      <a:cubicBezTo>
                        <a:pt x="209" y="38"/>
                        <a:pt x="194" y="40"/>
                        <a:pt x="180" y="35"/>
                      </a:cubicBezTo>
                      <a:cubicBezTo>
                        <a:pt x="166" y="29"/>
                        <a:pt x="157" y="16"/>
                        <a:pt x="156" y="2"/>
                      </a:cubicBezTo>
                      <a:cubicBezTo>
                        <a:pt x="143" y="0"/>
                        <a:pt x="130" y="0"/>
                        <a:pt x="117" y="2"/>
                      </a:cubicBezTo>
                      <a:cubicBezTo>
                        <a:pt x="115" y="16"/>
                        <a:pt x="107" y="29"/>
                        <a:pt x="93" y="35"/>
                      </a:cubicBezTo>
                      <a:cubicBezTo>
                        <a:pt x="79" y="40"/>
                        <a:pt x="64" y="38"/>
                        <a:pt x="53" y="29"/>
                      </a:cubicBezTo>
                      <a:cubicBezTo>
                        <a:pt x="44" y="36"/>
                        <a:pt x="35" y="45"/>
                        <a:pt x="28" y="55"/>
                      </a:cubicBezTo>
                      <a:cubicBezTo>
                        <a:pt x="36" y="66"/>
                        <a:pt x="39" y="81"/>
                        <a:pt x="34" y="95"/>
                      </a:cubicBezTo>
                      <a:cubicBezTo>
                        <a:pt x="28" y="109"/>
                        <a:pt x="15" y="117"/>
                        <a:pt x="1" y="119"/>
                      </a:cubicBezTo>
                      <a:cubicBezTo>
                        <a:pt x="0" y="131"/>
                        <a:pt x="0" y="143"/>
                        <a:pt x="1" y="155"/>
                      </a:cubicBezTo>
                      <a:cubicBezTo>
                        <a:pt x="15" y="156"/>
                        <a:pt x="28" y="165"/>
                        <a:pt x="34" y="179"/>
                      </a:cubicBezTo>
                      <a:cubicBezTo>
                        <a:pt x="39" y="193"/>
                        <a:pt x="36" y="208"/>
                        <a:pt x="28" y="219"/>
                      </a:cubicBezTo>
                      <a:cubicBezTo>
                        <a:pt x="35" y="228"/>
                        <a:pt x="43" y="237"/>
                        <a:pt x="53" y="245"/>
                      </a:cubicBezTo>
                      <a:cubicBezTo>
                        <a:pt x="64" y="236"/>
                        <a:pt x="79" y="233"/>
                        <a:pt x="93" y="239"/>
                      </a:cubicBezTo>
                      <a:cubicBezTo>
                        <a:pt x="107" y="245"/>
                        <a:pt x="115" y="258"/>
                        <a:pt x="117" y="272"/>
                      </a:cubicBezTo>
                      <a:cubicBezTo>
                        <a:pt x="130" y="274"/>
                        <a:pt x="143" y="274"/>
                        <a:pt x="156" y="272"/>
                      </a:cubicBezTo>
                      <a:cubicBezTo>
                        <a:pt x="158" y="258"/>
                        <a:pt x="166" y="245"/>
                        <a:pt x="180" y="239"/>
                      </a:cubicBezTo>
                      <a:cubicBezTo>
                        <a:pt x="194" y="233"/>
                        <a:pt x="209" y="236"/>
                        <a:pt x="220" y="245"/>
                      </a:cubicBezTo>
                      <a:cubicBezTo>
                        <a:pt x="229" y="237"/>
                        <a:pt x="238" y="229"/>
                        <a:pt x="245" y="219"/>
                      </a:cubicBezTo>
                      <a:cubicBezTo>
                        <a:pt x="236" y="208"/>
                        <a:pt x="234" y="193"/>
                        <a:pt x="239" y="179"/>
                      </a:cubicBezTo>
                      <a:close/>
                      <a:moveTo>
                        <a:pt x="104" y="213"/>
                      </a:moveTo>
                      <a:cubicBezTo>
                        <a:pt x="62" y="195"/>
                        <a:pt x="43" y="147"/>
                        <a:pt x="60" y="105"/>
                      </a:cubicBezTo>
                      <a:cubicBezTo>
                        <a:pt x="78" y="63"/>
                        <a:pt x="127" y="43"/>
                        <a:pt x="169" y="61"/>
                      </a:cubicBezTo>
                      <a:cubicBezTo>
                        <a:pt x="211" y="79"/>
                        <a:pt x="230" y="127"/>
                        <a:pt x="212" y="169"/>
                      </a:cubicBezTo>
                      <a:cubicBezTo>
                        <a:pt x="195" y="211"/>
                        <a:pt x="146" y="231"/>
                        <a:pt x="104"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9"/>
                <p:cNvSpPr>
                  <a:spLocks noEditPoints="1"/>
                </p:cNvSpPr>
                <p:nvPr/>
              </p:nvSpPr>
              <p:spPr bwMode="auto">
                <a:xfrm>
                  <a:off x="3466" y="2332"/>
                  <a:ext cx="86" cy="85"/>
                </a:xfrm>
                <a:custGeom>
                  <a:avLst/>
                  <a:gdLst>
                    <a:gd name="T0" fmla="*/ 87 w 129"/>
                    <a:gd name="T1" fmla="*/ 12 h 128"/>
                    <a:gd name="T2" fmla="*/ 12 w 129"/>
                    <a:gd name="T3" fmla="*/ 42 h 128"/>
                    <a:gd name="T4" fmla="*/ 42 w 129"/>
                    <a:gd name="T5" fmla="*/ 116 h 128"/>
                    <a:gd name="T6" fmla="*/ 117 w 129"/>
                    <a:gd name="T7" fmla="*/ 86 h 128"/>
                    <a:gd name="T8" fmla="*/ 87 w 129"/>
                    <a:gd name="T9" fmla="*/ 12 h 128"/>
                    <a:gd name="T10" fmla="*/ 53 w 129"/>
                    <a:gd name="T11" fmla="*/ 91 h 128"/>
                    <a:gd name="T12" fmla="*/ 38 w 129"/>
                    <a:gd name="T13" fmla="*/ 52 h 128"/>
                    <a:gd name="T14" fmla="*/ 76 w 129"/>
                    <a:gd name="T15" fmla="*/ 37 h 128"/>
                    <a:gd name="T16" fmla="*/ 91 w 129"/>
                    <a:gd name="T17" fmla="*/ 75 h 128"/>
                    <a:gd name="T18" fmla="*/ 53 w 129"/>
                    <a:gd name="T19" fmla="*/ 9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28">
                      <a:moveTo>
                        <a:pt x="87" y="12"/>
                      </a:moveTo>
                      <a:cubicBezTo>
                        <a:pt x="58" y="0"/>
                        <a:pt x="25" y="13"/>
                        <a:pt x="12" y="42"/>
                      </a:cubicBezTo>
                      <a:cubicBezTo>
                        <a:pt x="0" y="70"/>
                        <a:pt x="14" y="104"/>
                        <a:pt x="42" y="116"/>
                      </a:cubicBezTo>
                      <a:cubicBezTo>
                        <a:pt x="71" y="128"/>
                        <a:pt x="104" y="115"/>
                        <a:pt x="117" y="86"/>
                      </a:cubicBezTo>
                      <a:cubicBezTo>
                        <a:pt x="129" y="57"/>
                        <a:pt x="115" y="24"/>
                        <a:pt x="87" y="12"/>
                      </a:cubicBezTo>
                      <a:close/>
                      <a:moveTo>
                        <a:pt x="53" y="91"/>
                      </a:moveTo>
                      <a:cubicBezTo>
                        <a:pt x="38" y="84"/>
                        <a:pt x="31" y="67"/>
                        <a:pt x="38" y="52"/>
                      </a:cubicBezTo>
                      <a:cubicBezTo>
                        <a:pt x="44" y="38"/>
                        <a:pt x="61" y="31"/>
                        <a:pt x="76" y="37"/>
                      </a:cubicBezTo>
                      <a:cubicBezTo>
                        <a:pt x="91" y="43"/>
                        <a:pt x="98" y="60"/>
                        <a:pt x="91" y="75"/>
                      </a:cubicBezTo>
                      <a:cubicBezTo>
                        <a:pt x="85" y="90"/>
                        <a:pt x="68" y="97"/>
                        <a:pt x="53"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10"/>
              <p:cNvGrpSpPr/>
              <p:nvPr/>
            </p:nvGrpSpPr>
            <p:grpSpPr>
              <a:xfrm>
                <a:off x="5807105" y="3377070"/>
                <a:ext cx="1258134" cy="565248"/>
                <a:chOff x="5807105" y="3417795"/>
                <a:chExt cx="1258134" cy="565248"/>
              </a:xfrm>
            </p:grpSpPr>
            <p:sp>
              <p:nvSpPr>
                <p:cNvPr id="53" name="Freeform 512"/>
                <p:cNvSpPr>
                  <a:spLocks noEditPoints="1"/>
                </p:cNvSpPr>
                <p:nvPr/>
              </p:nvSpPr>
              <p:spPr bwMode="auto">
                <a:xfrm>
                  <a:off x="5807105" y="3417795"/>
                  <a:ext cx="1258134" cy="565248"/>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solidFill>
                  <a:schemeClr val="tx1"/>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54" name="Freeform 513"/>
                <p:cNvSpPr>
                  <a:spLocks/>
                </p:cNvSpPr>
                <p:nvPr/>
              </p:nvSpPr>
              <p:spPr bwMode="auto">
                <a:xfrm>
                  <a:off x="5892672" y="3700419"/>
                  <a:ext cx="563846" cy="159897"/>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solidFill>
                  <a:schemeClr val="tx1"/>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cxnSp>
          <p:nvCxnSpPr>
            <p:cNvPr id="56" name="Straight Arrow Connector 55"/>
            <p:cNvCxnSpPr/>
            <p:nvPr/>
          </p:nvCxnSpPr>
          <p:spPr>
            <a:xfrm>
              <a:off x="5549800" y="3268543"/>
              <a:ext cx="583877" cy="0"/>
            </a:xfrm>
            <a:prstGeom prst="straightConnector1">
              <a:avLst/>
            </a:prstGeom>
            <a:ln w="22225">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bwMode="auto">
            <a:xfrm>
              <a:off x="6238875" y="2415828"/>
              <a:ext cx="1428750" cy="1366422"/>
            </a:xfrm>
            <a:prstGeom prst="rect">
              <a:avLst/>
            </a:prstGeom>
            <a:noFill/>
            <a:ln w="15875">
              <a:solidFill>
                <a:srgbClr val="442359"/>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nvGrpSpPr>
          <p:cNvPr id="61" name="Group 60"/>
          <p:cNvGrpSpPr/>
          <p:nvPr/>
        </p:nvGrpSpPr>
        <p:grpSpPr>
          <a:xfrm>
            <a:off x="8756177" y="1993106"/>
            <a:ext cx="2438821" cy="2180822"/>
            <a:chOff x="8943554" y="2439762"/>
            <a:chExt cx="2189616" cy="1957979"/>
          </a:xfrm>
        </p:grpSpPr>
        <p:grpSp>
          <p:nvGrpSpPr>
            <p:cNvPr id="62" name="Group 29"/>
            <p:cNvGrpSpPr>
              <a:grpSpLocks noChangeAspect="1"/>
            </p:cNvGrpSpPr>
            <p:nvPr/>
          </p:nvGrpSpPr>
          <p:grpSpPr bwMode="auto">
            <a:xfrm>
              <a:off x="8943554" y="2439762"/>
              <a:ext cx="1205372" cy="1570264"/>
              <a:chOff x="5121" y="2489"/>
              <a:chExt cx="882" cy="1149"/>
            </a:xfrm>
          </p:grpSpPr>
          <p:sp>
            <p:nvSpPr>
              <p:cNvPr id="63"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0" name="Group 69"/>
            <p:cNvGrpSpPr/>
            <p:nvPr/>
          </p:nvGrpSpPr>
          <p:grpSpPr>
            <a:xfrm>
              <a:off x="10032340" y="2450705"/>
              <a:ext cx="1100830" cy="1520495"/>
              <a:chOff x="11050071" y="1882065"/>
              <a:chExt cx="713562" cy="985589"/>
            </a:xfrm>
          </p:grpSpPr>
          <p:sp>
            <p:nvSpPr>
              <p:cNvPr id="71" name="Freeform 24"/>
              <p:cNvSpPr>
                <a:spLocks noEditPoints="1"/>
              </p:cNvSpPr>
              <p:nvPr/>
            </p:nvSpPr>
            <p:spPr bwMode="auto">
              <a:xfrm>
                <a:off x="11263458" y="1882065"/>
                <a:ext cx="500175" cy="985589"/>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540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 name="Freeform 25"/>
              <p:cNvSpPr>
                <a:spLocks noEditPoints="1"/>
              </p:cNvSpPr>
              <p:nvPr/>
            </p:nvSpPr>
            <p:spPr bwMode="auto">
              <a:xfrm>
                <a:off x="11063097" y="2048969"/>
                <a:ext cx="619142" cy="528832"/>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6"/>
              <p:cNvSpPr>
                <a:spLocks noEditPoints="1"/>
              </p:cNvSpPr>
              <p:nvPr/>
            </p:nvSpPr>
            <p:spPr bwMode="auto">
              <a:xfrm>
                <a:off x="11050071" y="2028997"/>
                <a:ext cx="632167" cy="548803"/>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9" name="TextBox 58"/>
            <p:cNvSpPr txBox="1"/>
            <p:nvPr/>
          </p:nvSpPr>
          <p:spPr>
            <a:xfrm>
              <a:off x="9546240" y="4064759"/>
              <a:ext cx="293598" cy="198955"/>
            </a:xfrm>
            <a:prstGeom prst="rect">
              <a:avLst/>
            </a:prstGeom>
            <a:noFill/>
          </p:spPr>
          <p:txBody>
            <a:bodyPr wrap="none" lIns="0" tIns="0" rIns="0" bIns="0" rtlCol="0">
              <a:spAutoFit/>
            </a:bodyPr>
            <a:lstStyle/>
            <a:p>
              <a:pPr>
                <a:lnSpc>
                  <a:spcPct val="90000"/>
                </a:lnSpc>
              </a:pPr>
              <a:r>
                <a:rPr lang="en-GB" sz="1600" cap="all" dirty="0" smtClean="0"/>
                <a:t>VDI</a:t>
              </a:r>
            </a:p>
          </p:txBody>
        </p:sp>
        <p:sp>
          <p:nvSpPr>
            <p:cNvPr id="60" name="TextBox 59"/>
            <p:cNvSpPr txBox="1"/>
            <p:nvPr/>
          </p:nvSpPr>
          <p:spPr>
            <a:xfrm>
              <a:off x="10418507" y="3999830"/>
              <a:ext cx="656277" cy="397911"/>
            </a:xfrm>
            <a:prstGeom prst="rect">
              <a:avLst/>
            </a:prstGeom>
            <a:noFill/>
          </p:spPr>
          <p:txBody>
            <a:bodyPr wrap="none" lIns="0" tIns="0" rIns="0" bIns="0" rtlCol="0">
              <a:spAutoFit/>
            </a:bodyPr>
            <a:lstStyle/>
            <a:p>
              <a:pPr algn="ctr">
                <a:lnSpc>
                  <a:spcPct val="90000"/>
                </a:lnSpc>
              </a:pPr>
              <a:r>
                <a:rPr lang="en-GB" sz="1600" dirty="0" smtClean="0"/>
                <a:t>Session </a:t>
              </a:r>
            </a:p>
            <a:p>
              <a:pPr algn="ctr">
                <a:lnSpc>
                  <a:spcPct val="90000"/>
                </a:lnSpc>
              </a:pPr>
              <a:r>
                <a:rPr lang="en-GB" sz="1600" dirty="0" smtClean="0"/>
                <a:t>Host</a:t>
              </a:r>
            </a:p>
          </p:txBody>
        </p:sp>
      </p:grpSp>
      <p:grpSp>
        <p:nvGrpSpPr>
          <p:cNvPr id="74" name="Group 73"/>
          <p:cNvGrpSpPr/>
          <p:nvPr/>
        </p:nvGrpSpPr>
        <p:grpSpPr>
          <a:xfrm>
            <a:off x="1256196" y="2043905"/>
            <a:ext cx="1341062" cy="1814191"/>
            <a:chOff x="11015106" y="2383179"/>
            <a:chExt cx="877602" cy="1187221"/>
          </a:xfrm>
        </p:grpSpPr>
        <p:sp>
          <p:nvSpPr>
            <p:cNvPr id="75" name="Freeform 24"/>
            <p:cNvSpPr>
              <a:spLocks noEditPoints="1"/>
            </p:cNvSpPr>
            <p:nvPr/>
          </p:nvSpPr>
          <p:spPr bwMode="auto">
            <a:xfrm>
              <a:off x="11290207" y="2383179"/>
              <a:ext cx="602501" cy="1187221"/>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25"/>
            <p:cNvSpPr>
              <a:spLocks noEditPoints="1"/>
            </p:cNvSpPr>
            <p:nvPr/>
          </p:nvSpPr>
          <p:spPr bwMode="auto">
            <a:xfrm>
              <a:off x="11015106" y="2613301"/>
              <a:ext cx="745805" cy="637020"/>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26"/>
            <p:cNvSpPr>
              <a:spLocks noEditPoints="1"/>
            </p:cNvSpPr>
            <p:nvPr/>
          </p:nvSpPr>
          <p:spPr bwMode="auto">
            <a:xfrm>
              <a:off x="11076821" y="2602841"/>
              <a:ext cx="761495" cy="661078"/>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08974191"/>
      </p:ext>
    </p:extLst>
  </p:cSld>
  <p:clrMapOvr>
    <a:masterClrMapping/>
  </p:clrMapOvr>
  <p:transition spd="slow">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 name="Oval 152"/>
          <p:cNvSpPr/>
          <p:nvPr/>
        </p:nvSpPr>
        <p:spPr bwMode="auto">
          <a:xfrm>
            <a:off x="5632680" y="1621797"/>
            <a:ext cx="1329807" cy="1850050"/>
          </a:xfrm>
          <a:prstGeom prst="ellipse">
            <a:avLst/>
          </a:prstGeom>
          <a:ln w="19050" cmpd="sng">
            <a:solidFill>
              <a:srgbClr val="0070C0"/>
            </a:solidFill>
            <a:prstDash val="dot"/>
            <a:headEnd type="none"/>
            <a:tailEnd type="arrow"/>
          </a:ln>
        </p:spPr>
        <p:style>
          <a:lnRef idx="1">
            <a:schemeClr val="accent1"/>
          </a:lnRef>
          <a:fillRef idx="0">
            <a:schemeClr val="accent1"/>
          </a:fillRef>
          <a:effectRef idx="0">
            <a:schemeClr val="accent1"/>
          </a:effectRef>
          <a:fontRef idx="minor">
            <a:schemeClr val="tx1"/>
          </a:fontRef>
        </p:style>
        <p:txBody>
          <a:bodyPr anchor="ctr"/>
          <a:lstStyle/>
          <a:p>
            <a:pPr algn="ctr"/>
            <a:endParaRPr lang="en-US" sz="3672" dirty="0">
              <a:solidFill>
                <a:srgbClr val="FFFFFF"/>
              </a:solidFill>
              <a:ea typeface="ＭＳ Ｐゴシック" pitchFamily="-103" charset="-128"/>
            </a:endParaRPr>
          </a:p>
        </p:txBody>
      </p:sp>
      <p:sp>
        <p:nvSpPr>
          <p:cNvPr id="2" name="Title 1"/>
          <p:cNvSpPr>
            <a:spLocks noGrp="1"/>
          </p:cNvSpPr>
          <p:nvPr>
            <p:ph type="title"/>
          </p:nvPr>
        </p:nvSpPr>
        <p:spPr>
          <a:xfrm>
            <a:off x="259064" y="311956"/>
            <a:ext cx="9667601" cy="779309"/>
          </a:xfrm>
        </p:spPr>
        <p:txBody>
          <a:bodyPr/>
          <a:lstStyle/>
          <a:p>
            <a:r>
              <a:rPr lang="en-US" dirty="0" smtClean="0"/>
              <a:t>Personalization with User Profile Disk</a:t>
            </a:r>
            <a:endParaRPr lang="en-US" dirty="0"/>
          </a:p>
        </p:txBody>
      </p:sp>
      <p:sp>
        <p:nvSpPr>
          <p:cNvPr id="122" name="Rectangle 121"/>
          <p:cNvSpPr/>
          <p:nvPr/>
        </p:nvSpPr>
        <p:spPr bwMode="auto">
          <a:xfrm>
            <a:off x="5031081" y="4249067"/>
            <a:ext cx="2556768" cy="18359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56" tIns="46628" rIns="93256" bIns="46628" anchor="ctr"/>
          <a:lstStyle/>
          <a:p>
            <a:pPr algn="ctr" defTabSz="1241087"/>
            <a:endParaRPr lang="en-US" sz="4896" dirty="0">
              <a:solidFill>
                <a:schemeClr val="tx1"/>
              </a:solidFill>
              <a:ea typeface="ＭＳ Ｐゴシック" pitchFamily="-103" charset="-128"/>
            </a:endParaRPr>
          </a:p>
        </p:txBody>
      </p:sp>
      <p:cxnSp>
        <p:nvCxnSpPr>
          <p:cNvPr id="124" name="Straight Connector 123"/>
          <p:cNvCxnSpPr/>
          <p:nvPr/>
        </p:nvCxnSpPr>
        <p:spPr bwMode="auto">
          <a:xfrm>
            <a:off x="5547979" y="4580269"/>
            <a:ext cx="347178" cy="157026"/>
          </a:xfrm>
          <a:prstGeom prst="line">
            <a:avLst/>
          </a:prstGeom>
          <a:ln w="19050" cmpd="sng">
            <a:solidFill>
              <a:srgbClr val="0070C0"/>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bwMode="auto">
          <a:xfrm>
            <a:off x="5550344" y="4989442"/>
            <a:ext cx="373041" cy="0"/>
          </a:xfrm>
          <a:prstGeom prst="line">
            <a:avLst/>
          </a:prstGeom>
          <a:ln w="19050" cmpd="sng">
            <a:solidFill>
              <a:srgbClr val="0070C0"/>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bwMode="auto">
          <a:xfrm flipV="1">
            <a:off x="5577512" y="5241590"/>
            <a:ext cx="323028" cy="277816"/>
          </a:xfrm>
          <a:prstGeom prst="line">
            <a:avLst/>
          </a:prstGeom>
          <a:ln w="19050" cmpd="sng">
            <a:solidFill>
              <a:schemeClr val="tx1"/>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bwMode="auto">
          <a:xfrm>
            <a:off x="5031081" y="1576583"/>
            <a:ext cx="2556767" cy="18359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56" tIns="46628" rIns="93256" bIns="46628" anchor="ctr"/>
          <a:lstStyle/>
          <a:p>
            <a:pPr algn="ctr" defTabSz="1241087"/>
            <a:endParaRPr lang="en-US" sz="4896" dirty="0">
              <a:solidFill>
                <a:schemeClr val="tx1"/>
              </a:solidFill>
              <a:ea typeface="ＭＳ Ｐゴシック" pitchFamily="-103" charset="-128"/>
            </a:endParaRPr>
          </a:p>
        </p:txBody>
      </p:sp>
      <p:cxnSp>
        <p:nvCxnSpPr>
          <p:cNvPr id="155" name="Straight Connector 154"/>
          <p:cNvCxnSpPr/>
          <p:nvPr/>
        </p:nvCxnSpPr>
        <p:spPr bwMode="auto">
          <a:xfrm>
            <a:off x="5481945" y="2090270"/>
            <a:ext cx="172079" cy="154007"/>
          </a:xfrm>
          <a:prstGeom prst="line">
            <a:avLst/>
          </a:prstGeom>
          <a:ln w="19050" cmpd="sng">
            <a:solidFill>
              <a:srgbClr val="0070C0"/>
            </a:solidFill>
            <a:prstDash val="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bwMode="auto">
          <a:xfrm flipV="1">
            <a:off x="5434859" y="2838771"/>
            <a:ext cx="222185" cy="152177"/>
          </a:xfrm>
          <a:prstGeom prst="line">
            <a:avLst/>
          </a:prstGeom>
          <a:ln w="19050" cmpd="sng">
            <a:solidFill>
              <a:srgbClr val="0070C0"/>
            </a:solidFill>
            <a:prstDash val="dot"/>
            <a:headEnd type="none"/>
            <a:tailEnd type="none"/>
          </a:ln>
        </p:spPr>
        <p:style>
          <a:lnRef idx="1">
            <a:schemeClr val="accent1"/>
          </a:lnRef>
          <a:fillRef idx="0">
            <a:schemeClr val="accent1"/>
          </a:fillRef>
          <a:effectRef idx="0">
            <a:schemeClr val="accent1"/>
          </a:effectRef>
          <a:fontRef idx="minor">
            <a:schemeClr val="tx1"/>
          </a:fontRef>
        </p:style>
      </p:cxnSp>
      <p:pic>
        <p:nvPicPr>
          <p:cNvPr id="159" name="Picture 2"/>
          <p:cNvPicPr>
            <a:picLocks noChangeAspect="1" noChangeArrowheads="1"/>
          </p:cNvPicPr>
          <p:nvPr/>
        </p:nvPicPr>
        <p:blipFill>
          <a:blip r:embed="rId3" cstate="print">
            <a:biLevel thresh="25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bwMode="auto">
          <a:xfrm>
            <a:off x="6880339" y="4681997"/>
            <a:ext cx="373041" cy="132443"/>
          </a:xfrm>
          <a:prstGeom prst="rect">
            <a:avLst/>
          </a:prstGeom>
          <a:no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0" name="Picture 2"/>
          <p:cNvPicPr>
            <a:picLocks noChangeAspect="1" noChangeArrowheads="1"/>
          </p:cNvPicPr>
          <p:nvPr/>
        </p:nvPicPr>
        <p:blipFill>
          <a:blip r:embed="rId3" cstate="print">
            <a:biLevel thresh="25000"/>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bwMode="auto">
          <a:xfrm>
            <a:off x="6856931" y="4952709"/>
            <a:ext cx="373041" cy="132443"/>
          </a:xfrm>
          <a:prstGeom prst="rect">
            <a:avLst/>
          </a:prstGeom>
          <a:no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1" name="Picture 2"/>
          <p:cNvPicPr>
            <a:picLocks noChangeAspect="1" noChangeArrowheads="1"/>
          </p:cNvPicPr>
          <p:nvPr/>
        </p:nvPicPr>
        <p:blipFill>
          <a:blip r:embed="rId3" cstate="print">
            <a:biLevel thresh="25000"/>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bwMode="auto">
          <a:xfrm>
            <a:off x="6855897" y="5223421"/>
            <a:ext cx="373041" cy="132443"/>
          </a:xfrm>
          <a:prstGeom prst="rect">
            <a:avLst/>
          </a:prstGeom>
          <a:no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5" name="TextBox 164"/>
          <p:cNvSpPr txBox="1"/>
          <p:nvPr/>
        </p:nvSpPr>
        <p:spPr>
          <a:xfrm>
            <a:off x="5120754" y="3442866"/>
            <a:ext cx="2556767" cy="793391"/>
          </a:xfrm>
          <a:prstGeom prst="rect">
            <a:avLst/>
          </a:prstGeom>
          <a:noFill/>
        </p:spPr>
        <p:txBody>
          <a:bodyPr wrap="square" lIns="93260" tIns="93260" rIns="93260" bIns="93260" rtlCol="0">
            <a:spAutoFit/>
          </a:bodyPr>
          <a:lstStyle/>
          <a:p>
            <a:pPr marL="0" lvl="1" defTabSz="931077">
              <a:lnSpc>
                <a:spcPct val="90000"/>
              </a:lnSpc>
              <a:buSzPct val="90000"/>
            </a:pPr>
            <a:r>
              <a:rPr lang="en-US" sz="1428" dirty="0"/>
              <a:t>User Profile Disk with </a:t>
            </a:r>
            <a:br>
              <a:rPr lang="en-US" sz="1428" dirty="0"/>
            </a:br>
            <a:r>
              <a:rPr lang="en-US" sz="1428" dirty="0"/>
              <a:t>pooled virtual machine collections</a:t>
            </a:r>
          </a:p>
        </p:txBody>
      </p:sp>
      <p:sp>
        <p:nvSpPr>
          <p:cNvPr id="166" name="TextBox 165"/>
          <p:cNvSpPr txBox="1"/>
          <p:nvPr/>
        </p:nvSpPr>
        <p:spPr>
          <a:xfrm>
            <a:off x="5120754" y="5679538"/>
            <a:ext cx="2556767" cy="793391"/>
          </a:xfrm>
          <a:prstGeom prst="rect">
            <a:avLst/>
          </a:prstGeom>
          <a:noFill/>
        </p:spPr>
        <p:txBody>
          <a:bodyPr wrap="square" lIns="93260" tIns="93260" rIns="93260" bIns="93260" rtlCol="0">
            <a:spAutoFit/>
          </a:bodyPr>
          <a:lstStyle/>
          <a:p>
            <a:pPr marL="0" lvl="1" defTabSz="931077">
              <a:lnSpc>
                <a:spcPct val="90000"/>
              </a:lnSpc>
              <a:buSzPct val="90000"/>
            </a:pPr>
            <a:r>
              <a:rPr lang="en-US" sz="1428" dirty="0"/>
              <a:t>User Profile Disk with </a:t>
            </a:r>
            <a:br>
              <a:rPr lang="en-US" sz="1428" dirty="0"/>
            </a:br>
            <a:r>
              <a:rPr lang="en-US" sz="1428" dirty="0"/>
              <a:t>remote desktop session host collections</a:t>
            </a:r>
          </a:p>
        </p:txBody>
      </p:sp>
      <p:sp>
        <p:nvSpPr>
          <p:cNvPr id="54" name="Rectangle 13"/>
          <p:cNvSpPr>
            <a:spLocks noChangeArrowheads="1"/>
          </p:cNvSpPr>
          <p:nvPr/>
        </p:nvSpPr>
        <p:spPr bwMode="auto">
          <a:xfrm>
            <a:off x="8185385" y="1637530"/>
            <a:ext cx="4149486" cy="4314850"/>
          </a:xfrm>
          <a:prstGeom prst="rect">
            <a:avLst/>
          </a:prstGeom>
          <a:noFill/>
          <a:ln w="9525">
            <a:noFill/>
            <a:miter lim="800000"/>
            <a:headEnd/>
            <a:tailEnd/>
          </a:ln>
        </p:spPr>
        <p:txBody>
          <a:bodyPr lIns="154160" tIns="192717" rIns="154160" bIns="38495"/>
          <a:lstStyle/>
          <a:p>
            <a:pPr defTabSz="1110116" eaLnBrk="0" hangingPunct="0">
              <a:spcBef>
                <a:spcPct val="20000"/>
              </a:spcBef>
              <a:spcAft>
                <a:spcPts val="1224"/>
              </a:spcAft>
              <a:buClr>
                <a:schemeClr val="tx1"/>
              </a:buClr>
            </a:pPr>
            <a:r>
              <a:rPr lang="en-US" sz="2400" dirty="0">
                <a:solidFill>
                  <a:srgbClr val="00188F"/>
                </a:solidFill>
              </a:rPr>
              <a:t>What should I deploy?</a:t>
            </a:r>
          </a:p>
          <a:p>
            <a:pPr defTabSz="923581">
              <a:spcAft>
                <a:spcPts val="850"/>
              </a:spcAft>
              <a:buClr>
                <a:schemeClr val="tx1"/>
              </a:buClr>
            </a:pPr>
            <a:r>
              <a:rPr lang="en-US" sz="1600" b="1" dirty="0"/>
              <a:t>User Profile Disk</a:t>
            </a:r>
            <a:br>
              <a:rPr lang="en-US" sz="1600" b="1" dirty="0"/>
            </a:br>
            <a:r>
              <a:rPr lang="en-US" sz="1600" dirty="0"/>
              <a:t>With every virtual machine pool and remote desktop session host collection</a:t>
            </a:r>
          </a:p>
          <a:p>
            <a:pPr defTabSz="923581">
              <a:spcAft>
                <a:spcPts val="850"/>
              </a:spcAft>
              <a:buClr>
                <a:schemeClr val="tx1"/>
              </a:buClr>
            </a:pPr>
            <a:r>
              <a:rPr lang="en-US" sz="1600" b="1" dirty="0"/>
              <a:t>User environment virtualization</a:t>
            </a:r>
            <a:br>
              <a:rPr lang="en-US" sz="1600" b="1" dirty="0"/>
            </a:br>
            <a:r>
              <a:rPr lang="en-US" sz="1600" dirty="0"/>
              <a:t>To apply roam settings across collections </a:t>
            </a:r>
          </a:p>
          <a:p>
            <a:pPr defTabSz="923581">
              <a:spcAft>
                <a:spcPts val="850"/>
              </a:spcAft>
              <a:buClr>
                <a:schemeClr val="tx1"/>
              </a:buClr>
            </a:pPr>
            <a:r>
              <a:rPr lang="en-US" sz="1600" b="1" dirty="0"/>
              <a:t>Folder Redirection</a:t>
            </a:r>
            <a:r>
              <a:rPr lang="en-US" sz="1600" dirty="0"/>
              <a:t/>
            </a:r>
            <a:br>
              <a:rPr lang="en-US" sz="1600" dirty="0"/>
            </a:br>
            <a:r>
              <a:rPr lang="en-US" sz="1600" dirty="0"/>
              <a:t>To apply roaming user data across collections </a:t>
            </a:r>
            <a:br>
              <a:rPr lang="en-US" sz="1600" dirty="0"/>
            </a:br>
            <a:r>
              <a:rPr lang="en-US" sz="1600" dirty="0"/>
              <a:t>To centralize user data backup</a:t>
            </a:r>
          </a:p>
        </p:txBody>
      </p:sp>
      <p:pic>
        <p:nvPicPr>
          <p:cNvPr id="162" name="Picture 2"/>
          <p:cNvPicPr>
            <a:picLocks noChangeAspect="1" noChangeArrowheads="1"/>
          </p:cNvPicPr>
          <p:nvPr/>
        </p:nvPicPr>
        <p:blipFill>
          <a:blip r:embed="rId3" cstate="print">
            <a:biLevel thresh="25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bwMode="auto">
          <a:xfrm>
            <a:off x="6664859" y="2067395"/>
            <a:ext cx="373041" cy="132444"/>
          </a:xfrm>
          <a:prstGeom prst="rect">
            <a:avLst/>
          </a:prstGeom>
          <a:no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 name="Picture 2"/>
          <p:cNvPicPr>
            <a:picLocks noChangeAspect="1" noChangeArrowheads="1"/>
          </p:cNvPicPr>
          <p:nvPr/>
        </p:nvPicPr>
        <p:blipFill>
          <a:blip r:embed="rId3" cstate="print">
            <a:biLevel thresh="25000"/>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bwMode="auto">
          <a:xfrm>
            <a:off x="6664859" y="2550226"/>
            <a:ext cx="373041" cy="132442"/>
          </a:xfrm>
          <a:prstGeom prst="rect">
            <a:avLst/>
          </a:prstGeom>
          <a:no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4" name="Picture 2"/>
          <p:cNvPicPr>
            <a:picLocks noChangeAspect="1" noChangeArrowheads="1"/>
          </p:cNvPicPr>
          <p:nvPr/>
        </p:nvPicPr>
        <p:blipFill>
          <a:blip r:embed="rId7" cstate="print">
            <a:biLevel thresh="25000"/>
            <a:extLst>
              <a:ext uri="{BEBA8EAE-BF5A-486C-A8C5-ECC9F3942E4B}">
                <a14:imgProps xmlns:a14="http://schemas.microsoft.com/office/drawing/2010/main">
                  <a14:imgLayer r:embed="rId8">
                    <a14:imgEffect>
                      <a14:brightnessContrast bright="20000" contrast="-100000"/>
                    </a14:imgEffect>
                  </a14:imgLayer>
                </a14:imgProps>
              </a:ext>
              <a:ext uri="{28A0092B-C50C-407E-A947-70E740481C1C}">
                <a14:useLocalDpi xmlns:a14="http://schemas.microsoft.com/office/drawing/2010/main"/>
              </a:ext>
            </a:extLst>
          </a:blip>
          <a:srcRect/>
          <a:stretch>
            <a:fillRect/>
          </a:stretch>
        </p:blipFill>
        <p:spPr bwMode="auto">
          <a:xfrm>
            <a:off x="6664859" y="2940633"/>
            <a:ext cx="373041" cy="132442"/>
          </a:xfrm>
          <a:prstGeom prst="rect">
            <a:avLst/>
          </a:prstGeom>
          <a:no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8" name="Straight Connector 77"/>
          <p:cNvCxnSpPr/>
          <p:nvPr/>
        </p:nvCxnSpPr>
        <p:spPr bwMode="auto">
          <a:xfrm>
            <a:off x="5428104" y="2540493"/>
            <a:ext cx="186521" cy="0"/>
          </a:xfrm>
          <a:prstGeom prst="line">
            <a:avLst/>
          </a:prstGeom>
          <a:ln w="19050" cmpd="sng">
            <a:solidFill>
              <a:srgbClr val="0070C0"/>
            </a:solidFill>
            <a:prstDash val="dot"/>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338662" y="1820851"/>
            <a:ext cx="4507976" cy="3384132"/>
          </a:xfrm>
          <a:prstGeom prst="rect">
            <a:avLst/>
          </a:prstGeom>
        </p:spPr>
        <p:txBody>
          <a:bodyPr wrap="square">
            <a:spAutoFit/>
          </a:bodyPr>
          <a:lstStyle/>
          <a:p>
            <a:pPr marL="0" lvl="1" defTabSz="471596">
              <a:lnSpc>
                <a:spcPct val="90000"/>
              </a:lnSpc>
            </a:pPr>
            <a:r>
              <a:rPr lang="en-US" sz="2400" dirty="0">
                <a:solidFill>
                  <a:schemeClr val="accent1"/>
                </a:solidFill>
                <a:cs typeface="Segoe UI" pitchFamily="34" charset="0"/>
              </a:rPr>
              <a:t>Benefits</a:t>
            </a:r>
          </a:p>
          <a:p>
            <a:pPr marL="0" lvl="1" defTabSz="471596">
              <a:lnSpc>
                <a:spcPct val="90000"/>
              </a:lnSpc>
              <a:spcBef>
                <a:spcPts val="612"/>
              </a:spcBef>
              <a:spcAft>
                <a:spcPts val="612"/>
              </a:spcAft>
            </a:pPr>
            <a:r>
              <a:rPr lang="en-US" sz="1600" dirty="0">
                <a:cs typeface="Segoe UI" pitchFamily="34" charset="0"/>
              </a:rPr>
              <a:t>Available with pooled virtual machine collections and remote desktop session host collections</a:t>
            </a:r>
          </a:p>
          <a:p>
            <a:pPr marL="0" lvl="1" defTabSz="471596">
              <a:lnSpc>
                <a:spcPct val="90000"/>
              </a:lnSpc>
              <a:spcBef>
                <a:spcPts val="612"/>
              </a:spcBef>
              <a:spcAft>
                <a:spcPts val="612"/>
              </a:spcAft>
            </a:pPr>
            <a:r>
              <a:rPr lang="en-US" sz="1600" dirty="0">
                <a:cs typeface="Segoe UI" pitchFamily="34" charset="0"/>
              </a:rPr>
              <a:t>Stores all user settings and data</a:t>
            </a:r>
          </a:p>
          <a:p>
            <a:pPr marL="0" lvl="1" defTabSz="471596">
              <a:lnSpc>
                <a:spcPct val="90000"/>
              </a:lnSpc>
              <a:spcBef>
                <a:spcPts val="612"/>
              </a:spcBef>
              <a:spcAft>
                <a:spcPts val="612"/>
              </a:spcAft>
            </a:pPr>
            <a:r>
              <a:rPr lang="en-US" sz="1600" dirty="0">
                <a:cs typeface="Segoe UI" pitchFamily="34" charset="0"/>
              </a:rPr>
              <a:t>Contains roaming user profile, Folder Redirection cache, and user environment virtualization</a:t>
            </a:r>
          </a:p>
          <a:p>
            <a:pPr marL="0" lvl="1" defTabSz="471596">
              <a:lnSpc>
                <a:spcPct val="90000"/>
              </a:lnSpc>
              <a:spcBef>
                <a:spcPts val="612"/>
              </a:spcBef>
              <a:spcAft>
                <a:spcPts val="612"/>
              </a:spcAft>
            </a:pPr>
            <a:r>
              <a:rPr lang="en-US" sz="1600" dirty="0">
                <a:cs typeface="Segoe UI" pitchFamily="34" charset="0"/>
              </a:rPr>
              <a:t>Roams with user within collection</a:t>
            </a:r>
          </a:p>
          <a:p>
            <a:pPr marL="0" lvl="1" defTabSz="471596">
              <a:lnSpc>
                <a:spcPct val="90000"/>
              </a:lnSpc>
              <a:spcBef>
                <a:spcPts val="612"/>
              </a:spcBef>
              <a:spcAft>
                <a:spcPts val="612"/>
              </a:spcAft>
            </a:pPr>
            <a:r>
              <a:rPr lang="en-US" sz="1600" dirty="0">
                <a:cs typeface="Segoe UI" pitchFamily="34" charset="0"/>
              </a:rPr>
              <a:t>Appears as a local disk and improves application compatibility</a:t>
            </a:r>
          </a:p>
        </p:txBody>
      </p:sp>
      <p:grpSp>
        <p:nvGrpSpPr>
          <p:cNvPr id="5" name="Group 4"/>
          <p:cNvGrpSpPr/>
          <p:nvPr/>
        </p:nvGrpSpPr>
        <p:grpSpPr>
          <a:xfrm>
            <a:off x="5140836" y="1839376"/>
            <a:ext cx="267921" cy="404901"/>
            <a:chOff x="5144145" y="1152525"/>
            <a:chExt cx="741689" cy="1120892"/>
          </a:xfrm>
        </p:grpSpPr>
        <p:sp>
          <p:nvSpPr>
            <p:cNvPr id="48" name="Freeform 6"/>
            <p:cNvSpPr>
              <a:spLocks/>
            </p:cNvSpPr>
            <p:nvPr/>
          </p:nvSpPr>
          <p:spPr bwMode="auto">
            <a:xfrm>
              <a:off x="5297151" y="1152525"/>
              <a:ext cx="432796" cy="432797"/>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7"/>
            <p:cNvSpPr>
              <a:spLocks/>
            </p:cNvSpPr>
            <p:nvPr/>
          </p:nvSpPr>
          <p:spPr bwMode="auto">
            <a:xfrm>
              <a:off x="5144145" y="1537201"/>
              <a:ext cx="741689" cy="736216"/>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1" name="Group 50"/>
          <p:cNvGrpSpPr/>
          <p:nvPr/>
        </p:nvGrpSpPr>
        <p:grpSpPr>
          <a:xfrm>
            <a:off x="5140836" y="2825445"/>
            <a:ext cx="267921" cy="404901"/>
            <a:chOff x="5144145" y="1152525"/>
            <a:chExt cx="741689" cy="1120892"/>
          </a:xfrm>
        </p:grpSpPr>
        <p:sp>
          <p:nvSpPr>
            <p:cNvPr id="55" name="Freeform 6"/>
            <p:cNvSpPr>
              <a:spLocks/>
            </p:cNvSpPr>
            <p:nvPr/>
          </p:nvSpPr>
          <p:spPr bwMode="auto">
            <a:xfrm>
              <a:off x="5297151" y="1152525"/>
              <a:ext cx="432796" cy="432797"/>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7"/>
            <p:cNvSpPr>
              <a:spLocks/>
            </p:cNvSpPr>
            <p:nvPr/>
          </p:nvSpPr>
          <p:spPr bwMode="auto">
            <a:xfrm>
              <a:off x="5144145" y="1537201"/>
              <a:ext cx="741689" cy="736216"/>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9" name="Group 68"/>
          <p:cNvGrpSpPr/>
          <p:nvPr/>
        </p:nvGrpSpPr>
        <p:grpSpPr>
          <a:xfrm>
            <a:off x="5140836" y="4803223"/>
            <a:ext cx="267921" cy="404901"/>
            <a:chOff x="5144145" y="1152525"/>
            <a:chExt cx="741689" cy="1120892"/>
          </a:xfrm>
        </p:grpSpPr>
        <p:sp>
          <p:nvSpPr>
            <p:cNvPr id="70" name="Freeform 6"/>
            <p:cNvSpPr>
              <a:spLocks/>
            </p:cNvSpPr>
            <p:nvPr/>
          </p:nvSpPr>
          <p:spPr bwMode="auto">
            <a:xfrm>
              <a:off x="5297151" y="1152525"/>
              <a:ext cx="432796" cy="432797"/>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7"/>
            <p:cNvSpPr>
              <a:spLocks/>
            </p:cNvSpPr>
            <p:nvPr/>
          </p:nvSpPr>
          <p:spPr bwMode="auto">
            <a:xfrm>
              <a:off x="5144145" y="1537201"/>
              <a:ext cx="741689" cy="736216"/>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77" name="Group 76"/>
          <p:cNvGrpSpPr>
            <a:grpSpLocks noChangeAspect="1"/>
          </p:cNvGrpSpPr>
          <p:nvPr/>
        </p:nvGrpSpPr>
        <p:grpSpPr bwMode="auto">
          <a:xfrm>
            <a:off x="5951197" y="4511715"/>
            <a:ext cx="949499" cy="777927"/>
            <a:chOff x="4615" y="2434"/>
            <a:chExt cx="1378" cy="1129"/>
          </a:xfrm>
        </p:grpSpPr>
        <p:sp>
          <p:nvSpPr>
            <p:cNvPr id="79" name="Freeform 78"/>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19050"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80" name="Freeform 79"/>
            <p:cNvSpPr>
              <a:spLocks/>
            </p:cNvSpPr>
            <p:nvPr/>
          </p:nvSpPr>
          <p:spPr bwMode="auto">
            <a:xfrm>
              <a:off x="466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81" name="Freeform 80"/>
            <p:cNvSpPr>
              <a:spLocks noEditPoints="1"/>
            </p:cNvSpPr>
            <p:nvPr/>
          </p:nvSpPr>
          <p:spPr bwMode="auto">
            <a:xfrm>
              <a:off x="461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82" name="Group 81"/>
          <p:cNvGrpSpPr>
            <a:grpSpLocks noChangeAspect="1"/>
          </p:cNvGrpSpPr>
          <p:nvPr/>
        </p:nvGrpSpPr>
        <p:grpSpPr bwMode="auto">
          <a:xfrm>
            <a:off x="5968481" y="1788017"/>
            <a:ext cx="587694" cy="481500"/>
            <a:chOff x="4615" y="2434"/>
            <a:chExt cx="1378" cy="1129"/>
          </a:xfrm>
        </p:grpSpPr>
        <p:sp>
          <p:nvSpPr>
            <p:cNvPr id="83" name="Freeform 82"/>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19050"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84" name="Freeform 83"/>
            <p:cNvSpPr>
              <a:spLocks/>
            </p:cNvSpPr>
            <p:nvPr/>
          </p:nvSpPr>
          <p:spPr bwMode="auto">
            <a:xfrm>
              <a:off x="466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85" name="Freeform 84"/>
            <p:cNvSpPr>
              <a:spLocks noEditPoints="1"/>
            </p:cNvSpPr>
            <p:nvPr/>
          </p:nvSpPr>
          <p:spPr bwMode="auto">
            <a:xfrm>
              <a:off x="461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86" name="Group 85"/>
          <p:cNvGrpSpPr>
            <a:grpSpLocks noChangeAspect="1"/>
          </p:cNvGrpSpPr>
          <p:nvPr/>
        </p:nvGrpSpPr>
        <p:grpSpPr bwMode="auto">
          <a:xfrm>
            <a:off x="5971631" y="2303577"/>
            <a:ext cx="587694" cy="481500"/>
            <a:chOff x="4615" y="2434"/>
            <a:chExt cx="1378" cy="1129"/>
          </a:xfrm>
        </p:grpSpPr>
        <p:sp>
          <p:nvSpPr>
            <p:cNvPr id="87" name="Freeform 86"/>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19050"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88" name="Freeform 87"/>
            <p:cNvSpPr>
              <a:spLocks/>
            </p:cNvSpPr>
            <p:nvPr/>
          </p:nvSpPr>
          <p:spPr bwMode="auto">
            <a:xfrm>
              <a:off x="466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89" name="Freeform 88"/>
            <p:cNvSpPr>
              <a:spLocks noEditPoints="1"/>
            </p:cNvSpPr>
            <p:nvPr/>
          </p:nvSpPr>
          <p:spPr bwMode="auto">
            <a:xfrm>
              <a:off x="461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90" name="Group 89"/>
          <p:cNvGrpSpPr>
            <a:grpSpLocks noChangeAspect="1"/>
          </p:cNvGrpSpPr>
          <p:nvPr/>
        </p:nvGrpSpPr>
        <p:grpSpPr bwMode="auto">
          <a:xfrm>
            <a:off x="5980098" y="2821006"/>
            <a:ext cx="587694" cy="481500"/>
            <a:chOff x="4615" y="2434"/>
            <a:chExt cx="1378" cy="1129"/>
          </a:xfrm>
        </p:grpSpPr>
        <p:sp>
          <p:nvSpPr>
            <p:cNvPr id="91" name="Freeform 90"/>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19050"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92" name="Freeform 91"/>
            <p:cNvSpPr>
              <a:spLocks/>
            </p:cNvSpPr>
            <p:nvPr/>
          </p:nvSpPr>
          <p:spPr bwMode="auto">
            <a:xfrm>
              <a:off x="466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93" name="Freeform 92"/>
            <p:cNvSpPr>
              <a:spLocks noEditPoints="1"/>
            </p:cNvSpPr>
            <p:nvPr/>
          </p:nvSpPr>
          <p:spPr bwMode="auto">
            <a:xfrm>
              <a:off x="461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94" name="Group 93"/>
          <p:cNvGrpSpPr/>
          <p:nvPr/>
        </p:nvGrpSpPr>
        <p:grpSpPr>
          <a:xfrm>
            <a:off x="6686420" y="2436204"/>
            <a:ext cx="711994" cy="319881"/>
            <a:chOff x="4429125" y="2127251"/>
            <a:chExt cx="1423988" cy="639762"/>
          </a:xfrm>
          <a:solidFill>
            <a:schemeClr val="tx1"/>
          </a:solidFill>
        </p:grpSpPr>
        <p:sp>
          <p:nvSpPr>
            <p:cNvPr id="95"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12"/>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p:nvGrpSpPr>
        <p:grpSpPr>
          <a:xfrm>
            <a:off x="6691453" y="2964402"/>
            <a:ext cx="711994" cy="319881"/>
            <a:chOff x="4429125" y="2127251"/>
            <a:chExt cx="1423988" cy="639762"/>
          </a:xfrm>
          <a:solidFill>
            <a:schemeClr val="tx1"/>
          </a:solidFill>
        </p:grpSpPr>
        <p:sp>
          <p:nvSpPr>
            <p:cNvPr id="99"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512"/>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2" name="Group 101"/>
          <p:cNvGrpSpPr/>
          <p:nvPr/>
        </p:nvGrpSpPr>
        <p:grpSpPr>
          <a:xfrm>
            <a:off x="6710862" y="1930329"/>
            <a:ext cx="711994" cy="319881"/>
            <a:chOff x="4429125" y="2127251"/>
            <a:chExt cx="1423988" cy="639762"/>
          </a:xfrm>
          <a:solidFill>
            <a:schemeClr val="tx1"/>
          </a:solidFill>
        </p:grpSpPr>
        <p:sp>
          <p:nvSpPr>
            <p:cNvPr id="103"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512"/>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p:cNvGrpSpPr/>
          <p:nvPr/>
        </p:nvGrpSpPr>
        <p:grpSpPr>
          <a:xfrm>
            <a:off x="6965527" y="4846148"/>
            <a:ext cx="711994" cy="319881"/>
            <a:chOff x="4429125" y="2127251"/>
            <a:chExt cx="1423988" cy="639762"/>
          </a:xfrm>
          <a:solidFill>
            <a:schemeClr val="tx1"/>
          </a:solidFill>
        </p:grpSpPr>
        <p:sp>
          <p:nvSpPr>
            <p:cNvPr id="107"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512"/>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0" name="Group 109"/>
          <p:cNvGrpSpPr/>
          <p:nvPr/>
        </p:nvGrpSpPr>
        <p:grpSpPr>
          <a:xfrm>
            <a:off x="5140836" y="2303577"/>
            <a:ext cx="267921" cy="404901"/>
            <a:chOff x="5144145" y="1152525"/>
            <a:chExt cx="741689" cy="1120892"/>
          </a:xfrm>
        </p:grpSpPr>
        <p:sp>
          <p:nvSpPr>
            <p:cNvPr id="111" name="Freeform 6"/>
            <p:cNvSpPr>
              <a:spLocks/>
            </p:cNvSpPr>
            <p:nvPr/>
          </p:nvSpPr>
          <p:spPr bwMode="auto">
            <a:xfrm>
              <a:off x="5297151" y="1152525"/>
              <a:ext cx="432796" cy="432797"/>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2" name="Freeform 7"/>
            <p:cNvSpPr>
              <a:spLocks/>
            </p:cNvSpPr>
            <p:nvPr/>
          </p:nvSpPr>
          <p:spPr bwMode="auto">
            <a:xfrm>
              <a:off x="5144145" y="1537201"/>
              <a:ext cx="741689" cy="736216"/>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13" name="Group 112"/>
          <p:cNvGrpSpPr/>
          <p:nvPr/>
        </p:nvGrpSpPr>
        <p:grpSpPr>
          <a:xfrm>
            <a:off x="5140836" y="4317731"/>
            <a:ext cx="267921" cy="404901"/>
            <a:chOff x="5144145" y="1152525"/>
            <a:chExt cx="741689" cy="1120892"/>
          </a:xfrm>
        </p:grpSpPr>
        <p:sp>
          <p:nvSpPr>
            <p:cNvPr id="114" name="Freeform 6"/>
            <p:cNvSpPr>
              <a:spLocks/>
            </p:cNvSpPr>
            <p:nvPr/>
          </p:nvSpPr>
          <p:spPr bwMode="auto">
            <a:xfrm>
              <a:off x="5297151" y="1152525"/>
              <a:ext cx="432796" cy="432797"/>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 name="Freeform 7"/>
            <p:cNvSpPr>
              <a:spLocks/>
            </p:cNvSpPr>
            <p:nvPr/>
          </p:nvSpPr>
          <p:spPr bwMode="auto">
            <a:xfrm>
              <a:off x="5144145" y="1537201"/>
              <a:ext cx="741689" cy="736216"/>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16" name="Group 115"/>
          <p:cNvGrpSpPr/>
          <p:nvPr/>
        </p:nvGrpSpPr>
        <p:grpSpPr>
          <a:xfrm>
            <a:off x="5140836" y="5303800"/>
            <a:ext cx="267921" cy="404901"/>
            <a:chOff x="5144145" y="1152525"/>
            <a:chExt cx="741689" cy="1120892"/>
          </a:xfrm>
        </p:grpSpPr>
        <p:sp>
          <p:nvSpPr>
            <p:cNvPr id="117" name="Freeform 6"/>
            <p:cNvSpPr>
              <a:spLocks/>
            </p:cNvSpPr>
            <p:nvPr/>
          </p:nvSpPr>
          <p:spPr bwMode="auto">
            <a:xfrm>
              <a:off x="5297151" y="1152525"/>
              <a:ext cx="432796" cy="432797"/>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8" name="Freeform 7"/>
            <p:cNvSpPr>
              <a:spLocks/>
            </p:cNvSpPr>
            <p:nvPr/>
          </p:nvSpPr>
          <p:spPr bwMode="auto">
            <a:xfrm>
              <a:off x="5144145" y="1537201"/>
              <a:ext cx="741689" cy="736216"/>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1958056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p:cNvSpPr>
            <a:spLocks noGrp="1"/>
          </p:cNvSpPr>
          <p:nvPr>
            <p:ph type="title"/>
          </p:nvPr>
        </p:nvSpPr>
        <p:spPr>
          <a:xfrm>
            <a:off x="259581" y="309016"/>
            <a:ext cx="11375536" cy="738664"/>
          </a:xfrm>
        </p:spPr>
        <p:txBody>
          <a:bodyPr/>
          <a:lstStyle/>
          <a:p>
            <a:pPr lvl="0"/>
            <a:r>
              <a:rPr lang="en-US" dirty="0" smtClean="0"/>
              <a:t>Fair Share</a:t>
            </a:r>
            <a:endParaRPr lang="en-US" dirty="0"/>
          </a:p>
        </p:txBody>
      </p:sp>
      <p:sp>
        <p:nvSpPr>
          <p:cNvPr id="64" name="Rectangle 7"/>
          <p:cNvSpPr>
            <a:spLocks noChangeArrowheads="1"/>
          </p:cNvSpPr>
          <p:nvPr/>
        </p:nvSpPr>
        <p:spPr bwMode="auto">
          <a:xfrm>
            <a:off x="1798637" y="4564853"/>
            <a:ext cx="3895726" cy="1085060"/>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00" dirty="0" smtClean="0"/>
              <a:t>Helps </a:t>
            </a:r>
            <a:r>
              <a:rPr lang="en-US" sz="2000" dirty="0"/>
              <a:t>ensure </a:t>
            </a:r>
            <a:r>
              <a:rPr lang="en-US" sz="2000" dirty="0" smtClean="0"/>
              <a:t>high performance </a:t>
            </a:r>
            <a:r>
              <a:rPr lang="en-US" sz="2000" dirty="0"/>
              <a:t>across user virtual machines and sessions</a:t>
            </a:r>
          </a:p>
        </p:txBody>
      </p:sp>
      <p:sp>
        <p:nvSpPr>
          <p:cNvPr id="65" name="Rectangle 9"/>
          <p:cNvSpPr>
            <a:spLocks noChangeArrowheads="1"/>
          </p:cNvSpPr>
          <p:nvPr/>
        </p:nvSpPr>
        <p:spPr bwMode="auto">
          <a:xfrm>
            <a:off x="2100262" y="6143626"/>
            <a:ext cx="8210551" cy="371474"/>
          </a:xfrm>
          <a:prstGeom prst="rect">
            <a:avLst/>
          </a:prstGeom>
          <a:solidFill>
            <a:schemeClr val="accent3"/>
          </a:solidFill>
          <a:ln w="9525" algn="ctr">
            <a:noFill/>
            <a:miter lim="800000"/>
            <a:headEnd/>
            <a:tailEnd/>
          </a:ln>
        </p:spPr>
        <p:txBody>
          <a:bodyPr lIns="279781" tIns="38495" rIns="279781" bIns="177195" anchor="t" anchorCtr="0"/>
          <a:lstStyle/>
          <a:p>
            <a:pPr algn="ctr">
              <a:lnSpc>
                <a:spcPct val="90000"/>
              </a:lnSpc>
              <a:spcBef>
                <a:spcPct val="50000"/>
              </a:spcBef>
              <a:buClr>
                <a:schemeClr val="accent2"/>
              </a:buClr>
            </a:pPr>
            <a:r>
              <a:rPr lang="en-US" sz="2000" dirty="0">
                <a:solidFill>
                  <a:schemeClr val="bg1"/>
                </a:solidFill>
              </a:rPr>
              <a:t>Apply to both sessions and virtual machines</a:t>
            </a:r>
          </a:p>
        </p:txBody>
      </p:sp>
      <p:sp>
        <p:nvSpPr>
          <p:cNvPr id="66" name="Rectangle 6"/>
          <p:cNvSpPr>
            <a:spLocks noChangeArrowheads="1"/>
          </p:cNvSpPr>
          <p:nvPr/>
        </p:nvSpPr>
        <p:spPr bwMode="auto">
          <a:xfrm>
            <a:off x="6435726" y="4574378"/>
            <a:ext cx="4327524" cy="795875"/>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00" dirty="0"/>
              <a:t>Dynamically </a:t>
            </a:r>
            <a:r>
              <a:rPr lang="en-US" sz="2000" dirty="0" smtClean="0"/>
              <a:t>distributes </a:t>
            </a:r>
            <a:r>
              <a:rPr lang="en-US" sz="2000" dirty="0"/>
              <a:t>resources (bandwidth, CPU, and I/O)</a:t>
            </a:r>
          </a:p>
        </p:txBody>
      </p:sp>
      <p:grpSp>
        <p:nvGrpSpPr>
          <p:cNvPr id="22" name="Group 21"/>
          <p:cNvGrpSpPr/>
          <p:nvPr/>
        </p:nvGrpSpPr>
        <p:grpSpPr>
          <a:xfrm>
            <a:off x="2634740" y="1618420"/>
            <a:ext cx="2085461" cy="2744157"/>
            <a:chOff x="2660804" y="1483436"/>
            <a:chExt cx="2085461" cy="2744157"/>
          </a:xfrm>
        </p:grpSpPr>
        <p:sp>
          <p:nvSpPr>
            <p:cNvPr id="26" name="Freeform 30"/>
            <p:cNvSpPr>
              <a:spLocks noEditPoints="1"/>
            </p:cNvSpPr>
            <p:nvPr/>
          </p:nvSpPr>
          <p:spPr bwMode="auto">
            <a:xfrm>
              <a:off x="3312207" y="1483436"/>
              <a:ext cx="1434058" cy="2744157"/>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31"/>
            <p:cNvSpPr>
              <a:spLocks/>
            </p:cNvSpPr>
            <p:nvPr/>
          </p:nvSpPr>
          <p:spPr bwMode="auto">
            <a:xfrm>
              <a:off x="2706987" y="2147584"/>
              <a:ext cx="1567742" cy="1152108"/>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32"/>
            <p:cNvSpPr>
              <a:spLocks noEditPoints="1"/>
            </p:cNvSpPr>
            <p:nvPr/>
          </p:nvSpPr>
          <p:spPr bwMode="auto">
            <a:xfrm>
              <a:off x="2660804" y="2120256"/>
              <a:ext cx="1694133" cy="1446213"/>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3" name="Group 4"/>
            <p:cNvGrpSpPr>
              <a:grpSpLocks noChangeAspect="1"/>
            </p:cNvGrpSpPr>
            <p:nvPr/>
          </p:nvGrpSpPr>
          <p:grpSpPr bwMode="auto">
            <a:xfrm>
              <a:off x="3106616" y="2272499"/>
              <a:ext cx="682510" cy="902278"/>
              <a:chOff x="1901" y="2045"/>
              <a:chExt cx="500" cy="661"/>
            </a:xfrm>
            <a:solidFill>
              <a:schemeClr val="accent3"/>
            </a:solidFill>
          </p:grpSpPr>
          <p:sp>
            <p:nvSpPr>
              <p:cNvPr id="5" name="Rectangle 5"/>
              <p:cNvSpPr>
                <a:spLocks noChangeArrowheads="1"/>
              </p:cNvSpPr>
              <p:nvPr/>
            </p:nvSpPr>
            <p:spPr bwMode="auto">
              <a:xfrm>
                <a:off x="1901" y="2629"/>
                <a:ext cx="77" cy="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6" name="Rectangle 6"/>
              <p:cNvSpPr>
                <a:spLocks noChangeArrowheads="1"/>
              </p:cNvSpPr>
              <p:nvPr/>
            </p:nvSpPr>
            <p:spPr bwMode="auto">
              <a:xfrm>
                <a:off x="2007" y="2607"/>
                <a:ext cx="77" cy="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7" name="Rectangle 7"/>
              <p:cNvSpPr>
                <a:spLocks noChangeArrowheads="1"/>
              </p:cNvSpPr>
              <p:nvPr/>
            </p:nvSpPr>
            <p:spPr bwMode="auto">
              <a:xfrm>
                <a:off x="2112" y="2571"/>
                <a:ext cx="78" cy="1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8" name="Rectangle 8"/>
              <p:cNvSpPr>
                <a:spLocks noChangeArrowheads="1"/>
              </p:cNvSpPr>
              <p:nvPr/>
            </p:nvSpPr>
            <p:spPr bwMode="auto">
              <a:xfrm>
                <a:off x="2218" y="2454"/>
                <a:ext cx="77" cy="25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10" name="Rectangle 9"/>
              <p:cNvSpPr>
                <a:spLocks noChangeArrowheads="1"/>
              </p:cNvSpPr>
              <p:nvPr/>
            </p:nvSpPr>
            <p:spPr bwMode="auto">
              <a:xfrm>
                <a:off x="2324" y="2197"/>
                <a:ext cx="77" cy="5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11" name="Freeform 10"/>
              <p:cNvSpPr>
                <a:spLocks/>
              </p:cNvSpPr>
              <p:nvPr/>
            </p:nvSpPr>
            <p:spPr bwMode="auto">
              <a:xfrm>
                <a:off x="1901" y="2045"/>
                <a:ext cx="404" cy="567"/>
              </a:xfrm>
              <a:custGeom>
                <a:avLst/>
                <a:gdLst>
                  <a:gd name="T0" fmla="*/ 669 w 669"/>
                  <a:gd name="T1" fmla="*/ 144 h 939"/>
                  <a:gd name="T2" fmla="*/ 613 w 669"/>
                  <a:gd name="T3" fmla="*/ 0 h 939"/>
                  <a:gd name="T4" fmla="*/ 509 w 669"/>
                  <a:gd name="T5" fmla="*/ 116 h 939"/>
                  <a:gd name="T6" fmla="*/ 553 w 669"/>
                  <a:gd name="T7" fmla="*/ 124 h 939"/>
                  <a:gd name="T8" fmla="*/ 525 w 669"/>
                  <a:gd name="T9" fmla="*/ 279 h 939"/>
                  <a:gd name="T10" fmla="*/ 501 w 669"/>
                  <a:gd name="T11" fmla="*/ 400 h 939"/>
                  <a:gd name="T12" fmla="*/ 480 w 669"/>
                  <a:gd name="T13" fmla="*/ 483 h 939"/>
                  <a:gd name="T14" fmla="*/ 257 w 669"/>
                  <a:gd name="T15" fmla="*/ 754 h 939"/>
                  <a:gd name="T16" fmla="*/ 68 w 669"/>
                  <a:gd name="T17" fmla="*/ 843 h 939"/>
                  <a:gd name="T18" fmla="*/ 2 w 669"/>
                  <a:gd name="T19" fmla="*/ 864 h 939"/>
                  <a:gd name="T20" fmla="*/ 0 w 669"/>
                  <a:gd name="T21" fmla="*/ 865 h 939"/>
                  <a:gd name="T22" fmla="*/ 0 w 669"/>
                  <a:gd name="T23" fmla="*/ 939 h 939"/>
                  <a:gd name="T24" fmla="*/ 295 w 669"/>
                  <a:gd name="T25" fmla="*/ 815 h 939"/>
                  <a:gd name="T26" fmla="*/ 548 w 669"/>
                  <a:gd name="T27" fmla="*/ 506 h 939"/>
                  <a:gd name="T28" fmla="*/ 571 w 669"/>
                  <a:gd name="T29" fmla="*/ 416 h 939"/>
                  <a:gd name="T30" fmla="*/ 624 w 669"/>
                  <a:gd name="T31" fmla="*/ 136 h 939"/>
                  <a:gd name="T32" fmla="*/ 669 w 669"/>
                  <a:gd name="T33" fmla="*/ 144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9" h="939">
                    <a:moveTo>
                      <a:pt x="669" y="144"/>
                    </a:moveTo>
                    <a:cubicBezTo>
                      <a:pt x="613" y="0"/>
                      <a:pt x="613" y="0"/>
                      <a:pt x="613" y="0"/>
                    </a:cubicBezTo>
                    <a:cubicBezTo>
                      <a:pt x="509" y="116"/>
                      <a:pt x="509" y="116"/>
                      <a:pt x="509" y="116"/>
                    </a:cubicBezTo>
                    <a:cubicBezTo>
                      <a:pt x="553" y="124"/>
                      <a:pt x="553" y="124"/>
                      <a:pt x="553" y="124"/>
                    </a:cubicBezTo>
                    <a:cubicBezTo>
                      <a:pt x="553" y="126"/>
                      <a:pt x="541" y="198"/>
                      <a:pt x="525" y="279"/>
                    </a:cubicBezTo>
                    <a:cubicBezTo>
                      <a:pt x="517" y="320"/>
                      <a:pt x="509" y="363"/>
                      <a:pt x="501" y="400"/>
                    </a:cubicBezTo>
                    <a:cubicBezTo>
                      <a:pt x="493" y="437"/>
                      <a:pt x="485" y="469"/>
                      <a:pt x="480" y="483"/>
                    </a:cubicBezTo>
                    <a:cubicBezTo>
                      <a:pt x="460" y="545"/>
                      <a:pt x="383" y="676"/>
                      <a:pt x="257" y="754"/>
                    </a:cubicBezTo>
                    <a:cubicBezTo>
                      <a:pt x="192" y="794"/>
                      <a:pt x="122" y="823"/>
                      <a:pt x="68" y="843"/>
                    </a:cubicBezTo>
                    <a:cubicBezTo>
                      <a:pt x="41" y="852"/>
                      <a:pt x="18" y="859"/>
                      <a:pt x="2" y="864"/>
                    </a:cubicBezTo>
                    <a:cubicBezTo>
                      <a:pt x="2" y="864"/>
                      <a:pt x="1" y="864"/>
                      <a:pt x="0" y="865"/>
                    </a:cubicBezTo>
                    <a:cubicBezTo>
                      <a:pt x="0" y="939"/>
                      <a:pt x="0" y="939"/>
                      <a:pt x="0" y="939"/>
                    </a:cubicBezTo>
                    <a:cubicBezTo>
                      <a:pt x="29" y="931"/>
                      <a:pt x="168" y="893"/>
                      <a:pt x="295" y="815"/>
                    </a:cubicBezTo>
                    <a:cubicBezTo>
                      <a:pt x="440" y="724"/>
                      <a:pt x="521" y="584"/>
                      <a:pt x="548" y="506"/>
                    </a:cubicBezTo>
                    <a:cubicBezTo>
                      <a:pt x="555" y="485"/>
                      <a:pt x="562" y="454"/>
                      <a:pt x="571" y="416"/>
                    </a:cubicBezTo>
                    <a:cubicBezTo>
                      <a:pt x="595" y="302"/>
                      <a:pt x="624" y="137"/>
                      <a:pt x="624" y="136"/>
                    </a:cubicBezTo>
                    <a:lnTo>
                      <a:pt x="669"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grpSp>
      </p:grpSp>
      <p:grpSp>
        <p:nvGrpSpPr>
          <p:cNvPr id="77" name="Group 76"/>
          <p:cNvGrpSpPr/>
          <p:nvPr/>
        </p:nvGrpSpPr>
        <p:grpSpPr>
          <a:xfrm>
            <a:off x="6996098" y="1593585"/>
            <a:ext cx="2988483" cy="2761323"/>
            <a:chOff x="6996098" y="1593585"/>
            <a:chExt cx="2988483" cy="2761323"/>
          </a:xfrm>
        </p:grpSpPr>
        <p:grpSp>
          <p:nvGrpSpPr>
            <p:cNvPr id="41" name="Group 40"/>
            <p:cNvGrpSpPr/>
            <p:nvPr/>
          </p:nvGrpSpPr>
          <p:grpSpPr>
            <a:xfrm>
              <a:off x="8116855" y="3817557"/>
              <a:ext cx="537351" cy="537351"/>
              <a:chOff x="3998525" y="2683959"/>
              <a:chExt cx="839788" cy="839788"/>
            </a:xfrm>
          </p:grpSpPr>
          <p:sp>
            <p:nvSpPr>
              <p:cNvPr id="42" name="Freeform 10"/>
              <p:cNvSpPr>
                <a:spLocks/>
              </p:cNvSpPr>
              <p:nvPr/>
            </p:nvSpPr>
            <p:spPr bwMode="auto">
              <a:xfrm>
                <a:off x="4119175" y="2804609"/>
                <a:ext cx="596900" cy="598488"/>
              </a:xfrm>
              <a:custGeom>
                <a:avLst/>
                <a:gdLst>
                  <a:gd name="T0" fmla="*/ 99 w 2637"/>
                  <a:gd name="T1" fmla="*/ 0 h 2637"/>
                  <a:gd name="T2" fmla="*/ 2537 w 2637"/>
                  <a:gd name="T3" fmla="*/ 0 h 2637"/>
                  <a:gd name="T4" fmla="*/ 2559 w 2637"/>
                  <a:gd name="T5" fmla="*/ 2 h 2637"/>
                  <a:gd name="T6" fmla="*/ 2580 w 2637"/>
                  <a:gd name="T7" fmla="*/ 10 h 2637"/>
                  <a:gd name="T8" fmla="*/ 2599 w 2637"/>
                  <a:gd name="T9" fmla="*/ 22 h 2637"/>
                  <a:gd name="T10" fmla="*/ 2614 w 2637"/>
                  <a:gd name="T11" fmla="*/ 38 h 2637"/>
                  <a:gd name="T12" fmla="*/ 2626 w 2637"/>
                  <a:gd name="T13" fmla="*/ 56 h 2637"/>
                  <a:gd name="T14" fmla="*/ 2634 w 2637"/>
                  <a:gd name="T15" fmla="*/ 77 h 2637"/>
                  <a:gd name="T16" fmla="*/ 2637 w 2637"/>
                  <a:gd name="T17" fmla="*/ 101 h 2637"/>
                  <a:gd name="T18" fmla="*/ 2637 w 2637"/>
                  <a:gd name="T19" fmla="*/ 2537 h 2637"/>
                  <a:gd name="T20" fmla="*/ 2634 w 2637"/>
                  <a:gd name="T21" fmla="*/ 2559 h 2637"/>
                  <a:gd name="T22" fmla="*/ 2626 w 2637"/>
                  <a:gd name="T23" fmla="*/ 2581 h 2637"/>
                  <a:gd name="T24" fmla="*/ 2614 w 2637"/>
                  <a:gd name="T25" fmla="*/ 2600 h 2637"/>
                  <a:gd name="T26" fmla="*/ 2599 w 2637"/>
                  <a:gd name="T27" fmla="*/ 2616 h 2637"/>
                  <a:gd name="T28" fmla="*/ 2580 w 2637"/>
                  <a:gd name="T29" fmla="*/ 2627 h 2637"/>
                  <a:gd name="T30" fmla="*/ 2559 w 2637"/>
                  <a:gd name="T31" fmla="*/ 2635 h 2637"/>
                  <a:gd name="T32" fmla="*/ 2537 w 2637"/>
                  <a:gd name="T33" fmla="*/ 2637 h 2637"/>
                  <a:gd name="T34" fmla="*/ 99 w 2637"/>
                  <a:gd name="T35" fmla="*/ 2637 h 2637"/>
                  <a:gd name="T36" fmla="*/ 77 w 2637"/>
                  <a:gd name="T37" fmla="*/ 2635 h 2637"/>
                  <a:gd name="T38" fmla="*/ 56 w 2637"/>
                  <a:gd name="T39" fmla="*/ 2627 h 2637"/>
                  <a:gd name="T40" fmla="*/ 37 w 2637"/>
                  <a:gd name="T41" fmla="*/ 2616 h 2637"/>
                  <a:gd name="T42" fmla="*/ 22 w 2637"/>
                  <a:gd name="T43" fmla="*/ 2600 h 2637"/>
                  <a:gd name="T44" fmla="*/ 10 w 2637"/>
                  <a:gd name="T45" fmla="*/ 2581 h 2637"/>
                  <a:gd name="T46" fmla="*/ 2 w 2637"/>
                  <a:gd name="T47" fmla="*/ 2559 h 2637"/>
                  <a:gd name="T48" fmla="*/ 0 w 2637"/>
                  <a:gd name="T49" fmla="*/ 2537 h 2637"/>
                  <a:gd name="T50" fmla="*/ 0 w 2637"/>
                  <a:gd name="T51" fmla="*/ 101 h 2637"/>
                  <a:gd name="T52" fmla="*/ 2 w 2637"/>
                  <a:gd name="T53" fmla="*/ 77 h 2637"/>
                  <a:gd name="T54" fmla="*/ 10 w 2637"/>
                  <a:gd name="T55" fmla="*/ 56 h 2637"/>
                  <a:gd name="T56" fmla="*/ 22 w 2637"/>
                  <a:gd name="T57" fmla="*/ 38 h 2637"/>
                  <a:gd name="T58" fmla="*/ 37 w 2637"/>
                  <a:gd name="T59" fmla="*/ 22 h 2637"/>
                  <a:gd name="T60" fmla="*/ 56 w 2637"/>
                  <a:gd name="T61" fmla="*/ 10 h 2637"/>
                  <a:gd name="T62" fmla="*/ 77 w 2637"/>
                  <a:gd name="T63" fmla="*/ 2 h 2637"/>
                  <a:gd name="T64" fmla="*/ 99 w 2637"/>
                  <a:gd name="T65" fmla="*/ 0 h 2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37" h="2637">
                    <a:moveTo>
                      <a:pt x="99" y="0"/>
                    </a:moveTo>
                    <a:lnTo>
                      <a:pt x="2537" y="0"/>
                    </a:lnTo>
                    <a:lnTo>
                      <a:pt x="2559" y="2"/>
                    </a:lnTo>
                    <a:lnTo>
                      <a:pt x="2580" y="10"/>
                    </a:lnTo>
                    <a:lnTo>
                      <a:pt x="2599" y="22"/>
                    </a:lnTo>
                    <a:lnTo>
                      <a:pt x="2614" y="38"/>
                    </a:lnTo>
                    <a:lnTo>
                      <a:pt x="2626" y="56"/>
                    </a:lnTo>
                    <a:lnTo>
                      <a:pt x="2634" y="77"/>
                    </a:lnTo>
                    <a:lnTo>
                      <a:pt x="2637" y="101"/>
                    </a:lnTo>
                    <a:lnTo>
                      <a:pt x="2637" y="2537"/>
                    </a:lnTo>
                    <a:lnTo>
                      <a:pt x="2634" y="2559"/>
                    </a:lnTo>
                    <a:lnTo>
                      <a:pt x="2626" y="2581"/>
                    </a:lnTo>
                    <a:lnTo>
                      <a:pt x="2614" y="2600"/>
                    </a:lnTo>
                    <a:lnTo>
                      <a:pt x="2599" y="2616"/>
                    </a:lnTo>
                    <a:lnTo>
                      <a:pt x="2580" y="2627"/>
                    </a:lnTo>
                    <a:lnTo>
                      <a:pt x="2559" y="2635"/>
                    </a:lnTo>
                    <a:lnTo>
                      <a:pt x="2537" y="2637"/>
                    </a:lnTo>
                    <a:lnTo>
                      <a:pt x="99" y="2637"/>
                    </a:lnTo>
                    <a:lnTo>
                      <a:pt x="77" y="2635"/>
                    </a:lnTo>
                    <a:lnTo>
                      <a:pt x="56" y="2627"/>
                    </a:lnTo>
                    <a:lnTo>
                      <a:pt x="37" y="2616"/>
                    </a:lnTo>
                    <a:lnTo>
                      <a:pt x="22" y="2600"/>
                    </a:lnTo>
                    <a:lnTo>
                      <a:pt x="10" y="2581"/>
                    </a:lnTo>
                    <a:lnTo>
                      <a:pt x="2" y="2559"/>
                    </a:lnTo>
                    <a:lnTo>
                      <a:pt x="0" y="2537"/>
                    </a:lnTo>
                    <a:lnTo>
                      <a:pt x="0" y="101"/>
                    </a:lnTo>
                    <a:lnTo>
                      <a:pt x="2" y="77"/>
                    </a:lnTo>
                    <a:lnTo>
                      <a:pt x="10" y="56"/>
                    </a:lnTo>
                    <a:lnTo>
                      <a:pt x="22" y="38"/>
                    </a:lnTo>
                    <a:lnTo>
                      <a:pt x="37" y="22"/>
                    </a:lnTo>
                    <a:lnTo>
                      <a:pt x="56" y="10"/>
                    </a:lnTo>
                    <a:lnTo>
                      <a:pt x="77" y="2"/>
                    </a:lnTo>
                    <a:lnTo>
                      <a:pt x="99"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1"/>
              <p:cNvSpPr>
                <a:spLocks noEditPoints="1"/>
              </p:cNvSpPr>
              <p:nvPr/>
            </p:nvSpPr>
            <p:spPr bwMode="auto">
              <a:xfrm>
                <a:off x="4203313" y="2683959"/>
                <a:ext cx="425450" cy="839788"/>
              </a:xfrm>
              <a:custGeom>
                <a:avLst/>
                <a:gdLst>
                  <a:gd name="T0" fmla="*/ 1870 w 1873"/>
                  <a:gd name="T1" fmla="*/ 3636 h 3702"/>
                  <a:gd name="T2" fmla="*/ 1806 w 1873"/>
                  <a:gd name="T3" fmla="*/ 3699 h 3702"/>
                  <a:gd name="T4" fmla="*/ 1719 w 1873"/>
                  <a:gd name="T5" fmla="*/ 3675 h 3702"/>
                  <a:gd name="T6" fmla="*/ 1692 w 1873"/>
                  <a:gd name="T7" fmla="*/ 3169 h 3702"/>
                  <a:gd name="T8" fmla="*/ 1529 w 1873"/>
                  <a:gd name="T9" fmla="*/ 3636 h 3702"/>
                  <a:gd name="T10" fmla="*/ 1465 w 1873"/>
                  <a:gd name="T11" fmla="*/ 3699 h 3702"/>
                  <a:gd name="T12" fmla="*/ 1378 w 1873"/>
                  <a:gd name="T13" fmla="*/ 3675 h 3702"/>
                  <a:gd name="T14" fmla="*/ 1351 w 1873"/>
                  <a:gd name="T15" fmla="*/ 3169 h 3702"/>
                  <a:gd name="T16" fmla="*/ 1186 w 1873"/>
                  <a:gd name="T17" fmla="*/ 3636 h 3702"/>
                  <a:gd name="T18" fmla="*/ 1123 w 1873"/>
                  <a:gd name="T19" fmla="*/ 3699 h 3702"/>
                  <a:gd name="T20" fmla="*/ 1034 w 1873"/>
                  <a:gd name="T21" fmla="*/ 3675 h 3702"/>
                  <a:gd name="T22" fmla="*/ 1008 w 1873"/>
                  <a:gd name="T23" fmla="*/ 3169 h 3702"/>
                  <a:gd name="T24" fmla="*/ 855 w 1873"/>
                  <a:gd name="T25" fmla="*/ 3636 h 3702"/>
                  <a:gd name="T26" fmla="*/ 791 w 1873"/>
                  <a:gd name="T27" fmla="*/ 3699 h 3702"/>
                  <a:gd name="T28" fmla="*/ 703 w 1873"/>
                  <a:gd name="T29" fmla="*/ 3675 h 3702"/>
                  <a:gd name="T30" fmla="*/ 676 w 1873"/>
                  <a:gd name="T31" fmla="*/ 3169 h 3702"/>
                  <a:gd name="T32" fmla="*/ 518 w 1873"/>
                  <a:gd name="T33" fmla="*/ 3636 h 3702"/>
                  <a:gd name="T34" fmla="*/ 455 w 1873"/>
                  <a:gd name="T35" fmla="*/ 3699 h 3702"/>
                  <a:gd name="T36" fmla="*/ 368 w 1873"/>
                  <a:gd name="T37" fmla="*/ 3675 h 3702"/>
                  <a:gd name="T38" fmla="*/ 341 w 1873"/>
                  <a:gd name="T39" fmla="*/ 3169 h 3702"/>
                  <a:gd name="T40" fmla="*/ 177 w 1873"/>
                  <a:gd name="T41" fmla="*/ 3636 h 3702"/>
                  <a:gd name="T42" fmla="*/ 114 w 1873"/>
                  <a:gd name="T43" fmla="*/ 3699 h 3702"/>
                  <a:gd name="T44" fmla="*/ 26 w 1873"/>
                  <a:gd name="T45" fmla="*/ 3675 h 3702"/>
                  <a:gd name="T46" fmla="*/ 0 w 1873"/>
                  <a:gd name="T47" fmla="*/ 3169 h 3702"/>
                  <a:gd name="T48" fmla="*/ 1847 w 1873"/>
                  <a:gd name="T49" fmla="*/ 27 h 3702"/>
                  <a:gd name="T50" fmla="*/ 1873 w 1873"/>
                  <a:gd name="T51" fmla="*/ 533 h 3702"/>
                  <a:gd name="T52" fmla="*/ 1704 w 1873"/>
                  <a:gd name="T53" fmla="*/ 45 h 3702"/>
                  <a:gd name="T54" fmla="*/ 1783 w 1873"/>
                  <a:gd name="T55" fmla="*/ 0 h 3702"/>
                  <a:gd name="T56" fmla="*/ 1505 w 1873"/>
                  <a:gd name="T57" fmla="*/ 27 h 3702"/>
                  <a:gd name="T58" fmla="*/ 1532 w 1873"/>
                  <a:gd name="T59" fmla="*/ 533 h 3702"/>
                  <a:gd name="T60" fmla="*/ 1363 w 1873"/>
                  <a:gd name="T61" fmla="*/ 45 h 3702"/>
                  <a:gd name="T62" fmla="*/ 1441 w 1873"/>
                  <a:gd name="T63" fmla="*/ 0 h 3702"/>
                  <a:gd name="T64" fmla="*/ 1162 w 1873"/>
                  <a:gd name="T65" fmla="*/ 27 h 3702"/>
                  <a:gd name="T66" fmla="*/ 1189 w 1873"/>
                  <a:gd name="T67" fmla="*/ 533 h 3702"/>
                  <a:gd name="T68" fmla="*/ 1021 w 1873"/>
                  <a:gd name="T69" fmla="*/ 45 h 3702"/>
                  <a:gd name="T70" fmla="*/ 1098 w 1873"/>
                  <a:gd name="T71" fmla="*/ 0 h 3702"/>
                  <a:gd name="T72" fmla="*/ 831 w 1873"/>
                  <a:gd name="T73" fmla="*/ 27 h 3702"/>
                  <a:gd name="T74" fmla="*/ 858 w 1873"/>
                  <a:gd name="T75" fmla="*/ 533 h 3702"/>
                  <a:gd name="T76" fmla="*/ 689 w 1873"/>
                  <a:gd name="T77" fmla="*/ 45 h 3702"/>
                  <a:gd name="T78" fmla="*/ 767 w 1873"/>
                  <a:gd name="T79" fmla="*/ 0 h 3702"/>
                  <a:gd name="T80" fmla="*/ 496 w 1873"/>
                  <a:gd name="T81" fmla="*/ 27 h 3702"/>
                  <a:gd name="T82" fmla="*/ 521 w 1873"/>
                  <a:gd name="T83" fmla="*/ 533 h 3702"/>
                  <a:gd name="T84" fmla="*/ 353 w 1873"/>
                  <a:gd name="T85" fmla="*/ 45 h 3702"/>
                  <a:gd name="T86" fmla="*/ 432 w 1873"/>
                  <a:gd name="T87" fmla="*/ 0 h 3702"/>
                  <a:gd name="T88" fmla="*/ 154 w 1873"/>
                  <a:gd name="T89" fmla="*/ 27 h 3702"/>
                  <a:gd name="T90" fmla="*/ 180 w 1873"/>
                  <a:gd name="T91" fmla="*/ 533 h 3702"/>
                  <a:gd name="T92" fmla="*/ 12 w 1873"/>
                  <a:gd name="T93" fmla="*/ 45 h 3702"/>
                  <a:gd name="T94" fmla="*/ 90 w 1873"/>
                  <a:gd name="T95" fmla="*/ 0 h 3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73" h="3702">
                    <a:moveTo>
                      <a:pt x="1692" y="3169"/>
                    </a:moveTo>
                    <a:lnTo>
                      <a:pt x="1873" y="3169"/>
                    </a:lnTo>
                    <a:lnTo>
                      <a:pt x="1873" y="3611"/>
                    </a:lnTo>
                    <a:lnTo>
                      <a:pt x="1870" y="3636"/>
                    </a:lnTo>
                    <a:lnTo>
                      <a:pt x="1861" y="3657"/>
                    </a:lnTo>
                    <a:lnTo>
                      <a:pt x="1847" y="3675"/>
                    </a:lnTo>
                    <a:lnTo>
                      <a:pt x="1829" y="3690"/>
                    </a:lnTo>
                    <a:lnTo>
                      <a:pt x="1806" y="3699"/>
                    </a:lnTo>
                    <a:lnTo>
                      <a:pt x="1783" y="3702"/>
                    </a:lnTo>
                    <a:lnTo>
                      <a:pt x="1759" y="3699"/>
                    </a:lnTo>
                    <a:lnTo>
                      <a:pt x="1737" y="3690"/>
                    </a:lnTo>
                    <a:lnTo>
                      <a:pt x="1719" y="3675"/>
                    </a:lnTo>
                    <a:lnTo>
                      <a:pt x="1704" y="3657"/>
                    </a:lnTo>
                    <a:lnTo>
                      <a:pt x="1695" y="3636"/>
                    </a:lnTo>
                    <a:lnTo>
                      <a:pt x="1692" y="3611"/>
                    </a:lnTo>
                    <a:lnTo>
                      <a:pt x="1692" y="3169"/>
                    </a:lnTo>
                    <a:close/>
                    <a:moveTo>
                      <a:pt x="1351" y="3169"/>
                    </a:moveTo>
                    <a:lnTo>
                      <a:pt x="1532" y="3169"/>
                    </a:lnTo>
                    <a:lnTo>
                      <a:pt x="1532" y="3611"/>
                    </a:lnTo>
                    <a:lnTo>
                      <a:pt x="1529" y="3636"/>
                    </a:lnTo>
                    <a:lnTo>
                      <a:pt x="1520" y="3657"/>
                    </a:lnTo>
                    <a:lnTo>
                      <a:pt x="1505" y="3675"/>
                    </a:lnTo>
                    <a:lnTo>
                      <a:pt x="1487" y="3690"/>
                    </a:lnTo>
                    <a:lnTo>
                      <a:pt x="1465" y="3699"/>
                    </a:lnTo>
                    <a:lnTo>
                      <a:pt x="1441" y="3702"/>
                    </a:lnTo>
                    <a:lnTo>
                      <a:pt x="1418" y="3699"/>
                    </a:lnTo>
                    <a:lnTo>
                      <a:pt x="1395" y="3690"/>
                    </a:lnTo>
                    <a:lnTo>
                      <a:pt x="1378" y="3675"/>
                    </a:lnTo>
                    <a:lnTo>
                      <a:pt x="1363" y="3657"/>
                    </a:lnTo>
                    <a:lnTo>
                      <a:pt x="1354" y="3636"/>
                    </a:lnTo>
                    <a:lnTo>
                      <a:pt x="1351" y="3611"/>
                    </a:lnTo>
                    <a:lnTo>
                      <a:pt x="1351" y="3169"/>
                    </a:lnTo>
                    <a:close/>
                    <a:moveTo>
                      <a:pt x="1008" y="3169"/>
                    </a:moveTo>
                    <a:lnTo>
                      <a:pt x="1189" y="3169"/>
                    </a:lnTo>
                    <a:lnTo>
                      <a:pt x="1189" y="3611"/>
                    </a:lnTo>
                    <a:lnTo>
                      <a:pt x="1186" y="3636"/>
                    </a:lnTo>
                    <a:lnTo>
                      <a:pt x="1177" y="3657"/>
                    </a:lnTo>
                    <a:lnTo>
                      <a:pt x="1162" y="3675"/>
                    </a:lnTo>
                    <a:lnTo>
                      <a:pt x="1144" y="3690"/>
                    </a:lnTo>
                    <a:lnTo>
                      <a:pt x="1123" y="3699"/>
                    </a:lnTo>
                    <a:lnTo>
                      <a:pt x="1098" y="3702"/>
                    </a:lnTo>
                    <a:lnTo>
                      <a:pt x="1075" y="3699"/>
                    </a:lnTo>
                    <a:lnTo>
                      <a:pt x="1053" y="3690"/>
                    </a:lnTo>
                    <a:lnTo>
                      <a:pt x="1034" y="3675"/>
                    </a:lnTo>
                    <a:lnTo>
                      <a:pt x="1021" y="3657"/>
                    </a:lnTo>
                    <a:lnTo>
                      <a:pt x="1012" y="3636"/>
                    </a:lnTo>
                    <a:lnTo>
                      <a:pt x="1008" y="3611"/>
                    </a:lnTo>
                    <a:lnTo>
                      <a:pt x="1008" y="3169"/>
                    </a:lnTo>
                    <a:close/>
                    <a:moveTo>
                      <a:pt x="676" y="3169"/>
                    </a:moveTo>
                    <a:lnTo>
                      <a:pt x="858" y="3169"/>
                    </a:lnTo>
                    <a:lnTo>
                      <a:pt x="858" y="3611"/>
                    </a:lnTo>
                    <a:lnTo>
                      <a:pt x="855" y="3636"/>
                    </a:lnTo>
                    <a:lnTo>
                      <a:pt x="846" y="3657"/>
                    </a:lnTo>
                    <a:lnTo>
                      <a:pt x="831" y="3675"/>
                    </a:lnTo>
                    <a:lnTo>
                      <a:pt x="813" y="3690"/>
                    </a:lnTo>
                    <a:lnTo>
                      <a:pt x="791" y="3699"/>
                    </a:lnTo>
                    <a:lnTo>
                      <a:pt x="767" y="3702"/>
                    </a:lnTo>
                    <a:lnTo>
                      <a:pt x="744" y="3699"/>
                    </a:lnTo>
                    <a:lnTo>
                      <a:pt x="721" y="3690"/>
                    </a:lnTo>
                    <a:lnTo>
                      <a:pt x="703" y="3675"/>
                    </a:lnTo>
                    <a:lnTo>
                      <a:pt x="689" y="3657"/>
                    </a:lnTo>
                    <a:lnTo>
                      <a:pt x="680" y="3636"/>
                    </a:lnTo>
                    <a:lnTo>
                      <a:pt x="676" y="3611"/>
                    </a:lnTo>
                    <a:lnTo>
                      <a:pt x="676" y="3169"/>
                    </a:lnTo>
                    <a:close/>
                    <a:moveTo>
                      <a:pt x="341" y="3169"/>
                    </a:moveTo>
                    <a:lnTo>
                      <a:pt x="521" y="3169"/>
                    </a:lnTo>
                    <a:lnTo>
                      <a:pt x="521" y="3611"/>
                    </a:lnTo>
                    <a:lnTo>
                      <a:pt x="518" y="3636"/>
                    </a:lnTo>
                    <a:lnTo>
                      <a:pt x="509" y="3657"/>
                    </a:lnTo>
                    <a:lnTo>
                      <a:pt x="496" y="3675"/>
                    </a:lnTo>
                    <a:lnTo>
                      <a:pt x="476" y="3690"/>
                    </a:lnTo>
                    <a:lnTo>
                      <a:pt x="455" y="3699"/>
                    </a:lnTo>
                    <a:lnTo>
                      <a:pt x="432" y="3702"/>
                    </a:lnTo>
                    <a:lnTo>
                      <a:pt x="407" y="3699"/>
                    </a:lnTo>
                    <a:lnTo>
                      <a:pt x="386" y="3690"/>
                    </a:lnTo>
                    <a:lnTo>
                      <a:pt x="368" y="3675"/>
                    </a:lnTo>
                    <a:lnTo>
                      <a:pt x="353" y="3657"/>
                    </a:lnTo>
                    <a:lnTo>
                      <a:pt x="344" y="3636"/>
                    </a:lnTo>
                    <a:lnTo>
                      <a:pt x="341" y="3611"/>
                    </a:lnTo>
                    <a:lnTo>
                      <a:pt x="341" y="3169"/>
                    </a:lnTo>
                    <a:close/>
                    <a:moveTo>
                      <a:pt x="0" y="3169"/>
                    </a:moveTo>
                    <a:lnTo>
                      <a:pt x="180" y="3169"/>
                    </a:lnTo>
                    <a:lnTo>
                      <a:pt x="180" y="3611"/>
                    </a:lnTo>
                    <a:lnTo>
                      <a:pt x="177" y="3636"/>
                    </a:lnTo>
                    <a:lnTo>
                      <a:pt x="168" y="3657"/>
                    </a:lnTo>
                    <a:lnTo>
                      <a:pt x="154" y="3675"/>
                    </a:lnTo>
                    <a:lnTo>
                      <a:pt x="135" y="3690"/>
                    </a:lnTo>
                    <a:lnTo>
                      <a:pt x="114" y="3699"/>
                    </a:lnTo>
                    <a:lnTo>
                      <a:pt x="90" y="3702"/>
                    </a:lnTo>
                    <a:lnTo>
                      <a:pt x="66" y="3699"/>
                    </a:lnTo>
                    <a:lnTo>
                      <a:pt x="44" y="3690"/>
                    </a:lnTo>
                    <a:lnTo>
                      <a:pt x="26" y="3675"/>
                    </a:lnTo>
                    <a:lnTo>
                      <a:pt x="12" y="3657"/>
                    </a:lnTo>
                    <a:lnTo>
                      <a:pt x="3" y="3636"/>
                    </a:lnTo>
                    <a:lnTo>
                      <a:pt x="0" y="3611"/>
                    </a:lnTo>
                    <a:lnTo>
                      <a:pt x="0" y="3169"/>
                    </a:lnTo>
                    <a:close/>
                    <a:moveTo>
                      <a:pt x="1783" y="0"/>
                    </a:moveTo>
                    <a:lnTo>
                      <a:pt x="1806" y="3"/>
                    </a:lnTo>
                    <a:lnTo>
                      <a:pt x="1829" y="12"/>
                    </a:lnTo>
                    <a:lnTo>
                      <a:pt x="1847" y="27"/>
                    </a:lnTo>
                    <a:lnTo>
                      <a:pt x="1861" y="45"/>
                    </a:lnTo>
                    <a:lnTo>
                      <a:pt x="1870" y="67"/>
                    </a:lnTo>
                    <a:lnTo>
                      <a:pt x="1873" y="91"/>
                    </a:lnTo>
                    <a:lnTo>
                      <a:pt x="1873" y="533"/>
                    </a:lnTo>
                    <a:lnTo>
                      <a:pt x="1692" y="533"/>
                    </a:lnTo>
                    <a:lnTo>
                      <a:pt x="1692" y="91"/>
                    </a:lnTo>
                    <a:lnTo>
                      <a:pt x="1695" y="67"/>
                    </a:lnTo>
                    <a:lnTo>
                      <a:pt x="1704" y="45"/>
                    </a:lnTo>
                    <a:lnTo>
                      <a:pt x="1719" y="27"/>
                    </a:lnTo>
                    <a:lnTo>
                      <a:pt x="1737" y="12"/>
                    </a:lnTo>
                    <a:lnTo>
                      <a:pt x="1759" y="3"/>
                    </a:lnTo>
                    <a:lnTo>
                      <a:pt x="1783" y="0"/>
                    </a:lnTo>
                    <a:close/>
                    <a:moveTo>
                      <a:pt x="1441" y="0"/>
                    </a:moveTo>
                    <a:lnTo>
                      <a:pt x="1465" y="3"/>
                    </a:lnTo>
                    <a:lnTo>
                      <a:pt x="1487" y="12"/>
                    </a:lnTo>
                    <a:lnTo>
                      <a:pt x="1505" y="27"/>
                    </a:lnTo>
                    <a:lnTo>
                      <a:pt x="1520" y="45"/>
                    </a:lnTo>
                    <a:lnTo>
                      <a:pt x="1529" y="67"/>
                    </a:lnTo>
                    <a:lnTo>
                      <a:pt x="1532" y="91"/>
                    </a:lnTo>
                    <a:lnTo>
                      <a:pt x="1532" y="533"/>
                    </a:lnTo>
                    <a:lnTo>
                      <a:pt x="1351" y="533"/>
                    </a:lnTo>
                    <a:lnTo>
                      <a:pt x="1351" y="91"/>
                    </a:lnTo>
                    <a:lnTo>
                      <a:pt x="1354" y="67"/>
                    </a:lnTo>
                    <a:lnTo>
                      <a:pt x="1363" y="45"/>
                    </a:lnTo>
                    <a:lnTo>
                      <a:pt x="1378" y="27"/>
                    </a:lnTo>
                    <a:lnTo>
                      <a:pt x="1395" y="12"/>
                    </a:lnTo>
                    <a:lnTo>
                      <a:pt x="1418" y="3"/>
                    </a:lnTo>
                    <a:lnTo>
                      <a:pt x="1441" y="0"/>
                    </a:lnTo>
                    <a:close/>
                    <a:moveTo>
                      <a:pt x="1098" y="0"/>
                    </a:moveTo>
                    <a:lnTo>
                      <a:pt x="1123" y="3"/>
                    </a:lnTo>
                    <a:lnTo>
                      <a:pt x="1144" y="12"/>
                    </a:lnTo>
                    <a:lnTo>
                      <a:pt x="1162" y="27"/>
                    </a:lnTo>
                    <a:lnTo>
                      <a:pt x="1177" y="45"/>
                    </a:lnTo>
                    <a:lnTo>
                      <a:pt x="1186" y="67"/>
                    </a:lnTo>
                    <a:lnTo>
                      <a:pt x="1189" y="91"/>
                    </a:lnTo>
                    <a:lnTo>
                      <a:pt x="1189" y="533"/>
                    </a:lnTo>
                    <a:lnTo>
                      <a:pt x="1008" y="533"/>
                    </a:lnTo>
                    <a:lnTo>
                      <a:pt x="1008" y="91"/>
                    </a:lnTo>
                    <a:lnTo>
                      <a:pt x="1012" y="67"/>
                    </a:lnTo>
                    <a:lnTo>
                      <a:pt x="1021" y="45"/>
                    </a:lnTo>
                    <a:lnTo>
                      <a:pt x="1034" y="27"/>
                    </a:lnTo>
                    <a:lnTo>
                      <a:pt x="1053" y="12"/>
                    </a:lnTo>
                    <a:lnTo>
                      <a:pt x="1075" y="3"/>
                    </a:lnTo>
                    <a:lnTo>
                      <a:pt x="1098" y="0"/>
                    </a:lnTo>
                    <a:close/>
                    <a:moveTo>
                      <a:pt x="767" y="0"/>
                    </a:moveTo>
                    <a:lnTo>
                      <a:pt x="791" y="3"/>
                    </a:lnTo>
                    <a:lnTo>
                      <a:pt x="813" y="12"/>
                    </a:lnTo>
                    <a:lnTo>
                      <a:pt x="831" y="27"/>
                    </a:lnTo>
                    <a:lnTo>
                      <a:pt x="846" y="45"/>
                    </a:lnTo>
                    <a:lnTo>
                      <a:pt x="855" y="67"/>
                    </a:lnTo>
                    <a:lnTo>
                      <a:pt x="858" y="91"/>
                    </a:lnTo>
                    <a:lnTo>
                      <a:pt x="858" y="533"/>
                    </a:lnTo>
                    <a:lnTo>
                      <a:pt x="676" y="533"/>
                    </a:lnTo>
                    <a:lnTo>
                      <a:pt x="676" y="91"/>
                    </a:lnTo>
                    <a:lnTo>
                      <a:pt x="680" y="67"/>
                    </a:lnTo>
                    <a:lnTo>
                      <a:pt x="689" y="45"/>
                    </a:lnTo>
                    <a:lnTo>
                      <a:pt x="703" y="27"/>
                    </a:lnTo>
                    <a:lnTo>
                      <a:pt x="721" y="12"/>
                    </a:lnTo>
                    <a:lnTo>
                      <a:pt x="744" y="3"/>
                    </a:lnTo>
                    <a:lnTo>
                      <a:pt x="767" y="0"/>
                    </a:lnTo>
                    <a:close/>
                    <a:moveTo>
                      <a:pt x="432" y="0"/>
                    </a:moveTo>
                    <a:lnTo>
                      <a:pt x="455" y="3"/>
                    </a:lnTo>
                    <a:lnTo>
                      <a:pt x="476" y="12"/>
                    </a:lnTo>
                    <a:lnTo>
                      <a:pt x="496" y="27"/>
                    </a:lnTo>
                    <a:lnTo>
                      <a:pt x="509" y="45"/>
                    </a:lnTo>
                    <a:lnTo>
                      <a:pt x="518" y="67"/>
                    </a:lnTo>
                    <a:lnTo>
                      <a:pt x="521" y="91"/>
                    </a:lnTo>
                    <a:lnTo>
                      <a:pt x="521" y="533"/>
                    </a:lnTo>
                    <a:lnTo>
                      <a:pt x="341" y="533"/>
                    </a:lnTo>
                    <a:lnTo>
                      <a:pt x="341" y="91"/>
                    </a:lnTo>
                    <a:lnTo>
                      <a:pt x="344" y="67"/>
                    </a:lnTo>
                    <a:lnTo>
                      <a:pt x="353" y="45"/>
                    </a:lnTo>
                    <a:lnTo>
                      <a:pt x="368" y="27"/>
                    </a:lnTo>
                    <a:lnTo>
                      <a:pt x="386" y="12"/>
                    </a:lnTo>
                    <a:lnTo>
                      <a:pt x="407" y="3"/>
                    </a:lnTo>
                    <a:lnTo>
                      <a:pt x="432" y="0"/>
                    </a:lnTo>
                    <a:close/>
                    <a:moveTo>
                      <a:pt x="90" y="0"/>
                    </a:moveTo>
                    <a:lnTo>
                      <a:pt x="114" y="3"/>
                    </a:lnTo>
                    <a:lnTo>
                      <a:pt x="135" y="12"/>
                    </a:lnTo>
                    <a:lnTo>
                      <a:pt x="154" y="27"/>
                    </a:lnTo>
                    <a:lnTo>
                      <a:pt x="168" y="45"/>
                    </a:lnTo>
                    <a:lnTo>
                      <a:pt x="177" y="67"/>
                    </a:lnTo>
                    <a:lnTo>
                      <a:pt x="180" y="91"/>
                    </a:lnTo>
                    <a:lnTo>
                      <a:pt x="180" y="533"/>
                    </a:lnTo>
                    <a:lnTo>
                      <a:pt x="0" y="533"/>
                    </a:lnTo>
                    <a:lnTo>
                      <a:pt x="0" y="91"/>
                    </a:lnTo>
                    <a:lnTo>
                      <a:pt x="3" y="67"/>
                    </a:lnTo>
                    <a:lnTo>
                      <a:pt x="12" y="45"/>
                    </a:lnTo>
                    <a:lnTo>
                      <a:pt x="26" y="27"/>
                    </a:lnTo>
                    <a:lnTo>
                      <a:pt x="44" y="12"/>
                    </a:lnTo>
                    <a:lnTo>
                      <a:pt x="66" y="3"/>
                    </a:lnTo>
                    <a:lnTo>
                      <a:pt x="9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2"/>
              <p:cNvSpPr>
                <a:spLocks noEditPoints="1"/>
              </p:cNvSpPr>
              <p:nvPr/>
            </p:nvSpPr>
            <p:spPr bwMode="auto">
              <a:xfrm>
                <a:off x="3998525" y="2882397"/>
                <a:ext cx="839788" cy="423863"/>
              </a:xfrm>
              <a:custGeom>
                <a:avLst/>
                <a:gdLst>
                  <a:gd name="T0" fmla="*/ 3657 w 3702"/>
                  <a:gd name="T1" fmla="*/ 1705 h 1873"/>
                  <a:gd name="T2" fmla="*/ 3702 w 3702"/>
                  <a:gd name="T3" fmla="*/ 1783 h 1873"/>
                  <a:gd name="T4" fmla="*/ 3657 w 3702"/>
                  <a:gd name="T5" fmla="*/ 1861 h 1873"/>
                  <a:gd name="T6" fmla="*/ 3169 w 3702"/>
                  <a:gd name="T7" fmla="*/ 1692 h 1873"/>
                  <a:gd name="T8" fmla="*/ 91 w 3702"/>
                  <a:gd name="T9" fmla="*/ 1873 h 1873"/>
                  <a:gd name="T10" fmla="*/ 12 w 3702"/>
                  <a:gd name="T11" fmla="*/ 1828 h 1873"/>
                  <a:gd name="T12" fmla="*/ 12 w 3702"/>
                  <a:gd name="T13" fmla="*/ 1737 h 1873"/>
                  <a:gd name="T14" fmla="*/ 91 w 3702"/>
                  <a:gd name="T15" fmla="*/ 1692 h 1873"/>
                  <a:gd name="T16" fmla="*/ 3657 w 3702"/>
                  <a:gd name="T17" fmla="*/ 1364 h 1873"/>
                  <a:gd name="T18" fmla="*/ 3702 w 3702"/>
                  <a:gd name="T19" fmla="*/ 1442 h 1873"/>
                  <a:gd name="T20" fmla="*/ 3657 w 3702"/>
                  <a:gd name="T21" fmla="*/ 1519 h 1873"/>
                  <a:gd name="T22" fmla="*/ 3169 w 3702"/>
                  <a:gd name="T23" fmla="*/ 1351 h 1873"/>
                  <a:gd name="T24" fmla="*/ 91 w 3702"/>
                  <a:gd name="T25" fmla="*/ 1532 h 1873"/>
                  <a:gd name="T26" fmla="*/ 12 w 3702"/>
                  <a:gd name="T27" fmla="*/ 1487 h 1873"/>
                  <a:gd name="T28" fmla="*/ 12 w 3702"/>
                  <a:gd name="T29" fmla="*/ 1396 h 1873"/>
                  <a:gd name="T30" fmla="*/ 91 w 3702"/>
                  <a:gd name="T31" fmla="*/ 1351 h 1873"/>
                  <a:gd name="T32" fmla="*/ 3657 w 3702"/>
                  <a:gd name="T33" fmla="*/ 1028 h 1873"/>
                  <a:gd name="T34" fmla="*/ 3702 w 3702"/>
                  <a:gd name="T35" fmla="*/ 1105 h 1873"/>
                  <a:gd name="T36" fmla="*/ 3657 w 3702"/>
                  <a:gd name="T37" fmla="*/ 1184 h 1873"/>
                  <a:gd name="T38" fmla="*/ 3169 w 3702"/>
                  <a:gd name="T39" fmla="*/ 1016 h 1873"/>
                  <a:gd name="T40" fmla="*/ 91 w 3702"/>
                  <a:gd name="T41" fmla="*/ 1196 h 1873"/>
                  <a:gd name="T42" fmla="*/ 12 w 3702"/>
                  <a:gd name="T43" fmla="*/ 1151 h 1873"/>
                  <a:gd name="T44" fmla="*/ 12 w 3702"/>
                  <a:gd name="T45" fmla="*/ 1061 h 1873"/>
                  <a:gd name="T46" fmla="*/ 91 w 3702"/>
                  <a:gd name="T47" fmla="*/ 1016 h 1873"/>
                  <a:gd name="T48" fmla="*/ 3657 w 3702"/>
                  <a:gd name="T49" fmla="*/ 696 h 1873"/>
                  <a:gd name="T50" fmla="*/ 3702 w 3702"/>
                  <a:gd name="T51" fmla="*/ 774 h 1873"/>
                  <a:gd name="T52" fmla="*/ 3657 w 3702"/>
                  <a:gd name="T53" fmla="*/ 853 h 1873"/>
                  <a:gd name="T54" fmla="*/ 3169 w 3702"/>
                  <a:gd name="T55" fmla="*/ 684 h 1873"/>
                  <a:gd name="T56" fmla="*/ 91 w 3702"/>
                  <a:gd name="T57" fmla="*/ 865 h 1873"/>
                  <a:gd name="T58" fmla="*/ 12 w 3702"/>
                  <a:gd name="T59" fmla="*/ 820 h 1873"/>
                  <a:gd name="T60" fmla="*/ 12 w 3702"/>
                  <a:gd name="T61" fmla="*/ 728 h 1873"/>
                  <a:gd name="T62" fmla="*/ 91 w 3702"/>
                  <a:gd name="T63" fmla="*/ 684 h 1873"/>
                  <a:gd name="T64" fmla="*/ 3657 w 3702"/>
                  <a:gd name="T65" fmla="*/ 354 h 1873"/>
                  <a:gd name="T66" fmla="*/ 3702 w 3702"/>
                  <a:gd name="T67" fmla="*/ 431 h 1873"/>
                  <a:gd name="T68" fmla="*/ 3657 w 3702"/>
                  <a:gd name="T69" fmla="*/ 510 h 1873"/>
                  <a:gd name="T70" fmla="*/ 3169 w 3702"/>
                  <a:gd name="T71" fmla="*/ 341 h 1873"/>
                  <a:gd name="T72" fmla="*/ 91 w 3702"/>
                  <a:gd name="T73" fmla="*/ 522 h 1873"/>
                  <a:gd name="T74" fmla="*/ 12 w 3702"/>
                  <a:gd name="T75" fmla="*/ 477 h 1873"/>
                  <a:gd name="T76" fmla="*/ 12 w 3702"/>
                  <a:gd name="T77" fmla="*/ 386 h 1873"/>
                  <a:gd name="T78" fmla="*/ 91 w 3702"/>
                  <a:gd name="T79" fmla="*/ 341 h 1873"/>
                  <a:gd name="T80" fmla="*/ 3657 w 3702"/>
                  <a:gd name="T81" fmla="*/ 12 h 1873"/>
                  <a:gd name="T82" fmla="*/ 3702 w 3702"/>
                  <a:gd name="T83" fmla="*/ 90 h 1873"/>
                  <a:gd name="T84" fmla="*/ 3657 w 3702"/>
                  <a:gd name="T85" fmla="*/ 168 h 1873"/>
                  <a:gd name="T86" fmla="*/ 3169 w 3702"/>
                  <a:gd name="T87" fmla="*/ 0 h 1873"/>
                  <a:gd name="T88" fmla="*/ 91 w 3702"/>
                  <a:gd name="T89" fmla="*/ 181 h 1873"/>
                  <a:gd name="T90" fmla="*/ 12 w 3702"/>
                  <a:gd name="T91" fmla="*/ 136 h 1873"/>
                  <a:gd name="T92" fmla="*/ 12 w 3702"/>
                  <a:gd name="T93" fmla="*/ 45 h 1873"/>
                  <a:gd name="T94" fmla="*/ 91 w 3702"/>
                  <a:gd name="T95" fmla="*/ 0 h 1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02" h="1873">
                    <a:moveTo>
                      <a:pt x="3169" y="1692"/>
                    </a:moveTo>
                    <a:lnTo>
                      <a:pt x="3611" y="1692"/>
                    </a:lnTo>
                    <a:lnTo>
                      <a:pt x="3635" y="1696"/>
                    </a:lnTo>
                    <a:lnTo>
                      <a:pt x="3657" y="1705"/>
                    </a:lnTo>
                    <a:lnTo>
                      <a:pt x="3675" y="1719"/>
                    </a:lnTo>
                    <a:lnTo>
                      <a:pt x="3690" y="1737"/>
                    </a:lnTo>
                    <a:lnTo>
                      <a:pt x="3699" y="1758"/>
                    </a:lnTo>
                    <a:lnTo>
                      <a:pt x="3702" y="1783"/>
                    </a:lnTo>
                    <a:lnTo>
                      <a:pt x="3699" y="1807"/>
                    </a:lnTo>
                    <a:lnTo>
                      <a:pt x="3690" y="1828"/>
                    </a:lnTo>
                    <a:lnTo>
                      <a:pt x="3675" y="1847"/>
                    </a:lnTo>
                    <a:lnTo>
                      <a:pt x="3657" y="1861"/>
                    </a:lnTo>
                    <a:lnTo>
                      <a:pt x="3635" y="1870"/>
                    </a:lnTo>
                    <a:lnTo>
                      <a:pt x="3611" y="1873"/>
                    </a:lnTo>
                    <a:lnTo>
                      <a:pt x="3169" y="1873"/>
                    </a:lnTo>
                    <a:lnTo>
                      <a:pt x="3169" y="1692"/>
                    </a:lnTo>
                    <a:close/>
                    <a:moveTo>
                      <a:pt x="91" y="1692"/>
                    </a:moveTo>
                    <a:lnTo>
                      <a:pt x="533" y="1692"/>
                    </a:lnTo>
                    <a:lnTo>
                      <a:pt x="533" y="1873"/>
                    </a:lnTo>
                    <a:lnTo>
                      <a:pt x="91" y="1873"/>
                    </a:lnTo>
                    <a:lnTo>
                      <a:pt x="66" y="1870"/>
                    </a:lnTo>
                    <a:lnTo>
                      <a:pt x="45" y="1861"/>
                    </a:lnTo>
                    <a:lnTo>
                      <a:pt x="27" y="1847"/>
                    </a:lnTo>
                    <a:lnTo>
                      <a:pt x="12" y="1828"/>
                    </a:lnTo>
                    <a:lnTo>
                      <a:pt x="3" y="1807"/>
                    </a:lnTo>
                    <a:lnTo>
                      <a:pt x="0" y="1783"/>
                    </a:lnTo>
                    <a:lnTo>
                      <a:pt x="3" y="1758"/>
                    </a:lnTo>
                    <a:lnTo>
                      <a:pt x="12" y="1737"/>
                    </a:lnTo>
                    <a:lnTo>
                      <a:pt x="27" y="1719"/>
                    </a:lnTo>
                    <a:lnTo>
                      <a:pt x="45" y="1705"/>
                    </a:lnTo>
                    <a:lnTo>
                      <a:pt x="66" y="1696"/>
                    </a:lnTo>
                    <a:lnTo>
                      <a:pt x="91" y="1692"/>
                    </a:lnTo>
                    <a:close/>
                    <a:moveTo>
                      <a:pt x="3169" y="1351"/>
                    </a:moveTo>
                    <a:lnTo>
                      <a:pt x="3611" y="1351"/>
                    </a:lnTo>
                    <a:lnTo>
                      <a:pt x="3635" y="1355"/>
                    </a:lnTo>
                    <a:lnTo>
                      <a:pt x="3657" y="1364"/>
                    </a:lnTo>
                    <a:lnTo>
                      <a:pt x="3675" y="1378"/>
                    </a:lnTo>
                    <a:lnTo>
                      <a:pt x="3690" y="1396"/>
                    </a:lnTo>
                    <a:lnTo>
                      <a:pt x="3699" y="1417"/>
                    </a:lnTo>
                    <a:lnTo>
                      <a:pt x="3702" y="1442"/>
                    </a:lnTo>
                    <a:lnTo>
                      <a:pt x="3699" y="1466"/>
                    </a:lnTo>
                    <a:lnTo>
                      <a:pt x="3690" y="1487"/>
                    </a:lnTo>
                    <a:lnTo>
                      <a:pt x="3675" y="1506"/>
                    </a:lnTo>
                    <a:lnTo>
                      <a:pt x="3657" y="1519"/>
                    </a:lnTo>
                    <a:lnTo>
                      <a:pt x="3635" y="1528"/>
                    </a:lnTo>
                    <a:lnTo>
                      <a:pt x="3611" y="1532"/>
                    </a:lnTo>
                    <a:lnTo>
                      <a:pt x="3169" y="1532"/>
                    </a:lnTo>
                    <a:lnTo>
                      <a:pt x="3169" y="1351"/>
                    </a:lnTo>
                    <a:close/>
                    <a:moveTo>
                      <a:pt x="91" y="1351"/>
                    </a:moveTo>
                    <a:lnTo>
                      <a:pt x="533" y="1351"/>
                    </a:lnTo>
                    <a:lnTo>
                      <a:pt x="533" y="1532"/>
                    </a:lnTo>
                    <a:lnTo>
                      <a:pt x="91" y="1532"/>
                    </a:lnTo>
                    <a:lnTo>
                      <a:pt x="66" y="1528"/>
                    </a:lnTo>
                    <a:lnTo>
                      <a:pt x="45" y="1519"/>
                    </a:lnTo>
                    <a:lnTo>
                      <a:pt x="27" y="1506"/>
                    </a:lnTo>
                    <a:lnTo>
                      <a:pt x="12" y="1487"/>
                    </a:lnTo>
                    <a:lnTo>
                      <a:pt x="3" y="1466"/>
                    </a:lnTo>
                    <a:lnTo>
                      <a:pt x="0" y="1442"/>
                    </a:lnTo>
                    <a:lnTo>
                      <a:pt x="3" y="1417"/>
                    </a:lnTo>
                    <a:lnTo>
                      <a:pt x="12" y="1396"/>
                    </a:lnTo>
                    <a:lnTo>
                      <a:pt x="27" y="1378"/>
                    </a:lnTo>
                    <a:lnTo>
                      <a:pt x="45" y="1364"/>
                    </a:lnTo>
                    <a:lnTo>
                      <a:pt x="66" y="1355"/>
                    </a:lnTo>
                    <a:lnTo>
                      <a:pt x="91" y="1351"/>
                    </a:lnTo>
                    <a:close/>
                    <a:moveTo>
                      <a:pt x="3169" y="1016"/>
                    </a:moveTo>
                    <a:lnTo>
                      <a:pt x="3611" y="1016"/>
                    </a:lnTo>
                    <a:lnTo>
                      <a:pt x="3635" y="1019"/>
                    </a:lnTo>
                    <a:lnTo>
                      <a:pt x="3657" y="1028"/>
                    </a:lnTo>
                    <a:lnTo>
                      <a:pt x="3675" y="1041"/>
                    </a:lnTo>
                    <a:lnTo>
                      <a:pt x="3690" y="1061"/>
                    </a:lnTo>
                    <a:lnTo>
                      <a:pt x="3699" y="1082"/>
                    </a:lnTo>
                    <a:lnTo>
                      <a:pt x="3702" y="1105"/>
                    </a:lnTo>
                    <a:lnTo>
                      <a:pt x="3699" y="1130"/>
                    </a:lnTo>
                    <a:lnTo>
                      <a:pt x="3690" y="1151"/>
                    </a:lnTo>
                    <a:lnTo>
                      <a:pt x="3675" y="1169"/>
                    </a:lnTo>
                    <a:lnTo>
                      <a:pt x="3657" y="1184"/>
                    </a:lnTo>
                    <a:lnTo>
                      <a:pt x="3635" y="1193"/>
                    </a:lnTo>
                    <a:lnTo>
                      <a:pt x="3611" y="1196"/>
                    </a:lnTo>
                    <a:lnTo>
                      <a:pt x="3169" y="1196"/>
                    </a:lnTo>
                    <a:lnTo>
                      <a:pt x="3169" y="1016"/>
                    </a:lnTo>
                    <a:close/>
                    <a:moveTo>
                      <a:pt x="91" y="1016"/>
                    </a:moveTo>
                    <a:lnTo>
                      <a:pt x="533" y="1016"/>
                    </a:lnTo>
                    <a:lnTo>
                      <a:pt x="533" y="1196"/>
                    </a:lnTo>
                    <a:lnTo>
                      <a:pt x="91" y="1196"/>
                    </a:lnTo>
                    <a:lnTo>
                      <a:pt x="66" y="1193"/>
                    </a:lnTo>
                    <a:lnTo>
                      <a:pt x="45" y="1184"/>
                    </a:lnTo>
                    <a:lnTo>
                      <a:pt x="27" y="1169"/>
                    </a:lnTo>
                    <a:lnTo>
                      <a:pt x="12" y="1151"/>
                    </a:lnTo>
                    <a:lnTo>
                      <a:pt x="3" y="1130"/>
                    </a:lnTo>
                    <a:lnTo>
                      <a:pt x="0" y="1105"/>
                    </a:lnTo>
                    <a:lnTo>
                      <a:pt x="3" y="1082"/>
                    </a:lnTo>
                    <a:lnTo>
                      <a:pt x="12" y="1061"/>
                    </a:lnTo>
                    <a:lnTo>
                      <a:pt x="27" y="1041"/>
                    </a:lnTo>
                    <a:lnTo>
                      <a:pt x="45" y="1028"/>
                    </a:lnTo>
                    <a:lnTo>
                      <a:pt x="66" y="1019"/>
                    </a:lnTo>
                    <a:lnTo>
                      <a:pt x="91" y="1016"/>
                    </a:lnTo>
                    <a:close/>
                    <a:moveTo>
                      <a:pt x="3169" y="684"/>
                    </a:moveTo>
                    <a:lnTo>
                      <a:pt x="3611" y="684"/>
                    </a:lnTo>
                    <a:lnTo>
                      <a:pt x="3635" y="687"/>
                    </a:lnTo>
                    <a:lnTo>
                      <a:pt x="3657" y="696"/>
                    </a:lnTo>
                    <a:lnTo>
                      <a:pt x="3675" y="710"/>
                    </a:lnTo>
                    <a:lnTo>
                      <a:pt x="3690" y="728"/>
                    </a:lnTo>
                    <a:lnTo>
                      <a:pt x="3699" y="751"/>
                    </a:lnTo>
                    <a:lnTo>
                      <a:pt x="3702" y="774"/>
                    </a:lnTo>
                    <a:lnTo>
                      <a:pt x="3699" y="798"/>
                    </a:lnTo>
                    <a:lnTo>
                      <a:pt x="3690" y="820"/>
                    </a:lnTo>
                    <a:lnTo>
                      <a:pt x="3675" y="838"/>
                    </a:lnTo>
                    <a:lnTo>
                      <a:pt x="3657" y="853"/>
                    </a:lnTo>
                    <a:lnTo>
                      <a:pt x="3635" y="862"/>
                    </a:lnTo>
                    <a:lnTo>
                      <a:pt x="3611" y="865"/>
                    </a:lnTo>
                    <a:lnTo>
                      <a:pt x="3169" y="865"/>
                    </a:lnTo>
                    <a:lnTo>
                      <a:pt x="3169" y="684"/>
                    </a:lnTo>
                    <a:close/>
                    <a:moveTo>
                      <a:pt x="91" y="684"/>
                    </a:moveTo>
                    <a:lnTo>
                      <a:pt x="533" y="684"/>
                    </a:lnTo>
                    <a:lnTo>
                      <a:pt x="533" y="865"/>
                    </a:lnTo>
                    <a:lnTo>
                      <a:pt x="91" y="865"/>
                    </a:lnTo>
                    <a:lnTo>
                      <a:pt x="66" y="862"/>
                    </a:lnTo>
                    <a:lnTo>
                      <a:pt x="45" y="853"/>
                    </a:lnTo>
                    <a:lnTo>
                      <a:pt x="27" y="838"/>
                    </a:lnTo>
                    <a:lnTo>
                      <a:pt x="12" y="820"/>
                    </a:lnTo>
                    <a:lnTo>
                      <a:pt x="3" y="798"/>
                    </a:lnTo>
                    <a:lnTo>
                      <a:pt x="0" y="774"/>
                    </a:lnTo>
                    <a:lnTo>
                      <a:pt x="3" y="751"/>
                    </a:lnTo>
                    <a:lnTo>
                      <a:pt x="12" y="728"/>
                    </a:lnTo>
                    <a:lnTo>
                      <a:pt x="27" y="710"/>
                    </a:lnTo>
                    <a:lnTo>
                      <a:pt x="45" y="696"/>
                    </a:lnTo>
                    <a:lnTo>
                      <a:pt x="66" y="687"/>
                    </a:lnTo>
                    <a:lnTo>
                      <a:pt x="91" y="684"/>
                    </a:lnTo>
                    <a:close/>
                    <a:moveTo>
                      <a:pt x="3169" y="341"/>
                    </a:moveTo>
                    <a:lnTo>
                      <a:pt x="3611" y="341"/>
                    </a:lnTo>
                    <a:lnTo>
                      <a:pt x="3635" y="345"/>
                    </a:lnTo>
                    <a:lnTo>
                      <a:pt x="3657" y="354"/>
                    </a:lnTo>
                    <a:lnTo>
                      <a:pt x="3675" y="367"/>
                    </a:lnTo>
                    <a:lnTo>
                      <a:pt x="3690" y="386"/>
                    </a:lnTo>
                    <a:lnTo>
                      <a:pt x="3699" y="407"/>
                    </a:lnTo>
                    <a:lnTo>
                      <a:pt x="3702" y="431"/>
                    </a:lnTo>
                    <a:lnTo>
                      <a:pt x="3699" y="456"/>
                    </a:lnTo>
                    <a:lnTo>
                      <a:pt x="3690" y="477"/>
                    </a:lnTo>
                    <a:lnTo>
                      <a:pt x="3675" y="495"/>
                    </a:lnTo>
                    <a:lnTo>
                      <a:pt x="3657" y="510"/>
                    </a:lnTo>
                    <a:lnTo>
                      <a:pt x="3635" y="519"/>
                    </a:lnTo>
                    <a:lnTo>
                      <a:pt x="3611" y="522"/>
                    </a:lnTo>
                    <a:lnTo>
                      <a:pt x="3169" y="522"/>
                    </a:lnTo>
                    <a:lnTo>
                      <a:pt x="3169" y="341"/>
                    </a:lnTo>
                    <a:close/>
                    <a:moveTo>
                      <a:pt x="91" y="341"/>
                    </a:moveTo>
                    <a:lnTo>
                      <a:pt x="533" y="341"/>
                    </a:lnTo>
                    <a:lnTo>
                      <a:pt x="533" y="522"/>
                    </a:lnTo>
                    <a:lnTo>
                      <a:pt x="91" y="522"/>
                    </a:lnTo>
                    <a:lnTo>
                      <a:pt x="66" y="519"/>
                    </a:lnTo>
                    <a:lnTo>
                      <a:pt x="45" y="510"/>
                    </a:lnTo>
                    <a:lnTo>
                      <a:pt x="27" y="495"/>
                    </a:lnTo>
                    <a:lnTo>
                      <a:pt x="12" y="477"/>
                    </a:lnTo>
                    <a:lnTo>
                      <a:pt x="3" y="456"/>
                    </a:lnTo>
                    <a:lnTo>
                      <a:pt x="0" y="431"/>
                    </a:lnTo>
                    <a:lnTo>
                      <a:pt x="3" y="407"/>
                    </a:lnTo>
                    <a:lnTo>
                      <a:pt x="12" y="386"/>
                    </a:lnTo>
                    <a:lnTo>
                      <a:pt x="27" y="367"/>
                    </a:lnTo>
                    <a:lnTo>
                      <a:pt x="45" y="354"/>
                    </a:lnTo>
                    <a:lnTo>
                      <a:pt x="66" y="345"/>
                    </a:lnTo>
                    <a:lnTo>
                      <a:pt x="91" y="341"/>
                    </a:lnTo>
                    <a:close/>
                    <a:moveTo>
                      <a:pt x="3169" y="0"/>
                    </a:moveTo>
                    <a:lnTo>
                      <a:pt x="3611" y="0"/>
                    </a:lnTo>
                    <a:lnTo>
                      <a:pt x="3635" y="3"/>
                    </a:lnTo>
                    <a:lnTo>
                      <a:pt x="3657" y="12"/>
                    </a:lnTo>
                    <a:lnTo>
                      <a:pt x="3675" y="26"/>
                    </a:lnTo>
                    <a:lnTo>
                      <a:pt x="3690" y="45"/>
                    </a:lnTo>
                    <a:lnTo>
                      <a:pt x="3699" y="66"/>
                    </a:lnTo>
                    <a:lnTo>
                      <a:pt x="3702" y="90"/>
                    </a:lnTo>
                    <a:lnTo>
                      <a:pt x="3699" y="115"/>
                    </a:lnTo>
                    <a:lnTo>
                      <a:pt x="3690" y="136"/>
                    </a:lnTo>
                    <a:lnTo>
                      <a:pt x="3675" y="154"/>
                    </a:lnTo>
                    <a:lnTo>
                      <a:pt x="3657" y="168"/>
                    </a:lnTo>
                    <a:lnTo>
                      <a:pt x="3635" y="177"/>
                    </a:lnTo>
                    <a:lnTo>
                      <a:pt x="3611" y="181"/>
                    </a:lnTo>
                    <a:lnTo>
                      <a:pt x="3169" y="181"/>
                    </a:lnTo>
                    <a:lnTo>
                      <a:pt x="3169" y="0"/>
                    </a:lnTo>
                    <a:close/>
                    <a:moveTo>
                      <a:pt x="91" y="0"/>
                    </a:moveTo>
                    <a:lnTo>
                      <a:pt x="533" y="0"/>
                    </a:lnTo>
                    <a:lnTo>
                      <a:pt x="533" y="181"/>
                    </a:lnTo>
                    <a:lnTo>
                      <a:pt x="91" y="181"/>
                    </a:lnTo>
                    <a:lnTo>
                      <a:pt x="66" y="177"/>
                    </a:lnTo>
                    <a:lnTo>
                      <a:pt x="45" y="168"/>
                    </a:lnTo>
                    <a:lnTo>
                      <a:pt x="27" y="154"/>
                    </a:lnTo>
                    <a:lnTo>
                      <a:pt x="12" y="136"/>
                    </a:lnTo>
                    <a:lnTo>
                      <a:pt x="3" y="115"/>
                    </a:lnTo>
                    <a:lnTo>
                      <a:pt x="0" y="90"/>
                    </a:lnTo>
                    <a:lnTo>
                      <a:pt x="3" y="66"/>
                    </a:lnTo>
                    <a:lnTo>
                      <a:pt x="12" y="45"/>
                    </a:lnTo>
                    <a:lnTo>
                      <a:pt x="27" y="26"/>
                    </a:lnTo>
                    <a:lnTo>
                      <a:pt x="45" y="12"/>
                    </a:lnTo>
                    <a:lnTo>
                      <a:pt x="66" y="3"/>
                    </a:lnTo>
                    <a:lnTo>
                      <a:pt x="91"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5" name="Freeform 30"/>
            <p:cNvSpPr>
              <a:spLocks noEditPoints="1"/>
            </p:cNvSpPr>
            <p:nvPr/>
          </p:nvSpPr>
          <p:spPr bwMode="auto">
            <a:xfrm>
              <a:off x="7842001" y="1593585"/>
              <a:ext cx="916974" cy="1754686"/>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31" name="Group 13"/>
            <p:cNvGrpSpPr>
              <a:grpSpLocks noChangeAspect="1"/>
            </p:cNvGrpSpPr>
            <p:nvPr/>
          </p:nvGrpSpPr>
          <p:grpSpPr bwMode="auto">
            <a:xfrm>
              <a:off x="6996098" y="3758370"/>
              <a:ext cx="848940" cy="576269"/>
              <a:chOff x="1976" y="860"/>
              <a:chExt cx="3898" cy="2646"/>
            </a:xfrm>
          </p:grpSpPr>
          <p:sp>
            <p:nvSpPr>
              <p:cNvPr id="55" name="Freeform 16"/>
              <p:cNvSpPr>
                <a:spLocks/>
              </p:cNvSpPr>
              <p:nvPr/>
            </p:nvSpPr>
            <p:spPr bwMode="auto">
              <a:xfrm>
                <a:off x="1976" y="860"/>
                <a:ext cx="3898" cy="2646"/>
              </a:xfrm>
              <a:custGeom>
                <a:avLst/>
                <a:gdLst>
                  <a:gd name="T0" fmla="*/ 3874 w 3898"/>
                  <a:gd name="T1" fmla="*/ 0 h 2646"/>
                  <a:gd name="T2" fmla="*/ 3898 w 3898"/>
                  <a:gd name="T3" fmla="*/ 0 h 2646"/>
                  <a:gd name="T4" fmla="*/ 3898 w 3898"/>
                  <a:gd name="T5" fmla="*/ 2646 h 2646"/>
                  <a:gd name="T6" fmla="*/ 0 w 3898"/>
                  <a:gd name="T7" fmla="*/ 2646 h 2646"/>
                  <a:gd name="T8" fmla="*/ 0 w 3898"/>
                  <a:gd name="T9" fmla="*/ 2622 h 2646"/>
                  <a:gd name="T10" fmla="*/ 3874 w 3898"/>
                  <a:gd name="T11" fmla="*/ 2622 h 2646"/>
                  <a:gd name="T12" fmla="*/ 3874 w 3898"/>
                  <a:gd name="T13" fmla="*/ 0 h 2646"/>
                </a:gdLst>
                <a:ahLst/>
                <a:cxnLst>
                  <a:cxn ang="0">
                    <a:pos x="T0" y="T1"/>
                  </a:cxn>
                  <a:cxn ang="0">
                    <a:pos x="T2" y="T3"/>
                  </a:cxn>
                  <a:cxn ang="0">
                    <a:pos x="T4" y="T5"/>
                  </a:cxn>
                  <a:cxn ang="0">
                    <a:pos x="T6" y="T7"/>
                  </a:cxn>
                  <a:cxn ang="0">
                    <a:pos x="T8" y="T9"/>
                  </a:cxn>
                  <a:cxn ang="0">
                    <a:pos x="T10" y="T11"/>
                  </a:cxn>
                  <a:cxn ang="0">
                    <a:pos x="T12" y="T13"/>
                  </a:cxn>
                </a:cxnLst>
                <a:rect l="0" t="0" r="r" b="b"/>
                <a:pathLst>
                  <a:path w="3898" h="2646">
                    <a:moveTo>
                      <a:pt x="3874" y="0"/>
                    </a:moveTo>
                    <a:lnTo>
                      <a:pt x="3898" y="0"/>
                    </a:lnTo>
                    <a:lnTo>
                      <a:pt x="3898" y="2646"/>
                    </a:lnTo>
                    <a:lnTo>
                      <a:pt x="0" y="2646"/>
                    </a:lnTo>
                    <a:lnTo>
                      <a:pt x="0" y="2622"/>
                    </a:lnTo>
                    <a:lnTo>
                      <a:pt x="3874" y="2622"/>
                    </a:lnTo>
                    <a:lnTo>
                      <a:pt x="3874" y="0"/>
                    </a:lnTo>
                    <a:close/>
                  </a:path>
                </a:pathLst>
              </a:custGeom>
              <a:solidFill>
                <a:srgbClr val="000074"/>
              </a:solidFill>
              <a:ln w="0">
                <a:solidFill>
                  <a:srgbClr val="00007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7"/>
              <p:cNvSpPr>
                <a:spLocks/>
              </p:cNvSpPr>
              <p:nvPr/>
            </p:nvSpPr>
            <p:spPr bwMode="auto">
              <a:xfrm>
                <a:off x="1984" y="917"/>
                <a:ext cx="3805" cy="2551"/>
              </a:xfrm>
              <a:custGeom>
                <a:avLst/>
                <a:gdLst>
                  <a:gd name="T0" fmla="*/ 3624 w 3805"/>
                  <a:gd name="T1" fmla="*/ 86 h 2551"/>
                  <a:gd name="T2" fmla="*/ 3750 w 3805"/>
                  <a:gd name="T3" fmla="*/ 263 h 2551"/>
                  <a:gd name="T4" fmla="*/ 3625 w 3805"/>
                  <a:gd name="T5" fmla="*/ 339 h 2551"/>
                  <a:gd name="T6" fmla="*/ 3570 w 3805"/>
                  <a:gd name="T7" fmla="*/ 565 h 2551"/>
                  <a:gd name="T8" fmla="*/ 3487 w 3805"/>
                  <a:gd name="T9" fmla="*/ 782 h 2551"/>
                  <a:gd name="T10" fmla="*/ 3378 w 3805"/>
                  <a:gd name="T11" fmla="*/ 990 h 2551"/>
                  <a:gd name="T12" fmla="*/ 3244 w 3805"/>
                  <a:gd name="T13" fmla="*/ 1189 h 2551"/>
                  <a:gd name="T14" fmla="*/ 3086 w 3805"/>
                  <a:gd name="T15" fmla="*/ 1377 h 2551"/>
                  <a:gd name="T16" fmla="*/ 2905 w 3805"/>
                  <a:gd name="T17" fmla="*/ 1554 h 2551"/>
                  <a:gd name="T18" fmla="*/ 2704 w 3805"/>
                  <a:gd name="T19" fmla="*/ 1719 h 2551"/>
                  <a:gd name="T20" fmla="*/ 2483 w 3805"/>
                  <a:gd name="T21" fmla="*/ 1871 h 2551"/>
                  <a:gd name="T22" fmla="*/ 2243 w 3805"/>
                  <a:gd name="T23" fmla="*/ 2010 h 2551"/>
                  <a:gd name="T24" fmla="*/ 1986 w 3805"/>
                  <a:gd name="T25" fmla="*/ 2134 h 2551"/>
                  <a:gd name="T26" fmla="*/ 1715 w 3805"/>
                  <a:gd name="T27" fmla="*/ 2244 h 2551"/>
                  <a:gd name="T28" fmla="*/ 1428 w 3805"/>
                  <a:gd name="T29" fmla="*/ 2339 h 2551"/>
                  <a:gd name="T30" fmla="*/ 1130 w 3805"/>
                  <a:gd name="T31" fmla="*/ 2416 h 2551"/>
                  <a:gd name="T32" fmla="*/ 821 w 3805"/>
                  <a:gd name="T33" fmla="*/ 2477 h 2551"/>
                  <a:gd name="T34" fmla="*/ 500 w 3805"/>
                  <a:gd name="T35" fmla="*/ 2521 h 2551"/>
                  <a:gd name="T36" fmla="*/ 171 w 3805"/>
                  <a:gd name="T37" fmla="*/ 2546 h 2551"/>
                  <a:gd name="T38" fmla="*/ 0 w 3805"/>
                  <a:gd name="T39" fmla="*/ 2413 h 2551"/>
                  <a:gd name="T40" fmla="*/ 324 w 3805"/>
                  <a:gd name="T41" fmla="*/ 2398 h 2551"/>
                  <a:gd name="T42" fmla="*/ 640 w 3805"/>
                  <a:gd name="T43" fmla="*/ 2363 h 2551"/>
                  <a:gd name="T44" fmla="*/ 946 w 3805"/>
                  <a:gd name="T45" fmla="*/ 2311 h 2551"/>
                  <a:gd name="T46" fmla="*/ 1242 w 3805"/>
                  <a:gd name="T47" fmla="*/ 2241 h 2551"/>
                  <a:gd name="T48" fmla="*/ 1526 w 3805"/>
                  <a:gd name="T49" fmla="*/ 2155 h 2551"/>
                  <a:gd name="T50" fmla="*/ 1795 w 3805"/>
                  <a:gd name="T51" fmla="*/ 2052 h 2551"/>
                  <a:gd name="T52" fmla="*/ 2049 w 3805"/>
                  <a:gd name="T53" fmla="*/ 1936 h 2551"/>
                  <a:gd name="T54" fmla="*/ 2287 w 3805"/>
                  <a:gd name="T55" fmla="*/ 1804 h 2551"/>
                  <a:gd name="T56" fmla="*/ 2506 w 3805"/>
                  <a:gd name="T57" fmla="*/ 1658 h 2551"/>
                  <a:gd name="T58" fmla="*/ 2706 w 3805"/>
                  <a:gd name="T59" fmla="*/ 1500 h 2551"/>
                  <a:gd name="T60" fmla="*/ 2885 w 3805"/>
                  <a:gd name="T61" fmla="*/ 1329 h 2551"/>
                  <a:gd name="T62" fmla="*/ 3043 w 3805"/>
                  <a:gd name="T63" fmla="*/ 1148 h 2551"/>
                  <a:gd name="T64" fmla="*/ 3176 w 3805"/>
                  <a:gd name="T65" fmla="*/ 955 h 2551"/>
                  <a:gd name="T66" fmla="*/ 3284 w 3805"/>
                  <a:gd name="T67" fmla="*/ 753 h 2551"/>
                  <a:gd name="T68" fmla="*/ 3366 w 3805"/>
                  <a:gd name="T69" fmla="*/ 541 h 2551"/>
                  <a:gd name="T70" fmla="*/ 3419 w 3805"/>
                  <a:gd name="T71" fmla="*/ 321 h 2551"/>
                  <a:gd name="T72" fmla="*/ 3323 w 3805"/>
                  <a:gd name="T73" fmla="*/ 232 h 2551"/>
                  <a:gd name="T74" fmla="*/ 3480 w 3805"/>
                  <a:gd name="T75" fmla="*/ 79 h 2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05" h="2551">
                    <a:moveTo>
                      <a:pt x="3554" y="0"/>
                    </a:moveTo>
                    <a:lnTo>
                      <a:pt x="3624" y="86"/>
                    </a:lnTo>
                    <a:lnTo>
                      <a:pt x="3688" y="174"/>
                    </a:lnTo>
                    <a:lnTo>
                      <a:pt x="3750" y="263"/>
                    </a:lnTo>
                    <a:lnTo>
                      <a:pt x="3805" y="353"/>
                    </a:lnTo>
                    <a:lnTo>
                      <a:pt x="3625" y="339"/>
                    </a:lnTo>
                    <a:lnTo>
                      <a:pt x="3601" y="452"/>
                    </a:lnTo>
                    <a:lnTo>
                      <a:pt x="3570" y="565"/>
                    </a:lnTo>
                    <a:lnTo>
                      <a:pt x="3532" y="674"/>
                    </a:lnTo>
                    <a:lnTo>
                      <a:pt x="3487" y="782"/>
                    </a:lnTo>
                    <a:lnTo>
                      <a:pt x="3436" y="888"/>
                    </a:lnTo>
                    <a:lnTo>
                      <a:pt x="3378" y="990"/>
                    </a:lnTo>
                    <a:lnTo>
                      <a:pt x="3314" y="1091"/>
                    </a:lnTo>
                    <a:lnTo>
                      <a:pt x="3244" y="1189"/>
                    </a:lnTo>
                    <a:lnTo>
                      <a:pt x="3168" y="1284"/>
                    </a:lnTo>
                    <a:lnTo>
                      <a:pt x="3086" y="1377"/>
                    </a:lnTo>
                    <a:lnTo>
                      <a:pt x="2998" y="1467"/>
                    </a:lnTo>
                    <a:lnTo>
                      <a:pt x="2905" y="1554"/>
                    </a:lnTo>
                    <a:lnTo>
                      <a:pt x="2807" y="1637"/>
                    </a:lnTo>
                    <a:lnTo>
                      <a:pt x="2704" y="1719"/>
                    </a:lnTo>
                    <a:lnTo>
                      <a:pt x="2595" y="1796"/>
                    </a:lnTo>
                    <a:lnTo>
                      <a:pt x="2483" y="1871"/>
                    </a:lnTo>
                    <a:lnTo>
                      <a:pt x="2365" y="1942"/>
                    </a:lnTo>
                    <a:lnTo>
                      <a:pt x="2243" y="2010"/>
                    </a:lnTo>
                    <a:lnTo>
                      <a:pt x="2117" y="2074"/>
                    </a:lnTo>
                    <a:lnTo>
                      <a:pt x="1986" y="2134"/>
                    </a:lnTo>
                    <a:lnTo>
                      <a:pt x="1852" y="2191"/>
                    </a:lnTo>
                    <a:lnTo>
                      <a:pt x="1715" y="2244"/>
                    </a:lnTo>
                    <a:lnTo>
                      <a:pt x="1573" y="2293"/>
                    </a:lnTo>
                    <a:lnTo>
                      <a:pt x="1428" y="2339"/>
                    </a:lnTo>
                    <a:lnTo>
                      <a:pt x="1281" y="2379"/>
                    </a:lnTo>
                    <a:lnTo>
                      <a:pt x="1130" y="2416"/>
                    </a:lnTo>
                    <a:lnTo>
                      <a:pt x="976" y="2449"/>
                    </a:lnTo>
                    <a:lnTo>
                      <a:pt x="821" y="2477"/>
                    </a:lnTo>
                    <a:lnTo>
                      <a:pt x="661" y="2501"/>
                    </a:lnTo>
                    <a:lnTo>
                      <a:pt x="500" y="2521"/>
                    </a:lnTo>
                    <a:lnTo>
                      <a:pt x="336" y="2536"/>
                    </a:lnTo>
                    <a:lnTo>
                      <a:pt x="171" y="2546"/>
                    </a:lnTo>
                    <a:lnTo>
                      <a:pt x="4" y="2551"/>
                    </a:lnTo>
                    <a:lnTo>
                      <a:pt x="0" y="2413"/>
                    </a:lnTo>
                    <a:lnTo>
                      <a:pt x="163" y="2407"/>
                    </a:lnTo>
                    <a:lnTo>
                      <a:pt x="324" y="2398"/>
                    </a:lnTo>
                    <a:lnTo>
                      <a:pt x="483" y="2382"/>
                    </a:lnTo>
                    <a:lnTo>
                      <a:pt x="640" y="2363"/>
                    </a:lnTo>
                    <a:lnTo>
                      <a:pt x="794" y="2340"/>
                    </a:lnTo>
                    <a:lnTo>
                      <a:pt x="946" y="2311"/>
                    </a:lnTo>
                    <a:lnTo>
                      <a:pt x="1096" y="2278"/>
                    </a:lnTo>
                    <a:lnTo>
                      <a:pt x="1242" y="2241"/>
                    </a:lnTo>
                    <a:lnTo>
                      <a:pt x="1386" y="2200"/>
                    </a:lnTo>
                    <a:lnTo>
                      <a:pt x="1526" y="2155"/>
                    </a:lnTo>
                    <a:lnTo>
                      <a:pt x="1662" y="2106"/>
                    </a:lnTo>
                    <a:lnTo>
                      <a:pt x="1795" y="2052"/>
                    </a:lnTo>
                    <a:lnTo>
                      <a:pt x="1924" y="1995"/>
                    </a:lnTo>
                    <a:lnTo>
                      <a:pt x="2049" y="1936"/>
                    </a:lnTo>
                    <a:lnTo>
                      <a:pt x="2170" y="1872"/>
                    </a:lnTo>
                    <a:lnTo>
                      <a:pt x="2287" y="1804"/>
                    </a:lnTo>
                    <a:lnTo>
                      <a:pt x="2398" y="1733"/>
                    </a:lnTo>
                    <a:lnTo>
                      <a:pt x="2506" y="1658"/>
                    </a:lnTo>
                    <a:lnTo>
                      <a:pt x="2609" y="1581"/>
                    </a:lnTo>
                    <a:lnTo>
                      <a:pt x="2706" y="1500"/>
                    </a:lnTo>
                    <a:lnTo>
                      <a:pt x="2799" y="1416"/>
                    </a:lnTo>
                    <a:lnTo>
                      <a:pt x="2885" y="1329"/>
                    </a:lnTo>
                    <a:lnTo>
                      <a:pt x="2967" y="1240"/>
                    </a:lnTo>
                    <a:lnTo>
                      <a:pt x="3043" y="1148"/>
                    </a:lnTo>
                    <a:lnTo>
                      <a:pt x="3112" y="1053"/>
                    </a:lnTo>
                    <a:lnTo>
                      <a:pt x="3176" y="955"/>
                    </a:lnTo>
                    <a:lnTo>
                      <a:pt x="3233" y="856"/>
                    </a:lnTo>
                    <a:lnTo>
                      <a:pt x="3284" y="753"/>
                    </a:lnTo>
                    <a:lnTo>
                      <a:pt x="3328" y="648"/>
                    </a:lnTo>
                    <a:lnTo>
                      <a:pt x="3366" y="541"/>
                    </a:lnTo>
                    <a:lnTo>
                      <a:pt x="3396" y="432"/>
                    </a:lnTo>
                    <a:lnTo>
                      <a:pt x="3419" y="321"/>
                    </a:lnTo>
                    <a:lnTo>
                      <a:pt x="3239" y="306"/>
                    </a:lnTo>
                    <a:lnTo>
                      <a:pt x="3323" y="232"/>
                    </a:lnTo>
                    <a:lnTo>
                      <a:pt x="3404" y="156"/>
                    </a:lnTo>
                    <a:lnTo>
                      <a:pt x="3480" y="79"/>
                    </a:lnTo>
                    <a:lnTo>
                      <a:pt x="3554" y="0"/>
                    </a:lnTo>
                    <a:close/>
                  </a:path>
                </a:pathLst>
              </a:custGeom>
              <a:solidFill>
                <a:srgbClr val="000074"/>
              </a:solidFill>
              <a:ln w="0">
                <a:solidFill>
                  <a:srgbClr val="00007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75" name="Group 74"/>
            <p:cNvGrpSpPr/>
            <p:nvPr/>
          </p:nvGrpSpPr>
          <p:grpSpPr>
            <a:xfrm>
              <a:off x="8833644" y="3844354"/>
              <a:ext cx="1150937" cy="322263"/>
              <a:chOff x="8942388" y="3905250"/>
              <a:chExt cx="1150937" cy="322263"/>
            </a:xfrm>
          </p:grpSpPr>
          <p:grpSp>
            <p:nvGrpSpPr>
              <p:cNvPr id="59" name="Group 22"/>
              <p:cNvGrpSpPr>
                <a:grpSpLocks noChangeAspect="1"/>
              </p:cNvGrpSpPr>
              <p:nvPr/>
            </p:nvGrpSpPr>
            <p:grpSpPr bwMode="auto">
              <a:xfrm>
                <a:off x="8942388" y="3905250"/>
                <a:ext cx="1150937" cy="322263"/>
                <a:chOff x="5633" y="2460"/>
                <a:chExt cx="725" cy="203"/>
              </a:xfrm>
            </p:grpSpPr>
            <p:sp>
              <p:nvSpPr>
                <p:cNvPr id="60" name="AutoShape 21"/>
                <p:cNvSpPr>
                  <a:spLocks noChangeAspect="1" noChangeArrowheads="1" noTextEdit="1"/>
                </p:cNvSpPr>
                <p:nvPr/>
              </p:nvSpPr>
              <p:spPr bwMode="auto">
                <a:xfrm>
                  <a:off x="5633" y="2460"/>
                  <a:ext cx="725"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24"/>
                <p:cNvSpPr>
                  <a:spLocks noEditPoints="1"/>
                </p:cNvSpPr>
                <p:nvPr/>
              </p:nvSpPr>
              <p:spPr bwMode="auto">
                <a:xfrm>
                  <a:off x="5633" y="2462"/>
                  <a:ext cx="452" cy="201"/>
                </a:xfrm>
                <a:custGeom>
                  <a:avLst/>
                  <a:gdLst>
                    <a:gd name="T0" fmla="*/ 2049 w 2262"/>
                    <a:gd name="T1" fmla="*/ 568 h 1006"/>
                    <a:gd name="T2" fmla="*/ 2049 w 2262"/>
                    <a:gd name="T3" fmla="*/ 803 h 1006"/>
                    <a:gd name="T4" fmla="*/ 2165 w 2262"/>
                    <a:gd name="T5" fmla="*/ 803 h 1006"/>
                    <a:gd name="T6" fmla="*/ 2165 w 2262"/>
                    <a:gd name="T7" fmla="*/ 568 h 1006"/>
                    <a:gd name="T8" fmla="*/ 2049 w 2262"/>
                    <a:gd name="T9" fmla="*/ 568 h 1006"/>
                    <a:gd name="T10" fmla="*/ 2049 w 2262"/>
                    <a:gd name="T11" fmla="*/ 214 h 1006"/>
                    <a:gd name="T12" fmla="*/ 2049 w 2262"/>
                    <a:gd name="T13" fmla="*/ 449 h 1006"/>
                    <a:gd name="T14" fmla="*/ 2165 w 2262"/>
                    <a:gd name="T15" fmla="*/ 449 h 1006"/>
                    <a:gd name="T16" fmla="*/ 2165 w 2262"/>
                    <a:gd name="T17" fmla="*/ 214 h 1006"/>
                    <a:gd name="T18" fmla="*/ 2049 w 2262"/>
                    <a:gd name="T19" fmla="*/ 214 h 1006"/>
                    <a:gd name="T20" fmla="*/ 164 w 2262"/>
                    <a:gd name="T21" fmla="*/ 122 h 1006"/>
                    <a:gd name="T22" fmla="*/ 164 w 2262"/>
                    <a:gd name="T23" fmla="*/ 877 h 1006"/>
                    <a:gd name="T24" fmla="*/ 1563 w 2262"/>
                    <a:gd name="T25" fmla="*/ 877 h 1006"/>
                    <a:gd name="T26" fmla="*/ 1563 w 2262"/>
                    <a:gd name="T27" fmla="*/ 122 h 1006"/>
                    <a:gd name="T28" fmla="*/ 164 w 2262"/>
                    <a:gd name="T29" fmla="*/ 122 h 1006"/>
                    <a:gd name="T30" fmla="*/ 0 w 2262"/>
                    <a:gd name="T31" fmla="*/ 0 h 1006"/>
                    <a:gd name="T32" fmla="*/ 1707 w 2262"/>
                    <a:gd name="T33" fmla="*/ 0 h 1006"/>
                    <a:gd name="T34" fmla="*/ 1707 w 2262"/>
                    <a:gd name="T35" fmla="*/ 118 h 1006"/>
                    <a:gd name="T36" fmla="*/ 2262 w 2262"/>
                    <a:gd name="T37" fmla="*/ 118 h 1006"/>
                    <a:gd name="T38" fmla="*/ 2262 w 2262"/>
                    <a:gd name="T39" fmla="*/ 888 h 1006"/>
                    <a:gd name="T40" fmla="*/ 1707 w 2262"/>
                    <a:gd name="T41" fmla="*/ 888 h 1006"/>
                    <a:gd name="T42" fmla="*/ 1707 w 2262"/>
                    <a:gd name="T43" fmla="*/ 1006 h 1006"/>
                    <a:gd name="T44" fmla="*/ 0 w 2262"/>
                    <a:gd name="T45" fmla="*/ 1006 h 1006"/>
                    <a:gd name="T46" fmla="*/ 0 w 2262"/>
                    <a:gd name="T47" fmla="*/ 0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62" h="1006">
                      <a:moveTo>
                        <a:pt x="2049" y="568"/>
                      </a:moveTo>
                      <a:lnTo>
                        <a:pt x="2049" y="803"/>
                      </a:lnTo>
                      <a:lnTo>
                        <a:pt x="2165" y="803"/>
                      </a:lnTo>
                      <a:lnTo>
                        <a:pt x="2165" y="568"/>
                      </a:lnTo>
                      <a:lnTo>
                        <a:pt x="2049" y="568"/>
                      </a:lnTo>
                      <a:close/>
                      <a:moveTo>
                        <a:pt x="2049" y="214"/>
                      </a:moveTo>
                      <a:lnTo>
                        <a:pt x="2049" y="449"/>
                      </a:lnTo>
                      <a:lnTo>
                        <a:pt x="2165" y="449"/>
                      </a:lnTo>
                      <a:lnTo>
                        <a:pt x="2165" y="214"/>
                      </a:lnTo>
                      <a:lnTo>
                        <a:pt x="2049" y="214"/>
                      </a:lnTo>
                      <a:close/>
                      <a:moveTo>
                        <a:pt x="164" y="122"/>
                      </a:moveTo>
                      <a:lnTo>
                        <a:pt x="164" y="877"/>
                      </a:lnTo>
                      <a:lnTo>
                        <a:pt x="1563" y="877"/>
                      </a:lnTo>
                      <a:lnTo>
                        <a:pt x="1563" y="122"/>
                      </a:lnTo>
                      <a:lnTo>
                        <a:pt x="164" y="122"/>
                      </a:lnTo>
                      <a:close/>
                      <a:moveTo>
                        <a:pt x="0" y="0"/>
                      </a:moveTo>
                      <a:lnTo>
                        <a:pt x="1707" y="0"/>
                      </a:lnTo>
                      <a:lnTo>
                        <a:pt x="1707" y="118"/>
                      </a:lnTo>
                      <a:lnTo>
                        <a:pt x="2262" y="118"/>
                      </a:lnTo>
                      <a:lnTo>
                        <a:pt x="2262" y="888"/>
                      </a:lnTo>
                      <a:lnTo>
                        <a:pt x="1707" y="888"/>
                      </a:lnTo>
                      <a:lnTo>
                        <a:pt x="1707" y="1006"/>
                      </a:lnTo>
                      <a:lnTo>
                        <a:pt x="0" y="1006"/>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25"/>
                <p:cNvSpPr>
                  <a:spLocks noEditPoints="1"/>
                </p:cNvSpPr>
                <p:nvPr/>
              </p:nvSpPr>
              <p:spPr bwMode="auto">
                <a:xfrm>
                  <a:off x="6101" y="2462"/>
                  <a:ext cx="171" cy="201"/>
                </a:xfrm>
                <a:custGeom>
                  <a:avLst/>
                  <a:gdLst>
                    <a:gd name="T0" fmla="*/ 164 w 857"/>
                    <a:gd name="T1" fmla="*/ 122 h 1006"/>
                    <a:gd name="T2" fmla="*/ 164 w 857"/>
                    <a:gd name="T3" fmla="*/ 877 h 1006"/>
                    <a:gd name="T4" fmla="*/ 713 w 857"/>
                    <a:gd name="T5" fmla="*/ 877 h 1006"/>
                    <a:gd name="T6" fmla="*/ 713 w 857"/>
                    <a:gd name="T7" fmla="*/ 122 h 1006"/>
                    <a:gd name="T8" fmla="*/ 164 w 857"/>
                    <a:gd name="T9" fmla="*/ 122 h 1006"/>
                    <a:gd name="T10" fmla="*/ 0 w 857"/>
                    <a:gd name="T11" fmla="*/ 0 h 1006"/>
                    <a:gd name="T12" fmla="*/ 857 w 857"/>
                    <a:gd name="T13" fmla="*/ 0 h 1006"/>
                    <a:gd name="T14" fmla="*/ 857 w 857"/>
                    <a:gd name="T15" fmla="*/ 1006 h 1006"/>
                    <a:gd name="T16" fmla="*/ 0 w 857"/>
                    <a:gd name="T17" fmla="*/ 1006 h 1006"/>
                    <a:gd name="T18" fmla="*/ 0 w 857"/>
                    <a:gd name="T19" fmla="*/ 0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7" h="1006">
                      <a:moveTo>
                        <a:pt x="164" y="122"/>
                      </a:moveTo>
                      <a:lnTo>
                        <a:pt x="164" y="877"/>
                      </a:lnTo>
                      <a:lnTo>
                        <a:pt x="713" y="877"/>
                      </a:lnTo>
                      <a:lnTo>
                        <a:pt x="713" y="122"/>
                      </a:lnTo>
                      <a:lnTo>
                        <a:pt x="164" y="122"/>
                      </a:lnTo>
                      <a:close/>
                      <a:moveTo>
                        <a:pt x="0" y="0"/>
                      </a:moveTo>
                      <a:lnTo>
                        <a:pt x="857" y="0"/>
                      </a:lnTo>
                      <a:lnTo>
                        <a:pt x="857" y="1006"/>
                      </a:lnTo>
                      <a:lnTo>
                        <a:pt x="0" y="1006"/>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8" name="TextBox 67"/>
              <p:cNvSpPr txBox="1"/>
              <p:nvPr/>
            </p:nvSpPr>
            <p:spPr>
              <a:xfrm>
                <a:off x="9062857" y="3973068"/>
                <a:ext cx="290144" cy="221599"/>
              </a:xfrm>
              <a:prstGeom prst="rect">
                <a:avLst/>
              </a:prstGeom>
              <a:noFill/>
              <a:ln w="0">
                <a:noFill/>
              </a:ln>
            </p:spPr>
            <p:txBody>
              <a:bodyPr wrap="none" lIns="0" tIns="0" rIns="0" bIns="0" rtlCol="0">
                <a:spAutoFit/>
              </a:bodyPr>
              <a:lstStyle/>
              <a:p>
                <a:pPr>
                  <a:lnSpc>
                    <a:spcPct val="90000"/>
                  </a:lnSpc>
                </a:pPr>
                <a:r>
                  <a:rPr lang="en-GB" sz="1600" cap="all" dirty="0" smtClean="0"/>
                  <a:t>I/O</a:t>
                </a:r>
              </a:p>
            </p:txBody>
          </p:sp>
        </p:grpSp>
        <p:cxnSp>
          <p:nvCxnSpPr>
            <p:cNvPr id="70" name="Straight Arrow Connector 69"/>
            <p:cNvCxnSpPr/>
            <p:nvPr/>
          </p:nvCxnSpPr>
          <p:spPr>
            <a:xfrm flipH="1">
              <a:off x="7826526" y="3434676"/>
              <a:ext cx="86880" cy="256428"/>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8708131" y="3433255"/>
              <a:ext cx="234257" cy="257849"/>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8372528" y="3433254"/>
              <a:ext cx="0" cy="257849"/>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23288385"/>
      </p:ext>
    </p:extLst>
  </p:cSld>
  <p:clrMapOvr>
    <a:masterClrMapping/>
  </p:clrMapOvr>
  <p:transition spd="slow">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p:cNvSpPr>
            <a:spLocks noGrp="1"/>
          </p:cNvSpPr>
          <p:nvPr>
            <p:ph type="title"/>
          </p:nvPr>
        </p:nvSpPr>
        <p:spPr>
          <a:xfrm>
            <a:off x="257149" y="301675"/>
            <a:ext cx="9658804" cy="779309"/>
          </a:xfrm>
        </p:spPr>
        <p:txBody>
          <a:bodyPr/>
          <a:lstStyle/>
          <a:p>
            <a:pPr lvl="0"/>
            <a:r>
              <a:rPr lang="en-US" dirty="0" smtClean="0"/>
              <a:t>Multiple storage options</a:t>
            </a:r>
            <a:endParaRPr lang="en-US" dirty="0"/>
          </a:p>
        </p:txBody>
      </p:sp>
      <p:sp>
        <p:nvSpPr>
          <p:cNvPr id="64" name="Rectangle 6"/>
          <p:cNvSpPr>
            <a:spLocks noChangeArrowheads="1"/>
          </p:cNvSpPr>
          <p:nvPr/>
        </p:nvSpPr>
        <p:spPr bwMode="auto">
          <a:xfrm>
            <a:off x="147105" y="4580067"/>
            <a:ext cx="3443819" cy="1338954"/>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00" dirty="0"/>
              <a:t>Use direct-attached storage, </a:t>
            </a:r>
            <a:r>
              <a:rPr lang="en-US" sz="2000" dirty="0" smtClean="0"/>
              <a:t>network-attached storage</a:t>
            </a:r>
            <a:r>
              <a:rPr lang="en-US" sz="2000" dirty="0"/>
              <a:t>, and clustered or SAN storage</a:t>
            </a:r>
          </a:p>
        </p:txBody>
      </p:sp>
      <p:sp>
        <p:nvSpPr>
          <p:cNvPr id="65" name="Rectangle 7"/>
          <p:cNvSpPr>
            <a:spLocks noChangeArrowheads="1"/>
          </p:cNvSpPr>
          <p:nvPr/>
        </p:nvSpPr>
        <p:spPr bwMode="auto">
          <a:xfrm>
            <a:off x="4235981" y="4487570"/>
            <a:ext cx="4184120" cy="1129080"/>
          </a:xfrm>
          <a:prstGeom prst="rect">
            <a:avLst/>
          </a:prstGeom>
          <a:noFill/>
          <a:ln w="9525" algn="ctr">
            <a:noFill/>
            <a:miter lim="800000"/>
            <a:headEnd/>
            <a:tailEnd/>
          </a:ln>
        </p:spPr>
        <p:txBody>
          <a:bodyPr wrap="square" lIns="147600" tIns="147600" rIns="147600" bIns="147600" anchor="b">
            <a:spAutoFit/>
          </a:bodyPr>
          <a:lstStyle/>
          <a:p>
            <a:pPr>
              <a:lnSpc>
                <a:spcPct val="90000"/>
              </a:lnSpc>
              <a:spcBef>
                <a:spcPct val="50000"/>
              </a:spcBef>
              <a:buClr>
                <a:schemeClr val="accent2"/>
              </a:buClr>
            </a:pPr>
            <a:r>
              <a:rPr lang="en-US" sz="2000" dirty="0" smtClean="0"/>
              <a:t>Leverage tiered storage to automatically optimize performance</a:t>
            </a:r>
            <a:endParaRPr lang="en-US" sz="2000" dirty="0"/>
          </a:p>
        </p:txBody>
      </p:sp>
      <p:sp>
        <p:nvSpPr>
          <p:cNvPr id="66" name="Rectangle 8"/>
          <p:cNvSpPr>
            <a:spLocks noChangeArrowheads="1"/>
          </p:cNvSpPr>
          <p:nvPr/>
        </p:nvSpPr>
        <p:spPr bwMode="auto">
          <a:xfrm>
            <a:off x="8277226" y="4290430"/>
            <a:ext cx="4159250" cy="1080028"/>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2000" dirty="0"/>
              <a:t>Reduce storage cost </a:t>
            </a:r>
            <a:r>
              <a:rPr lang="en-US" sz="2000" dirty="0" smtClean="0"/>
              <a:t>by leveraging disk </a:t>
            </a:r>
            <a:r>
              <a:rPr lang="en-US" sz="2000" dirty="0" err="1" smtClean="0"/>
              <a:t>deduplication</a:t>
            </a:r>
            <a:endParaRPr lang="en-US" sz="2000" dirty="0"/>
          </a:p>
        </p:txBody>
      </p:sp>
      <p:grpSp>
        <p:nvGrpSpPr>
          <p:cNvPr id="28" name="Group 27"/>
          <p:cNvGrpSpPr/>
          <p:nvPr/>
        </p:nvGrpSpPr>
        <p:grpSpPr>
          <a:xfrm>
            <a:off x="8611871" y="3080851"/>
            <a:ext cx="1258134" cy="912861"/>
            <a:chOff x="8650943" y="3164921"/>
            <a:chExt cx="1258134" cy="912861"/>
          </a:xfrm>
        </p:grpSpPr>
        <p:sp>
          <p:nvSpPr>
            <p:cNvPr id="32" name="Freeform 512"/>
            <p:cNvSpPr>
              <a:spLocks noEditPoints="1"/>
            </p:cNvSpPr>
            <p:nvPr/>
          </p:nvSpPr>
          <p:spPr bwMode="auto">
            <a:xfrm>
              <a:off x="8650943" y="3512534"/>
              <a:ext cx="1258134" cy="565248"/>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solidFill>
              <a:schemeClr val="tx1"/>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3" name="Freeform 513"/>
            <p:cNvSpPr>
              <a:spLocks/>
            </p:cNvSpPr>
            <p:nvPr/>
          </p:nvSpPr>
          <p:spPr bwMode="auto">
            <a:xfrm>
              <a:off x="8765085" y="3804683"/>
              <a:ext cx="563846" cy="159897"/>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solidFill>
              <a:schemeClr val="tx1"/>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9" name="Rectangle 38"/>
            <p:cNvSpPr/>
            <p:nvPr/>
          </p:nvSpPr>
          <p:spPr bwMode="auto">
            <a:xfrm rot="556830">
              <a:off x="8705306" y="3381029"/>
              <a:ext cx="730091" cy="29963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36" name="Freeform 512"/>
            <p:cNvSpPr>
              <a:spLocks noEditPoints="1"/>
            </p:cNvSpPr>
            <p:nvPr/>
          </p:nvSpPr>
          <p:spPr bwMode="auto">
            <a:xfrm>
              <a:off x="8650943" y="3164921"/>
              <a:ext cx="1258134" cy="565248"/>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solidFill>
              <a:schemeClr val="tx1"/>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37" name="Freeform 513"/>
            <p:cNvSpPr>
              <a:spLocks/>
            </p:cNvSpPr>
            <p:nvPr/>
          </p:nvSpPr>
          <p:spPr bwMode="auto">
            <a:xfrm>
              <a:off x="8758576" y="3457070"/>
              <a:ext cx="563846" cy="159897"/>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solidFill>
              <a:schemeClr val="tx1"/>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p:cNvGrpSpPr/>
          <p:nvPr/>
        </p:nvGrpSpPr>
        <p:grpSpPr>
          <a:xfrm>
            <a:off x="10438143" y="1806099"/>
            <a:ext cx="1430906" cy="1993202"/>
            <a:chOff x="10220931" y="1883814"/>
            <a:chExt cx="1696175" cy="2362712"/>
          </a:xfrm>
        </p:grpSpPr>
        <p:grpSp>
          <p:nvGrpSpPr>
            <p:cNvPr id="20" name="Group 19"/>
            <p:cNvGrpSpPr/>
            <p:nvPr/>
          </p:nvGrpSpPr>
          <p:grpSpPr>
            <a:xfrm>
              <a:off x="10382828" y="1883814"/>
              <a:ext cx="1341115" cy="1982167"/>
              <a:chOff x="9827211" y="2540988"/>
              <a:chExt cx="1048715" cy="1550001"/>
            </a:xfrm>
          </p:grpSpPr>
          <p:sp>
            <p:nvSpPr>
              <p:cNvPr id="27" name="Freeform 26"/>
              <p:cNvSpPr>
                <a:spLocks noEditPoints="1"/>
              </p:cNvSpPr>
              <p:nvPr/>
            </p:nvSpPr>
            <p:spPr bwMode="auto">
              <a:xfrm>
                <a:off x="9827211" y="2540988"/>
                <a:ext cx="1048715" cy="1550001"/>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chemeClr val="accent1"/>
              </a:solidFill>
              <a:ln>
                <a:solidFill>
                  <a:schemeClr val="bg1"/>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grpSp>
            <p:nvGrpSpPr>
              <p:cNvPr id="11" name="Group 10"/>
              <p:cNvGrpSpPr/>
              <p:nvPr/>
            </p:nvGrpSpPr>
            <p:grpSpPr>
              <a:xfrm>
                <a:off x="9921220" y="2775615"/>
                <a:ext cx="890587" cy="880020"/>
                <a:chOff x="8780322" y="2775615"/>
                <a:chExt cx="890587" cy="880020"/>
              </a:xfrm>
            </p:grpSpPr>
            <p:sp>
              <p:nvSpPr>
                <p:cNvPr id="9" name="Isosceles Triangle 8"/>
                <p:cNvSpPr/>
                <p:nvPr/>
              </p:nvSpPr>
              <p:spPr bwMode="auto">
                <a:xfrm flipV="1">
                  <a:off x="8838780" y="3231227"/>
                  <a:ext cx="803553" cy="392906"/>
                </a:xfrm>
                <a:prstGeom prst="triangle">
                  <a:avLst>
                    <a:gd name="adj" fmla="val 48518"/>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5" name="Rectangle 4"/>
                <p:cNvSpPr/>
                <p:nvPr/>
              </p:nvSpPr>
              <p:spPr bwMode="auto">
                <a:xfrm>
                  <a:off x="9017651" y="2794666"/>
                  <a:ext cx="428625" cy="44001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26" name="Freeform 36"/>
                <p:cNvSpPr>
                  <a:spLocks noEditPoints="1"/>
                </p:cNvSpPr>
                <p:nvPr/>
              </p:nvSpPr>
              <p:spPr bwMode="auto">
                <a:xfrm>
                  <a:off x="8780322" y="2775615"/>
                  <a:ext cx="890587" cy="880020"/>
                </a:xfrm>
                <a:custGeom>
                  <a:avLst/>
                  <a:gdLst>
                    <a:gd name="T0" fmla="*/ 2070 w 3543"/>
                    <a:gd name="T1" fmla="*/ 735 h 3498"/>
                    <a:gd name="T2" fmla="*/ 2266 w 3543"/>
                    <a:gd name="T3" fmla="*/ 805 h 3498"/>
                    <a:gd name="T4" fmla="*/ 2229 w 3543"/>
                    <a:gd name="T5" fmla="*/ 954 h 3498"/>
                    <a:gd name="T6" fmla="*/ 2017 w 3543"/>
                    <a:gd name="T7" fmla="*/ 1024 h 3498"/>
                    <a:gd name="T8" fmla="*/ 1674 w 3543"/>
                    <a:gd name="T9" fmla="*/ 1033 h 3498"/>
                    <a:gd name="T10" fmla="*/ 1617 w 3543"/>
                    <a:gd name="T11" fmla="*/ 1185 h 3498"/>
                    <a:gd name="T12" fmla="*/ 1915 w 3543"/>
                    <a:gd name="T13" fmla="*/ 1363 h 3498"/>
                    <a:gd name="T14" fmla="*/ 2305 w 3543"/>
                    <a:gd name="T15" fmla="*/ 1651 h 3498"/>
                    <a:gd name="T16" fmla="*/ 2280 w 3543"/>
                    <a:gd name="T17" fmla="*/ 2065 h 3498"/>
                    <a:gd name="T18" fmla="*/ 1887 w 3543"/>
                    <a:gd name="T19" fmla="*/ 2311 h 3498"/>
                    <a:gd name="T20" fmla="*/ 1729 w 3543"/>
                    <a:gd name="T21" fmla="*/ 2570 h 3498"/>
                    <a:gd name="T22" fmla="*/ 1637 w 3543"/>
                    <a:gd name="T23" fmla="*/ 2459 h 3498"/>
                    <a:gd name="T24" fmla="*/ 1248 w 3543"/>
                    <a:gd name="T25" fmla="*/ 2243 h 3498"/>
                    <a:gd name="T26" fmla="*/ 1210 w 3543"/>
                    <a:gd name="T27" fmla="*/ 2190 h 3498"/>
                    <a:gd name="T28" fmla="*/ 1280 w 3543"/>
                    <a:gd name="T29" fmla="*/ 1921 h 3498"/>
                    <a:gd name="T30" fmla="*/ 1777 w 3543"/>
                    <a:gd name="T31" fmla="*/ 2027 h 3498"/>
                    <a:gd name="T32" fmla="*/ 1948 w 3543"/>
                    <a:gd name="T33" fmla="*/ 1876 h 3498"/>
                    <a:gd name="T34" fmla="*/ 1731 w 3543"/>
                    <a:gd name="T35" fmla="*/ 1673 h 3498"/>
                    <a:gd name="T36" fmla="*/ 1330 w 3543"/>
                    <a:gd name="T37" fmla="*/ 1463 h 3498"/>
                    <a:gd name="T38" fmla="*/ 1229 w 3543"/>
                    <a:gd name="T39" fmla="*/ 1086 h 3498"/>
                    <a:gd name="T40" fmla="*/ 1531 w 3543"/>
                    <a:gd name="T41" fmla="*/ 764 h 3498"/>
                    <a:gd name="T42" fmla="*/ 919 w 3543"/>
                    <a:gd name="T43" fmla="*/ 104 h 3498"/>
                    <a:gd name="T44" fmla="*/ 919 w 3543"/>
                    <a:gd name="T45" fmla="*/ 263 h 3498"/>
                    <a:gd name="T46" fmla="*/ 919 w 3543"/>
                    <a:gd name="T47" fmla="*/ 727 h 3498"/>
                    <a:gd name="T48" fmla="*/ 778 w 3543"/>
                    <a:gd name="T49" fmla="*/ 1823 h 3498"/>
                    <a:gd name="T50" fmla="*/ 239 w 3543"/>
                    <a:gd name="T51" fmla="*/ 1824 h 3498"/>
                    <a:gd name="T52" fmla="*/ 271 w 3543"/>
                    <a:gd name="T53" fmla="*/ 1855 h 3498"/>
                    <a:gd name="T54" fmla="*/ 395 w 3543"/>
                    <a:gd name="T55" fmla="*/ 1980 h 3498"/>
                    <a:gd name="T56" fmla="*/ 678 w 3543"/>
                    <a:gd name="T57" fmla="*/ 2264 h 3498"/>
                    <a:gd name="T58" fmla="*/ 1183 w 3543"/>
                    <a:gd name="T59" fmla="*/ 2769 h 3498"/>
                    <a:gd name="T60" fmla="*/ 3195 w 3543"/>
                    <a:gd name="T61" fmla="*/ 1823 h 3498"/>
                    <a:gd name="T62" fmla="*/ 2625 w 3543"/>
                    <a:gd name="T63" fmla="*/ 1817 h 3498"/>
                    <a:gd name="T64" fmla="*/ 2625 w 3543"/>
                    <a:gd name="T65" fmla="*/ 1658 h 3498"/>
                    <a:gd name="T66" fmla="*/ 2625 w 3543"/>
                    <a:gd name="T67" fmla="*/ 1194 h 3498"/>
                    <a:gd name="T68" fmla="*/ 2622 w 3543"/>
                    <a:gd name="T69" fmla="*/ 98 h 3498"/>
                    <a:gd name="T70" fmla="*/ 2491 w 3543"/>
                    <a:gd name="T71" fmla="*/ 98 h 3498"/>
                    <a:gd name="T72" fmla="*/ 2075 w 3543"/>
                    <a:gd name="T73" fmla="*/ 98 h 3498"/>
                    <a:gd name="T74" fmla="*/ 825 w 3543"/>
                    <a:gd name="T75" fmla="*/ 0 h 3498"/>
                    <a:gd name="T76" fmla="*/ 2202 w 3543"/>
                    <a:gd name="T77" fmla="*/ 0 h 3498"/>
                    <a:gd name="T78" fmla="*/ 2723 w 3543"/>
                    <a:gd name="T79" fmla="*/ 8 h 3498"/>
                    <a:gd name="T80" fmla="*/ 2723 w 3543"/>
                    <a:gd name="T81" fmla="*/ 222 h 3498"/>
                    <a:gd name="T82" fmla="*/ 2723 w 3543"/>
                    <a:gd name="T83" fmla="*/ 1430 h 3498"/>
                    <a:gd name="T84" fmla="*/ 2723 w 3543"/>
                    <a:gd name="T85" fmla="*/ 1724 h 3498"/>
                    <a:gd name="T86" fmla="*/ 3522 w 3543"/>
                    <a:gd name="T87" fmla="*/ 1744 h 3498"/>
                    <a:gd name="T88" fmla="*/ 3375 w 3543"/>
                    <a:gd name="T89" fmla="*/ 1893 h 3498"/>
                    <a:gd name="T90" fmla="*/ 3360 w 3543"/>
                    <a:gd name="T91" fmla="*/ 1908 h 3498"/>
                    <a:gd name="T92" fmla="*/ 3274 w 3543"/>
                    <a:gd name="T93" fmla="*/ 1994 h 3498"/>
                    <a:gd name="T94" fmla="*/ 3051 w 3543"/>
                    <a:gd name="T95" fmla="*/ 2217 h 3498"/>
                    <a:gd name="T96" fmla="*/ 2627 w 3543"/>
                    <a:gd name="T97" fmla="*/ 2641 h 3498"/>
                    <a:gd name="T98" fmla="*/ 1937 w 3543"/>
                    <a:gd name="T99" fmla="*/ 3331 h 3498"/>
                    <a:gd name="T100" fmla="*/ 1805 w 3543"/>
                    <a:gd name="T101" fmla="*/ 3464 h 3498"/>
                    <a:gd name="T102" fmla="*/ 1748 w 3543"/>
                    <a:gd name="T103" fmla="*/ 3473 h 3498"/>
                    <a:gd name="T104" fmla="*/ 1692 w 3543"/>
                    <a:gd name="T105" fmla="*/ 3418 h 3498"/>
                    <a:gd name="T106" fmla="*/ 1316 w 3543"/>
                    <a:gd name="T107" fmla="*/ 3038 h 3498"/>
                    <a:gd name="T108" fmla="*/ 1304 w 3543"/>
                    <a:gd name="T109" fmla="*/ 3026 h 3498"/>
                    <a:gd name="T110" fmla="*/ 1220 w 3543"/>
                    <a:gd name="T111" fmla="*/ 2941 h 3498"/>
                    <a:gd name="T112" fmla="*/ 989 w 3543"/>
                    <a:gd name="T113" fmla="*/ 2711 h 3498"/>
                    <a:gd name="T114" fmla="*/ 539 w 3543"/>
                    <a:gd name="T115" fmla="*/ 2263 h 3498"/>
                    <a:gd name="T116" fmla="*/ 165 w 3543"/>
                    <a:gd name="T117" fmla="*/ 1890 h 3498"/>
                    <a:gd name="T118" fmla="*/ 78 w 3543"/>
                    <a:gd name="T119" fmla="*/ 1802 h 3498"/>
                    <a:gd name="T120" fmla="*/ 820 w 3543"/>
                    <a:gd name="T121" fmla="*/ 633 h 3498"/>
                    <a:gd name="T122" fmla="*/ 820 w 3543"/>
                    <a:gd name="T123" fmla="*/ 237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43" h="3498">
                      <a:moveTo>
                        <a:pt x="1648" y="489"/>
                      </a:moveTo>
                      <a:lnTo>
                        <a:pt x="1652" y="489"/>
                      </a:lnTo>
                      <a:lnTo>
                        <a:pt x="1655" y="489"/>
                      </a:lnTo>
                      <a:lnTo>
                        <a:pt x="1660" y="489"/>
                      </a:lnTo>
                      <a:lnTo>
                        <a:pt x="1899" y="489"/>
                      </a:lnTo>
                      <a:lnTo>
                        <a:pt x="1899" y="714"/>
                      </a:lnTo>
                      <a:lnTo>
                        <a:pt x="1961" y="719"/>
                      </a:lnTo>
                      <a:lnTo>
                        <a:pt x="2018" y="725"/>
                      </a:lnTo>
                      <a:lnTo>
                        <a:pt x="2070" y="735"/>
                      </a:lnTo>
                      <a:lnTo>
                        <a:pt x="2117" y="746"/>
                      </a:lnTo>
                      <a:lnTo>
                        <a:pt x="2161" y="757"/>
                      </a:lnTo>
                      <a:lnTo>
                        <a:pt x="2200" y="771"/>
                      </a:lnTo>
                      <a:lnTo>
                        <a:pt x="2235" y="785"/>
                      </a:lnTo>
                      <a:lnTo>
                        <a:pt x="2268" y="800"/>
                      </a:lnTo>
                      <a:lnTo>
                        <a:pt x="2268" y="800"/>
                      </a:lnTo>
                      <a:lnTo>
                        <a:pt x="2267" y="801"/>
                      </a:lnTo>
                      <a:lnTo>
                        <a:pt x="2267" y="803"/>
                      </a:lnTo>
                      <a:lnTo>
                        <a:pt x="2266" y="805"/>
                      </a:lnTo>
                      <a:lnTo>
                        <a:pt x="2265" y="809"/>
                      </a:lnTo>
                      <a:lnTo>
                        <a:pt x="2264" y="815"/>
                      </a:lnTo>
                      <a:lnTo>
                        <a:pt x="2262" y="825"/>
                      </a:lnTo>
                      <a:lnTo>
                        <a:pt x="2259" y="837"/>
                      </a:lnTo>
                      <a:lnTo>
                        <a:pt x="2254" y="852"/>
                      </a:lnTo>
                      <a:lnTo>
                        <a:pt x="2250" y="870"/>
                      </a:lnTo>
                      <a:lnTo>
                        <a:pt x="2244" y="894"/>
                      </a:lnTo>
                      <a:lnTo>
                        <a:pt x="2237" y="922"/>
                      </a:lnTo>
                      <a:lnTo>
                        <a:pt x="2229" y="954"/>
                      </a:lnTo>
                      <a:lnTo>
                        <a:pt x="2219" y="993"/>
                      </a:lnTo>
                      <a:lnTo>
                        <a:pt x="2207" y="1037"/>
                      </a:lnTo>
                      <a:lnTo>
                        <a:pt x="2194" y="1087"/>
                      </a:lnTo>
                      <a:lnTo>
                        <a:pt x="2173" y="1079"/>
                      </a:lnTo>
                      <a:lnTo>
                        <a:pt x="2148" y="1068"/>
                      </a:lnTo>
                      <a:lnTo>
                        <a:pt x="2120" y="1056"/>
                      </a:lnTo>
                      <a:lnTo>
                        <a:pt x="2089" y="1046"/>
                      </a:lnTo>
                      <a:lnTo>
                        <a:pt x="2055" y="1034"/>
                      </a:lnTo>
                      <a:lnTo>
                        <a:pt x="2017" y="1024"/>
                      </a:lnTo>
                      <a:lnTo>
                        <a:pt x="1975" y="1014"/>
                      </a:lnTo>
                      <a:lnTo>
                        <a:pt x="1930" y="1008"/>
                      </a:lnTo>
                      <a:lnTo>
                        <a:pt x="1882" y="1004"/>
                      </a:lnTo>
                      <a:lnTo>
                        <a:pt x="1829" y="1001"/>
                      </a:lnTo>
                      <a:lnTo>
                        <a:pt x="1789" y="1004"/>
                      </a:lnTo>
                      <a:lnTo>
                        <a:pt x="1755" y="1007"/>
                      </a:lnTo>
                      <a:lnTo>
                        <a:pt x="1724" y="1013"/>
                      </a:lnTo>
                      <a:lnTo>
                        <a:pt x="1697" y="1022"/>
                      </a:lnTo>
                      <a:lnTo>
                        <a:pt x="1674" y="1033"/>
                      </a:lnTo>
                      <a:lnTo>
                        <a:pt x="1655" y="1046"/>
                      </a:lnTo>
                      <a:lnTo>
                        <a:pt x="1640" y="1059"/>
                      </a:lnTo>
                      <a:lnTo>
                        <a:pt x="1628" y="1075"/>
                      </a:lnTo>
                      <a:lnTo>
                        <a:pt x="1618" y="1090"/>
                      </a:lnTo>
                      <a:lnTo>
                        <a:pt x="1612" y="1107"/>
                      </a:lnTo>
                      <a:lnTo>
                        <a:pt x="1609" y="1124"/>
                      </a:lnTo>
                      <a:lnTo>
                        <a:pt x="1608" y="1141"/>
                      </a:lnTo>
                      <a:lnTo>
                        <a:pt x="1610" y="1164"/>
                      </a:lnTo>
                      <a:lnTo>
                        <a:pt x="1617" y="1185"/>
                      </a:lnTo>
                      <a:lnTo>
                        <a:pt x="1629" y="1206"/>
                      </a:lnTo>
                      <a:lnTo>
                        <a:pt x="1645" y="1225"/>
                      </a:lnTo>
                      <a:lnTo>
                        <a:pt x="1667" y="1244"/>
                      </a:lnTo>
                      <a:lnTo>
                        <a:pt x="1695" y="1263"/>
                      </a:lnTo>
                      <a:lnTo>
                        <a:pt x="1727" y="1282"/>
                      </a:lnTo>
                      <a:lnTo>
                        <a:pt x="1765" y="1301"/>
                      </a:lnTo>
                      <a:lnTo>
                        <a:pt x="1810" y="1321"/>
                      </a:lnTo>
                      <a:lnTo>
                        <a:pt x="1859" y="1341"/>
                      </a:lnTo>
                      <a:lnTo>
                        <a:pt x="1915" y="1363"/>
                      </a:lnTo>
                      <a:lnTo>
                        <a:pt x="1983" y="1389"/>
                      </a:lnTo>
                      <a:lnTo>
                        <a:pt x="2043" y="1414"/>
                      </a:lnTo>
                      <a:lnTo>
                        <a:pt x="2098" y="1442"/>
                      </a:lnTo>
                      <a:lnTo>
                        <a:pt x="2146" y="1472"/>
                      </a:lnTo>
                      <a:lnTo>
                        <a:pt x="2189" y="1504"/>
                      </a:lnTo>
                      <a:lnTo>
                        <a:pt x="2225" y="1537"/>
                      </a:lnTo>
                      <a:lnTo>
                        <a:pt x="2258" y="1572"/>
                      </a:lnTo>
                      <a:lnTo>
                        <a:pt x="2283" y="1611"/>
                      </a:lnTo>
                      <a:lnTo>
                        <a:pt x="2305" y="1651"/>
                      </a:lnTo>
                      <a:lnTo>
                        <a:pt x="2321" y="1694"/>
                      </a:lnTo>
                      <a:lnTo>
                        <a:pt x="2333" y="1739"/>
                      </a:lnTo>
                      <a:lnTo>
                        <a:pt x="2339" y="1787"/>
                      </a:lnTo>
                      <a:lnTo>
                        <a:pt x="2341" y="1839"/>
                      </a:lnTo>
                      <a:lnTo>
                        <a:pt x="2339" y="1887"/>
                      </a:lnTo>
                      <a:lnTo>
                        <a:pt x="2332" y="1934"/>
                      </a:lnTo>
                      <a:lnTo>
                        <a:pt x="2320" y="1979"/>
                      </a:lnTo>
                      <a:lnTo>
                        <a:pt x="2303" y="2023"/>
                      </a:lnTo>
                      <a:lnTo>
                        <a:pt x="2280" y="2065"/>
                      </a:lnTo>
                      <a:lnTo>
                        <a:pt x="2254" y="2105"/>
                      </a:lnTo>
                      <a:lnTo>
                        <a:pt x="2223" y="2141"/>
                      </a:lnTo>
                      <a:lnTo>
                        <a:pt x="2188" y="2176"/>
                      </a:lnTo>
                      <a:lnTo>
                        <a:pt x="2148" y="2208"/>
                      </a:lnTo>
                      <a:lnTo>
                        <a:pt x="2104" y="2236"/>
                      </a:lnTo>
                      <a:lnTo>
                        <a:pt x="2056" y="2260"/>
                      </a:lnTo>
                      <a:lnTo>
                        <a:pt x="2003" y="2281"/>
                      </a:lnTo>
                      <a:lnTo>
                        <a:pt x="1947" y="2298"/>
                      </a:lnTo>
                      <a:lnTo>
                        <a:pt x="1887" y="2311"/>
                      </a:lnTo>
                      <a:lnTo>
                        <a:pt x="1887" y="2570"/>
                      </a:lnTo>
                      <a:lnTo>
                        <a:pt x="1884" y="2570"/>
                      </a:lnTo>
                      <a:lnTo>
                        <a:pt x="1880" y="2570"/>
                      </a:lnTo>
                      <a:lnTo>
                        <a:pt x="1875" y="2570"/>
                      </a:lnTo>
                      <a:lnTo>
                        <a:pt x="1866" y="2570"/>
                      </a:lnTo>
                      <a:lnTo>
                        <a:pt x="1856" y="2570"/>
                      </a:lnTo>
                      <a:lnTo>
                        <a:pt x="1796" y="2570"/>
                      </a:lnTo>
                      <a:lnTo>
                        <a:pt x="1765" y="2570"/>
                      </a:lnTo>
                      <a:lnTo>
                        <a:pt x="1729" y="2570"/>
                      </a:lnTo>
                      <a:lnTo>
                        <a:pt x="1637" y="2570"/>
                      </a:lnTo>
                      <a:lnTo>
                        <a:pt x="1637" y="2570"/>
                      </a:lnTo>
                      <a:lnTo>
                        <a:pt x="1637" y="2569"/>
                      </a:lnTo>
                      <a:lnTo>
                        <a:pt x="1637" y="2567"/>
                      </a:lnTo>
                      <a:lnTo>
                        <a:pt x="1637" y="2563"/>
                      </a:lnTo>
                      <a:lnTo>
                        <a:pt x="1637" y="2556"/>
                      </a:lnTo>
                      <a:lnTo>
                        <a:pt x="1637" y="2513"/>
                      </a:lnTo>
                      <a:lnTo>
                        <a:pt x="1637" y="2489"/>
                      </a:lnTo>
                      <a:lnTo>
                        <a:pt x="1637" y="2459"/>
                      </a:lnTo>
                      <a:lnTo>
                        <a:pt x="1637" y="2423"/>
                      </a:lnTo>
                      <a:lnTo>
                        <a:pt x="1637" y="2380"/>
                      </a:lnTo>
                      <a:lnTo>
                        <a:pt x="1637" y="2327"/>
                      </a:lnTo>
                      <a:lnTo>
                        <a:pt x="1563" y="2323"/>
                      </a:lnTo>
                      <a:lnTo>
                        <a:pt x="1493" y="2314"/>
                      </a:lnTo>
                      <a:lnTo>
                        <a:pt x="1424" y="2300"/>
                      </a:lnTo>
                      <a:lnTo>
                        <a:pt x="1359" y="2284"/>
                      </a:lnTo>
                      <a:lnTo>
                        <a:pt x="1300" y="2265"/>
                      </a:lnTo>
                      <a:lnTo>
                        <a:pt x="1248" y="2243"/>
                      </a:lnTo>
                      <a:lnTo>
                        <a:pt x="1201" y="2221"/>
                      </a:lnTo>
                      <a:lnTo>
                        <a:pt x="1201" y="2221"/>
                      </a:lnTo>
                      <a:lnTo>
                        <a:pt x="1201" y="2221"/>
                      </a:lnTo>
                      <a:lnTo>
                        <a:pt x="1202" y="2220"/>
                      </a:lnTo>
                      <a:lnTo>
                        <a:pt x="1202" y="2217"/>
                      </a:lnTo>
                      <a:lnTo>
                        <a:pt x="1203" y="2213"/>
                      </a:lnTo>
                      <a:lnTo>
                        <a:pt x="1205" y="2208"/>
                      </a:lnTo>
                      <a:lnTo>
                        <a:pt x="1207" y="2200"/>
                      </a:lnTo>
                      <a:lnTo>
                        <a:pt x="1210" y="2190"/>
                      </a:lnTo>
                      <a:lnTo>
                        <a:pt x="1213" y="2177"/>
                      </a:lnTo>
                      <a:lnTo>
                        <a:pt x="1217" y="2159"/>
                      </a:lnTo>
                      <a:lnTo>
                        <a:pt x="1223" y="2140"/>
                      </a:lnTo>
                      <a:lnTo>
                        <a:pt x="1229" y="2115"/>
                      </a:lnTo>
                      <a:lnTo>
                        <a:pt x="1237" y="2087"/>
                      </a:lnTo>
                      <a:lnTo>
                        <a:pt x="1245" y="2054"/>
                      </a:lnTo>
                      <a:lnTo>
                        <a:pt x="1255" y="2015"/>
                      </a:lnTo>
                      <a:lnTo>
                        <a:pt x="1267" y="1971"/>
                      </a:lnTo>
                      <a:lnTo>
                        <a:pt x="1280" y="1921"/>
                      </a:lnTo>
                      <a:lnTo>
                        <a:pt x="1328" y="1945"/>
                      </a:lnTo>
                      <a:lnTo>
                        <a:pt x="1381" y="1968"/>
                      </a:lnTo>
                      <a:lnTo>
                        <a:pt x="1439" y="1988"/>
                      </a:lnTo>
                      <a:lnTo>
                        <a:pt x="1500" y="2007"/>
                      </a:lnTo>
                      <a:lnTo>
                        <a:pt x="1566" y="2020"/>
                      </a:lnTo>
                      <a:lnTo>
                        <a:pt x="1632" y="2029"/>
                      </a:lnTo>
                      <a:lnTo>
                        <a:pt x="1702" y="2033"/>
                      </a:lnTo>
                      <a:lnTo>
                        <a:pt x="1741" y="2030"/>
                      </a:lnTo>
                      <a:lnTo>
                        <a:pt x="1777" y="2027"/>
                      </a:lnTo>
                      <a:lnTo>
                        <a:pt x="1811" y="2021"/>
                      </a:lnTo>
                      <a:lnTo>
                        <a:pt x="1841" y="2011"/>
                      </a:lnTo>
                      <a:lnTo>
                        <a:pt x="1869" y="1999"/>
                      </a:lnTo>
                      <a:lnTo>
                        <a:pt x="1891" y="1985"/>
                      </a:lnTo>
                      <a:lnTo>
                        <a:pt x="1912" y="1968"/>
                      </a:lnTo>
                      <a:lnTo>
                        <a:pt x="1927" y="1949"/>
                      </a:lnTo>
                      <a:lnTo>
                        <a:pt x="1938" y="1927"/>
                      </a:lnTo>
                      <a:lnTo>
                        <a:pt x="1946" y="1902"/>
                      </a:lnTo>
                      <a:lnTo>
                        <a:pt x="1948" y="1876"/>
                      </a:lnTo>
                      <a:lnTo>
                        <a:pt x="1946" y="1848"/>
                      </a:lnTo>
                      <a:lnTo>
                        <a:pt x="1938" y="1821"/>
                      </a:lnTo>
                      <a:lnTo>
                        <a:pt x="1926" y="1796"/>
                      </a:lnTo>
                      <a:lnTo>
                        <a:pt x="1907" y="1773"/>
                      </a:lnTo>
                      <a:lnTo>
                        <a:pt x="1884" y="1752"/>
                      </a:lnTo>
                      <a:lnTo>
                        <a:pt x="1854" y="1730"/>
                      </a:lnTo>
                      <a:lnTo>
                        <a:pt x="1819" y="1711"/>
                      </a:lnTo>
                      <a:lnTo>
                        <a:pt x="1778" y="1692"/>
                      </a:lnTo>
                      <a:lnTo>
                        <a:pt x="1731" y="1673"/>
                      </a:lnTo>
                      <a:lnTo>
                        <a:pt x="1677" y="1654"/>
                      </a:lnTo>
                      <a:lnTo>
                        <a:pt x="1625" y="1635"/>
                      </a:lnTo>
                      <a:lnTo>
                        <a:pt x="1574" y="1614"/>
                      </a:lnTo>
                      <a:lnTo>
                        <a:pt x="1526" y="1593"/>
                      </a:lnTo>
                      <a:lnTo>
                        <a:pt x="1481" y="1570"/>
                      </a:lnTo>
                      <a:lnTo>
                        <a:pt x="1438" y="1545"/>
                      </a:lnTo>
                      <a:lnTo>
                        <a:pt x="1399" y="1520"/>
                      </a:lnTo>
                      <a:lnTo>
                        <a:pt x="1363" y="1492"/>
                      </a:lnTo>
                      <a:lnTo>
                        <a:pt x="1330" y="1463"/>
                      </a:lnTo>
                      <a:lnTo>
                        <a:pt x="1301" y="1430"/>
                      </a:lnTo>
                      <a:lnTo>
                        <a:pt x="1277" y="1396"/>
                      </a:lnTo>
                      <a:lnTo>
                        <a:pt x="1256" y="1359"/>
                      </a:lnTo>
                      <a:lnTo>
                        <a:pt x="1240" y="1321"/>
                      </a:lnTo>
                      <a:lnTo>
                        <a:pt x="1228" y="1279"/>
                      </a:lnTo>
                      <a:lnTo>
                        <a:pt x="1221" y="1234"/>
                      </a:lnTo>
                      <a:lnTo>
                        <a:pt x="1219" y="1186"/>
                      </a:lnTo>
                      <a:lnTo>
                        <a:pt x="1221" y="1135"/>
                      </a:lnTo>
                      <a:lnTo>
                        <a:pt x="1229" y="1086"/>
                      </a:lnTo>
                      <a:lnTo>
                        <a:pt x="1243" y="1039"/>
                      </a:lnTo>
                      <a:lnTo>
                        <a:pt x="1262" y="994"/>
                      </a:lnTo>
                      <a:lnTo>
                        <a:pt x="1286" y="952"/>
                      </a:lnTo>
                      <a:lnTo>
                        <a:pt x="1315" y="912"/>
                      </a:lnTo>
                      <a:lnTo>
                        <a:pt x="1350" y="876"/>
                      </a:lnTo>
                      <a:lnTo>
                        <a:pt x="1388" y="842"/>
                      </a:lnTo>
                      <a:lnTo>
                        <a:pt x="1431" y="813"/>
                      </a:lnTo>
                      <a:lnTo>
                        <a:pt x="1480" y="786"/>
                      </a:lnTo>
                      <a:lnTo>
                        <a:pt x="1531" y="764"/>
                      </a:lnTo>
                      <a:lnTo>
                        <a:pt x="1588" y="746"/>
                      </a:lnTo>
                      <a:lnTo>
                        <a:pt x="1648" y="730"/>
                      </a:lnTo>
                      <a:lnTo>
                        <a:pt x="1648" y="489"/>
                      </a:lnTo>
                      <a:close/>
                      <a:moveTo>
                        <a:pt x="1439" y="98"/>
                      </a:moveTo>
                      <a:lnTo>
                        <a:pt x="1321" y="98"/>
                      </a:lnTo>
                      <a:lnTo>
                        <a:pt x="919" y="98"/>
                      </a:lnTo>
                      <a:lnTo>
                        <a:pt x="919" y="99"/>
                      </a:lnTo>
                      <a:lnTo>
                        <a:pt x="919" y="102"/>
                      </a:lnTo>
                      <a:lnTo>
                        <a:pt x="919" y="104"/>
                      </a:lnTo>
                      <a:lnTo>
                        <a:pt x="919" y="107"/>
                      </a:lnTo>
                      <a:lnTo>
                        <a:pt x="919" y="112"/>
                      </a:lnTo>
                      <a:lnTo>
                        <a:pt x="919" y="119"/>
                      </a:lnTo>
                      <a:lnTo>
                        <a:pt x="919" y="128"/>
                      </a:lnTo>
                      <a:lnTo>
                        <a:pt x="919" y="139"/>
                      </a:lnTo>
                      <a:lnTo>
                        <a:pt x="919" y="152"/>
                      </a:lnTo>
                      <a:lnTo>
                        <a:pt x="919" y="209"/>
                      </a:lnTo>
                      <a:lnTo>
                        <a:pt x="919" y="234"/>
                      </a:lnTo>
                      <a:lnTo>
                        <a:pt x="919" y="263"/>
                      </a:lnTo>
                      <a:lnTo>
                        <a:pt x="919" y="296"/>
                      </a:lnTo>
                      <a:lnTo>
                        <a:pt x="919" y="333"/>
                      </a:lnTo>
                      <a:lnTo>
                        <a:pt x="919" y="375"/>
                      </a:lnTo>
                      <a:lnTo>
                        <a:pt x="919" y="420"/>
                      </a:lnTo>
                      <a:lnTo>
                        <a:pt x="919" y="471"/>
                      </a:lnTo>
                      <a:lnTo>
                        <a:pt x="919" y="526"/>
                      </a:lnTo>
                      <a:lnTo>
                        <a:pt x="919" y="587"/>
                      </a:lnTo>
                      <a:lnTo>
                        <a:pt x="919" y="654"/>
                      </a:lnTo>
                      <a:lnTo>
                        <a:pt x="919" y="727"/>
                      </a:lnTo>
                      <a:lnTo>
                        <a:pt x="919" y="890"/>
                      </a:lnTo>
                      <a:lnTo>
                        <a:pt x="919" y="981"/>
                      </a:lnTo>
                      <a:lnTo>
                        <a:pt x="919" y="1079"/>
                      </a:lnTo>
                      <a:lnTo>
                        <a:pt x="919" y="1184"/>
                      </a:lnTo>
                      <a:lnTo>
                        <a:pt x="919" y="1296"/>
                      </a:lnTo>
                      <a:lnTo>
                        <a:pt x="919" y="1416"/>
                      </a:lnTo>
                      <a:lnTo>
                        <a:pt x="919" y="1823"/>
                      </a:lnTo>
                      <a:lnTo>
                        <a:pt x="808" y="1823"/>
                      </a:lnTo>
                      <a:lnTo>
                        <a:pt x="778" y="1823"/>
                      </a:lnTo>
                      <a:lnTo>
                        <a:pt x="744" y="1823"/>
                      </a:lnTo>
                      <a:lnTo>
                        <a:pt x="703" y="1823"/>
                      </a:lnTo>
                      <a:lnTo>
                        <a:pt x="657" y="1823"/>
                      </a:lnTo>
                      <a:lnTo>
                        <a:pt x="605" y="1823"/>
                      </a:lnTo>
                      <a:lnTo>
                        <a:pt x="237" y="1823"/>
                      </a:lnTo>
                      <a:lnTo>
                        <a:pt x="237" y="1823"/>
                      </a:lnTo>
                      <a:lnTo>
                        <a:pt x="237" y="1823"/>
                      </a:lnTo>
                      <a:lnTo>
                        <a:pt x="239" y="1823"/>
                      </a:lnTo>
                      <a:lnTo>
                        <a:pt x="239" y="1824"/>
                      </a:lnTo>
                      <a:lnTo>
                        <a:pt x="240" y="1825"/>
                      </a:lnTo>
                      <a:lnTo>
                        <a:pt x="241" y="1826"/>
                      </a:lnTo>
                      <a:lnTo>
                        <a:pt x="243" y="1828"/>
                      </a:lnTo>
                      <a:lnTo>
                        <a:pt x="245" y="1830"/>
                      </a:lnTo>
                      <a:lnTo>
                        <a:pt x="248" y="1834"/>
                      </a:lnTo>
                      <a:lnTo>
                        <a:pt x="253" y="1838"/>
                      </a:lnTo>
                      <a:lnTo>
                        <a:pt x="258" y="1842"/>
                      </a:lnTo>
                      <a:lnTo>
                        <a:pt x="263" y="1849"/>
                      </a:lnTo>
                      <a:lnTo>
                        <a:pt x="271" y="1855"/>
                      </a:lnTo>
                      <a:lnTo>
                        <a:pt x="278" y="1864"/>
                      </a:lnTo>
                      <a:lnTo>
                        <a:pt x="288" y="1872"/>
                      </a:lnTo>
                      <a:lnTo>
                        <a:pt x="299" y="1883"/>
                      </a:lnTo>
                      <a:lnTo>
                        <a:pt x="311" y="1895"/>
                      </a:lnTo>
                      <a:lnTo>
                        <a:pt x="325" y="1909"/>
                      </a:lnTo>
                      <a:lnTo>
                        <a:pt x="340" y="1924"/>
                      </a:lnTo>
                      <a:lnTo>
                        <a:pt x="356" y="1941"/>
                      </a:lnTo>
                      <a:lnTo>
                        <a:pt x="375" y="1959"/>
                      </a:lnTo>
                      <a:lnTo>
                        <a:pt x="395" y="1980"/>
                      </a:lnTo>
                      <a:lnTo>
                        <a:pt x="418" y="2002"/>
                      </a:lnTo>
                      <a:lnTo>
                        <a:pt x="442" y="2027"/>
                      </a:lnTo>
                      <a:lnTo>
                        <a:pt x="469" y="2054"/>
                      </a:lnTo>
                      <a:lnTo>
                        <a:pt x="498" y="2083"/>
                      </a:lnTo>
                      <a:lnTo>
                        <a:pt x="529" y="2114"/>
                      </a:lnTo>
                      <a:lnTo>
                        <a:pt x="562" y="2148"/>
                      </a:lnTo>
                      <a:lnTo>
                        <a:pt x="599" y="2183"/>
                      </a:lnTo>
                      <a:lnTo>
                        <a:pt x="637" y="2222"/>
                      </a:lnTo>
                      <a:lnTo>
                        <a:pt x="678" y="2264"/>
                      </a:lnTo>
                      <a:lnTo>
                        <a:pt x="722" y="2307"/>
                      </a:lnTo>
                      <a:lnTo>
                        <a:pt x="768" y="2354"/>
                      </a:lnTo>
                      <a:lnTo>
                        <a:pt x="819" y="2403"/>
                      </a:lnTo>
                      <a:lnTo>
                        <a:pt x="871" y="2457"/>
                      </a:lnTo>
                      <a:lnTo>
                        <a:pt x="927" y="2513"/>
                      </a:lnTo>
                      <a:lnTo>
                        <a:pt x="986" y="2571"/>
                      </a:lnTo>
                      <a:lnTo>
                        <a:pt x="1049" y="2635"/>
                      </a:lnTo>
                      <a:lnTo>
                        <a:pt x="1114" y="2700"/>
                      </a:lnTo>
                      <a:lnTo>
                        <a:pt x="1183" y="2769"/>
                      </a:lnTo>
                      <a:lnTo>
                        <a:pt x="1256" y="2842"/>
                      </a:lnTo>
                      <a:lnTo>
                        <a:pt x="1332" y="2918"/>
                      </a:lnTo>
                      <a:lnTo>
                        <a:pt x="1412" y="2998"/>
                      </a:lnTo>
                      <a:lnTo>
                        <a:pt x="1497" y="3082"/>
                      </a:lnTo>
                      <a:lnTo>
                        <a:pt x="1584" y="3170"/>
                      </a:lnTo>
                      <a:lnTo>
                        <a:pt x="1676" y="3263"/>
                      </a:lnTo>
                      <a:lnTo>
                        <a:pt x="1772" y="3358"/>
                      </a:lnTo>
                      <a:lnTo>
                        <a:pt x="3305" y="1823"/>
                      </a:lnTo>
                      <a:lnTo>
                        <a:pt x="3195" y="1823"/>
                      </a:lnTo>
                      <a:lnTo>
                        <a:pt x="3165" y="1823"/>
                      </a:lnTo>
                      <a:lnTo>
                        <a:pt x="3130" y="1823"/>
                      </a:lnTo>
                      <a:lnTo>
                        <a:pt x="3089" y="1823"/>
                      </a:lnTo>
                      <a:lnTo>
                        <a:pt x="3043" y="1823"/>
                      </a:lnTo>
                      <a:lnTo>
                        <a:pt x="2992" y="1823"/>
                      </a:lnTo>
                      <a:lnTo>
                        <a:pt x="2625" y="1823"/>
                      </a:lnTo>
                      <a:lnTo>
                        <a:pt x="2625" y="1822"/>
                      </a:lnTo>
                      <a:lnTo>
                        <a:pt x="2625" y="1820"/>
                      </a:lnTo>
                      <a:lnTo>
                        <a:pt x="2625" y="1817"/>
                      </a:lnTo>
                      <a:lnTo>
                        <a:pt x="2625" y="1814"/>
                      </a:lnTo>
                      <a:lnTo>
                        <a:pt x="2625" y="1809"/>
                      </a:lnTo>
                      <a:lnTo>
                        <a:pt x="2625" y="1802"/>
                      </a:lnTo>
                      <a:lnTo>
                        <a:pt x="2625" y="1794"/>
                      </a:lnTo>
                      <a:lnTo>
                        <a:pt x="2625" y="1782"/>
                      </a:lnTo>
                      <a:lnTo>
                        <a:pt x="2625" y="1769"/>
                      </a:lnTo>
                      <a:lnTo>
                        <a:pt x="2625" y="1712"/>
                      </a:lnTo>
                      <a:lnTo>
                        <a:pt x="2625" y="1687"/>
                      </a:lnTo>
                      <a:lnTo>
                        <a:pt x="2625" y="1658"/>
                      </a:lnTo>
                      <a:lnTo>
                        <a:pt x="2625" y="1625"/>
                      </a:lnTo>
                      <a:lnTo>
                        <a:pt x="2625" y="1588"/>
                      </a:lnTo>
                      <a:lnTo>
                        <a:pt x="2625" y="1547"/>
                      </a:lnTo>
                      <a:lnTo>
                        <a:pt x="2625" y="1501"/>
                      </a:lnTo>
                      <a:lnTo>
                        <a:pt x="2625" y="1450"/>
                      </a:lnTo>
                      <a:lnTo>
                        <a:pt x="2625" y="1395"/>
                      </a:lnTo>
                      <a:lnTo>
                        <a:pt x="2625" y="1334"/>
                      </a:lnTo>
                      <a:lnTo>
                        <a:pt x="2625" y="1267"/>
                      </a:lnTo>
                      <a:lnTo>
                        <a:pt x="2625" y="1194"/>
                      </a:lnTo>
                      <a:lnTo>
                        <a:pt x="2625" y="1032"/>
                      </a:lnTo>
                      <a:lnTo>
                        <a:pt x="2625" y="940"/>
                      </a:lnTo>
                      <a:lnTo>
                        <a:pt x="2625" y="842"/>
                      </a:lnTo>
                      <a:lnTo>
                        <a:pt x="2625" y="737"/>
                      </a:lnTo>
                      <a:lnTo>
                        <a:pt x="2625" y="625"/>
                      </a:lnTo>
                      <a:lnTo>
                        <a:pt x="2625" y="505"/>
                      </a:lnTo>
                      <a:lnTo>
                        <a:pt x="2625" y="98"/>
                      </a:lnTo>
                      <a:lnTo>
                        <a:pt x="2624" y="98"/>
                      </a:lnTo>
                      <a:lnTo>
                        <a:pt x="2622" y="98"/>
                      </a:lnTo>
                      <a:lnTo>
                        <a:pt x="2620" y="98"/>
                      </a:lnTo>
                      <a:lnTo>
                        <a:pt x="2617" y="98"/>
                      </a:lnTo>
                      <a:lnTo>
                        <a:pt x="2611" y="98"/>
                      </a:lnTo>
                      <a:lnTo>
                        <a:pt x="2605" y="98"/>
                      </a:lnTo>
                      <a:lnTo>
                        <a:pt x="2596" y="98"/>
                      </a:lnTo>
                      <a:lnTo>
                        <a:pt x="2585" y="98"/>
                      </a:lnTo>
                      <a:lnTo>
                        <a:pt x="2571" y="98"/>
                      </a:lnTo>
                      <a:lnTo>
                        <a:pt x="2516" y="98"/>
                      </a:lnTo>
                      <a:lnTo>
                        <a:pt x="2491" y="98"/>
                      </a:lnTo>
                      <a:lnTo>
                        <a:pt x="2462" y="98"/>
                      </a:lnTo>
                      <a:lnTo>
                        <a:pt x="2430" y="98"/>
                      </a:lnTo>
                      <a:lnTo>
                        <a:pt x="2393" y="98"/>
                      </a:lnTo>
                      <a:lnTo>
                        <a:pt x="2352" y="98"/>
                      </a:lnTo>
                      <a:lnTo>
                        <a:pt x="2306" y="98"/>
                      </a:lnTo>
                      <a:lnTo>
                        <a:pt x="2257" y="98"/>
                      </a:lnTo>
                      <a:lnTo>
                        <a:pt x="2201" y="98"/>
                      </a:lnTo>
                      <a:lnTo>
                        <a:pt x="2140" y="98"/>
                      </a:lnTo>
                      <a:lnTo>
                        <a:pt x="2075" y="98"/>
                      </a:lnTo>
                      <a:lnTo>
                        <a:pt x="2003" y="98"/>
                      </a:lnTo>
                      <a:lnTo>
                        <a:pt x="1842" y="98"/>
                      </a:lnTo>
                      <a:lnTo>
                        <a:pt x="1752" y="98"/>
                      </a:lnTo>
                      <a:lnTo>
                        <a:pt x="1654" y="98"/>
                      </a:lnTo>
                      <a:lnTo>
                        <a:pt x="1551" y="98"/>
                      </a:lnTo>
                      <a:lnTo>
                        <a:pt x="1439" y="98"/>
                      </a:lnTo>
                      <a:close/>
                      <a:moveTo>
                        <a:pt x="820" y="0"/>
                      </a:moveTo>
                      <a:lnTo>
                        <a:pt x="824" y="0"/>
                      </a:lnTo>
                      <a:lnTo>
                        <a:pt x="825" y="0"/>
                      </a:lnTo>
                      <a:lnTo>
                        <a:pt x="830" y="0"/>
                      </a:lnTo>
                      <a:lnTo>
                        <a:pt x="837" y="0"/>
                      </a:lnTo>
                      <a:lnTo>
                        <a:pt x="953" y="0"/>
                      </a:lnTo>
                      <a:lnTo>
                        <a:pt x="989" y="0"/>
                      </a:lnTo>
                      <a:lnTo>
                        <a:pt x="1030" y="0"/>
                      </a:lnTo>
                      <a:lnTo>
                        <a:pt x="1050" y="0"/>
                      </a:lnTo>
                      <a:lnTo>
                        <a:pt x="2104" y="0"/>
                      </a:lnTo>
                      <a:lnTo>
                        <a:pt x="2132" y="0"/>
                      </a:lnTo>
                      <a:lnTo>
                        <a:pt x="2202" y="0"/>
                      </a:lnTo>
                      <a:lnTo>
                        <a:pt x="2245" y="0"/>
                      </a:lnTo>
                      <a:lnTo>
                        <a:pt x="2293" y="0"/>
                      </a:lnTo>
                      <a:lnTo>
                        <a:pt x="2347" y="0"/>
                      </a:lnTo>
                      <a:lnTo>
                        <a:pt x="2408" y="0"/>
                      </a:lnTo>
                      <a:lnTo>
                        <a:pt x="2723" y="0"/>
                      </a:lnTo>
                      <a:lnTo>
                        <a:pt x="2723" y="0"/>
                      </a:lnTo>
                      <a:lnTo>
                        <a:pt x="2723" y="0"/>
                      </a:lnTo>
                      <a:lnTo>
                        <a:pt x="2723" y="2"/>
                      </a:lnTo>
                      <a:lnTo>
                        <a:pt x="2723" y="8"/>
                      </a:lnTo>
                      <a:lnTo>
                        <a:pt x="2723" y="14"/>
                      </a:lnTo>
                      <a:lnTo>
                        <a:pt x="2723" y="23"/>
                      </a:lnTo>
                      <a:lnTo>
                        <a:pt x="2723" y="34"/>
                      </a:lnTo>
                      <a:lnTo>
                        <a:pt x="2723" y="48"/>
                      </a:lnTo>
                      <a:lnTo>
                        <a:pt x="2723" y="66"/>
                      </a:lnTo>
                      <a:lnTo>
                        <a:pt x="2723" y="88"/>
                      </a:lnTo>
                      <a:lnTo>
                        <a:pt x="2723" y="113"/>
                      </a:lnTo>
                      <a:lnTo>
                        <a:pt x="2723" y="180"/>
                      </a:lnTo>
                      <a:lnTo>
                        <a:pt x="2723" y="222"/>
                      </a:lnTo>
                      <a:lnTo>
                        <a:pt x="2723" y="269"/>
                      </a:lnTo>
                      <a:lnTo>
                        <a:pt x="2723" y="382"/>
                      </a:lnTo>
                      <a:lnTo>
                        <a:pt x="2723" y="450"/>
                      </a:lnTo>
                      <a:lnTo>
                        <a:pt x="2723" y="525"/>
                      </a:lnTo>
                      <a:lnTo>
                        <a:pt x="2723" y="1424"/>
                      </a:lnTo>
                      <a:lnTo>
                        <a:pt x="2723" y="1425"/>
                      </a:lnTo>
                      <a:lnTo>
                        <a:pt x="2723" y="1425"/>
                      </a:lnTo>
                      <a:lnTo>
                        <a:pt x="2723" y="1427"/>
                      </a:lnTo>
                      <a:lnTo>
                        <a:pt x="2723" y="1430"/>
                      </a:lnTo>
                      <a:lnTo>
                        <a:pt x="2723" y="1443"/>
                      </a:lnTo>
                      <a:lnTo>
                        <a:pt x="2723" y="1455"/>
                      </a:lnTo>
                      <a:lnTo>
                        <a:pt x="2723" y="1470"/>
                      </a:lnTo>
                      <a:lnTo>
                        <a:pt x="2723" y="1490"/>
                      </a:lnTo>
                      <a:lnTo>
                        <a:pt x="2723" y="1542"/>
                      </a:lnTo>
                      <a:lnTo>
                        <a:pt x="2723" y="1578"/>
                      </a:lnTo>
                      <a:lnTo>
                        <a:pt x="2723" y="1620"/>
                      </a:lnTo>
                      <a:lnTo>
                        <a:pt x="2723" y="1668"/>
                      </a:lnTo>
                      <a:lnTo>
                        <a:pt x="2723" y="1724"/>
                      </a:lnTo>
                      <a:lnTo>
                        <a:pt x="3543" y="1724"/>
                      </a:lnTo>
                      <a:lnTo>
                        <a:pt x="3543" y="1724"/>
                      </a:lnTo>
                      <a:lnTo>
                        <a:pt x="3543" y="1725"/>
                      </a:lnTo>
                      <a:lnTo>
                        <a:pt x="3542" y="1725"/>
                      </a:lnTo>
                      <a:lnTo>
                        <a:pt x="3541" y="1727"/>
                      </a:lnTo>
                      <a:lnTo>
                        <a:pt x="3538" y="1729"/>
                      </a:lnTo>
                      <a:lnTo>
                        <a:pt x="3534" y="1733"/>
                      </a:lnTo>
                      <a:lnTo>
                        <a:pt x="3529" y="1738"/>
                      </a:lnTo>
                      <a:lnTo>
                        <a:pt x="3522" y="1744"/>
                      </a:lnTo>
                      <a:lnTo>
                        <a:pt x="3514" y="1754"/>
                      </a:lnTo>
                      <a:lnTo>
                        <a:pt x="3502" y="1765"/>
                      </a:lnTo>
                      <a:lnTo>
                        <a:pt x="3489" y="1779"/>
                      </a:lnTo>
                      <a:lnTo>
                        <a:pt x="3472" y="1795"/>
                      </a:lnTo>
                      <a:lnTo>
                        <a:pt x="3454" y="1814"/>
                      </a:lnTo>
                      <a:lnTo>
                        <a:pt x="3431" y="1837"/>
                      </a:lnTo>
                      <a:lnTo>
                        <a:pt x="3405" y="1863"/>
                      </a:lnTo>
                      <a:lnTo>
                        <a:pt x="3375" y="1893"/>
                      </a:lnTo>
                      <a:lnTo>
                        <a:pt x="3375" y="1893"/>
                      </a:lnTo>
                      <a:lnTo>
                        <a:pt x="3375" y="1893"/>
                      </a:lnTo>
                      <a:lnTo>
                        <a:pt x="3375" y="1893"/>
                      </a:lnTo>
                      <a:lnTo>
                        <a:pt x="3374" y="1894"/>
                      </a:lnTo>
                      <a:lnTo>
                        <a:pt x="3373" y="1894"/>
                      </a:lnTo>
                      <a:lnTo>
                        <a:pt x="3372" y="1896"/>
                      </a:lnTo>
                      <a:lnTo>
                        <a:pt x="3370" y="1897"/>
                      </a:lnTo>
                      <a:lnTo>
                        <a:pt x="3368" y="1900"/>
                      </a:lnTo>
                      <a:lnTo>
                        <a:pt x="3364" y="1904"/>
                      </a:lnTo>
                      <a:lnTo>
                        <a:pt x="3360" y="1908"/>
                      </a:lnTo>
                      <a:lnTo>
                        <a:pt x="3356" y="1912"/>
                      </a:lnTo>
                      <a:lnTo>
                        <a:pt x="3349" y="1919"/>
                      </a:lnTo>
                      <a:lnTo>
                        <a:pt x="3343" y="1925"/>
                      </a:lnTo>
                      <a:lnTo>
                        <a:pt x="3334" y="1933"/>
                      </a:lnTo>
                      <a:lnTo>
                        <a:pt x="3326" y="1942"/>
                      </a:lnTo>
                      <a:lnTo>
                        <a:pt x="3315" y="1953"/>
                      </a:lnTo>
                      <a:lnTo>
                        <a:pt x="3303" y="1965"/>
                      </a:lnTo>
                      <a:lnTo>
                        <a:pt x="3289" y="1979"/>
                      </a:lnTo>
                      <a:lnTo>
                        <a:pt x="3274" y="1994"/>
                      </a:lnTo>
                      <a:lnTo>
                        <a:pt x="3257" y="2011"/>
                      </a:lnTo>
                      <a:lnTo>
                        <a:pt x="3239" y="2029"/>
                      </a:lnTo>
                      <a:lnTo>
                        <a:pt x="3218" y="2050"/>
                      </a:lnTo>
                      <a:lnTo>
                        <a:pt x="3196" y="2072"/>
                      </a:lnTo>
                      <a:lnTo>
                        <a:pt x="3171" y="2097"/>
                      </a:lnTo>
                      <a:lnTo>
                        <a:pt x="3144" y="2124"/>
                      </a:lnTo>
                      <a:lnTo>
                        <a:pt x="3115" y="2152"/>
                      </a:lnTo>
                      <a:lnTo>
                        <a:pt x="3084" y="2183"/>
                      </a:lnTo>
                      <a:lnTo>
                        <a:pt x="3051" y="2217"/>
                      </a:lnTo>
                      <a:lnTo>
                        <a:pt x="3015" y="2253"/>
                      </a:lnTo>
                      <a:lnTo>
                        <a:pt x="2976" y="2292"/>
                      </a:lnTo>
                      <a:lnTo>
                        <a:pt x="2935" y="2333"/>
                      </a:lnTo>
                      <a:lnTo>
                        <a:pt x="2892" y="2377"/>
                      </a:lnTo>
                      <a:lnTo>
                        <a:pt x="2844" y="2424"/>
                      </a:lnTo>
                      <a:lnTo>
                        <a:pt x="2795" y="2473"/>
                      </a:lnTo>
                      <a:lnTo>
                        <a:pt x="2742" y="2526"/>
                      </a:lnTo>
                      <a:lnTo>
                        <a:pt x="2686" y="2582"/>
                      </a:lnTo>
                      <a:lnTo>
                        <a:pt x="2627" y="2641"/>
                      </a:lnTo>
                      <a:lnTo>
                        <a:pt x="2565" y="2703"/>
                      </a:lnTo>
                      <a:lnTo>
                        <a:pt x="2499" y="2770"/>
                      </a:lnTo>
                      <a:lnTo>
                        <a:pt x="2430" y="2839"/>
                      </a:lnTo>
                      <a:lnTo>
                        <a:pt x="2358" y="2912"/>
                      </a:lnTo>
                      <a:lnTo>
                        <a:pt x="2280" y="2988"/>
                      </a:lnTo>
                      <a:lnTo>
                        <a:pt x="2201" y="3068"/>
                      </a:lnTo>
                      <a:lnTo>
                        <a:pt x="2117" y="3152"/>
                      </a:lnTo>
                      <a:lnTo>
                        <a:pt x="2029" y="3240"/>
                      </a:lnTo>
                      <a:lnTo>
                        <a:pt x="1937" y="3331"/>
                      </a:lnTo>
                      <a:lnTo>
                        <a:pt x="1842" y="3428"/>
                      </a:lnTo>
                      <a:lnTo>
                        <a:pt x="1842" y="3428"/>
                      </a:lnTo>
                      <a:lnTo>
                        <a:pt x="1841" y="3428"/>
                      </a:lnTo>
                      <a:lnTo>
                        <a:pt x="1840" y="3429"/>
                      </a:lnTo>
                      <a:lnTo>
                        <a:pt x="1836" y="3432"/>
                      </a:lnTo>
                      <a:lnTo>
                        <a:pt x="1833" y="3437"/>
                      </a:lnTo>
                      <a:lnTo>
                        <a:pt x="1827" y="3443"/>
                      </a:lnTo>
                      <a:lnTo>
                        <a:pt x="1817" y="3452"/>
                      </a:lnTo>
                      <a:lnTo>
                        <a:pt x="1805" y="3464"/>
                      </a:lnTo>
                      <a:lnTo>
                        <a:pt x="1790" y="3479"/>
                      </a:lnTo>
                      <a:lnTo>
                        <a:pt x="1772" y="3498"/>
                      </a:lnTo>
                      <a:lnTo>
                        <a:pt x="1772" y="3498"/>
                      </a:lnTo>
                      <a:lnTo>
                        <a:pt x="1771" y="3497"/>
                      </a:lnTo>
                      <a:lnTo>
                        <a:pt x="1770" y="3496"/>
                      </a:lnTo>
                      <a:lnTo>
                        <a:pt x="1768" y="3493"/>
                      </a:lnTo>
                      <a:lnTo>
                        <a:pt x="1763" y="3488"/>
                      </a:lnTo>
                      <a:lnTo>
                        <a:pt x="1757" y="3483"/>
                      </a:lnTo>
                      <a:lnTo>
                        <a:pt x="1748" y="3473"/>
                      </a:lnTo>
                      <a:lnTo>
                        <a:pt x="1736" y="3461"/>
                      </a:lnTo>
                      <a:lnTo>
                        <a:pt x="1720" y="3446"/>
                      </a:lnTo>
                      <a:lnTo>
                        <a:pt x="1702" y="3428"/>
                      </a:lnTo>
                      <a:lnTo>
                        <a:pt x="1702" y="3428"/>
                      </a:lnTo>
                      <a:lnTo>
                        <a:pt x="1702" y="3427"/>
                      </a:lnTo>
                      <a:lnTo>
                        <a:pt x="1701" y="3427"/>
                      </a:lnTo>
                      <a:lnTo>
                        <a:pt x="1699" y="3425"/>
                      </a:lnTo>
                      <a:lnTo>
                        <a:pt x="1697" y="3422"/>
                      </a:lnTo>
                      <a:lnTo>
                        <a:pt x="1692" y="3418"/>
                      </a:lnTo>
                      <a:lnTo>
                        <a:pt x="1687" y="3412"/>
                      </a:lnTo>
                      <a:lnTo>
                        <a:pt x="1680" y="3404"/>
                      </a:lnTo>
                      <a:lnTo>
                        <a:pt x="1669" y="3395"/>
                      </a:lnTo>
                      <a:lnTo>
                        <a:pt x="1657" y="3383"/>
                      </a:lnTo>
                      <a:lnTo>
                        <a:pt x="1642" y="3368"/>
                      </a:lnTo>
                      <a:lnTo>
                        <a:pt x="1625" y="3351"/>
                      </a:lnTo>
                      <a:lnTo>
                        <a:pt x="1603" y="3329"/>
                      </a:lnTo>
                      <a:lnTo>
                        <a:pt x="1579" y="3304"/>
                      </a:lnTo>
                      <a:lnTo>
                        <a:pt x="1316" y="3038"/>
                      </a:lnTo>
                      <a:lnTo>
                        <a:pt x="1316" y="3038"/>
                      </a:lnTo>
                      <a:lnTo>
                        <a:pt x="1316" y="3038"/>
                      </a:lnTo>
                      <a:lnTo>
                        <a:pt x="1316" y="3038"/>
                      </a:lnTo>
                      <a:lnTo>
                        <a:pt x="1315" y="3037"/>
                      </a:lnTo>
                      <a:lnTo>
                        <a:pt x="1314" y="3036"/>
                      </a:lnTo>
                      <a:lnTo>
                        <a:pt x="1313" y="3035"/>
                      </a:lnTo>
                      <a:lnTo>
                        <a:pt x="1311" y="3032"/>
                      </a:lnTo>
                      <a:lnTo>
                        <a:pt x="1308" y="3029"/>
                      </a:lnTo>
                      <a:lnTo>
                        <a:pt x="1304" y="3026"/>
                      </a:lnTo>
                      <a:lnTo>
                        <a:pt x="1300" y="3022"/>
                      </a:lnTo>
                      <a:lnTo>
                        <a:pt x="1294" y="3015"/>
                      </a:lnTo>
                      <a:lnTo>
                        <a:pt x="1287" y="3009"/>
                      </a:lnTo>
                      <a:lnTo>
                        <a:pt x="1280" y="3001"/>
                      </a:lnTo>
                      <a:lnTo>
                        <a:pt x="1271" y="2993"/>
                      </a:lnTo>
                      <a:lnTo>
                        <a:pt x="1260" y="2982"/>
                      </a:lnTo>
                      <a:lnTo>
                        <a:pt x="1249" y="2970"/>
                      </a:lnTo>
                      <a:lnTo>
                        <a:pt x="1235" y="2956"/>
                      </a:lnTo>
                      <a:lnTo>
                        <a:pt x="1220" y="2941"/>
                      </a:lnTo>
                      <a:lnTo>
                        <a:pt x="1202" y="2924"/>
                      </a:lnTo>
                      <a:lnTo>
                        <a:pt x="1183" y="2905"/>
                      </a:lnTo>
                      <a:lnTo>
                        <a:pt x="1163" y="2884"/>
                      </a:lnTo>
                      <a:lnTo>
                        <a:pt x="1139" y="2860"/>
                      </a:lnTo>
                      <a:lnTo>
                        <a:pt x="1113" y="2836"/>
                      </a:lnTo>
                      <a:lnTo>
                        <a:pt x="1086" y="2808"/>
                      </a:lnTo>
                      <a:lnTo>
                        <a:pt x="1056" y="2778"/>
                      </a:lnTo>
                      <a:lnTo>
                        <a:pt x="1024" y="2745"/>
                      </a:lnTo>
                      <a:lnTo>
                        <a:pt x="989" y="2711"/>
                      </a:lnTo>
                      <a:lnTo>
                        <a:pt x="951" y="2673"/>
                      </a:lnTo>
                      <a:lnTo>
                        <a:pt x="910" y="2632"/>
                      </a:lnTo>
                      <a:lnTo>
                        <a:pt x="866" y="2589"/>
                      </a:lnTo>
                      <a:lnTo>
                        <a:pt x="820" y="2543"/>
                      </a:lnTo>
                      <a:lnTo>
                        <a:pt x="770" y="2494"/>
                      </a:lnTo>
                      <a:lnTo>
                        <a:pt x="718" y="2441"/>
                      </a:lnTo>
                      <a:lnTo>
                        <a:pt x="662" y="2384"/>
                      </a:lnTo>
                      <a:lnTo>
                        <a:pt x="602" y="2325"/>
                      </a:lnTo>
                      <a:lnTo>
                        <a:pt x="539" y="2263"/>
                      </a:lnTo>
                      <a:lnTo>
                        <a:pt x="473" y="2196"/>
                      </a:lnTo>
                      <a:lnTo>
                        <a:pt x="402" y="2126"/>
                      </a:lnTo>
                      <a:lnTo>
                        <a:pt x="328" y="2052"/>
                      </a:lnTo>
                      <a:lnTo>
                        <a:pt x="250" y="1974"/>
                      </a:lnTo>
                      <a:lnTo>
                        <a:pt x="168" y="1893"/>
                      </a:lnTo>
                      <a:lnTo>
                        <a:pt x="168" y="1893"/>
                      </a:lnTo>
                      <a:lnTo>
                        <a:pt x="168" y="1892"/>
                      </a:lnTo>
                      <a:lnTo>
                        <a:pt x="167" y="1892"/>
                      </a:lnTo>
                      <a:lnTo>
                        <a:pt x="165" y="1890"/>
                      </a:lnTo>
                      <a:lnTo>
                        <a:pt x="163" y="1887"/>
                      </a:lnTo>
                      <a:lnTo>
                        <a:pt x="159" y="1883"/>
                      </a:lnTo>
                      <a:lnTo>
                        <a:pt x="154" y="1879"/>
                      </a:lnTo>
                      <a:lnTo>
                        <a:pt x="147" y="1871"/>
                      </a:lnTo>
                      <a:lnTo>
                        <a:pt x="139" y="1863"/>
                      </a:lnTo>
                      <a:lnTo>
                        <a:pt x="127" y="1852"/>
                      </a:lnTo>
                      <a:lnTo>
                        <a:pt x="114" y="1838"/>
                      </a:lnTo>
                      <a:lnTo>
                        <a:pt x="97" y="1822"/>
                      </a:lnTo>
                      <a:lnTo>
                        <a:pt x="78" y="1802"/>
                      </a:lnTo>
                      <a:lnTo>
                        <a:pt x="56" y="1780"/>
                      </a:lnTo>
                      <a:lnTo>
                        <a:pt x="30" y="1754"/>
                      </a:lnTo>
                      <a:lnTo>
                        <a:pt x="0" y="1724"/>
                      </a:lnTo>
                      <a:lnTo>
                        <a:pt x="820" y="1724"/>
                      </a:lnTo>
                      <a:lnTo>
                        <a:pt x="820" y="665"/>
                      </a:lnTo>
                      <a:lnTo>
                        <a:pt x="820" y="665"/>
                      </a:lnTo>
                      <a:lnTo>
                        <a:pt x="820" y="664"/>
                      </a:lnTo>
                      <a:lnTo>
                        <a:pt x="820" y="643"/>
                      </a:lnTo>
                      <a:lnTo>
                        <a:pt x="820" y="633"/>
                      </a:lnTo>
                      <a:lnTo>
                        <a:pt x="820" y="620"/>
                      </a:lnTo>
                      <a:lnTo>
                        <a:pt x="820" y="582"/>
                      </a:lnTo>
                      <a:lnTo>
                        <a:pt x="820" y="557"/>
                      </a:lnTo>
                      <a:lnTo>
                        <a:pt x="820" y="528"/>
                      </a:lnTo>
                      <a:lnTo>
                        <a:pt x="820" y="494"/>
                      </a:lnTo>
                      <a:lnTo>
                        <a:pt x="820" y="454"/>
                      </a:lnTo>
                      <a:lnTo>
                        <a:pt x="820" y="409"/>
                      </a:lnTo>
                      <a:lnTo>
                        <a:pt x="820" y="358"/>
                      </a:lnTo>
                      <a:lnTo>
                        <a:pt x="820" y="237"/>
                      </a:lnTo>
                      <a:lnTo>
                        <a:pt x="820" y="165"/>
                      </a:lnTo>
                      <a:lnTo>
                        <a:pt x="820" y="86"/>
                      </a:lnTo>
                      <a:lnTo>
                        <a:pt x="820" y="0"/>
                      </a:ln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38" name="Group 37"/>
            <p:cNvGrpSpPr/>
            <p:nvPr/>
          </p:nvGrpSpPr>
          <p:grpSpPr>
            <a:xfrm>
              <a:off x="10220931" y="3484477"/>
              <a:ext cx="1696175" cy="762049"/>
              <a:chOff x="8894016" y="3384875"/>
              <a:chExt cx="1696175" cy="762049"/>
            </a:xfrm>
          </p:grpSpPr>
          <p:sp>
            <p:nvSpPr>
              <p:cNvPr id="42" name="Freeform 512"/>
              <p:cNvSpPr>
                <a:spLocks noEditPoints="1"/>
              </p:cNvSpPr>
              <p:nvPr/>
            </p:nvSpPr>
            <p:spPr bwMode="auto">
              <a:xfrm>
                <a:off x="8894016" y="3384875"/>
                <a:ext cx="1696175" cy="762049"/>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solidFill>
                <a:schemeClr val="tx1"/>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3" name="Freeform 513"/>
              <p:cNvSpPr>
                <a:spLocks/>
              </p:cNvSpPr>
              <p:nvPr/>
            </p:nvSpPr>
            <p:spPr bwMode="auto">
              <a:xfrm>
                <a:off x="9044618" y="3760825"/>
                <a:ext cx="760159" cy="215568"/>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solidFill>
                <a:schemeClr val="tx1"/>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cxnSp>
        <p:nvCxnSpPr>
          <p:cNvPr id="44" name="Straight Arrow Connector 43"/>
          <p:cNvCxnSpPr/>
          <p:nvPr/>
        </p:nvCxnSpPr>
        <p:spPr>
          <a:xfrm>
            <a:off x="9862820" y="3459219"/>
            <a:ext cx="485776" cy="0"/>
          </a:xfrm>
          <a:prstGeom prst="straightConnector1">
            <a:avLst/>
          </a:prstGeom>
          <a:ln w="19050">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4538354" y="1772173"/>
            <a:ext cx="2642924" cy="2472857"/>
            <a:chOff x="4778709" y="1766652"/>
            <a:chExt cx="2642924" cy="2472857"/>
          </a:xfrm>
        </p:grpSpPr>
        <p:sp>
          <p:nvSpPr>
            <p:cNvPr id="56" name="Freeform 55"/>
            <p:cNvSpPr>
              <a:spLocks noEditPoints="1"/>
            </p:cNvSpPr>
            <p:nvPr/>
          </p:nvSpPr>
          <p:spPr bwMode="auto">
            <a:xfrm>
              <a:off x="5662265" y="1766652"/>
              <a:ext cx="832820" cy="1230907"/>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54" name="Freeform 53"/>
            <p:cNvSpPr>
              <a:spLocks noEditPoints="1"/>
            </p:cNvSpPr>
            <p:nvPr/>
          </p:nvSpPr>
          <p:spPr bwMode="auto">
            <a:xfrm>
              <a:off x="5195119" y="2393148"/>
              <a:ext cx="832820" cy="1230907"/>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55" name="Freeform 54"/>
            <p:cNvSpPr>
              <a:spLocks noEditPoints="1"/>
            </p:cNvSpPr>
            <p:nvPr/>
          </p:nvSpPr>
          <p:spPr bwMode="auto">
            <a:xfrm>
              <a:off x="6090269" y="2382105"/>
              <a:ext cx="832820" cy="1230907"/>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51" name="Freeform 50"/>
            <p:cNvSpPr>
              <a:spLocks noEditPoints="1"/>
            </p:cNvSpPr>
            <p:nvPr/>
          </p:nvSpPr>
          <p:spPr bwMode="auto">
            <a:xfrm>
              <a:off x="4778709" y="3008602"/>
              <a:ext cx="832820" cy="1230907"/>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52" name="Freeform 51"/>
            <p:cNvSpPr>
              <a:spLocks noEditPoints="1"/>
            </p:cNvSpPr>
            <p:nvPr/>
          </p:nvSpPr>
          <p:spPr bwMode="auto">
            <a:xfrm>
              <a:off x="5693663" y="3008602"/>
              <a:ext cx="832820" cy="1230907"/>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53" name="Freeform 52"/>
            <p:cNvSpPr>
              <a:spLocks noEditPoints="1"/>
            </p:cNvSpPr>
            <p:nvPr/>
          </p:nvSpPr>
          <p:spPr bwMode="auto">
            <a:xfrm>
              <a:off x="6588813" y="2997559"/>
              <a:ext cx="832820" cy="1230907"/>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grpSp>
      <p:grpSp>
        <p:nvGrpSpPr>
          <p:cNvPr id="62" name="Group 61"/>
          <p:cNvGrpSpPr/>
          <p:nvPr/>
        </p:nvGrpSpPr>
        <p:grpSpPr>
          <a:xfrm>
            <a:off x="647483" y="1929342"/>
            <a:ext cx="2467147" cy="1952582"/>
            <a:chOff x="590611" y="2102582"/>
            <a:chExt cx="2467147" cy="1952582"/>
          </a:xfrm>
        </p:grpSpPr>
        <p:grpSp>
          <p:nvGrpSpPr>
            <p:cNvPr id="57" name="Group 56"/>
            <p:cNvGrpSpPr/>
            <p:nvPr/>
          </p:nvGrpSpPr>
          <p:grpSpPr>
            <a:xfrm>
              <a:off x="1544464" y="2102582"/>
              <a:ext cx="1513294" cy="1174172"/>
              <a:chOff x="691916" y="1588507"/>
              <a:chExt cx="1513294" cy="1174172"/>
            </a:xfrm>
          </p:grpSpPr>
          <p:sp>
            <p:nvSpPr>
              <p:cNvPr id="58" name="Freeform 87"/>
              <p:cNvSpPr>
                <a:spLocks noEditPoints="1"/>
              </p:cNvSpPr>
              <p:nvPr/>
            </p:nvSpPr>
            <p:spPr bwMode="auto">
              <a:xfrm>
                <a:off x="691916" y="1588507"/>
                <a:ext cx="1174173" cy="1174172"/>
              </a:xfrm>
              <a:custGeom>
                <a:avLst/>
                <a:gdLst>
                  <a:gd name="T0" fmla="*/ 871 w 1090"/>
                  <a:gd name="T1" fmla="*/ 110 h 1090"/>
                  <a:gd name="T2" fmla="*/ 110 w 1090"/>
                  <a:gd name="T3" fmla="*/ 219 h 1090"/>
                  <a:gd name="T4" fmla="*/ 219 w 1090"/>
                  <a:gd name="T5" fmla="*/ 980 h 1090"/>
                  <a:gd name="T6" fmla="*/ 553 w 1090"/>
                  <a:gd name="T7" fmla="*/ 1088 h 1090"/>
                  <a:gd name="T8" fmla="*/ 1088 w 1090"/>
                  <a:gd name="T9" fmla="*/ 537 h 1090"/>
                  <a:gd name="T10" fmla="*/ 750 w 1090"/>
                  <a:gd name="T11" fmla="*/ 838 h 1090"/>
                  <a:gd name="T12" fmla="*/ 684 w 1090"/>
                  <a:gd name="T13" fmla="*/ 988 h 1090"/>
                  <a:gd name="T14" fmla="*/ 311 w 1090"/>
                  <a:gd name="T15" fmla="*/ 946 h 1090"/>
                  <a:gd name="T16" fmla="*/ 275 w 1090"/>
                  <a:gd name="T17" fmla="*/ 819 h 1090"/>
                  <a:gd name="T18" fmla="*/ 90 w 1090"/>
                  <a:gd name="T19" fmla="*/ 637 h 1090"/>
                  <a:gd name="T20" fmla="*/ 211 w 1090"/>
                  <a:gd name="T21" fmla="*/ 704 h 1090"/>
                  <a:gd name="T22" fmla="*/ 122 w 1090"/>
                  <a:gd name="T23" fmla="*/ 601 h 1090"/>
                  <a:gd name="T24" fmla="*/ 80 w 1090"/>
                  <a:gd name="T25" fmla="*/ 552 h 1090"/>
                  <a:gd name="T26" fmla="*/ 342 w 1090"/>
                  <a:gd name="T27" fmla="*/ 127 h 1090"/>
                  <a:gd name="T28" fmla="*/ 504 w 1090"/>
                  <a:gd name="T29" fmla="*/ 228 h 1090"/>
                  <a:gd name="T30" fmla="*/ 481 w 1090"/>
                  <a:gd name="T31" fmla="*/ 143 h 1090"/>
                  <a:gd name="T32" fmla="*/ 538 w 1090"/>
                  <a:gd name="T33" fmla="*/ 81 h 1090"/>
                  <a:gd name="T34" fmla="*/ 670 w 1090"/>
                  <a:gd name="T35" fmla="*/ 214 h 1090"/>
                  <a:gd name="T36" fmla="*/ 844 w 1090"/>
                  <a:gd name="T37" fmla="*/ 189 h 1090"/>
                  <a:gd name="T38" fmla="*/ 1009 w 1090"/>
                  <a:gd name="T39" fmla="*/ 562 h 1090"/>
                  <a:gd name="T40" fmla="*/ 863 w 1090"/>
                  <a:gd name="T41" fmla="*/ 715 h 1090"/>
                  <a:gd name="T42" fmla="*/ 917 w 1090"/>
                  <a:gd name="T43" fmla="*/ 823 h 1090"/>
                  <a:gd name="T44" fmla="*/ 777 w 1090"/>
                  <a:gd name="T45" fmla="*/ 835 h 1090"/>
                  <a:gd name="T46" fmla="*/ 634 w 1090"/>
                  <a:gd name="T47" fmla="*/ 715 h 1090"/>
                  <a:gd name="T48" fmla="*/ 640 w 1090"/>
                  <a:gd name="T49" fmla="*/ 763 h 1090"/>
                  <a:gd name="T50" fmla="*/ 432 w 1090"/>
                  <a:gd name="T51" fmla="*/ 759 h 1090"/>
                  <a:gd name="T52" fmla="*/ 440 w 1090"/>
                  <a:gd name="T53" fmla="*/ 711 h 1090"/>
                  <a:gd name="T54" fmla="*/ 746 w 1090"/>
                  <a:gd name="T55" fmla="*/ 579 h 1090"/>
                  <a:gd name="T56" fmla="*/ 747 w 1090"/>
                  <a:gd name="T57" fmla="*/ 608 h 1090"/>
                  <a:gd name="T58" fmla="*/ 699 w 1090"/>
                  <a:gd name="T59" fmla="*/ 592 h 1090"/>
                  <a:gd name="T60" fmla="*/ 671 w 1090"/>
                  <a:gd name="T61" fmla="*/ 385 h 1090"/>
                  <a:gd name="T62" fmla="*/ 488 w 1090"/>
                  <a:gd name="T63" fmla="*/ 448 h 1090"/>
                  <a:gd name="T64" fmla="*/ 342 w 1090"/>
                  <a:gd name="T65" fmla="*/ 602 h 1090"/>
                  <a:gd name="T66" fmla="*/ 497 w 1090"/>
                  <a:gd name="T67" fmla="*/ 362 h 1090"/>
                  <a:gd name="T68" fmla="*/ 531 w 1090"/>
                  <a:gd name="T69" fmla="*/ 396 h 1090"/>
                  <a:gd name="T70" fmla="*/ 326 w 1090"/>
                  <a:gd name="T71" fmla="*/ 782 h 1090"/>
                  <a:gd name="T72" fmla="*/ 258 w 1090"/>
                  <a:gd name="T73" fmla="*/ 717 h 1090"/>
                  <a:gd name="T74" fmla="*/ 365 w 1090"/>
                  <a:gd name="T75" fmla="*/ 662 h 1090"/>
                  <a:gd name="T76" fmla="*/ 326 w 1090"/>
                  <a:gd name="T77" fmla="*/ 782 h 1090"/>
                  <a:gd name="T78" fmla="*/ 708 w 1090"/>
                  <a:gd name="T79" fmla="*/ 776 h 1090"/>
                  <a:gd name="T80" fmla="*/ 748 w 1090"/>
                  <a:gd name="T81" fmla="*/ 656 h 1090"/>
                  <a:gd name="T82" fmla="*/ 815 w 1090"/>
                  <a:gd name="T83" fmla="*/ 722 h 1090"/>
                  <a:gd name="T84" fmla="*/ 527 w 1090"/>
                  <a:gd name="T85" fmla="*/ 301 h 1090"/>
                  <a:gd name="T86" fmla="*/ 634 w 1090"/>
                  <a:gd name="T87" fmla="*/ 247 h 1090"/>
                  <a:gd name="T88" fmla="*/ 595 w 1090"/>
                  <a:gd name="T89" fmla="*/ 367 h 1090"/>
                  <a:gd name="T90" fmla="*/ 527 w 1090"/>
                  <a:gd name="T91" fmla="*/ 301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90" h="1090">
                    <a:moveTo>
                      <a:pt x="1088" y="537"/>
                    </a:moveTo>
                    <a:cubicBezTo>
                      <a:pt x="1086" y="362"/>
                      <a:pt x="1001" y="207"/>
                      <a:pt x="871" y="110"/>
                    </a:cubicBezTo>
                    <a:cubicBezTo>
                      <a:pt x="778" y="40"/>
                      <a:pt x="662" y="0"/>
                      <a:pt x="537" y="2"/>
                    </a:cubicBezTo>
                    <a:cubicBezTo>
                      <a:pt x="362" y="4"/>
                      <a:pt x="207" y="89"/>
                      <a:pt x="110" y="219"/>
                    </a:cubicBezTo>
                    <a:cubicBezTo>
                      <a:pt x="40" y="312"/>
                      <a:pt x="0" y="428"/>
                      <a:pt x="2" y="553"/>
                    </a:cubicBezTo>
                    <a:cubicBezTo>
                      <a:pt x="4" y="728"/>
                      <a:pt x="89" y="883"/>
                      <a:pt x="219" y="980"/>
                    </a:cubicBezTo>
                    <a:cubicBezTo>
                      <a:pt x="219" y="980"/>
                      <a:pt x="219" y="980"/>
                      <a:pt x="219" y="980"/>
                    </a:cubicBezTo>
                    <a:cubicBezTo>
                      <a:pt x="312" y="1050"/>
                      <a:pt x="428" y="1090"/>
                      <a:pt x="553" y="1088"/>
                    </a:cubicBezTo>
                    <a:cubicBezTo>
                      <a:pt x="728" y="1086"/>
                      <a:pt x="883" y="1001"/>
                      <a:pt x="980" y="871"/>
                    </a:cubicBezTo>
                    <a:cubicBezTo>
                      <a:pt x="1050" y="778"/>
                      <a:pt x="1090" y="662"/>
                      <a:pt x="1088" y="537"/>
                    </a:cubicBezTo>
                    <a:close/>
                    <a:moveTo>
                      <a:pt x="777" y="835"/>
                    </a:moveTo>
                    <a:cubicBezTo>
                      <a:pt x="768" y="837"/>
                      <a:pt x="759" y="838"/>
                      <a:pt x="750" y="838"/>
                    </a:cubicBezTo>
                    <a:cubicBezTo>
                      <a:pt x="743" y="838"/>
                      <a:pt x="735" y="838"/>
                      <a:pt x="727" y="836"/>
                    </a:cubicBezTo>
                    <a:cubicBezTo>
                      <a:pt x="724" y="898"/>
                      <a:pt x="709" y="952"/>
                      <a:pt x="684" y="988"/>
                    </a:cubicBezTo>
                    <a:cubicBezTo>
                      <a:pt x="642" y="1001"/>
                      <a:pt x="598" y="1009"/>
                      <a:pt x="552" y="1010"/>
                    </a:cubicBezTo>
                    <a:cubicBezTo>
                      <a:pt x="464" y="1011"/>
                      <a:pt x="382" y="988"/>
                      <a:pt x="311" y="946"/>
                    </a:cubicBezTo>
                    <a:cubicBezTo>
                      <a:pt x="312" y="908"/>
                      <a:pt x="316" y="869"/>
                      <a:pt x="322" y="831"/>
                    </a:cubicBezTo>
                    <a:cubicBezTo>
                      <a:pt x="306" y="830"/>
                      <a:pt x="290" y="826"/>
                      <a:pt x="275" y="819"/>
                    </a:cubicBezTo>
                    <a:cubicBezTo>
                      <a:pt x="269" y="851"/>
                      <a:pt x="265" y="883"/>
                      <a:pt x="263" y="914"/>
                    </a:cubicBezTo>
                    <a:cubicBezTo>
                      <a:pt x="176" y="847"/>
                      <a:pt x="112" y="750"/>
                      <a:pt x="90" y="637"/>
                    </a:cubicBezTo>
                    <a:cubicBezTo>
                      <a:pt x="91" y="638"/>
                      <a:pt x="92" y="639"/>
                      <a:pt x="93" y="639"/>
                    </a:cubicBezTo>
                    <a:cubicBezTo>
                      <a:pt x="127" y="665"/>
                      <a:pt x="167" y="687"/>
                      <a:pt x="211" y="704"/>
                    </a:cubicBezTo>
                    <a:cubicBezTo>
                      <a:pt x="212" y="688"/>
                      <a:pt x="217" y="672"/>
                      <a:pt x="226" y="658"/>
                    </a:cubicBezTo>
                    <a:cubicBezTo>
                      <a:pt x="186" y="642"/>
                      <a:pt x="151" y="623"/>
                      <a:pt x="122" y="601"/>
                    </a:cubicBezTo>
                    <a:cubicBezTo>
                      <a:pt x="106" y="589"/>
                      <a:pt x="93" y="577"/>
                      <a:pt x="81" y="564"/>
                    </a:cubicBezTo>
                    <a:cubicBezTo>
                      <a:pt x="81" y="560"/>
                      <a:pt x="81" y="556"/>
                      <a:pt x="80" y="552"/>
                    </a:cubicBezTo>
                    <a:cubicBezTo>
                      <a:pt x="79" y="445"/>
                      <a:pt x="113" y="346"/>
                      <a:pt x="173" y="267"/>
                    </a:cubicBezTo>
                    <a:cubicBezTo>
                      <a:pt x="217" y="208"/>
                      <a:pt x="275" y="160"/>
                      <a:pt x="342" y="127"/>
                    </a:cubicBezTo>
                    <a:cubicBezTo>
                      <a:pt x="380" y="137"/>
                      <a:pt x="417" y="155"/>
                      <a:pt x="452" y="181"/>
                    </a:cubicBezTo>
                    <a:cubicBezTo>
                      <a:pt x="470" y="195"/>
                      <a:pt x="487" y="211"/>
                      <a:pt x="504" y="228"/>
                    </a:cubicBezTo>
                    <a:cubicBezTo>
                      <a:pt x="514" y="215"/>
                      <a:pt x="527" y="205"/>
                      <a:pt x="542" y="197"/>
                    </a:cubicBezTo>
                    <a:cubicBezTo>
                      <a:pt x="523" y="177"/>
                      <a:pt x="502" y="159"/>
                      <a:pt x="481" y="143"/>
                    </a:cubicBezTo>
                    <a:cubicBezTo>
                      <a:pt x="458" y="126"/>
                      <a:pt x="435" y="112"/>
                      <a:pt x="410" y="100"/>
                    </a:cubicBezTo>
                    <a:cubicBezTo>
                      <a:pt x="451" y="88"/>
                      <a:pt x="494" y="81"/>
                      <a:pt x="538" y="81"/>
                    </a:cubicBezTo>
                    <a:cubicBezTo>
                      <a:pt x="633" y="79"/>
                      <a:pt x="721" y="106"/>
                      <a:pt x="795" y="154"/>
                    </a:cubicBezTo>
                    <a:cubicBezTo>
                      <a:pt x="752" y="169"/>
                      <a:pt x="710" y="189"/>
                      <a:pt x="670" y="214"/>
                    </a:cubicBezTo>
                    <a:cubicBezTo>
                      <a:pt x="683" y="225"/>
                      <a:pt x="692" y="239"/>
                      <a:pt x="699" y="253"/>
                    </a:cubicBezTo>
                    <a:cubicBezTo>
                      <a:pt x="745" y="225"/>
                      <a:pt x="793" y="203"/>
                      <a:pt x="844" y="189"/>
                    </a:cubicBezTo>
                    <a:cubicBezTo>
                      <a:pt x="943" y="273"/>
                      <a:pt x="1007" y="398"/>
                      <a:pt x="1010" y="538"/>
                    </a:cubicBezTo>
                    <a:cubicBezTo>
                      <a:pt x="1010" y="546"/>
                      <a:pt x="1009" y="554"/>
                      <a:pt x="1009" y="562"/>
                    </a:cubicBezTo>
                    <a:cubicBezTo>
                      <a:pt x="972" y="607"/>
                      <a:pt x="916" y="642"/>
                      <a:pt x="850" y="668"/>
                    </a:cubicBezTo>
                    <a:cubicBezTo>
                      <a:pt x="857" y="682"/>
                      <a:pt x="862" y="698"/>
                      <a:pt x="863" y="715"/>
                    </a:cubicBezTo>
                    <a:cubicBezTo>
                      <a:pt x="915" y="695"/>
                      <a:pt x="961" y="670"/>
                      <a:pt x="1000" y="638"/>
                    </a:cubicBezTo>
                    <a:cubicBezTo>
                      <a:pt x="986" y="707"/>
                      <a:pt x="957" y="769"/>
                      <a:pt x="917" y="823"/>
                    </a:cubicBezTo>
                    <a:cubicBezTo>
                      <a:pt x="874" y="881"/>
                      <a:pt x="817" y="928"/>
                      <a:pt x="752" y="961"/>
                    </a:cubicBezTo>
                    <a:cubicBezTo>
                      <a:pt x="766" y="923"/>
                      <a:pt x="774" y="880"/>
                      <a:pt x="777" y="835"/>
                    </a:cubicBezTo>
                    <a:close/>
                    <a:moveTo>
                      <a:pt x="595" y="717"/>
                    </a:moveTo>
                    <a:cubicBezTo>
                      <a:pt x="608" y="717"/>
                      <a:pt x="621" y="716"/>
                      <a:pt x="634" y="715"/>
                    </a:cubicBezTo>
                    <a:cubicBezTo>
                      <a:pt x="633" y="718"/>
                      <a:pt x="633" y="721"/>
                      <a:pt x="633" y="725"/>
                    </a:cubicBezTo>
                    <a:cubicBezTo>
                      <a:pt x="634" y="738"/>
                      <a:pt x="636" y="751"/>
                      <a:pt x="640" y="763"/>
                    </a:cubicBezTo>
                    <a:cubicBezTo>
                      <a:pt x="626" y="764"/>
                      <a:pt x="611" y="765"/>
                      <a:pt x="596" y="766"/>
                    </a:cubicBezTo>
                    <a:cubicBezTo>
                      <a:pt x="541" y="768"/>
                      <a:pt x="486" y="765"/>
                      <a:pt x="432" y="759"/>
                    </a:cubicBezTo>
                    <a:cubicBezTo>
                      <a:pt x="437" y="745"/>
                      <a:pt x="440" y="730"/>
                      <a:pt x="440" y="714"/>
                    </a:cubicBezTo>
                    <a:cubicBezTo>
                      <a:pt x="440" y="713"/>
                      <a:pt x="440" y="712"/>
                      <a:pt x="440" y="711"/>
                    </a:cubicBezTo>
                    <a:cubicBezTo>
                      <a:pt x="491" y="717"/>
                      <a:pt x="543" y="719"/>
                      <a:pt x="595" y="717"/>
                    </a:cubicBezTo>
                    <a:close/>
                    <a:moveTo>
                      <a:pt x="746" y="579"/>
                    </a:moveTo>
                    <a:cubicBezTo>
                      <a:pt x="748" y="589"/>
                      <a:pt x="751" y="598"/>
                      <a:pt x="753" y="608"/>
                    </a:cubicBezTo>
                    <a:cubicBezTo>
                      <a:pt x="751" y="608"/>
                      <a:pt x="749" y="608"/>
                      <a:pt x="747" y="608"/>
                    </a:cubicBezTo>
                    <a:cubicBezTo>
                      <a:pt x="732" y="608"/>
                      <a:pt x="718" y="611"/>
                      <a:pt x="705" y="616"/>
                    </a:cubicBezTo>
                    <a:cubicBezTo>
                      <a:pt x="703" y="608"/>
                      <a:pt x="701" y="600"/>
                      <a:pt x="699" y="592"/>
                    </a:cubicBezTo>
                    <a:cubicBezTo>
                      <a:pt x="682" y="530"/>
                      <a:pt x="658" y="467"/>
                      <a:pt x="629" y="410"/>
                    </a:cubicBezTo>
                    <a:cubicBezTo>
                      <a:pt x="645" y="404"/>
                      <a:pt x="659" y="396"/>
                      <a:pt x="671" y="385"/>
                    </a:cubicBezTo>
                    <a:cubicBezTo>
                      <a:pt x="702" y="447"/>
                      <a:pt x="728" y="513"/>
                      <a:pt x="746" y="579"/>
                    </a:cubicBezTo>
                    <a:close/>
                    <a:moveTo>
                      <a:pt x="488" y="448"/>
                    </a:moveTo>
                    <a:cubicBezTo>
                      <a:pt x="449" y="501"/>
                      <a:pt x="415" y="559"/>
                      <a:pt x="388" y="619"/>
                    </a:cubicBezTo>
                    <a:cubicBezTo>
                      <a:pt x="374" y="610"/>
                      <a:pt x="359" y="604"/>
                      <a:pt x="342" y="602"/>
                    </a:cubicBezTo>
                    <a:cubicBezTo>
                      <a:pt x="371" y="537"/>
                      <a:pt x="407" y="475"/>
                      <a:pt x="450" y="419"/>
                    </a:cubicBezTo>
                    <a:cubicBezTo>
                      <a:pt x="465" y="399"/>
                      <a:pt x="480" y="380"/>
                      <a:pt x="497" y="362"/>
                    </a:cubicBezTo>
                    <a:cubicBezTo>
                      <a:pt x="504" y="373"/>
                      <a:pt x="513" y="384"/>
                      <a:pt x="525" y="392"/>
                    </a:cubicBezTo>
                    <a:cubicBezTo>
                      <a:pt x="527" y="394"/>
                      <a:pt x="529" y="395"/>
                      <a:pt x="531" y="396"/>
                    </a:cubicBezTo>
                    <a:cubicBezTo>
                      <a:pt x="516" y="413"/>
                      <a:pt x="502" y="430"/>
                      <a:pt x="488" y="448"/>
                    </a:cubicBezTo>
                    <a:close/>
                    <a:moveTo>
                      <a:pt x="326" y="782"/>
                    </a:moveTo>
                    <a:cubicBezTo>
                      <a:pt x="311" y="783"/>
                      <a:pt x="296" y="778"/>
                      <a:pt x="285" y="769"/>
                    </a:cubicBezTo>
                    <a:cubicBezTo>
                      <a:pt x="269" y="757"/>
                      <a:pt x="259" y="738"/>
                      <a:pt x="258" y="717"/>
                    </a:cubicBezTo>
                    <a:cubicBezTo>
                      <a:pt x="258" y="680"/>
                      <a:pt x="287" y="649"/>
                      <a:pt x="324" y="649"/>
                    </a:cubicBezTo>
                    <a:cubicBezTo>
                      <a:pt x="339" y="649"/>
                      <a:pt x="354" y="654"/>
                      <a:pt x="365" y="662"/>
                    </a:cubicBezTo>
                    <a:cubicBezTo>
                      <a:pt x="381" y="674"/>
                      <a:pt x="391" y="693"/>
                      <a:pt x="392" y="715"/>
                    </a:cubicBezTo>
                    <a:cubicBezTo>
                      <a:pt x="392" y="751"/>
                      <a:pt x="363" y="782"/>
                      <a:pt x="326" y="782"/>
                    </a:cubicBezTo>
                    <a:close/>
                    <a:moveTo>
                      <a:pt x="750" y="790"/>
                    </a:moveTo>
                    <a:cubicBezTo>
                      <a:pt x="734" y="790"/>
                      <a:pt x="720" y="785"/>
                      <a:pt x="708" y="776"/>
                    </a:cubicBezTo>
                    <a:cubicBezTo>
                      <a:pt x="692" y="764"/>
                      <a:pt x="682" y="746"/>
                      <a:pt x="682" y="724"/>
                    </a:cubicBezTo>
                    <a:cubicBezTo>
                      <a:pt x="681" y="687"/>
                      <a:pt x="711" y="657"/>
                      <a:pt x="748" y="656"/>
                    </a:cubicBezTo>
                    <a:cubicBezTo>
                      <a:pt x="763" y="656"/>
                      <a:pt x="777" y="661"/>
                      <a:pt x="789" y="669"/>
                    </a:cubicBezTo>
                    <a:cubicBezTo>
                      <a:pt x="805" y="681"/>
                      <a:pt x="815" y="700"/>
                      <a:pt x="815" y="722"/>
                    </a:cubicBezTo>
                    <a:cubicBezTo>
                      <a:pt x="816" y="759"/>
                      <a:pt x="786" y="789"/>
                      <a:pt x="750" y="790"/>
                    </a:cubicBezTo>
                    <a:close/>
                    <a:moveTo>
                      <a:pt x="527" y="301"/>
                    </a:moveTo>
                    <a:cubicBezTo>
                      <a:pt x="526" y="264"/>
                      <a:pt x="556" y="234"/>
                      <a:pt x="593" y="233"/>
                    </a:cubicBezTo>
                    <a:cubicBezTo>
                      <a:pt x="608" y="233"/>
                      <a:pt x="622" y="238"/>
                      <a:pt x="634" y="247"/>
                    </a:cubicBezTo>
                    <a:cubicBezTo>
                      <a:pt x="650" y="259"/>
                      <a:pt x="660" y="278"/>
                      <a:pt x="661" y="299"/>
                    </a:cubicBezTo>
                    <a:cubicBezTo>
                      <a:pt x="661" y="336"/>
                      <a:pt x="632" y="366"/>
                      <a:pt x="595" y="367"/>
                    </a:cubicBezTo>
                    <a:cubicBezTo>
                      <a:pt x="579" y="367"/>
                      <a:pt x="565" y="362"/>
                      <a:pt x="554" y="354"/>
                    </a:cubicBezTo>
                    <a:cubicBezTo>
                      <a:pt x="538" y="342"/>
                      <a:pt x="527" y="323"/>
                      <a:pt x="527" y="301"/>
                    </a:cubicBezTo>
                    <a:close/>
                  </a:path>
                </a:pathLst>
              </a:custGeom>
              <a:solidFill>
                <a:schemeClr val="accent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50" name="Rectangle 49"/>
              <p:cNvSpPr/>
              <p:nvPr/>
            </p:nvSpPr>
            <p:spPr bwMode="auto">
              <a:xfrm>
                <a:off x="1568919" y="1786849"/>
                <a:ext cx="607416" cy="83608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59" name="Freeform 58"/>
              <p:cNvSpPr>
                <a:spLocks noEditPoints="1"/>
              </p:cNvSpPr>
              <p:nvPr/>
            </p:nvSpPr>
            <p:spPr bwMode="auto">
              <a:xfrm>
                <a:off x="1524542" y="1672580"/>
                <a:ext cx="680668" cy="1006026"/>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grpSp>
        <p:sp>
          <p:nvSpPr>
            <p:cNvPr id="69" name="Freeform 30"/>
            <p:cNvSpPr>
              <a:spLocks noEditPoints="1"/>
            </p:cNvSpPr>
            <p:nvPr/>
          </p:nvSpPr>
          <p:spPr bwMode="auto">
            <a:xfrm>
              <a:off x="590611" y="2690835"/>
              <a:ext cx="712979" cy="13643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60" name="Group 59"/>
            <p:cNvGrpSpPr/>
            <p:nvPr/>
          </p:nvGrpSpPr>
          <p:grpSpPr>
            <a:xfrm>
              <a:off x="674524" y="3392470"/>
              <a:ext cx="1258134" cy="565248"/>
              <a:chOff x="679753" y="3081218"/>
              <a:chExt cx="1258134" cy="565248"/>
            </a:xfrm>
          </p:grpSpPr>
          <p:sp>
            <p:nvSpPr>
              <p:cNvPr id="63" name="Rectangle 62"/>
              <p:cNvSpPr/>
              <p:nvPr/>
            </p:nvSpPr>
            <p:spPr bwMode="auto">
              <a:xfrm rot="556830">
                <a:off x="734116" y="3297326"/>
                <a:ext cx="730091" cy="29963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67" name="Freeform 512"/>
              <p:cNvSpPr>
                <a:spLocks noEditPoints="1"/>
              </p:cNvSpPr>
              <p:nvPr/>
            </p:nvSpPr>
            <p:spPr bwMode="auto">
              <a:xfrm>
                <a:off x="679753" y="3081218"/>
                <a:ext cx="1258134" cy="565248"/>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solidFill>
                <a:srgbClr val="0070C0"/>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68" name="Freeform 513"/>
              <p:cNvSpPr>
                <a:spLocks/>
              </p:cNvSpPr>
              <p:nvPr/>
            </p:nvSpPr>
            <p:spPr bwMode="auto">
              <a:xfrm>
                <a:off x="787386" y="3373367"/>
                <a:ext cx="563846" cy="159897"/>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solidFill>
                <a:srgbClr val="0070C0"/>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94023391"/>
      </p:ext>
    </p:extLst>
  </p:cSld>
  <p:clrMapOvr>
    <a:masterClrMapping/>
  </p:clrMapOvr>
  <p:transition spd="slow">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What’s New in Windows Server 2012 VDI and RDS</a:t>
            </a:r>
            <a:endParaRPr lang="en-US" dirty="0"/>
          </a:p>
        </p:txBody>
      </p:sp>
      <p:sp>
        <p:nvSpPr>
          <p:cNvPr id="5" name="Text Placeholder 4"/>
          <p:cNvSpPr>
            <a:spLocks noGrp="1"/>
          </p:cNvSpPr>
          <p:nvPr>
            <p:ph type="body" sz="quarter" idx="12"/>
          </p:nvPr>
        </p:nvSpPr>
        <p:spPr/>
        <p:txBody>
          <a:bodyPr/>
          <a:lstStyle/>
          <a:p>
            <a:r>
              <a:rPr lang="en-US" smtClean="0"/>
              <a:t>Adam Carter</a:t>
            </a:r>
          </a:p>
          <a:p>
            <a:r>
              <a:rPr lang="en-US" smtClean="0"/>
              <a:t>Technical Product Manager</a:t>
            </a:r>
            <a:endParaRPr lang="en-US" dirty="0"/>
          </a:p>
        </p:txBody>
      </p:sp>
      <p:sp>
        <p:nvSpPr>
          <p:cNvPr id="14" name="Text Placeholder 13"/>
          <p:cNvSpPr>
            <a:spLocks noGrp="1"/>
          </p:cNvSpPr>
          <p:nvPr>
            <p:ph type="body" sz="quarter" idx="13"/>
          </p:nvPr>
        </p:nvSpPr>
        <p:spPr/>
        <p:txBody>
          <a:bodyPr/>
          <a:lstStyle/>
          <a:p>
            <a:r>
              <a:rPr lang="en-US" smtClean="0"/>
              <a:t>WCA-B350</a:t>
            </a:r>
            <a:endParaRPr lang="en-US" dirty="0"/>
          </a:p>
        </p:txBody>
      </p:sp>
    </p:spTree>
    <p:extLst>
      <p:ext uri="{BB962C8B-B14F-4D97-AF65-F5344CB8AC3E}">
        <p14:creationId xmlns:p14="http://schemas.microsoft.com/office/powerpoint/2010/main" val="311750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478" y="308586"/>
            <a:ext cx="9710445" cy="779309"/>
          </a:xfrm>
        </p:spPr>
        <p:txBody>
          <a:bodyPr/>
          <a:lstStyle/>
          <a:p>
            <a:r>
              <a:rPr lang="en-US" dirty="0" smtClean="0"/>
              <a:t>Storage options</a:t>
            </a:r>
            <a:endParaRPr lang="en-US" dirty="0"/>
          </a:p>
        </p:txBody>
      </p:sp>
      <p:sp>
        <p:nvSpPr>
          <p:cNvPr id="2057" name="Rectangle 2056"/>
          <p:cNvSpPr/>
          <p:nvPr/>
        </p:nvSpPr>
        <p:spPr>
          <a:xfrm>
            <a:off x="3894095" y="937772"/>
            <a:ext cx="2002107" cy="707886"/>
          </a:xfrm>
          <a:prstGeom prst="rect">
            <a:avLst/>
          </a:prstGeom>
        </p:spPr>
        <p:txBody>
          <a:bodyPr wrap="square">
            <a:spAutoFit/>
          </a:bodyPr>
          <a:lstStyle/>
          <a:p>
            <a:pPr defTabSz="1110116" eaLnBrk="0" fontAlgn="base" hangingPunct="0">
              <a:spcBef>
                <a:spcPct val="20000"/>
              </a:spcBef>
              <a:spcAft>
                <a:spcPts val="1224"/>
              </a:spcAft>
            </a:pPr>
            <a:r>
              <a:rPr lang="en-US" sz="2000" dirty="0">
                <a:solidFill>
                  <a:srgbClr val="00188F"/>
                </a:solidFill>
              </a:rPr>
              <a:t>Sample configuration</a:t>
            </a:r>
          </a:p>
        </p:txBody>
      </p:sp>
      <p:sp>
        <p:nvSpPr>
          <p:cNvPr id="67" name="Trapezoid 66"/>
          <p:cNvSpPr/>
          <p:nvPr/>
        </p:nvSpPr>
        <p:spPr bwMode="auto">
          <a:xfrm>
            <a:off x="304794" y="1309020"/>
            <a:ext cx="3794342" cy="2531533"/>
          </a:xfrm>
          <a:prstGeom prst="trapezoid">
            <a:avLst>
              <a:gd name="adj" fmla="val 0"/>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7600" tIns="147600" rIns="147600" bIns="147600" numCol="1" rtlCol="0" anchor="t" anchorCtr="0" compatLnSpc="1">
            <a:prstTxWarp prst="textNoShape">
              <a:avLst/>
            </a:prstTxWarp>
            <a:noAutofit/>
          </a:bodyPr>
          <a:lstStyle/>
          <a:p>
            <a:pPr marL="0" lvl="1" defTabSz="471596">
              <a:lnSpc>
                <a:spcPct val="90000"/>
              </a:lnSpc>
              <a:spcBef>
                <a:spcPct val="30000"/>
              </a:spcBef>
            </a:pPr>
            <a:r>
              <a:rPr lang="en-US" sz="2000" dirty="0" smtClean="0">
                <a:solidFill>
                  <a:schemeClr val="accent1"/>
                </a:solidFill>
                <a:cs typeface="Segoe UI" pitchFamily="34" charset="0"/>
              </a:rPr>
              <a:t>Windows </a:t>
            </a:r>
            <a:r>
              <a:rPr lang="en-US" sz="2000" dirty="0">
                <a:solidFill>
                  <a:schemeClr val="accent1"/>
                </a:solidFill>
                <a:cs typeface="Segoe UI" pitchFamily="34" charset="0"/>
              </a:rPr>
              <a:t>Server </a:t>
            </a:r>
            <a:r>
              <a:rPr lang="en-US" sz="2000" dirty="0" smtClean="0">
                <a:solidFill>
                  <a:schemeClr val="accent1"/>
                </a:solidFill>
                <a:cs typeface="Segoe UI" pitchFamily="34" charset="0"/>
              </a:rPr>
              <a:t>2012</a:t>
            </a:r>
            <a:endParaRPr lang="en-US" sz="2000" dirty="0">
              <a:solidFill>
                <a:schemeClr val="accent1"/>
              </a:solidFill>
              <a:cs typeface="Segoe UI" pitchFamily="34" charset="0"/>
            </a:endParaRPr>
          </a:p>
          <a:p>
            <a:pPr marL="170005" lvl="1" indent="-170005" defTabSz="471596">
              <a:lnSpc>
                <a:spcPct val="90000"/>
              </a:lnSpc>
              <a:spcBef>
                <a:spcPts val="306"/>
              </a:spcBef>
              <a:spcAft>
                <a:spcPts val="612"/>
              </a:spcAft>
              <a:buFont typeface="Arial" pitchFamily="34" charset="0"/>
              <a:buChar char="•"/>
            </a:pPr>
            <a:r>
              <a:rPr lang="en-US" sz="1600" dirty="0">
                <a:solidFill>
                  <a:schemeClr val="tx1"/>
                </a:solidFill>
                <a:cs typeface="Segoe UI" pitchFamily="34" charset="0"/>
              </a:rPr>
              <a:t>Storage </a:t>
            </a:r>
            <a:r>
              <a:rPr lang="en-US" sz="1600" dirty="0" smtClean="0">
                <a:solidFill>
                  <a:schemeClr val="tx1"/>
                </a:solidFill>
                <a:cs typeface="Segoe UI" pitchFamily="34" charset="0"/>
              </a:rPr>
              <a:t>spaces</a:t>
            </a:r>
            <a:endParaRPr lang="en-US" sz="1600" dirty="0">
              <a:solidFill>
                <a:schemeClr val="tx1"/>
              </a:solidFill>
              <a:cs typeface="Segoe UI" pitchFamily="34" charset="0"/>
            </a:endParaRPr>
          </a:p>
          <a:p>
            <a:pPr marL="170005" lvl="1" indent="-170005" defTabSz="471596">
              <a:lnSpc>
                <a:spcPct val="90000"/>
              </a:lnSpc>
              <a:spcBef>
                <a:spcPts val="306"/>
              </a:spcBef>
              <a:spcAft>
                <a:spcPts val="612"/>
              </a:spcAft>
              <a:buFont typeface="Arial" pitchFamily="34" charset="0"/>
              <a:buChar char="•"/>
            </a:pPr>
            <a:r>
              <a:rPr lang="en-US" sz="1600" dirty="0">
                <a:solidFill>
                  <a:schemeClr val="tx1"/>
                </a:solidFill>
                <a:cs typeface="Segoe UI" pitchFamily="34" charset="0"/>
              </a:rPr>
              <a:t>Server Message Block 3.0 (SMB3) and Hyper-V SMB support</a:t>
            </a:r>
          </a:p>
          <a:p>
            <a:pPr marL="170005" lvl="1" indent="-170005" defTabSz="471596">
              <a:lnSpc>
                <a:spcPct val="90000"/>
              </a:lnSpc>
              <a:spcBef>
                <a:spcPts val="306"/>
              </a:spcBef>
              <a:spcAft>
                <a:spcPts val="612"/>
              </a:spcAft>
              <a:buFont typeface="Arial" pitchFamily="34" charset="0"/>
              <a:buChar char="•"/>
            </a:pPr>
            <a:r>
              <a:rPr lang="en-US" sz="1600" dirty="0">
                <a:solidFill>
                  <a:schemeClr val="tx1"/>
                </a:solidFill>
                <a:cs typeface="Segoe UI" pitchFamily="34" charset="0"/>
              </a:rPr>
              <a:t>Cluster </a:t>
            </a:r>
            <a:r>
              <a:rPr lang="en-US" sz="1600" dirty="0" smtClean="0">
                <a:solidFill>
                  <a:schemeClr val="tx1"/>
                </a:solidFill>
                <a:cs typeface="Segoe UI" pitchFamily="34" charset="0"/>
              </a:rPr>
              <a:t>storage </a:t>
            </a:r>
            <a:r>
              <a:rPr lang="en-US" sz="1600" dirty="0">
                <a:solidFill>
                  <a:schemeClr val="tx1"/>
                </a:solidFill>
                <a:cs typeface="Segoe UI" pitchFamily="34" charset="0"/>
              </a:rPr>
              <a:t>v</a:t>
            </a:r>
            <a:r>
              <a:rPr lang="en-US" sz="1600" dirty="0" smtClean="0">
                <a:solidFill>
                  <a:schemeClr val="tx1"/>
                </a:solidFill>
                <a:cs typeface="Segoe UI" pitchFamily="34" charset="0"/>
              </a:rPr>
              <a:t>olume</a:t>
            </a:r>
            <a:endParaRPr lang="en-US" sz="1600" dirty="0">
              <a:solidFill>
                <a:schemeClr val="tx1"/>
              </a:solidFill>
              <a:cs typeface="Segoe UI" pitchFamily="34" charset="0"/>
            </a:endParaRPr>
          </a:p>
          <a:p>
            <a:pPr marL="170005" lvl="1" indent="-170005" defTabSz="471596">
              <a:lnSpc>
                <a:spcPct val="90000"/>
              </a:lnSpc>
              <a:spcBef>
                <a:spcPts val="306"/>
              </a:spcBef>
              <a:spcAft>
                <a:spcPts val="612"/>
              </a:spcAft>
              <a:buFont typeface="Arial" pitchFamily="34" charset="0"/>
              <a:buChar char="•"/>
            </a:pPr>
            <a:r>
              <a:rPr lang="en-US" sz="1600" dirty="0">
                <a:solidFill>
                  <a:schemeClr val="tx1"/>
                </a:solidFill>
                <a:cs typeface="Segoe UI" pitchFamily="34" charset="0"/>
              </a:rPr>
              <a:t>Scale-out f</a:t>
            </a:r>
            <a:r>
              <a:rPr lang="en-US" sz="1600" dirty="0" smtClean="0">
                <a:solidFill>
                  <a:schemeClr val="tx1"/>
                </a:solidFill>
                <a:cs typeface="Segoe UI" pitchFamily="34" charset="0"/>
              </a:rPr>
              <a:t>ile </a:t>
            </a:r>
            <a:r>
              <a:rPr lang="en-US" sz="1600" dirty="0">
                <a:solidFill>
                  <a:schemeClr val="tx1"/>
                </a:solidFill>
                <a:cs typeface="Segoe UI" pitchFamily="34" charset="0"/>
              </a:rPr>
              <a:t>s</a:t>
            </a:r>
            <a:r>
              <a:rPr lang="en-US" sz="1600" dirty="0" smtClean="0">
                <a:solidFill>
                  <a:schemeClr val="tx1"/>
                </a:solidFill>
                <a:cs typeface="Segoe UI" pitchFamily="34" charset="0"/>
              </a:rPr>
              <a:t>erver</a:t>
            </a:r>
          </a:p>
          <a:p>
            <a:pPr marL="170005" lvl="1" indent="-170005" defTabSz="471596">
              <a:lnSpc>
                <a:spcPct val="90000"/>
              </a:lnSpc>
              <a:spcBef>
                <a:spcPts val="306"/>
              </a:spcBef>
              <a:spcAft>
                <a:spcPts val="612"/>
              </a:spcAft>
              <a:buFont typeface="Arial" pitchFamily="34" charset="0"/>
              <a:buChar char="•"/>
            </a:pPr>
            <a:r>
              <a:rPr lang="en-US" sz="1600" dirty="0" smtClean="0">
                <a:solidFill>
                  <a:schemeClr val="tx1"/>
                </a:solidFill>
                <a:cs typeface="Segoe UI" pitchFamily="34" charset="0"/>
              </a:rPr>
              <a:t>Online disk </a:t>
            </a:r>
            <a:r>
              <a:rPr lang="en-US" sz="1600" dirty="0" err="1" smtClean="0">
                <a:solidFill>
                  <a:schemeClr val="tx1"/>
                </a:solidFill>
                <a:cs typeface="Segoe UI" pitchFamily="34" charset="0"/>
              </a:rPr>
              <a:t>dedupe</a:t>
            </a:r>
            <a:r>
              <a:rPr lang="en-US" sz="1600" dirty="0" smtClean="0">
                <a:solidFill>
                  <a:schemeClr val="tx1"/>
                </a:solidFill>
                <a:cs typeface="Segoe UI" pitchFamily="34" charset="0"/>
              </a:rPr>
              <a:t> and tiered storage</a:t>
            </a:r>
            <a:endParaRPr lang="en-US" sz="1600" dirty="0">
              <a:solidFill>
                <a:schemeClr val="tx1"/>
              </a:solidFill>
              <a:cs typeface="Segoe UI" pitchFamily="34" charset="0"/>
            </a:endParaRPr>
          </a:p>
        </p:txBody>
      </p:sp>
      <p:sp>
        <p:nvSpPr>
          <p:cNvPr id="70" name="Trapezoid 69"/>
          <p:cNvSpPr/>
          <p:nvPr/>
        </p:nvSpPr>
        <p:spPr bwMode="auto">
          <a:xfrm>
            <a:off x="306614" y="3711335"/>
            <a:ext cx="3670836" cy="2531533"/>
          </a:xfrm>
          <a:prstGeom prst="trapezoid">
            <a:avLst>
              <a:gd name="adj" fmla="val 0"/>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7600" tIns="147600" rIns="147600" bIns="147600" numCol="1" rtlCol="0" anchor="t" anchorCtr="0" compatLnSpc="1">
            <a:prstTxWarp prst="textNoShape">
              <a:avLst/>
            </a:prstTxWarp>
            <a:noAutofit/>
          </a:bodyPr>
          <a:lstStyle/>
          <a:p>
            <a:pPr marL="0" lvl="1" defTabSz="471596">
              <a:lnSpc>
                <a:spcPct val="90000"/>
              </a:lnSpc>
              <a:spcBef>
                <a:spcPct val="30000"/>
              </a:spcBef>
              <a:buClr>
                <a:schemeClr val="accent2"/>
              </a:buClr>
            </a:pPr>
            <a:r>
              <a:rPr lang="en-US" sz="2000" dirty="0">
                <a:solidFill>
                  <a:schemeClr val="accent1"/>
                </a:solidFill>
                <a:cs typeface="Segoe UI" pitchFamily="34" charset="0"/>
              </a:rPr>
              <a:t>VDI storage </a:t>
            </a:r>
            <a:r>
              <a:rPr lang="en-US" sz="2000" dirty="0" smtClean="0">
                <a:solidFill>
                  <a:schemeClr val="accent1"/>
                </a:solidFill>
                <a:cs typeface="Segoe UI" pitchFamily="34" charset="0"/>
              </a:rPr>
              <a:t>configuration</a:t>
            </a:r>
          </a:p>
          <a:p>
            <a:pPr marL="0" lvl="1" defTabSz="471596">
              <a:lnSpc>
                <a:spcPct val="90000"/>
              </a:lnSpc>
              <a:spcBef>
                <a:spcPct val="30000"/>
              </a:spcBef>
              <a:buClr>
                <a:schemeClr val="accent2"/>
              </a:buClr>
            </a:pPr>
            <a:endParaRPr lang="en-US" sz="300" dirty="0">
              <a:solidFill>
                <a:schemeClr val="accent1"/>
              </a:solidFill>
              <a:cs typeface="Segoe UI" pitchFamily="34" charset="0"/>
            </a:endParaRPr>
          </a:p>
          <a:p>
            <a:pPr marL="170005" lvl="1" indent="-170005" defTabSz="471596">
              <a:lnSpc>
                <a:spcPct val="90000"/>
              </a:lnSpc>
              <a:spcAft>
                <a:spcPts val="306"/>
              </a:spcAft>
              <a:buFont typeface="Arial" pitchFamily="34" charset="0"/>
              <a:buChar char="•"/>
            </a:pPr>
            <a:r>
              <a:rPr lang="en-US" sz="1600" dirty="0">
                <a:solidFill>
                  <a:schemeClr val="tx1"/>
                </a:solidFill>
                <a:cs typeface="Segoe UI" pitchFamily="34" charset="0"/>
              </a:rPr>
              <a:t>Direct-attached, central SMB, or central CSV / SAN</a:t>
            </a:r>
          </a:p>
          <a:p>
            <a:pPr marL="170005" lvl="1" indent="-170005" defTabSz="471596">
              <a:lnSpc>
                <a:spcPct val="90000"/>
              </a:lnSpc>
              <a:spcAft>
                <a:spcPts val="306"/>
              </a:spcAft>
              <a:buFont typeface="Arial" pitchFamily="34" charset="0"/>
              <a:buChar char="•"/>
            </a:pPr>
            <a:r>
              <a:rPr lang="en-US" sz="1600" dirty="0">
                <a:solidFill>
                  <a:schemeClr val="tx1"/>
                </a:solidFill>
                <a:cs typeface="Segoe UI" pitchFamily="34" charset="0"/>
              </a:rPr>
              <a:t>Storage location of User Profile Disks, parent virtual hard disk, and virtual machines can be configured separately for each collection</a:t>
            </a:r>
          </a:p>
          <a:p>
            <a:pPr marL="170005" lvl="1" indent="-170005" defTabSz="471596">
              <a:lnSpc>
                <a:spcPct val="90000"/>
              </a:lnSpc>
              <a:spcAft>
                <a:spcPts val="306"/>
              </a:spcAft>
              <a:buFont typeface="Arial" pitchFamily="34" charset="0"/>
              <a:buChar char="•"/>
            </a:pPr>
            <a:r>
              <a:rPr lang="en-US" sz="1600" dirty="0">
                <a:solidFill>
                  <a:schemeClr val="tx1"/>
                </a:solidFill>
                <a:cs typeface="Segoe UI" pitchFamily="34" charset="0"/>
              </a:rPr>
              <a:t>Optimum use of high I/O operations per second versus high volume storage</a:t>
            </a:r>
          </a:p>
        </p:txBody>
      </p:sp>
      <p:sp>
        <p:nvSpPr>
          <p:cNvPr id="69" name="Rounded Rectangle 68"/>
          <p:cNvSpPr/>
          <p:nvPr/>
        </p:nvSpPr>
        <p:spPr bwMode="auto">
          <a:xfrm>
            <a:off x="6482464" y="1084036"/>
            <a:ext cx="511450" cy="916142"/>
          </a:xfrm>
          <a:prstGeom prst="roundRect">
            <a:avLst/>
          </a:prstGeom>
          <a:noFill/>
          <a:ln w="22225" cap="sq">
            <a:solidFill>
              <a:schemeClr val="accent3"/>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71" name="Freeform 59"/>
          <p:cNvSpPr>
            <a:spLocks noEditPoints="1"/>
          </p:cNvSpPr>
          <p:nvPr/>
        </p:nvSpPr>
        <p:spPr bwMode="auto">
          <a:xfrm>
            <a:off x="6532697" y="1137098"/>
            <a:ext cx="417150" cy="799250"/>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72" name="Group 71"/>
          <p:cNvGrpSpPr/>
          <p:nvPr/>
        </p:nvGrpSpPr>
        <p:grpSpPr>
          <a:xfrm>
            <a:off x="7476527" y="1078652"/>
            <a:ext cx="511450" cy="916142"/>
            <a:chOff x="4320883" y="791089"/>
            <a:chExt cx="934064" cy="1673156"/>
          </a:xfrm>
        </p:grpSpPr>
        <p:sp>
          <p:nvSpPr>
            <p:cNvPr id="73" name="Rounded Rectangle 72"/>
            <p:cNvSpPr/>
            <p:nvPr/>
          </p:nvSpPr>
          <p:spPr bwMode="auto">
            <a:xfrm>
              <a:off x="4320883" y="791089"/>
              <a:ext cx="934064" cy="1673156"/>
            </a:xfrm>
            <a:prstGeom prst="roundRect">
              <a:avLst/>
            </a:prstGeom>
            <a:noFill/>
            <a:ln w="22225" cap="sq">
              <a:solidFill>
                <a:schemeClr val="accent3"/>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90" name="Freeform 59"/>
            <p:cNvSpPr>
              <a:spLocks noEditPoints="1"/>
            </p:cNvSpPr>
            <p:nvPr/>
          </p:nvSpPr>
          <p:spPr bwMode="auto">
            <a:xfrm>
              <a:off x="4412624" y="887996"/>
              <a:ext cx="761843" cy="1459675"/>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93" name="Group 92"/>
          <p:cNvGrpSpPr/>
          <p:nvPr/>
        </p:nvGrpSpPr>
        <p:grpSpPr>
          <a:xfrm>
            <a:off x="8492156" y="1073268"/>
            <a:ext cx="511450" cy="916142"/>
            <a:chOff x="4320883" y="791089"/>
            <a:chExt cx="934064" cy="1673156"/>
          </a:xfrm>
        </p:grpSpPr>
        <p:sp>
          <p:nvSpPr>
            <p:cNvPr id="94" name="Rounded Rectangle 93"/>
            <p:cNvSpPr/>
            <p:nvPr/>
          </p:nvSpPr>
          <p:spPr bwMode="auto">
            <a:xfrm>
              <a:off x="4320883" y="791089"/>
              <a:ext cx="934064" cy="1673156"/>
            </a:xfrm>
            <a:prstGeom prst="roundRect">
              <a:avLst/>
            </a:prstGeom>
            <a:noFill/>
            <a:ln w="22225" cap="sq">
              <a:solidFill>
                <a:schemeClr val="accent3"/>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95" name="Freeform 59"/>
            <p:cNvSpPr>
              <a:spLocks noEditPoints="1"/>
            </p:cNvSpPr>
            <p:nvPr/>
          </p:nvSpPr>
          <p:spPr bwMode="auto">
            <a:xfrm>
              <a:off x="4412624" y="887996"/>
              <a:ext cx="761843" cy="1459675"/>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96" name="Group 95"/>
          <p:cNvGrpSpPr/>
          <p:nvPr/>
        </p:nvGrpSpPr>
        <p:grpSpPr>
          <a:xfrm>
            <a:off x="9442152" y="1067884"/>
            <a:ext cx="511450" cy="916142"/>
            <a:chOff x="4320883" y="791089"/>
            <a:chExt cx="934064" cy="1673156"/>
          </a:xfrm>
        </p:grpSpPr>
        <p:sp>
          <p:nvSpPr>
            <p:cNvPr id="102" name="Rounded Rectangle 101"/>
            <p:cNvSpPr/>
            <p:nvPr/>
          </p:nvSpPr>
          <p:spPr bwMode="auto">
            <a:xfrm>
              <a:off x="4320883" y="791089"/>
              <a:ext cx="934064" cy="1673156"/>
            </a:xfrm>
            <a:prstGeom prst="roundRect">
              <a:avLst/>
            </a:prstGeom>
            <a:noFill/>
            <a:ln w="22225" cap="sq">
              <a:solidFill>
                <a:schemeClr val="accent3"/>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105" name="Freeform 59"/>
            <p:cNvSpPr>
              <a:spLocks noEditPoints="1"/>
            </p:cNvSpPr>
            <p:nvPr/>
          </p:nvSpPr>
          <p:spPr bwMode="auto">
            <a:xfrm>
              <a:off x="4412624" y="887996"/>
              <a:ext cx="761843" cy="1459675"/>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06" name="Rounded Rectangle 105"/>
          <p:cNvSpPr/>
          <p:nvPr/>
        </p:nvSpPr>
        <p:spPr bwMode="auto">
          <a:xfrm>
            <a:off x="6094151" y="788330"/>
            <a:ext cx="4346112" cy="1568675"/>
          </a:xfrm>
          <a:prstGeom prst="roundRect">
            <a:avLst/>
          </a:prstGeom>
          <a:noFill/>
          <a:ln w="22225" cap="sq">
            <a:solidFill>
              <a:schemeClr val="accent3"/>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107" name="Rectangle 8"/>
          <p:cNvSpPr>
            <a:spLocks noChangeArrowheads="1"/>
          </p:cNvSpPr>
          <p:nvPr/>
        </p:nvSpPr>
        <p:spPr bwMode="auto">
          <a:xfrm>
            <a:off x="10276675" y="1381511"/>
            <a:ext cx="1490162" cy="528294"/>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endParaRPr lang="en-US" sz="2000" dirty="0">
              <a:latin typeface="+mj-lt"/>
            </a:endParaRPr>
          </a:p>
        </p:txBody>
      </p:sp>
      <p:cxnSp>
        <p:nvCxnSpPr>
          <p:cNvPr id="7" name="Elbow Connector 6"/>
          <p:cNvCxnSpPr>
            <a:stCxn id="69" idx="2"/>
            <a:endCxn id="102" idx="2"/>
          </p:cNvCxnSpPr>
          <p:nvPr/>
        </p:nvCxnSpPr>
        <p:spPr>
          <a:xfrm rot="5400000" flipH="1" flipV="1">
            <a:off x="8209957" y="512258"/>
            <a:ext cx="16152" cy="2959688"/>
          </a:xfrm>
          <a:prstGeom prst="bentConnector3">
            <a:avLst>
              <a:gd name="adj1" fmla="val -3666921"/>
            </a:avLst>
          </a:prstGeom>
          <a:ln w="31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endCxn id="73" idx="2"/>
          </p:cNvCxnSpPr>
          <p:nvPr/>
        </p:nvCxnSpPr>
        <p:spPr>
          <a:xfrm flipV="1">
            <a:off x="7732252" y="1994794"/>
            <a:ext cx="0" cy="601201"/>
          </a:xfrm>
          <a:prstGeom prst="straightConnector1">
            <a:avLst/>
          </a:prstGeom>
          <a:ln w="31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8747881" y="1968628"/>
            <a:ext cx="0" cy="616976"/>
          </a:xfrm>
          <a:prstGeom prst="straightConnector1">
            <a:avLst/>
          </a:prstGeom>
          <a:ln w="31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9" name="Rounded Rectangle 108"/>
          <p:cNvSpPr/>
          <p:nvPr/>
        </p:nvSpPr>
        <p:spPr bwMode="auto">
          <a:xfrm>
            <a:off x="7657534" y="2900544"/>
            <a:ext cx="1210989" cy="1129825"/>
          </a:xfrm>
          <a:prstGeom prst="roundRect">
            <a:avLst/>
          </a:prstGeom>
          <a:noFill/>
          <a:ln w="22225" cap="sq">
            <a:solidFill>
              <a:schemeClr val="accent3"/>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110" name="Freeform 59"/>
          <p:cNvSpPr>
            <a:spLocks noEditPoints="1"/>
          </p:cNvSpPr>
          <p:nvPr/>
        </p:nvSpPr>
        <p:spPr bwMode="auto">
          <a:xfrm>
            <a:off x="7828867" y="3052100"/>
            <a:ext cx="417150" cy="799250"/>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1" name="Freeform 59"/>
          <p:cNvSpPr>
            <a:spLocks noEditPoints="1"/>
          </p:cNvSpPr>
          <p:nvPr/>
        </p:nvSpPr>
        <p:spPr bwMode="auto">
          <a:xfrm>
            <a:off x="8294727" y="3052100"/>
            <a:ext cx="417150" cy="799250"/>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18" name="Freeform 117"/>
          <p:cNvSpPr>
            <a:spLocks noEditPoints="1"/>
          </p:cNvSpPr>
          <p:nvPr/>
        </p:nvSpPr>
        <p:spPr bwMode="auto">
          <a:xfrm>
            <a:off x="5605131" y="4430478"/>
            <a:ext cx="486308" cy="718763"/>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119" name="Freeform 118"/>
          <p:cNvSpPr>
            <a:spLocks noEditPoints="1"/>
          </p:cNvSpPr>
          <p:nvPr/>
        </p:nvSpPr>
        <p:spPr bwMode="auto">
          <a:xfrm>
            <a:off x="8024727" y="4387461"/>
            <a:ext cx="486308" cy="718763"/>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120" name="Freeform 119"/>
          <p:cNvSpPr>
            <a:spLocks noEditPoints="1"/>
          </p:cNvSpPr>
          <p:nvPr/>
        </p:nvSpPr>
        <p:spPr bwMode="auto">
          <a:xfrm>
            <a:off x="10264410" y="4419896"/>
            <a:ext cx="486308" cy="718763"/>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70C0"/>
          </a:solidFill>
          <a:ln>
            <a:solidFill>
              <a:schemeClr val="bg1"/>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121" name="Rectangle 8"/>
          <p:cNvSpPr>
            <a:spLocks noChangeArrowheads="1"/>
          </p:cNvSpPr>
          <p:nvPr/>
        </p:nvSpPr>
        <p:spPr bwMode="auto">
          <a:xfrm>
            <a:off x="5910812" y="4590415"/>
            <a:ext cx="1490162" cy="528294"/>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1600" dirty="0" smtClean="0"/>
              <a:t>Storage Space</a:t>
            </a:r>
            <a:endParaRPr lang="en-US" sz="1600" dirty="0"/>
          </a:p>
        </p:txBody>
      </p:sp>
      <p:sp>
        <p:nvSpPr>
          <p:cNvPr id="122" name="Rectangle 8"/>
          <p:cNvSpPr>
            <a:spLocks noChangeArrowheads="1"/>
          </p:cNvSpPr>
          <p:nvPr/>
        </p:nvSpPr>
        <p:spPr bwMode="auto">
          <a:xfrm>
            <a:off x="8327122" y="4590415"/>
            <a:ext cx="1490162" cy="528294"/>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1600" dirty="0" smtClean="0"/>
              <a:t>Storage Space</a:t>
            </a:r>
            <a:endParaRPr lang="en-US" sz="1600" dirty="0"/>
          </a:p>
        </p:txBody>
      </p:sp>
      <p:sp>
        <p:nvSpPr>
          <p:cNvPr id="123" name="Rectangle 8"/>
          <p:cNvSpPr>
            <a:spLocks noChangeArrowheads="1"/>
          </p:cNvSpPr>
          <p:nvPr/>
        </p:nvSpPr>
        <p:spPr bwMode="auto">
          <a:xfrm>
            <a:off x="10611203" y="4590415"/>
            <a:ext cx="1490162" cy="528294"/>
          </a:xfrm>
          <a:prstGeom prst="rect">
            <a:avLst/>
          </a:prstGeom>
          <a:noFill/>
          <a:ln w="9525" algn="ctr">
            <a:noFill/>
            <a:miter lim="800000"/>
            <a:headEnd/>
            <a:tailEnd/>
          </a:ln>
        </p:spPr>
        <p:txBody>
          <a:bodyPr lIns="279781" tIns="38495" rIns="279781" bIns="177195" anchor="b"/>
          <a:lstStyle/>
          <a:p>
            <a:pPr>
              <a:lnSpc>
                <a:spcPct val="90000"/>
              </a:lnSpc>
              <a:spcBef>
                <a:spcPct val="50000"/>
              </a:spcBef>
              <a:buClr>
                <a:schemeClr val="accent2"/>
              </a:buClr>
            </a:pPr>
            <a:r>
              <a:rPr lang="en-US" sz="1600" dirty="0" smtClean="0"/>
              <a:t>Storage Space</a:t>
            </a:r>
            <a:endParaRPr lang="en-US" sz="1600" dirty="0"/>
          </a:p>
        </p:txBody>
      </p:sp>
      <p:cxnSp>
        <p:nvCxnSpPr>
          <p:cNvPr id="14" name="Elbow Connector 13"/>
          <p:cNvCxnSpPr>
            <a:stCxn id="118" idx="11"/>
            <a:endCxn id="109" idx="1"/>
          </p:cNvCxnSpPr>
          <p:nvPr/>
        </p:nvCxnSpPr>
        <p:spPr>
          <a:xfrm flipV="1">
            <a:off x="5848285" y="3465457"/>
            <a:ext cx="1809249" cy="965021"/>
          </a:xfrm>
          <a:prstGeom prst="bentConnector3">
            <a:avLst>
              <a:gd name="adj1" fmla="val 608"/>
            </a:avLst>
          </a:prstGeom>
          <a:ln w="31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20" idx="11"/>
            <a:endCxn id="109" idx="3"/>
          </p:cNvCxnSpPr>
          <p:nvPr/>
        </p:nvCxnSpPr>
        <p:spPr>
          <a:xfrm flipH="1" flipV="1">
            <a:off x="8868523" y="3465457"/>
            <a:ext cx="1639041" cy="954439"/>
          </a:xfrm>
          <a:prstGeom prst="bentConnector3">
            <a:avLst>
              <a:gd name="adj1" fmla="val 380"/>
            </a:avLst>
          </a:prstGeom>
          <a:ln w="31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119" idx="11"/>
            <a:endCxn id="109" idx="2"/>
          </p:cNvCxnSpPr>
          <p:nvPr/>
        </p:nvCxnSpPr>
        <p:spPr>
          <a:xfrm flipH="1" flipV="1">
            <a:off x="8263029" y="4030369"/>
            <a:ext cx="4852" cy="357092"/>
          </a:xfrm>
          <a:prstGeom prst="straightConnector1">
            <a:avLst/>
          </a:prstGeom>
          <a:ln w="31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4" name="AutoShape 132"/>
          <p:cNvSpPr>
            <a:spLocks noChangeArrowheads="1"/>
          </p:cNvSpPr>
          <p:nvPr/>
        </p:nvSpPr>
        <p:spPr bwMode="auto">
          <a:xfrm>
            <a:off x="4861590" y="5457572"/>
            <a:ext cx="2331981" cy="1097360"/>
          </a:xfrm>
          <a:prstGeom prst="roundRect">
            <a:avLst>
              <a:gd name="adj" fmla="val 7972"/>
            </a:avLst>
          </a:prstGeom>
          <a:noFill/>
          <a:ln w="19050" cmpd="sng">
            <a:solidFill>
              <a:schemeClr val="tx1"/>
            </a:solidFill>
            <a:prstDash val="sysDot"/>
            <a:round/>
            <a:headEnd/>
            <a:tailEnd/>
          </a:ln>
        </p:spPr>
        <p:txBody>
          <a:bodyPr wrap="none" anchor="ctr"/>
          <a:lstStyle/>
          <a:p>
            <a:endParaRPr lang="en-US" dirty="0">
              <a:ln>
                <a:solidFill>
                  <a:srgbClr val="000000"/>
                </a:solidFill>
              </a:ln>
              <a:solidFill>
                <a:srgbClr val="000000"/>
              </a:solidFill>
            </a:endParaRPr>
          </a:p>
        </p:txBody>
      </p:sp>
      <p:sp>
        <p:nvSpPr>
          <p:cNvPr id="135" name="Freeform 79"/>
          <p:cNvSpPr>
            <a:spLocks noEditPoints="1"/>
          </p:cNvSpPr>
          <p:nvPr/>
        </p:nvSpPr>
        <p:spPr bwMode="black">
          <a:xfrm>
            <a:off x="5286984" y="5730946"/>
            <a:ext cx="480411" cy="64945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36" name="Freeform 79"/>
          <p:cNvSpPr>
            <a:spLocks noEditPoints="1"/>
          </p:cNvSpPr>
          <p:nvPr/>
        </p:nvSpPr>
        <p:spPr bwMode="black">
          <a:xfrm>
            <a:off x="6155912" y="5730946"/>
            <a:ext cx="480411" cy="64945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37" name="TextBox 136"/>
          <p:cNvSpPr txBox="1"/>
          <p:nvPr/>
        </p:nvSpPr>
        <p:spPr>
          <a:xfrm>
            <a:off x="4639606" y="5452549"/>
            <a:ext cx="1608248" cy="307898"/>
          </a:xfrm>
          <a:prstGeom prst="rect">
            <a:avLst/>
          </a:prstGeom>
          <a:noFill/>
          <a:ln w="19050" cmpd="sng">
            <a:noFill/>
          </a:ln>
        </p:spPr>
        <p:txBody>
          <a:bodyPr lIns="91559" tIns="45780" rIns="91559" bIns="45780">
            <a:spAutoFit/>
          </a:bodyPr>
          <a:lstStyle/>
          <a:p>
            <a:pPr algn="ctr">
              <a:defRPr/>
            </a:pPr>
            <a:r>
              <a:rPr lang="en-US" sz="1400" dirty="0"/>
              <a:t>Storage Pool</a:t>
            </a:r>
          </a:p>
        </p:txBody>
      </p:sp>
      <p:sp>
        <p:nvSpPr>
          <p:cNvPr id="139" name="Freeform 79"/>
          <p:cNvSpPr>
            <a:spLocks noEditPoints="1"/>
          </p:cNvSpPr>
          <p:nvPr/>
        </p:nvSpPr>
        <p:spPr bwMode="black">
          <a:xfrm>
            <a:off x="7722864" y="5740825"/>
            <a:ext cx="480411" cy="64945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40" name="Freeform 79"/>
          <p:cNvSpPr>
            <a:spLocks noEditPoints="1"/>
          </p:cNvSpPr>
          <p:nvPr/>
        </p:nvSpPr>
        <p:spPr bwMode="black">
          <a:xfrm>
            <a:off x="8591792" y="5740825"/>
            <a:ext cx="480411" cy="64945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41" name="TextBox 140"/>
          <p:cNvSpPr txBox="1"/>
          <p:nvPr/>
        </p:nvSpPr>
        <p:spPr>
          <a:xfrm>
            <a:off x="7075486" y="5452549"/>
            <a:ext cx="1608248" cy="307898"/>
          </a:xfrm>
          <a:prstGeom prst="rect">
            <a:avLst/>
          </a:prstGeom>
          <a:noFill/>
          <a:ln w="19050" cmpd="sng">
            <a:noFill/>
          </a:ln>
        </p:spPr>
        <p:txBody>
          <a:bodyPr lIns="91559" tIns="45780" rIns="91559" bIns="45780">
            <a:spAutoFit/>
          </a:bodyPr>
          <a:lstStyle/>
          <a:p>
            <a:pPr algn="ctr">
              <a:defRPr/>
            </a:pPr>
            <a:r>
              <a:rPr lang="en-US" sz="1400" dirty="0"/>
              <a:t>Storage Pool</a:t>
            </a:r>
          </a:p>
        </p:txBody>
      </p:sp>
      <p:sp>
        <p:nvSpPr>
          <p:cNvPr id="143" name="Freeform 79"/>
          <p:cNvSpPr>
            <a:spLocks noEditPoints="1"/>
          </p:cNvSpPr>
          <p:nvPr/>
        </p:nvSpPr>
        <p:spPr bwMode="black">
          <a:xfrm>
            <a:off x="10152638" y="5730946"/>
            <a:ext cx="480411" cy="64945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44" name="Freeform 79"/>
          <p:cNvSpPr>
            <a:spLocks noEditPoints="1"/>
          </p:cNvSpPr>
          <p:nvPr/>
        </p:nvSpPr>
        <p:spPr bwMode="black">
          <a:xfrm>
            <a:off x="11021566" y="5730946"/>
            <a:ext cx="480411" cy="64945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45" name="TextBox 144"/>
          <p:cNvSpPr txBox="1"/>
          <p:nvPr/>
        </p:nvSpPr>
        <p:spPr>
          <a:xfrm>
            <a:off x="9494869" y="5452549"/>
            <a:ext cx="1608248" cy="307898"/>
          </a:xfrm>
          <a:prstGeom prst="rect">
            <a:avLst/>
          </a:prstGeom>
          <a:noFill/>
          <a:ln w="19050" cmpd="sng">
            <a:noFill/>
          </a:ln>
        </p:spPr>
        <p:txBody>
          <a:bodyPr lIns="91559" tIns="45780" rIns="91559" bIns="45780">
            <a:spAutoFit/>
          </a:bodyPr>
          <a:lstStyle/>
          <a:p>
            <a:pPr algn="ctr">
              <a:defRPr/>
            </a:pPr>
            <a:r>
              <a:rPr lang="en-US" sz="1400" dirty="0"/>
              <a:t>Storage Pool</a:t>
            </a:r>
          </a:p>
        </p:txBody>
      </p:sp>
      <p:sp>
        <p:nvSpPr>
          <p:cNvPr id="146" name="AutoShape 132"/>
          <p:cNvSpPr>
            <a:spLocks noChangeArrowheads="1"/>
          </p:cNvSpPr>
          <p:nvPr/>
        </p:nvSpPr>
        <p:spPr bwMode="auto">
          <a:xfrm>
            <a:off x="7329336" y="5451846"/>
            <a:ext cx="2331981" cy="1097360"/>
          </a:xfrm>
          <a:prstGeom prst="roundRect">
            <a:avLst>
              <a:gd name="adj" fmla="val 7972"/>
            </a:avLst>
          </a:prstGeom>
          <a:noFill/>
          <a:ln w="19050" cmpd="sng">
            <a:solidFill>
              <a:schemeClr val="tx1"/>
            </a:solidFill>
            <a:prstDash val="sysDot"/>
            <a:round/>
            <a:headEnd/>
            <a:tailEnd/>
          </a:ln>
        </p:spPr>
        <p:txBody>
          <a:bodyPr wrap="none" anchor="ctr"/>
          <a:lstStyle/>
          <a:p>
            <a:endParaRPr lang="en-US" dirty="0">
              <a:ln>
                <a:solidFill>
                  <a:srgbClr val="000000"/>
                </a:solidFill>
              </a:ln>
              <a:solidFill>
                <a:srgbClr val="000000"/>
              </a:solidFill>
            </a:endParaRPr>
          </a:p>
        </p:txBody>
      </p:sp>
      <p:sp>
        <p:nvSpPr>
          <p:cNvPr id="148" name="AutoShape 132"/>
          <p:cNvSpPr>
            <a:spLocks noChangeArrowheads="1"/>
          </p:cNvSpPr>
          <p:nvPr/>
        </p:nvSpPr>
        <p:spPr bwMode="auto">
          <a:xfrm>
            <a:off x="9774536" y="5454085"/>
            <a:ext cx="2331981" cy="1097360"/>
          </a:xfrm>
          <a:prstGeom prst="roundRect">
            <a:avLst>
              <a:gd name="adj" fmla="val 7972"/>
            </a:avLst>
          </a:prstGeom>
          <a:noFill/>
          <a:ln w="19050" cmpd="sng">
            <a:solidFill>
              <a:schemeClr val="tx1"/>
            </a:solidFill>
            <a:prstDash val="sysDot"/>
            <a:round/>
            <a:headEnd/>
            <a:tailEnd/>
          </a:ln>
        </p:spPr>
        <p:txBody>
          <a:bodyPr wrap="none" anchor="ctr"/>
          <a:lstStyle/>
          <a:p>
            <a:endParaRPr lang="en-US" dirty="0">
              <a:ln>
                <a:solidFill>
                  <a:srgbClr val="000000"/>
                </a:solidFill>
              </a:ln>
              <a:solidFill>
                <a:srgbClr val="000000"/>
              </a:solidFill>
            </a:endParaRPr>
          </a:p>
        </p:txBody>
      </p:sp>
      <p:grpSp>
        <p:nvGrpSpPr>
          <p:cNvPr id="149" name="Group 148"/>
          <p:cNvGrpSpPr/>
          <p:nvPr/>
        </p:nvGrpSpPr>
        <p:grpSpPr>
          <a:xfrm>
            <a:off x="4033958" y="5313784"/>
            <a:ext cx="8238192" cy="1397196"/>
            <a:chOff x="145074" y="5103172"/>
            <a:chExt cx="10445139" cy="1297628"/>
          </a:xfrm>
        </p:grpSpPr>
        <p:sp>
          <p:nvSpPr>
            <p:cNvPr id="150" name="Rounded Rectangle 149"/>
            <p:cNvSpPr/>
            <p:nvPr/>
          </p:nvSpPr>
          <p:spPr bwMode="auto">
            <a:xfrm>
              <a:off x="989013" y="5103172"/>
              <a:ext cx="9601200" cy="1297628"/>
            </a:xfrm>
            <a:prstGeom prst="roundRect">
              <a:avLst/>
            </a:prstGeom>
            <a:noFill/>
            <a:ln w="19050">
              <a:solidFill>
                <a:schemeClr val="tx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GB" sz="2000" spc="-50" dirty="0" smtClean="0">
                <a:gradFill>
                  <a:gsLst>
                    <a:gs pos="0">
                      <a:schemeClr val="bg1"/>
                    </a:gs>
                    <a:gs pos="100000">
                      <a:schemeClr val="bg1"/>
                    </a:gs>
                  </a:gsLst>
                  <a:lin ang="5400000" scaled="0"/>
                </a:gradFill>
              </a:endParaRPr>
            </a:p>
          </p:txBody>
        </p:sp>
        <p:sp>
          <p:nvSpPr>
            <p:cNvPr id="151" name="TextBox 150"/>
            <p:cNvSpPr txBox="1"/>
            <p:nvPr/>
          </p:nvSpPr>
          <p:spPr>
            <a:xfrm>
              <a:off x="145074" y="5378775"/>
              <a:ext cx="999525" cy="592780"/>
            </a:xfrm>
            <a:prstGeom prst="rect">
              <a:avLst/>
            </a:prstGeom>
            <a:solidFill>
              <a:schemeClr val="bg1"/>
            </a:solidFill>
          </p:spPr>
          <p:txBody>
            <a:bodyPr wrap="square" lIns="0" tIns="0" rIns="0" bIns="0" rtlCol="0">
              <a:spAutoFit/>
            </a:bodyPr>
            <a:lstStyle/>
            <a:p>
              <a:pPr>
                <a:lnSpc>
                  <a:spcPct val="90000"/>
                </a:lnSpc>
              </a:pPr>
              <a:r>
                <a:rPr lang="en-GB" sz="1600" spc="-50" dirty="0" smtClean="0"/>
                <a:t>Block based storage</a:t>
              </a:r>
            </a:p>
          </p:txBody>
        </p:sp>
      </p:grpSp>
      <p:cxnSp>
        <p:nvCxnSpPr>
          <p:cNvPr id="244" name="Straight Arrow Connector 243"/>
          <p:cNvCxnSpPr/>
          <p:nvPr/>
        </p:nvCxnSpPr>
        <p:spPr>
          <a:xfrm flipV="1">
            <a:off x="5848285" y="5166175"/>
            <a:ext cx="0" cy="295215"/>
          </a:xfrm>
          <a:prstGeom prst="straightConnector1">
            <a:avLst/>
          </a:prstGeom>
          <a:ln w="31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4" name="TextBox 163"/>
          <p:cNvSpPr txBox="1"/>
          <p:nvPr/>
        </p:nvSpPr>
        <p:spPr>
          <a:xfrm>
            <a:off x="10317930" y="1431307"/>
            <a:ext cx="788336" cy="221599"/>
          </a:xfrm>
          <a:prstGeom prst="rect">
            <a:avLst/>
          </a:prstGeom>
          <a:solidFill>
            <a:schemeClr val="bg1"/>
          </a:solidFill>
        </p:spPr>
        <p:txBody>
          <a:bodyPr wrap="square" lIns="0" tIns="0" rIns="0" bIns="0" rtlCol="0">
            <a:spAutoFit/>
          </a:bodyPr>
          <a:lstStyle/>
          <a:p>
            <a:pPr>
              <a:lnSpc>
                <a:spcPct val="90000"/>
              </a:lnSpc>
            </a:pPr>
            <a:r>
              <a:rPr lang="en-GB" sz="1600" spc="-50" dirty="0" smtClean="0"/>
              <a:t>Hyper V</a:t>
            </a:r>
          </a:p>
        </p:txBody>
      </p:sp>
      <p:cxnSp>
        <p:nvCxnSpPr>
          <p:cNvPr id="165" name="Straight Arrow Connector 164"/>
          <p:cNvCxnSpPr/>
          <p:nvPr/>
        </p:nvCxnSpPr>
        <p:spPr>
          <a:xfrm flipV="1">
            <a:off x="8291538" y="5127966"/>
            <a:ext cx="0" cy="295215"/>
          </a:xfrm>
          <a:prstGeom prst="straightConnector1">
            <a:avLst/>
          </a:prstGeom>
          <a:ln w="31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p:cNvCxnSpPr/>
          <p:nvPr/>
        </p:nvCxnSpPr>
        <p:spPr>
          <a:xfrm flipV="1">
            <a:off x="10517089" y="5126798"/>
            <a:ext cx="0" cy="295215"/>
          </a:xfrm>
          <a:prstGeom prst="straightConnector1">
            <a:avLst/>
          </a:prstGeom>
          <a:ln w="31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7" name="TextBox 166"/>
          <p:cNvSpPr txBox="1"/>
          <p:nvPr/>
        </p:nvSpPr>
        <p:spPr>
          <a:xfrm>
            <a:off x="8776608" y="3162460"/>
            <a:ext cx="2081351" cy="221599"/>
          </a:xfrm>
          <a:prstGeom prst="rect">
            <a:avLst/>
          </a:prstGeom>
          <a:solidFill>
            <a:schemeClr val="bg1"/>
          </a:solidFill>
        </p:spPr>
        <p:txBody>
          <a:bodyPr wrap="square" lIns="0" tIns="0" rIns="0" bIns="0" rtlCol="0">
            <a:spAutoFit/>
          </a:bodyPr>
          <a:lstStyle/>
          <a:p>
            <a:pPr>
              <a:lnSpc>
                <a:spcPct val="90000"/>
              </a:lnSpc>
            </a:pPr>
            <a:r>
              <a:rPr lang="en-GB" sz="1600" spc="-50" dirty="0" smtClean="0"/>
              <a:t>Scale out file server</a:t>
            </a:r>
          </a:p>
        </p:txBody>
      </p:sp>
      <p:cxnSp>
        <p:nvCxnSpPr>
          <p:cNvPr id="168" name="Straight Arrow Connector 167"/>
          <p:cNvCxnSpPr/>
          <p:nvPr/>
        </p:nvCxnSpPr>
        <p:spPr>
          <a:xfrm flipV="1">
            <a:off x="8267880" y="2595995"/>
            <a:ext cx="0" cy="277086"/>
          </a:xfrm>
          <a:prstGeom prst="straightConnector1">
            <a:avLst/>
          </a:prstGeom>
          <a:ln w="3175">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0" name="TextBox 169"/>
          <p:cNvSpPr txBox="1"/>
          <p:nvPr/>
        </p:nvSpPr>
        <p:spPr>
          <a:xfrm>
            <a:off x="11307150" y="2415718"/>
            <a:ext cx="391133" cy="221599"/>
          </a:xfrm>
          <a:prstGeom prst="rect">
            <a:avLst/>
          </a:prstGeom>
          <a:solidFill>
            <a:schemeClr val="bg1"/>
          </a:solidFill>
        </p:spPr>
        <p:txBody>
          <a:bodyPr wrap="none" lIns="0" tIns="0" rIns="0" bIns="0" rtlCol="0">
            <a:spAutoFit/>
          </a:bodyPr>
          <a:lstStyle/>
          <a:p>
            <a:pPr>
              <a:lnSpc>
                <a:spcPct val="90000"/>
              </a:lnSpc>
            </a:pPr>
            <a:r>
              <a:rPr lang="en-GB" sz="1600" spc="-50" dirty="0" smtClean="0"/>
              <a:t>SMB</a:t>
            </a:r>
          </a:p>
        </p:txBody>
      </p:sp>
      <p:sp>
        <p:nvSpPr>
          <p:cNvPr id="171" name="Right Brace 170"/>
          <p:cNvSpPr/>
          <p:nvPr/>
        </p:nvSpPr>
        <p:spPr>
          <a:xfrm>
            <a:off x="10783025" y="1971975"/>
            <a:ext cx="385729" cy="1109087"/>
          </a:xfrm>
          <a:prstGeom prst="rightBrac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238462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700"/>
                                        <p:tgtEl>
                                          <p:spTgt spid="1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5"/>
                                        </p:tgtEl>
                                        <p:attrNameLst>
                                          <p:attrName>style.visibility</p:attrName>
                                        </p:attrNameLst>
                                      </p:cBhvr>
                                      <p:to>
                                        <p:strVal val="visible"/>
                                      </p:to>
                                    </p:set>
                                    <p:animEffect transition="in" filter="fade">
                                      <p:cBhvr>
                                        <p:cTn id="10" dur="500"/>
                                        <p:tgtEl>
                                          <p:spTgt spid="135"/>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136"/>
                                        </p:tgtEl>
                                        <p:attrNameLst>
                                          <p:attrName>style.visibility</p:attrName>
                                        </p:attrNameLst>
                                      </p:cBhvr>
                                      <p:to>
                                        <p:strVal val="visible"/>
                                      </p:to>
                                    </p:set>
                                    <p:animEffect transition="in" filter="fade">
                                      <p:cBhvr>
                                        <p:cTn id="13" dur="500"/>
                                        <p:tgtEl>
                                          <p:spTgt spid="136"/>
                                        </p:tgtEl>
                                      </p:cBhvr>
                                    </p:animEffect>
                                  </p:childTnLst>
                                </p:cTn>
                              </p:par>
                            </p:childTnLst>
                          </p:cTn>
                        </p:par>
                        <p:par>
                          <p:cTn id="14" fill="hold">
                            <p:stCondLst>
                              <p:cond delay="800"/>
                            </p:stCondLst>
                            <p:childTnLst>
                              <p:par>
                                <p:cTn id="15" presetID="22" presetClass="entr" presetSubtype="8" fill="hold" grpId="0" nodeType="afterEffect">
                                  <p:stCondLst>
                                    <p:cond delay="0"/>
                                  </p:stCondLst>
                                  <p:childTnLst>
                                    <p:set>
                                      <p:cBhvr>
                                        <p:cTn id="16" dur="1" fill="hold">
                                          <p:stCondLst>
                                            <p:cond delay="0"/>
                                          </p:stCondLst>
                                        </p:cTn>
                                        <p:tgtEl>
                                          <p:spTgt spid="137"/>
                                        </p:tgtEl>
                                        <p:attrNameLst>
                                          <p:attrName>style.visibility</p:attrName>
                                        </p:attrNameLst>
                                      </p:cBhvr>
                                      <p:to>
                                        <p:strVal val="visible"/>
                                      </p:to>
                                    </p:set>
                                    <p:animEffect transition="in" filter="wipe(left)">
                                      <p:cBhvr>
                                        <p:cTn id="17" dur="500"/>
                                        <p:tgtEl>
                                          <p:spTgt spid="13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9"/>
                                        </p:tgtEl>
                                        <p:attrNameLst>
                                          <p:attrName>style.visibility</p:attrName>
                                        </p:attrNameLst>
                                      </p:cBhvr>
                                      <p:to>
                                        <p:strVal val="visible"/>
                                      </p:to>
                                    </p:set>
                                    <p:animEffect transition="in" filter="fade">
                                      <p:cBhvr>
                                        <p:cTn id="20" dur="500"/>
                                        <p:tgtEl>
                                          <p:spTgt spid="139"/>
                                        </p:tgtEl>
                                      </p:cBhvr>
                                    </p:animEffect>
                                  </p:childTnLst>
                                </p:cTn>
                              </p:par>
                              <p:par>
                                <p:cTn id="21" presetID="10" presetClass="entr" presetSubtype="0" fill="hold" grpId="0" nodeType="withEffect">
                                  <p:stCondLst>
                                    <p:cond delay="300"/>
                                  </p:stCondLst>
                                  <p:childTnLst>
                                    <p:set>
                                      <p:cBhvr>
                                        <p:cTn id="22" dur="1" fill="hold">
                                          <p:stCondLst>
                                            <p:cond delay="0"/>
                                          </p:stCondLst>
                                        </p:cTn>
                                        <p:tgtEl>
                                          <p:spTgt spid="140"/>
                                        </p:tgtEl>
                                        <p:attrNameLst>
                                          <p:attrName>style.visibility</p:attrName>
                                        </p:attrNameLst>
                                      </p:cBhvr>
                                      <p:to>
                                        <p:strVal val="visible"/>
                                      </p:to>
                                    </p:set>
                                    <p:animEffect transition="in" filter="fade">
                                      <p:cBhvr>
                                        <p:cTn id="23" dur="500"/>
                                        <p:tgtEl>
                                          <p:spTgt spid="140"/>
                                        </p:tgtEl>
                                      </p:cBhvr>
                                    </p:animEffect>
                                  </p:childTnLst>
                                </p:cTn>
                              </p:par>
                            </p:childTnLst>
                          </p:cTn>
                        </p:par>
                        <p:par>
                          <p:cTn id="24" fill="hold">
                            <p:stCondLst>
                              <p:cond delay="1600"/>
                            </p:stCondLst>
                            <p:childTnLst>
                              <p:par>
                                <p:cTn id="25" presetID="22" presetClass="entr" presetSubtype="8" fill="hold" grpId="0" nodeType="afterEffect">
                                  <p:stCondLst>
                                    <p:cond delay="0"/>
                                  </p:stCondLst>
                                  <p:childTnLst>
                                    <p:set>
                                      <p:cBhvr>
                                        <p:cTn id="26" dur="1" fill="hold">
                                          <p:stCondLst>
                                            <p:cond delay="0"/>
                                          </p:stCondLst>
                                        </p:cTn>
                                        <p:tgtEl>
                                          <p:spTgt spid="141"/>
                                        </p:tgtEl>
                                        <p:attrNameLst>
                                          <p:attrName>style.visibility</p:attrName>
                                        </p:attrNameLst>
                                      </p:cBhvr>
                                      <p:to>
                                        <p:strVal val="visible"/>
                                      </p:to>
                                    </p:set>
                                    <p:animEffect transition="in" filter="wipe(left)">
                                      <p:cBhvr>
                                        <p:cTn id="27" dur="500"/>
                                        <p:tgtEl>
                                          <p:spTgt spid="14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43"/>
                                        </p:tgtEl>
                                        <p:attrNameLst>
                                          <p:attrName>style.visibility</p:attrName>
                                        </p:attrNameLst>
                                      </p:cBhvr>
                                      <p:to>
                                        <p:strVal val="visible"/>
                                      </p:to>
                                    </p:set>
                                    <p:animEffect transition="in" filter="fade">
                                      <p:cBhvr>
                                        <p:cTn id="30" dur="500"/>
                                        <p:tgtEl>
                                          <p:spTgt spid="143"/>
                                        </p:tgtEl>
                                      </p:cBhvr>
                                    </p:animEffect>
                                  </p:childTnLst>
                                </p:cTn>
                              </p:par>
                              <p:par>
                                <p:cTn id="31" presetID="10" presetClass="entr" presetSubtype="0" fill="hold" grpId="0" nodeType="withEffect">
                                  <p:stCondLst>
                                    <p:cond delay="300"/>
                                  </p:stCondLst>
                                  <p:childTnLst>
                                    <p:set>
                                      <p:cBhvr>
                                        <p:cTn id="32" dur="1" fill="hold">
                                          <p:stCondLst>
                                            <p:cond delay="0"/>
                                          </p:stCondLst>
                                        </p:cTn>
                                        <p:tgtEl>
                                          <p:spTgt spid="144"/>
                                        </p:tgtEl>
                                        <p:attrNameLst>
                                          <p:attrName>style.visibility</p:attrName>
                                        </p:attrNameLst>
                                      </p:cBhvr>
                                      <p:to>
                                        <p:strVal val="visible"/>
                                      </p:to>
                                    </p:set>
                                    <p:animEffect transition="in" filter="fade">
                                      <p:cBhvr>
                                        <p:cTn id="33" dur="500"/>
                                        <p:tgtEl>
                                          <p:spTgt spid="144"/>
                                        </p:tgtEl>
                                      </p:cBhvr>
                                    </p:animEffect>
                                  </p:childTnLst>
                                </p:cTn>
                              </p:par>
                            </p:childTnLst>
                          </p:cTn>
                        </p:par>
                        <p:par>
                          <p:cTn id="34" fill="hold">
                            <p:stCondLst>
                              <p:cond delay="2400"/>
                            </p:stCondLst>
                            <p:childTnLst>
                              <p:par>
                                <p:cTn id="35" presetID="22" presetClass="entr" presetSubtype="8" fill="hold" grpId="0" nodeType="afterEffect">
                                  <p:stCondLst>
                                    <p:cond delay="0"/>
                                  </p:stCondLst>
                                  <p:childTnLst>
                                    <p:set>
                                      <p:cBhvr>
                                        <p:cTn id="36" dur="1" fill="hold">
                                          <p:stCondLst>
                                            <p:cond delay="0"/>
                                          </p:stCondLst>
                                        </p:cTn>
                                        <p:tgtEl>
                                          <p:spTgt spid="145"/>
                                        </p:tgtEl>
                                        <p:attrNameLst>
                                          <p:attrName>style.visibility</p:attrName>
                                        </p:attrNameLst>
                                      </p:cBhvr>
                                      <p:to>
                                        <p:strVal val="visible"/>
                                      </p:to>
                                    </p:set>
                                    <p:animEffect transition="in" filter="wipe(left)">
                                      <p:cBhvr>
                                        <p:cTn id="37" dur="500"/>
                                        <p:tgtEl>
                                          <p:spTgt spid="145"/>
                                        </p:tgtEl>
                                      </p:cBhvr>
                                    </p:animEffect>
                                  </p:childTnLst>
                                </p:cTn>
                              </p:par>
                            </p:childTnLst>
                          </p:cTn>
                        </p:par>
                        <p:par>
                          <p:cTn id="38" fill="hold">
                            <p:stCondLst>
                              <p:cond delay="2900"/>
                            </p:stCondLst>
                            <p:childTnLst>
                              <p:par>
                                <p:cTn id="39" presetID="10" presetClass="entr" presetSubtype="0" fill="hold" grpId="0" nodeType="afterEffect">
                                  <p:stCondLst>
                                    <p:cond delay="0"/>
                                  </p:stCondLst>
                                  <p:childTnLst>
                                    <p:set>
                                      <p:cBhvr>
                                        <p:cTn id="40" dur="1" fill="hold">
                                          <p:stCondLst>
                                            <p:cond delay="0"/>
                                          </p:stCondLst>
                                        </p:cTn>
                                        <p:tgtEl>
                                          <p:spTgt spid="146"/>
                                        </p:tgtEl>
                                        <p:attrNameLst>
                                          <p:attrName>style.visibility</p:attrName>
                                        </p:attrNameLst>
                                      </p:cBhvr>
                                      <p:to>
                                        <p:strVal val="visible"/>
                                      </p:to>
                                    </p:set>
                                    <p:animEffect transition="in" filter="fade">
                                      <p:cBhvr>
                                        <p:cTn id="41" dur="700"/>
                                        <p:tgtEl>
                                          <p:spTgt spid="146"/>
                                        </p:tgtEl>
                                      </p:cBhvr>
                                    </p:animEffect>
                                  </p:childTnLst>
                                </p:cTn>
                              </p:par>
                            </p:childTnLst>
                          </p:cTn>
                        </p:par>
                        <p:par>
                          <p:cTn id="42" fill="hold">
                            <p:stCondLst>
                              <p:cond delay="3600"/>
                            </p:stCondLst>
                            <p:childTnLst>
                              <p:par>
                                <p:cTn id="43" presetID="10" presetClass="entr" presetSubtype="0" fill="hold" grpId="0" nodeType="afterEffect">
                                  <p:stCondLst>
                                    <p:cond delay="0"/>
                                  </p:stCondLst>
                                  <p:childTnLst>
                                    <p:set>
                                      <p:cBhvr>
                                        <p:cTn id="44" dur="1" fill="hold">
                                          <p:stCondLst>
                                            <p:cond delay="0"/>
                                          </p:stCondLst>
                                        </p:cTn>
                                        <p:tgtEl>
                                          <p:spTgt spid="148"/>
                                        </p:tgtEl>
                                        <p:attrNameLst>
                                          <p:attrName>style.visibility</p:attrName>
                                        </p:attrNameLst>
                                      </p:cBhvr>
                                      <p:to>
                                        <p:strVal val="visible"/>
                                      </p:to>
                                    </p:set>
                                    <p:animEffect transition="in" filter="fade">
                                      <p:cBhvr>
                                        <p:cTn id="45" dur="700"/>
                                        <p:tgtEl>
                                          <p:spTgt spid="148"/>
                                        </p:tgtEl>
                                      </p:cBhvr>
                                    </p:animEffect>
                                  </p:childTnLst>
                                </p:cTn>
                              </p:par>
                            </p:childTnLst>
                          </p:cTn>
                        </p:par>
                        <p:par>
                          <p:cTn id="46" fill="hold">
                            <p:stCondLst>
                              <p:cond delay="4300"/>
                            </p:stCondLst>
                            <p:childTnLst>
                              <p:par>
                                <p:cTn id="47" presetID="22" presetClass="entr" presetSubtype="8" fill="hold" nodeType="afterEffect">
                                  <p:stCondLst>
                                    <p:cond delay="0"/>
                                  </p:stCondLst>
                                  <p:childTnLst>
                                    <p:set>
                                      <p:cBhvr>
                                        <p:cTn id="48" dur="1" fill="hold">
                                          <p:stCondLst>
                                            <p:cond delay="0"/>
                                          </p:stCondLst>
                                        </p:cTn>
                                        <p:tgtEl>
                                          <p:spTgt spid="149"/>
                                        </p:tgtEl>
                                        <p:attrNameLst>
                                          <p:attrName>style.visibility</p:attrName>
                                        </p:attrNameLst>
                                      </p:cBhvr>
                                      <p:to>
                                        <p:strVal val="visible"/>
                                      </p:to>
                                    </p:set>
                                    <p:animEffect transition="in" filter="wipe(left)">
                                      <p:cBhvr>
                                        <p:cTn id="49" dur="800"/>
                                        <p:tgtEl>
                                          <p:spTgt spid="149"/>
                                        </p:tgtEl>
                                      </p:cBhvr>
                                    </p:animEffect>
                                  </p:childTnLst>
                                </p:cTn>
                              </p:par>
                            </p:childTnLst>
                          </p:cTn>
                        </p:par>
                        <p:par>
                          <p:cTn id="50" fill="hold">
                            <p:stCondLst>
                              <p:cond delay="5100"/>
                            </p:stCondLst>
                            <p:childTnLst>
                              <p:par>
                                <p:cTn id="51" presetID="22" presetClass="entr" presetSubtype="8" fill="hold" grpId="0" nodeType="afterEffect">
                                  <p:stCondLst>
                                    <p:cond delay="0"/>
                                  </p:stCondLst>
                                  <p:childTnLst>
                                    <p:set>
                                      <p:cBhvr>
                                        <p:cTn id="52" dur="1" fill="hold">
                                          <p:stCondLst>
                                            <p:cond delay="0"/>
                                          </p:stCondLst>
                                        </p:cTn>
                                        <p:tgtEl>
                                          <p:spTgt spid="171"/>
                                        </p:tgtEl>
                                        <p:attrNameLst>
                                          <p:attrName>style.visibility</p:attrName>
                                        </p:attrNameLst>
                                      </p:cBhvr>
                                      <p:to>
                                        <p:strVal val="visible"/>
                                      </p:to>
                                    </p:set>
                                    <p:animEffect transition="in" filter="wipe(left)">
                                      <p:cBhvr>
                                        <p:cTn id="53" dur="500"/>
                                        <p:tgtEl>
                                          <p:spTgt spid="171"/>
                                        </p:tgtEl>
                                      </p:cBhvr>
                                    </p:animEffect>
                                  </p:childTnLst>
                                </p:cTn>
                              </p:par>
                            </p:childTnLst>
                          </p:cTn>
                        </p:par>
                        <p:par>
                          <p:cTn id="54" fill="hold">
                            <p:stCondLst>
                              <p:cond delay="5600"/>
                            </p:stCondLst>
                            <p:childTnLst>
                              <p:par>
                                <p:cTn id="55" presetID="22" presetClass="entr" presetSubtype="8" fill="hold" grpId="0" nodeType="afterEffect">
                                  <p:stCondLst>
                                    <p:cond delay="0"/>
                                  </p:stCondLst>
                                  <p:childTnLst>
                                    <p:set>
                                      <p:cBhvr>
                                        <p:cTn id="56" dur="1" fill="hold">
                                          <p:stCondLst>
                                            <p:cond delay="0"/>
                                          </p:stCondLst>
                                        </p:cTn>
                                        <p:tgtEl>
                                          <p:spTgt spid="170"/>
                                        </p:tgtEl>
                                        <p:attrNameLst>
                                          <p:attrName>style.visibility</p:attrName>
                                        </p:attrNameLst>
                                      </p:cBhvr>
                                      <p:to>
                                        <p:strVal val="visible"/>
                                      </p:to>
                                    </p:set>
                                    <p:animEffect transition="in" filter="wipe(left)">
                                      <p:cBhvr>
                                        <p:cTn id="57" dur="500"/>
                                        <p:tgtEl>
                                          <p:spTgt spid="1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35" grpId="0" animBg="1"/>
      <p:bldP spid="136" grpId="0" animBg="1"/>
      <p:bldP spid="137" grpId="0"/>
      <p:bldP spid="139" grpId="0" animBg="1"/>
      <p:bldP spid="140" grpId="0" animBg="1"/>
      <p:bldP spid="141" grpId="0"/>
      <p:bldP spid="143" grpId="0" animBg="1"/>
      <p:bldP spid="144" grpId="0" animBg="1"/>
      <p:bldP spid="145" grpId="0"/>
      <p:bldP spid="146" grpId="0" animBg="1"/>
      <p:bldP spid="148" grpId="0" animBg="1"/>
      <p:bldP spid="170" grpId="0" animBg="1"/>
      <p:bldP spid="17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p:cNvSpPr/>
          <p:nvPr/>
        </p:nvSpPr>
        <p:spPr>
          <a:xfrm>
            <a:off x="5995887" y="6321599"/>
            <a:ext cx="208066" cy="225239"/>
          </a:xfrm>
          <a:prstGeom prst="rect">
            <a:avLst/>
          </a:prstGeom>
          <a:solidFill>
            <a:schemeClr val="accent3">
              <a:alpha val="25000"/>
            </a:schemeClr>
          </a:solidFill>
          <a:ln w="25400" cap="flat" cmpd="sng" algn="ctr">
            <a:noFill/>
            <a:prstDash val="solid"/>
          </a:ln>
          <a:effectLst/>
        </p:spPr>
        <p:txBody>
          <a:bodyPr rtlCol="0" anchor="ctr"/>
          <a:lstStyle/>
          <a:p>
            <a:pPr algn="ctr" defTabSz="932597">
              <a:defRPr/>
            </a:pPr>
            <a:endParaRPr lang="en-US" sz="1224" kern="0" dirty="0">
              <a:solidFill>
                <a:prstClr val="white"/>
              </a:solidFill>
              <a:latin typeface="Segoe UI"/>
            </a:endParaRPr>
          </a:p>
        </p:txBody>
      </p:sp>
      <p:sp>
        <p:nvSpPr>
          <p:cNvPr id="1043" name="Rectangle 1042"/>
          <p:cNvSpPr/>
          <p:nvPr/>
        </p:nvSpPr>
        <p:spPr>
          <a:xfrm>
            <a:off x="4394655" y="4539022"/>
            <a:ext cx="2277134" cy="973643"/>
          </a:xfrm>
          <a:prstGeom prst="rect">
            <a:avLst/>
          </a:prstGeom>
          <a:solidFill>
            <a:schemeClr val="accent3"/>
          </a:solidFill>
          <a:ln w="25400" cap="flat" cmpd="sng" algn="ctr">
            <a:noFill/>
            <a:prstDash val="solid"/>
          </a:ln>
          <a:effectLst/>
        </p:spPr>
        <p:txBody>
          <a:bodyPr rtlCol="0" anchor="ctr"/>
          <a:lstStyle/>
          <a:p>
            <a:pPr algn="ctr" defTabSz="932597">
              <a:defRPr/>
            </a:pPr>
            <a:endParaRPr lang="en-US" sz="1836" kern="0" dirty="0">
              <a:solidFill>
                <a:prstClr val="white"/>
              </a:solidFill>
              <a:latin typeface="Segoe UI"/>
            </a:endParaRPr>
          </a:p>
        </p:txBody>
      </p:sp>
      <p:sp>
        <p:nvSpPr>
          <p:cNvPr id="1050" name="Rectangle 1049"/>
          <p:cNvSpPr/>
          <p:nvPr/>
        </p:nvSpPr>
        <p:spPr>
          <a:xfrm>
            <a:off x="5722857" y="3513004"/>
            <a:ext cx="2475983" cy="969907"/>
          </a:xfrm>
          <a:prstGeom prst="rect">
            <a:avLst/>
          </a:prstGeom>
          <a:solidFill>
            <a:schemeClr val="accent3"/>
          </a:solidFill>
          <a:ln w="25400" cap="flat" cmpd="sng" algn="ctr">
            <a:noFill/>
            <a:prstDash val="solid"/>
          </a:ln>
          <a:effectLst/>
        </p:spPr>
        <p:txBody>
          <a:bodyPr rtlCol="0" anchor="ctr"/>
          <a:lstStyle/>
          <a:p>
            <a:pPr algn="ctr" defTabSz="932597">
              <a:defRPr/>
            </a:pPr>
            <a:endParaRPr lang="en-US" sz="1836" kern="0" dirty="0">
              <a:solidFill>
                <a:prstClr val="white"/>
              </a:solidFill>
              <a:latin typeface="Segoe UI"/>
            </a:endParaRPr>
          </a:p>
        </p:txBody>
      </p:sp>
      <p:sp>
        <p:nvSpPr>
          <p:cNvPr id="1046" name="Rectangle 1045"/>
          <p:cNvSpPr/>
          <p:nvPr/>
        </p:nvSpPr>
        <p:spPr>
          <a:xfrm>
            <a:off x="6461624" y="2484467"/>
            <a:ext cx="2906261" cy="973642"/>
          </a:xfrm>
          <a:prstGeom prst="rect">
            <a:avLst/>
          </a:prstGeom>
          <a:solidFill>
            <a:srgbClr val="3D5800"/>
          </a:solidFill>
          <a:ln w="25400" cap="flat" cmpd="sng" algn="ctr">
            <a:noFill/>
            <a:prstDash val="solid"/>
          </a:ln>
          <a:effectLst/>
        </p:spPr>
        <p:txBody>
          <a:bodyPr rtlCol="0" anchor="ctr"/>
          <a:lstStyle/>
          <a:p>
            <a:pPr algn="ctr" defTabSz="932597">
              <a:defRPr/>
            </a:pPr>
            <a:endParaRPr lang="en-US" sz="1836" kern="0" dirty="0">
              <a:solidFill>
                <a:prstClr val="white"/>
              </a:solidFill>
              <a:latin typeface="Segoe UI"/>
            </a:endParaRPr>
          </a:p>
        </p:txBody>
      </p:sp>
      <p:sp>
        <p:nvSpPr>
          <p:cNvPr id="1047" name="Rectangle 1046"/>
          <p:cNvSpPr/>
          <p:nvPr/>
        </p:nvSpPr>
        <p:spPr>
          <a:xfrm>
            <a:off x="6435688" y="2485716"/>
            <a:ext cx="2916222" cy="973642"/>
          </a:xfrm>
          <a:prstGeom prst="rect">
            <a:avLst/>
          </a:prstGeom>
          <a:solidFill>
            <a:srgbClr val="FF8F26"/>
          </a:solidFill>
          <a:ln w="25400" cap="flat" cmpd="sng" algn="ctr">
            <a:noFill/>
            <a:prstDash val="solid"/>
          </a:ln>
          <a:effectLst/>
        </p:spPr>
        <p:txBody>
          <a:bodyPr rtlCol="0" anchor="ctr"/>
          <a:lstStyle/>
          <a:p>
            <a:pPr algn="ctr" defTabSz="932597">
              <a:defRPr/>
            </a:pPr>
            <a:endParaRPr lang="en-US" sz="1836" kern="0" dirty="0">
              <a:solidFill>
                <a:prstClr val="white"/>
              </a:solidFill>
              <a:latin typeface="Segoe UI"/>
            </a:endParaRPr>
          </a:p>
        </p:txBody>
      </p:sp>
      <p:sp>
        <p:nvSpPr>
          <p:cNvPr id="135" name="TextBox 134" hidden="1"/>
          <p:cNvSpPr txBox="1"/>
          <p:nvPr/>
        </p:nvSpPr>
        <p:spPr>
          <a:xfrm>
            <a:off x="6629812" y="3779496"/>
            <a:ext cx="3168526" cy="439988"/>
          </a:xfrm>
          <a:prstGeom prst="rect">
            <a:avLst/>
          </a:prstGeom>
          <a:noFill/>
        </p:spPr>
        <p:txBody>
          <a:bodyPr wrap="square" rtlCol="0">
            <a:spAutoFit/>
          </a:bodyPr>
          <a:lstStyle/>
          <a:p>
            <a:pPr defTabSz="931077">
              <a:lnSpc>
                <a:spcPct val="90000"/>
              </a:lnSpc>
            </a:pPr>
            <a:r>
              <a:rPr lang="en-US" sz="1224" dirty="0">
                <a:solidFill>
                  <a:schemeClr val="tx1">
                    <a:lumMod val="75000"/>
                  </a:schemeClr>
                </a:solidFill>
              </a:rPr>
              <a:t>Storage for OS images</a:t>
            </a:r>
          </a:p>
          <a:p>
            <a:pPr defTabSz="931077">
              <a:lnSpc>
                <a:spcPct val="90000"/>
              </a:lnSpc>
            </a:pPr>
            <a:r>
              <a:rPr lang="en-US" sz="1224" dirty="0">
                <a:solidFill>
                  <a:schemeClr val="tx1">
                    <a:lumMod val="75000"/>
                  </a:schemeClr>
                </a:solidFill>
              </a:rPr>
              <a:t>Images to manage</a:t>
            </a:r>
          </a:p>
        </p:txBody>
      </p:sp>
      <p:sp>
        <p:nvSpPr>
          <p:cNvPr id="2" name="Title 1"/>
          <p:cNvSpPr>
            <a:spLocks noGrp="1"/>
          </p:cNvSpPr>
          <p:nvPr>
            <p:ph type="title"/>
          </p:nvPr>
        </p:nvSpPr>
        <p:spPr>
          <a:xfrm>
            <a:off x="271304" y="303805"/>
            <a:ext cx="11375536" cy="738664"/>
          </a:xfrm>
        </p:spPr>
        <p:txBody>
          <a:bodyPr/>
          <a:lstStyle/>
          <a:p>
            <a:r>
              <a:rPr lang="en-US" dirty="0" smtClean="0"/>
              <a:t>Comparing and reducing VDI costs</a:t>
            </a:r>
            <a:endParaRPr lang="en-US" dirty="0"/>
          </a:p>
        </p:txBody>
      </p:sp>
      <p:sp>
        <p:nvSpPr>
          <p:cNvPr id="1042" name="Rectangle 1041"/>
          <p:cNvSpPr/>
          <p:nvPr/>
        </p:nvSpPr>
        <p:spPr>
          <a:xfrm>
            <a:off x="4984720" y="3513005"/>
            <a:ext cx="1640264" cy="969907"/>
          </a:xfrm>
          <a:prstGeom prst="rect">
            <a:avLst/>
          </a:prstGeom>
          <a:solidFill>
            <a:srgbClr val="FF8F26"/>
          </a:solidFill>
          <a:ln w="25400" cap="flat" cmpd="sng" algn="ctr">
            <a:noFill/>
            <a:prstDash val="solid"/>
          </a:ln>
          <a:effectLst/>
        </p:spPr>
        <p:txBody>
          <a:bodyPr rtlCol="0" anchor="ctr"/>
          <a:lstStyle/>
          <a:p>
            <a:pPr algn="ctr" defTabSz="932597">
              <a:defRPr/>
            </a:pPr>
            <a:endParaRPr lang="en-US" sz="1836" kern="0" dirty="0">
              <a:solidFill>
                <a:srgbClr val="FFFFFF"/>
              </a:solidFill>
              <a:latin typeface="Segoe UI"/>
            </a:endParaRPr>
          </a:p>
        </p:txBody>
      </p:sp>
      <p:sp>
        <p:nvSpPr>
          <p:cNvPr id="1044" name="Rectangle 1043"/>
          <p:cNvSpPr/>
          <p:nvPr/>
        </p:nvSpPr>
        <p:spPr>
          <a:xfrm>
            <a:off x="3887337" y="4539020"/>
            <a:ext cx="1328149" cy="971462"/>
          </a:xfrm>
          <a:prstGeom prst="rect">
            <a:avLst/>
          </a:prstGeom>
          <a:solidFill>
            <a:srgbClr val="FF8F26"/>
          </a:solidFill>
          <a:ln w="25400" cap="flat" cmpd="sng" algn="ctr">
            <a:noFill/>
            <a:prstDash val="solid"/>
          </a:ln>
          <a:effectLst/>
        </p:spPr>
        <p:txBody>
          <a:bodyPr rtlCol="0" anchor="ctr"/>
          <a:lstStyle/>
          <a:p>
            <a:pPr algn="ctr" defTabSz="932597">
              <a:defRPr/>
            </a:pPr>
            <a:endParaRPr lang="en-US" sz="1836" kern="0" dirty="0">
              <a:solidFill>
                <a:srgbClr val="FFFFFF"/>
              </a:solidFill>
              <a:latin typeface="Segoe UI"/>
            </a:endParaRPr>
          </a:p>
        </p:txBody>
      </p:sp>
      <p:sp>
        <p:nvSpPr>
          <p:cNvPr id="1045" name="Rectangle 1044"/>
          <p:cNvSpPr/>
          <p:nvPr/>
        </p:nvSpPr>
        <p:spPr>
          <a:xfrm>
            <a:off x="4611178" y="4539022"/>
            <a:ext cx="604307" cy="973643"/>
          </a:xfrm>
          <a:prstGeom prst="rect">
            <a:avLst/>
          </a:prstGeom>
          <a:solidFill>
            <a:srgbClr val="FF8F26"/>
          </a:solidFill>
          <a:ln w="25400" cap="flat" cmpd="sng" algn="ctr">
            <a:noFill/>
            <a:prstDash val="solid"/>
          </a:ln>
          <a:effectLst/>
        </p:spPr>
        <p:txBody>
          <a:bodyPr rtlCol="0" anchor="ctr"/>
          <a:lstStyle/>
          <a:p>
            <a:pPr algn="ctr" defTabSz="932597">
              <a:defRPr/>
            </a:pPr>
            <a:endParaRPr lang="en-US" sz="1836" kern="0" dirty="0">
              <a:solidFill>
                <a:prstClr val="white"/>
              </a:solidFill>
              <a:latin typeface="Segoe UI"/>
            </a:endParaRPr>
          </a:p>
        </p:txBody>
      </p:sp>
      <p:sp>
        <p:nvSpPr>
          <p:cNvPr id="1048" name="Rectangle 1047"/>
          <p:cNvSpPr/>
          <p:nvPr/>
        </p:nvSpPr>
        <p:spPr>
          <a:xfrm>
            <a:off x="6439120" y="2483819"/>
            <a:ext cx="1755462" cy="973643"/>
          </a:xfrm>
          <a:prstGeom prst="rect">
            <a:avLst/>
          </a:prstGeom>
          <a:solidFill>
            <a:schemeClr val="accent3"/>
          </a:solidFill>
          <a:ln w="25400" cap="flat" cmpd="sng" algn="ctr">
            <a:noFill/>
            <a:prstDash val="solid"/>
          </a:ln>
          <a:effectLst/>
        </p:spPr>
        <p:txBody>
          <a:bodyPr rtlCol="0" anchor="ctr"/>
          <a:lstStyle/>
          <a:p>
            <a:pPr algn="ctr" defTabSz="932597">
              <a:defRPr/>
            </a:pPr>
            <a:endParaRPr lang="en-US" sz="1836" kern="0" dirty="0">
              <a:solidFill>
                <a:srgbClr val="FFC400"/>
              </a:solidFill>
              <a:latin typeface="Segoe UI"/>
            </a:endParaRPr>
          </a:p>
        </p:txBody>
      </p:sp>
      <p:sp>
        <p:nvSpPr>
          <p:cNvPr id="1049" name="Rectangle 1048"/>
          <p:cNvSpPr/>
          <p:nvPr/>
        </p:nvSpPr>
        <p:spPr>
          <a:xfrm>
            <a:off x="3491516" y="4539022"/>
            <a:ext cx="2195680" cy="973643"/>
          </a:xfrm>
          <a:prstGeom prst="rect">
            <a:avLst/>
          </a:prstGeom>
          <a:solidFill>
            <a:srgbClr val="442359"/>
          </a:solidFill>
          <a:ln w="25400" cap="flat" cmpd="sng" algn="ctr">
            <a:noFill/>
            <a:prstDash val="solid"/>
          </a:ln>
          <a:effectLst/>
        </p:spPr>
        <p:txBody>
          <a:bodyPr rtlCol="0" anchor="ctr"/>
          <a:lstStyle/>
          <a:p>
            <a:pPr algn="ctr" defTabSz="932597">
              <a:defRPr/>
            </a:pPr>
            <a:endParaRPr lang="en-US" sz="1836" kern="0" dirty="0">
              <a:solidFill>
                <a:prstClr val="white"/>
              </a:solidFill>
              <a:latin typeface="Segoe UI"/>
            </a:endParaRPr>
          </a:p>
        </p:txBody>
      </p:sp>
      <p:sp>
        <p:nvSpPr>
          <p:cNvPr id="1051" name="Rectangle 1050"/>
          <p:cNvSpPr/>
          <p:nvPr/>
        </p:nvSpPr>
        <p:spPr>
          <a:xfrm>
            <a:off x="4443253" y="2486944"/>
            <a:ext cx="1995868" cy="973643"/>
          </a:xfrm>
          <a:prstGeom prst="rect">
            <a:avLst/>
          </a:prstGeom>
          <a:solidFill>
            <a:srgbClr val="442359"/>
          </a:solidFill>
          <a:ln w="25400" cap="flat" cmpd="sng" algn="ctr">
            <a:noFill/>
            <a:prstDash val="solid"/>
          </a:ln>
          <a:effectLst/>
        </p:spPr>
        <p:txBody>
          <a:bodyPr rtlCol="0" anchor="ctr"/>
          <a:lstStyle/>
          <a:p>
            <a:pPr algn="ctr" defTabSz="932597">
              <a:defRPr/>
            </a:pPr>
            <a:endParaRPr lang="en-US" sz="1836" kern="0" dirty="0">
              <a:solidFill>
                <a:prstClr val="white"/>
              </a:solidFill>
              <a:latin typeface="Segoe UI"/>
            </a:endParaRPr>
          </a:p>
        </p:txBody>
      </p:sp>
      <p:sp>
        <p:nvSpPr>
          <p:cNvPr id="1052" name="Rectangle 1051"/>
          <p:cNvSpPr/>
          <p:nvPr/>
        </p:nvSpPr>
        <p:spPr>
          <a:xfrm>
            <a:off x="2989904" y="2486944"/>
            <a:ext cx="1453348" cy="973643"/>
          </a:xfrm>
          <a:prstGeom prst="rect">
            <a:avLst/>
          </a:prstGeom>
          <a:solidFill>
            <a:schemeClr val="accent1"/>
          </a:solidFill>
          <a:ln w="25400" cap="flat" cmpd="sng" algn="ctr">
            <a:noFill/>
            <a:prstDash val="solid"/>
          </a:ln>
          <a:effectLst/>
        </p:spPr>
        <p:txBody>
          <a:bodyPr rtlCol="0" anchor="ctr"/>
          <a:lstStyle/>
          <a:p>
            <a:pPr algn="ctr" defTabSz="932597">
              <a:defRPr/>
            </a:pPr>
            <a:endParaRPr lang="en-US" sz="1836" kern="0" dirty="0">
              <a:solidFill>
                <a:prstClr val="white"/>
              </a:solidFill>
              <a:latin typeface="Segoe UI"/>
            </a:endParaRPr>
          </a:p>
        </p:txBody>
      </p:sp>
      <p:sp>
        <p:nvSpPr>
          <p:cNvPr id="1053" name="Rectangle 1052"/>
          <p:cNvSpPr/>
          <p:nvPr/>
        </p:nvSpPr>
        <p:spPr>
          <a:xfrm>
            <a:off x="3715343" y="3513006"/>
            <a:ext cx="2722039" cy="969907"/>
          </a:xfrm>
          <a:prstGeom prst="rect">
            <a:avLst/>
          </a:prstGeom>
          <a:solidFill>
            <a:srgbClr val="442359"/>
          </a:solidFill>
          <a:ln w="25400" cap="flat" cmpd="sng" algn="ctr">
            <a:noFill/>
            <a:prstDash val="solid"/>
          </a:ln>
          <a:effectLst/>
        </p:spPr>
        <p:txBody>
          <a:bodyPr rtlCol="0" anchor="ctr"/>
          <a:lstStyle/>
          <a:p>
            <a:pPr algn="ctr" defTabSz="932597">
              <a:defRPr/>
            </a:pPr>
            <a:endParaRPr lang="en-US" sz="1836" kern="0" dirty="0">
              <a:solidFill>
                <a:prstClr val="white"/>
              </a:solidFill>
              <a:latin typeface="Segoe UI"/>
            </a:endParaRPr>
          </a:p>
        </p:txBody>
      </p:sp>
      <p:sp>
        <p:nvSpPr>
          <p:cNvPr id="1054" name="Rectangle 1053"/>
          <p:cNvSpPr/>
          <p:nvPr/>
        </p:nvSpPr>
        <p:spPr>
          <a:xfrm>
            <a:off x="2972276" y="4539020"/>
            <a:ext cx="930067" cy="973642"/>
          </a:xfrm>
          <a:prstGeom prst="rect">
            <a:avLst/>
          </a:prstGeom>
          <a:solidFill>
            <a:schemeClr val="accent1"/>
          </a:solidFill>
          <a:ln w="25400" cap="flat" cmpd="sng" algn="ctr">
            <a:noFill/>
            <a:prstDash val="solid"/>
          </a:ln>
          <a:effectLst/>
        </p:spPr>
        <p:txBody>
          <a:bodyPr rtlCol="0" anchor="ctr"/>
          <a:lstStyle/>
          <a:p>
            <a:pPr algn="ctr" defTabSz="932597">
              <a:defRPr/>
            </a:pPr>
            <a:endParaRPr lang="en-US" sz="1836" kern="0" dirty="0">
              <a:solidFill>
                <a:prstClr val="white"/>
              </a:solidFill>
              <a:latin typeface="Segoe UI"/>
            </a:endParaRPr>
          </a:p>
        </p:txBody>
      </p:sp>
      <p:sp>
        <p:nvSpPr>
          <p:cNvPr id="1055" name="Rectangle 1054"/>
          <p:cNvSpPr/>
          <p:nvPr/>
        </p:nvSpPr>
        <p:spPr>
          <a:xfrm>
            <a:off x="2997112" y="3509269"/>
            <a:ext cx="1433105" cy="973643"/>
          </a:xfrm>
          <a:prstGeom prst="rect">
            <a:avLst/>
          </a:prstGeom>
          <a:solidFill>
            <a:schemeClr val="accent1"/>
          </a:solidFill>
          <a:ln w="25400" cap="flat" cmpd="sng" algn="ctr">
            <a:noFill/>
            <a:prstDash val="solid"/>
          </a:ln>
          <a:effectLst/>
        </p:spPr>
        <p:txBody>
          <a:bodyPr rtlCol="0" anchor="ctr"/>
          <a:lstStyle/>
          <a:p>
            <a:pPr algn="ctr" defTabSz="932597">
              <a:defRPr/>
            </a:pPr>
            <a:endParaRPr lang="en-US" sz="1836" kern="0" dirty="0">
              <a:solidFill>
                <a:prstClr val="white"/>
              </a:solidFill>
              <a:latin typeface="Segoe UI"/>
            </a:endParaRPr>
          </a:p>
        </p:txBody>
      </p:sp>
      <p:grpSp>
        <p:nvGrpSpPr>
          <p:cNvPr id="1056" name="Group 1055"/>
          <p:cNvGrpSpPr/>
          <p:nvPr/>
        </p:nvGrpSpPr>
        <p:grpSpPr>
          <a:xfrm>
            <a:off x="527187" y="2486944"/>
            <a:ext cx="2465162" cy="973643"/>
            <a:chOff x="62457" y="7273382"/>
            <a:chExt cx="2417045" cy="954639"/>
          </a:xfrm>
        </p:grpSpPr>
        <p:sp>
          <p:nvSpPr>
            <p:cNvPr id="1057" name="Rectangle 1056"/>
            <p:cNvSpPr/>
            <p:nvPr/>
          </p:nvSpPr>
          <p:spPr bwMode="auto">
            <a:xfrm>
              <a:off x="62457" y="7273382"/>
              <a:ext cx="2417045" cy="954639"/>
            </a:xfrm>
            <a:prstGeom prst="rect">
              <a:avLst/>
            </a:prstGeom>
            <a:solidFill>
              <a:schemeClr val="tx1"/>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a:defRPr/>
              </a:pPr>
              <a:endParaRPr lang="en-US" sz="2244" kern="0" dirty="0">
                <a:gradFill>
                  <a:gsLst>
                    <a:gs pos="50000">
                      <a:prstClr val="white"/>
                    </a:gs>
                    <a:gs pos="100000">
                      <a:prstClr val="white"/>
                    </a:gs>
                  </a:gsLst>
                  <a:lin ang="5400000" scaled="0"/>
                </a:gradFill>
                <a:latin typeface="Segoe UI"/>
              </a:endParaRPr>
            </a:p>
          </p:txBody>
        </p:sp>
        <p:sp>
          <p:nvSpPr>
            <p:cNvPr id="1058" name="TextBox 1057"/>
            <p:cNvSpPr txBox="1"/>
            <p:nvPr/>
          </p:nvSpPr>
          <p:spPr>
            <a:xfrm>
              <a:off x="79826" y="7342566"/>
              <a:ext cx="1332869" cy="399853"/>
            </a:xfrm>
            <a:prstGeom prst="rect">
              <a:avLst/>
            </a:prstGeom>
            <a:noFill/>
          </p:spPr>
          <p:txBody>
            <a:bodyPr wrap="square" rtlCol="0">
              <a:spAutoFit/>
            </a:bodyPr>
            <a:lstStyle/>
            <a:p>
              <a:pPr marL="0" lvl="1" algn="ctr" fontAlgn="base">
                <a:lnSpc>
                  <a:spcPct val="90000"/>
                </a:lnSpc>
                <a:spcBef>
                  <a:spcPts val="204"/>
                </a:spcBef>
                <a:spcAft>
                  <a:spcPts val="408"/>
                </a:spcAft>
                <a:buClr>
                  <a:srgbClr val="FFFFFF"/>
                </a:buClr>
                <a:buSzPct val="90000"/>
                <a:tabLst>
                  <a:tab pos="642780" algn="l"/>
                </a:tabLst>
                <a:defRPr/>
              </a:pPr>
              <a:r>
                <a:rPr lang="en-US" sz="1122" spc="-51" dirty="0">
                  <a:solidFill>
                    <a:srgbClr val="FFFFFE"/>
                  </a:solidFill>
                </a:rPr>
                <a:t>Personal virtual machines</a:t>
              </a:r>
            </a:p>
          </p:txBody>
        </p:sp>
      </p:grpSp>
      <p:sp>
        <p:nvSpPr>
          <p:cNvPr id="1133" name="Rectangle 1132"/>
          <p:cNvSpPr/>
          <p:nvPr/>
        </p:nvSpPr>
        <p:spPr>
          <a:xfrm>
            <a:off x="6025655" y="3509269"/>
            <a:ext cx="640832" cy="973643"/>
          </a:xfrm>
          <a:prstGeom prst="rect">
            <a:avLst/>
          </a:prstGeom>
          <a:solidFill>
            <a:schemeClr val="accent3">
              <a:lumMod val="40000"/>
              <a:lumOff val="60000"/>
            </a:schemeClr>
          </a:solidFill>
          <a:ln w="25400" cap="flat" cmpd="sng" algn="ctr">
            <a:solidFill>
              <a:srgbClr val="FF8C00"/>
            </a:solidFill>
            <a:prstDash val="solid"/>
          </a:ln>
          <a:effectLst/>
        </p:spPr>
        <p:txBody>
          <a:bodyPr rtlCol="0" anchor="ctr"/>
          <a:lstStyle/>
          <a:p>
            <a:pPr algn="ctr" defTabSz="932597">
              <a:defRPr/>
            </a:pPr>
            <a:endParaRPr lang="en-US" sz="1836" kern="0" dirty="0">
              <a:solidFill>
                <a:srgbClr val="3C3C3C"/>
              </a:solidFill>
              <a:latin typeface="Segoe UI"/>
            </a:endParaRPr>
          </a:p>
        </p:txBody>
      </p:sp>
      <p:cxnSp>
        <p:nvCxnSpPr>
          <p:cNvPr id="1134" name="Straight Arrow Connector 1133"/>
          <p:cNvCxnSpPr/>
          <p:nvPr/>
        </p:nvCxnSpPr>
        <p:spPr>
          <a:xfrm>
            <a:off x="2989903" y="5568008"/>
            <a:ext cx="7569105" cy="0"/>
          </a:xfrm>
          <a:prstGeom prst="straightConnector1">
            <a:avLst/>
          </a:prstGeom>
          <a:noFill/>
          <a:ln w="12700" cap="flat" cmpd="sng" algn="ctr">
            <a:solidFill>
              <a:srgbClr val="505050"/>
            </a:solidFill>
            <a:prstDash val="solid"/>
            <a:tailEnd type="none"/>
          </a:ln>
          <a:effectLst/>
        </p:spPr>
      </p:cxnSp>
      <p:grpSp>
        <p:nvGrpSpPr>
          <p:cNvPr id="1135" name="Group 1134"/>
          <p:cNvGrpSpPr/>
          <p:nvPr/>
        </p:nvGrpSpPr>
        <p:grpSpPr>
          <a:xfrm>
            <a:off x="1112896" y="6265097"/>
            <a:ext cx="2430730" cy="350330"/>
            <a:chOff x="9172867" y="1014602"/>
            <a:chExt cx="2324309" cy="343492"/>
          </a:xfrm>
        </p:grpSpPr>
        <p:sp>
          <p:nvSpPr>
            <p:cNvPr id="1136" name="Rectangle 1135"/>
            <p:cNvSpPr/>
            <p:nvPr/>
          </p:nvSpPr>
          <p:spPr>
            <a:xfrm>
              <a:off x="9172867" y="1075192"/>
              <a:ext cx="218853" cy="217374"/>
            </a:xfrm>
            <a:prstGeom prst="rect">
              <a:avLst/>
            </a:prstGeom>
            <a:solidFill>
              <a:schemeClr val="accent1"/>
            </a:solidFill>
            <a:ln w="25400" cap="flat" cmpd="sng" algn="ctr">
              <a:noFill/>
              <a:prstDash val="solid"/>
            </a:ln>
            <a:effectLst/>
          </p:spPr>
          <p:txBody>
            <a:bodyPr rtlCol="0" anchor="ctr"/>
            <a:lstStyle/>
            <a:p>
              <a:pPr algn="ctr" defTabSz="932597">
                <a:defRPr/>
              </a:pPr>
              <a:endParaRPr lang="en-US" sz="1224" kern="0" dirty="0">
                <a:solidFill>
                  <a:srgbClr val="3C3C3C"/>
                </a:solidFill>
                <a:latin typeface="Segoe UI"/>
              </a:endParaRPr>
            </a:p>
          </p:txBody>
        </p:sp>
        <p:sp>
          <p:nvSpPr>
            <p:cNvPr id="1137" name="TextBox 1136"/>
            <p:cNvSpPr txBox="1"/>
            <p:nvPr/>
          </p:nvSpPr>
          <p:spPr>
            <a:xfrm>
              <a:off x="9381774" y="1014602"/>
              <a:ext cx="2115402" cy="343492"/>
            </a:xfrm>
            <a:prstGeom prst="rect">
              <a:avLst/>
            </a:prstGeom>
            <a:noFill/>
          </p:spPr>
          <p:txBody>
            <a:bodyPr wrap="square" rtlCol="0">
              <a:spAutoFit/>
            </a:bodyPr>
            <a:lstStyle/>
            <a:p>
              <a:pPr defTabSz="932597">
                <a:defRPr/>
              </a:pPr>
              <a:r>
                <a:rPr lang="en-US" sz="1632" kern="0" spc="-61" dirty="0">
                  <a:solidFill>
                    <a:srgbClr val="3C3C3C"/>
                  </a:solidFill>
                  <a:latin typeface="Segoe UI"/>
                </a:rPr>
                <a:t>Management Costs</a:t>
              </a:r>
            </a:p>
          </p:txBody>
        </p:sp>
      </p:grpSp>
      <p:grpSp>
        <p:nvGrpSpPr>
          <p:cNvPr id="1138" name="Group 1137"/>
          <p:cNvGrpSpPr/>
          <p:nvPr/>
        </p:nvGrpSpPr>
        <p:grpSpPr>
          <a:xfrm>
            <a:off x="3706625" y="6265097"/>
            <a:ext cx="1995288" cy="350330"/>
            <a:chOff x="9007056" y="1455132"/>
            <a:chExt cx="1907931" cy="343492"/>
          </a:xfrm>
        </p:grpSpPr>
        <p:sp>
          <p:nvSpPr>
            <p:cNvPr id="1139" name="Rectangle 1138"/>
            <p:cNvSpPr/>
            <p:nvPr/>
          </p:nvSpPr>
          <p:spPr>
            <a:xfrm>
              <a:off x="9007056" y="1517444"/>
              <a:ext cx="218851" cy="213930"/>
            </a:xfrm>
            <a:prstGeom prst="rect">
              <a:avLst/>
            </a:prstGeom>
            <a:solidFill>
              <a:srgbClr val="442359"/>
            </a:solidFill>
            <a:ln w="25400" cap="flat" cmpd="sng" algn="ctr">
              <a:noFill/>
              <a:prstDash val="solid"/>
            </a:ln>
            <a:effectLst/>
          </p:spPr>
          <p:txBody>
            <a:bodyPr rtlCol="0" anchor="ctr"/>
            <a:lstStyle/>
            <a:p>
              <a:pPr algn="ctr" defTabSz="932597">
                <a:defRPr/>
              </a:pPr>
              <a:endParaRPr lang="en-US" sz="1224" kern="0" dirty="0">
                <a:solidFill>
                  <a:srgbClr val="3C3C3C"/>
                </a:solidFill>
                <a:latin typeface="Segoe UI"/>
              </a:endParaRPr>
            </a:p>
          </p:txBody>
        </p:sp>
        <p:sp>
          <p:nvSpPr>
            <p:cNvPr id="1140" name="TextBox 1139"/>
            <p:cNvSpPr txBox="1"/>
            <p:nvPr/>
          </p:nvSpPr>
          <p:spPr>
            <a:xfrm>
              <a:off x="9215960" y="1455132"/>
              <a:ext cx="1699027" cy="343492"/>
            </a:xfrm>
            <a:prstGeom prst="rect">
              <a:avLst/>
            </a:prstGeom>
            <a:noFill/>
          </p:spPr>
          <p:txBody>
            <a:bodyPr wrap="square" rtlCol="0">
              <a:spAutoFit/>
            </a:bodyPr>
            <a:lstStyle>
              <a:defPPr>
                <a:defRPr lang="en-US"/>
              </a:defPPr>
              <a:lvl1pPr>
                <a:defRPr sz="1600" spc="-60">
                  <a:gradFill>
                    <a:gsLst>
                      <a:gs pos="0">
                        <a:schemeClr val="tx1"/>
                      </a:gs>
                      <a:gs pos="86000">
                        <a:schemeClr val="tx1"/>
                      </a:gs>
                    </a:gsLst>
                    <a:lin ang="5400000" scaled="0"/>
                  </a:gradFill>
                  <a:latin typeface="+mj-lt"/>
                </a:defRPr>
              </a:lvl1pPr>
            </a:lstStyle>
            <a:p>
              <a:pPr defTabSz="932597">
                <a:defRPr/>
              </a:pPr>
              <a:r>
                <a:rPr lang="en-US" sz="1632" kern="0" spc="-61" dirty="0">
                  <a:solidFill>
                    <a:srgbClr val="3C3C3C"/>
                  </a:solidFill>
                  <a:latin typeface="Segoe UI"/>
                </a:rPr>
                <a:t>Compute Costs</a:t>
              </a:r>
            </a:p>
          </p:txBody>
        </p:sp>
      </p:grpSp>
      <p:grpSp>
        <p:nvGrpSpPr>
          <p:cNvPr id="1141" name="Group 1140"/>
          <p:cNvGrpSpPr/>
          <p:nvPr/>
        </p:nvGrpSpPr>
        <p:grpSpPr>
          <a:xfrm>
            <a:off x="8839110" y="6265097"/>
            <a:ext cx="2430730" cy="350330"/>
            <a:chOff x="9172867" y="1966599"/>
            <a:chExt cx="2324309" cy="343492"/>
          </a:xfrm>
        </p:grpSpPr>
        <p:sp>
          <p:nvSpPr>
            <p:cNvPr id="1142" name="Rectangle 1141"/>
            <p:cNvSpPr/>
            <p:nvPr/>
          </p:nvSpPr>
          <p:spPr>
            <a:xfrm>
              <a:off x="9172867" y="2021615"/>
              <a:ext cx="218854" cy="228522"/>
            </a:xfrm>
            <a:prstGeom prst="rect">
              <a:avLst/>
            </a:prstGeom>
            <a:solidFill>
              <a:srgbClr val="FFC400"/>
            </a:solidFill>
            <a:ln w="25400" cap="flat" cmpd="sng" algn="ctr">
              <a:noFill/>
              <a:prstDash val="solid"/>
            </a:ln>
            <a:effectLst/>
          </p:spPr>
          <p:txBody>
            <a:bodyPr rtlCol="0" anchor="ctr"/>
            <a:lstStyle/>
            <a:p>
              <a:pPr algn="ctr" defTabSz="932597">
                <a:defRPr/>
              </a:pPr>
              <a:endParaRPr lang="en-US" sz="1224" kern="0" dirty="0">
                <a:solidFill>
                  <a:srgbClr val="3C3C3C"/>
                </a:solidFill>
                <a:latin typeface="Segoe UI"/>
              </a:endParaRPr>
            </a:p>
          </p:txBody>
        </p:sp>
        <p:sp>
          <p:nvSpPr>
            <p:cNvPr id="1143" name="TextBox 1142"/>
            <p:cNvSpPr txBox="1"/>
            <p:nvPr/>
          </p:nvSpPr>
          <p:spPr>
            <a:xfrm>
              <a:off x="9381772" y="1966599"/>
              <a:ext cx="2115404" cy="343492"/>
            </a:xfrm>
            <a:prstGeom prst="rect">
              <a:avLst/>
            </a:prstGeom>
            <a:noFill/>
          </p:spPr>
          <p:txBody>
            <a:bodyPr wrap="square" rtlCol="0">
              <a:spAutoFit/>
            </a:bodyPr>
            <a:lstStyle>
              <a:defPPr>
                <a:defRPr lang="en-US"/>
              </a:defPPr>
              <a:lvl1pPr>
                <a:defRPr sz="1600" spc="-60">
                  <a:gradFill>
                    <a:gsLst>
                      <a:gs pos="0">
                        <a:schemeClr val="tx1"/>
                      </a:gs>
                      <a:gs pos="86000">
                        <a:schemeClr val="tx1"/>
                      </a:gs>
                    </a:gsLst>
                    <a:lin ang="5400000" scaled="0"/>
                  </a:gradFill>
                  <a:latin typeface="+mj-lt"/>
                </a:defRPr>
              </a:lvl1pPr>
            </a:lstStyle>
            <a:p>
              <a:pPr defTabSz="932597">
                <a:defRPr/>
              </a:pPr>
              <a:r>
                <a:rPr lang="en-US" sz="1632" kern="0" spc="-61" dirty="0">
                  <a:solidFill>
                    <a:srgbClr val="3C3C3C"/>
                  </a:solidFill>
                  <a:latin typeface="Segoe UI"/>
                </a:rPr>
                <a:t>DAS Storage Costs </a:t>
              </a:r>
            </a:p>
          </p:txBody>
        </p:sp>
      </p:grpSp>
      <p:sp>
        <p:nvSpPr>
          <p:cNvPr id="1144" name="Rectangle 1143"/>
          <p:cNvSpPr/>
          <p:nvPr/>
        </p:nvSpPr>
        <p:spPr>
          <a:xfrm>
            <a:off x="5995887" y="6325128"/>
            <a:ext cx="208066" cy="225239"/>
          </a:xfrm>
          <a:prstGeom prst="rect">
            <a:avLst/>
          </a:prstGeom>
          <a:solidFill>
            <a:schemeClr val="accent3"/>
          </a:solidFill>
          <a:ln w="25400" cap="flat" cmpd="sng" algn="ctr">
            <a:noFill/>
            <a:prstDash val="solid"/>
          </a:ln>
          <a:effectLst/>
        </p:spPr>
        <p:txBody>
          <a:bodyPr rtlCol="0" anchor="ctr"/>
          <a:lstStyle/>
          <a:p>
            <a:pPr algn="ctr" defTabSz="932597">
              <a:defRPr/>
            </a:pPr>
            <a:endParaRPr lang="en-US" sz="1224" kern="0" dirty="0">
              <a:solidFill>
                <a:prstClr val="white"/>
              </a:solidFill>
              <a:latin typeface="Segoe UI"/>
            </a:endParaRPr>
          </a:p>
        </p:txBody>
      </p:sp>
      <p:sp>
        <p:nvSpPr>
          <p:cNvPr id="1145" name="TextBox 1144"/>
          <p:cNvSpPr txBox="1"/>
          <p:nvPr/>
        </p:nvSpPr>
        <p:spPr>
          <a:xfrm>
            <a:off x="6177591" y="6265097"/>
            <a:ext cx="2212261" cy="350330"/>
          </a:xfrm>
          <a:prstGeom prst="rect">
            <a:avLst/>
          </a:prstGeom>
          <a:noFill/>
        </p:spPr>
        <p:txBody>
          <a:bodyPr wrap="square" rtlCol="0">
            <a:spAutoFit/>
          </a:bodyPr>
          <a:lstStyle>
            <a:defPPr>
              <a:defRPr lang="en-US"/>
            </a:defPPr>
            <a:lvl1pPr>
              <a:defRPr sz="1600" spc="-60">
                <a:gradFill>
                  <a:gsLst>
                    <a:gs pos="0">
                      <a:schemeClr val="tx1"/>
                    </a:gs>
                    <a:gs pos="86000">
                      <a:schemeClr val="tx1"/>
                    </a:gs>
                  </a:gsLst>
                  <a:lin ang="5400000" scaled="0"/>
                </a:gradFill>
                <a:latin typeface="+mj-lt"/>
              </a:defRPr>
            </a:lvl1pPr>
          </a:lstStyle>
          <a:p>
            <a:r>
              <a:rPr lang="en-US" sz="1632" dirty="0">
                <a:solidFill>
                  <a:srgbClr val="3C3C3C"/>
                </a:solidFill>
                <a:latin typeface="Segoe UI"/>
              </a:rPr>
              <a:t>SAN Storage Costs</a:t>
            </a:r>
          </a:p>
        </p:txBody>
      </p:sp>
      <p:cxnSp>
        <p:nvCxnSpPr>
          <p:cNvPr id="1146" name="Straight Arrow Connector 1145"/>
          <p:cNvCxnSpPr/>
          <p:nvPr/>
        </p:nvCxnSpPr>
        <p:spPr>
          <a:xfrm flipV="1">
            <a:off x="2989899" y="2409226"/>
            <a:ext cx="0" cy="3158782"/>
          </a:xfrm>
          <a:prstGeom prst="straightConnector1">
            <a:avLst/>
          </a:prstGeom>
          <a:noFill/>
          <a:ln w="12700" cap="flat" cmpd="sng" algn="ctr">
            <a:solidFill>
              <a:srgbClr val="505050"/>
            </a:solidFill>
            <a:prstDash val="solid"/>
            <a:tailEnd type="none"/>
          </a:ln>
          <a:effectLst/>
        </p:spPr>
      </p:cxnSp>
      <p:sp>
        <p:nvSpPr>
          <p:cNvPr id="1147" name="TextBox 1146"/>
          <p:cNvSpPr txBox="1"/>
          <p:nvPr/>
        </p:nvSpPr>
        <p:spPr>
          <a:xfrm>
            <a:off x="9400934" y="2632540"/>
            <a:ext cx="2956943" cy="699220"/>
          </a:xfrm>
          <a:prstGeom prst="rect">
            <a:avLst/>
          </a:prstGeom>
          <a:noFill/>
        </p:spPr>
        <p:txBody>
          <a:bodyPr wrap="square" rtlCol="0">
            <a:spAutoFit/>
          </a:bodyPr>
          <a:lstStyle/>
          <a:p>
            <a:pPr>
              <a:lnSpc>
                <a:spcPct val="90000"/>
              </a:lnSpc>
            </a:pPr>
            <a:r>
              <a:rPr lang="en-US" sz="1428" dirty="0">
                <a:solidFill>
                  <a:srgbClr val="3C3C3C"/>
                </a:solidFill>
              </a:rPr>
              <a:t>Each image = OS + application +user data</a:t>
            </a:r>
          </a:p>
          <a:p>
            <a:pPr>
              <a:lnSpc>
                <a:spcPct val="90000"/>
              </a:lnSpc>
            </a:pPr>
            <a:r>
              <a:rPr lang="en-US" sz="1428" dirty="0">
                <a:solidFill>
                  <a:srgbClr val="3C3C3C"/>
                </a:solidFill>
              </a:rPr>
              <a:t>Each user has a personal image</a:t>
            </a:r>
          </a:p>
        </p:txBody>
      </p:sp>
      <p:sp>
        <p:nvSpPr>
          <p:cNvPr id="1148" name="TextBox 1147"/>
          <p:cNvSpPr txBox="1"/>
          <p:nvPr/>
        </p:nvSpPr>
        <p:spPr>
          <a:xfrm>
            <a:off x="9972480" y="5533582"/>
            <a:ext cx="1106683" cy="350330"/>
          </a:xfrm>
          <a:prstGeom prst="rect">
            <a:avLst/>
          </a:prstGeom>
          <a:noFill/>
        </p:spPr>
        <p:txBody>
          <a:bodyPr wrap="square" rtlCol="0">
            <a:spAutoFit/>
          </a:bodyPr>
          <a:lstStyle>
            <a:defPPr>
              <a:defRPr lang="en-US"/>
            </a:defPPr>
            <a:lvl1pPr>
              <a:defRPr sz="1600" spc="-60">
                <a:gradFill>
                  <a:gsLst>
                    <a:gs pos="0">
                      <a:schemeClr val="tx1"/>
                    </a:gs>
                    <a:gs pos="86000">
                      <a:schemeClr val="tx1"/>
                    </a:gs>
                  </a:gsLst>
                  <a:lin ang="5400000" scaled="0"/>
                </a:gradFill>
                <a:latin typeface="+mj-lt"/>
              </a:defRPr>
            </a:lvl1pPr>
          </a:lstStyle>
          <a:p>
            <a:r>
              <a:rPr lang="en-US" sz="1632" dirty="0">
                <a:solidFill>
                  <a:srgbClr val="3C3C3C"/>
                </a:solidFill>
                <a:latin typeface="Segoe UI"/>
              </a:rPr>
              <a:t>Costs</a:t>
            </a:r>
          </a:p>
        </p:txBody>
      </p:sp>
      <p:sp>
        <p:nvSpPr>
          <p:cNvPr id="1158" name="TextBox 1157"/>
          <p:cNvSpPr txBox="1"/>
          <p:nvPr/>
        </p:nvSpPr>
        <p:spPr>
          <a:xfrm>
            <a:off x="531948" y="2965248"/>
            <a:ext cx="1226596" cy="493352"/>
          </a:xfrm>
          <a:prstGeom prst="rect">
            <a:avLst/>
          </a:prstGeom>
          <a:solidFill>
            <a:srgbClr val="FF8F26"/>
          </a:solidFill>
        </p:spPr>
        <p:txBody>
          <a:bodyPr wrap="square" rtlCol="0">
            <a:spAutoFit/>
          </a:bodyPr>
          <a:lstStyle/>
          <a:p>
            <a:pPr marL="0" lvl="1" algn="ctr" fontAlgn="base">
              <a:lnSpc>
                <a:spcPct val="90000"/>
              </a:lnSpc>
              <a:spcBef>
                <a:spcPts val="204"/>
              </a:spcBef>
              <a:spcAft>
                <a:spcPts val="408"/>
              </a:spcAft>
              <a:buClr>
                <a:srgbClr val="FFFFFF"/>
              </a:buClr>
              <a:buSzPct val="90000"/>
              <a:tabLst>
                <a:tab pos="642780" algn="l"/>
              </a:tabLst>
              <a:defRPr/>
            </a:pPr>
            <a:r>
              <a:rPr lang="en-US" sz="1428" b="1" spc="-51" dirty="0">
                <a:gradFill>
                  <a:gsLst>
                    <a:gs pos="50000">
                      <a:prstClr val="white"/>
                    </a:gs>
                    <a:gs pos="100000">
                      <a:prstClr val="white"/>
                    </a:gs>
                  </a:gsLst>
                  <a:lin ang="5400000" scaled="0"/>
                </a:gradFill>
                <a:latin typeface="Segoe UI"/>
              </a:rPr>
              <a:t/>
            </a:r>
            <a:br>
              <a:rPr lang="en-US" sz="1428" b="1" spc="-51" dirty="0">
                <a:gradFill>
                  <a:gsLst>
                    <a:gs pos="50000">
                      <a:prstClr val="white"/>
                    </a:gs>
                    <a:gs pos="100000">
                      <a:prstClr val="white"/>
                    </a:gs>
                  </a:gsLst>
                  <a:lin ang="5400000" scaled="0"/>
                </a:gradFill>
                <a:latin typeface="Segoe UI"/>
              </a:rPr>
            </a:br>
            <a:endParaRPr lang="en-US" sz="1428" b="1" spc="-51" dirty="0">
              <a:gradFill>
                <a:gsLst>
                  <a:gs pos="50000">
                    <a:prstClr val="white"/>
                  </a:gs>
                  <a:gs pos="100000">
                    <a:prstClr val="white"/>
                  </a:gs>
                </a:gsLst>
                <a:lin ang="5400000" scaled="0"/>
              </a:gradFill>
              <a:latin typeface="Segoe UI"/>
            </a:endParaRPr>
          </a:p>
        </p:txBody>
      </p:sp>
      <p:sp>
        <p:nvSpPr>
          <p:cNvPr id="1160" name="TextBox 1159"/>
          <p:cNvSpPr txBox="1"/>
          <p:nvPr/>
        </p:nvSpPr>
        <p:spPr>
          <a:xfrm>
            <a:off x="485775" y="2974734"/>
            <a:ext cx="1333500" cy="431400"/>
          </a:xfrm>
          <a:prstGeom prst="rect">
            <a:avLst/>
          </a:prstGeom>
          <a:noFill/>
        </p:spPr>
        <p:txBody>
          <a:bodyPr wrap="square" rtlCol="0">
            <a:spAutoFit/>
          </a:bodyPr>
          <a:lstStyle/>
          <a:p>
            <a:pPr marL="121432" lvl="1" indent="-121432" fontAlgn="base">
              <a:lnSpc>
                <a:spcPct val="90000"/>
              </a:lnSpc>
              <a:spcBef>
                <a:spcPts val="204"/>
              </a:spcBef>
              <a:spcAft>
                <a:spcPts val="408"/>
              </a:spcAft>
              <a:buClr>
                <a:srgbClr val="FFFFFF"/>
              </a:buClr>
              <a:buSzPct val="90000"/>
              <a:tabLst>
                <a:tab pos="174862" algn="l"/>
              </a:tabLst>
              <a:defRPr/>
            </a:pPr>
            <a:r>
              <a:rPr lang="en-US" sz="1224" b="1" spc="-51" dirty="0">
                <a:solidFill>
                  <a:srgbClr val="FFFFFE"/>
                </a:solidFill>
              </a:rPr>
              <a:t>+ </a:t>
            </a:r>
            <a:r>
              <a:rPr lang="en-US" sz="1224" spc="-51" dirty="0" smtClean="0">
                <a:solidFill>
                  <a:srgbClr val="FFFFFE"/>
                </a:solidFill>
              </a:rPr>
              <a:t>App-v and disk </a:t>
            </a:r>
            <a:r>
              <a:rPr lang="en-US" sz="1224" spc="-51" dirty="0" err="1" smtClean="0">
                <a:solidFill>
                  <a:srgbClr val="FFFFFE"/>
                </a:solidFill>
              </a:rPr>
              <a:t>dedupelication</a:t>
            </a:r>
            <a:endParaRPr lang="en-US" sz="1224" spc="-51" dirty="0">
              <a:solidFill>
                <a:srgbClr val="FFFFFE"/>
              </a:solidFill>
            </a:endParaRPr>
          </a:p>
        </p:txBody>
      </p:sp>
      <p:sp>
        <p:nvSpPr>
          <p:cNvPr id="1161" name="TextBox 1160"/>
          <p:cNvSpPr txBox="1"/>
          <p:nvPr/>
        </p:nvSpPr>
        <p:spPr>
          <a:xfrm>
            <a:off x="7250184" y="3542317"/>
            <a:ext cx="3442780" cy="900904"/>
          </a:xfrm>
          <a:prstGeom prst="rect">
            <a:avLst/>
          </a:prstGeom>
        </p:spPr>
        <p:txBody>
          <a:bodyPr wrap="square" rtlCol="0">
            <a:spAutoFit/>
          </a:bodyPr>
          <a:lstStyle/>
          <a:p>
            <a:pPr defTabSz="931077">
              <a:lnSpc>
                <a:spcPct val="90000"/>
              </a:lnSpc>
            </a:pPr>
            <a:r>
              <a:rPr lang="en-US" sz="1428" dirty="0">
                <a:solidFill>
                  <a:srgbClr val="282828"/>
                </a:solidFill>
              </a:rPr>
              <a:t>Reduce costs across all deployment types by using Windows 8 and direct-attached storage (DAS). DAS is approximately 25% the cost of SAN.</a:t>
            </a:r>
          </a:p>
        </p:txBody>
      </p:sp>
      <p:sp>
        <p:nvSpPr>
          <p:cNvPr id="1162" name="Rectangle 1161"/>
          <p:cNvSpPr/>
          <p:nvPr/>
        </p:nvSpPr>
        <p:spPr>
          <a:xfrm>
            <a:off x="8183878" y="2479705"/>
            <a:ext cx="1170356" cy="976120"/>
          </a:xfrm>
          <a:prstGeom prst="rect">
            <a:avLst/>
          </a:prstGeom>
          <a:noFill/>
          <a:ln w="19050" cap="flat" cmpd="sng" algn="ctr">
            <a:solidFill>
              <a:schemeClr val="accent3"/>
            </a:solidFill>
            <a:prstDash val="sysDash"/>
          </a:ln>
          <a:effectLst/>
        </p:spPr>
        <p:txBody>
          <a:bodyPr rtlCol="0" anchor="ctr"/>
          <a:lstStyle/>
          <a:p>
            <a:pPr algn="ctr" defTabSz="932597">
              <a:defRPr/>
            </a:pPr>
            <a:endParaRPr lang="en-US" sz="1836" kern="0" dirty="0">
              <a:solidFill>
                <a:prstClr val="white"/>
              </a:solidFill>
              <a:latin typeface="Segoe UI"/>
            </a:endParaRPr>
          </a:p>
        </p:txBody>
      </p:sp>
      <p:sp>
        <p:nvSpPr>
          <p:cNvPr id="1163" name="TextBox 1162"/>
          <p:cNvSpPr txBox="1"/>
          <p:nvPr/>
        </p:nvSpPr>
        <p:spPr>
          <a:xfrm>
            <a:off x="8188253" y="2776068"/>
            <a:ext cx="1173281" cy="400110"/>
          </a:xfrm>
          <a:prstGeom prst="rect">
            <a:avLst/>
          </a:prstGeom>
          <a:noFill/>
        </p:spPr>
        <p:txBody>
          <a:bodyPr wrap="square" rtlCol="0">
            <a:spAutoFit/>
          </a:bodyPr>
          <a:lstStyle/>
          <a:p>
            <a:pPr algn="ctr">
              <a:lnSpc>
                <a:spcPts val="1224"/>
              </a:lnSpc>
            </a:pPr>
            <a:r>
              <a:rPr lang="en-US" sz="1428" dirty="0" smtClean="0">
                <a:solidFill>
                  <a:schemeClr val="bg1"/>
                </a:solidFill>
                <a:latin typeface="Segoe UI"/>
                <a:ea typeface="Segoe UI" pitchFamily="34" charset="0"/>
                <a:cs typeface="Segoe UI" pitchFamily="34" charset="0"/>
              </a:rPr>
              <a:t>Storage savings</a:t>
            </a:r>
            <a:endParaRPr lang="en-US" sz="1428" dirty="0">
              <a:solidFill>
                <a:schemeClr val="bg1"/>
              </a:solidFill>
              <a:latin typeface="Segoe UI"/>
              <a:ea typeface="Segoe UI" pitchFamily="34" charset="0"/>
              <a:cs typeface="Segoe UI" pitchFamily="34" charset="0"/>
            </a:endParaRPr>
          </a:p>
        </p:txBody>
      </p:sp>
      <p:grpSp>
        <p:nvGrpSpPr>
          <p:cNvPr id="1164" name="Group 1163"/>
          <p:cNvGrpSpPr/>
          <p:nvPr/>
        </p:nvGrpSpPr>
        <p:grpSpPr>
          <a:xfrm>
            <a:off x="6020787" y="3513006"/>
            <a:ext cx="643211" cy="973643"/>
            <a:chOff x="5754428" y="3440772"/>
            <a:chExt cx="567128" cy="954639"/>
          </a:xfrm>
          <a:solidFill>
            <a:schemeClr val="accent3">
              <a:lumMod val="40000"/>
              <a:lumOff val="60000"/>
            </a:schemeClr>
          </a:solidFill>
        </p:grpSpPr>
        <p:sp>
          <p:nvSpPr>
            <p:cNvPr id="1165" name="Rectangle 1164"/>
            <p:cNvSpPr/>
            <p:nvPr/>
          </p:nvSpPr>
          <p:spPr>
            <a:xfrm>
              <a:off x="5759728" y="3440772"/>
              <a:ext cx="557140" cy="954639"/>
            </a:xfrm>
            <a:prstGeom prst="rect">
              <a:avLst/>
            </a:prstGeom>
            <a:grpFill/>
            <a:ln w="19050" cap="flat" cmpd="sng" algn="ctr">
              <a:solidFill>
                <a:srgbClr val="FF8C00"/>
              </a:solidFill>
              <a:prstDash val="sysDash"/>
            </a:ln>
            <a:effectLst/>
          </p:spPr>
          <p:txBody>
            <a:bodyPr rtlCol="0" anchor="ctr"/>
            <a:lstStyle/>
            <a:p>
              <a:pPr algn="ctr" defTabSz="932597">
                <a:defRPr/>
              </a:pPr>
              <a:endParaRPr lang="en-US" sz="1836" kern="0" dirty="0">
                <a:solidFill>
                  <a:prstClr val="white"/>
                </a:solidFill>
                <a:latin typeface="Segoe UI"/>
              </a:endParaRPr>
            </a:p>
          </p:txBody>
        </p:sp>
        <p:sp>
          <p:nvSpPr>
            <p:cNvPr id="1166" name="TextBox 1165"/>
            <p:cNvSpPr txBox="1"/>
            <p:nvPr/>
          </p:nvSpPr>
          <p:spPr>
            <a:xfrm>
              <a:off x="5754428" y="3737529"/>
              <a:ext cx="567128" cy="324769"/>
            </a:xfrm>
            <a:prstGeom prst="rect">
              <a:avLst/>
            </a:prstGeom>
            <a:grpFill/>
          </p:spPr>
          <p:txBody>
            <a:bodyPr wrap="square" rtlCol="0">
              <a:spAutoFit/>
            </a:bodyPr>
            <a:lstStyle/>
            <a:p>
              <a:pPr algn="ctr" defTabSz="932597">
                <a:lnSpc>
                  <a:spcPts val="918"/>
                </a:lnSpc>
                <a:defRPr/>
              </a:pPr>
              <a:r>
                <a:rPr lang="en-US" sz="918" b="1" kern="0" dirty="0">
                  <a:solidFill>
                    <a:schemeClr val="bg1"/>
                  </a:solidFill>
                  <a:latin typeface="Segoe UI"/>
                  <a:ea typeface="Segoe UI" pitchFamily="34" charset="0"/>
                  <a:cs typeface="Segoe UI" pitchFamily="34" charset="0"/>
                </a:rPr>
                <a:t>DAS </a:t>
              </a:r>
              <a:br>
                <a:rPr lang="en-US" sz="918" b="1" kern="0" dirty="0">
                  <a:solidFill>
                    <a:schemeClr val="bg1"/>
                  </a:solidFill>
                  <a:latin typeface="Segoe UI"/>
                  <a:ea typeface="Segoe UI" pitchFamily="34" charset="0"/>
                  <a:cs typeface="Segoe UI" pitchFamily="34" charset="0"/>
                </a:rPr>
              </a:br>
              <a:r>
                <a:rPr lang="en-US" sz="918" b="1" kern="0" dirty="0">
                  <a:solidFill>
                    <a:schemeClr val="bg1"/>
                  </a:solidFill>
                  <a:latin typeface="Segoe UI"/>
                  <a:ea typeface="Segoe UI" pitchFamily="34" charset="0"/>
                  <a:cs typeface="Segoe UI" pitchFamily="34" charset="0"/>
                </a:rPr>
                <a:t>savings</a:t>
              </a:r>
            </a:p>
          </p:txBody>
        </p:sp>
      </p:grpSp>
      <p:grpSp>
        <p:nvGrpSpPr>
          <p:cNvPr id="1167" name="Group 1166"/>
          <p:cNvGrpSpPr/>
          <p:nvPr/>
        </p:nvGrpSpPr>
        <p:grpSpPr>
          <a:xfrm>
            <a:off x="4618994" y="4539022"/>
            <a:ext cx="648000" cy="973643"/>
            <a:chOff x="5745212" y="3440772"/>
            <a:chExt cx="557140" cy="954639"/>
          </a:xfrm>
          <a:solidFill>
            <a:schemeClr val="accent3">
              <a:lumMod val="40000"/>
              <a:lumOff val="60000"/>
            </a:schemeClr>
          </a:solidFill>
        </p:grpSpPr>
        <p:sp>
          <p:nvSpPr>
            <p:cNvPr id="1168" name="Rectangle 1167"/>
            <p:cNvSpPr/>
            <p:nvPr/>
          </p:nvSpPr>
          <p:spPr>
            <a:xfrm>
              <a:off x="5745212" y="3440772"/>
              <a:ext cx="557140" cy="954639"/>
            </a:xfrm>
            <a:prstGeom prst="rect">
              <a:avLst/>
            </a:prstGeom>
            <a:grpFill/>
            <a:ln w="19050" cap="flat" cmpd="sng" algn="ctr">
              <a:solidFill>
                <a:srgbClr val="FF8C00"/>
              </a:solidFill>
              <a:prstDash val="sysDash"/>
            </a:ln>
            <a:effectLst/>
          </p:spPr>
          <p:txBody>
            <a:bodyPr rtlCol="0" anchor="ctr"/>
            <a:lstStyle/>
            <a:p>
              <a:pPr algn="ctr" defTabSz="932597">
                <a:defRPr/>
              </a:pPr>
              <a:endParaRPr lang="en-US" sz="1836" kern="0" dirty="0">
                <a:solidFill>
                  <a:prstClr val="white"/>
                </a:solidFill>
                <a:latin typeface="Segoe UI"/>
              </a:endParaRPr>
            </a:p>
          </p:txBody>
        </p:sp>
        <p:sp>
          <p:nvSpPr>
            <p:cNvPr id="1169" name="TextBox 1168"/>
            <p:cNvSpPr txBox="1"/>
            <p:nvPr/>
          </p:nvSpPr>
          <p:spPr>
            <a:xfrm>
              <a:off x="5750434" y="3737529"/>
              <a:ext cx="539496" cy="327013"/>
            </a:xfrm>
            <a:prstGeom prst="rect">
              <a:avLst/>
            </a:prstGeom>
            <a:grpFill/>
          </p:spPr>
          <p:txBody>
            <a:bodyPr wrap="square" lIns="46630" rIns="46630" rtlCol="0">
              <a:spAutoFit/>
            </a:bodyPr>
            <a:lstStyle/>
            <a:p>
              <a:pPr algn="ctr" defTabSz="932597">
                <a:lnSpc>
                  <a:spcPts val="918"/>
                </a:lnSpc>
                <a:defRPr/>
              </a:pPr>
              <a:r>
                <a:rPr lang="en-US" sz="918" b="1" kern="0" dirty="0">
                  <a:solidFill>
                    <a:schemeClr val="bg1"/>
                  </a:solidFill>
                  <a:latin typeface="Segoe UI"/>
                  <a:ea typeface="Segoe UI" pitchFamily="34" charset="0"/>
                  <a:cs typeface="Segoe UI" pitchFamily="34" charset="0"/>
                </a:rPr>
                <a:t>DAS </a:t>
              </a:r>
              <a:br>
                <a:rPr lang="en-US" sz="918" b="1" kern="0" dirty="0">
                  <a:solidFill>
                    <a:schemeClr val="bg1"/>
                  </a:solidFill>
                  <a:latin typeface="Segoe UI"/>
                  <a:ea typeface="Segoe UI" pitchFamily="34" charset="0"/>
                  <a:cs typeface="Segoe UI" pitchFamily="34" charset="0"/>
                </a:rPr>
              </a:br>
              <a:r>
                <a:rPr lang="en-US" sz="918" b="1" kern="0" dirty="0">
                  <a:solidFill>
                    <a:schemeClr val="bg1"/>
                  </a:solidFill>
                  <a:latin typeface="Segoe UI"/>
                  <a:ea typeface="Segoe UI" pitchFamily="34" charset="0"/>
                  <a:cs typeface="Segoe UI" pitchFamily="34" charset="0"/>
                </a:rPr>
                <a:t>savings</a:t>
              </a:r>
            </a:p>
          </p:txBody>
        </p:sp>
      </p:grpSp>
      <p:grpSp>
        <p:nvGrpSpPr>
          <p:cNvPr id="1170" name="Group 1169"/>
          <p:cNvGrpSpPr/>
          <p:nvPr/>
        </p:nvGrpSpPr>
        <p:grpSpPr>
          <a:xfrm>
            <a:off x="6965564" y="2479853"/>
            <a:ext cx="1227159" cy="973643"/>
            <a:chOff x="5654445" y="3445535"/>
            <a:chExt cx="2307316" cy="954639"/>
          </a:xfrm>
          <a:solidFill>
            <a:schemeClr val="accent3">
              <a:lumMod val="40000"/>
              <a:lumOff val="60000"/>
            </a:schemeClr>
          </a:solidFill>
        </p:grpSpPr>
        <p:sp>
          <p:nvSpPr>
            <p:cNvPr id="1171" name="Rectangle 1170"/>
            <p:cNvSpPr/>
            <p:nvPr/>
          </p:nvSpPr>
          <p:spPr>
            <a:xfrm>
              <a:off x="5654445" y="3445535"/>
              <a:ext cx="2245583" cy="954639"/>
            </a:xfrm>
            <a:prstGeom prst="rect">
              <a:avLst/>
            </a:prstGeom>
            <a:grpFill/>
            <a:ln w="19050" cap="flat" cmpd="sng" algn="ctr">
              <a:solidFill>
                <a:srgbClr val="FF8C00"/>
              </a:solidFill>
              <a:prstDash val="sysDash"/>
            </a:ln>
            <a:effectLst/>
          </p:spPr>
          <p:txBody>
            <a:bodyPr rtlCol="0" anchor="ctr"/>
            <a:lstStyle/>
            <a:p>
              <a:pPr algn="ctr" defTabSz="932597">
                <a:defRPr/>
              </a:pPr>
              <a:endParaRPr lang="en-US" sz="1836" kern="0" dirty="0">
                <a:solidFill>
                  <a:schemeClr val="accent3"/>
                </a:solidFill>
                <a:latin typeface="Segoe UI"/>
              </a:endParaRPr>
            </a:p>
          </p:txBody>
        </p:sp>
        <p:sp>
          <p:nvSpPr>
            <p:cNvPr id="1172" name="TextBox 1171"/>
            <p:cNvSpPr txBox="1"/>
            <p:nvPr/>
          </p:nvSpPr>
          <p:spPr>
            <a:xfrm>
              <a:off x="5730984" y="3726643"/>
              <a:ext cx="2230777" cy="392300"/>
            </a:xfrm>
            <a:prstGeom prst="rect">
              <a:avLst/>
            </a:prstGeom>
            <a:grpFill/>
          </p:spPr>
          <p:txBody>
            <a:bodyPr wrap="square" rtlCol="0">
              <a:spAutoFit/>
            </a:bodyPr>
            <a:lstStyle/>
            <a:p>
              <a:pPr algn="ctr" defTabSz="932597">
                <a:lnSpc>
                  <a:spcPts val="1224"/>
                </a:lnSpc>
                <a:defRPr/>
              </a:pPr>
              <a:r>
                <a:rPr lang="en-US" sz="1428" kern="0" dirty="0">
                  <a:solidFill>
                    <a:schemeClr val="bg1"/>
                  </a:solidFill>
                  <a:latin typeface="Segoe UI"/>
                  <a:ea typeface="Segoe UI" pitchFamily="34" charset="0"/>
                  <a:cs typeface="Segoe UI" pitchFamily="34" charset="0"/>
                </a:rPr>
                <a:t>DAS </a:t>
              </a:r>
              <a:br>
                <a:rPr lang="en-US" sz="1428" kern="0" dirty="0">
                  <a:solidFill>
                    <a:schemeClr val="bg1"/>
                  </a:solidFill>
                  <a:latin typeface="Segoe UI"/>
                  <a:ea typeface="Segoe UI" pitchFamily="34" charset="0"/>
                  <a:cs typeface="Segoe UI" pitchFamily="34" charset="0"/>
                </a:rPr>
              </a:br>
              <a:r>
                <a:rPr lang="en-US" sz="1428" kern="0" dirty="0">
                  <a:solidFill>
                    <a:schemeClr val="bg1"/>
                  </a:solidFill>
                  <a:latin typeface="Segoe UI"/>
                  <a:ea typeface="Segoe UI" pitchFamily="34" charset="0"/>
                  <a:cs typeface="Segoe UI" pitchFamily="34" charset="0"/>
                </a:rPr>
                <a:t>savings</a:t>
              </a:r>
            </a:p>
          </p:txBody>
        </p:sp>
      </p:grpSp>
      <p:grpSp>
        <p:nvGrpSpPr>
          <p:cNvPr id="10" name="Group 9"/>
          <p:cNvGrpSpPr/>
          <p:nvPr/>
        </p:nvGrpSpPr>
        <p:grpSpPr>
          <a:xfrm>
            <a:off x="508133" y="3494736"/>
            <a:ext cx="2488979" cy="1017571"/>
            <a:chOff x="522422" y="3494736"/>
            <a:chExt cx="2488979" cy="1017571"/>
          </a:xfrm>
        </p:grpSpPr>
        <p:grpSp>
          <p:nvGrpSpPr>
            <p:cNvPr id="1105" name="Group 1104"/>
            <p:cNvGrpSpPr/>
            <p:nvPr/>
          </p:nvGrpSpPr>
          <p:grpSpPr>
            <a:xfrm>
              <a:off x="522422" y="3494736"/>
              <a:ext cx="2488979" cy="1017571"/>
              <a:chOff x="57787" y="8515350"/>
              <a:chExt cx="2440397" cy="997709"/>
            </a:xfrm>
          </p:grpSpPr>
          <p:sp>
            <p:nvSpPr>
              <p:cNvPr id="1106" name="Rectangle 1105"/>
              <p:cNvSpPr/>
              <p:nvPr/>
            </p:nvSpPr>
            <p:spPr bwMode="auto">
              <a:xfrm>
                <a:off x="57787" y="8529599"/>
                <a:ext cx="2440397" cy="954639"/>
              </a:xfrm>
              <a:prstGeom prst="rect">
                <a:avLst/>
              </a:prstGeom>
              <a:solidFill>
                <a:srgbClr val="50505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a:defRPr/>
                </a:pPr>
                <a:endParaRPr lang="en-US" sz="2244" kern="0" dirty="0">
                  <a:gradFill>
                    <a:gsLst>
                      <a:gs pos="50000">
                        <a:prstClr val="white"/>
                      </a:gs>
                      <a:gs pos="100000">
                        <a:prstClr val="white"/>
                      </a:gs>
                    </a:gsLst>
                    <a:lin ang="5400000" scaled="0"/>
                  </a:gradFill>
                  <a:latin typeface="Segoe UI"/>
                </a:endParaRPr>
              </a:p>
            </p:txBody>
          </p:sp>
          <p:sp>
            <p:nvSpPr>
              <p:cNvPr id="1107" name="TextBox 1106"/>
              <p:cNvSpPr txBox="1"/>
              <p:nvPr/>
            </p:nvSpPr>
            <p:spPr>
              <a:xfrm>
                <a:off x="113343" y="8515350"/>
                <a:ext cx="1332869" cy="997709"/>
              </a:xfrm>
              <a:prstGeom prst="rect">
                <a:avLst/>
              </a:prstGeom>
              <a:noFill/>
            </p:spPr>
            <p:txBody>
              <a:bodyPr wrap="square" rtlCol="0">
                <a:spAutoFit/>
              </a:bodyPr>
              <a:lstStyle/>
              <a:p>
                <a:pPr marL="0" lvl="1" algn="ctr" fontAlgn="base">
                  <a:lnSpc>
                    <a:spcPct val="90000"/>
                  </a:lnSpc>
                  <a:spcBef>
                    <a:spcPts val="204"/>
                  </a:spcBef>
                  <a:spcAft>
                    <a:spcPts val="408"/>
                  </a:spcAft>
                  <a:buClr>
                    <a:srgbClr val="FFFFFF"/>
                  </a:buClr>
                  <a:buSzPct val="90000"/>
                  <a:tabLst>
                    <a:tab pos="642780" algn="l"/>
                  </a:tabLst>
                  <a:defRPr/>
                </a:pPr>
                <a:r>
                  <a:rPr lang="nb-NO" sz="1122" spc="-51" dirty="0" err="1">
                    <a:solidFill>
                      <a:srgbClr val="FFFFFE"/>
                    </a:solidFill>
                  </a:rPr>
                  <a:t>Pooled</a:t>
                </a:r>
                <a:r>
                  <a:rPr lang="nb-NO" sz="1122" spc="-51" dirty="0">
                    <a:solidFill>
                      <a:srgbClr val="FFFFFE"/>
                    </a:solidFill>
                  </a:rPr>
                  <a:t> </a:t>
                </a:r>
                <a:r>
                  <a:rPr lang="nb-NO" sz="1122" spc="-51" dirty="0" err="1">
                    <a:solidFill>
                      <a:srgbClr val="FFFFFE"/>
                    </a:solidFill>
                  </a:rPr>
                  <a:t>virtual</a:t>
                </a:r>
                <a:r>
                  <a:rPr lang="nb-NO" sz="1122" spc="-51" dirty="0">
                    <a:solidFill>
                      <a:srgbClr val="FFFFFE"/>
                    </a:solidFill>
                  </a:rPr>
                  <a:t> </a:t>
                </a:r>
                <a:r>
                  <a:rPr lang="nb-NO" sz="1122" spc="-51" dirty="0" err="1">
                    <a:solidFill>
                      <a:srgbClr val="FFFFFE"/>
                    </a:solidFill>
                  </a:rPr>
                  <a:t>machines</a:t>
                </a:r>
                <a:r>
                  <a:rPr lang="nb-NO" sz="1122" spc="-51" dirty="0">
                    <a:solidFill>
                      <a:srgbClr val="FFFFFE"/>
                    </a:solidFill>
                  </a:rPr>
                  <a:t> + </a:t>
                </a:r>
              </a:p>
              <a:p>
                <a:pPr marL="0" lvl="1" algn="ctr" fontAlgn="base">
                  <a:lnSpc>
                    <a:spcPct val="90000"/>
                  </a:lnSpc>
                  <a:spcBef>
                    <a:spcPts val="204"/>
                  </a:spcBef>
                  <a:spcAft>
                    <a:spcPts val="204"/>
                  </a:spcAft>
                  <a:buClr>
                    <a:srgbClr val="FFFFFF"/>
                  </a:buClr>
                  <a:buSzPct val="90000"/>
                  <a:tabLst>
                    <a:tab pos="642780" algn="l"/>
                  </a:tabLst>
                  <a:defRPr/>
                </a:pPr>
                <a:r>
                  <a:rPr lang="nb-NO" sz="1122" spc="-51" dirty="0">
                    <a:solidFill>
                      <a:srgbClr val="FFFFFE"/>
                    </a:solidFill>
                  </a:rPr>
                  <a:t>User </a:t>
                </a:r>
                <a:r>
                  <a:rPr lang="nb-NO" sz="1122" spc="-51" dirty="0" err="1">
                    <a:solidFill>
                      <a:srgbClr val="FFFFFE"/>
                    </a:solidFill>
                  </a:rPr>
                  <a:t>Profile</a:t>
                </a:r>
                <a:r>
                  <a:rPr lang="nb-NO" sz="1122" spc="-51" dirty="0">
                    <a:solidFill>
                      <a:srgbClr val="FFFFFE"/>
                    </a:solidFill>
                  </a:rPr>
                  <a:t> Disk + </a:t>
                </a:r>
              </a:p>
              <a:p>
                <a:pPr marL="0" lvl="1" algn="ctr" fontAlgn="base">
                  <a:lnSpc>
                    <a:spcPct val="90000"/>
                  </a:lnSpc>
                  <a:spcBef>
                    <a:spcPts val="204"/>
                  </a:spcBef>
                  <a:spcAft>
                    <a:spcPts val="408"/>
                  </a:spcAft>
                  <a:buClr>
                    <a:srgbClr val="FFFFFF"/>
                  </a:buClr>
                  <a:buSzPct val="90000"/>
                  <a:tabLst>
                    <a:tab pos="642780" algn="l"/>
                  </a:tabLst>
                  <a:defRPr/>
                </a:pPr>
                <a:r>
                  <a:rPr lang="nb-NO" sz="1122" spc="-51" dirty="0">
                    <a:solidFill>
                      <a:srgbClr val="FFFFFE"/>
                    </a:solidFill>
                  </a:rPr>
                  <a:t>Application </a:t>
                </a:r>
                <a:r>
                  <a:rPr lang="nb-NO" sz="1122" spc="-51" dirty="0" err="1">
                    <a:solidFill>
                      <a:srgbClr val="FFFFFE"/>
                    </a:solidFill>
                  </a:rPr>
                  <a:t>Virtualization</a:t>
                </a:r>
                <a:endParaRPr lang="nb-NO" sz="1122" spc="-51" dirty="0">
                  <a:solidFill>
                    <a:srgbClr val="FFFFFE"/>
                  </a:solidFill>
                </a:endParaRPr>
              </a:p>
            </p:txBody>
          </p:sp>
        </p:grpSp>
        <p:grpSp>
          <p:nvGrpSpPr>
            <p:cNvPr id="150" name="Group 149"/>
            <p:cNvGrpSpPr/>
            <p:nvPr/>
          </p:nvGrpSpPr>
          <p:grpSpPr>
            <a:xfrm>
              <a:off x="1923473" y="3611954"/>
              <a:ext cx="1038189" cy="768545"/>
              <a:chOff x="6713373" y="2372667"/>
              <a:chExt cx="1851772" cy="1370819"/>
            </a:xfrm>
          </p:grpSpPr>
          <p:grpSp>
            <p:nvGrpSpPr>
              <p:cNvPr id="151" name="Group 313"/>
              <p:cNvGrpSpPr>
                <a:grpSpLocks/>
              </p:cNvGrpSpPr>
              <p:nvPr/>
            </p:nvGrpSpPr>
            <p:grpSpPr bwMode="auto">
              <a:xfrm>
                <a:off x="6987946" y="2374533"/>
                <a:ext cx="1577199" cy="1313797"/>
                <a:chOff x="7124317" y="1911485"/>
                <a:chExt cx="769907" cy="641245"/>
              </a:xfrm>
            </p:grpSpPr>
            <p:grpSp>
              <p:nvGrpSpPr>
                <p:cNvPr id="166" name="Group 23"/>
                <p:cNvGrpSpPr>
                  <a:grpSpLocks/>
                </p:cNvGrpSpPr>
                <p:nvPr/>
              </p:nvGrpSpPr>
              <p:grpSpPr bwMode="auto">
                <a:xfrm>
                  <a:off x="7246547" y="1911485"/>
                  <a:ext cx="647677" cy="641245"/>
                  <a:chOff x="10182538" y="2584807"/>
                  <a:chExt cx="837231" cy="738944"/>
                </a:xfrm>
              </p:grpSpPr>
              <p:sp>
                <p:nvSpPr>
                  <p:cNvPr id="170" name="Rectangle 169"/>
                  <p:cNvSpPr/>
                  <p:nvPr/>
                </p:nvSpPr>
                <p:spPr bwMode="auto">
                  <a:xfrm>
                    <a:off x="10336445" y="2747669"/>
                    <a:ext cx="258557" cy="210344"/>
                  </a:xfrm>
                  <a:prstGeom prst="rect">
                    <a:avLst/>
                  </a:pr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sp>
                <p:nvSpPr>
                  <p:cNvPr id="171" name="Oval 21"/>
                  <p:cNvSpPr/>
                  <p:nvPr/>
                </p:nvSpPr>
                <p:spPr>
                  <a:xfrm>
                    <a:off x="10182538" y="2584807"/>
                    <a:ext cx="837231" cy="738944"/>
                  </a:xfrm>
                  <a:prstGeom prst="ellipse">
                    <a:avLst/>
                  </a:prstGeom>
                  <a:noFill/>
                  <a:ln w="19050" cap="flat" cmpd="sng" algn="ctr">
                    <a:solidFill>
                      <a:schemeClr val="bg1"/>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sp>
                <p:nvSpPr>
                  <p:cNvPr id="172" name="Rectangle 171"/>
                  <p:cNvSpPr/>
                  <p:nvPr/>
                </p:nvSpPr>
                <p:spPr bwMode="auto">
                  <a:xfrm>
                    <a:off x="10465719" y="3027443"/>
                    <a:ext cx="258557" cy="214000"/>
                  </a:xfrm>
                  <a:prstGeom prst="rect">
                    <a:avLst/>
                  </a:pr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sp>
                <p:nvSpPr>
                  <p:cNvPr id="173" name="Rectangle 172"/>
                  <p:cNvSpPr/>
                  <p:nvPr/>
                </p:nvSpPr>
                <p:spPr bwMode="auto">
                  <a:xfrm>
                    <a:off x="10640142" y="2747593"/>
                    <a:ext cx="260609" cy="210344"/>
                  </a:xfrm>
                  <a:prstGeom prst="rect">
                    <a:avLst/>
                  </a:prstGeom>
                  <a:noFill/>
                  <a:ln w="222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grpSp>
            <p:grpSp>
              <p:nvGrpSpPr>
                <p:cNvPr id="167" name="Group 312"/>
                <p:cNvGrpSpPr>
                  <a:grpSpLocks/>
                </p:cNvGrpSpPr>
                <p:nvPr/>
              </p:nvGrpSpPr>
              <p:grpSpPr bwMode="auto">
                <a:xfrm>
                  <a:off x="7124317" y="2071796"/>
                  <a:ext cx="112709" cy="409507"/>
                  <a:chOff x="7124317" y="2071796"/>
                  <a:chExt cx="112709" cy="409507"/>
                </a:xfrm>
              </p:grpSpPr>
              <p:cxnSp>
                <p:nvCxnSpPr>
                  <p:cNvPr id="168" name="Straight Connector 167"/>
                  <p:cNvCxnSpPr/>
                  <p:nvPr/>
                </p:nvCxnSpPr>
                <p:spPr>
                  <a:xfrm>
                    <a:off x="7124317" y="2071796"/>
                    <a:ext cx="90485" cy="80950"/>
                  </a:xfrm>
                  <a:prstGeom prst="line">
                    <a:avLst/>
                  </a:prstGeom>
                  <a:ln w="2222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flipV="1">
                    <a:off x="7144954" y="2379720"/>
                    <a:ext cx="92072" cy="101583"/>
                  </a:xfrm>
                  <a:prstGeom prst="line">
                    <a:avLst/>
                  </a:prstGeom>
                  <a:ln w="22225">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grpSp>
          <p:sp>
            <p:nvSpPr>
              <p:cNvPr id="152" name="Freeform 151"/>
              <p:cNvSpPr>
                <a:spLocks noEditPoints="1"/>
              </p:cNvSpPr>
              <p:nvPr/>
            </p:nvSpPr>
            <p:spPr bwMode="auto">
              <a:xfrm>
                <a:off x="6737466" y="3299072"/>
                <a:ext cx="294148" cy="444414"/>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53" name="Freeform 152"/>
              <p:cNvSpPr>
                <a:spLocks noEditPoints="1"/>
              </p:cNvSpPr>
              <p:nvPr/>
            </p:nvSpPr>
            <p:spPr bwMode="auto">
              <a:xfrm>
                <a:off x="6713373" y="2372667"/>
                <a:ext cx="294150" cy="444414"/>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nvGrpSpPr>
              <p:cNvPr id="154" name="Group 153"/>
              <p:cNvGrpSpPr>
                <a:grpSpLocks noChangeAspect="1"/>
              </p:cNvGrpSpPr>
              <p:nvPr/>
            </p:nvGrpSpPr>
            <p:grpSpPr bwMode="auto">
              <a:xfrm>
                <a:off x="7537595" y="2721189"/>
                <a:ext cx="301303" cy="274774"/>
                <a:chOff x="4755" y="2434"/>
                <a:chExt cx="1238" cy="1129"/>
              </a:xfrm>
            </p:grpSpPr>
            <p:sp>
              <p:nvSpPr>
                <p:cNvPr id="163" name="Freeform 162"/>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no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64" name="Freeform 163"/>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65" name="Freeform 164"/>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155" name="Group 154"/>
              <p:cNvGrpSpPr>
                <a:grpSpLocks noChangeAspect="1"/>
              </p:cNvGrpSpPr>
              <p:nvPr/>
            </p:nvGrpSpPr>
            <p:grpSpPr bwMode="auto">
              <a:xfrm>
                <a:off x="7741335" y="3211943"/>
                <a:ext cx="301303" cy="274774"/>
                <a:chOff x="4755" y="2434"/>
                <a:chExt cx="1238" cy="1129"/>
              </a:xfrm>
            </p:grpSpPr>
            <p:sp>
              <p:nvSpPr>
                <p:cNvPr id="160" name="Freeform 159"/>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no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61" name="Freeform 160"/>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62" name="Freeform 161"/>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156" name="Group 155"/>
              <p:cNvGrpSpPr>
                <a:grpSpLocks noChangeAspect="1"/>
              </p:cNvGrpSpPr>
              <p:nvPr/>
            </p:nvGrpSpPr>
            <p:grpSpPr bwMode="auto">
              <a:xfrm>
                <a:off x="8019378" y="2721189"/>
                <a:ext cx="301303" cy="274774"/>
                <a:chOff x="4755" y="2434"/>
                <a:chExt cx="1238" cy="1129"/>
              </a:xfrm>
            </p:grpSpPr>
            <p:sp>
              <p:nvSpPr>
                <p:cNvPr id="157" name="Freeform 156"/>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no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58" name="Freeform 157"/>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59" name="Freeform 158"/>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grpSp>
      <p:grpSp>
        <p:nvGrpSpPr>
          <p:cNvPr id="174" name="Group 173"/>
          <p:cNvGrpSpPr/>
          <p:nvPr/>
        </p:nvGrpSpPr>
        <p:grpSpPr>
          <a:xfrm>
            <a:off x="1907733" y="2566552"/>
            <a:ext cx="747947" cy="797392"/>
            <a:chOff x="9927187" y="2444053"/>
            <a:chExt cx="1152790" cy="1228998"/>
          </a:xfrm>
        </p:grpSpPr>
        <p:grpSp>
          <p:nvGrpSpPr>
            <p:cNvPr id="175" name="Group 264"/>
            <p:cNvGrpSpPr>
              <a:grpSpLocks/>
            </p:cNvGrpSpPr>
            <p:nvPr/>
          </p:nvGrpSpPr>
          <p:grpSpPr bwMode="auto">
            <a:xfrm>
              <a:off x="10228447" y="2736593"/>
              <a:ext cx="330297" cy="729496"/>
              <a:chOff x="8315029" y="1967905"/>
              <a:chExt cx="242879" cy="536351"/>
            </a:xfrm>
          </p:grpSpPr>
          <p:cxnSp>
            <p:nvCxnSpPr>
              <p:cNvPr id="194" name="Straight Connector 193"/>
              <p:cNvCxnSpPr/>
              <p:nvPr/>
            </p:nvCxnSpPr>
            <p:spPr>
              <a:xfrm>
                <a:off x="8315029" y="1967905"/>
                <a:ext cx="242878" cy="0"/>
              </a:xfrm>
              <a:prstGeom prst="line">
                <a:avLst/>
              </a:prstGeom>
              <a:ln w="25400">
                <a:solidFill>
                  <a:srgbClr val="FFFFFF"/>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V="1">
                <a:off x="8322966" y="2204404"/>
                <a:ext cx="231767" cy="1587"/>
              </a:xfrm>
              <a:prstGeom prst="line">
                <a:avLst/>
              </a:prstGeom>
              <a:ln w="25400">
                <a:solidFill>
                  <a:srgbClr val="FFFFFF"/>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8322966" y="2502544"/>
                <a:ext cx="234942" cy="1712"/>
              </a:xfrm>
              <a:prstGeom prst="line">
                <a:avLst/>
              </a:prstGeom>
              <a:ln w="25400">
                <a:solidFill>
                  <a:srgbClr val="FFFFFF"/>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76" name="Freeform 175"/>
            <p:cNvSpPr>
              <a:spLocks noEditPoints="1"/>
            </p:cNvSpPr>
            <p:nvPr/>
          </p:nvSpPr>
          <p:spPr bwMode="auto">
            <a:xfrm>
              <a:off x="9937374" y="2446061"/>
              <a:ext cx="248867" cy="376000"/>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77" name="Freeform 176"/>
            <p:cNvSpPr>
              <a:spLocks noEditPoints="1"/>
            </p:cNvSpPr>
            <p:nvPr/>
          </p:nvSpPr>
          <p:spPr bwMode="auto">
            <a:xfrm>
              <a:off x="9927187" y="2852877"/>
              <a:ext cx="248867" cy="376000"/>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78" name="Freeform 177"/>
            <p:cNvSpPr>
              <a:spLocks noEditPoints="1"/>
            </p:cNvSpPr>
            <p:nvPr/>
          </p:nvSpPr>
          <p:spPr bwMode="auto">
            <a:xfrm>
              <a:off x="9937374" y="3280852"/>
              <a:ext cx="248867" cy="376000"/>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79" name="Rectangle 178"/>
            <p:cNvSpPr/>
            <p:nvPr/>
          </p:nvSpPr>
          <p:spPr bwMode="auto">
            <a:xfrm>
              <a:off x="10650042" y="2444053"/>
              <a:ext cx="413001" cy="373979"/>
            </a:xfrm>
            <a:prstGeom prst="rect">
              <a:avLst/>
            </a:prstGeom>
            <a:noFill/>
            <a:ln w="22225">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dirty="0">
                <a:solidFill>
                  <a:srgbClr val="FFFFFF"/>
                </a:solidFill>
                <a:ea typeface="ＭＳ Ｐゴシック" pitchFamily="-103" charset="-128"/>
              </a:endParaRPr>
            </a:p>
          </p:txBody>
        </p:sp>
        <p:sp>
          <p:nvSpPr>
            <p:cNvPr id="180" name="Rectangle 179"/>
            <p:cNvSpPr/>
            <p:nvPr/>
          </p:nvSpPr>
          <p:spPr bwMode="auto">
            <a:xfrm>
              <a:off x="10655900" y="2867466"/>
              <a:ext cx="413001" cy="373979"/>
            </a:xfrm>
            <a:prstGeom prst="rect">
              <a:avLst/>
            </a:prstGeom>
            <a:noFill/>
            <a:ln w="22225">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dirty="0">
                <a:solidFill>
                  <a:srgbClr val="FFFFFF"/>
                </a:solidFill>
                <a:ea typeface="ＭＳ Ｐゴシック" pitchFamily="-103" charset="-128"/>
              </a:endParaRPr>
            </a:p>
          </p:txBody>
        </p:sp>
        <p:sp>
          <p:nvSpPr>
            <p:cNvPr id="181" name="Rectangle 180"/>
            <p:cNvSpPr/>
            <p:nvPr/>
          </p:nvSpPr>
          <p:spPr bwMode="auto">
            <a:xfrm>
              <a:off x="10666976" y="3299072"/>
              <a:ext cx="413001" cy="373979"/>
            </a:xfrm>
            <a:prstGeom prst="rect">
              <a:avLst/>
            </a:prstGeom>
            <a:noFill/>
            <a:ln w="22225">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dirty="0">
                <a:solidFill>
                  <a:srgbClr val="FFFFFF"/>
                </a:solidFill>
                <a:ea typeface="ＭＳ Ｐゴシック" pitchFamily="-103" charset="-128"/>
              </a:endParaRPr>
            </a:p>
          </p:txBody>
        </p:sp>
        <p:grpSp>
          <p:nvGrpSpPr>
            <p:cNvPr id="182" name="Group 181"/>
            <p:cNvGrpSpPr>
              <a:grpSpLocks noChangeAspect="1"/>
            </p:cNvGrpSpPr>
            <p:nvPr/>
          </p:nvGrpSpPr>
          <p:grpSpPr bwMode="auto">
            <a:xfrm>
              <a:off x="10722824" y="3348674"/>
              <a:ext cx="301303" cy="274774"/>
              <a:chOff x="4755" y="2434"/>
              <a:chExt cx="1238" cy="1129"/>
            </a:xfrm>
          </p:grpSpPr>
          <p:sp>
            <p:nvSpPr>
              <p:cNvPr id="191" name="Freeform 190"/>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no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92" name="Freeform 191"/>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93" name="Freeform 192"/>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183" name="Group 182"/>
            <p:cNvGrpSpPr>
              <a:grpSpLocks noChangeAspect="1"/>
            </p:cNvGrpSpPr>
            <p:nvPr/>
          </p:nvGrpSpPr>
          <p:grpSpPr bwMode="auto">
            <a:xfrm>
              <a:off x="10711748" y="2924588"/>
              <a:ext cx="301303" cy="274774"/>
              <a:chOff x="4755" y="2434"/>
              <a:chExt cx="1238" cy="1129"/>
            </a:xfrm>
          </p:grpSpPr>
          <p:sp>
            <p:nvSpPr>
              <p:cNvPr id="188" name="Freeform 187"/>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no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9" name="Freeform 188"/>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90" name="Freeform 189"/>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184" name="Group 183"/>
            <p:cNvGrpSpPr>
              <a:grpSpLocks noChangeAspect="1"/>
            </p:cNvGrpSpPr>
            <p:nvPr/>
          </p:nvGrpSpPr>
          <p:grpSpPr bwMode="auto">
            <a:xfrm>
              <a:off x="10702739" y="2503820"/>
              <a:ext cx="301303" cy="274774"/>
              <a:chOff x="4755" y="2434"/>
              <a:chExt cx="1238" cy="1129"/>
            </a:xfrm>
          </p:grpSpPr>
          <p:sp>
            <p:nvSpPr>
              <p:cNvPr id="185" name="Freeform 184"/>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no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6" name="Freeform 185"/>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7" name="Freeform 186"/>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grpSp>
        <p:nvGrpSpPr>
          <p:cNvPr id="9" name="Group 8"/>
          <p:cNvGrpSpPr/>
          <p:nvPr/>
        </p:nvGrpSpPr>
        <p:grpSpPr>
          <a:xfrm>
            <a:off x="5516077" y="4795645"/>
            <a:ext cx="3168526" cy="528604"/>
            <a:chOff x="5516077" y="4795645"/>
            <a:chExt cx="3168526" cy="528604"/>
          </a:xfrm>
        </p:grpSpPr>
        <p:sp>
          <p:nvSpPr>
            <p:cNvPr id="1156" name="TextBox 1155"/>
            <p:cNvSpPr txBox="1"/>
            <p:nvPr/>
          </p:nvSpPr>
          <p:spPr>
            <a:xfrm>
              <a:off x="5516077" y="4795645"/>
              <a:ext cx="3168526" cy="493352"/>
            </a:xfrm>
            <a:prstGeom prst="rect">
              <a:avLst/>
            </a:prstGeom>
            <a:noFill/>
          </p:spPr>
          <p:txBody>
            <a:bodyPr wrap="square" rtlCol="0">
              <a:spAutoFit/>
            </a:bodyPr>
            <a:lstStyle/>
            <a:p>
              <a:pPr defTabSz="931077">
                <a:lnSpc>
                  <a:spcPct val="90000"/>
                </a:lnSpc>
              </a:pPr>
              <a:r>
                <a:rPr lang="en-US" sz="1428" dirty="0">
                  <a:solidFill>
                    <a:srgbClr val="282828"/>
                  </a:solidFill>
                </a:rPr>
                <a:t>Server infrastructure</a:t>
              </a:r>
            </a:p>
            <a:p>
              <a:pPr defTabSz="931077">
                <a:lnSpc>
                  <a:spcPct val="90000"/>
                </a:lnSpc>
              </a:pPr>
              <a:r>
                <a:rPr lang="en-US" sz="1428" dirty="0">
                  <a:solidFill>
                    <a:srgbClr val="282828"/>
                  </a:solidFill>
                </a:rPr>
                <a:t>management effort</a:t>
              </a:r>
            </a:p>
          </p:txBody>
        </p:sp>
        <p:sp>
          <p:nvSpPr>
            <p:cNvPr id="31" name="Freeform 26"/>
            <p:cNvSpPr>
              <a:spLocks noEditPoints="1"/>
            </p:cNvSpPr>
            <p:nvPr/>
          </p:nvSpPr>
          <p:spPr bwMode="auto">
            <a:xfrm>
              <a:off x="7637039" y="4798790"/>
              <a:ext cx="532769" cy="525459"/>
            </a:xfrm>
            <a:custGeom>
              <a:avLst/>
              <a:gdLst>
                <a:gd name="T0" fmla="*/ 2205 w 3496"/>
                <a:gd name="T1" fmla="*/ 1476 h 3450"/>
                <a:gd name="T2" fmla="*/ 2414 w 3496"/>
                <a:gd name="T3" fmla="*/ 1589 h 3450"/>
                <a:gd name="T4" fmla="*/ 2164 w 3496"/>
                <a:gd name="T5" fmla="*/ 1680 h 3450"/>
                <a:gd name="T6" fmla="*/ 2088 w 3496"/>
                <a:gd name="T7" fmla="*/ 1833 h 3450"/>
                <a:gd name="T8" fmla="*/ 2463 w 3496"/>
                <a:gd name="T9" fmla="*/ 2168 h 3450"/>
                <a:gd name="T10" fmla="*/ 2198 w 3496"/>
                <a:gd name="T11" fmla="*/ 2482 h 3450"/>
                <a:gd name="T12" fmla="*/ 2052 w 3496"/>
                <a:gd name="T13" fmla="*/ 2594 h 3450"/>
                <a:gd name="T14" fmla="*/ 1798 w 3496"/>
                <a:gd name="T15" fmla="*/ 2391 h 3450"/>
                <a:gd name="T16" fmla="*/ 1914 w 3496"/>
                <a:gd name="T17" fmla="*/ 2247 h 3450"/>
                <a:gd name="T18" fmla="*/ 2225 w 3496"/>
                <a:gd name="T19" fmla="*/ 2150 h 3450"/>
                <a:gd name="T20" fmla="*/ 1843 w 3496"/>
                <a:gd name="T21" fmla="*/ 1910 h 3450"/>
                <a:gd name="T22" fmla="*/ 2059 w 3496"/>
                <a:gd name="T23" fmla="*/ 1522 h 3450"/>
                <a:gd name="T24" fmla="*/ 1510 w 3496"/>
                <a:gd name="T25" fmla="*/ 1380 h 3450"/>
                <a:gd name="T26" fmla="*/ 1725 w 3496"/>
                <a:gd name="T27" fmla="*/ 1562 h 3450"/>
                <a:gd name="T28" fmla="*/ 1648 w 3496"/>
                <a:gd name="T29" fmla="*/ 1715 h 3450"/>
                <a:gd name="T30" fmla="*/ 1341 w 3496"/>
                <a:gd name="T31" fmla="*/ 1748 h 3450"/>
                <a:gd name="T32" fmla="*/ 1683 w 3496"/>
                <a:gd name="T33" fmla="*/ 1976 h 3450"/>
                <a:gd name="T34" fmla="*/ 1624 w 3496"/>
                <a:gd name="T35" fmla="*/ 2402 h 3450"/>
                <a:gd name="T36" fmla="*/ 1502 w 3496"/>
                <a:gd name="T37" fmla="*/ 2594 h 3450"/>
                <a:gd name="T38" fmla="*/ 1213 w 3496"/>
                <a:gd name="T39" fmla="*/ 2432 h 3450"/>
                <a:gd name="T40" fmla="*/ 1130 w 3496"/>
                <a:gd name="T41" fmla="*/ 2284 h 3450"/>
                <a:gd name="T42" fmla="*/ 1528 w 3496"/>
                <a:gd name="T43" fmla="*/ 2229 h 3450"/>
                <a:gd name="T44" fmla="*/ 1241 w 3496"/>
                <a:gd name="T45" fmla="*/ 1997 h 3450"/>
                <a:gd name="T46" fmla="*/ 1207 w 3496"/>
                <a:gd name="T47" fmla="*/ 1591 h 3450"/>
                <a:gd name="T48" fmla="*/ 1847 w 3496"/>
                <a:gd name="T49" fmla="*/ 241 h 3450"/>
                <a:gd name="T50" fmla="*/ 2095 w 3496"/>
                <a:gd name="T51" fmla="*/ 439 h 3450"/>
                <a:gd name="T52" fmla="*/ 1881 w 3496"/>
                <a:gd name="T53" fmla="*/ 542 h 3450"/>
                <a:gd name="T54" fmla="*/ 1747 w 3496"/>
                <a:gd name="T55" fmla="*/ 681 h 3450"/>
                <a:gd name="T56" fmla="*/ 2140 w 3496"/>
                <a:gd name="T57" fmla="*/ 990 h 3450"/>
                <a:gd name="T58" fmla="*/ 1863 w 3496"/>
                <a:gd name="T59" fmla="*/ 1455 h 3450"/>
                <a:gd name="T60" fmla="*/ 1477 w 3496"/>
                <a:gd name="T61" fmla="*/ 1250 h 3450"/>
                <a:gd name="T62" fmla="*/ 1633 w 3496"/>
                <a:gd name="T63" fmla="*/ 1121 h 3450"/>
                <a:gd name="T64" fmla="*/ 1892 w 3496"/>
                <a:gd name="T65" fmla="*/ 994 h 3450"/>
                <a:gd name="T66" fmla="*/ 1507 w 3496"/>
                <a:gd name="T67" fmla="*/ 743 h 3450"/>
                <a:gd name="T68" fmla="*/ 1738 w 3496"/>
                <a:gd name="T69" fmla="*/ 241 h 3450"/>
                <a:gd name="T70" fmla="*/ 907 w 3496"/>
                <a:gd name="T71" fmla="*/ 206 h 3450"/>
                <a:gd name="T72" fmla="*/ 907 w 3496"/>
                <a:gd name="T73" fmla="*/ 1065 h 3450"/>
                <a:gd name="T74" fmla="*/ 235 w 3496"/>
                <a:gd name="T75" fmla="*/ 1798 h 3450"/>
                <a:gd name="T76" fmla="*/ 306 w 3496"/>
                <a:gd name="T77" fmla="*/ 1870 h 3450"/>
                <a:gd name="T78" fmla="*/ 669 w 3496"/>
                <a:gd name="T79" fmla="*/ 2232 h 3450"/>
                <a:gd name="T80" fmla="*/ 1563 w 3496"/>
                <a:gd name="T81" fmla="*/ 3127 h 3450"/>
                <a:gd name="T82" fmla="*/ 2589 w 3496"/>
                <a:gd name="T83" fmla="*/ 1789 h 3450"/>
                <a:gd name="T84" fmla="*/ 2589 w 3496"/>
                <a:gd name="T85" fmla="*/ 1376 h 3450"/>
                <a:gd name="T86" fmla="*/ 2581 w 3496"/>
                <a:gd name="T87" fmla="*/ 98 h 3450"/>
                <a:gd name="T88" fmla="*/ 2172 w 3496"/>
                <a:gd name="T89" fmla="*/ 98 h 3450"/>
                <a:gd name="T90" fmla="*/ 939 w 3496"/>
                <a:gd name="T91" fmla="*/ 0 h 3450"/>
                <a:gd name="T92" fmla="*/ 2687 w 3496"/>
                <a:gd name="T93" fmla="*/ 2 h 3450"/>
                <a:gd name="T94" fmla="*/ 2687 w 3496"/>
                <a:gd name="T95" fmla="*/ 518 h 3450"/>
                <a:gd name="T96" fmla="*/ 2687 w 3496"/>
                <a:gd name="T97" fmla="*/ 1700 h 3450"/>
                <a:gd name="T98" fmla="*/ 3407 w 3496"/>
                <a:gd name="T99" fmla="*/ 1789 h 3450"/>
                <a:gd name="T100" fmla="*/ 3310 w 3496"/>
                <a:gd name="T101" fmla="*/ 1886 h 3450"/>
                <a:gd name="T102" fmla="*/ 3103 w 3496"/>
                <a:gd name="T103" fmla="*/ 2095 h 3450"/>
                <a:gd name="T104" fmla="*/ 2465 w 3496"/>
                <a:gd name="T105" fmla="*/ 2732 h 3450"/>
                <a:gd name="T106" fmla="*/ 1801 w 3496"/>
                <a:gd name="T107" fmla="*/ 3396 h 3450"/>
                <a:gd name="T108" fmla="*/ 1680 w 3496"/>
                <a:gd name="T109" fmla="*/ 3381 h 3450"/>
                <a:gd name="T110" fmla="*/ 1558 w 3496"/>
                <a:gd name="T111" fmla="*/ 3259 h 3450"/>
                <a:gd name="T112" fmla="*/ 1263 w 3496"/>
                <a:gd name="T113" fmla="*/ 2960 h 3450"/>
                <a:gd name="T114" fmla="*/ 975 w 3496"/>
                <a:gd name="T115" fmla="*/ 2674 h 3450"/>
                <a:gd name="T116" fmla="*/ 165 w 3496"/>
                <a:gd name="T117" fmla="*/ 1867 h 3450"/>
                <a:gd name="T118" fmla="*/ 55 w 3496"/>
                <a:gd name="T119" fmla="*/ 1755 h 3450"/>
                <a:gd name="T120" fmla="*/ 809 w 3496"/>
                <a:gd name="T121" fmla="*/ 449 h 3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6" h="3450">
                  <a:moveTo>
                    <a:pt x="2059" y="1380"/>
                  </a:moveTo>
                  <a:lnTo>
                    <a:pt x="2060" y="1380"/>
                  </a:lnTo>
                  <a:lnTo>
                    <a:pt x="2097" y="1380"/>
                  </a:lnTo>
                  <a:lnTo>
                    <a:pt x="2115" y="1380"/>
                  </a:lnTo>
                  <a:lnTo>
                    <a:pt x="2140" y="1380"/>
                  </a:lnTo>
                  <a:lnTo>
                    <a:pt x="2205" y="1380"/>
                  </a:lnTo>
                  <a:lnTo>
                    <a:pt x="2205" y="1381"/>
                  </a:lnTo>
                  <a:lnTo>
                    <a:pt x="2205" y="1381"/>
                  </a:lnTo>
                  <a:lnTo>
                    <a:pt x="2205" y="1384"/>
                  </a:lnTo>
                  <a:lnTo>
                    <a:pt x="2205" y="1388"/>
                  </a:lnTo>
                  <a:lnTo>
                    <a:pt x="2205" y="1408"/>
                  </a:lnTo>
                  <a:lnTo>
                    <a:pt x="2205" y="1425"/>
                  </a:lnTo>
                  <a:lnTo>
                    <a:pt x="2205" y="1448"/>
                  </a:lnTo>
                  <a:lnTo>
                    <a:pt x="2205" y="1476"/>
                  </a:lnTo>
                  <a:lnTo>
                    <a:pt x="2205" y="1512"/>
                  </a:lnTo>
                  <a:lnTo>
                    <a:pt x="2253" y="1516"/>
                  </a:lnTo>
                  <a:lnTo>
                    <a:pt x="2296" y="1522"/>
                  </a:lnTo>
                  <a:lnTo>
                    <a:pt x="2333" y="1530"/>
                  </a:lnTo>
                  <a:lnTo>
                    <a:pt x="2366" y="1540"/>
                  </a:lnTo>
                  <a:lnTo>
                    <a:pt x="2395" y="1551"/>
                  </a:lnTo>
                  <a:lnTo>
                    <a:pt x="2421" y="1562"/>
                  </a:lnTo>
                  <a:lnTo>
                    <a:pt x="2421" y="1562"/>
                  </a:lnTo>
                  <a:lnTo>
                    <a:pt x="2421" y="1563"/>
                  </a:lnTo>
                  <a:lnTo>
                    <a:pt x="2420" y="1564"/>
                  </a:lnTo>
                  <a:lnTo>
                    <a:pt x="2420" y="1568"/>
                  </a:lnTo>
                  <a:lnTo>
                    <a:pt x="2419" y="1572"/>
                  </a:lnTo>
                  <a:lnTo>
                    <a:pt x="2416" y="1579"/>
                  </a:lnTo>
                  <a:lnTo>
                    <a:pt x="2414" y="1589"/>
                  </a:lnTo>
                  <a:lnTo>
                    <a:pt x="2410" y="1601"/>
                  </a:lnTo>
                  <a:lnTo>
                    <a:pt x="2406" y="1617"/>
                  </a:lnTo>
                  <a:lnTo>
                    <a:pt x="2401" y="1639"/>
                  </a:lnTo>
                  <a:lnTo>
                    <a:pt x="2394" y="1664"/>
                  </a:lnTo>
                  <a:lnTo>
                    <a:pt x="2387" y="1694"/>
                  </a:lnTo>
                  <a:lnTo>
                    <a:pt x="2377" y="1730"/>
                  </a:lnTo>
                  <a:lnTo>
                    <a:pt x="2361" y="1722"/>
                  </a:lnTo>
                  <a:lnTo>
                    <a:pt x="2343" y="1715"/>
                  </a:lnTo>
                  <a:lnTo>
                    <a:pt x="2321" y="1706"/>
                  </a:lnTo>
                  <a:lnTo>
                    <a:pt x="2297" y="1698"/>
                  </a:lnTo>
                  <a:lnTo>
                    <a:pt x="2268" y="1691"/>
                  </a:lnTo>
                  <a:lnTo>
                    <a:pt x="2237" y="1685"/>
                  </a:lnTo>
                  <a:lnTo>
                    <a:pt x="2202" y="1681"/>
                  </a:lnTo>
                  <a:lnTo>
                    <a:pt x="2164" y="1680"/>
                  </a:lnTo>
                  <a:lnTo>
                    <a:pt x="2134" y="1681"/>
                  </a:lnTo>
                  <a:lnTo>
                    <a:pt x="2109" y="1685"/>
                  </a:lnTo>
                  <a:lnTo>
                    <a:pt x="2088" y="1692"/>
                  </a:lnTo>
                  <a:lnTo>
                    <a:pt x="2071" y="1700"/>
                  </a:lnTo>
                  <a:lnTo>
                    <a:pt x="2057" y="1711"/>
                  </a:lnTo>
                  <a:lnTo>
                    <a:pt x="2047" y="1721"/>
                  </a:lnTo>
                  <a:lnTo>
                    <a:pt x="2040" y="1734"/>
                  </a:lnTo>
                  <a:lnTo>
                    <a:pt x="2037" y="1748"/>
                  </a:lnTo>
                  <a:lnTo>
                    <a:pt x="2036" y="1761"/>
                  </a:lnTo>
                  <a:lnTo>
                    <a:pt x="2037" y="1777"/>
                  </a:lnTo>
                  <a:lnTo>
                    <a:pt x="2043" y="1792"/>
                  </a:lnTo>
                  <a:lnTo>
                    <a:pt x="2054" y="1806"/>
                  </a:lnTo>
                  <a:lnTo>
                    <a:pt x="2069" y="1820"/>
                  </a:lnTo>
                  <a:lnTo>
                    <a:pt x="2088" y="1833"/>
                  </a:lnTo>
                  <a:lnTo>
                    <a:pt x="2112" y="1846"/>
                  </a:lnTo>
                  <a:lnTo>
                    <a:pt x="2141" y="1860"/>
                  </a:lnTo>
                  <a:lnTo>
                    <a:pt x="2176" y="1875"/>
                  </a:lnTo>
                  <a:lnTo>
                    <a:pt x="2215" y="1890"/>
                  </a:lnTo>
                  <a:lnTo>
                    <a:pt x="2265" y="1909"/>
                  </a:lnTo>
                  <a:lnTo>
                    <a:pt x="2308" y="1930"/>
                  </a:lnTo>
                  <a:lnTo>
                    <a:pt x="2346" y="1952"/>
                  </a:lnTo>
                  <a:lnTo>
                    <a:pt x="2379" y="1976"/>
                  </a:lnTo>
                  <a:lnTo>
                    <a:pt x="2406" y="2002"/>
                  </a:lnTo>
                  <a:lnTo>
                    <a:pt x="2427" y="2030"/>
                  </a:lnTo>
                  <a:lnTo>
                    <a:pt x="2443" y="2061"/>
                  </a:lnTo>
                  <a:lnTo>
                    <a:pt x="2455" y="2094"/>
                  </a:lnTo>
                  <a:lnTo>
                    <a:pt x="2461" y="2130"/>
                  </a:lnTo>
                  <a:lnTo>
                    <a:pt x="2463" y="2168"/>
                  </a:lnTo>
                  <a:lnTo>
                    <a:pt x="2461" y="2203"/>
                  </a:lnTo>
                  <a:lnTo>
                    <a:pt x="2455" y="2238"/>
                  </a:lnTo>
                  <a:lnTo>
                    <a:pt x="2443" y="2271"/>
                  </a:lnTo>
                  <a:lnTo>
                    <a:pt x="2427" y="2301"/>
                  </a:lnTo>
                  <a:lnTo>
                    <a:pt x="2406" y="2330"/>
                  </a:lnTo>
                  <a:lnTo>
                    <a:pt x="2381" y="2357"/>
                  </a:lnTo>
                  <a:lnTo>
                    <a:pt x="2353" y="2381"/>
                  </a:lnTo>
                  <a:lnTo>
                    <a:pt x="2320" y="2402"/>
                  </a:lnTo>
                  <a:lnTo>
                    <a:pt x="2283" y="2419"/>
                  </a:lnTo>
                  <a:lnTo>
                    <a:pt x="2243" y="2433"/>
                  </a:lnTo>
                  <a:lnTo>
                    <a:pt x="2198" y="2444"/>
                  </a:lnTo>
                  <a:lnTo>
                    <a:pt x="2198" y="2457"/>
                  </a:lnTo>
                  <a:lnTo>
                    <a:pt x="2198" y="2468"/>
                  </a:lnTo>
                  <a:lnTo>
                    <a:pt x="2198" y="2482"/>
                  </a:lnTo>
                  <a:lnTo>
                    <a:pt x="2198" y="2526"/>
                  </a:lnTo>
                  <a:lnTo>
                    <a:pt x="2198" y="2557"/>
                  </a:lnTo>
                  <a:lnTo>
                    <a:pt x="2198" y="2594"/>
                  </a:lnTo>
                  <a:lnTo>
                    <a:pt x="2198" y="2594"/>
                  </a:lnTo>
                  <a:lnTo>
                    <a:pt x="2197" y="2594"/>
                  </a:lnTo>
                  <a:lnTo>
                    <a:pt x="2195" y="2594"/>
                  </a:lnTo>
                  <a:lnTo>
                    <a:pt x="2191" y="2594"/>
                  </a:lnTo>
                  <a:lnTo>
                    <a:pt x="2184" y="2594"/>
                  </a:lnTo>
                  <a:lnTo>
                    <a:pt x="2175" y="2594"/>
                  </a:lnTo>
                  <a:lnTo>
                    <a:pt x="2161" y="2594"/>
                  </a:lnTo>
                  <a:lnTo>
                    <a:pt x="2142" y="2594"/>
                  </a:lnTo>
                  <a:lnTo>
                    <a:pt x="2119" y="2594"/>
                  </a:lnTo>
                  <a:lnTo>
                    <a:pt x="2089" y="2594"/>
                  </a:lnTo>
                  <a:lnTo>
                    <a:pt x="2052" y="2594"/>
                  </a:lnTo>
                  <a:lnTo>
                    <a:pt x="2052" y="2594"/>
                  </a:lnTo>
                  <a:lnTo>
                    <a:pt x="2052" y="2593"/>
                  </a:lnTo>
                  <a:lnTo>
                    <a:pt x="2052" y="2590"/>
                  </a:lnTo>
                  <a:lnTo>
                    <a:pt x="2052" y="2545"/>
                  </a:lnTo>
                  <a:lnTo>
                    <a:pt x="2052" y="2522"/>
                  </a:lnTo>
                  <a:lnTo>
                    <a:pt x="2052" y="2491"/>
                  </a:lnTo>
                  <a:lnTo>
                    <a:pt x="2052" y="2453"/>
                  </a:lnTo>
                  <a:lnTo>
                    <a:pt x="2003" y="2450"/>
                  </a:lnTo>
                  <a:lnTo>
                    <a:pt x="1954" y="2442"/>
                  </a:lnTo>
                  <a:lnTo>
                    <a:pt x="1910" y="2432"/>
                  </a:lnTo>
                  <a:lnTo>
                    <a:pt x="1867" y="2420"/>
                  </a:lnTo>
                  <a:lnTo>
                    <a:pt x="1830" y="2405"/>
                  </a:lnTo>
                  <a:lnTo>
                    <a:pt x="1798" y="2391"/>
                  </a:lnTo>
                  <a:lnTo>
                    <a:pt x="1798" y="2391"/>
                  </a:lnTo>
                  <a:lnTo>
                    <a:pt x="1798" y="2389"/>
                  </a:lnTo>
                  <a:lnTo>
                    <a:pt x="1799" y="2388"/>
                  </a:lnTo>
                  <a:lnTo>
                    <a:pt x="1799" y="2385"/>
                  </a:lnTo>
                  <a:lnTo>
                    <a:pt x="1801" y="2381"/>
                  </a:lnTo>
                  <a:lnTo>
                    <a:pt x="1803" y="2374"/>
                  </a:lnTo>
                  <a:lnTo>
                    <a:pt x="1806" y="2363"/>
                  </a:lnTo>
                  <a:lnTo>
                    <a:pt x="1809" y="2350"/>
                  </a:lnTo>
                  <a:lnTo>
                    <a:pt x="1813" y="2332"/>
                  </a:lnTo>
                  <a:lnTo>
                    <a:pt x="1820" y="2311"/>
                  </a:lnTo>
                  <a:lnTo>
                    <a:pt x="1826" y="2284"/>
                  </a:lnTo>
                  <a:lnTo>
                    <a:pt x="1834" y="2253"/>
                  </a:lnTo>
                  <a:lnTo>
                    <a:pt x="1844" y="2216"/>
                  </a:lnTo>
                  <a:lnTo>
                    <a:pt x="1877" y="2232"/>
                  </a:lnTo>
                  <a:lnTo>
                    <a:pt x="1914" y="2247"/>
                  </a:lnTo>
                  <a:lnTo>
                    <a:pt x="1954" y="2261"/>
                  </a:lnTo>
                  <a:lnTo>
                    <a:pt x="1998" y="2271"/>
                  </a:lnTo>
                  <a:lnTo>
                    <a:pt x="2043" y="2278"/>
                  </a:lnTo>
                  <a:lnTo>
                    <a:pt x="2090" y="2280"/>
                  </a:lnTo>
                  <a:lnTo>
                    <a:pt x="2122" y="2279"/>
                  </a:lnTo>
                  <a:lnTo>
                    <a:pt x="2149" y="2275"/>
                  </a:lnTo>
                  <a:lnTo>
                    <a:pt x="2174" y="2267"/>
                  </a:lnTo>
                  <a:lnTo>
                    <a:pt x="2195" y="2257"/>
                  </a:lnTo>
                  <a:lnTo>
                    <a:pt x="2211" y="2244"/>
                  </a:lnTo>
                  <a:lnTo>
                    <a:pt x="2223" y="2229"/>
                  </a:lnTo>
                  <a:lnTo>
                    <a:pt x="2231" y="2210"/>
                  </a:lnTo>
                  <a:lnTo>
                    <a:pt x="2234" y="2189"/>
                  </a:lnTo>
                  <a:lnTo>
                    <a:pt x="2232" y="2169"/>
                  </a:lnTo>
                  <a:lnTo>
                    <a:pt x="2225" y="2150"/>
                  </a:lnTo>
                  <a:lnTo>
                    <a:pt x="2213" y="2133"/>
                  </a:lnTo>
                  <a:lnTo>
                    <a:pt x="2196" y="2117"/>
                  </a:lnTo>
                  <a:lnTo>
                    <a:pt x="2175" y="2102"/>
                  </a:lnTo>
                  <a:lnTo>
                    <a:pt x="2147" y="2087"/>
                  </a:lnTo>
                  <a:lnTo>
                    <a:pt x="2114" y="2073"/>
                  </a:lnTo>
                  <a:lnTo>
                    <a:pt x="2076" y="2061"/>
                  </a:lnTo>
                  <a:lnTo>
                    <a:pt x="2038" y="2046"/>
                  </a:lnTo>
                  <a:lnTo>
                    <a:pt x="2002" y="2031"/>
                  </a:lnTo>
                  <a:lnTo>
                    <a:pt x="1968" y="2014"/>
                  </a:lnTo>
                  <a:lnTo>
                    <a:pt x="1936" y="1997"/>
                  </a:lnTo>
                  <a:lnTo>
                    <a:pt x="1909" y="1978"/>
                  </a:lnTo>
                  <a:lnTo>
                    <a:pt x="1883" y="1957"/>
                  </a:lnTo>
                  <a:lnTo>
                    <a:pt x="1861" y="1934"/>
                  </a:lnTo>
                  <a:lnTo>
                    <a:pt x="1843" y="1910"/>
                  </a:lnTo>
                  <a:lnTo>
                    <a:pt x="1828" y="1882"/>
                  </a:lnTo>
                  <a:lnTo>
                    <a:pt x="1817" y="1854"/>
                  </a:lnTo>
                  <a:lnTo>
                    <a:pt x="1810" y="1822"/>
                  </a:lnTo>
                  <a:lnTo>
                    <a:pt x="1808" y="1787"/>
                  </a:lnTo>
                  <a:lnTo>
                    <a:pt x="1811" y="1749"/>
                  </a:lnTo>
                  <a:lnTo>
                    <a:pt x="1820" y="1712"/>
                  </a:lnTo>
                  <a:lnTo>
                    <a:pt x="1832" y="1678"/>
                  </a:lnTo>
                  <a:lnTo>
                    <a:pt x="1851" y="1646"/>
                  </a:lnTo>
                  <a:lnTo>
                    <a:pt x="1875" y="1616"/>
                  </a:lnTo>
                  <a:lnTo>
                    <a:pt x="1902" y="1591"/>
                  </a:lnTo>
                  <a:lnTo>
                    <a:pt x="1935" y="1568"/>
                  </a:lnTo>
                  <a:lnTo>
                    <a:pt x="1972" y="1548"/>
                  </a:lnTo>
                  <a:lnTo>
                    <a:pt x="2014" y="1533"/>
                  </a:lnTo>
                  <a:lnTo>
                    <a:pt x="2059" y="1522"/>
                  </a:lnTo>
                  <a:lnTo>
                    <a:pt x="2059" y="1522"/>
                  </a:lnTo>
                  <a:lnTo>
                    <a:pt x="2059" y="1521"/>
                  </a:lnTo>
                  <a:lnTo>
                    <a:pt x="2059" y="1518"/>
                  </a:lnTo>
                  <a:lnTo>
                    <a:pt x="2059" y="1473"/>
                  </a:lnTo>
                  <a:lnTo>
                    <a:pt x="2059" y="1449"/>
                  </a:lnTo>
                  <a:lnTo>
                    <a:pt x="2059" y="1419"/>
                  </a:lnTo>
                  <a:lnTo>
                    <a:pt x="2059" y="1380"/>
                  </a:lnTo>
                  <a:lnTo>
                    <a:pt x="2059" y="1380"/>
                  </a:lnTo>
                  <a:close/>
                  <a:moveTo>
                    <a:pt x="1364" y="1380"/>
                  </a:moveTo>
                  <a:lnTo>
                    <a:pt x="1365" y="1380"/>
                  </a:lnTo>
                  <a:lnTo>
                    <a:pt x="1402" y="1380"/>
                  </a:lnTo>
                  <a:lnTo>
                    <a:pt x="1420" y="1380"/>
                  </a:lnTo>
                  <a:lnTo>
                    <a:pt x="1443" y="1380"/>
                  </a:lnTo>
                  <a:lnTo>
                    <a:pt x="1510" y="1380"/>
                  </a:lnTo>
                  <a:lnTo>
                    <a:pt x="1510" y="1381"/>
                  </a:lnTo>
                  <a:lnTo>
                    <a:pt x="1510" y="1381"/>
                  </a:lnTo>
                  <a:lnTo>
                    <a:pt x="1510" y="1384"/>
                  </a:lnTo>
                  <a:lnTo>
                    <a:pt x="1510" y="1425"/>
                  </a:lnTo>
                  <a:lnTo>
                    <a:pt x="1510" y="1448"/>
                  </a:lnTo>
                  <a:lnTo>
                    <a:pt x="1510" y="1476"/>
                  </a:lnTo>
                  <a:lnTo>
                    <a:pt x="1510" y="1512"/>
                  </a:lnTo>
                  <a:lnTo>
                    <a:pt x="1558" y="1516"/>
                  </a:lnTo>
                  <a:lnTo>
                    <a:pt x="1599" y="1522"/>
                  </a:lnTo>
                  <a:lnTo>
                    <a:pt x="1637" y="1530"/>
                  </a:lnTo>
                  <a:lnTo>
                    <a:pt x="1670" y="1540"/>
                  </a:lnTo>
                  <a:lnTo>
                    <a:pt x="1700" y="1551"/>
                  </a:lnTo>
                  <a:lnTo>
                    <a:pt x="1725" y="1562"/>
                  </a:lnTo>
                  <a:lnTo>
                    <a:pt x="1725" y="1562"/>
                  </a:lnTo>
                  <a:lnTo>
                    <a:pt x="1725" y="1563"/>
                  </a:lnTo>
                  <a:lnTo>
                    <a:pt x="1724" y="1564"/>
                  </a:lnTo>
                  <a:lnTo>
                    <a:pt x="1724" y="1568"/>
                  </a:lnTo>
                  <a:lnTo>
                    <a:pt x="1722" y="1572"/>
                  </a:lnTo>
                  <a:lnTo>
                    <a:pt x="1721" y="1579"/>
                  </a:lnTo>
                  <a:lnTo>
                    <a:pt x="1718" y="1589"/>
                  </a:lnTo>
                  <a:lnTo>
                    <a:pt x="1715" y="1601"/>
                  </a:lnTo>
                  <a:lnTo>
                    <a:pt x="1710" y="1617"/>
                  </a:lnTo>
                  <a:lnTo>
                    <a:pt x="1705" y="1639"/>
                  </a:lnTo>
                  <a:lnTo>
                    <a:pt x="1699" y="1664"/>
                  </a:lnTo>
                  <a:lnTo>
                    <a:pt x="1691" y="1694"/>
                  </a:lnTo>
                  <a:lnTo>
                    <a:pt x="1682" y="1730"/>
                  </a:lnTo>
                  <a:lnTo>
                    <a:pt x="1666" y="1722"/>
                  </a:lnTo>
                  <a:lnTo>
                    <a:pt x="1648" y="1715"/>
                  </a:lnTo>
                  <a:lnTo>
                    <a:pt x="1625" y="1706"/>
                  </a:lnTo>
                  <a:lnTo>
                    <a:pt x="1600" y="1698"/>
                  </a:lnTo>
                  <a:lnTo>
                    <a:pt x="1572" y="1691"/>
                  </a:lnTo>
                  <a:lnTo>
                    <a:pt x="1542" y="1685"/>
                  </a:lnTo>
                  <a:lnTo>
                    <a:pt x="1507" y="1681"/>
                  </a:lnTo>
                  <a:lnTo>
                    <a:pt x="1469" y="1680"/>
                  </a:lnTo>
                  <a:lnTo>
                    <a:pt x="1439" y="1681"/>
                  </a:lnTo>
                  <a:lnTo>
                    <a:pt x="1413" y="1685"/>
                  </a:lnTo>
                  <a:lnTo>
                    <a:pt x="1392" y="1692"/>
                  </a:lnTo>
                  <a:lnTo>
                    <a:pt x="1374" y="1700"/>
                  </a:lnTo>
                  <a:lnTo>
                    <a:pt x="1361" y="1711"/>
                  </a:lnTo>
                  <a:lnTo>
                    <a:pt x="1352" y="1721"/>
                  </a:lnTo>
                  <a:lnTo>
                    <a:pt x="1344" y="1734"/>
                  </a:lnTo>
                  <a:lnTo>
                    <a:pt x="1341" y="1748"/>
                  </a:lnTo>
                  <a:lnTo>
                    <a:pt x="1340" y="1761"/>
                  </a:lnTo>
                  <a:lnTo>
                    <a:pt x="1341" y="1777"/>
                  </a:lnTo>
                  <a:lnTo>
                    <a:pt x="1348" y="1792"/>
                  </a:lnTo>
                  <a:lnTo>
                    <a:pt x="1358" y="1806"/>
                  </a:lnTo>
                  <a:lnTo>
                    <a:pt x="1373" y="1820"/>
                  </a:lnTo>
                  <a:lnTo>
                    <a:pt x="1392" y="1833"/>
                  </a:lnTo>
                  <a:lnTo>
                    <a:pt x="1417" y="1846"/>
                  </a:lnTo>
                  <a:lnTo>
                    <a:pt x="1445" y="1860"/>
                  </a:lnTo>
                  <a:lnTo>
                    <a:pt x="1479" y="1875"/>
                  </a:lnTo>
                  <a:lnTo>
                    <a:pt x="1519" y="1890"/>
                  </a:lnTo>
                  <a:lnTo>
                    <a:pt x="1569" y="1909"/>
                  </a:lnTo>
                  <a:lnTo>
                    <a:pt x="1613" y="1930"/>
                  </a:lnTo>
                  <a:lnTo>
                    <a:pt x="1651" y="1952"/>
                  </a:lnTo>
                  <a:lnTo>
                    <a:pt x="1683" y="1976"/>
                  </a:lnTo>
                  <a:lnTo>
                    <a:pt x="1710" y="2002"/>
                  </a:lnTo>
                  <a:lnTo>
                    <a:pt x="1732" y="2030"/>
                  </a:lnTo>
                  <a:lnTo>
                    <a:pt x="1747" y="2061"/>
                  </a:lnTo>
                  <a:lnTo>
                    <a:pt x="1759" y="2094"/>
                  </a:lnTo>
                  <a:lnTo>
                    <a:pt x="1765" y="2130"/>
                  </a:lnTo>
                  <a:lnTo>
                    <a:pt x="1768" y="2168"/>
                  </a:lnTo>
                  <a:lnTo>
                    <a:pt x="1765" y="2203"/>
                  </a:lnTo>
                  <a:lnTo>
                    <a:pt x="1759" y="2238"/>
                  </a:lnTo>
                  <a:lnTo>
                    <a:pt x="1747" y="2271"/>
                  </a:lnTo>
                  <a:lnTo>
                    <a:pt x="1732" y="2301"/>
                  </a:lnTo>
                  <a:lnTo>
                    <a:pt x="1710" y="2330"/>
                  </a:lnTo>
                  <a:lnTo>
                    <a:pt x="1686" y="2357"/>
                  </a:lnTo>
                  <a:lnTo>
                    <a:pt x="1657" y="2381"/>
                  </a:lnTo>
                  <a:lnTo>
                    <a:pt x="1624" y="2402"/>
                  </a:lnTo>
                  <a:lnTo>
                    <a:pt x="1587" y="2419"/>
                  </a:lnTo>
                  <a:lnTo>
                    <a:pt x="1547" y="2433"/>
                  </a:lnTo>
                  <a:lnTo>
                    <a:pt x="1502" y="2444"/>
                  </a:lnTo>
                  <a:lnTo>
                    <a:pt x="1502" y="2444"/>
                  </a:lnTo>
                  <a:lnTo>
                    <a:pt x="1502" y="2445"/>
                  </a:lnTo>
                  <a:lnTo>
                    <a:pt x="1502" y="2447"/>
                  </a:lnTo>
                  <a:lnTo>
                    <a:pt x="1502" y="2451"/>
                  </a:lnTo>
                  <a:lnTo>
                    <a:pt x="1502" y="2457"/>
                  </a:lnTo>
                  <a:lnTo>
                    <a:pt x="1502" y="2468"/>
                  </a:lnTo>
                  <a:lnTo>
                    <a:pt x="1502" y="2482"/>
                  </a:lnTo>
                  <a:lnTo>
                    <a:pt x="1502" y="2501"/>
                  </a:lnTo>
                  <a:lnTo>
                    <a:pt x="1502" y="2526"/>
                  </a:lnTo>
                  <a:lnTo>
                    <a:pt x="1502" y="2594"/>
                  </a:lnTo>
                  <a:lnTo>
                    <a:pt x="1502" y="2594"/>
                  </a:lnTo>
                  <a:lnTo>
                    <a:pt x="1501" y="2594"/>
                  </a:lnTo>
                  <a:lnTo>
                    <a:pt x="1499" y="2594"/>
                  </a:lnTo>
                  <a:lnTo>
                    <a:pt x="1495" y="2594"/>
                  </a:lnTo>
                  <a:lnTo>
                    <a:pt x="1489" y="2594"/>
                  </a:lnTo>
                  <a:lnTo>
                    <a:pt x="1479" y="2594"/>
                  </a:lnTo>
                  <a:lnTo>
                    <a:pt x="1464" y="2594"/>
                  </a:lnTo>
                  <a:lnTo>
                    <a:pt x="1446" y="2594"/>
                  </a:lnTo>
                  <a:lnTo>
                    <a:pt x="1423" y="2594"/>
                  </a:lnTo>
                  <a:lnTo>
                    <a:pt x="1393" y="2594"/>
                  </a:lnTo>
                  <a:lnTo>
                    <a:pt x="1356" y="2594"/>
                  </a:lnTo>
                  <a:lnTo>
                    <a:pt x="1356" y="2453"/>
                  </a:lnTo>
                  <a:lnTo>
                    <a:pt x="1306" y="2450"/>
                  </a:lnTo>
                  <a:lnTo>
                    <a:pt x="1259" y="2442"/>
                  </a:lnTo>
                  <a:lnTo>
                    <a:pt x="1213" y="2432"/>
                  </a:lnTo>
                  <a:lnTo>
                    <a:pt x="1172" y="2420"/>
                  </a:lnTo>
                  <a:lnTo>
                    <a:pt x="1135" y="2405"/>
                  </a:lnTo>
                  <a:lnTo>
                    <a:pt x="1103" y="2391"/>
                  </a:lnTo>
                  <a:lnTo>
                    <a:pt x="1103" y="2391"/>
                  </a:lnTo>
                  <a:lnTo>
                    <a:pt x="1103" y="2389"/>
                  </a:lnTo>
                  <a:lnTo>
                    <a:pt x="1104" y="2388"/>
                  </a:lnTo>
                  <a:lnTo>
                    <a:pt x="1104" y="2385"/>
                  </a:lnTo>
                  <a:lnTo>
                    <a:pt x="1106" y="2381"/>
                  </a:lnTo>
                  <a:lnTo>
                    <a:pt x="1107" y="2374"/>
                  </a:lnTo>
                  <a:lnTo>
                    <a:pt x="1110" y="2363"/>
                  </a:lnTo>
                  <a:lnTo>
                    <a:pt x="1113" y="2350"/>
                  </a:lnTo>
                  <a:lnTo>
                    <a:pt x="1118" y="2332"/>
                  </a:lnTo>
                  <a:lnTo>
                    <a:pt x="1124" y="2311"/>
                  </a:lnTo>
                  <a:lnTo>
                    <a:pt x="1130" y="2284"/>
                  </a:lnTo>
                  <a:lnTo>
                    <a:pt x="1139" y="2253"/>
                  </a:lnTo>
                  <a:lnTo>
                    <a:pt x="1148" y="2216"/>
                  </a:lnTo>
                  <a:lnTo>
                    <a:pt x="1181" y="2232"/>
                  </a:lnTo>
                  <a:lnTo>
                    <a:pt x="1218" y="2247"/>
                  </a:lnTo>
                  <a:lnTo>
                    <a:pt x="1259" y="2261"/>
                  </a:lnTo>
                  <a:lnTo>
                    <a:pt x="1302" y="2271"/>
                  </a:lnTo>
                  <a:lnTo>
                    <a:pt x="1348" y="2278"/>
                  </a:lnTo>
                  <a:lnTo>
                    <a:pt x="1394" y="2280"/>
                  </a:lnTo>
                  <a:lnTo>
                    <a:pt x="1426" y="2279"/>
                  </a:lnTo>
                  <a:lnTo>
                    <a:pt x="1454" y="2275"/>
                  </a:lnTo>
                  <a:lnTo>
                    <a:pt x="1478" y="2267"/>
                  </a:lnTo>
                  <a:lnTo>
                    <a:pt x="1499" y="2257"/>
                  </a:lnTo>
                  <a:lnTo>
                    <a:pt x="1515" y="2244"/>
                  </a:lnTo>
                  <a:lnTo>
                    <a:pt x="1528" y="2229"/>
                  </a:lnTo>
                  <a:lnTo>
                    <a:pt x="1535" y="2210"/>
                  </a:lnTo>
                  <a:lnTo>
                    <a:pt x="1539" y="2189"/>
                  </a:lnTo>
                  <a:lnTo>
                    <a:pt x="1536" y="2169"/>
                  </a:lnTo>
                  <a:lnTo>
                    <a:pt x="1529" y="2150"/>
                  </a:lnTo>
                  <a:lnTo>
                    <a:pt x="1517" y="2133"/>
                  </a:lnTo>
                  <a:lnTo>
                    <a:pt x="1500" y="2117"/>
                  </a:lnTo>
                  <a:lnTo>
                    <a:pt x="1479" y="2102"/>
                  </a:lnTo>
                  <a:lnTo>
                    <a:pt x="1452" y="2087"/>
                  </a:lnTo>
                  <a:lnTo>
                    <a:pt x="1419" y="2073"/>
                  </a:lnTo>
                  <a:lnTo>
                    <a:pt x="1381" y="2061"/>
                  </a:lnTo>
                  <a:lnTo>
                    <a:pt x="1342" y="2046"/>
                  </a:lnTo>
                  <a:lnTo>
                    <a:pt x="1305" y="2031"/>
                  </a:lnTo>
                  <a:lnTo>
                    <a:pt x="1272" y="2014"/>
                  </a:lnTo>
                  <a:lnTo>
                    <a:pt x="1241" y="1997"/>
                  </a:lnTo>
                  <a:lnTo>
                    <a:pt x="1212" y="1978"/>
                  </a:lnTo>
                  <a:lnTo>
                    <a:pt x="1188" y="1957"/>
                  </a:lnTo>
                  <a:lnTo>
                    <a:pt x="1165" y="1934"/>
                  </a:lnTo>
                  <a:lnTo>
                    <a:pt x="1147" y="1910"/>
                  </a:lnTo>
                  <a:lnTo>
                    <a:pt x="1132" y="1882"/>
                  </a:lnTo>
                  <a:lnTo>
                    <a:pt x="1122" y="1854"/>
                  </a:lnTo>
                  <a:lnTo>
                    <a:pt x="1114" y="1822"/>
                  </a:lnTo>
                  <a:lnTo>
                    <a:pt x="1112" y="1787"/>
                  </a:lnTo>
                  <a:lnTo>
                    <a:pt x="1115" y="1749"/>
                  </a:lnTo>
                  <a:lnTo>
                    <a:pt x="1124" y="1712"/>
                  </a:lnTo>
                  <a:lnTo>
                    <a:pt x="1137" y="1678"/>
                  </a:lnTo>
                  <a:lnTo>
                    <a:pt x="1156" y="1646"/>
                  </a:lnTo>
                  <a:lnTo>
                    <a:pt x="1179" y="1616"/>
                  </a:lnTo>
                  <a:lnTo>
                    <a:pt x="1207" y="1591"/>
                  </a:lnTo>
                  <a:lnTo>
                    <a:pt x="1240" y="1568"/>
                  </a:lnTo>
                  <a:lnTo>
                    <a:pt x="1277" y="1548"/>
                  </a:lnTo>
                  <a:lnTo>
                    <a:pt x="1318" y="1533"/>
                  </a:lnTo>
                  <a:lnTo>
                    <a:pt x="1364" y="1522"/>
                  </a:lnTo>
                  <a:lnTo>
                    <a:pt x="1364" y="1380"/>
                  </a:lnTo>
                  <a:lnTo>
                    <a:pt x="1364" y="1380"/>
                  </a:lnTo>
                  <a:close/>
                  <a:moveTo>
                    <a:pt x="1738" y="241"/>
                  </a:moveTo>
                  <a:lnTo>
                    <a:pt x="1739" y="241"/>
                  </a:lnTo>
                  <a:lnTo>
                    <a:pt x="1752" y="241"/>
                  </a:lnTo>
                  <a:lnTo>
                    <a:pt x="1761" y="241"/>
                  </a:lnTo>
                  <a:lnTo>
                    <a:pt x="1776" y="241"/>
                  </a:lnTo>
                  <a:lnTo>
                    <a:pt x="1794" y="241"/>
                  </a:lnTo>
                  <a:lnTo>
                    <a:pt x="1817" y="241"/>
                  </a:lnTo>
                  <a:lnTo>
                    <a:pt x="1847" y="241"/>
                  </a:lnTo>
                  <a:lnTo>
                    <a:pt x="1884" y="241"/>
                  </a:lnTo>
                  <a:lnTo>
                    <a:pt x="1884" y="372"/>
                  </a:lnTo>
                  <a:lnTo>
                    <a:pt x="1931" y="376"/>
                  </a:lnTo>
                  <a:lnTo>
                    <a:pt x="1973" y="383"/>
                  </a:lnTo>
                  <a:lnTo>
                    <a:pt x="2011" y="390"/>
                  </a:lnTo>
                  <a:lnTo>
                    <a:pt x="2044" y="400"/>
                  </a:lnTo>
                  <a:lnTo>
                    <a:pt x="2074" y="411"/>
                  </a:lnTo>
                  <a:lnTo>
                    <a:pt x="2099" y="423"/>
                  </a:lnTo>
                  <a:lnTo>
                    <a:pt x="2099" y="423"/>
                  </a:lnTo>
                  <a:lnTo>
                    <a:pt x="2099" y="423"/>
                  </a:lnTo>
                  <a:lnTo>
                    <a:pt x="2098" y="425"/>
                  </a:lnTo>
                  <a:lnTo>
                    <a:pt x="2098" y="427"/>
                  </a:lnTo>
                  <a:lnTo>
                    <a:pt x="2096" y="433"/>
                  </a:lnTo>
                  <a:lnTo>
                    <a:pt x="2095" y="439"/>
                  </a:lnTo>
                  <a:lnTo>
                    <a:pt x="2092" y="449"/>
                  </a:lnTo>
                  <a:lnTo>
                    <a:pt x="2089" y="462"/>
                  </a:lnTo>
                  <a:lnTo>
                    <a:pt x="2085" y="478"/>
                  </a:lnTo>
                  <a:lnTo>
                    <a:pt x="2079" y="500"/>
                  </a:lnTo>
                  <a:lnTo>
                    <a:pt x="2073" y="524"/>
                  </a:lnTo>
                  <a:lnTo>
                    <a:pt x="2066" y="555"/>
                  </a:lnTo>
                  <a:lnTo>
                    <a:pt x="2056" y="591"/>
                  </a:lnTo>
                  <a:lnTo>
                    <a:pt x="2040" y="583"/>
                  </a:lnTo>
                  <a:lnTo>
                    <a:pt x="2022" y="576"/>
                  </a:lnTo>
                  <a:lnTo>
                    <a:pt x="2000" y="567"/>
                  </a:lnTo>
                  <a:lnTo>
                    <a:pt x="1974" y="559"/>
                  </a:lnTo>
                  <a:lnTo>
                    <a:pt x="1947" y="551"/>
                  </a:lnTo>
                  <a:lnTo>
                    <a:pt x="1916" y="546"/>
                  </a:lnTo>
                  <a:lnTo>
                    <a:pt x="1881" y="542"/>
                  </a:lnTo>
                  <a:lnTo>
                    <a:pt x="1843" y="540"/>
                  </a:lnTo>
                  <a:lnTo>
                    <a:pt x="1813" y="542"/>
                  </a:lnTo>
                  <a:lnTo>
                    <a:pt x="1788" y="546"/>
                  </a:lnTo>
                  <a:lnTo>
                    <a:pt x="1766" y="553"/>
                  </a:lnTo>
                  <a:lnTo>
                    <a:pt x="1748" y="561"/>
                  </a:lnTo>
                  <a:lnTo>
                    <a:pt x="1736" y="571"/>
                  </a:lnTo>
                  <a:lnTo>
                    <a:pt x="1726" y="582"/>
                  </a:lnTo>
                  <a:lnTo>
                    <a:pt x="1719" y="595"/>
                  </a:lnTo>
                  <a:lnTo>
                    <a:pt x="1716" y="608"/>
                  </a:lnTo>
                  <a:lnTo>
                    <a:pt x="1713" y="621"/>
                  </a:lnTo>
                  <a:lnTo>
                    <a:pt x="1716" y="637"/>
                  </a:lnTo>
                  <a:lnTo>
                    <a:pt x="1722" y="652"/>
                  </a:lnTo>
                  <a:lnTo>
                    <a:pt x="1733" y="667"/>
                  </a:lnTo>
                  <a:lnTo>
                    <a:pt x="1747" y="681"/>
                  </a:lnTo>
                  <a:lnTo>
                    <a:pt x="1766" y="694"/>
                  </a:lnTo>
                  <a:lnTo>
                    <a:pt x="1791" y="707"/>
                  </a:lnTo>
                  <a:lnTo>
                    <a:pt x="1820" y="721"/>
                  </a:lnTo>
                  <a:lnTo>
                    <a:pt x="1853" y="736"/>
                  </a:lnTo>
                  <a:lnTo>
                    <a:pt x="1894" y="751"/>
                  </a:lnTo>
                  <a:lnTo>
                    <a:pt x="1944" y="770"/>
                  </a:lnTo>
                  <a:lnTo>
                    <a:pt x="1987" y="791"/>
                  </a:lnTo>
                  <a:lnTo>
                    <a:pt x="2025" y="813"/>
                  </a:lnTo>
                  <a:lnTo>
                    <a:pt x="2057" y="837"/>
                  </a:lnTo>
                  <a:lnTo>
                    <a:pt x="2085" y="863"/>
                  </a:lnTo>
                  <a:lnTo>
                    <a:pt x="2106" y="891"/>
                  </a:lnTo>
                  <a:lnTo>
                    <a:pt x="2122" y="922"/>
                  </a:lnTo>
                  <a:lnTo>
                    <a:pt x="2133" y="955"/>
                  </a:lnTo>
                  <a:lnTo>
                    <a:pt x="2140" y="990"/>
                  </a:lnTo>
                  <a:lnTo>
                    <a:pt x="2142" y="1029"/>
                  </a:lnTo>
                  <a:lnTo>
                    <a:pt x="2140" y="1064"/>
                  </a:lnTo>
                  <a:lnTo>
                    <a:pt x="2133" y="1099"/>
                  </a:lnTo>
                  <a:lnTo>
                    <a:pt x="2122" y="1132"/>
                  </a:lnTo>
                  <a:lnTo>
                    <a:pt x="2106" y="1162"/>
                  </a:lnTo>
                  <a:lnTo>
                    <a:pt x="2085" y="1191"/>
                  </a:lnTo>
                  <a:lnTo>
                    <a:pt x="2060" y="1218"/>
                  </a:lnTo>
                  <a:lnTo>
                    <a:pt x="2032" y="1242"/>
                  </a:lnTo>
                  <a:lnTo>
                    <a:pt x="1999" y="1262"/>
                  </a:lnTo>
                  <a:lnTo>
                    <a:pt x="1962" y="1280"/>
                  </a:lnTo>
                  <a:lnTo>
                    <a:pt x="1921" y="1294"/>
                  </a:lnTo>
                  <a:lnTo>
                    <a:pt x="1877" y="1303"/>
                  </a:lnTo>
                  <a:lnTo>
                    <a:pt x="1877" y="1455"/>
                  </a:lnTo>
                  <a:lnTo>
                    <a:pt x="1863" y="1455"/>
                  </a:lnTo>
                  <a:lnTo>
                    <a:pt x="1853" y="1455"/>
                  </a:lnTo>
                  <a:lnTo>
                    <a:pt x="1839" y="1455"/>
                  </a:lnTo>
                  <a:lnTo>
                    <a:pt x="1797" y="1455"/>
                  </a:lnTo>
                  <a:lnTo>
                    <a:pt x="1768" y="1455"/>
                  </a:lnTo>
                  <a:lnTo>
                    <a:pt x="1730" y="1455"/>
                  </a:lnTo>
                  <a:lnTo>
                    <a:pt x="1730" y="1313"/>
                  </a:lnTo>
                  <a:lnTo>
                    <a:pt x="1681" y="1310"/>
                  </a:lnTo>
                  <a:lnTo>
                    <a:pt x="1633" y="1303"/>
                  </a:lnTo>
                  <a:lnTo>
                    <a:pt x="1587" y="1293"/>
                  </a:lnTo>
                  <a:lnTo>
                    <a:pt x="1546" y="1281"/>
                  </a:lnTo>
                  <a:lnTo>
                    <a:pt x="1509" y="1266"/>
                  </a:lnTo>
                  <a:lnTo>
                    <a:pt x="1477" y="1251"/>
                  </a:lnTo>
                  <a:lnTo>
                    <a:pt x="1477" y="1251"/>
                  </a:lnTo>
                  <a:lnTo>
                    <a:pt x="1477" y="1250"/>
                  </a:lnTo>
                  <a:lnTo>
                    <a:pt x="1478" y="1249"/>
                  </a:lnTo>
                  <a:lnTo>
                    <a:pt x="1478" y="1246"/>
                  </a:lnTo>
                  <a:lnTo>
                    <a:pt x="1480" y="1241"/>
                  </a:lnTo>
                  <a:lnTo>
                    <a:pt x="1481" y="1234"/>
                  </a:lnTo>
                  <a:lnTo>
                    <a:pt x="1484" y="1224"/>
                  </a:lnTo>
                  <a:lnTo>
                    <a:pt x="1488" y="1210"/>
                  </a:lnTo>
                  <a:lnTo>
                    <a:pt x="1492" y="1193"/>
                  </a:lnTo>
                  <a:lnTo>
                    <a:pt x="1498" y="1172"/>
                  </a:lnTo>
                  <a:lnTo>
                    <a:pt x="1505" y="1145"/>
                  </a:lnTo>
                  <a:lnTo>
                    <a:pt x="1513" y="1114"/>
                  </a:lnTo>
                  <a:lnTo>
                    <a:pt x="1523" y="1076"/>
                  </a:lnTo>
                  <a:lnTo>
                    <a:pt x="1555" y="1092"/>
                  </a:lnTo>
                  <a:lnTo>
                    <a:pt x="1593" y="1108"/>
                  </a:lnTo>
                  <a:lnTo>
                    <a:pt x="1633" y="1121"/>
                  </a:lnTo>
                  <a:lnTo>
                    <a:pt x="1676" y="1132"/>
                  </a:lnTo>
                  <a:lnTo>
                    <a:pt x="1722" y="1139"/>
                  </a:lnTo>
                  <a:lnTo>
                    <a:pt x="1769" y="1141"/>
                  </a:lnTo>
                  <a:lnTo>
                    <a:pt x="1800" y="1140"/>
                  </a:lnTo>
                  <a:lnTo>
                    <a:pt x="1828" y="1135"/>
                  </a:lnTo>
                  <a:lnTo>
                    <a:pt x="1852" y="1128"/>
                  </a:lnTo>
                  <a:lnTo>
                    <a:pt x="1874" y="1118"/>
                  </a:lnTo>
                  <a:lnTo>
                    <a:pt x="1889" y="1105"/>
                  </a:lnTo>
                  <a:lnTo>
                    <a:pt x="1902" y="1089"/>
                  </a:lnTo>
                  <a:lnTo>
                    <a:pt x="1910" y="1071"/>
                  </a:lnTo>
                  <a:lnTo>
                    <a:pt x="1913" y="1050"/>
                  </a:lnTo>
                  <a:lnTo>
                    <a:pt x="1911" y="1030"/>
                  </a:lnTo>
                  <a:lnTo>
                    <a:pt x="1903" y="1011"/>
                  </a:lnTo>
                  <a:lnTo>
                    <a:pt x="1892" y="994"/>
                  </a:lnTo>
                  <a:lnTo>
                    <a:pt x="1875" y="978"/>
                  </a:lnTo>
                  <a:lnTo>
                    <a:pt x="1853" y="962"/>
                  </a:lnTo>
                  <a:lnTo>
                    <a:pt x="1826" y="948"/>
                  </a:lnTo>
                  <a:lnTo>
                    <a:pt x="1793" y="934"/>
                  </a:lnTo>
                  <a:lnTo>
                    <a:pt x="1755" y="921"/>
                  </a:lnTo>
                  <a:lnTo>
                    <a:pt x="1717" y="907"/>
                  </a:lnTo>
                  <a:lnTo>
                    <a:pt x="1680" y="892"/>
                  </a:lnTo>
                  <a:lnTo>
                    <a:pt x="1647" y="875"/>
                  </a:lnTo>
                  <a:lnTo>
                    <a:pt x="1615" y="858"/>
                  </a:lnTo>
                  <a:lnTo>
                    <a:pt x="1586" y="839"/>
                  </a:lnTo>
                  <a:lnTo>
                    <a:pt x="1562" y="818"/>
                  </a:lnTo>
                  <a:lnTo>
                    <a:pt x="1540" y="795"/>
                  </a:lnTo>
                  <a:lnTo>
                    <a:pt x="1522" y="770"/>
                  </a:lnTo>
                  <a:lnTo>
                    <a:pt x="1507" y="743"/>
                  </a:lnTo>
                  <a:lnTo>
                    <a:pt x="1496" y="714"/>
                  </a:lnTo>
                  <a:lnTo>
                    <a:pt x="1489" y="682"/>
                  </a:lnTo>
                  <a:lnTo>
                    <a:pt x="1487" y="648"/>
                  </a:lnTo>
                  <a:lnTo>
                    <a:pt x="1490" y="610"/>
                  </a:lnTo>
                  <a:lnTo>
                    <a:pt x="1497" y="573"/>
                  </a:lnTo>
                  <a:lnTo>
                    <a:pt x="1511" y="539"/>
                  </a:lnTo>
                  <a:lnTo>
                    <a:pt x="1530" y="507"/>
                  </a:lnTo>
                  <a:lnTo>
                    <a:pt x="1553" y="477"/>
                  </a:lnTo>
                  <a:lnTo>
                    <a:pt x="1581" y="452"/>
                  </a:lnTo>
                  <a:lnTo>
                    <a:pt x="1614" y="428"/>
                  </a:lnTo>
                  <a:lnTo>
                    <a:pt x="1651" y="409"/>
                  </a:lnTo>
                  <a:lnTo>
                    <a:pt x="1692" y="393"/>
                  </a:lnTo>
                  <a:lnTo>
                    <a:pt x="1738" y="382"/>
                  </a:lnTo>
                  <a:lnTo>
                    <a:pt x="1738" y="241"/>
                  </a:lnTo>
                  <a:lnTo>
                    <a:pt x="1738" y="241"/>
                  </a:lnTo>
                  <a:close/>
                  <a:moveTo>
                    <a:pt x="1420" y="98"/>
                  </a:moveTo>
                  <a:lnTo>
                    <a:pt x="1303" y="98"/>
                  </a:lnTo>
                  <a:lnTo>
                    <a:pt x="907" y="98"/>
                  </a:lnTo>
                  <a:lnTo>
                    <a:pt x="907" y="99"/>
                  </a:lnTo>
                  <a:lnTo>
                    <a:pt x="907" y="100"/>
                  </a:lnTo>
                  <a:lnTo>
                    <a:pt x="907" y="102"/>
                  </a:lnTo>
                  <a:lnTo>
                    <a:pt x="907" y="106"/>
                  </a:lnTo>
                  <a:lnTo>
                    <a:pt x="907" y="111"/>
                  </a:lnTo>
                  <a:lnTo>
                    <a:pt x="907" y="118"/>
                  </a:lnTo>
                  <a:lnTo>
                    <a:pt x="907" y="126"/>
                  </a:lnTo>
                  <a:lnTo>
                    <a:pt x="907" y="137"/>
                  </a:lnTo>
                  <a:lnTo>
                    <a:pt x="907" y="151"/>
                  </a:lnTo>
                  <a:lnTo>
                    <a:pt x="907" y="206"/>
                  </a:lnTo>
                  <a:lnTo>
                    <a:pt x="907" y="231"/>
                  </a:lnTo>
                  <a:lnTo>
                    <a:pt x="907" y="260"/>
                  </a:lnTo>
                  <a:lnTo>
                    <a:pt x="907" y="293"/>
                  </a:lnTo>
                  <a:lnTo>
                    <a:pt x="907" y="329"/>
                  </a:lnTo>
                  <a:lnTo>
                    <a:pt x="907" y="369"/>
                  </a:lnTo>
                  <a:lnTo>
                    <a:pt x="907" y="415"/>
                  </a:lnTo>
                  <a:lnTo>
                    <a:pt x="907" y="465"/>
                  </a:lnTo>
                  <a:lnTo>
                    <a:pt x="907" y="520"/>
                  </a:lnTo>
                  <a:lnTo>
                    <a:pt x="907" y="580"/>
                  </a:lnTo>
                  <a:lnTo>
                    <a:pt x="907" y="646"/>
                  </a:lnTo>
                  <a:lnTo>
                    <a:pt x="907" y="717"/>
                  </a:lnTo>
                  <a:lnTo>
                    <a:pt x="907" y="878"/>
                  </a:lnTo>
                  <a:lnTo>
                    <a:pt x="907" y="968"/>
                  </a:lnTo>
                  <a:lnTo>
                    <a:pt x="907" y="1065"/>
                  </a:lnTo>
                  <a:lnTo>
                    <a:pt x="907" y="1168"/>
                  </a:lnTo>
                  <a:lnTo>
                    <a:pt x="907" y="1279"/>
                  </a:lnTo>
                  <a:lnTo>
                    <a:pt x="907" y="1397"/>
                  </a:lnTo>
                  <a:lnTo>
                    <a:pt x="907" y="1798"/>
                  </a:lnTo>
                  <a:lnTo>
                    <a:pt x="797" y="1798"/>
                  </a:lnTo>
                  <a:lnTo>
                    <a:pt x="768" y="1798"/>
                  </a:lnTo>
                  <a:lnTo>
                    <a:pt x="734" y="1798"/>
                  </a:lnTo>
                  <a:lnTo>
                    <a:pt x="693" y="1798"/>
                  </a:lnTo>
                  <a:lnTo>
                    <a:pt x="648" y="1798"/>
                  </a:lnTo>
                  <a:lnTo>
                    <a:pt x="596" y="1798"/>
                  </a:lnTo>
                  <a:lnTo>
                    <a:pt x="234" y="1798"/>
                  </a:lnTo>
                  <a:lnTo>
                    <a:pt x="234" y="1798"/>
                  </a:lnTo>
                  <a:lnTo>
                    <a:pt x="234" y="1798"/>
                  </a:lnTo>
                  <a:lnTo>
                    <a:pt x="235" y="1798"/>
                  </a:lnTo>
                  <a:lnTo>
                    <a:pt x="235" y="1799"/>
                  </a:lnTo>
                  <a:lnTo>
                    <a:pt x="236" y="1800"/>
                  </a:lnTo>
                  <a:lnTo>
                    <a:pt x="238" y="1801"/>
                  </a:lnTo>
                  <a:lnTo>
                    <a:pt x="240" y="1803"/>
                  </a:lnTo>
                  <a:lnTo>
                    <a:pt x="242" y="1805"/>
                  </a:lnTo>
                  <a:lnTo>
                    <a:pt x="245" y="1808"/>
                  </a:lnTo>
                  <a:lnTo>
                    <a:pt x="249" y="1812"/>
                  </a:lnTo>
                  <a:lnTo>
                    <a:pt x="254" y="1817"/>
                  </a:lnTo>
                  <a:lnTo>
                    <a:pt x="260" y="1823"/>
                  </a:lnTo>
                  <a:lnTo>
                    <a:pt x="267" y="1829"/>
                  </a:lnTo>
                  <a:lnTo>
                    <a:pt x="275" y="1838"/>
                  </a:lnTo>
                  <a:lnTo>
                    <a:pt x="284" y="1846"/>
                  </a:lnTo>
                  <a:lnTo>
                    <a:pt x="295" y="1857"/>
                  </a:lnTo>
                  <a:lnTo>
                    <a:pt x="306" y="1870"/>
                  </a:lnTo>
                  <a:lnTo>
                    <a:pt x="319" y="1882"/>
                  </a:lnTo>
                  <a:lnTo>
                    <a:pt x="335" y="1897"/>
                  </a:lnTo>
                  <a:lnTo>
                    <a:pt x="351" y="1914"/>
                  </a:lnTo>
                  <a:lnTo>
                    <a:pt x="370" y="1932"/>
                  </a:lnTo>
                  <a:lnTo>
                    <a:pt x="390" y="1952"/>
                  </a:lnTo>
                  <a:lnTo>
                    <a:pt x="412" y="1975"/>
                  </a:lnTo>
                  <a:lnTo>
                    <a:pt x="436" y="1999"/>
                  </a:lnTo>
                  <a:lnTo>
                    <a:pt x="462" y="2026"/>
                  </a:lnTo>
                  <a:lnTo>
                    <a:pt x="491" y="2054"/>
                  </a:lnTo>
                  <a:lnTo>
                    <a:pt x="522" y="2085"/>
                  </a:lnTo>
                  <a:lnTo>
                    <a:pt x="555" y="2118"/>
                  </a:lnTo>
                  <a:lnTo>
                    <a:pt x="591" y="2153"/>
                  </a:lnTo>
                  <a:lnTo>
                    <a:pt x="628" y="2191"/>
                  </a:lnTo>
                  <a:lnTo>
                    <a:pt x="669" y="2232"/>
                  </a:lnTo>
                  <a:lnTo>
                    <a:pt x="713" y="2276"/>
                  </a:lnTo>
                  <a:lnTo>
                    <a:pt x="758" y="2322"/>
                  </a:lnTo>
                  <a:lnTo>
                    <a:pt x="808" y="2371"/>
                  </a:lnTo>
                  <a:lnTo>
                    <a:pt x="860" y="2423"/>
                  </a:lnTo>
                  <a:lnTo>
                    <a:pt x="915" y="2479"/>
                  </a:lnTo>
                  <a:lnTo>
                    <a:pt x="973" y="2537"/>
                  </a:lnTo>
                  <a:lnTo>
                    <a:pt x="1035" y="2598"/>
                  </a:lnTo>
                  <a:lnTo>
                    <a:pt x="1100" y="2663"/>
                  </a:lnTo>
                  <a:lnTo>
                    <a:pt x="1167" y="2731"/>
                  </a:lnTo>
                  <a:lnTo>
                    <a:pt x="1240" y="2803"/>
                  </a:lnTo>
                  <a:lnTo>
                    <a:pt x="1315" y="2878"/>
                  </a:lnTo>
                  <a:lnTo>
                    <a:pt x="1393" y="2957"/>
                  </a:lnTo>
                  <a:lnTo>
                    <a:pt x="1476" y="3040"/>
                  </a:lnTo>
                  <a:lnTo>
                    <a:pt x="1563" y="3127"/>
                  </a:lnTo>
                  <a:lnTo>
                    <a:pt x="1653" y="3218"/>
                  </a:lnTo>
                  <a:lnTo>
                    <a:pt x="1747" y="3312"/>
                  </a:lnTo>
                  <a:lnTo>
                    <a:pt x="3262" y="1798"/>
                  </a:lnTo>
                  <a:lnTo>
                    <a:pt x="3152" y="1798"/>
                  </a:lnTo>
                  <a:lnTo>
                    <a:pt x="3123" y="1798"/>
                  </a:lnTo>
                  <a:lnTo>
                    <a:pt x="3088" y="1798"/>
                  </a:lnTo>
                  <a:lnTo>
                    <a:pt x="3048" y="1798"/>
                  </a:lnTo>
                  <a:lnTo>
                    <a:pt x="3003" y="1798"/>
                  </a:lnTo>
                  <a:lnTo>
                    <a:pt x="2951" y="1798"/>
                  </a:lnTo>
                  <a:lnTo>
                    <a:pt x="2589" y="1798"/>
                  </a:lnTo>
                  <a:lnTo>
                    <a:pt x="2589" y="1797"/>
                  </a:lnTo>
                  <a:lnTo>
                    <a:pt x="2589" y="1796"/>
                  </a:lnTo>
                  <a:lnTo>
                    <a:pt x="2589" y="1792"/>
                  </a:lnTo>
                  <a:lnTo>
                    <a:pt x="2589" y="1789"/>
                  </a:lnTo>
                  <a:lnTo>
                    <a:pt x="2589" y="1784"/>
                  </a:lnTo>
                  <a:lnTo>
                    <a:pt x="2589" y="1777"/>
                  </a:lnTo>
                  <a:lnTo>
                    <a:pt x="2589" y="1769"/>
                  </a:lnTo>
                  <a:lnTo>
                    <a:pt x="2589" y="1758"/>
                  </a:lnTo>
                  <a:lnTo>
                    <a:pt x="2589" y="1745"/>
                  </a:lnTo>
                  <a:lnTo>
                    <a:pt x="2589" y="1688"/>
                  </a:lnTo>
                  <a:lnTo>
                    <a:pt x="2589" y="1664"/>
                  </a:lnTo>
                  <a:lnTo>
                    <a:pt x="2589" y="1635"/>
                  </a:lnTo>
                  <a:lnTo>
                    <a:pt x="2589" y="1603"/>
                  </a:lnTo>
                  <a:lnTo>
                    <a:pt x="2589" y="1566"/>
                  </a:lnTo>
                  <a:lnTo>
                    <a:pt x="2589" y="1526"/>
                  </a:lnTo>
                  <a:lnTo>
                    <a:pt x="2589" y="1481"/>
                  </a:lnTo>
                  <a:lnTo>
                    <a:pt x="2589" y="1431"/>
                  </a:lnTo>
                  <a:lnTo>
                    <a:pt x="2589" y="1376"/>
                  </a:lnTo>
                  <a:lnTo>
                    <a:pt x="2589" y="1315"/>
                  </a:lnTo>
                  <a:lnTo>
                    <a:pt x="2589" y="1249"/>
                  </a:lnTo>
                  <a:lnTo>
                    <a:pt x="2589" y="1178"/>
                  </a:lnTo>
                  <a:lnTo>
                    <a:pt x="2589" y="1017"/>
                  </a:lnTo>
                  <a:lnTo>
                    <a:pt x="2589" y="927"/>
                  </a:lnTo>
                  <a:lnTo>
                    <a:pt x="2589" y="830"/>
                  </a:lnTo>
                  <a:lnTo>
                    <a:pt x="2589" y="726"/>
                  </a:lnTo>
                  <a:lnTo>
                    <a:pt x="2589" y="616"/>
                  </a:lnTo>
                  <a:lnTo>
                    <a:pt x="2589" y="498"/>
                  </a:lnTo>
                  <a:lnTo>
                    <a:pt x="2589" y="98"/>
                  </a:lnTo>
                  <a:lnTo>
                    <a:pt x="2588" y="98"/>
                  </a:lnTo>
                  <a:lnTo>
                    <a:pt x="2587" y="98"/>
                  </a:lnTo>
                  <a:lnTo>
                    <a:pt x="2585" y="98"/>
                  </a:lnTo>
                  <a:lnTo>
                    <a:pt x="2581" y="98"/>
                  </a:lnTo>
                  <a:lnTo>
                    <a:pt x="2576" y="98"/>
                  </a:lnTo>
                  <a:lnTo>
                    <a:pt x="2569" y="98"/>
                  </a:lnTo>
                  <a:lnTo>
                    <a:pt x="2561" y="98"/>
                  </a:lnTo>
                  <a:lnTo>
                    <a:pt x="2550" y="98"/>
                  </a:lnTo>
                  <a:lnTo>
                    <a:pt x="2537" y="98"/>
                  </a:lnTo>
                  <a:lnTo>
                    <a:pt x="2482" y="98"/>
                  </a:lnTo>
                  <a:lnTo>
                    <a:pt x="2457" y="98"/>
                  </a:lnTo>
                  <a:lnTo>
                    <a:pt x="2429" y="98"/>
                  </a:lnTo>
                  <a:lnTo>
                    <a:pt x="2396" y="98"/>
                  </a:lnTo>
                  <a:lnTo>
                    <a:pt x="2360" y="98"/>
                  </a:lnTo>
                  <a:lnTo>
                    <a:pt x="2320" y="98"/>
                  </a:lnTo>
                  <a:lnTo>
                    <a:pt x="2275" y="98"/>
                  </a:lnTo>
                  <a:lnTo>
                    <a:pt x="2226" y="98"/>
                  </a:lnTo>
                  <a:lnTo>
                    <a:pt x="2172" y="98"/>
                  </a:lnTo>
                  <a:lnTo>
                    <a:pt x="2112" y="98"/>
                  </a:lnTo>
                  <a:lnTo>
                    <a:pt x="2046" y="98"/>
                  </a:lnTo>
                  <a:lnTo>
                    <a:pt x="1976" y="98"/>
                  </a:lnTo>
                  <a:lnTo>
                    <a:pt x="1816" y="98"/>
                  </a:lnTo>
                  <a:lnTo>
                    <a:pt x="1727" y="98"/>
                  </a:lnTo>
                  <a:lnTo>
                    <a:pt x="1632" y="98"/>
                  </a:lnTo>
                  <a:lnTo>
                    <a:pt x="1530" y="98"/>
                  </a:lnTo>
                  <a:lnTo>
                    <a:pt x="1420" y="98"/>
                  </a:lnTo>
                  <a:close/>
                  <a:moveTo>
                    <a:pt x="809" y="0"/>
                  </a:moveTo>
                  <a:lnTo>
                    <a:pt x="813" y="0"/>
                  </a:lnTo>
                  <a:lnTo>
                    <a:pt x="814" y="0"/>
                  </a:lnTo>
                  <a:lnTo>
                    <a:pt x="819" y="0"/>
                  </a:lnTo>
                  <a:lnTo>
                    <a:pt x="826" y="0"/>
                  </a:lnTo>
                  <a:lnTo>
                    <a:pt x="939" y="0"/>
                  </a:lnTo>
                  <a:lnTo>
                    <a:pt x="975" y="0"/>
                  </a:lnTo>
                  <a:lnTo>
                    <a:pt x="1017" y="0"/>
                  </a:lnTo>
                  <a:lnTo>
                    <a:pt x="1036" y="0"/>
                  </a:lnTo>
                  <a:lnTo>
                    <a:pt x="2075" y="0"/>
                  </a:lnTo>
                  <a:lnTo>
                    <a:pt x="2103" y="0"/>
                  </a:lnTo>
                  <a:lnTo>
                    <a:pt x="2172" y="0"/>
                  </a:lnTo>
                  <a:lnTo>
                    <a:pt x="2214" y="0"/>
                  </a:lnTo>
                  <a:lnTo>
                    <a:pt x="2262" y="0"/>
                  </a:lnTo>
                  <a:lnTo>
                    <a:pt x="2316" y="0"/>
                  </a:lnTo>
                  <a:lnTo>
                    <a:pt x="2376" y="0"/>
                  </a:lnTo>
                  <a:lnTo>
                    <a:pt x="2687" y="0"/>
                  </a:lnTo>
                  <a:lnTo>
                    <a:pt x="2687" y="0"/>
                  </a:lnTo>
                  <a:lnTo>
                    <a:pt x="2687" y="1"/>
                  </a:lnTo>
                  <a:lnTo>
                    <a:pt x="2687" y="2"/>
                  </a:lnTo>
                  <a:lnTo>
                    <a:pt x="2687" y="8"/>
                  </a:lnTo>
                  <a:lnTo>
                    <a:pt x="2687" y="14"/>
                  </a:lnTo>
                  <a:lnTo>
                    <a:pt x="2687" y="22"/>
                  </a:lnTo>
                  <a:lnTo>
                    <a:pt x="2687" y="33"/>
                  </a:lnTo>
                  <a:lnTo>
                    <a:pt x="2687" y="48"/>
                  </a:lnTo>
                  <a:lnTo>
                    <a:pt x="2687" y="65"/>
                  </a:lnTo>
                  <a:lnTo>
                    <a:pt x="2687" y="86"/>
                  </a:lnTo>
                  <a:lnTo>
                    <a:pt x="2687" y="112"/>
                  </a:lnTo>
                  <a:lnTo>
                    <a:pt x="2687" y="178"/>
                  </a:lnTo>
                  <a:lnTo>
                    <a:pt x="2687" y="218"/>
                  </a:lnTo>
                  <a:lnTo>
                    <a:pt x="2687" y="265"/>
                  </a:lnTo>
                  <a:lnTo>
                    <a:pt x="2687" y="378"/>
                  </a:lnTo>
                  <a:lnTo>
                    <a:pt x="2687" y="444"/>
                  </a:lnTo>
                  <a:lnTo>
                    <a:pt x="2687" y="518"/>
                  </a:lnTo>
                  <a:lnTo>
                    <a:pt x="2687" y="1405"/>
                  </a:lnTo>
                  <a:lnTo>
                    <a:pt x="2687" y="1405"/>
                  </a:lnTo>
                  <a:lnTo>
                    <a:pt x="2687" y="1405"/>
                  </a:lnTo>
                  <a:lnTo>
                    <a:pt x="2687" y="1407"/>
                  </a:lnTo>
                  <a:lnTo>
                    <a:pt x="2687" y="1411"/>
                  </a:lnTo>
                  <a:lnTo>
                    <a:pt x="2687" y="1424"/>
                  </a:lnTo>
                  <a:lnTo>
                    <a:pt x="2687" y="1435"/>
                  </a:lnTo>
                  <a:lnTo>
                    <a:pt x="2687" y="1450"/>
                  </a:lnTo>
                  <a:lnTo>
                    <a:pt x="2687" y="1469"/>
                  </a:lnTo>
                  <a:lnTo>
                    <a:pt x="2687" y="1522"/>
                  </a:lnTo>
                  <a:lnTo>
                    <a:pt x="2687" y="1556"/>
                  </a:lnTo>
                  <a:lnTo>
                    <a:pt x="2687" y="1597"/>
                  </a:lnTo>
                  <a:lnTo>
                    <a:pt x="2687" y="1645"/>
                  </a:lnTo>
                  <a:lnTo>
                    <a:pt x="2687" y="1700"/>
                  </a:lnTo>
                  <a:lnTo>
                    <a:pt x="3496" y="1700"/>
                  </a:lnTo>
                  <a:lnTo>
                    <a:pt x="3496" y="1700"/>
                  </a:lnTo>
                  <a:lnTo>
                    <a:pt x="3496" y="1701"/>
                  </a:lnTo>
                  <a:lnTo>
                    <a:pt x="3495" y="1701"/>
                  </a:lnTo>
                  <a:lnTo>
                    <a:pt x="3493" y="1703"/>
                  </a:lnTo>
                  <a:lnTo>
                    <a:pt x="3491" y="1705"/>
                  </a:lnTo>
                  <a:lnTo>
                    <a:pt x="3487" y="1710"/>
                  </a:lnTo>
                  <a:lnTo>
                    <a:pt x="3482" y="1715"/>
                  </a:lnTo>
                  <a:lnTo>
                    <a:pt x="3475" y="1721"/>
                  </a:lnTo>
                  <a:lnTo>
                    <a:pt x="3466" y="1730"/>
                  </a:lnTo>
                  <a:lnTo>
                    <a:pt x="3456" y="1741"/>
                  </a:lnTo>
                  <a:lnTo>
                    <a:pt x="3442" y="1754"/>
                  </a:lnTo>
                  <a:lnTo>
                    <a:pt x="3426" y="1770"/>
                  </a:lnTo>
                  <a:lnTo>
                    <a:pt x="3407" y="1789"/>
                  </a:lnTo>
                  <a:lnTo>
                    <a:pt x="3385" y="1811"/>
                  </a:lnTo>
                  <a:lnTo>
                    <a:pt x="3359" y="1837"/>
                  </a:lnTo>
                  <a:lnTo>
                    <a:pt x="3329" y="1867"/>
                  </a:lnTo>
                  <a:lnTo>
                    <a:pt x="3329" y="1867"/>
                  </a:lnTo>
                  <a:lnTo>
                    <a:pt x="3329" y="1867"/>
                  </a:lnTo>
                  <a:lnTo>
                    <a:pt x="3329" y="1867"/>
                  </a:lnTo>
                  <a:lnTo>
                    <a:pt x="3329" y="1868"/>
                  </a:lnTo>
                  <a:lnTo>
                    <a:pt x="3328" y="1869"/>
                  </a:lnTo>
                  <a:lnTo>
                    <a:pt x="3326" y="1870"/>
                  </a:lnTo>
                  <a:lnTo>
                    <a:pt x="3325" y="1872"/>
                  </a:lnTo>
                  <a:lnTo>
                    <a:pt x="3322" y="1874"/>
                  </a:lnTo>
                  <a:lnTo>
                    <a:pt x="3319" y="1877"/>
                  </a:lnTo>
                  <a:lnTo>
                    <a:pt x="3316" y="1881"/>
                  </a:lnTo>
                  <a:lnTo>
                    <a:pt x="3310" y="1886"/>
                  </a:lnTo>
                  <a:lnTo>
                    <a:pt x="3305" y="1892"/>
                  </a:lnTo>
                  <a:lnTo>
                    <a:pt x="3298" y="1898"/>
                  </a:lnTo>
                  <a:lnTo>
                    <a:pt x="3290" y="1907"/>
                  </a:lnTo>
                  <a:lnTo>
                    <a:pt x="3281" y="1915"/>
                  </a:lnTo>
                  <a:lnTo>
                    <a:pt x="3270" y="1926"/>
                  </a:lnTo>
                  <a:lnTo>
                    <a:pt x="3258" y="1939"/>
                  </a:lnTo>
                  <a:lnTo>
                    <a:pt x="3245" y="1951"/>
                  </a:lnTo>
                  <a:lnTo>
                    <a:pt x="3230" y="1966"/>
                  </a:lnTo>
                  <a:lnTo>
                    <a:pt x="3213" y="1983"/>
                  </a:lnTo>
                  <a:lnTo>
                    <a:pt x="3195" y="2001"/>
                  </a:lnTo>
                  <a:lnTo>
                    <a:pt x="3175" y="2021"/>
                  </a:lnTo>
                  <a:lnTo>
                    <a:pt x="3152" y="2044"/>
                  </a:lnTo>
                  <a:lnTo>
                    <a:pt x="3128" y="2068"/>
                  </a:lnTo>
                  <a:lnTo>
                    <a:pt x="3103" y="2095"/>
                  </a:lnTo>
                  <a:lnTo>
                    <a:pt x="3074" y="2123"/>
                  </a:lnTo>
                  <a:lnTo>
                    <a:pt x="3043" y="2154"/>
                  </a:lnTo>
                  <a:lnTo>
                    <a:pt x="3010" y="2187"/>
                  </a:lnTo>
                  <a:lnTo>
                    <a:pt x="2974" y="2222"/>
                  </a:lnTo>
                  <a:lnTo>
                    <a:pt x="2936" y="2260"/>
                  </a:lnTo>
                  <a:lnTo>
                    <a:pt x="2896" y="2301"/>
                  </a:lnTo>
                  <a:lnTo>
                    <a:pt x="2852" y="2345"/>
                  </a:lnTo>
                  <a:lnTo>
                    <a:pt x="2806" y="2391"/>
                  </a:lnTo>
                  <a:lnTo>
                    <a:pt x="2757" y="2439"/>
                  </a:lnTo>
                  <a:lnTo>
                    <a:pt x="2705" y="2492"/>
                  </a:lnTo>
                  <a:lnTo>
                    <a:pt x="2650" y="2547"/>
                  </a:lnTo>
                  <a:lnTo>
                    <a:pt x="2591" y="2605"/>
                  </a:lnTo>
                  <a:lnTo>
                    <a:pt x="2530" y="2666"/>
                  </a:lnTo>
                  <a:lnTo>
                    <a:pt x="2465" y="2732"/>
                  </a:lnTo>
                  <a:lnTo>
                    <a:pt x="2397" y="2800"/>
                  </a:lnTo>
                  <a:lnTo>
                    <a:pt x="2325" y="2872"/>
                  </a:lnTo>
                  <a:lnTo>
                    <a:pt x="2250" y="2947"/>
                  </a:lnTo>
                  <a:lnTo>
                    <a:pt x="2172" y="3026"/>
                  </a:lnTo>
                  <a:lnTo>
                    <a:pt x="2089" y="3108"/>
                  </a:lnTo>
                  <a:lnTo>
                    <a:pt x="2002" y="3195"/>
                  </a:lnTo>
                  <a:lnTo>
                    <a:pt x="1911" y="3286"/>
                  </a:lnTo>
                  <a:lnTo>
                    <a:pt x="1816" y="3381"/>
                  </a:lnTo>
                  <a:lnTo>
                    <a:pt x="1816" y="3381"/>
                  </a:lnTo>
                  <a:lnTo>
                    <a:pt x="1816" y="3381"/>
                  </a:lnTo>
                  <a:lnTo>
                    <a:pt x="1815" y="3382"/>
                  </a:lnTo>
                  <a:lnTo>
                    <a:pt x="1812" y="3385"/>
                  </a:lnTo>
                  <a:lnTo>
                    <a:pt x="1808" y="3390"/>
                  </a:lnTo>
                  <a:lnTo>
                    <a:pt x="1801" y="3396"/>
                  </a:lnTo>
                  <a:lnTo>
                    <a:pt x="1793" y="3404"/>
                  </a:lnTo>
                  <a:lnTo>
                    <a:pt x="1781" y="3416"/>
                  </a:lnTo>
                  <a:lnTo>
                    <a:pt x="1766" y="3431"/>
                  </a:lnTo>
                  <a:lnTo>
                    <a:pt x="1747" y="3450"/>
                  </a:lnTo>
                  <a:lnTo>
                    <a:pt x="1747" y="3449"/>
                  </a:lnTo>
                  <a:lnTo>
                    <a:pt x="1747" y="3449"/>
                  </a:lnTo>
                  <a:lnTo>
                    <a:pt x="1746" y="3448"/>
                  </a:lnTo>
                  <a:lnTo>
                    <a:pt x="1743" y="3445"/>
                  </a:lnTo>
                  <a:lnTo>
                    <a:pt x="1739" y="3440"/>
                  </a:lnTo>
                  <a:lnTo>
                    <a:pt x="1733" y="3435"/>
                  </a:lnTo>
                  <a:lnTo>
                    <a:pt x="1724" y="3426"/>
                  </a:lnTo>
                  <a:lnTo>
                    <a:pt x="1712" y="3414"/>
                  </a:lnTo>
                  <a:lnTo>
                    <a:pt x="1698" y="3399"/>
                  </a:lnTo>
                  <a:lnTo>
                    <a:pt x="1680" y="3381"/>
                  </a:lnTo>
                  <a:lnTo>
                    <a:pt x="1680" y="3381"/>
                  </a:lnTo>
                  <a:lnTo>
                    <a:pt x="1678" y="3380"/>
                  </a:lnTo>
                  <a:lnTo>
                    <a:pt x="1677" y="3379"/>
                  </a:lnTo>
                  <a:lnTo>
                    <a:pt x="1676" y="3378"/>
                  </a:lnTo>
                  <a:lnTo>
                    <a:pt x="1673" y="3375"/>
                  </a:lnTo>
                  <a:lnTo>
                    <a:pt x="1670" y="3372"/>
                  </a:lnTo>
                  <a:lnTo>
                    <a:pt x="1664" y="3365"/>
                  </a:lnTo>
                  <a:lnTo>
                    <a:pt x="1656" y="3358"/>
                  </a:lnTo>
                  <a:lnTo>
                    <a:pt x="1647" y="3348"/>
                  </a:lnTo>
                  <a:lnTo>
                    <a:pt x="1635" y="3337"/>
                  </a:lnTo>
                  <a:lnTo>
                    <a:pt x="1620" y="3322"/>
                  </a:lnTo>
                  <a:lnTo>
                    <a:pt x="1602" y="3305"/>
                  </a:lnTo>
                  <a:lnTo>
                    <a:pt x="1582" y="3283"/>
                  </a:lnTo>
                  <a:lnTo>
                    <a:pt x="1558" y="3259"/>
                  </a:lnTo>
                  <a:lnTo>
                    <a:pt x="1299" y="2996"/>
                  </a:lnTo>
                  <a:lnTo>
                    <a:pt x="1299" y="2996"/>
                  </a:lnTo>
                  <a:lnTo>
                    <a:pt x="1299" y="2996"/>
                  </a:lnTo>
                  <a:lnTo>
                    <a:pt x="1298" y="2996"/>
                  </a:lnTo>
                  <a:lnTo>
                    <a:pt x="1298" y="2995"/>
                  </a:lnTo>
                  <a:lnTo>
                    <a:pt x="1297" y="2994"/>
                  </a:lnTo>
                  <a:lnTo>
                    <a:pt x="1296" y="2993"/>
                  </a:lnTo>
                  <a:lnTo>
                    <a:pt x="1294" y="2991"/>
                  </a:lnTo>
                  <a:lnTo>
                    <a:pt x="1290" y="2988"/>
                  </a:lnTo>
                  <a:lnTo>
                    <a:pt x="1287" y="2984"/>
                  </a:lnTo>
                  <a:lnTo>
                    <a:pt x="1282" y="2980"/>
                  </a:lnTo>
                  <a:lnTo>
                    <a:pt x="1277" y="2974"/>
                  </a:lnTo>
                  <a:lnTo>
                    <a:pt x="1270" y="2967"/>
                  </a:lnTo>
                  <a:lnTo>
                    <a:pt x="1263" y="2960"/>
                  </a:lnTo>
                  <a:lnTo>
                    <a:pt x="1253" y="2952"/>
                  </a:lnTo>
                  <a:lnTo>
                    <a:pt x="1244" y="2941"/>
                  </a:lnTo>
                  <a:lnTo>
                    <a:pt x="1231" y="2929"/>
                  </a:lnTo>
                  <a:lnTo>
                    <a:pt x="1218" y="2915"/>
                  </a:lnTo>
                  <a:lnTo>
                    <a:pt x="1202" y="2901"/>
                  </a:lnTo>
                  <a:lnTo>
                    <a:pt x="1186" y="2884"/>
                  </a:lnTo>
                  <a:lnTo>
                    <a:pt x="1167" y="2865"/>
                  </a:lnTo>
                  <a:lnTo>
                    <a:pt x="1146" y="2844"/>
                  </a:lnTo>
                  <a:lnTo>
                    <a:pt x="1124" y="2821"/>
                  </a:lnTo>
                  <a:lnTo>
                    <a:pt x="1098" y="2797"/>
                  </a:lnTo>
                  <a:lnTo>
                    <a:pt x="1072" y="2769"/>
                  </a:lnTo>
                  <a:lnTo>
                    <a:pt x="1042" y="2740"/>
                  </a:lnTo>
                  <a:lnTo>
                    <a:pt x="1009" y="2708"/>
                  </a:lnTo>
                  <a:lnTo>
                    <a:pt x="975" y="2674"/>
                  </a:lnTo>
                  <a:lnTo>
                    <a:pt x="938" y="2637"/>
                  </a:lnTo>
                  <a:lnTo>
                    <a:pt x="898" y="2596"/>
                  </a:lnTo>
                  <a:lnTo>
                    <a:pt x="855" y="2554"/>
                  </a:lnTo>
                  <a:lnTo>
                    <a:pt x="809" y="2508"/>
                  </a:lnTo>
                  <a:lnTo>
                    <a:pt x="760" y="2459"/>
                  </a:lnTo>
                  <a:lnTo>
                    <a:pt x="708" y="2407"/>
                  </a:lnTo>
                  <a:lnTo>
                    <a:pt x="653" y="2352"/>
                  </a:lnTo>
                  <a:lnTo>
                    <a:pt x="594" y="2293"/>
                  </a:lnTo>
                  <a:lnTo>
                    <a:pt x="532" y="2231"/>
                  </a:lnTo>
                  <a:lnTo>
                    <a:pt x="467" y="2166"/>
                  </a:lnTo>
                  <a:lnTo>
                    <a:pt x="397" y="2097"/>
                  </a:lnTo>
                  <a:lnTo>
                    <a:pt x="323" y="2024"/>
                  </a:lnTo>
                  <a:lnTo>
                    <a:pt x="247" y="1947"/>
                  </a:lnTo>
                  <a:lnTo>
                    <a:pt x="165" y="1867"/>
                  </a:lnTo>
                  <a:lnTo>
                    <a:pt x="165" y="1867"/>
                  </a:lnTo>
                  <a:lnTo>
                    <a:pt x="165" y="1867"/>
                  </a:lnTo>
                  <a:lnTo>
                    <a:pt x="164" y="1866"/>
                  </a:lnTo>
                  <a:lnTo>
                    <a:pt x="163" y="1863"/>
                  </a:lnTo>
                  <a:lnTo>
                    <a:pt x="161" y="1861"/>
                  </a:lnTo>
                  <a:lnTo>
                    <a:pt x="157" y="1858"/>
                  </a:lnTo>
                  <a:lnTo>
                    <a:pt x="152" y="1853"/>
                  </a:lnTo>
                  <a:lnTo>
                    <a:pt x="145" y="1845"/>
                  </a:lnTo>
                  <a:lnTo>
                    <a:pt x="137" y="1837"/>
                  </a:lnTo>
                  <a:lnTo>
                    <a:pt x="125" y="1826"/>
                  </a:lnTo>
                  <a:lnTo>
                    <a:pt x="112" y="1812"/>
                  </a:lnTo>
                  <a:lnTo>
                    <a:pt x="95" y="1797"/>
                  </a:lnTo>
                  <a:lnTo>
                    <a:pt x="77" y="1777"/>
                  </a:lnTo>
                  <a:lnTo>
                    <a:pt x="55" y="1755"/>
                  </a:lnTo>
                  <a:lnTo>
                    <a:pt x="30" y="1730"/>
                  </a:lnTo>
                  <a:lnTo>
                    <a:pt x="0" y="1700"/>
                  </a:lnTo>
                  <a:lnTo>
                    <a:pt x="809" y="1700"/>
                  </a:lnTo>
                  <a:lnTo>
                    <a:pt x="809" y="656"/>
                  </a:lnTo>
                  <a:lnTo>
                    <a:pt x="809" y="655"/>
                  </a:lnTo>
                  <a:lnTo>
                    <a:pt x="809" y="654"/>
                  </a:lnTo>
                  <a:lnTo>
                    <a:pt x="809" y="635"/>
                  </a:lnTo>
                  <a:lnTo>
                    <a:pt x="809" y="625"/>
                  </a:lnTo>
                  <a:lnTo>
                    <a:pt x="809" y="611"/>
                  </a:lnTo>
                  <a:lnTo>
                    <a:pt x="809" y="574"/>
                  </a:lnTo>
                  <a:lnTo>
                    <a:pt x="809" y="549"/>
                  </a:lnTo>
                  <a:lnTo>
                    <a:pt x="809" y="521"/>
                  </a:lnTo>
                  <a:lnTo>
                    <a:pt x="809" y="487"/>
                  </a:lnTo>
                  <a:lnTo>
                    <a:pt x="809" y="449"/>
                  </a:lnTo>
                  <a:lnTo>
                    <a:pt x="809" y="404"/>
                  </a:lnTo>
                  <a:lnTo>
                    <a:pt x="809" y="353"/>
                  </a:lnTo>
                  <a:lnTo>
                    <a:pt x="809" y="233"/>
                  </a:lnTo>
                  <a:lnTo>
                    <a:pt x="809" y="163"/>
                  </a:lnTo>
                  <a:lnTo>
                    <a:pt x="809" y="86"/>
                  </a:lnTo>
                  <a:lnTo>
                    <a:pt x="809" y="0"/>
                  </a:lnTo>
                  <a:close/>
                </a:path>
              </a:pathLst>
            </a:custGeom>
            <a:solidFill>
              <a:schemeClr val="accent1"/>
            </a:solidFill>
            <a:ln w="158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7" name="Group 6"/>
          <p:cNvGrpSpPr/>
          <p:nvPr/>
        </p:nvGrpSpPr>
        <p:grpSpPr>
          <a:xfrm>
            <a:off x="6843713" y="3704368"/>
            <a:ext cx="3168526" cy="632944"/>
            <a:chOff x="6843713" y="3704368"/>
            <a:chExt cx="3168526" cy="632944"/>
          </a:xfrm>
        </p:grpSpPr>
        <p:sp>
          <p:nvSpPr>
            <p:cNvPr id="1153" name="TextBox 1152"/>
            <p:cNvSpPr txBox="1"/>
            <p:nvPr/>
          </p:nvSpPr>
          <p:spPr>
            <a:xfrm>
              <a:off x="6843713" y="3704368"/>
              <a:ext cx="3168526" cy="620875"/>
            </a:xfrm>
            <a:prstGeom prst="rect">
              <a:avLst/>
            </a:prstGeom>
            <a:noFill/>
          </p:spPr>
          <p:txBody>
            <a:bodyPr wrap="square" rtlCol="0">
              <a:spAutoFit/>
            </a:bodyPr>
            <a:lstStyle/>
            <a:p>
              <a:r>
                <a:rPr lang="en-US" sz="1428" dirty="0">
                  <a:solidFill>
                    <a:srgbClr val="3C3C3C"/>
                  </a:solidFill>
                  <a:latin typeface="Segoe UI"/>
                </a:rPr>
                <a:t>Storage for OS images</a:t>
              </a:r>
            </a:p>
            <a:p>
              <a:pPr>
                <a:lnSpc>
                  <a:spcPts val="612"/>
                </a:lnSpc>
              </a:pPr>
              <a:endParaRPr lang="en-US" sz="1428" dirty="0">
                <a:solidFill>
                  <a:srgbClr val="3C3C3C"/>
                </a:solidFill>
                <a:latin typeface="Segoe UI"/>
              </a:endParaRPr>
            </a:p>
            <a:p>
              <a:r>
                <a:rPr lang="en-US" sz="1428" dirty="0">
                  <a:solidFill>
                    <a:srgbClr val="3C3C3C"/>
                  </a:solidFill>
                  <a:latin typeface="Segoe UI"/>
                </a:rPr>
                <a:t>Images to manage</a:t>
              </a:r>
            </a:p>
          </p:txBody>
        </p:sp>
        <p:sp>
          <p:nvSpPr>
            <p:cNvPr id="1176" name="Freeform 31"/>
            <p:cNvSpPr>
              <a:spLocks noEditPoints="1"/>
            </p:cNvSpPr>
            <p:nvPr/>
          </p:nvSpPr>
          <p:spPr bwMode="auto">
            <a:xfrm>
              <a:off x="8695601" y="3827626"/>
              <a:ext cx="515891" cy="509686"/>
            </a:xfrm>
            <a:custGeom>
              <a:avLst/>
              <a:gdLst>
                <a:gd name="T0" fmla="*/ 2147 w 3490"/>
                <a:gd name="T1" fmla="*/ 890 h 3450"/>
                <a:gd name="T2" fmla="*/ 2361 w 3490"/>
                <a:gd name="T3" fmla="*/ 1078 h 3450"/>
                <a:gd name="T4" fmla="*/ 2285 w 3490"/>
                <a:gd name="T5" fmla="*/ 1225 h 3450"/>
                <a:gd name="T6" fmla="*/ 1999 w 3490"/>
                <a:gd name="T7" fmla="*/ 1221 h 3450"/>
                <a:gd name="T8" fmla="*/ 2083 w 3490"/>
                <a:gd name="T9" fmla="*/ 1370 h 3450"/>
                <a:gd name="T10" fmla="*/ 2403 w 3490"/>
                <a:gd name="T11" fmla="*/ 1640 h 3450"/>
                <a:gd name="T12" fmla="*/ 2184 w 3490"/>
                <a:gd name="T13" fmla="*/ 1944 h 3450"/>
                <a:gd name="T14" fmla="*/ 2060 w 3490"/>
                <a:gd name="T15" fmla="*/ 2104 h 3450"/>
                <a:gd name="T16" fmla="*/ 1742 w 3490"/>
                <a:gd name="T17" fmla="*/ 1901 h 3450"/>
                <a:gd name="T18" fmla="*/ 1786 w 3490"/>
                <a:gd name="T19" fmla="*/ 1726 h 3450"/>
                <a:gd name="T20" fmla="*/ 2153 w 3490"/>
                <a:gd name="T21" fmla="*/ 1754 h 3450"/>
                <a:gd name="T22" fmla="*/ 2018 w 3490"/>
                <a:gd name="T23" fmla="*/ 1571 h 3450"/>
                <a:gd name="T24" fmla="*/ 1753 w 3490"/>
                <a:gd name="T25" fmla="*/ 1332 h 3450"/>
                <a:gd name="T26" fmla="*/ 2001 w 3490"/>
                <a:gd name="T27" fmla="*/ 1032 h 3450"/>
                <a:gd name="T28" fmla="*/ 1385 w 3490"/>
                <a:gd name="T29" fmla="*/ 890 h 3450"/>
                <a:gd name="T30" fmla="*/ 1507 w 3490"/>
                <a:gd name="T31" fmla="*/ 986 h 3450"/>
                <a:gd name="T32" fmla="*/ 1721 w 3490"/>
                <a:gd name="T33" fmla="*/ 1078 h 3450"/>
                <a:gd name="T34" fmla="*/ 1644 w 3490"/>
                <a:gd name="T35" fmla="*/ 1225 h 3450"/>
                <a:gd name="T36" fmla="*/ 1359 w 3490"/>
                <a:gd name="T37" fmla="*/ 1221 h 3450"/>
                <a:gd name="T38" fmla="*/ 1443 w 3490"/>
                <a:gd name="T39" fmla="*/ 1370 h 3450"/>
                <a:gd name="T40" fmla="*/ 1763 w 3490"/>
                <a:gd name="T41" fmla="*/ 1640 h 3450"/>
                <a:gd name="T42" fmla="*/ 1544 w 3490"/>
                <a:gd name="T43" fmla="*/ 1944 h 3450"/>
                <a:gd name="T44" fmla="*/ 1420 w 3490"/>
                <a:gd name="T45" fmla="*/ 2104 h 3450"/>
                <a:gd name="T46" fmla="*/ 1102 w 3490"/>
                <a:gd name="T47" fmla="*/ 1901 h 3450"/>
                <a:gd name="T48" fmla="*/ 1146 w 3490"/>
                <a:gd name="T49" fmla="*/ 1726 h 3450"/>
                <a:gd name="T50" fmla="*/ 1513 w 3490"/>
                <a:gd name="T51" fmla="*/ 1754 h 3450"/>
                <a:gd name="T52" fmla="*/ 1378 w 3490"/>
                <a:gd name="T53" fmla="*/ 1571 h 3450"/>
                <a:gd name="T54" fmla="*/ 1113 w 3490"/>
                <a:gd name="T55" fmla="*/ 1332 h 3450"/>
                <a:gd name="T56" fmla="*/ 1361 w 3490"/>
                <a:gd name="T57" fmla="*/ 1032 h 3450"/>
                <a:gd name="T58" fmla="*/ 905 w 3490"/>
                <a:gd name="T59" fmla="*/ 97 h 3450"/>
                <a:gd name="T60" fmla="*/ 905 w 3490"/>
                <a:gd name="T61" fmla="*/ 230 h 3450"/>
                <a:gd name="T62" fmla="*/ 905 w 3490"/>
                <a:gd name="T63" fmla="*/ 877 h 3450"/>
                <a:gd name="T64" fmla="*/ 234 w 3490"/>
                <a:gd name="T65" fmla="*/ 1798 h 3450"/>
                <a:gd name="T66" fmla="*/ 259 w 3490"/>
                <a:gd name="T67" fmla="*/ 1823 h 3450"/>
                <a:gd name="T68" fmla="*/ 412 w 3490"/>
                <a:gd name="T69" fmla="*/ 1975 h 3450"/>
                <a:gd name="T70" fmla="*/ 806 w 3490"/>
                <a:gd name="T71" fmla="*/ 2370 h 3450"/>
                <a:gd name="T72" fmla="*/ 1560 w 3490"/>
                <a:gd name="T73" fmla="*/ 3127 h 3450"/>
                <a:gd name="T74" fmla="*/ 2585 w 3490"/>
                <a:gd name="T75" fmla="*/ 1789 h 3450"/>
                <a:gd name="T76" fmla="*/ 2585 w 3490"/>
                <a:gd name="T77" fmla="*/ 1525 h 3450"/>
                <a:gd name="T78" fmla="*/ 2585 w 3490"/>
                <a:gd name="T79" fmla="*/ 616 h 3450"/>
                <a:gd name="T80" fmla="*/ 2532 w 3490"/>
                <a:gd name="T81" fmla="*/ 97 h 3450"/>
                <a:gd name="T82" fmla="*/ 2043 w 3490"/>
                <a:gd name="T83" fmla="*/ 97 h 3450"/>
                <a:gd name="T84" fmla="*/ 824 w 3490"/>
                <a:gd name="T85" fmla="*/ 0 h 3450"/>
                <a:gd name="T86" fmla="*/ 2371 w 3490"/>
                <a:gd name="T87" fmla="*/ 0 h 3450"/>
                <a:gd name="T88" fmla="*/ 2681 w 3490"/>
                <a:gd name="T89" fmla="*/ 86 h 3450"/>
                <a:gd name="T90" fmla="*/ 2681 w 3490"/>
                <a:gd name="T91" fmla="*/ 1407 h 3450"/>
                <a:gd name="T92" fmla="*/ 3490 w 3490"/>
                <a:gd name="T93" fmla="*/ 1700 h 3450"/>
                <a:gd name="T94" fmla="*/ 3436 w 3490"/>
                <a:gd name="T95" fmla="*/ 1754 h 3450"/>
                <a:gd name="T96" fmla="*/ 3321 w 3490"/>
                <a:gd name="T97" fmla="*/ 1870 h 3450"/>
                <a:gd name="T98" fmla="*/ 3253 w 3490"/>
                <a:gd name="T99" fmla="*/ 1938 h 3450"/>
                <a:gd name="T100" fmla="*/ 3004 w 3490"/>
                <a:gd name="T101" fmla="*/ 2187 h 3450"/>
                <a:gd name="T102" fmla="*/ 2461 w 3490"/>
                <a:gd name="T103" fmla="*/ 2732 h 3450"/>
                <a:gd name="T104" fmla="*/ 1812 w 3490"/>
                <a:gd name="T105" fmla="*/ 3383 h 3450"/>
                <a:gd name="T106" fmla="*/ 1741 w 3490"/>
                <a:gd name="T107" fmla="*/ 3446 h 3450"/>
                <a:gd name="T108" fmla="*/ 1671 w 3490"/>
                <a:gd name="T109" fmla="*/ 3376 h 3450"/>
                <a:gd name="T110" fmla="*/ 1296 w 3490"/>
                <a:gd name="T111" fmla="*/ 2996 h 3450"/>
                <a:gd name="T112" fmla="*/ 1268 w 3490"/>
                <a:gd name="T113" fmla="*/ 2967 h 3450"/>
                <a:gd name="T114" fmla="*/ 1097 w 3490"/>
                <a:gd name="T115" fmla="*/ 2797 h 3450"/>
                <a:gd name="T116" fmla="*/ 652 w 3490"/>
                <a:gd name="T117" fmla="*/ 2352 h 3450"/>
                <a:gd name="T118" fmla="*/ 163 w 3490"/>
                <a:gd name="T119" fmla="*/ 1863 h 3450"/>
                <a:gd name="T120" fmla="*/ 30 w 3490"/>
                <a:gd name="T121" fmla="*/ 1730 h 3450"/>
                <a:gd name="T122" fmla="*/ 807 w 3490"/>
                <a:gd name="T123" fmla="*/ 521 h 3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90" h="3450">
                  <a:moveTo>
                    <a:pt x="2001" y="890"/>
                  </a:moveTo>
                  <a:lnTo>
                    <a:pt x="2002" y="890"/>
                  </a:lnTo>
                  <a:lnTo>
                    <a:pt x="2004" y="890"/>
                  </a:lnTo>
                  <a:lnTo>
                    <a:pt x="2008" y="890"/>
                  </a:lnTo>
                  <a:lnTo>
                    <a:pt x="2015" y="890"/>
                  </a:lnTo>
                  <a:lnTo>
                    <a:pt x="2025" y="890"/>
                  </a:lnTo>
                  <a:lnTo>
                    <a:pt x="2039" y="890"/>
                  </a:lnTo>
                  <a:lnTo>
                    <a:pt x="2057" y="890"/>
                  </a:lnTo>
                  <a:lnTo>
                    <a:pt x="2081" y="890"/>
                  </a:lnTo>
                  <a:lnTo>
                    <a:pt x="2111" y="890"/>
                  </a:lnTo>
                  <a:lnTo>
                    <a:pt x="2147" y="890"/>
                  </a:lnTo>
                  <a:lnTo>
                    <a:pt x="2147" y="1022"/>
                  </a:lnTo>
                  <a:lnTo>
                    <a:pt x="2195" y="1026"/>
                  </a:lnTo>
                  <a:lnTo>
                    <a:pt x="2237" y="1032"/>
                  </a:lnTo>
                  <a:lnTo>
                    <a:pt x="2274" y="1040"/>
                  </a:lnTo>
                  <a:lnTo>
                    <a:pt x="2307" y="1050"/>
                  </a:lnTo>
                  <a:lnTo>
                    <a:pt x="2336" y="1061"/>
                  </a:lnTo>
                  <a:lnTo>
                    <a:pt x="2362" y="1072"/>
                  </a:lnTo>
                  <a:lnTo>
                    <a:pt x="2362" y="1072"/>
                  </a:lnTo>
                  <a:lnTo>
                    <a:pt x="2362" y="1073"/>
                  </a:lnTo>
                  <a:lnTo>
                    <a:pt x="2362" y="1074"/>
                  </a:lnTo>
                  <a:lnTo>
                    <a:pt x="2361" y="1078"/>
                  </a:lnTo>
                  <a:lnTo>
                    <a:pt x="2360" y="1082"/>
                  </a:lnTo>
                  <a:lnTo>
                    <a:pt x="2358" y="1089"/>
                  </a:lnTo>
                  <a:lnTo>
                    <a:pt x="2356" y="1099"/>
                  </a:lnTo>
                  <a:lnTo>
                    <a:pt x="2352" y="1111"/>
                  </a:lnTo>
                  <a:lnTo>
                    <a:pt x="2348" y="1127"/>
                  </a:lnTo>
                  <a:lnTo>
                    <a:pt x="2343" y="1149"/>
                  </a:lnTo>
                  <a:lnTo>
                    <a:pt x="2336" y="1174"/>
                  </a:lnTo>
                  <a:lnTo>
                    <a:pt x="2328" y="1204"/>
                  </a:lnTo>
                  <a:lnTo>
                    <a:pt x="2320" y="1240"/>
                  </a:lnTo>
                  <a:lnTo>
                    <a:pt x="2304" y="1232"/>
                  </a:lnTo>
                  <a:lnTo>
                    <a:pt x="2285" y="1225"/>
                  </a:lnTo>
                  <a:lnTo>
                    <a:pt x="2262" y="1216"/>
                  </a:lnTo>
                  <a:lnTo>
                    <a:pt x="2238" y="1208"/>
                  </a:lnTo>
                  <a:lnTo>
                    <a:pt x="2209" y="1201"/>
                  </a:lnTo>
                  <a:lnTo>
                    <a:pt x="2179" y="1195"/>
                  </a:lnTo>
                  <a:lnTo>
                    <a:pt x="2144" y="1191"/>
                  </a:lnTo>
                  <a:lnTo>
                    <a:pt x="2107" y="1190"/>
                  </a:lnTo>
                  <a:lnTo>
                    <a:pt x="2076" y="1191"/>
                  </a:lnTo>
                  <a:lnTo>
                    <a:pt x="2051" y="1195"/>
                  </a:lnTo>
                  <a:lnTo>
                    <a:pt x="2030" y="1202"/>
                  </a:lnTo>
                  <a:lnTo>
                    <a:pt x="2013" y="1210"/>
                  </a:lnTo>
                  <a:lnTo>
                    <a:pt x="1999" y="1221"/>
                  </a:lnTo>
                  <a:lnTo>
                    <a:pt x="1989" y="1231"/>
                  </a:lnTo>
                  <a:lnTo>
                    <a:pt x="1983" y="1244"/>
                  </a:lnTo>
                  <a:lnTo>
                    <a:pt x="1979" y="1258"/>
                  </a:lnTo>
                  <a:lnTo>
                    <a:pt x="1978" y="1271"/>
                  </a:lnTo>
                  <a:lnTo>
                    <a:pt x="1980" y="1288"/>
                  </a:lnTo>
                  <a:lnTo>
                    <a:pt x="1985" y="1302"/>
                  </a:lnTo>
                  <a:lnTo>
                    <a:pt x="1996" y="1316"/>
                  </a:lnTo>
                  <a:lnTo>
                    <a:pt x="2011" y="1330"/>
                  </a:lnTo>
                  <a:lnTo>
                    <a:pt x="2030" y="1343"/>
                  </a:lnTo>
                  <a:lnTo>
                    <a:pt x="2054" y="1356"/>
                  </a:lnTo>
                  <a:lnTo>
                    <a:pt x="2083" y="1370"/>
                  </a:lnTo>
                  <a:lnTo>
                    <a:pt x="2117" y="1385"/>
                  </a:lnTo>
                  <a:lnTo>
                    <a:pt x="2157" y="1400"/>
                  </a:lnTo>
                  <a:lnTo>
                    <a:pt x="2206" y="1419"/>
                  </a:lnTo>
                  <a:lnTo>
                    <a:pt x="2251" y="1440"/>
                  </a:lnTo>
                  <a:lnTo>
                    <a:pt x="2288" y="1463"/>
                  </a:lnTo>
                  <a:lnTo>
                    <a:pt x="2321" y="1486"/>
                  </a:lnTo>
                  <a:lnTo>
                    <a:pt x="2347" y="1512"/>
                  </a:lnTo>
                  <a:lnTo>
                    <a:pt x="2368" y="1540"/>
                  </a:lnTo>
                  <a:lnTo>
                    <a:pt x="2385" y="1571"/>
                  </a:lnTo>
                  <a:lnTo>
                    <a:pt x="2396" y="1604"/>
                  </a:lnTo>
                  <a:lnTo>
                    <a:pt x="2403" y="1640"/>
                  </a:lnTo>
                  <a:lnTo>
                    <a:pt x="2405" y="1678"/>
                  </a:lnTo>
                  <a:lnTo>
                    <a:pt x="2403" y="1714"/>
                  </a:lnTo>
                  <a:lnTo>
                    <a:pt x="2396" y="1748"/>
                  </a:lnTo>
                  <a:lnTo>
                    <a:pt x="2384" y="1781"/>
                  </a:lnTo>
                  <a:lnTo>
                    <a:pt x="2368" y="1811"/>
                  </a:lnTo>
                  <a:lnTo>
                    <a:pt x="2348" y="1841"/>
                  </a:lnTo>
                  <a:lnTo>
                    <a:pt x="2323" y="1868"/>
                  </a:lnTo>
                  <a:lnTo>
                    <a:pt x="2294" y="1891"/>
                  </a:lnTo>
                  <a:lnTo>
                    <a:pt x="2261" y="1912"/>
                  </a:lnTo>
                  <a:lnTo>
                    <a:pt x="2225" y="1929"/>
                  </a:lnTo>
                  <a:lnTo>
                    <a:pt x="2184" y="1944"/>
                  </a:lnTo>
                  <a:lnTo>
                    <a:pt x="2140" y="1954"/>
                  </a:lnTo>
                  <a:lnTo>
                    <a:pt x="2140" y="1967"/>
                  </a:lnTo>
                  <a:lnTo>
                    <a:pt x="2140" y="1978"/>
                  </a:lnTo>
                  <a:lnTo>
                    <a:pt x="2140" y="1993"/>
                  </a:lnTo>
                  <a:lnTo>
                    <a:pt x="2140" y="2036"/>
                  </a:lnTo>
                  <a:lnTo>
                    <a:pt x="2140" y="2067"/>
                  </a:lnTo>
                  <a:lnTo>
                    <a:pt x="2140" y="2104"/>
                  </a:lnTo>
                  <a:lnTo>
                    <a:pt x="2126" y="2104"/>
                  </a:lnTo>
                  <a:lnTo>
                    <a:pt x="2116" y="2104"/>
                  </a:lnTo>
                  <a:lnTo>
                    <a:pt x="2103" y="2104"/>
                  </a:lnTo>
                  <a:lnTo>
                    <a:pt x="2060" y="2104"/>
                  </a:lnTo>
                  <a:lnTo>
                    <a:pt x="2031" y="2104"/>
                  </a:lnTo>
                  <a:lnTo>
                    <a:pt x="1995" y="2104"/>
                  </a:lnTo>
                  <a:lnTo>
                    <a:pt x="1995" y="1963"/>
                  </a:lnTo>
                  <a:lnTo>
                    <a:pt x="1945" y="1960"/>
                  </a:lnTo>
                  <a:lnTo>
                    <a:pt x="1896" y="1952"/>
                  </a:lnTo>
                  <a:lnTo>
                    <a:pt x="1852" y="1943"/>
                  </a:lnTo>
                  <a:lnTo>
                    <a:pt x="1809" y="1930"/>
                  </a:lnTo>
                  <a:lnTo>
                    <a:pt x="1772" y="1916"/>
                  </a:lnTo>
                  <a:lnTo>
                    <a:pt x="1741" y="1901"/>
                  </a:lnTo>
                  <a:lnTo>
                    <a:pt x="1741" y="1901"/>
                  </a:lnTo>
                  <a:lnTo>
                    <a:pt x="1742" y="1901"/>
                  </a:lnTo>
                  <a:lnTo>
                    <a:pt x="1742" y="1898"/>
                  </a:lnTo>
                  <a:lnTo>
                    <a:pt x="1743" y="1895"/>
                  </a:lnTo>
                  <a:lnTo>
                    <a:pt x="1744" y="1891"/>
                  </a:lnTo>
                  <a:lnTo>
                    <a:pt x="1745" y="1884"/>
                  </a:lnTo>
                  <a:lnTo>
                    <a:pt x="1748" y="1873"/>
                  </a:lnTo>
                  <a:lnTo>
                    <a:pt x="1751" y="1860"/>
                  </a:lnTo>
                  <a:lnTo>
                    <a:pt x="1757" y="1842"/>
                  </a:lnTo>
                  <a:lnTo>
                    <a:pt x="1762" y="1821"/>
                  </a:lnTo>
                  <a:lnTo>
                    <a:pt x="1768" y="1794"/>
                  </a:lnTo>
                  <a:lnTo>
                    <a:pt x="1777" y="1764"/>
                  </a:lnTo>
                  <a:lnTo>
                    <a:pt x="1786" y="1726"/>
                  </a:lnTo>
                  <a:lnTo>
                    <a:pt x="1820" y="1742"/>
                  </a:lnTo>
                  <a:lnTo>
                    <a:pt x="1857" y="1757"/>
                  </a:lnTo>
                  <a:lnTo>
                    <a:pt x="1897" y="1771"/>
                  </a:lnTo>
                  <a:lnTo>
                    <a:pt x="1940" y="1782"/>
                  </a:lnTo>
                  <a:lnTo>
                    <a:pt x="1985" y="1788"/>
                  </a:lnTo>
                  <a:lnTo>
                    <a:pt x="2033" y="1790"/>
                  </a:lnTo>
                  <a:lnTo>
                    <a:pt x="2063" y="1789"/>
                  </a:lnTo>
                  <a:lnTo>
                    <a:pt x="2091" y="1785"/>
                  </a:lnTo>
                  <a:lnTo>
                    <a:pt x="2115" y="1777"/>
                  </a:lnTo>
                  <a:lnTo>
                    <a:pt x="2136" y="1768"/>
                  </a:lnTo>
                  <a:lnTo>
                    <a:pt x="2153" y="1754"/>
                  </a:lnTo>
                  <a:lnTo>
                    <a:pt x="2165" y="1739"/>
                  </a:lnTo>
                  <a:lnTo>
                    <a:pt x="2174" y="1720"/>
                  </a:lnTo>
                  <a:lnTo>
                    <a:pt x="2176" y="1700"/>
                  </a:lnTo>
                  <a:lnTo>
                    <a:pt x="2174" y="1679"/>
                  </a:lnTo>
                  <a:lnTo>
                    <a:pt x="2166" y="1660"/>
                  </a:lnTo>
                  <a:lnTo>
                    <a:pt x="2154" y="1643"/>
                  </a:lnTo>
                  <a:lnTo>
                    <a:pt x="2139" y="1627"/>
                  </a:lnTo>
                  <a:lnTo>
                    <a:pt x="2116" y="1612"/>
                  </a:lnTo>
                  <a:lnTo>
                    <a:pt x="2089" y="1597"/>
                  </a:lnTo>
                  <a:lnTo>
                    <a:pt x="2056" y="1583"/>
                  </a:lnTo>
                  <a:lnTo>
                    <a:pt x="2018" y="1571"/>
                  </a:lnTo>
                  <a:lnTo>
                    <a:pt x="1980" y="1556"/>
                  </a:lnTo>
                  <a:lnTo>
                    <a:pt x="1944" y="1541"/>
                  </a:lnTo>
                  <a:lnTo>
                    <a:pt x="1910" y="1525"/>
                  </a:lnTo>
                  <a:lnTo>
                    <a:pt x="1878" y="1507"/>
                  </a:lnTo>
                  <a:lnTo>
                    <a:pt x="1851" y="1488"/>
                  </a:lnTo>
                  <a:lnTo>
                    <a:pt x="1825" y="1467"/>
                  </a:lnTo>
                  <a:lnTo>
                    <a:pt x="1803" y="1444"/>
                  </a:lnTo>
                  <a:lnTo>
                    <a:pt x="1785" y="1420"/>
                  </a:lnTo>
                  <a:lnTo>
                    <a:pt x="1770" y="1393"/>
                  </a:lnTo>
                  <a:lnTo>
                    <a:pt x="1760" y="1364"/>
                  </a:lnTo>
                  <a:lnTo>
                    <a:pt x="1753" y="1332"/>
                  </a:lnTo>
                  <a:lnTo>
                    <a:pt x="1750" y="1297"/>
                  </a:lnTo>
                  <a:lnTo>
                    <a:pt x="1753" y="1259"/>
                  </a:lnTo>
                  <a:lnTo>
                    <a:pt x="1762" y="1222"/>
                  </a:lnTo>
                  <a:lnTo>
                    <a:pt x="1775" y="1188"/>
                  </a:lnTo>
                  <a:lnTo>
                    <a:pt x="1794" y="1156"/>
                  </a:lnTo>
                  <a:lnTo>
                    <a:pt x="1817" y="1126"/>
                  </a:lnTo>
                  <a:lnTo>
                    <a:pt x="1845" y="1101"/>
                  </a:lnTo>
                  <a:lnTo>
                    <a:pt x="1877" y="1078"/>
                  </a:lnTo>
                  <a:lnTo>
                    <a:pt x="1915" y="1058"/>
                  </a:lnTo>
                  <a:lnTo>
                    <a:pt x="1957" y="1043"/>
                  </a:lnTo>
                  <a:lnTo>
                    <a:pt x="2001" y="1032"/>
                  </a:lnTo>
                  <a:lnTo>
                    <a:pt x="2001" y="983"/>
                  </a:lnTo>
                  <a:lnTo>
                    <a:pt x="2001" y="959"/>
                  </a:lnTo>
                  <a:lnTo>
                    <a:pt x="2001" y="929"/>
                  </a:lnTo>
                  <a:lnTo>
                    <a:pt x="2001" y="890"/>
                  </a:lnTo>
                  <a:lnTo>
                    <a:pt x="2001" y="890"/>
                  </a:lnTo>
                  <a:close/>
                  <a:moveTo>
                    <a:pt x="1362" y="890"/>
                  </a:moveTo>
                  <a:lnTo>
                    <a:pt x="1362" y="890"/>
                  </a:lnTo>
                  <a:lnTo>
                    <a:pt x="1364" y="890"/>
                  </a:lnTo>
                  <a:lnTo>
                    <a:pt x="1368" y="890"/>
                  </a:lnTo>
                  <a:lnTo>
                    <a:pt x="1375" y="890"/>
                  </a:lnTo>
                  <a:lnTo>
                    <a:pt x="1385" y="890"/>
                  </a:lnTo>
                  <a:lnTo>
                    <a:pt x="1399" y="890"/>
                  </a:lnTo>
                  <a:lnTo>
                    <a:pt x="1417" y="890"/>
                  </a:lnTo>
                  <a:lnTo>
                    <a:pt x="1441" y="890"/>
                  </a:lnTo>
                  <a:lnTo>
                    <a:pt x="1471" y="890"/>
                  </a:lnTo>
                  <a:lnTo>
                    <a:pt x="1507" y="890"/>
                  </a:lnTo>
                  <a:lnTo>
                    <a:pt x="1507" y="891"/>
                  </a:lnTo>
                  <a:lnTo>
                    <a:pt x="1507" y="891"/>
                  </a:lnTo>
                  <a:lnTo>
                    <a:pt x="1507" y="894"/>
                  </a:lnTo>
                  <a:lnTo>
                    <a:pt x="1507" y="935"/>
                  </a:lnTo>
                  <a:lnTo>
                    <a:pt x="1507" y="958"/>
                  </a:lnTo>
                  <a:lnTo>
                    <a:pt x="1507" y="986"/>
                  </a:lnTo>
                  <a:lnTo>
                    <a:pt x="1507" y="1022"/>
                  </a:lnTo>
                  <a:lnTo>
                    <a:pt x="1554" y="1026"/>
                  </a:lnTo>
                  <a:lnTo>
                    <a:pt x="1597" y="1032"/>
                  </a:lnTo>
                  <a:lnTo>
                    <a:pt x="1634" y="1040"/>
                  </a:lnTo>
                  <a:lnTo>
                    <a:pt x="1668" y="1050"/>
                  </a:lnTo>
                  <a:lnTo>
                    <a:pt x="1696" y="1061"/>
                  </a:lnTo>
                  <a:lnTo>
                    <a:pt x="1722" y="1072"/>
                  </a:lnTo>
                  <a:lnTo>
                    <a:pt x="1722" y="1072"/>
                  </a:lnTo>
                  <a:lnTo>
                    <a:pt x="1722" y="1073"/>
                  </a:lnTo>
                  <a:lnTo>
                    <a:pt x="1722" y="1074"/>
                  </a:lnTo>
                  <a:lnTo>
                    <a:pt x="1721" y="1078"/>
                  </a:lnTo>
                  <a:lnTo>
                    <a:pt x="1720" y="1082"/>
                  </a:lnTo>
                  <a:lnTo>
                    <a:pt x="1717" y="1089"/>
                  </a:lnTo>
                  <a:lnTo>
                    <a:pt x="1715" y="1099"/>
                  </a:lnTo>
                  <a:lnTo>
                    <a:pt x="1712" y="1111"/>
                  </a:lnTo>
                  <a:lnTo>
                    <a:pt x="1708" y="1127"/>
                  </a:lnTo>
                  <a:lnTo>
                    <a:pt x="1703" y="1149"/>
                  </a:lnTo>
                  <a:lnTo>
                    <a:pt x="1696" y="1174"/>
                  </a:lnTo>
                  <a:lnTo>
                    <a:pt x="1688" y="1204"/>
                  </a:lnTo>
                  <a:lnTo>
                    <a:pt x="1679" y="1240"/>
                  </a:lnTo>
                  <a:lnTo>
                    <a:pt x="1663" y="1232"/>
                  </a:lnTo>
                  <a:lnTo>
                    <a:pt x="1644" y="1225"/>
                  </a:lnTo>
                  <a:lnTo>
                    <a:pt x="1622" y="1216"/>
                  </a:lnTo>
                  <a:lnTo>
                    <a:pt x="1598" y="1208"/>
                  </a:lnTo>
                  <a:lnTo>
                    <a:pt x="1569" y="1201"/>
                  </a:lnTo>
                  <a:lnTo>
                    <a:pt x="1539" y="1195"/>
                  </a:lnTo>
                  <a:lnTo>
                    <a:pt x="1504" y="1191"/>
                  </a:lnTo>
                  <a:lnTo>
                    <a:pt x="1467" y="1190"/>
                  </a:lnTo>
                  <a:lnTo>
                    <a:pt x="1436" y="1191"/>
                  </a:lnTo>
                  <a:lnTo>
                    <a:pt x="1411" y="1195"/>
                  </a:lnTo>
                  <a:lnTo>
                    <a:pt x="1389" y="1202"/>
                  </a:lnTo>
                  <a:lnTo>
                    <a:pt x="1372" y="1210"/>
                  </a:lnTo>
                  <a:lnTo>
                    <a:pt x="1359" y="1221"/>
                  </a:lnTo>
                  <a:lnTo>
                    <a:pt x="1349" y="1231"/>
                  </a:lnTo>
                  <a:lnTo>
                    <a:pt x="1343" y="1244"/>
                  </a:lnTo>
                  <a:lnTo>
                    <a:pt x="1339" y="1258"/>
                  </a:lnTo>
                  <a:lnTo>
                    <a:pt x="1338" y="1271"/>
                  </a:lnTo>
                  <a:lnTo>
                    <a:pt x="1340" y="1288"/>
                  </a:lnTo>
                  <a:lnTo>
                    <a:pt x="1345" y="1302"/>
                  </a:lnTo>
                  <a:lnTo>
                    <a:pt x="1356" y="1316"/>
                  </a:lnTo>
                  <a:lnTo>
                    <a:pt x="1370" y="1330"/>
                  </a:lnTo>
                  <a:lnTo>
                    <a:pt x="1389" y="1343"/>
                  </a:lnTo>
                  <a:lnTo>
                    <a:pt x="1414" y="1356"/>
                  </a:lnTo>
                  <a:lnTo>
                    <a:pt x="1443" y="1370"/>
                  </a:lnTo>
                  <a:lnTo>
                    <a:pt x="1477" y="1385"/>
                  </a:lnTo>
                  <a:lnTo>
                    <a:pt x="1516" y="1400"/>
                  </a:lnTo>
                  <a:lnTo>
                    <a:pt x="1566" y="1419"/>
                  </a:lnTo>
                  <a:lnTo>
                    <a:pt x="1611" y="1440"/>
                  </a:lnTo>
                  <a:lnTo>
                    <a:pt x="1648" y="1463"/>
                  </a:lnTo>
                  <a:lnTo>
                    <a:pt x="1680" y="1486"/>
                  </a:lnTo>
                  <a:lnTo>
                    <a:pt x="1707" y="1512"/>
                  </a:lnTo>
                  <a:lnTo>
                    <a:pt x="1728" y="1540"/>
                  </a:lnTo>
                  <a:lnTo>
                    <a:pt x="1745" y="1571"/>
                  </a:lnTo>
                  <a:lnTo>
                    <a:pt x="1756" y="1604"/>
                  </a:lnTo>
                  <a:lnTo>
                    <a:pt x="1763" y="1640"/>
                  </a:lnTo>
                  <a:lnTo>
                    <a:pt x="1765" y="1678"/>
                  </a:lnTo>
                  <a:lnTo>
                    <a:pt x="1763" y="1714"/>
                  </a:lnTo>
                  <a:lnTo>
                    <a:pt x="1756" y="1748"/>
                  </a:lnTo>
                  <a:lnTo>
                    <a:pt x="1744" y="1781"/>
                  </a:lnTo>
                  <a:lnTo>
                    <a:pt x="1728" y="1811"/>
                  </a:lnTo>
                  <a:lnTo>
                    <a:pt x="1708" y="1841"/>
                  </a:lnTo>
                  <a:lnTo>
                    <a:pt x="1684" y="1868"/>
                  </a:lnTo>
                  <a:lnTo>
                    <a:pt x="1654" y="1891"/>
                  </a:lnTo>
                  <a:lnTo>
                    <a:pt x="1621" y="1912"/>
                  </a:lnTo>
                  <a:lnTo>
                    <a:pt x="1585" y="1929"/>
                  </a:lnTo>
                  <a:lnTo>
                    <a:pt x="1544" y="1944"/>
                  </a:lnTo>
                  <a:lnTo>
                    <a:pt x="1499" y="1954"/>
                  </a:lnTo>
                  <a:lnTo>
                    <a:pt x="1499" y="1967"/>
                  </a:lnTo>
                  <a:lnTo>
                    <a:pt x="1499" y="1978"/>
                  </a:lnTo>
                  <a:lnTo>
                    <a:pt x="1499" y="1993"/>
                  </a:lnTo>
                  <a:lnTo>
                    <a:pt x="1499" y="2036"/>
                  </a:lnTo>
                  <a:lnTo>
                    <a:pt x="1499" y="2067"/>
                  </a:lnTo>
                  <a:lnTo>
                    <a:pt x="1499" y="2104"/>
                  </a:lnTo>
                  <a:lnTo>
                    <a:pt x="1486" y="2104"/>
                  </a:lnTo>
                  <a:lnTo>
                    <a:pt x="1476" y="2104"/>
                  </a:lnTo>
                  <a:lnTo>
                    <a:pt x="1462" y="2104"/>
                  </a:lnTo>
                  <a:lnTo>
                    <a:pt x="1420" y="2104"/>
                  </a:lnTo>
                  <a:lnTo>
                    <a:pt x="1390" y="2104"/>
                  </a:lnTo>
                  <a:lnTo>
                    <a:pt x="1354" y="2104"/>
                  </a:lnTo>
                  <a:lnTo>
                    <a:pt x="1354" y="1963"/>
                  </a:lnTo>
                  <a:lnTo>
                    <a:pt x="1305" y="1960"/>
                  </a:lnTo>
                  <a:lnTo>
                    <a:pt x="1257" y="1952"/>
                  </a:lnTo>
                  <a:lnTo>
                    <a:pt x="1212" y="1943"/>
                  </a:lnTo>
                  <a:lnTo>
                    <a:pt x="1169" y="1930"/>
                  </a:lnTo>
                  <a:lnTo>
                    <a:pt x="1132" y="1916"/>
                  </a:lnTo>
                  <a:lnTo>
                    <a:pt x="1101" y="1901"/>
                  </a:lnTo>
                  <a:lnTo>
                    <a:pt x="1101" y="1901"/>
                  </a:lnTo>
                  <a:lnTo>
                    <a:pt x="1102" y="1901"/>
                  </a:lnTo>
                  <a:lnTo>
                    <a:pt x="1102" y="1898"/>
                  </a:lnTo>
                  <a:lnTo>
                    <a:pt x="1103" y="1895"/>
                  </a:lnTo>
                  <a:lnTo>
                    <a:pt x="1104" y="1891"/>
                  </a:lnTo>
                  <a:lnTo>
                    <a:pt x="1106" y="1884"/>
                  </a:lnTo>
                  <a:lnTo>
                    <a:pt x="1108" y="1873"/>
                  </a:lnTo>
                  <a:lnTo>
                    <a:pt x="1111" y="1860"/>
                  </a:lnTo>
                  <a:lnTo>
                    <a:pt x="1116" y="1842"/>
                  </a:lnTo>
                  <a:lnTo>
                    <a:pt x="1122" y="1821"/>
                  </a:lnTo>
                  <a:lnTo>
                    <a:pt x="1128" y="1794"/>
                  </a:lnTo>
                  <a:lnTo>
                    <a:pt x="1136" y="1764"/>
                  </a:lnTo>
                  <a:lnTo>
                    <a:pt x="1146" y="1726"/>
                  </a:lnTo>
                  <a:lnTo>
                    <a:pt x="1180" y="1742"/>
                  </a:lnTo>
                  <a:lnTo>
                    <a:pt x="1217" y="1757"/>
                  </a:lnTo>
                  <a:lnTo>
                    <a:pt x="1257" y="1771"/>
                  </a:lnTo>
                  <a:lnTo>
                    <a:pt x="1299" y="1782"/>
                  </a:lnTo>
                  <a:lnTo>
                    <a:pt x="1345" y="1788"/>
                  </a:lnTo>
                  <a:lnTo>
                    <a:pt x="1393" y="1790"/>
                  </a:lnTo>
                  <a:lnTo>
                    <a:pt x="1423" y="1789"/>
                  </a:lnTo>
                  <a:lnTo>
                    <a:pt x="1451" y="1785"/>
                  </a:lnTo>
                  <a:lnTo>
                    <a:pt x="1475" y="1777"/>
                  </a:lnTo>
                  <a:lnTo>
                    <a:pt x="1496" y="1768"/>
                  </a:lnTo>
                  <a:lnTo>
                    <a:pt x="1513" y="1754"/>
                  </a:lnTo>
                  <a:lnTo>
                    <a:pt x="1525" y="1739"/>
                  </a:lnTo>
                  <a:lnTo>
                    <a:pt x="1533" y="1720"/>
                  </a:lnTo>
                  <a:lnTo>
                    <a:pt x="1535" y="1700"/>
                  </a:lnTo>
                  <a:lnTo>
                    <a:pt x="1533" y="1679"/>
                  </a:lnTo>
                  <a:lnTo>
                    <a:pt x="1527" y="1660"/>
                  </a:lnTo>
                  <a:lnTo>
                    <a:pt x="1514" y="1643"/>
                  </a:lnTo>
                  <a:lnTo>
                    <a:pt x="1498" y="1627"/>
                  </a:lnTo>
                  <a:lnTo>
                    <a:pt x="1476" y="1612"/>
                  </a:lnTo>
                  <a:lnTo>
                    <a:pt x="1449" y="1597"/>
                  </a:lnTo>
                  <a:lnTo>
                    <a:pt x="1416" y="1583"/>
                  </a:lnTo>
                  <a:lnTo>
                    <a:pt x="1378" y="1571"/>
                  </a:lnTo>
                  <a:lnTo>
                    <a:pt x="1340" y="1556"/>
                  </a:lnTo>
                  <a:lnTo>
                    <a:pt x="1304" y="1541"/>
                  </a:lnTo>
                  <a:lnTo>
                    <a:pt x="1270" y="1525"/>
                  </a:lnTo>
                  <a:lnTo>
                    <a:pt x="1238" y="1507"/>
                  </a:lnTo>
                  <a:lnTo>
                    <a:pt x="1211" y="1488"/>
                  </a:lnTo>
                  <a:lnTo>
                    <a:pt x="1185" y="1467"/>
                  </a:lnTo>
                  <a:lnTo>
                    <a:pt x="1163" y="1444"/>
                  </a:lnTo>
                  <a:lnTo>
                    <a:pt x="1145" y="1420"/>
                  </a:lnTo>
                  <a:lnTo>
                    <a:pt x="1130" y="1393"/>
                  </a:lnTo>
                  <a:lnTo>
                    <a:pt x="1120" y="1364"/>
                  </a:lnTo>
                  <a:lnTo>
                    <a:pt x="1113" y="1332"/>
                  </a:lnTo>
                  <a:lnTo>
                    <a:pt x="1110" y="1297"/>
                  </a:lnTo>
                  <a:lnTo>
                    <a:pt x="1113" y="1259"/>
                  </a:lnTo>
                  <a:lnTo>
                    <a:pt x="1122" y="1222"/>
                  </a:lnTo>
                  <a:lnTo>
                    <a:pt x="1134" y="1188"/>
                  </a:lnTo>
                  <a:lnTo>
                    <a:pt x="1153" y="1156"/>
                  </a:lnTo>
                  <a:lnTo>
                    <a:pt x="1177" y="1126"/>
                  </a:lnTo>
                  <a:lnTo>
                    <a:pt x="1205" y="1101"/>
                  </a:lnTo>
                  <a:lnTo>
                    <a:pt x="1238" y="1078"/>
                  </a:lnTo>
                  <a:lnTo>
                    <a:pt x="1275" y="1058"/>
                  </a:lnTo>
                  <a:lnTo>
                    <a:pt x="1316" y="1043"/>
                  </a:lnTo>
                  <a:lnTo>
                    <a:pt x="1361" y="1032"/>
                  </a:lnTo>
                  <a:lnTo>
                    <a:pt x="1361" y="1031"/>
                  </a:lnTo>
                  <a:lnTo>
                    <a:pt x="1361" y="1031"/>
                  </a:lnTo>
                  <a:lnTo>
                    <a:pt x="1361" y="1028"/>
                  </a:lnTo>
                  <a:lnTo>
                    <a:pt x="1361" y="983"/>
                  </a:lnTo>
                  <a:lnTo>
                    <a:pt x="1361" y="959"/>
                  </a:lnTo>
                  <a:lnTo>
                    <a:pt x="1361" y="928"/>
                  </a:lnTo>
                  <a:lnTo>
                    <a:pt x="1361" y="890"/>
                  </a:lnTo>
                  <a:lnTo>
                    <a:pt x="1362" y="890"/>
                  </a:lnTo>
                  <a:close/>
                  <a:moveTo>
                    <a:pt x="1418" y="97"/>
                  </a:moveTo>
                  <a:lnTo>
                    <a:pt x="1301" y="97"/>
                  </a:lnTo>
                  <a:lnTo>
                    <a:pt x="905" y="97"/>
                  </a:lnTo>
                  <a:lnTo>
                    <a:pt x="905" y="98"/>
                  </a:lnTo>
                  <a:lnTo>
                    <a:pt x="905" y="100"/>
                  </a:lnTo>
                  <a:lnTo>
                    <a:pt x="905" y="102"/>
                  </a:lnTo>
                  <a:lnTo>
                    <a:pt x="905" y="105"/>
                  </a:lnTo>
                  <a:lnTo>
                    <a:pt x="905" y="110"/>
                  </a:lnTo>
                  <a:lnTo>
                    <a:pt x="905" y="117"/>
                  </a:lnTo>
                  <a:lnTo>
                    <a:pt x="905" y="125"/>
                  </a:lnTo>
                  <a:lnTo>
                    <a:pt x="905" y="137"/>
                  </a:lnTo>
                  <a:lnTo>
                    <a:pt x="905" y="150"/>
                  </a:lnTo>
                  <a:lnTo>
                    <a:pt x="905" y="206"/>
                  </a:lnTo>
                  <a:lnTo>
                    <a:pt x="905" y="230"/>
                  </a:lnTo>
                  <a:lnTo>
                    <a:pt x="905" y="259"/>
                  </a:lnTo>
                  <a:lnTo>
                    <a:pt x="905" y="292"/>
                  </a:lnTo>
                  <a:lnTo>
                    <a:pt x="905" y="328"/>
                  </a:lnTo>
                  <a:lnTo>
                    <a:pt x="905" y="369"/>
                  </a:lnTo>
                  <a:lnTo>
                    <a:pt x="905" y="414"/>
                  </a:lnTo>
                  <a:lnTo>
                    <a:pt x="905" y="465"/>
                  </a:lnTo>
                  <a:lnTo>
                    <a:pt x="905" y="519"/>
                  </a:lnTo>
                  <a:lnTo>
                    <a:pt x="905" y="579"/>
                  </a:lnTo>
                  <a:lnTo>
                    <a:pt x="905" y="645"/>
                  </a:lnTo>
                  <a:lnTo>
                    <a:pt x="905" y="717"/>
                  </a:lnTo>
                  <a:lnTo>
                    <a:pt x="905" y="877"/>
                  </a:lnTo>
                  <a:lnTo>
                    <a:pt x="905" y="967"/>
                  </a:lnTo>
                  <a:lnTo>
                    <a:pt x="905" y="1064"/>
                  </a:lnTo>
                  <a:lnTo>
                    <a:pt x="905" y="1168"/>
                  </a:lnTo>
                  <a:lnTo>
                    <a:pt x="905" y="1278"/>
                  </a:lnTo>
                  <a:lnTo>
                    <a:pt x="905" y="1397"/>
                  </a:lnTo>
                  <a:lnTo>
                    <a:pt x="905" y="1798"/>
                  </a:lnTo>
                  <a:lnTo>
                    <a:pt x="821" y="1798"/>
                  </a:lnTo>
                  <a:lnTo>
                    <a:pt x="796" y="1798"/>
                  </a:lnTo>
                  <a:lnTo>
                    <a:pt x="766" y="1798"/>
                  </a:lnTo>
                  <a:lnTo>
                    <a:pt x="234" y="1798"/>
                  </a:lnTo>
                  <a:lnTo>
                    <a:pt x="234" y="1798"/>
                  </a:lnTo>
                  <a:lnTo>
                    <a:pt x="234" y="1798"/>
                  </a:lnTo>
                  <a:lnTo>
                    <a:pt x="235" y="1798"/>
                  </a:lnTo>
                  <a:lnTo>
                    <a:pt x="235" y="1799"/>
                  </a:lnTo>
                  <a:lnTo>
                    <a:pt x="236" y="1800"/>
                  </a:lnTo>
                  <a:lnTo>
                    <a:pt x="237" y="1801"/>
                  </a:lnTo>
                  <a:lnTo>
                    <a:pt x="239" y="1803"/>
                  </a:lnTo>
                  <a:lnTo>
                    <a:pt x="241" y="1805"/>
                  </a:lnTo>
                  <a:lnTo>
                    <a:pt x="244" y="1808"/>
                  </a:lnTo>
                  <a:lnTo>
                    <a:pt x="249" y="1812"/>
                  </a:lnTo>
                  <a:lnTo>
                    <a:pt x="254" y="1817"/>
                  </a:lnTo>
                  <a:lnTo>
                    <a:pt x="259" y="1823"/>
                  </a:lnTo>
                  <a:lnTo>
                    <a:pt x="267" y="1829"/>
                  </a:lnTo>
                  <a:lnTo>
                    <a:pt x="274" y="1838"/>
                  </a:lnTo>
                  <a:lnTo>
                    <a:pt x="284" y="1846"/>
                  </a:lnTo>
                  <a:lnTo>
                    <a:pt x="294" y="1857"/>
                  </a:lnTo>
                  <a:lnTo>
                    <a:pt x="306" y="1869"/>
                  </a:lnTo>
                  <a:lnTo>
                    <a:pt x="320" y="1882"/>
                  </a:lnTo>
                  <a:lnTo>
                    <a:pt x="334" y="1897"/>
                  </a:lnTo>
                  <a:lnTo>
                    <a:pt x="350" y="1914"/>
                  </a:lnTo>
                  <a:lnTo>
                    <a:pt x="369" y="1932"/>
                  </a:lnTo>
                  <a:lnTo>
                    <a:pt x="389" y="1952"/>
                  </a:lnTo>
                  <a:lnTo>
                    <a:pt x="412" y="1975"/>
                  </a:lnTo>
                  <a:lnTo>
                    <a:pt x="435" y="1999"/>
                  </a:lnTo>
                  <a:lnTo>
                    <a:pt x="461" y="2026"/>
                  </a:lnTo>
                  <a:lnTo>
                    <a:pt x="490" y="2054"/>
                  </a:lnTo>
                  <a:lnTo>
                    <a:pt x="521" y="2085"/>
                  </a:lnTo>
                  <a:lnTo>
                    <a:pt x="553" y="2118"/>
                  </a:lnTo>
                  <a:lnTo>
                    <a:pt x="589" y="2153"/>
                  </a:lnTo>
                  <a:lnTo>
                    <a:pt x="628" y="2191"/>
                  </a:lnTo>
                  <a:lnTo>
                    <a:pt x="668" y="2232"/>
                  </a:lnTo>
                  <a:lnTo>
                    <a:pt x="711" y="2276"/>
                  </a:lnTo>
                  <a:lnTo>
                    <a:pt x="757" y="2322"/>
                  </a:lnTo>
                  <a:lnTo>
                    <a:pt x="806" y="2370"/>
                  </a:lnTo>
                  <a:lnTo>
                    <a:pt x="858" y="2423"/>
                  </a:lnTo>
                  <a:lnTo>
                    <a:pt x="913" y="2479"/>
                  </a:lnTo>
                  <a:lnTo>
                    <a:pt x="971" y="2537"/>
                  </a:lnTo>
                  <a:lnTo>
                    <a:pt x="1033" y="2598"/>
                  </a:lnTo>
                  <a:lnTo>
                    <a:pt x="1097" y="2663"/>
                  </a:lnTo>
                  <a:lnTo>
                    <a:pt x="1165" y="2731"/>
                  </a:lnTo>
                  <a:lnTo>
                    <a:pt x="1237" y="2803"/>
                  </a:lnTo>
                  <a:lnTo>
                    <a:pt x="1312" y="2878"/>
                  </a:lnTo>
                  <a:lnTo>
                    <a:pt x="1392" y="2957"/>
                  </a:lnTo>
                  <a:lnTo>
                    <a:pt x="1474" y="3041"/>
                  </a:lnTo>
                  <a:lnTo>
                    <a:pt x="1560" y="3127"/>
                  </a:lnTo>
                  <a:lnTo>
                    <a:pt x="1651" y="3218"/>
                  </a:lnTo>
                  <a:lnTo>
                    <a:pt x="1745" y="3312"/>
                  </a:lnTo>
                  <a:lnTo>
                    <a:pt x="3255" y="1798"/>
                  </a:lnTo>
                  <a:lnTo>
                    <a:pt x="3171" y="1798"/>
                  </a:lnTo>
                  <a:lnTo>
                    <a:pt x="3147" y="1798"/>
                  </a:lnTo>
                  <a:lnTo>
                    <a:pt x="3117" y="1798"/>
                  </a:lnTo>
                  <a:lnTo>
                    <a:pt x="2585" y="1798"/>
                  </a:lnTo>
                  <a:lnTo>
                    <a:pt x="2585" y="1797"/>
                  </a:lnTo>
                  <a:lnTo>
                    <a:pt x="2585" y="1794"/>
                  </a:lnTo>
                  <a:lnTo>
                    <a:pt x="2585" y="1792"/>
                  </a:lnTo>
                  <a:lnTo>
                    <a:pt x="2585" y="1789"/>
                  </a:lnTo>
                  <a:lnTo>
                    <a:pt x="2585" y="1784"/>
                  </a:lnTo>
                  <a:lnTo>
                    <a:pt x="2585" y="1777"/>
                  </a:lnTo>
                  <a:lnTo>
                    <a:pt x="2585" y="1769"/>
                  </a:lnTo>
                  <a:lnTo>
                    <a:pt x="2585" y="1757"/>
                  </a:lnTo>
                  <a:lnTo>
                    <a:pt x="2585" y="1745"/>
                  </a:lnTo>
                  <a:lnTo>
                    <a:pt x="2585" y="1688"/>
                  </a:lnTo>
                  <a:lnTo>
                    <a:pt x="2585" y="1664"/>
                  </a:lnTo>
                  <a:lnTo>
                    <a:pt x="2585" y="1635"/>
                  </a:lnTo>
                  <a:lnTo>
                    <a:pt x="2585" y="1603"/>
                  </a:lnTo>
                  <a:lnTo>
                    <a:pt x="2585" y="1566"/>
                  </a:lnTo>
                  <a:lnTo>
                    <a:pt x="2585" y="1525"/>
                  </a:lnTo>
                  <a:lnTo>
                    <a:pt x="2585" y="1481"/>
                  </a:lnTo>
                  <a:lnTo>
                    <a:pt x="2585" y="1430"/>
                  </a:lnTo>
                  <a:lnTo>
                    <a:pt x="2585" y="1376"/>
                  </a:lnTo>
                  <a:lnTo>
                    <a:pt x="2585" y="1315"/>
                  </a:lnTo>
                  <a:lnTo>
                    <a:pt x="2585" y="1249"/>
                  </a:lnTo>
                  <a:lnTo>
                    <a:pt x="2585" y="1177"/>
                  </a:lnTo>
                  <a:lnTo>
                    <a:pt x="2585" y="1017"/>
                  </a:lnTo>
                  <a:lnTo>
                    <a:pt x="2585" y="927"/>
                  </a:lnTo>
                  <a:lnTo>
                    <a:pt x="2585" y="830"/>
                  </a:lnTo>
                  <a:lnTo>
                    <a:pt x="2585" y="726"/>
                  </a:lnTo>
                  <a:lnTo>
                    <a:pt x="2585" y="616"/>
                  </a:lnTo>
                  <a:lnTo>
                    <a:pt x="2585" y="497"/>
                  </a:lnTo>
                  <a:lnTo>
                    <a:pt x="2585" y="97"/>
                  </a:lnTo>
                  <a:lnTo>
                    <a:pt x="2584" y="97"/>
                  </a:lnTo>
                  <a:lnTo>
                    <a:pt x="2582" y="97"/>
                  </a:lnTo>
                  <a:lnTo>
                    <a:pt x="2580" y="97"/>
                  </a:lnTo>
                  <a:lnTo>
                    <a:pt x="2577" y="97"/>
                  </a:lnTo>
                  <a:lnTo>
                    <a:pt x="2571" y="97"/>
                  </a:lnTo>
                  <a:lnTo>
                    <a:pt x="2565" y="97"/>
                  </a:lnTo>
                  <a:lnTo>
                    <a:pt x="2557" y="97"/>
                  </a:lnTo>
                  <a:lnTo>
                    <a:pt x="2546" y="97"/>
                  </a:lnTo>
                  <a:lnTo>
                    <a:pt x="2532" y="97"/>
                  </a:lnTo>
                  <a:lnTo>
                    <a:pt x="2477" y="97"/>
                  </a:lnTo>
                  <a:lnTo>
                    <a:pt x="2453" y="97"/>
                  </a:lnTo>
                  <a:lnTo>
                    <a:pt x="2424" y="97"/>
                  </a:lnTo>
                  <a:lnTo>
                    <a:pt x="2393" y="97"/>
                  </a:lnTo>
                  <a:lnTo>
                    <a:pt x="2357" y="97"/>
                  </a:lnTo>
                  <a:lnTo>
                    <a:pt x="2316" y="97"/>
                  </a:lnTo>
                  <a:lnTo>
                    <a:pt x="2272" y="97"/>
                  </a:lnTo>
                  <a:lnTo>
                    <a:pt x="2222" y="97"/>
                  </a:lnTo>
                  <a:lnTo>
                    <a:pt x="2167" y="97"/>
                  </a:lnTo>
                  <a:lnTo>
                    <a:pt x="2108" y="97"/>
                  </a:lnTo>
                  <a:lnTo>
                    <a:pt x="2043" y="97"/>
                  </a:lnTo>
                  <a:lnTo>
                    <a:pt x="1972" y="97"/>
                  </a:lnTo>
                  <a:lnTo>
                    <a:pt x="1814" y="97"/>
                  </a:lnTo>
                  <a:lnTo>
                    <a:pt x="1725" y="97"/>
                  </a:lnTo>
                  <a:lnTo>
                    <a:pt x="1630" y="97"/>
                  </a:lnTo>
                  <a:lnTo>
                    <a:pt x="1527" y="97"/>
                  </a:lnTo>
                  <a:lnTo>
                    <a:pt x="1418" y="97"/>
                  </a:lnTo>
                  <a:close/>
                  <a:moveTo>
                    <a:pt x="807" y="0"/>
                  </a:moveTo>
                  <a:lnTo>
                    <a:pt x="812" y="0"/>
                  </a:lnTo>
                  <a:lnTo>
                    <a:pt x="813" y="0"/>
                  </a:lnTo>
                  <a:lnTo>
                    <a:pt x="817" y="0"/>
                  </a:lnTo>
                  <a:lnTo>
                    <a:pt x="824" y="0"/>
                  </a:lnTo>
                  <a:lnTo>
                    <a:pt x="939" y="0"/>
                  </a:lnTo>
                  <a:lnTo>
                    <a:pt x="974" y="0"/>
                  </a:lnTo>
                  <a:lnTo>
                    <a:pt x="1015" y="0"/>
                  </a:lnTo>
                  <a:lnTo>
                    <a:pt x="1039" y="0"/>
                  </a:lnTo>
                  <a:lnTo>
                    <a:pt x="2072" y="0"/>
                  </a:lnTo>
                  <a:lnTo>
                    <a:pt x="2099" y="0"/>
                  </a:lnTo>
                  <a:lnTo>
                    <a:pt x="2168" y="0"/>
                  </a:lnTo>
                  <a:lnTo>
                    <a:pt x="2211" y="0"/>
                  </a:lnTo>
                  <a:lnTo>
                    <a:pt x="2258" y="0"/>
                  </a:lnTo>
                  <a:lnTo>
                    <a:pt x="2312" y="0"/>
                  </a:lnTo>
                  <a:lnTo>
                    <a:pt x="2371" y="0"/>
                  </a:lnTo>
                  <a:lnTo>
                    <a:pt x="2681" y="0"/>
                  </a:lnTo>
                  <a:lnTo>
                    <a:pt x="2681" y="0"/>
                  </a:lnTo>
                  <a:lnTo>
                    <a:pt x="2681" y="0"/>
                  </a:lnTo>
                  <a:lnTo>
                    <a:pt x="2681" y="1"/>
                  </a:lnTo>
                  <a:lnTo>
                    <a:pt x="2681" y="7"/>
                  </a:lnTo>
                  <a:lnTo>
                    <a:pt x="2681" y="14"/>
                  </a:lnTo>
                  <a:lnTo>
                    <a:pt x="2681" y="21"/>
                  </a:lnTo>
                  <a:lnTo>
                    <a:pt x="2681" y="33"/>
                  </a:lnTo>
                  <a:lnTo>
                    <a:pt x="2681" y="47"/>
                  </a:lnTo>
                  <a:lnTo>
                    <a:pt x="2681" y="65"/>
                  </a:lnTo>
                  <a:lnTo>
                    <a:pt x="2681" y="86"/>
                  </a:lnTo>
                  <a:lnTo>
                    <a:pt x="2681" y="111"/>
                  </a:lnTo>
                  <a:lnTo>
                    <a:pt x="2681" y="177"/>
                  </a:lnTo>
                  <a:lnTo>
                    <a:pt x="2681" y="217"/>
                  </a:lnTo>
                  <a:lnTo>
                    <a:pt x="2681" y="264"/>
                  </a:lnTo>
                  <a:lnTo>
                    <a:pt x="2681" y="376"/>
                  </a:lnTo>
                  <a:lnTo>
                    <a:pt x="2681" y="443"/>
                  </a:lnTo>
                  <a:lnTo>
                    <a:pt x="2681" y="518"/>
                  </a:lnTo>
                  <a:lnTo>
                    <a:pt x="2681" y="1404"/>
                  </a:lnTo>
                  <a:lnTo>
                    <a:pt x="2681" y="1405"/>
                  </a:lnTo>
                  <a:lnTo>
                    <a:pt x="2681" y="1405"/>
                  </a:lnTo>
                  <a:lnTo>
                    <a:pt x="2681" y="1407"/>
                  </a:lnTo>
                  <a:lnTo>
                    <a:pt x="2681" y="1411"/>
                  </a:lnTo>
                  <a:lnTo>
                    <a:pt x="2681" y="1423"/>
                  </a:lnTo>
                  <a:lnTo>
                    <a:pt x="2681" y="1435"/>
                  </a:lnTo>
                  <a:lnTo>
                    <a:pt x="2681" y="1450"/>
                  </a:lnTo>
                  <a:lnTo>
                    <a:pt x="2681" y="1469"/>
                  </a:lnTo>
                  <a:lnTo>
                    <a:pt x="2681" y="1521"/>
                  </a:lnTo>
                  <a:lnTo>
                    <a:pt x="2681" y="1556"/>
                  </a:lnTo>
                  <a:lnTo>
                    <a:pt x="2681" y="1597"/>
                  </a:lnTo>
                  <a:lnTo>
                    <a:pt x="2681" y="1645"/>
                  </a:lnTo>
                  <a:lnTo>
                    <a:pt x="2681" y="1700"/>
                  </a:lnTo>
                  <a:lnTo>
                    <a:pt x="3490" y="1700"/>
                  </a:lnTo>
                  <a:lnTo>
                    <a:pt x="3490" y="1700"/>
                  </a:lnTo>
                  <a:lnTo>
                    <a:pt x="3489" y="1701"/>
                  </a:lnTo>
                  <a:lnTo>
                    <a:pt x="3489" y="1701"/>
                  </a:lnTo>
                  <a:lnTo>
                    <a:pt x="3487" y="1703"/>
                  </a:lnTo>
                  <a:lnTo>
                    <a:pt x="3485" y="1705"/>
                  </a:lnTo>
                  <a:lnTo>
                    <a:pt x="3480" y="1709"/>
                  </a:lnTo>
                  <a:lnTo>
                    <a:pt x="3476" y="1714"/>
                  </a:lnTo>
                  <a:lnTo>
                    <a:pt x="3469" y="1721"/>
                  </a:lnTo>
                  <a:lnTo>
                    <a:pt x="3460" y="1730"/>
                  </a:lnTo>
                  <a:lnTo>
                    <a:pt x="3450" y="1740"/>
                  </a:lnTo>
                  <a:lnTo>
                    <a:pt x="3436" y="1754"/>
                  </a:lnTo>
                  <a:lnTo>
                    <a:pt x="3420" y="1770"/>
                  </a:lnTo>
                  <a:lnTo>
                    <a:pt x="3401" y="1789"/>
                  </a:lnTo>
                  <a:lnTo>
                    <a:pt x="3379" y="1811"/>
                  </a:lnTo>
                  <a:lnTo>
                    <a:pt x="3353" y="1837"/>
                  </a:lnTo>
                  <a:lnTo>
                    <a:pt x="3324" y="1867"/>
                  </a:lnTo>
                  <a:lnTo>
                    <a:pt x="3324" y="1867"/>
                  </a:lnTo>
                  <a:lnTo>
                    <a:pt x="3324" y="1867"/>
                  </a:lnTo>
                  <a:lnTo>
                    <a:pt x="3324" y="1867"/>
                  </a:lnTo>
                  <a:lnTo>
                    <a:pt x="3323" y="1868"/>
                  </a:lnTo>
                  <a:lnTo>
                    <a:pt x="3323" y="1868"/>
                  </a:lnTo>
                  <a:lnTo>
                    <a:pt x="3321" y="1870"/>
                  </a:lnTo>
                  <a:lnTo>
                    <a:pt x="3320" y="1871"/>
                  </a:lnTo>
                  <a:lnTo>
                    <a:pt x="3316" y="1874"/>
                  </a:lnTo>
                  <a:lnTo>
                    <a:pt x="3313" y="1877"/>
                  </a:lnTo>
                  <a:lnTo>
                    <a:pt x="3309" y="1881"/>
                  </a:lnTo>
                  <a:lnTo>
                    <a:pt x="3305" y="1886"/>
                  </a:lnTo>
                  <a:lnTo>
                    <a:pt x="3298" y="1892"/>
                  </a:lnTo>
                  <a:lnTo>
                    <a:pt x="3292" y="1898"/>
                  </a:lnTo>
                  <a:lnTo>
                    <a:pt x="3285" y="1906"/>
                  </a:lnTo>
                  <a:lnTo>
                    <a:pt x="3275" y="1915"/>
                  </a:lnTo>
                  <a:lnTo>
                    <a:pt x="3264" y="1926"/>
                  </a:lnTo>
                  <a:lnTo>
                    <a:pt x="3253" y="1938"/>
                  </a:lnTo>
                  <a:lnTo>
                    <a:pt x="3239" y="1951"/>
                  </a:lnTo>
                  <a:lnTo>
                    <a:pt x="3224" y="1966"/>
                  </a:lnTo>
                  <a:lnTo>
                    <a:pt x="3207" y="1983"/>
                  </a:lnTo>
                  <a:lnTo>
                    <a:pt x="3189" y="2001"/>
                  </a:lnTo>
                  <a:lnTo>
                    <a:pt x="3169" y="2021"/>
                  </a:lnTo>
                  <a:lnTo>
                    <a:pt x="3147" y="2044"/>
                  </a:lnTo>
                  <a:lnTo>
                    <a:pt x="3123" y="2068"/>
                  </a:lnTo>
                  <a:lnTo>
                    <a:pt x="3096" y="2095"/>
                  </a:lnTo>
                  <a:lnTo>
                    <a:pt x="3069" y="2123"/>
                  </a:lnTo>
                  <a:lnTo>
                    <a:pt x="3038" y="2153"/>
                  </a:lnTo>
                  <a:lnTo>
                    <a:pt x="3004" y="2187"/>
                  </a:lnTo>
                  <a:lnTo>
                    <a:pt x="2969" y="2222"/>
                  </a:lnTo>
                  <a:lnTo>
                    <a:pt x="2931" y="2260"/>
                  </a:lnTo>
                  <a:lnTo>
                    <a:pt x="2891" y="2301"/>
                  </a:lnTo>
                  <a:lnTo>
                    <a:pt x="2848" y="2344"/>
                  </a:lnTo>
                  <a:lnTo>
                    <a:pt x="2801" y="2391"/>
                  </a:lnTo>
                  <a:lnTo>
                    <a:pt x="2752" y="2439"/>
                  </a:lnTo>
                  <a:lnTo>
                    <a:pt x="2700" y="2491"/>
                  </a:lnTo>
                  <a:lnTo>
                    <a:pt x="2645" y="2547"/>
                  </a:lnTo>
                  <a:lnTo>
                    <a:pt x="2587" y="2605"/>
                  </a:lnTo>
                  <a:lnTo>
                    <a:pt x="2526" y="2667"/>
                  </a:lnTo>
                  <a:lnTo>
                    <a:pt x="2461" y="2732"/>
                  </a:lnTo>
                  <a:lnTo>
                    <a:pt x="2393" y="2800"/>
                  </a:lnTo>
                  <a:lnTo>
                    <a:pt x="2322" y="2872"/>
                  </a:lnTo>
                  <a:lnTo>
                    <a:pt x="2247" y="2947"/>
                  </a:lnTo>
                  <a:lnTo>
                    <a:pt x="2167" y="3026"/>
                  </a:lnTo>
                  <a:lnTo>
                    <a:pt x="2085" y="3108"/>
                  </a:lnTo>
                  <a:lnTo>
                    <a:pt x="1998" y="3195"/>
                  </a:lnTo>
                  <a:lnTo>
                    <a:pt x="1908" y="3287"/>
                  </a:lnTo>
                  <a:lnTo>
                    <a:pt x="1814" y="3381"/>
                  </a:lnTo>
                  <a:lnTo>
                    <a:pt x="1814" y="3381"/>
                  </a:lnTo>
                  <a:lnTo>
                    <a:pt x="1813" y="3381"/>
                  </a:lnTo>
                  <a:lnTo>
                    <a:pt x="1812" y="3383"/>
                  </a:lnTo>
                  <a:lnTo>
                    <a:pt x="1809" y="3385"/>
                  </a:lnTo>
                  <a:lnTo>
                    <a:pt x="1805" y="3390"/>
                  </a:lnTo>
                  <a:lnTo>
                    <a:pt x="1799" y="3396"/>
                  </a:lnTo>
                  <a:lnTo>
                    <a:pt x="1790" y="3404"/>
                  </a:lnTo>
                  <a:lnTo>
                    <a:pt x="1779" y="3416"/>
                  </a:lnTo>
                  <a:lnTo>
                    <a:pt x="1763" y="3431"/>
                  </a:lnTo>
                  <a:lnTo>
                    <a:pt x="1745" y="3450"/>
                  </a:lnTo>
                  <a:lnTo>
                    <a:pt x="1745" y="3450"/>
                  </a:lnTo>
                  <a:lnTo>
                    <a:pt x="1744" y="3449"/>
                  </a:lnTo>
                  <a:lnTo>
                    <a:pt x="1743" y="3448"/>
                  </a:lnTo>
                  <a:lnTo>
                    <a:pt x="1741" y="3446"/>
                  </a:lnTo>
                  <a:lnTo>
                    <a:pt x="1736" y="3442"/>
                  </a:lnTo>
                  <a:lnTo>
                    <a:pt x="1730" y="3435"/>
                  </a:lnTo>
                  <a:lnTo>
                    <a:pt x="1722" y="3426"/>
                  </a:lnTo>
                  <a:lnTo>
                    <a:pt x="1710" y="3414"/>
                  </a:lnTo>
                  <a:lnTo>
                    <a:pt x="1695" y="3399"/>
                  </a:lnTo>
                  <a:lnTo>
                    <a:pt x="1676" y="3381"/>
                  </a:lnTo>
                  <a:lnTo>
                    <a:pt x="1676" y="3381"/>
                  </a:lnTo>
                  <a:lnTo>
                    <a:pt x="1676" y="3380"/>
                  </a:lnTo>
                  <a:lnTo>
                    <a:pt x="1675" y="3380"/>
                  </a:lnTo>
                  <a:lnTo>
                    <a:pt x="1673" y="3378"/>
                  </a:lnTo>
                  <a:lnTo>
                    <a:pt x="1671" y="3376"/>
                  </a:lnTo>
                  <a:lnTo>
                    <a:pt x="1667" y="3372"/>
                  </a:lnTo>
                  <a:lnTo>
                    <a:pt x="1661" y="3366"/>
                  </a:lnTo>
                  <a:lnTo>
                    <a:pt x="1654" y="3358"/>
                  </a:lnTo>
                  <a:lnTo>
                    <a:pt x="1644" y="3348"/>
                  </a:lnTo>
                  <a:lnTo>
                    <a:pt x="1632" y="3337"/>
                  </a:lnTo>
                  <a:lnTo>
                    <a:pt x="1617" y="3322"/>
                  </a:lnTo>
                  <a:lnTo>
                    <a:pt x="1600" y="3305"/>
                  </a:lnTo>
                  <a:lnTo>
                    <a:pt x="1579" y="3283"/>
                  </a:lnTo>
                  <a:lnTo>
                    <a:pt x="1554" y="3259"/>
                  </a:lnTo>
                  <a:lnTo>
                    <a:pt x="1296" y="2996"/>
                  </a:lnTo>
                  <a:lnTo>
                    <a:pt x="1296" y="2996"/>
                  </a:lnTo>
                  <a:lnTo>
                    <a:pt x="1296" y="2996"/>
                  </a:lnTo>
                  <a:lnTo>
                    <a:pt x="1296" y="2996"/>
                  </a:lnTo>
                  <a:lnTo>
                    <a:pt x="1295" y="2995"/>
                  </a:lnTo>
                  <a:lnTo>
                    <a:pt x="1294" y="2994"/>
                  </a:lnTo>
                  <a:lnTo>
                    <a:pt x="1293" y="2993"/>
                  </a:lnTo>
                  <a:lnTo>
                    <a:pt x="1291" y="2991"/>
                  </a:lnTo>
                  <a:lnTo>
                    <a:pt x="1288" y="2988"/>
                  </a:lnTo>
                  <a:lnTo>
                    <a:pt x="1285" y="2984"/>
                  </a:lnTo>
                  <a:lnTo>
                    <a:pt x="1280" y="2980"/>
                  </a:lnTo>
                  <a:lnTo>
                    <a:pt x="1275" y="2974"/>
                  </a:lnTo>
                  <a:lnTo>
                    <a:pt x="1268" y="2967"/>
                  </a:lnTo>
                  <a:lnTo>
                    <a:pt x="1260" y="2960"/>
                  </a:lnTo>
                  <a:lnTo>
                    <a:pt x="1252" y="2952"/>
                  </a:lnTo>
                  <a:lnTo>
                    <a:pt x="1241" y="2941"/>
                  </a:lnTo>
                  <a:lnTo>
                    <a:pt x="1230" y="2929"/>
                  </a:lnTo>
                  <a:lnTo>
                    <a:pt x="1216" y="2915"/>
                  </a:lnTo>
                  <a:lnTo>
                    <a:pt x="1201" y="2901"/>
                  </a:lnTo>
                  <a:lnTo>
                    <a:pt x="1184" y="2884"/>
                  </a:lnTo>
                  <a:lnTo>
                    <a:pt x="1165" y="2865"/>
                  </a:lnTo>
                  <a:lnTo>
                    <a:pt x="1145" y="2844"/>
                  </a:lnTo>
                  <a:lnTo>
                    <a:pt x="1122" y="2821"/>
                  </a:lnTo>
                  <a:lnTo>
                    <a:pt x="1097" y="2797"/>
                  </a:lnTo>
                  <a:lnTo>
                    <a:pt x="1070" y="2769"/>
                  </a:lnTo>
                  <a:lnTo>
                    <a:pt x="1040" y="2740"/>
                  </a:lnTo>
                  <a:lnTo>
                    <a:pt x="1008" y="2708"/>
                  </a:lnTo>
                  <a:lnTo>
                    <a:pt x="974" y="2674"/>
                  </a:lnTo>
                  <a:lnTo>
                    <a:pt x="936" y="2637"/>
                  </a:lnTo>
                  <a:lnTo>
                    <a:pt x="896" y="2596"/>
                  </a:lnTo>
                  <a:lnTo>
                    <a:pt x="854" y="2554"/>
                  </a:lnTo>
                  <a:lnTo>
                    <a:pt x="807" y="2508"/>
                  </a:lnTo>
                  <a:lnTo>
                    <a:pt x="759" y="2459"/>
                  </a:lnTo>
                  <a:lnTo>
                    <a:pt x="707" y="2407"/>
                  </a:lnTo>
                  <a:lnTo>
                    <a:pt x="652" y="2352"/>
                  </a:lnTo>
                  <a:lnTo>
                    <a:pt x="593" y="2293"/>
                  </a:lnTo>
                  <a:lnTo>
                    <a:pt x="531" y="2231"/>
                  </a:lnTo>
                  <a:lnTo>
                    <a:pt x="466" y="2166"/>
                  </a:lnTo>
                  <a:lnTo>
                    <a:pt x="396" y="2097"/>
                  </a:lnTo>
                  <a:lnTo>
                    <a:pt x="323" y="2024"/>
                  </a:lnTo>
                  <a:lnTo>
                    <a:pt x="247" y="1947"/>
                  </a:lnTo>
                  <a:lnTo>
                    <a:pt x="166" y="1867"/>
                  </a:lnTo>
                  <a:lnTo>
                    <a:pt x="165" y="1867"/>
                  </a:lnTo>
                  <a:lnTo>
                    <a:pt x="165" y="1866"/>
                  </a:lnTo>
                  <a:lnTo>
                    <a:pt x="164" y="1866"/>
                  </a:lnTo>
                  <a:lnTo>
                    <a:pt x="163" y="1863"/>
                  </a:lnTo>
                  <a:lnTo>
                    <a:pt x="161" y="1861"/>
                  </a:lnTo>
                  <a:lnTo>
                    <a:pt x="157" y="1858"/>
                  </a:lnTo>
                  <a:lnTo>
                    <a:pt x="151" y="1853"/>
                  </a:lnTo>
                  <a:lnTo>
                    <a:pt x="145" y="1845"/>
                  </a:lnTo>
                  <a:lnTo>
                    <a:pt x="137" y="1837"/>
                  </a:lnTo>
                  <a:lnTo>
                    <a:pt x="125" y="1826"/>
                  </a:lnTo>
                  <a:lnTo>
                    <a:pt x="112" y="1812"/>
                  </a:lnTo>
                  <a:lnTo>
                    <a:pt x="95" y="1797"/>
                  </a:lnTo>
                  <a:lnTo>
                    <a:pt x="77" y="1777"/>
                  </a:lnTo>
                  <a:lnTo>
                    <a:pt x="55" y="1755"/>
                  </a:lnTo>
                  <a:lnTo>
                    <a:pt x="30" y="1730"/>
                  </a:lnTo>
                  <a:lnTo>
                    <a:pt x="0" y="1700"/>
                  </a:lnTo>
                  <a:lnTo>
                    <a:pt x="807" y="1700"/>
                  </a:lnTo>
                  <a:lnTo>
                    <a:pt x="807" y="655"/>
                  </a:lnTo>
                  <a:lnTo>
                    <a:pt x="807" y="655"/>
                  </a:lnTo>
                  <a:lnTo>
                    <a:pt x="807" y="654"/>
                  </a:lnTo>
                  <a:lnTo>
                    <a:pt x="807" y="634"/>
                  </a:lnTo>
                  <a:lnTo>
                    <a:pt x="807" y="624"/>
                  </a:lnTo>
                  <a:lnTo>
                    <a:pt x="807" y="611"/>
                  </a:lnTo>
                  <a:lnTo>
                    <a:pt x="807" y="574"/>
                  </a:lnTo>
                  <a:lnTo>
                    <a:pt x="807" y="549"/>
                  </a:lnTo>
                  <a:lnTo>
                    <a:pt x="807" y="521"/>
                  </a:lnTo>
                  <a:lnTo>
                    <a:pt x="807" y="487"/>
                  </a:lnTo>
                  <a:lnTo>
                    <a:pt x="807" y="448"/>
                  </a:lnTo>
                  <a:lnTo>
                    <a:pt x="807" y="403"/>
                  </a:lnTo>
                  <a:lnTo>
                    <a:pt x="807" y="353"/>
                  </a:lnTo>
                  <a:lnTo>
                    <a:pt x="807" y="233"/>
                  </a:lnTo>
                  <a:lnTo>
                    <a:pt x="807" y="162"/>
                  </a:lnTo>
                  <a:lnTo>
                    <a:pt x="807" y="85"/>
                  </a:lnTo>
                  <a:lnTo>
                    <a:pt x="807" y="0"/>
                  </a:lnTo>
                  <a:close/>
                </a:path>
              </a:pathLst>
            </a:custGeom>
            <a:solidFill>
              <a:schemeClr val="accent1"/>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 name="Group 4"/>
          <p:cNvGrpSpPr/>
          <p:nvPr/>
        </p:nvGrpSpPr>
        <p:grpSpPr>
          <a:xfrm>
            <a:off x="9572027" y="2608696"/>
            <a:ext cx="2170134" cy="699220"/>
            <a:chOff x="9572027" y="1867332"/>
            <a:chExt cx="2170134" cy="699220"/>
          </a:xfrm>
        </p:grpSpPr>
        <p:sp>
          <p:nvSpPr>
            <p:cNvPr id="1150" name="TextBox 1149"/>
            <p:cNvSpPr txBox="1"/>
            <p:nvPr/>
          </p:nvSpPr>
          <p:spPr>
            <a:xfrm>
              <a:off x="9572027" y="1867332"/>
              <a:ext cx="1991625" cy="699220"/>
            </a:xfrm>
            <a:prstGeom prst="rect">
              <a:avLst/>
            </a:prstGeom>
            <a:noFill/>
          </p:spPr>
          <p:txBody>
            <a:bodyPr wrap="square" rtlCol="0">
              <a:spAutoFit/>
            </a:bodyPr>
            <a:lstStyle/>
            <a:p>
              <a:pPr defTabSz="931077">
                <a:lnSpc>
                  <a:spcPct val="90000"/>
                </a:lnSpc>
              </a:pPr>
              <a:r>
                <a:rPr lang="en-US" sz="1428" dirty="0">
                  <a:solidFill>
                    <a:srgbClr val="282828"/>
                  </a:solidFill>
                </a:rPr>
                <a:t>With Application Virtualization and storage for apps</a:t>
              </a:r>
            </a:p>
          </p:txBody>
        </p:sp>
        <p:sp>
          <p:nvSpPr>
            <p:cNvPr id="1180" name="Freeform 36"/>
            <p:cNvSpPr>
              <a:spLocks noEditPoints="1"/>
            </p:cNvSpPr>
            <p:nvPr/>
          </p:nvSpPr>
          <p:spPr bwMode="auto">
            <a:xfrm>
              <a:off x="11244930" y="1952077"/>
              <a:ext cx="497231" cy="491332"/>
            </a:xfrm>
            <a:custGeom>
              <a:avLst/>
              <a:gdLst>
                <a:gd name="T0" fmla="*/ 2070 w 3543"/>
                <a:gd name="T1" fmla="*/ 735 h 3498"/>
                <a:gd name="T2" fmla="*/ 2266 w 3543"/>
                <a:gd name="T3" fmla="*/ 805 h 3498"/>
                <a:gd name="T4" fmla="*/ 2229 w 3543"/>
                <a:gd name="T5" fmla="*/ 954 h 3498"/>
                <a:gd name="T6" fmla="*/ 2017 w 3543"/>
                <a:gd name="T7" fmla="*/ 1024 h 3498"/>
                <a:gd name="T8" fmla="*/ 1674 w 3543"/>
                <a:gd name="T9" fmla="*/ 1033 h 3498"/>
                <a:gd name="T10" fmla="*/ 1617 w 3543"/>
                <a:gd name="T11" fmla="*/ 1185 h 3498"/>
                <a:gd name="T12" fmla="*/ 1915 w 3543"/>
                <a:gd name="T13" fmla="*/ 1363 h 3498"/>
                <a:gd name="T14" fmla="*/ 2305 w 3543"/>
                <a:gd name="T15" fmla="*/ 1651 h 3498"/>
                <a:gd name="T16" fmla="*/ 2280 w 3543"/>
                <a:gd name="T17" fmla="*/ 2065 h 3498"/>
                <a:gd name="T18" fmla="*/ 1887 w 3543"/>
                <a:gd name="T19" fmla="*/ 2311 h 3498"/>
                <a:gd name="T20" fmla="*/ 1729 w 3543"/>
                <a:gd name="T21" fmla="*/ 2570 h 3498"/>
                <a:gd name="T22" fmla="*/ 1637 w 3543"/>
                <a:gd name="T23" fmla="*/ 2459 h 3498"/>
                <a:gd name="T24" fmla="*/ 1248 w 3543"/>
                <a:gd name="T25" fmla="*/ 2243 h 3498"/>
                <a:gd name="T26" fmla="*/ 1210 w 3543"/>
                <a:gd name="T27" fmla="*/ 2190 h 3498"/>
                <a:gd name="T28" fmla="*/ 1280 w 3543"/>
                <a:gd name="T29" fmla="*/ 1921 h 3498"/>
                <a:gd name="T30" fmla="*/ 1777 w 3543"/>
                <a:gd name="T31" fmla="*/ 2027 h 3498"/>
                <a:gd name="T32" fmla="*/ 1948 w 3543"/>
                <a:gd name="T33" fmla="*/ 1876 h 3498"/>
                <a:gd name="T34" fmla="*/ 1731 w 3543"/>
                <a:gd name="T35" fmla="*/ 1673 h 3498"/>
                <a:gd name="T36" fmla="*/ 1330 w 3543"/>
                <a:gd name="T37" fmla="*/ 1463 h 3498"/>
                <a:gd name="T38" fmla="*/ 1229 w 3543"/>
                <a:gd name="T39" fmla="*/ 1086 h 3498"/>
                <a:gd name="T40" fmla="*/ 1531 w 3543"/>
                <a:gd name="T41" fmla="*/ 764 h 3498"/>
                <a:gd name="T42" fmla="*/ 919 w 3543"/>
                <a:gd name="T43" fmla="*/ 104 h 3498"/>
                <a:gd name="T44" fmla="*/ 919 w 3543"/>
                <a:gd name="T45" fmla="*/ 263 h 3498"/>
                <a:gd name="T46" fmla="*/ 919 w 3543"/>
                <a:gd name="T47" fmla="*/ 727 h 3498"/>
                <a:gd name="T48" fmla="*/ 778 w 3543"/>
                <a:gd name="T49" fmla="*/ 1823 h 3498"/>
                <a:gd name="T50" fmla="*/ 239 w 3543"/>
                <a:gd name="T51" fmla="*/ 1824 h 3498"/>
                <a:gd name="T52" fmla="*/ 271 w 3543"/>
                <a:gd name="T53" fmla="*/ 1855 h 3498"/>
                <a:gd name="T54" fmla="*/ 395 w 3543"/>
                <a:gd name="T55" fmla="*/ 1980 h 3498"/>
                <a:gd name="T56" fmla="*/ 678 w 3543"/>
                <a:gd name="T57" fmla="*/ 2264 h 3498"/>
                <a:gd name="T58" fmla="*/ 1183 w 3543"/>
                <a:gd name="T59" fmla="*/ 2769 h 3498"/>
                <a:gd name="T60" fmla="*/ 3195 w 3543"/>
                <a:gd name="T61" fmla="*/ 1823 h 3498"/>
                <a:gd name="T62" fmla="*/ 2625 w 3543"/>
                <a:gd name="T63" fmla="*/ 1817 h 3498"/>
                <a:gd name="T64" fmla="*/ 2625 w 3543"/>
                <a:gd name="T65" fmla="*/ 1658 h 3498"/>
                <a:gd name="T66" fmla="*/ 2625 w 3543"/>
                <a:gd name="T67" fmla="*/ 1194 h 3498"/>
                <a:gd name="T68" fmla="*/ 2622 w 3543"/>
                <a:gd name="T69" fmla="*/ 98 h 3498"/>
                <a:gd name="T70" fmla="*/ 2491 w 3543"/>
                <a:gd name="T71" fmla="*/ 98 h 3498"/>
                <a:gd name="T72" fmla="*/ 2075 w 3543"/>
                <a:gd name="T73" fmla="*/ 98 h 3498"/>
                <a:gd name="T74" fmla="*/ 825 w 3543"/>
                <a:gd name="T75" fmla="*/ 0 h 3498"/>
                <a:gd name="T76" fmla="*/ 2202 w 3543"/>
                <a:gd name="T77" fmla="*/ 0 h 3498"/>
                <a:gd name="T78" fmla="*/ 2723 w 3543"/>
                <a:gd name="T79" fmla="*/ 8 h 3498"/>
                <a:gd name="T80" fmla="*/ 2723 w 3543"/>
                <a:gd name="T81" fmla="*/ 222 h 3498"/>
                <a:gd name="T82" fmla="*/ 2723 w 3543"/>
                <a:gd name="T83" fmla="*/ 1430 h 3498"/>
                <a:gd name="T84" fmla="*/ 2723 w 3543"/>
                <a:gd name="T85" fmla="*/ 1724 h 3498"/>
                <a:gd name="T86" fmla="*/ 3522 w 3543"/>
                <a:gd name="T87" fmla="*/ 1744 h 3498"/>
                <a:gd name="T88" fmla="*/ 3375 w 3543"/>
                <a:gd name="T89" fmla="*/ 1893 h 3498"/>
                <a:gd name="T90" fmla="*/ 3360 w 3543"/>
                <a:gd name="T91" fmla="*/ 1908 h 3498"/>
                <a:gd name="T92" fmla="*/ 3274 w 3543"/>
                <a:gd name="T93" fmla="*/ 1994 h 3498"/>
                <a:gd name="T94" fmla="*/ 3051 w 3543"/>
                <a:gd name="T95" fmla="*/ 2217 h 3498"/>
                <a:gd name="T96" fmla="*/ 2627 w 3543"/>
                <a:gd name="T97" fmla="*/ 2641 h 3498"/>
                <a:gd name="T98" fmla="*/ 1937 w 3543"/>
                <a:gd name="T99" fmla="*/ 3331 h 3498"/>
                <a:gd name="T100" fmla="*/ 1805 w 3543"/>
                <a:gd name="T101" fmla="*/ 3464 h 3498"/>
                <a:gd name="T102" fmla="*/ 1748 w 3543"/>
                <a:gd name="T103" fmla="*/ 3473 h 3498"/>
                <a:gd name="T104" fmla="*/ 1692 w 3543"/>
                <a:gd name="T105" fmla="*/ 3418 h 3498"/>
                <a:gd name="T106" fmla="*/ 1316 w 3543"/>
                <a:gd name="T107" fmla="*/ 3038 h 3498"/>
                <a:gd name="T108" fmla="*/ 1304 w 3543"/>
                <a:gd name="T109" fmla="*/ 3026 h 3498"/>
                <a:gd name="T110" fmla="*/ 1220 w 3543"/>
                <a:gd name="T111" fmla="*/ 2941 h 3498"/>
                <a:gd name="T112" fmla="*/ 989 w 3543"/>
                <a:gd name="T113" fmla="*/ 2711 h 3498"/>
                <a:gd name="T114" fmla="*/ 539 w 3543"/>
                <a:gd name="T115" fmla="*/ 2263 h 3498"/>
                <a:gd name="T116" fmla="*/ 165 w 3543"/>
                <a:gd name="T117" fmla="*/ 1890 h 3498"/>
                <a:gd name="T118" fmla="*/ 78 w 3543"/>
                <a:gd name="T119" fmla="*/ 1802 h 3498"/>
                <a:gd name="T120" fmla="*/ 820 w 3543"/>
                <a:gd name="T121" fmla="*/ 633 h 3498"/>
                <a:gd name="T122" fmla="*/ 820 w 3543"/>
                <a:gd name="T123" fmla="*/ 237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43" h="3498">
                  <a:moveTo>
                    <a:pt x="1648" y="489"/>
                  </a:moveTo>
                  <a:lnTo>
                    <a:pt x="1652" y="489"/>
                  </a:lnTo>
                  <a:lnTo>
                    <a:pt x="1655" y="489"/>
                  </a:lnTo>
                  <a:lnTo>
                    <a:pt x="1660" y="489"/>
                  </a:lnTo>
                  <a:lnTo>
                    <a:pt x="1899" y="489"/>
                  </a:lnTo>
                  <a:lnTo>
                    <a:pt x="1899" y="714"/>
                  </a:lnTo>
                  <a:lnTo>
                    <a:pt x="1961" y="719"/>
                  </a:lnTo>
                  <a:lnTo>
                    <a:pt x="2018" y="725"/>
                  </a:lnTo>
                  <a:lnTo>
                    <a:pt x="2070" y="735"/>
                  </a:lnTo>
                  <a:lnTo>
                    <a:pt x="2117" y="746"/>
                  </a:lnTo>
                  <a:lnTo>
                    <a:pt x="2161" y="757"/>
                  </a:lnTo>
                  <a:lnTo>
                    <a:pt x="2200" y="771"/>
                  </a:lnTo>
                  <a:lnTo>
                    <a:pt x="2235" y="785"/>
                  </a:lnTo>
                  <a:lnTo>
                    <a:pt x="2268" y="800"/>
                  </a:lnTo>
                  <a:lnTo>
                    <a:pt x="2268" y="800"/>
                  </a:lnTo>
                  <a:lnTo>
                    <a:pt x="2267" y="801"/>
                  </a:lnTo>
                  <a:lnTo>
                    <a:pt x="2267" y="803"/>
                  </a:lnTo>
                  <a:lnTo>
                    <a:pt x="2266" y="805"/>
                  </a:lnTo>
                  <a:lnTo>
                    <a:pt x="2265" y="809"/>
                  </a:lnTo>
                  <a:lnTo>
                    <a:pt x="2264" y="815"/>
                  </a:lnTo>
                  <a:lnTo>
                    <a:pt x="2262" y="825"/>
                  </a:lnTo>
                  <a:lnTo>
                    <a:pt x="2259" y="837"/>
                  </a:lnTo>
                  <a:lnTo>
                    <a:pt x="2254" y="852"/>
                  </a:lnTo>
                  <a:lnTo>
                    <a:pt x="2250" y="870"/>
                  </a:lnTo>
                  <a:lnTo>
                    <a:pt x="2244" y="894"/>
                  </a:lnTo>
                  <a:lnTo>
                    <a:pt x="2237" y="922"/>
                  </a:lnTo>
                  <a:lnTo>
                    <a:pt x="2229" y="954"/>
                  </a:lnTo>
                  <a:lnTo>
                    <a:pt x="2219" y="993"/>
                  </a:lnTo>
                  <a:lnTo>
                    <a:pt x="2207" y="1037"/>
                  </a:lnTo>
                  <a:lnTo>
                    <a:pt x="2194" y="1087"/>
                  </a:lnTo>
                  <a:lnTo>
                    <a:pt x="2173" y="1079"/>
                  </a:lnTo>
                  <a:lnTo>
                    <a:pt x="2148" y="1068"/>
                  </a:lnTo>
                  <a:lnTo>
                    <a:pt x="2120" y="1056"/>
                  </a:lnTo>
                  <a:lnTo>
                    <a:pt x="2089" y="1046"/>
                  </a:lnTo>
                  <a:lnTo>
                    <a:pt x="2055" y="1034"/>
                  </a:lnTo>
                  <a:lnTo>
                    <a:pt x="2017" y="1024"/>
                  </a:lnTo>
                  <a:lnTo>
                    <a:pt x="1975" y="1014"/>
                  </a:lnTo>
                  <a:lnTo>
                    <a:pt x="1930" y="1008"/>
                  </a:lnTo>
                  <a:lnTo>
                    <a:pt x="1882" y="1004"/>
                  </a:lnTo>
                  <a:lnTo>
                    <a:pt x="1829" y="1001"/>
                  </a:lnTo>
                  <a:lnTo>
                    <a:pt x="1789" y="1004"/>
                  </a:lnTo>
                  <a:lnTo>
                    <a:pt x="1755" y="1007"/>
                  </a:lnTo>
                  <a:lnTo>
                    <a:pt x="1724" y="1013"/>
                  </a:lnTo>
                  <a:lnTo>
                    <a:pt x="1697" y="1022"/>
                  </a:lnTo>
                  <a:lnTo>
                    <a:pt x="1674" y="1033"/>
                  </a:lnTo>
                  <a:lnTo>
                    <a:pt x="1655" y="1046"/>
                  </a:lnTo>
                  <a:lnTo>
                    <a:pt x="1640" y="1059"/>
                  </a:lnTo>
                  <a:lnTo>
                    <a:pt x="1628" y="1075"/>
                  </a:lnTo>
                  <a:lnTo>
                    <a:pt x="1618" y="1090"/>
                  </a:lnTo>
                  <a:lnTo>
                    <a:pt x="1612" y="1107"/>
                  </a:lnTo>
                  <a:lnTo>
                    <a:pt x="1609" y="1124"/>
                  </a:lnTo>
                  <a:lnTo>
                    <a:pt x="1608" y="1141"/>
                  </a:lnTo>
                  <a:lnTo>
                    <a:pt x="1610" y="1164"/>
                  </a:lnTo>
                  <a:lnTo>
                    <a:pt x="1617" y="1185"/>
                  </a:lnTo>
                  <a:lnTo>
                    <a:pt x="1629" y="1206"/>
                  </a:lnTo>
                  <a:lnTo>
                    <a:pt x="1645" y="1225"/>
                  </a:lnTo>
                  <a:lnTo>
                    <a:pt x="1667" y="1244"/>
                  </a:lnTo>
                  <a:lnTo>
                    <a:pt x="1695" y="1263"/>
                  </a:lnTo>
                  <a:lnTo>
                    <a:pt x="1727" y="1282"/>
                  </a:lnTo>
                  <a:lnTo>
                    <a:pt x="1765" y="1301"/>
                  </a:lnTo>
                  <a:lnTo>
                    <a:pt x="1810" y="1321"/>
                  </a:lnTo>
                  <a:lnTo>
                    <a:pt x="1859" y="1341"/>
                  </a:lnTo>
                  <a:lnTo>
                    <a:pt x="1915" y="1363"/>
                  </a:lnTo>
                  <a:lnTo>
                    <a:pt x="1983" y="1389"/>
                  </a:lnTo>
                  <a:lnTo>
                    <a:pt x="2043" y="1414"/>
                  </a:lnTo>
                  <a:lnTo>
                    <a:pt x="2098" y="1442"/>
                  </a:lnTo>
                  <a:lnTo>
                    <a:pt x="2146" y="1472"/>
                  </a:lnTo>
                  <a:lnTo>
                    <a:pt x="2189" y="1504"/>
                  </a:lnTo>
                  <a:lnTo>
                    <a:pt x="2225" y="1537"/>
                  </a:lnTo>
                  <a:lnTo>
                    <a:pt x="2258" y="1572"/>
                  </a:lnTo>
                  <a:lnTo>
                    <a:pt x="2283" y="1611"/>
                  </a:lnTo>
                  <a:lnTo>
                    <a:pt x="2305" y="1651"/>
                  </a:lnTo>
                  <a:lnTo>
                    <a:pt x="2321" y="1694"/>
                  </a:lnTo>
                  <a:lnTo>
                    <a:pt x="2333" y="1739"/>
                  </a:lnTo>
                  <a:lnTo>
                    <a:pt x="2339" y="1787"/>
                  </a:lnTo>
                  <a:lnTo>
                    <a:pt x="2341" y="1839"/>
                  </a:lnTo>
                  <a:lnTo>
                    <a:pt x="2339" y="1887"/>
                  </a:lnTo>
                  <a:lnTo>
                    <a:pt x="2332" y="1934"/>
                  </a:lnTo>
                  <a:lnTo>
                    <a:pt x="2320" y="1979"/>
                  </a:lnTo>
                  <a:lnTo>
                    <a:pt x="2303" y="2023"/>
                  </a:lnTo>
                  <a:lnTo>
                    <a:pt x="2280" y="2065"/>
                  </a:lnTo>
                  <a:lnTo>
                    <a:pt x="2254" y="2105"/>
                  </a:lnTo>
                  <a:lnTo>
                    <a:pt x="2223" y="2141"/>
                  </a:lnTo>
                  <a:lnTo>
                    <a:pt x="2188" y="2176"/>
                  </a:lnTo>
                  <a:lnTo>
                    <a:pt x="2148" y="2208"/>
                  </a:lnTo>
                  <a:lnTo>
                    <a:pt x="2104" y="2236"/>
                  </a:lnTo>
                  <a:lnTo>
                    <a:pt x="2056" y="2260"/>
                  </a:lnTo>
                  <a:lnTo>
                    <a:pt x="2003" y="2281"/>
                  </a:lnTo>
                  <a:lnTo>
                    <a:pt x="1947" y="2298"/>
                  </a:lnTo>
                  <a:lnTo>
                    <a:pt x="1887" y="2311"/>
                  </a:lnTo>
                  <a:lnTo>
                    <a:pt x="1887" y="2570"/>
                  </a:lnTo>
                  <a:lnTo>
                    <a:pt x="1884" y="2570"/>
                  </a:lnTo>
                  <a:lnTo>
                    <a:pt x="1880" y="2570"/>
                  </a:lnTo>
                  <a:lnTo>
                    <a:pt x="1875" y="2570"/>
                  </a:lnTo>
                  <a:lnTo>
                    <a:pt x="1866" y="2570"/>
                  </a:lnTo>
                  <a:lnTo>
                    <a:pt x="1856" y="2570"/>
                  </a:lnTo>
                  <a:lnTo>
                    <a:pt x="1796" y="2570"/>
                  </a:lnTo>
                  <a:lnTo>
                    <a:pt x="1765" y="2570"/>
                  </a:lnTo>
                  <a:lnTo>
                    <a:pt x="1729" y="2570"/>
                  </a:lnTo>
                  <a:lnTo>
                    <a:pt x="1637" y="2570"/>
                  </a:lnTo>
                  <a:lnTo>
                    <a:pt x="1637" y="2570"/>
                  </a:lnTo>
                  <a:lnTo>
                    <a:pt x="1637" y="2569"/>
                  </a:lnTo>
                  <a:lnTo>
                    <a:pt x="1637" y="2567"/>
                  </a:lnTo>
                  <a:lnTo>
                    <a:pt x="1637" y="2563"/>
                  </a:lnTo>
                  <a:lnTo>
                    <a:pt x="1637" y="2556"/>
                  </a:lnTo>
                  <a:lnTo>
                    <a:pt x="1637" y="2513"/>
                  </a:lnTo>
                  <a:lnTo>
                    <a:pt x="1637" y="2489"/>
                  </a:lnTo>
                  <a:lnTo>
                    <a:pt x="1637" y="2459"/>
                  </a:lnTo>
                  <a:lnTo>
                    <a:pt x="1637" y="2423"/>
                  </a:lnTo>
                  <a:lnTo>
                    <a:pt x="1637" y="2380"/>
                  </a:lnTo>
                  <a:lnTo>
                    <a:pt x="1637" y="2327"/>
                  </a:lnTo>
                  <a:lnTo>
                    <a:pt x="1563" y="2323"/>
                  </a:lnTo>
                  <a:lnTo>
                    <a:pt x="1493" y="2314"/>
                  </a:lnTo>
                  <a:lnTo>
                    <a:pt x="1424" y="2300"/>
                  </a:lnTo>
                  <a:lnTo>
                    <a:pt x="1359" y="2284"/>
                  </a:lnTo>
                  <a:lnTo>
                    <a:pt x="1300" y="2265"/>
                  </a:lnTo>
                  <a:lnTo>
                    <a:pt x="1248" y="2243"/>
                  </a:lnTo>
                  <a:lnTo>
                    <a:pt x="1201" y="2221"/>
                  </a:lnTo>
                  <a:lnTo>
                    <a:pt x="1201" y="2221"/>
                  </a:lnTo>
                  <a:lnTo>
                    <a:pt x="1201" y="2221"/>
                  </a:lnTo>
                  <a:lnTo>
                    <a:pt x="1202" y="2220"/>
                  </a:lnTo>
                  <a:lnTo>
                    <a:pt x="1202" y="2217"/>
                  </a:lnTo>
                  <a:lnTo>
                    <a:pt x="1203" y="2213"/>
                  </a:lnTo>
                  <a:lnTo>
                    <a:pt x="1205" y="2208"/>
                  </a:lnTo>
                  <a:lnTo>
                    <a:pt x="1207" y="2200"/>
                  </a:lnTo>
                  <a:lnTo>
                    <a:pt x="1210" y="2190"/>
                  </a:lnTo>
                  <a:lnTo>
                    <a:pt x="1213" y="2177"/>
                  </a:lnTo>
                  <a:lnTo>
                    <a:pt x="1217" y="2159"/>
                  </a:lnTo>
                  <a:lnTo>
                    <a:pt x="1223" y="2140"/>
                  </a:lnTo>
                  <a:lnTo>
                    <a:pt x="1229" y="2115"/>
                  </a:lnTo>
                  <a:lnTo>
                    <a:pt x="1237" y="2087"/>
                  </a:lnTo>
                  <a:lnTo>
                    <a:pt x="1245" y="2054"/>
                  </a:lnTo>
                  <a:lnTo>
                    <a:pt x="1255" y="2015"/>
                  </a:lnTo>
                  <a:lnTo>
                    <a:pt x="1267" y="1971"/>
                  </a:lnTo>
                  <a:lnTo>
                    <a:pt x="1280" y="1921"/>
                  </a:lnTo>
                  <a:lnTo>
                    <a:pt x="1328" y="1945"/>
                  </a:lnTo>
                  <a:lnTo>
                    <a:pt x="1381" y="1968"/>
                  </a:lnTo>
                  <a:lnTo>
                    <a:pt x="1439" y="1988"/>
                  </a:lnTo>
                  <a:lnTo>
                    <a:pt x="1500" y="2007"/>
                  </a:lnTo>
                  <a:lnTo>
                    <a:pt x="1566" y="2020"/>
                  </a:lnTo>
                  <a:lnTo>
                    <a:pt x="1632" y="2029"/>
                  </a:lnTo>
                  <a:lnTo>
                    <a:pt x="1702" y="2033"/>
                  </a:lnTo>
                  <a:lnTo>
                    <a:pt x="1741" y="2030"/>
                  </a:lnTo>
                  <a:lnTo>
                    <a:pt x="1777" y="2027"/>
                  </a:lnTo>
                  <a:lnTo>
                    <a:pt x="1811" y="2021"/>
                  </a:lnTo>
                  <a:lnTo>
                    <a:pt x="1841" y="2011"/>
                  </a:lnTo>
                  <a:lnTo>
                    <a:pt x="1869" y="1999"/>
                  </a:lnTo>
                  <a:lnTo>
                    <a:pt x="1891" y="1985"/>
                  </a:lnTo>
                  <a:lnTo>
                    <a:pt x="1912" y="1968"/>
                  </a:lnTo>
                  <a:lnTo>
                    <a:pt x="1927" y="1949"/>
                  </a:lnTo>
                  <a:lnTo>
                    <a:pt x="1938" y="1927"/>
                  </a:lnTo>
                  <a:lnTo>
                    <a:pt x="1946" y="1902"/>
                  </a:lnTo>
                  <a:lnTo>
                    <a:pt x="1948" y="1876"/>
                  </a:lnTo>
                  <a:lnTo>
                    <a:pt x="1946" y="1848"/>
                  </a:lnTo>
                  <a:lnTo>
                    <a:pt x="1938" y="1821"/>
                  </a:lnTo>
                  <a:lnTo>
                    <a:pt x="1926" y="1796"/>
                  </a:lnTo>
                  <a:lnTo>
                    <a:pt x="1907" y="1773"/>
                  </a:lnTo>
                  <a:lnTo>
                    <a:pt x="1884" y="1752"/>
                  </a:lnTo>
                  <a:lnTo>
                    <a:pt x="1854" y="1730"/>
                  </a:lnTo>
                  <a:lnTo>
                    <a:pt x="1819" y="1711"/>
                  </a:lnTo>
                  <a:lnTo>
                    <a:pt x="1778" y="1692"/>
                  </a:lnTo>
                  <a:lnTo>
                    <a:pt x="1731" y="1673"/>
                  </a:lnTo>
                  <a:lnTo>
                    <a:pt x="1677" y="1654"/>
                  </a:lnTo>
                  <a:lnTo>
                    <a:pt x="1625" y="1635"/>
                  </a:lnTo>
                  <a:lnTo>
                    <a:pt x="1574" y="1614"/>
                  </a:lnTo>
                  <a:lnTo>
                    <a:pt x="1526" y="1593"/>
                  </a:lnTo>
                  <a:lnTo>
                    <a:pt x="1481" y="1570"/>
                  </a:lnTo>
                  <a:lnTo>
                    <a:pt x="1438" y="1545"/>
                  </a:lnTo>
                  <a:lnTo>
                    <a:pt x="1399" y="1520"/>
                  </a:lnTo>
                  <a:lnTo>
                    <a:pt x="1363" y="1492"/>
                  </a:lnTo>
                  <a:lnTo>
                    <a:pt x="1330" y="1463"/>
                  </a:lnTo>
                  <a:lnTo>
                    <a:pt x="1301" y="1430"/>
                  </a:lnTo>
                  <a:lnTo>
                    <a:pt x="1277" y="1396"/>
                  </a:lnTo>
                  <a:lnTo>
                    <a:pt x="1256" y="1359"/>
                  </a:lnTo>
                  <a:lnTo>
                    <a:pt x="1240" y="1321"/>
                  </a:lnTo>
                  <a:lnTo>
                    <a:pt x="1228" y="1279"/>
                  </a:lnTo>
                  <a:lnTo>
                    <a:pt x="1221" y="1234"/>
                  </a:lnTo>
                  <a:lnTo>
                    <a:pt x="1219" y="1186"/>
                  </a:lnTo>
                  <a:lnTo>
                    <a:pt x="1221" y="1135"/>
                  </a:lnTo>
                  <a:lnTo>
                    <a:pt x="1229" y="1086"/>
                  </a:lnTo>
                  <a:lnTo>
                    <a:pt x="1243" y="1039"/>
                  </a:lnTo>
                  <a:lnTo>
                    <a:pt x="1262" y="994"/>
                  </a:lnTo>
                  <a:lnTo>
                    <a:pt x="1286" y="952"/>
                  </a:lnTo>
                  <a:lnTo>
                    <a:pt x="1315" y="912"/>
                  </a:lnTo>
                  <a:lnTo>
                    <a:pt x="1350" y="876"/>
                  </a:lnTo>
                  <a:lnTo>
                    <a:pt x="1388" y="842"/>
                  </a:lnTo>
                  <a:lnTo>
                    <a:pt x="1431" y="813"/>
                  </a:lnTo>
                  <a:lnTo>
                    <a:pt x="1480" y="786"/>
                  </a:lnTo>
                  <a:lnTo>
                    <a:pt x="1531" y="764"/>
                  </a:lnTo>
                  <a:lnTo>
                    <a:pt x="1588" y="746"/>
                  </a:lnTo>
                  <a:lnTo>
                    <a:pt x="1648" y="730"/>
                  </a:lnTo>
                  <a:lnTo>
                    <a:pt x="1648" y="489"/>
                  </a:lnTo>
                  <a:close/>
                  <a:moveTo>
                    <a:pt x="1439" y="98"/>
                  </a:moveTo>
                  <a:lnTo>
                    <a:pt x="1321" y="98"/>
                  </a:lnTo>
                  <a:lnTo>
                    <a:pt x="919" y="98"/>
                  </a:lnTo>
                  <a:lnTo>
                    <a:pt x="919" y="99"/>
                  </a:lnTo>
                  <a:lnTo>
                    <a:pt x="919" y="102"/>
                  </a:lnTo>
                  <a:lnTo>
                    <a:pt x="919" y="104"/>
                  </a:lnTo>
                  <a:lnTo>
                    <a:pt x="919" y="107"/>
                  </a:lnTo>
                  <a:lnTo>
                    <a:pt x="919" y="112"/>
                  </a:lnTo>
                  <a:lnTo>
                    <a:pt x="919" y="119"/>
                  </a:lnTo>
                  <a:lnTo>
                    <a:pt x="919" y="128"/>
                  </a:lnTo>
                  <a:lnTo>
                    <a:pt x="919" y="139"/>
                  </a:lnTo>
                  <a:lnTo>
                    <a:pt x="919" y="152"/>
                  </a:lnTo>
                  <a:lnTo>
                    <a:pt x="919" y="209"/>
                  </a:lnTo>
                  <a:lnTo>
                    <a:pt x="919" y="234"/>
                  </a:lnTo>
                  <a:lnTo>
                    <a:pt x="919" y="263"/>
                  </a:lnTo>
                  <a:lnTo>
                    <a:pt x="919" y="296"/>
                  </a:lnTo>
                  <a:lnTo>
                    <a:pt x="919" y="333"/>
                  </a:lnTo>
                  <a:lnTo>
                    <a:pt x="919" y="375"/>
                  </a:lnTo>
                  <a:lnTo>
                    <a:pt x="919" y="420"/>
                  </a:lnTo>
                  <a:lnTo>
                    <a:pt x="919" y="471"/>
                  </a:lnTo>
                  <a:lnTo>
                    <a:pt x="919" y="526"/>
                  </a:lnTo>
                  <a:lnTo>
                    <a:pt x="919" y="587"/>
                  </a:lnTo>
                  <a:lnTo>
                    <a:pt x="919" y="654"/>
                  </a:lnTo>
                  <a:lnTo>
                    <a:pt x="919" y="727"/>
                  </a:lnTo>
                  <a:lnTo>
                    <a:pt x="919" y="890"/>
                  </a:lnTo>
                  <a:lnTo>
                    <a:pt x="919" y="981"/>
                  </a:lnTo>
                  <a:lnTo>
                    <a:pt x="919" y="1079"/>
                  </a:lnTo>
                  <a:lnTo>
                    <a:pt x="919" y="1184"/>
                  </a:lnTo>
                  <a:lnTo>
                    <a:pt x="919" y="1296"/>
                  </a:lnTo>
                  <a:lnTo>
                    <a:pt x="919" y="1416"/>
                  </a:lnTo>
                  <a:lnTo>
                    <a:pt x="919" y="1823"/>
                  </a:lnTo>
                  <a:lnTo>
                    <a:pt x="808" y="1823"/>
                  </a:lnTo>
                  <a:lnTo>
                    <a:pt x="778" y="1823"/>
                  </a:lnTo>
                  <a:lnTo>
                    <a:pt x="744" y="1823"/>
                  </a:lnTo>
                  <a:lnTo>
                    <a:pt x="703" y="1823"/>
                  </a:lnTo>
                  <a:lnTo>
                    <a:pt x="657" y="1823"/>
                  </a:lnTo>
                  <a:lnTo>
                    <a:pt x="605" y="1823"/>
                  </a:lnTo>
                  <a:lnTo>
                    <a:pt x="237" y="1823"/>
                  </a:lnTo>
                  <a:lnTo>
                    <a:pt x="237" y="1823"/>
                  </a:lnTo>
                  <a:lnTo>
                    <a:pt x="237" y="1823"/>
                  </a:lnTo>
                  <a:lnTo>
                    <a:pt x="239" y="1823"/>
                  </a:lnTo>
                  <a:lnTo>
                    <a:pt x="239" y="1824"/>
                  </a:lnTo>
                  <a:lnTo>
                    <a:pt x="240" y="1825"/>
                  </a:lnTo>
                  <a:lnTo>
                    <a:pt x="241" y="1826"/>
                  </a:lnTo>
                  <a:lnTo>
                    <a:pt x="243" y="1828"/>
                  </a:lnTo>
                  <a:lnTo>
                    <a:pt x="245" y="1830"/>
                  </a:lnTo>
                  <a:lnTo>
                    <a:pt x="248" y="1834"/>
                  </a:lnTo>
                  <a:lnTo>
                    <a:pt x="253" y="1838"/>
                  </a:lnTo>
                  <a:lnTo>
                    <a:pt x="258" y="1842"/>
                  </a:lnTo>
                  <a:lnTo>
                    <a:pt x="263" y="1849"/>
                  </a:lnTo>
                  <a:lnTo>
                    <a:pt x="271" y="1855"/>
                  </a:lnTo>
                  <a:lnTo>
                    <a:pt x="278" y="1864"/>
                  </a:lnTo>
                  <a:lnTo>
                    <a:pt x="288" y="1872"/>
                  </a:lnTo>
                  <a:lnTo>
                    <a:pt x="299" y="1883"/>
                  </a:lnTo>
                  <a:lnTo>
                    <a:pt x="311" y="1895"/>
                  </a:lnTo>
                  <a:lnTo>
                    <a:pt x="325" y="1909"/>
                  </a:lnTo>
                  <a:lnTo>
                    <a:pt x="340" y="1924"/>
                  </a:lnTo>
                  <a:lnTo>
                    <a:pt x="356" y="1941"/>
                  </a:lnTo>
                  <a:lnTo>
                    <a:pt x="375" y="1959"/>
                  </a:lnTo>
                  <a:lnTo>
                    <a:pt x="395" y="1980"/>
                  </a:lnTo>
                  <a:lnTo>
                    <a:pt x="418" y="2002"/>
                  </a:lnTo>
                  <a:lnTo>
                    <a:pt x="442" y="2027"/>
                  </a:lnTo>
                  <a:lnTo>
                    <a:pt x="469" y="2054"/>
                  </a:lnTo>
                  <a:lnTo>
                    <a:pt x="498" y="2083"/>
                  </a:lnTo>
                  <a:lnTo>
                    <a:pt x="529" y="2114"/>
                  </a:lnTo>
                  <a:lnTo>
                    <a:pt x="562" y="2148"/>
                  </a:lnTo>
                  <a:lnTo>
                    <a:pt x="599" y="2183"/>
                  </a:lnTo>
                  <a:lnTo>
                    <a:pt x="637" y="2222"/>
                  </a:lnTo>
                  <a:lnTo>
                    <a:pt x="678" y="2264"/>
                  </a:lnTo>
                  <a:lnTo>
                    <a:pt x="722" y="2307"/>
                  </a:lnTo>
                  <a:lnTo>
                    <a:pt x="768" y="2354"/>
                  </a:lnTo>
                  <a:lnTo>
                    <a:pt x="819" y="2403"/>
                  </a:lnTo>
                  <a:lnTo>
                    <a:pt x="871" y="2457"/>
                  </a:lnTo>
                  <a:lnTo>
                    <a:pt x="927" y="2513"/>
                  </a:lnTo>
                  <a:lnTo>
                    <a:pt x="986" y="2571"/>
                  </a:lnTo>
                  <a:lnTo>
                    <a:pt x="1049" y="2635"/>
                  </a:lnTo>
                  <a:lnTo>
                    <a:pt x="1114" y="2700"/>
                  </a:lnTo>
                  <a:lnTo>
                    <a:pt x="1183" y="2769"/>
                  </a:lnTo>
                  <a:lnTo>
                    <a:pt x="1256" y="2842"/>
                  </a:lnTo>
                  <a:lnTo>
                    <a:pt x="1332" y="2918"/>
                  </a:lnTo>
                  <a:lnTo>
                    <a:pt x="1412" y="2998"/>
                  </a:lnTo>
                  <a:lnTo>
                    <a:pt x="1497" y="3082"/>
                  </a:lnTo>
                  <a:lnTo>
                    <a:pt x="1584" y="3170"/>
                  </a:lnTo>
                  <a:lnTo>
                    <a:pt x="1676" y="3263"/>
                  </a:lnTo>
                  <a:lnTo>
                    <a:pt x="1772" y="3358"/>
                  </a:lnTo>
                  <a:lnTo>
                    <a:pt x="3305" y="1823"/>
                  </a:lnTo>
                  <a:lnTo>
                    <a:pt x="3195" y="1823"/>
                  </a:lnTo>
                  <a:lnTo>
                    <a:pt x="3165" y="1823"/>
                  </a:lnTo>
                  <a:lnTo>
                    <a:pt x="3130" y="1823"/>
                  </a:lnTo>
                  <a:lnTo>
                    <a:pt x="3089" y="1823"/>
                  </a:lnTo>
                  <a:lnTo>
                    <a:pt x="3043" y="1823"/>
                  </a:lnTo>
                  <a:lnTo>
                    <a:pt x="2992" y="1823"/>
                  </a:lnTo>
                  <a:lnTo>
                    <a:pt x="2625" y="1823"/>
                  </a:lnTo>
                  <a:lnTo>
                    <a:pt x="2625" y="1822"/>
                  </a:lnTo>
                  <a:lnTo>
                    <a:pt x="2625" y="1820"/>
                  </a:lnTo>
                  <a:lnTo>
                    <a:pt x="2625" y="1817"/>
                  </a:lnTo>
                  <a:lnTo>
                    <a:pt x="2625" y="1814"/>
                  </a:lnTo>
                  <a:lnTo>
                    <a:pt x="2625" y="1809"/>
                  </a:lnTo>
                  <a:lnTo>
                    <a:pt x="2625" y="1802"/>
                  </a:lnTo>
                  <a:lnTo>
                    <a:pt x="2625" y="1794"/>
                  </a:lnTo>
                  <a:lnTo>
                    <a:pt x="2625" y="1782"/>
                  </a:lnTo>
                  <a:lnTo>
                    <a:pt x="2625" y="1769"/>
                  </a:lnTo>
                  <a:lnTo>
                    <a:pt x="2625" y="1712"/>
                  </a:lnTo>
                  <a:lnTo>
                    <a:pt x="2625" y="1687"/>
                  </a:lnTo>
                  <a:lnTo>
                    <a:pt x="2625" y="1658"/>
                  </a:lnTo>
                  <a:lnTo>
                    <a:pt x="2625" y="1625"/>
                  </a:lnTo>
                  <a:lnTo>
                    <a:pt x="2625" y="1588"/>
                  </a:lnTo>
                  <a:lnTo>
                    <a:pt x="2625" y="1547"/>
                  </a:lnTo>
                  <a:lnTo>
                    <a:pt x="2625" y="1501"/>
                  </a:lnTo>
                  <a:lnTo>
                    <a:pt x="2625" y="1450"/>
                  </a:lnTo>
                  <a:lnTo>
                    <a:pt x="2625" y="1395"/>
                  </a:lnTo>
                  <a:lnTo>
                    <a:pt x="2625" y="1334"/>
                  </a:lnTo>
                  <a:lnTo>
                    <a:pt x="2625" y="1267"/>
                  </a:lnTo>
                  <a:lnTo>
                    <a:pt x="2625" y="1194"/>
                  </a:lnTo>
                  <a:lnTo>
                    <a:pt x="2625" y="1032"/>
                  </a:lnTo>
                  <a:lnTo>
                    <a:pt x="2625" y="940"/>
                  </a:lnTo>
                  <a:lnTo>
                    <a:pt x="2625" y="842"/>
                  </a:lnTo>
                  <a:lnTo>
                    <a:pt x="2625" y="737"/>
                  </a:lnTo>
                  <a:lnTo>
                    <a:pt x="2625" y="625"/>
                  </a:lnTo>
                  <a:lnTo>
                    <a:pt x="2625" y="505"/>
                  </a:lnTo>
                  <a:lnTo>
                    <a:pt x="2625" y="98"/>
                  </a:lnTo>
                  <a:lnTo>
                    <a:pt x="2624" y="98"/>
                  </a:lnTo>
                  <a:lnTo>
                    <a:pt x="2622" y="98"/>
                  </a:lnTo>
                  <a:lnTo>
                    <a:pt x="2620" y="98"/>
                  </a:lnTo>
                  <a:lnTo>
                    <a:pt x="2617" y="98"/>
                  </a:lnTo>
                  <a:lnTo>
                    <a:pt x="2611" y="98"/>
                  </a:lnTo>
                  <a:lnTo>
                    <a:pt x="2605" y="98"/>
                  </a:lnTo>
                  <a:lnTo>
                    <a:pt x="2596" y="98"/>
                  </a:lnTo>
                  <a:lnTo>
                    <a:pt x="2585" y="98"/>
                  </a:lnTo>
                  <a:lnTo>
                    <a:pt x="2571" y="98"/>
                  </a:lnTo>
                  <a:lnTo>
                    <a:pt x="2516" y="98"/>
                  </a:lnTo>
                  <a:lnTo>
                    <a:pt x="2491" y="98"/>
                  </a:lnTo>
                  <a:lnTo>
                    <a:pt x="2462" y="98"/>
                  </a:lnTo>
                  <a:lnTo>
                    <a:pt x="2430" y="98"/>
                  </a:lnTo>
                  <a:lnTo>
                    <a:pt x="2393" y="98"/>
                  </a:lnTo>
                  <a:lnTo>
                    <a:pt x="2352" y="98"/>
                  </a:lnTo>
                  <a:lnTo>
                    <a:pt x="2306" y="98"/>
                  </a:lnTo>
                  <a:lnTo>
                    <a:pt x="2257" y="98"/>
                  </a:lnTo>
                  <a:lnTo>
                    <a:pt x="2201" y="98"/>
                  </a:lnTo>
                  <a:lnTo>
                    <a:pt x="2140" y="98"/>
                  </a:lnTo>
                  <a:lnTo>
                    <a:pt x="2075" y="98"/>
                  </a:lnTo>
                  <a:lnTo>
                    <a:pt x="2003" y="98"/>
                  </a:lnTo>
                  <a:lnTo>
                    <a:pt x="1842" y="98"/>
                  </a:lnTo>
                  <a:lnTo>
                    <a:pt x="1752" y="98"/>
                  </a:lnTo>
                  <a:lnTo>
                    <a:pt x="1654" y="98"/>
                  </a:lnTo>
                  <a:lnTo>
                    <a:pt x="1551" y="98"/>
                  </a:lnTo>
                  <a:lnTo>
                    <a:pt x="1439" y="98"/>
                  </a:lnTo>
                  <a:close/>
                  <a:moveTo>
                    <a:pt x="820" y="0"/>
                  </a:moveTo>
                  <a:lnTo>
                    <a:pt x="824" y="0"/>
                  </a:lnTo>
                  <a:lnTo>
                    <a:pt x="825" y="0"/>
                  </a:lnTo>
                  <a:lnTo>
                    <a:pt x="830" y="0"/>
                  </a:lnTo>
                  <a:lnTo>
                    <a:pt x="837" y="0"/>
                  </a:lnTo>
                  <a:lnTo>
                    <a:pt x="953" y="0"/>
                  </a:lnTo>
                  <a:lnTo>
                    <a:pt x="989" y="0"/>
                  </a:lnTo>
                  <a:lnTo>
                    <a:pt x="1030" y="0"/>
                  </a:lnTo>
                  <a:lnTo>
                    <a:pt x="1050" y="0"/>
                  </a:lnTo>
                  <a:lnTo>
                    <a:pt x="2104" y="0"/>
                  </a:lnTo>
                  <a:lnTo>
                    <a:pt x="2132" y="0"/>
                  </a:lnTo>
                  <a:lnTo>
                    <a:pt x="2202" y="0"/>
                  </a:lnTo>
                  <a:lnTo>
                    <a:pt x="2245" y="0"/>
                  </a:lnTo>
                  <a:lnTo>
                    <a:pt x="2293" y="0"/>
                  </a:lnTo>
                  <a:lnTo>
                    <a:pt x="2347" y="0"/>
                  </a:lnTo>
                  <a:lnTo>
                    <a:pt x="2408" y="0"/>
                  </a:lnTo>
                  <a:lnTo>
                    <a:pt x="2723" y="0"/>
                  </a:lnTo>
                  <a:lnTo>
                    <a:pt x="2723" y="0"/>
                  </a:lnTo>
                  <a:lnTo>
                    <a:pt x="2723" y="0"/>
                  </a:lnTo>
                  <a:lnTo>
                    <a:pt x="2723" y="2"/>
                  </a:lnTo>
                  <a:lnTo>
                    <a:pt x="2723" y="8"/>
                  </a:lnTo>
                  <a:lnTo>
                    <a:pt x="2723" y="14"/>
                  </a:lnTo>
                  <a:lnTo>
                    <a:pt x="2723" y="23"/>
                  </a:lnTo>
                  <a:lnTo>
                    <a:pt x="2723" y="34"/>
                  </a:lnTo>
                  <a:lnTo>
                    <a:pt x="2723" y="48"/>
                  </a:lnTo>
                  <a:lnTo>
                    <a:pt x="2723" y="66"/>
                  </a:lnTo>
                  <a:lnTo>
                    <a:pt x="2723" y="88"/>
                  </a:lnTo>
                  <a:lnTo>
                    <a:pt x="2723" y="113"/>
                  </a:lnTo>
                  <a:lnTo>
                    <a:pt x="2723" y="180"/>
                  </a:lnTo>
                  <a:lnTo>
                    <a:pt x="2723" y="222"/>
                  </a:lnTo>
                  <a:lnTo>
                    <a:pt x="2723" y="269"/>
                  </a:lnTo>
                  <a:lnTo>
                    <a:pt x="2723" y="382"/>
                  </a:lnTo>
                  <a:lnTo>
                    <a:pt x="2723" y="450"/>
                  </a:lnTo>
                  <a:lnTo>
                    <a:pt x="2723" y="525"/>
                  </a:lnTo>
                  <a:lnTo>
                    <a:pt x="2723" y="1424"/>
                  </a:lnTo>
                  <a:lnTo>
                    <a:pt x="2723" y="1425"/>
                  </a:lnTo>
                  <a:lnTo>
                    <a:pt x="2723" y="1425"/>
                  </a:lnTo>
                  <a:lnTo>
                    <a:pt x="2723" y="1427"/>
                  </a:lnTo>
                  <a:lnTo>
                    <a:pt x="2723" y="1430"/>
                  </a:lnTo>
                  <a:lnTo>
                    <a:pt x="2723" y="1443"/>
                  </a:lnTo>
                  <a:lnTo>
                    <a:pt x="2723" y="1455"/>
                  </a:lnTo>
                  <a:lnTo>
                    <a:pt x="2723" y="1470"/>
                  </a:lnTo>
                  <a:lnTo>
                    <a:pt x="2723" y="1490"/>
                  </a:lnTo>
                  <a:lnTo>
                    <a:pt x="2723" y="1542"/>
                  </a:lnTo>
                  <a:lnTo>
                    <a:pt x="2723" y="1578"/>
                  </a:lnTo>
                  <a:lnTo>
                    <a:pt x="2723" y="1620"/>
                  </a:lnTo>
                  <a:lnTo>
                    <a:pt x="2723" y="1668"/>
                  </a:lnTo>
                  <a:lnTo>
                    <a:pt x="2723" y="1724"/>
                  </a:lnTo>
                  <a:lnTo>
                    <a:pt x="3543" y="1724"/>
                  </a:lnTo>
                  <a:lnTo>
                    <a:pt x="3543" y="1724"/>
                  </a:lnTo>
                  <a:lnTo>
                    <a:pt x="3543" y="1725"/>
                  </a:lnTo>
                  <a:lnTo>
                    <a:pt x="3542" y="1725"/>
                  </a:lnTo>
                  <a:lnTo>
                    <a:pt x="3541" y="1727"/>
                  </a:lnTo>
                  <a:lnTo>
                    <a:pt x="3538" y="1729"/>
                  </a:lnTo>
                  <a:lnTo>
                    <a:pt x="3534" y="1733"/>
                  </a:lnTo>
                  <a:lnTo>
                    <a:pt x="3529" y="1738"/>
                  </a:lnTo>
                  <a:lnTo>
                    <a:pt x="3522" y="1744"/>
                  </a:lnTo>
                  <a:lnTo>
                    <a:pt x="3514" y="1754"/>
                  </a:lnTo>
                  <a:lnTo>
                    <a:pt x="3502" y="1765"/>
                  </a:lnTo>
                  <a:lnTo>
                    <a:pt x="3489" y="1779"/>
                  </a:lnTo>
                  <a:lnTo>
                    <a:pt x="3472" y="1795"/>
                  </a:lnTo>
                  <a:lnTo>
                    <a:pt x="3454" y="1814"/>
                  </a:lnTo>
                  <a:lnTo>
                    <a:pt x="3431" y="1837"/>
                  </a:lnTo>
                  <a:lnTo>
                    <a:pt x="3405" y="1863"/>
                  </a:lnTo>
                  <a:lnTo>
                    <a:pt x="3375" y="1893"/>
                  </a:lnTo>
                  <a:lnTo>
                    <a:pt x="3375" y="1893"/>
                  </a:lnTo>
                  <a:lnTo>
                    <a:pt x="3375" y="1893"/>
                  </a:lnTo>
                  <a:lnTo>
                    <a:pt x="3375" y="1893"/>
                  </a:lnTo>
                  <a:lnTo>
                    <a:pt x="3374" y="1894"/>
                  </a:lnTo>
                  <a:lnTo>
                    <a:pt x="3373" y="1894"/>
                  </a:lnTo>
                  <a:lnTo>
                    <a:pt x="3372" y="1896"/>
                  </a:lnTo>
                  <a:lnTo>
                    <a:pt x="3370" y="1897"/>
                  </a:lnTo>
                  <a:lnTo>
                    <a:pt x="3368" y="1900"/>
                  </a:lnTo>
                  <a:lnTo>
                    <a:pt x="3364" y="1904"/>
                  </a:lnTo>
                  <a:lnTo>
                    <a:pt x="3360" y="1908"/>
                  </a:lnTo>
                  <a:lnTo>
                    <a:pt x="3356" y="1912"/>
                  </a:lnTo>
                  <a:lnTo>
                    <a:pt x="3349" y="1919"/>
                  </a:lnTo>
                  <a:lnTo>
                    <a:pt x="3343" y="1925"/>
                  </a:lnTo>
                  <a:lnTo>
                    <a:pt x="3334" y="1933"/>
                  </a:lnTo>
                  <a:lnTo>
                    <a:pt x="3326" y="1942"/>
                  </a:lnTo>
                  <a:lnTo>
                    <a:pt x="3315" y="1953"/>
                  </a:lnTo>
                  <a:lnTo>
                    <a:pt x="3303" y="1965"/>
                  </a:lnTo>
                  <a:lnTo>
                    <a:pt x="3289" y="1979"/>
                  </a:lnTo>
                  <a:lnTo>
                    <a:pt x="3274" y="1994"/>
                  </a:lnTo>
                  <a:lnTo>
                    <a:pt x="3257" y="2011"/>
                  </a:lnTo>
                  <a:lnTo>
                    <a:pt x="3239" y="2029"/>
                  </a:lnTo>
                  <a:lnTo>
                    <a:pt x="3218" y="2050"/>
                  </a:lnTo>
                  <a:lnTo>
                    <a:pt x="3196" y="2072"/>
                  </a:lnTo>
                  <a:lnTo>
                    <a:pt x="3171" y="2097"/>
                  </a:lnTo>
                  <a:lnTo>
                    <a:pt x="3144" y="2124"/>
                  </a:lnTo>
                  <a:lnTo>
                    <a:pt x="3115" y="2152"/>
                  </a:lnTo>
                  <a:lnTo>
                    <a:pt x="3084" y="2183"/>
                  </a:lnTo>
                  <a:lnTo>
                    <a:pt x="3051" y="2217"/>
                  </a:lnTo>
                  <a:lnTo>
                    <a:pt x="3015" y="2253"/>
                  </a:lnTo>
                  <a:lnTo>
                    <a:pt x="2976" y="2292"/>
                  </a:lnTo>
                  <a:lnTo>
                    <a:pt x="2935" y="2333"/>
                  </a:lnTo>
                  <a:lnTo>
                    <a:pt x="2892" y="2377"/>
                  </a:lnTo>
                  <a:lnTo>
                    <a:pt x="2844" y="2424"/>
                  </a:lnTo>
                  <a:lnTo>
                    <a:pt x="2795" y="2473"/>
                  </a:lnTo>
                  <a:lnTo>
                    <a:pt x="2742" y="2526"/>
                  </a:lnTo>
                  <a:lnTo>
                    <a:pt x="2686" y="2582"/>
                  </a:lnTo>
                  <a:lnTo>
                    <a:pt x="2627" y="2641"/>
                  </a:lnTo>
                  <a:lnTo>
                    <a:pt x="2565" y="2703"/>
                  </a:lnTo>
                  <a:lnTo>
                    <a:pt x="2499" y="2770"/>
                  </a:lnTo>
                  <a:lnTo>
                    <a:pt x="2430" y="2839"/>
                  </a:lnTo>
                  <a:lnTo>
                    <a:pt x="2358" y="2912"/>
                  </a:lnTo>
                  <a:lnTo>
                    <a:pt x="2280" y="2988"/>
                  </a:lnTo>
                  <a:lnTo>
                    <a:pt x="2201" y="3068"/>
                  </a:lnTo>
                  <a:lnTo>
                    <a:pt x="2117" y="3152"/>
                  </a:lnTo>
                  <a:lnTo>
                    <a:pt x="2029" y="3240"/>
                  </a:lnTo>
                  <a:lnTo>
                    <a:pt x="1937" y="3331"/>
                  </a:lnTo>
                  <a:lnTo>
                    <a:pt x="1842" y="3428"/>
                  </a:lnTo>
                  <a:lnTo>
                    <a:pt x="1842" y="3428"/>
                  </a:lnTo>
                  <a:lnTo>
                    <a:pt x="1841" y="3428"/>
                  </a:lnTo>
                  <a:lnTo>
                    <a:pt x="1840" y="3429"/>
                  </a:lnTo>
                  <a:lnTo>
                    <a:pt x="1836" y="3432"/>
                  </a:lnTo>
                  <a:lnTo>
                    <a:pt x="1833" y="3437"/>
                  </a:lnTo>
                  <a:lnTo>
                    <a:pt x="1827" y="3443"/>
                  </a:lnTo>
                  <a:lnTo>
                    <a:pt x="1817" y="3452"/>
                  </a:lnTo>
                  <a:lnTo>
                    <a:pt x="1805" y="3464"/>
                  </a:lnTo>
                  <a:lnTo>
                    <a:pt x="1790" y="3479"/>
                  </a:lnTo>
                  <a:lnTo>
                    <a:pt x="1772" y="3498"/>
                  </a:lnTo>
                  <a:lnTo>
                    <a:pt x="1772" y="3498"/>
                  </a:lnTo>
                  <a:lnTo>
                    <a:pt x="1771" y="3497"/>
                  </a:lnTo>
                  <a:lnTo>
                    <a:pt x="1770" y="3496"/>
                  </a:lnTo>
                  <a:lnTo>
                    <a:pt x="1768" y="3493"/>
                  </a:lnTo>
                  <a:lnTo>
                    <a:pt x="1763" y="3488"/>
                  </a:lnTo>
                  <a:lnTo>
                    <a:pt x="1757" y="3483"/>
                  </a:lnTo>
                  <a:lnTo>
                    <a:pt x="1748" y="3473"/>
                  </a:lnTo>
                  <a:lnTo>
                    <a:pt x="1736" y="3461"/>
                  </a:lnTo>
                  <a:lnTo>
                    <a:pt x="1720" y="3446"/>
                  </a:lnTo>
                  <a:lnTo>
                    <a:pt x="1702" y="3428"/>
                  </a:lnTo>
                  <a:lnTo>
                    <a:pt x="1702" y="3428"/>
                  </a:lnTo>
                  <a:lnTo>
                    <a:pt x="1702" y="3427"/>
                  </a:lnTo>
                  <a:lnTo>
                    <a:pt x="1701" y="3427"/>
                  </a:lnTo>
                  <a:lnTo>
                    <a:pt x="1699" y="3425"/>
                  </a:lnTo>
                  <a:lnTo>
                    <a:pt x="1697" y="3422"/>
                  </a:lnTo>
                  <a:lnTo>
                    <a:pt x="1692" y="3418"/>
                  </a:lnTo>
                  <a:lnTo>
                    <a:pt x="1687" y="3412"/>
                  </a:lnTo>
                  <a:lnTo>
                    <a:pt x="1680" y="3404"/>
                  </a:lnTo>
                  <a:lnTo>
                    <a:pt x="1669" y="3395"/>
                  </a:lnTo>
                  <a:lnTo>
                    <a:pt x="1657" y="3383"/>
                  </a:lnTo>
                  <a:lnTo>
                    <a:pt x="1642" y="3368"/>
                  </a:lnTo>
                  <a:lnTo>
                    <a:pt x="1625" y="3351"/>
                  </a:lnTo>
                  <a:lnTo>
                    <a:pt x="1603" y="3329"/>
                  </a:lnTo>
                  <a:lnTo>
                    <a:pt x="1579" y="3304"/>
                  </a:lnTo>
                  <a:lnTo>
                    <a:pt x="1316" y="3038"/>
                  </a:lnTo>
                  <a:lnTo>
                    <a:pt x="1316" y="3038"/>
                  </a:lnTo>
                  <a:lnTo>
                    <a:pt x="1316" y="3038"/>
                  </a:lnTo>
                  <a:lnTo>
                    <a:pt x="1316" y="3038"/>
                  </a:lnTo>
                  <a:lnTo>
                    <a:pt x="1315" y="3037"/>
                  </a:lnTo>
                  <a:lnTo>
                    <a:pt x="1314" y="3036"/>
                  </a:lnTo>
                  <a:lnTo>
                    <a:pt x="1313" y="3035"/>
                  </a:lnTo>
                  <a:lnTo>
                    <a:pt x="1311" y="3032"/>
                  </a:lnTo>
                  <a:lnTo>
                    <a:pt x="1308" y="3029"/>
                  </a:lnTo>
                  <a:lnTo>
                    <a:pt x="1304" y="3026"/>
                  </a:lnTo>
                  <a:lnTo>
                    <a:pt x="1300" y="3022"/>
                  </a:lnTo>
                  <a:lnTo>
                    <a:pt x="1294" y="3015"/>
                  </a:lnTo>
                  <a:lnTo>
                    <a:pt x="1287" y="3009"/>
                  </a:lnTo>
                  <a:lnTo>
                    <a:pt x="1280" y="3001"/>
                  </a:lnTo>
                  <a:lnTo>
                    <a:pt x="1271" y="2993"/>
                  </a:lnTo>
                  <a:lnTo>
                    <a:pt x="1260" y="2982"/>
                  </a:lnTo>
                  <a:lnTo>
                    <a:pt x="1249" y="2970"/>
                  </a:lnTo>
                  <a:lnTo>
                    <a:pt x="1235" y="2956"/>
                  </a:lnTo>
                  <a:lnTo>
                    <a:pt x="1220" y="2941"/>
                  </a:lnTo>
                  <a:lnTo>
                    <a:pt x="1202" y="2924"/>
                  </a:lnTo>
                  <a:lnTo>
                    <a:pt x="1183" y="2905"/>
                  </a:lnTo>
                  <a:lnTo>
                    <a:pt x="1163" y="2884"/>
                  </a:lnTo>
                  <a:lnTo>
                    <a:pt x="1139" y="2860"/>
                  </a:lnTo>
                  <a:lnTo>
                    <a:pt x="1113" y="2836"/>
                  </a:lnTo>
                  <a:lnTo>
                    <a:pt x="1086" y="2808"/>
                  </a:lnTo>
                  <a:lnTo>
                    <a:pt x="1056" y="2778"/>
                  </a:lnTo>
                  <a:lnTo>
                    <a:pt x="1024" y="2745"/>
                  </a:lnTo>
                  <a:lnTo>
                    <a:pt x="989" y="2711"/>
                  </a:lnTo>
                  <a:lnTo>
                    <a:pt x="951" y="2673"/>
                  </a:lnTo>
                  <a:lnTo>
                    <a:pt x="910" y="2632"/>
                  </a:lnTo>
                  <a:lnTo>
                    <a:pt x="866" y="2589"/>
                  </a:lnTo>
                  <a:lnTo>
                    <a:pt x="820" y="2543"/>
                  </a:lnTo>
                  <a:lnTo>
                    <a:pt x="770" y="2494"/>
                  </a:lnTo>
                  <a:lnTo>
                    <a:pt x="718" y="2441"/>
                  </a:lnTo>
                  <a:lnTo>
                    <a:pt x="662" y="2384"/>
                  </a:lnTo>
                  <a:lnTo>
                    <a:pt x="602" y="2325"/>
                  </a:lnTo>
                  <a:lnTo>
                    <a:pt x="539" y="2263"/>
                  </a:lnTo>
                  <a:lnTo>
                    <a:pt x="473" y="2196"/>
                  </a:lnTo>
                  <a:lnTo>
                    <a:pt x="402" y="2126"/>
                  </a:lnTo>
                  <a:lnTo>
                    <a:pt x="328" y="2052"/>
                  </a:lnTo>
                  <a:lnTo>
                    <a:pt x="250" y="1974"/>
                  </a:lnTo>
                  <a:lnTo>
                    <a:pt x="168" y="1893"/>
                  </a:lnTo>
                  <a:lnTo>
                    <a:pt x="168" y="1893"/>
                  </a:lnTo>
                  <a:lnTo>
                    <a:pt x="168" y="1892"/>
                  </a:lnTo>
                  <a:lnTo>
                    <a:pt x="167" y="1892"/>
                  </a:lnTo>
                  <a:lnTo>
                    <a:pt x="165" y="1890"/>
                  </a:lnTo>
                  <a:lnTo>
                    <a:pt x="163" y="1887"/>
                  </a:lnTo>
                  <a:lnTo>
                    <a:pt x="159" y="1883"/>
                  </a:lnTo>
                  <a:lnTo>
                    <a:pt x="154" y="1879"/>
                  </a:lnTo>
                  <a:lnTo>
                    <a:pt x="147" y="1871"/>
                  </a:lnTo>
                  <a:lnTo>
                    <a:pt x="139" y="1863"/>
                  </a:lnTo>
                  <a:lnTo>
                    <a:pt x="127" y="1852"/>
                  </a:lnTo>
                  <a:lnTo>
                    <a:pt x="114" y="1838"/>
                  </a:lnTo>
                  <a:lnTo>
                    <a:pt x="97" y="1822"/>
                  </a:lnTo>
                  <a:lnTo>
                    <a:pt x="78" y="1802"/>
                  </a:lnTo>
                  <a:lnTo>
                    <a:pt x="56" y="1780"/>
                  </a:lnTo>
                  <a:lnTo>
                    <a:pt x="30" y="1754"/>
                  </a:lnTo>
                  <a:lnTo>
                    <a:pt x="0" y="1724"/>
                  </a:lnTo>
                  <a:lnTo>
                    <a:pt x="820" y="1724"/>
                  </a:lnTo>
                  <a:lnTo>
                    <a:pt x="820" y="665"/>
                  </a:lnTo>
                  <a:lnTo>
                    <a:pt x="820" y="665"/>
                  </a:lnTo>
                  <a:lnTo>
                    <a:pt x="820" y="664"/>
                  </a:lnTo>
                  <a:lnTo>
                    <a:pt x="820" y="643"/>
                  </a:lnTo>
                  <a:lnTo>
                    <a:pt x="820" y="633"/>
                  </a:lnTo>
                  <a:lnTo>
                    <a:pt x="820" y="620"/>
                  </a:lnTo>
                  <a:lnTo>
                    <a:pt x="820" y="582"/>
                  </a:lnTo>
                  <a:lnTo>
                    <a:pt x="820" y="557"/>
                  </a:lnTo>
                  <a:lnTo>
                    <a:pt x="820" y="528"/>
                  </a:lnTo>
                  <a:lnTo>
                    <a:pt x="820" y="494"/>
                  </a:lnTo>
                  <a:lnTo>
                    <a:pt x="820" y="454"/>
                  </a:lnTo>
                  <a:lnTo>
                    <a:pt x="820" y="409"/>
                  </a:lnTo>
                  <a:lnTo>
                    <a:pt x="820" y="358"/>
                  </a:lnTo>
                  <a:lnTo>
                    <a:pt x="820" y="237"/>
                  </a:lnTo>
                  <a:lnTo>
                    <a:pt x="820" y="165"/>
                  </a:lnTo>
                  <a:lnTo>
                    <a:pt x="820" y="86"/>
                  </a:lnTo>
                  <a:lnTo>
                    <a:pt x="820" y="0"/>
                  </a:lnTo>
                  <a:close/>
                </a:path>
              </a:pathLst>
            </a:custGeom>
            <a:solidFill>
              <a:schemeClr val="accent1"/>
            </a:solidFill>
            <a:ln w="1270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8" name="Group 7"/>
          <p:cNvGrpSpPr/>
          <p:nvPr/>
        </p:nvGrpSpPr>
        <p:grpSpPr>
          <a:xfrm>
            <a:off x="447748" y="4539020"/>
            <a:ext cx="2542150" cy="973643"/>
            <a:chOff x="447748" y="4539020"/>
            <a:chExt cx="2542150" cy="973643"/>
          </a:xfrm>
        </p:grpSpPr>
        <p:grpSp>
          <p:nvGrpSpPr>
            <p:cNvPr id="1084" name="Group 1083"/>
            <p:cNvGrpSpPr/>
            <p:nvPr/>
          </p:nvGrpSpPr>
          <p:grpSpPr>
            <a:xfrm>
              <a:off x="447748" y="4539020"/>
              <a:ext cx="2542150" cy="973643"/>
              <a:chOff x="-80999" y="7792116"/>
              <a:chExt cx="2492521" cy="954639"/>
            </a:xfrm>
          </p:grpSpPr>
          <p:sp>
            <p:nvSpPr>
              <p:cNvPr id="1085" name="Rectangle 1084"/>
              <p:cNvSpPr/>
              <p:nvPr/>
            </p:nvSpPr>
            <p:spPr bwMode="auto">
              <a:xfrm>
                <a:off x="-3115" y="7792116"/>
                <a:ext cx="2414637" cy="954639"/>
              </a:xfrm>
              <a:prstGeom prst="rect">
                <a:avLst/>
              </a:prstGeom>
              <a:solidFill>
                <a:srgbClr val="505050"/>
              </a:soli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a:defRPr/>
                </a:pPr>
                <a:endParaRPr lang="en-US" sz="2244" kern="0" dirty="0">
                  <a:gradFill>
                    <a:gsLst>
                      <a:gs pos="50000">
                        <a:prstClr val="white"/>
                      </a:gs>
                      <a:gs pos="100000">
                        <a:prstClr val="white"/>
                      </a:gs>
                    </a:gsLst>
                    <a:lin ang="5400000" scaled="0"/>
                  </a:gradFill>
                  <a:latin typeface="Segoe UI"/>
                </a:endParaRPr>
              </a:p>
            </p:txBody>
          </p:sp>
          <p:sp>
            <p:nvSpPr>
              <p:cNvPr id="1086" name="TextBox 1085"/>
              <p:cNvSpPr txBox="1"/>
              <p:nvPr/>
            </p:nvSpPr>
            <p:spPr>
              <a:xfrm>
                <a:off x="-80999" y="7908925"/>
                <a:ext cx="1420940" cy="790986"/>
              </a:xfrm>
              <a:prstGeom prst="rect">
                <a:avLst/>
              </a:prstGeom>
              <a:noFill/>
            </p:spPr>
            <p:txBody>
              <a:bodyPr wrap="square" rtlCol="0">
                <a:spAutoFit/>
              </a:bodyPr>
              <a:lstStyle/>
              <a:p>
                <a:pPr marL="0" lvl="1" algn="ctr" defTabSz="932597" fontAlgn="base">
                  <a:lnSpc>
                    <a:spcPct val="90000"/>
                  </a:lnSpc>
                  <a:spcBef>
                    <a:spcPts val="204"/>
                  </a:spcBef>
                  <a:spcAft>
                    <a:spcPts val="408"/>
                  </a:spcAft>
                  <a:buClr>
                    <a:srgbClr val="FFFFFF"/>
                  </a:buClr>
                  <a:buSzPct val="90000"/>
                  <a:tabLst>
                    <a:tab pos="642780" algn="l"/>
                  </a:tabLst>
                  <a:defRPr/>
                </a:pPr>
                <a:r>
                  <a:rPr lang="en-US" sz="1122" kern="0" spc="-51" dirty="0">
                    <a:gradFill>
                      <a:gsLst>
                        <a:gs pos="50000">
                          <a:prstClr val="white"/>
                        </a:gs>
                        <a:gs pos="100000">
                          <a:prstClr val="white"/>
                        </a:gs>
                      </a:gsLst>
                      <a:lin ang="5400000" scaled="0"/>
                    </a:gradFill>
                  </a:rPr>
                  <a:t>Sessions +</a:t>
                </a:r>
              </a:p>
              <a:p>
                <a:pPr marL="0" lvl="1" algn="ctr" defTabSz="932597" fontAlgn="base">
                  <a:lnSpc>
                    <a:spcPct val="90000"/>
                  </a:lnSpc>
                  <a:spcBef>
                    <a:spcPts val="204"/>
                  </a:spcBef>
                  <a:spcAft>
                    <a:spcPts val="408"/>
                  </a:spcAft>
                  <a:buClr>
                    <a:srgbClr val="FFFFFF"/>
                  </a:buClr>
                  <a:buSzPct val="90000"/>
                  <a:tabLst>
                    <a:tab pos="642780" algn="l"/>
                  </a:tabLst>
                  <a:defRPr/>
                </a:pPr>
                <a:r>
                  <a:rPr lang="en-US" sz="1122" kern="0" spc="-51" dirty="0">
                    <a:gradFill>
                      <a:gsLst>
                        <a:gs pos="50000">
                          <a:prstClr val="white"/>
                        </a:gs>
                        <a:gs pos="100000">
                          <a:prstClr val="white"/>
                        </a:gs>
                      </a:gsLst>
                      <a:lin ang="5400000" scaled="0"/>
                    </a:gradFill>
                  </a:rPr>
                  <a:t>User Profile Disk + Application Virtualization</a:t>
                </a:r>
              </a:p>
            </p:txBody>
          </p:sp>
        </p:grpSp>
        <p:grpSp>
          <p:nvGrpSpPr>
            <p:cNvPr id="144" name="Group 143"/>
            <p:cNvGrpSpPr/>
            <p:nvPr/>
          </p:nvGrpSpPr>
          <p:grpSpPr>
            <a:xfrm>
              <a:off x="1911947" y="4611543"/>
              <a:ext cx="609752" cy="793810"/>
              <a:chOff x="10192450" y="2913629"/>
              <a:chExt cx="1080574" cy="1406754"/>
            </a:xfrm>
          </p:grpSpPr>
          <p:sp>
            <p:nvSpPr>
              <p:cNvPr id="198" name="Freeform 24"/>
              <p:cNvSpPr>
                <a:spLocks noEditPoints="1"/>
              </p:cNvSpPr>
              <p:nvPr/>
            </p:nvSpPr>
            <p:spPr bwMode="auto">
              <a:xfrm>
                <a:off x="10559114" y="2913629"/>
                <a:ext cx="713910" cy="1406754"/>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chemeClr val="tx1"/>
              </a:solid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9" name="Freeform 25"/>
              <p:cNvSpPr>
                <a:spLocks noEditPoints="1"/>
              </p:cNvSpPr>
              <p:nvPr/>
            </p:nvSpPr>
            <p:spPr bwMode="auto">
              <a:xfrm>
                <a:off x="10214832" y="3056259"/>
                <a:ext cx="883714" cy="754814"/>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0" name="Freeform 26"/>
              <p:cNvSpPr>
                <a:spLocks noEditPoints="1"/>
              </p:cNvSpPr>
              <p:nvPr/>
            </p:nvSpPr>
            <p:spPr bwMode="auto">
              <a:xfrm>
                <a:off x="10192450" y="3039005"/>
                <a:ext cx="902304" cy="783319"/>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 name="Rectangle 3"/>
          <p:cNvSpPr/>
          <p:nvPr/>
        </p:nvSpPr>
        <p:spPr bwMode="auto">
          <a:xfrm>
            <a:off x="0" y="2436842"/>
            <a:ext cx="531947" cy="318618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202" name="Freeform 26"/>
          <p:cNvSpPr>
            <a:spLocks noEditPoints="1"/>
          </p:cNvSpPr>
          <p:nvPr/>
        </p:nvSpPr>
        <p:spPr bwMode="auto">
          <a:xfrm>
            <a:off x="6750050" y="3765715"/>
            <a:ext cx="532769" cy="525459"/>
          </a:xfrm>
          <a:custGeom>
            <a:avLst/>
            <a:gdLst>
              <a:gd name="T0" fmla="*/ 2205 w 3496"/>
              <a:gd name="T1" fmla="*/ 1476 h 3450"/>
              <a:gd name="T2" fmla="*/ 2414 w 3496"/>
              <a:gd name="T3" fmla="*/ 1589 h 3450"/>
              <a:gd name="T4" fmla="*/ 2164 w 3496"/>
              <a:gd name="T5" fmla="*/ 1680 h 3450"/>
              <a:gd name="T6" fmla="*/ 2088 w 3496"/>
              <a:gd name="T7" fmla="*/ 1833 h 3450"/>
              <a:gd name="T8" fmla="*/ 2463 w 3496"/>
              <a:gd name="T9" fmla="*/ 2168 h 3450"/>
              <a:gd name="T10" fmla="*/ 2198 w 3496"/>
              <a:gd name="T11" fmla="*/ 2482 h 3450"/>
              <a:gd name="T12" fmla="*/ 2052 w 3496"/>
              <a:gd name="T13" fmla="*/ 2594 h 3450"/>
              <a:gd name="T14" fmla="*/ 1798 w 3496"/>
              <a:gd name="T15" fmla="*/ 2391 h 3450"/>
              <a:gd name="T16" fmla="*/ 1914 w 3496"/>
              <a:gd name="T17" fmla="*/ 2247 h 3450"/>
              <a:gd name="T18" fmla="*/ 2225 w 3496"/>
              <a:gd name="T19" fmla="*/ 2150 h 3450"/>
              <a:gd name="T20" fmla="*/ 1843 w 3496"/>
              <a:gd name="T21" fmla="*/ 1910 h 3450"/>
              <a:gd name="T22" fmla="*/ 2059 w 3496"/>
              <a:gd name="T23" fmla="*/ 1522 h 3450"/>
              <a:gd name="T24" fmla="*/ 1510 w 3496"/>
              <a:gd name="T25" fmla="*/ 1380 h 3450"/>
              <a:gd name="T26" fmla="*/ 1725 w 3496"/>
              <a:gd name="T27" fmla="*/ 1562 h 3450"/>
              <a:gd name="T28" fmla="*/ 1648 w 3496"/>
              <a:gd name="T29" fmla="*/ 1715 h 3450"/>
              <a:gd name="T30" fmla="*/ 1341 w 3496"/>
              <a:gd name="T31" fmla="*/ 1748 h 3450"/>
              <a:gd name="T32" fmla="*/ 1683 w 3496"/>
              <a:gd name="T33" fmla="*/ 1976 h 3450"/>
              <a:gd name="T34" fmla="*/ 1624 w 3496"/>
              <a:gd name="T35" fmla="*/ 2402 h 3450"/>
              <a:gd name="T36" fmla="*/ 1502 w 3496"/>
              <a:gd name="T37" fmla="*/ 2594 h 3450"/>
              <a:gd name="T38" fmla="*/ 1213 w 3496"/>
              <a:gd name="T39" fmla="*/ 2432 h 3450"/>
              <a:gd name="T40" fmla="*/ 1130 w 3496"/>
              <a:gd name="T41" fmla="*/ 2284 h 3450"/>
              <a:gd name="T42" fmla="*/ 1528 w 3496"/>
              <a:gd name="T43" fmla="*/ 2229 h 3450"/>
              <a:gd name="T44" fmla="*/ 1241 w 3496"/>
              <a:gd name="T45" fmla="*/ 1997 h 3450"/>
              <a:gd name="T46" fmla="*/ 1207 w 3496"/>
              <a:gd name="T47" fmla="*/ 1591 h 3450"/>
              <a:gd name="T48" fmla="*/ 1847 w 3496"/>
              <a:gd name="T49" fmla="*/ 241 h 3450"/>
              <a:gd name="T50" fmla="*/ 2095 w 3496"/>
              <a:gd name="T51" fmla="*/ 439 h 3450"/>
              <a:gd name="T52" fmla="*/ 1881 w 3496"/>
              <a:gd name="T53" fmla="*/ 542 h 3450"/>
              <a:gd name="T54" fmla="*/ 1747 w 3496"/>
              <a:gd name="T55" fmla="*/ 681 h 3450"/>
              <a:gd name="T56" fmla="*/ 2140 w 3496"/>
              <a:gd name="T57" fmla="*/ 990 h 3450"/>
              <a:gd name="T58" fmla="*/ 1863 w 3496"/>
              <a:gd name="T59" fmla="*/ 1455 h 3450"/>
              <a:gd name="T60" fmla="*/ 1477 w 3496"/>
              <a:gd name="T61" fmla="*/ 1250 h 3450"/>
              <a:gd name="T62" fmla="*/ 1633 w 3496"/>
              <a:gd name="T63" fmla="*/ 1121 h 3450"/>
              <a:gd name="T64" fmla="*/ 1892 w 3496"/>
              <a:gd name="T65" fmla="*/ 994 h 3450"/>
              <a:gd name="T66" fmla="*/ 1507 w 3496"/>
              <a:gd name="T67" fmla="*/ 743 h 3450"/>
              <a:gd name="T68" fmla="*/ 1738 w 3496"/>
              <a:gd name="T69" fmla="*/ 241 h 3450"/>
              <a:gd name="T70" fmla="*/ 907 w 3496"/>
              <a:gd name="T71" fmla="*/ 206 h 3450"/>
              <a:gd name="T72" fmla="*/ 907 w 3496"/>
              <a:gd name="T73" fmla="*/ 1065 h 3450"/>
              <a:gd name="T74" fmla="*/ 235 w 3496"/>
              <a:gd name="T75" fmla="*/ 1798 h 3450"/>
              <a:gd name="T76" fmla="*/ 306 w 3496"/>
              <a:gd name="T77" fmla="*/ 1870 h 3450"/>
              <a:gd name="T78" fmla="*/ 669 w 3496"/>
              <a:gd name="T79" fmla="*/ 2232 h 3450"/>
              <a:gd name="T80" fmla="*/ 1563 w 3496"/>
              <a:gd name="T81" fmla="*/ 3127 h 3450"/>
              <a:gd name="T82" fmla="*/ 2589 w 3496"/>
              <a:gd name="T83" fmla="*/ 1789 h 3450"/>
              <a:gd name="T84" fmla="*/ 2589 w 3496"/>
              <a:gd name="T85" fmla="*/ 1376 h 3450"/>
              <a:gd name="T86" fmla="*/ 2581 w 3496"/>
              <a:gd name="T87" fmla="*/ 98 h 3450"/>
              <a:gd name="T88" fmla="*/ 2172 w 3496"/>
              <a:gd name="T89" fmla="*/ 98 h 3450"/>
              <a:gd name="T90" fmla="*/ 939 w 3496"/>
              <a:gd name="T91" fmla="*/ 0 h 3450"/>
              <a:gd name="T92" fmla="*/ 2687 w 3496"/>
              <a:gd name="T93" fmla="*/ 2 h 3450"/>
              <a:gd name="T94" fmla="*/ 2687 w 3496"/>
              <a:gd name="T95" fmla="*/ 518 h 3450"/>
              <a:gd name="T96" fmla="*/ 2687 w 3496"/>
              <a:gd name="T97" fmla="*/ 1700 h 3450"/>
              <a:gd name="T98" fmla="*/ 3407 w 3496"/>
              <a:gd name="T99" fmla="*/ 1789 h 3450"/>
              <a:gd name="T100" fmla="*/ 3310 w 3496"/>
              <a:gd name="T101" fmla="*/ 1886 h 3450"/>
              <a:gd name="T102" fmla="*/ 3103 w 3496"/>
              <a:gd name="T103" fmla="*/ 2095 h 3450"/>
              <a:gd name="T104" fmla="*/ 2465 w 3496"/>
              <a:gd name="T105" fmla="*/ 2732 h 3450"/>
              <a:gd name="T106" fmla="*/ 1801 w 3496"/>
              <a:gd name="T107" fmla="*/ 3396 h 3450"/>
              <a:gd name="T108" fmla="*/ 1680 w 3496"/>
              <a:gd name="T109" fmla="*/ 3381 h 3450"/>
              <a:gd name="T110" fmla="*/ 1558 w 3496"/>
              <a:gd name="T111" fmla="*/ 3259 h 3450"/>
              <a:gd name="T112" fmla="*/ 1263 w 3496"/>
              <a:gd name="T113" fmla="*/ 2960 h 3450"/>
              <a:gd name="T114" fmla="*/ 975 w 3496"/>
              <a:gd name="T115" fmla="*/ 2674 h 3450"/>
              <a:gd name="T116" fmla="*/ 165 w 3496"/>
              <a:gd name="T117" fmla="*/ 1867 h 3450"/>
              <a:gd name="T118" fmla="*/ 55 w 3496"/>
              <a:gd name="T119" fmla="*/ 1755 h 3450"/>
              <a:gd name="T120" fmla="*/ 809 w 3496"/>
              <a:gd name="T121" fmla="*/ 449 h 3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6" h="3450">
                <a:moveTo>
                  <a:pt x="2059" y="1380"/>
                </a:moveTo>
                <a:lnTo>
                  <a:pt x="2060" y="1380"/>
                </a:lnTo>
                <a:lnTo>
                  <a:pt x="2097" y="1380"/>
                </a:lnTo>
                <a:lnTo>
                  <a:pt x="2115" y="1380"/>
                </a:lnTo>
                <a:lnTo>
                  <a:pt x="2140" y="1380"/>
                </a:lnTo>
                <a:lnTo>
                  <a:pt x="2205" y="1380"/>
                </a:lnTo>
                <a:lnTo>
                  <a:pt x="2205" y="1381"/>
                </a:lnTo>
                <a:lnTo>
                  <a:pt x="2205" y="1381"/>
                </a:lnTo>
                <a:lnTo>
                  <a:pt x="2205" y="1384"/>
                </a:lnTo>
                <a:lnTo>
                  <a:pt x="2205" y="1388"/>
                </a:lnTo>
                <a:lnTo>
                  <a:pt x="2205" y="1408"/>
                </a:lnTo>
                <a:lnTo>
                  <a:pt x="2205" y="1425"/>
                </a:lnTo>
                <a:lnTo>
                  <a:pt x="2205" y="1448"/>
                </a:lnTo>
                <a:lnTo>
                  <a:pt x="2205" y="1476"/>
                </a:lnTo>
                <a:lnTo>
                  <a:pt x="2205" y="1512"/>
                </a:lnTo>
                <a:lnTo>
                  <a:pt x="2253" y="1516"/>
                </a:lnTo>
                <a:lnTo>
                  <a:pt x="2296" y="1522"/>
                </a:lnTo>
                <a:lnTo>
                  <a:pt x="2333" y="1530"/>
                </a:lnTo>
                <a:lnTo>
                  <a:pt x="2366" y="1540"/>
                </a:lnTo>
                <a:lnTo>
                  <a:pt x="2395" y="1551"/>
                </a:lnTo>
                <a:lnTo>
                  <a:pt x="2421" y="1562"/>
                </a:lnTo>
                <a:lnTo>
                  <a:pt x="2421" y="1562"/>
                </a:lnTo>
                <a:lnTo>
                  <a:pt x="2421" y="1563"/>
                </a:lnTo>
                <a:lnTo>
                  <a:pt x="2420" y="1564"/>
                </a:lnTo>
                <a:lnTo>
                  <a:pt x="2420" y="1568"/>
                </a:lnTo>
                <a:lnTo>
                  <a:pt x="2419" y="1572"/>
                </a:lnTo>
                <a:lnTo>
                  <a:pt x="2416" y="1579"/>
                </a:lnTo>
                <a:lnTo>
                  <a:pt x="2414" y="1589"/>
                </a:lnTo>
                <a:lnTo>
                  <a:pt x="2410" y="1601"/>
                </a:lnTo>
                <a:lnTo>
                  <a:pt x="2406" y="1617"/>
                </a:lnTo>
                <a:lnTo>
                  <a:pt x="2401" y="1639"/>
                </a:lnTo>
                <a:lnTo>
                  <a:pt x="2394" y="1664"/>
                </a:lnTo>
                <a:lnTo>
                  <a:pt x="2387" y="1694"/>
                </a:lnTo>
                <a:lnTo>
                  <a:pt x="2377" y="1730"/>
                </a:lnTo>
                <a:lnTo>
                  <a:pt x="2361" y="1722"/>
                </a:lnTo>
                <a:lnTo>
                  <a:pt x="2343" y="1715"/>
                </a:lnTo>
                <a:lnTo>
                  <a:pt x="2321" y="1706"/>
                </a:lnTo>
                <a:lnTo>
                  <a:pt x="2297" y="1698"/>
                </a:lnTo>
                <a:lnTo>
                  <a:pt x="2268" y="1691"/>
                </a:lnTo>
                <a:lnTo>
                  <a:pt x="2237" y="1685"/>
                </a:lnTo>
                <a:lnTo>
                  <a:pt x="2202" y="1681"/>
                </a:lnTo>
                <a:lnTo>
                  <a:pt x="2164" y="1680"/>
                </a:lnTo>
                <a:lnTo>
                  <a:pt x="2134" y="1681"/>
                </a:lnTo>
                <a:lnTo>
                  <a:pt x="2109" y="1685"/>
                </a:lnTo>
                <a:lnTo>
                  <a:pt x="2088" y="1692"/>
                </a:lnTo>
                <a:lnTo>
                  <a:pt x="2071" y="1700"/>
                </a:lnTo>
                <a:lnTo>
                  <a:pt x="2057" y="1711"/>
                </a:lnTo>
                <a:lnTo>
                  <a:pt x="2047" y="1721"/>
                </a:lnTo>
                <a:lnTo>
                  <a:pt x="2040" y="1734"/>
                </a:lnTo>
                <a:lnTo>
                  <a:pt x="2037" y="1748"/>
                </a:lnTo>
                <a:lnTo>
                  <a:pt x="2036" y="1761"/>
                </a:lnTo>
                <a:lnTo>
                  <a:pt x="2037" y="1777"/>
                </a:lnTo>
                <a:lnTo>
                  <a:pt x="2043" y="1792"/>
                </a:lnTo>
                <a:lnTo>
                  <a:pt x="2054" y="1806"/>
                </a:lnTo>
                <a:lnTo>
                  <a:pt x="2069" y="1820"/>
                </a:lnTo>
                <a:lnTo>
                  <a:pt x="2088" y="1833"/>
                </a:lnTo>
                <a:lnTo>
                  <a:pt x="2112" y="1846"/>
                </a:lnTo>
                <a:lnTo>
                  <a:pt x="2141" y="1860"/>
                </a:lnTo>
                <a:lnTo>
                  <a:pt x="2176" y="1875"/>
                </a:lnTo>
                <a:lnTo>
                  <a:pt x="2215" y="1890"/>
                </a:lnTo>
                <a:lnTo>
                  <a:pt x="2265" y="1909"/>
                </a:lnTo>
                <a:lnTo>
                  <a:pt x="2308" y="1930"/>
                </a:lnTo>
                <a:lnTo>
                  <a:pt x="2346" y="1952"/>
                </a:lnTo>
                <a:lnTo>
                  <a:pt x="2379" y="1976"/>
                </a:lnTo>
                <a:lnTo>
                  <a:pt x="2406" y="2002"/>
                </a:lnTo>
                <a:lnTo>
                  <a:pt x="2427" y="2030"/>
                </a:lnTo>
                <a:lnTo>
                  <a:pt x="2443" y="2061"/>
                </a:lnTo>
                <a:lnTo>
                  <a:pt x="2455" y="2094"/>
                </a:lnTo>
                <a:lnTo>
                  <a:pt x="2461" y="2130"/>
                </a:lnTo>
                <a:lnTo>
                  <a:pt x="2463" y="2168"/>
                </a:lnTo>
                <a:lnTo>
                  <a:pt x="2461" y="2203"/>
                </a:lnTo>
                <a:lnTo>
                  <a:pt x="2455" y="2238"/>
                </a:lnTo>
                <a:lnTo>
                  <a:pt x="2443" y="2271"/>
                </a:lnTo>
                <a:lnTo>
                  <a:pt x="2427" y="2301"/>
                </a:lnTo>
                <a:lnTo>
                  <a:pt x="2406" y="2330"/>
                </a:lnTo>
                <a:lnTo>
                  <a:pt x="2381" y="2357"/>
                </a:lnTo>
                <a:lnTo>
                  <a:pt x="2353" y="2381"/>
                </a:lnTo>
                <a:lnTo>
                  <a:pt x="2320" y="2402"/>
                </a:lnTo>
                <a:lnTo>
                  <a:pt x="2283" y="2419"/>
                </a:lnTo>
                <a:lnTo>
                  <a:pt x="2243" y="2433"/>
                </a:lnTo>
                <a:lnTo>
                  <a:pt x="2198" y="2444"/>
                </a:lnTo>
                <a:lnTo>
                  <a:pt x="2198" y="2457"/>
                </a:lnTo>
                <a:lnTo>
                  <a:pt x="2198" y="2468"/>
                </a:lnTo>
                <a:lnTo>
                  <a:pt x="2198" y="2482"/>
                </a:lnTo>
                <a:lnTo>
                  <a:pt x="2198" y="2526"/>
                </a:lnTo>
                <a:lnTo>
                  <a:pt x="2198" y="2557"/>
                </a:lnTo>
                <a:lnTo>
                  <a:pt x="2198" y="2594"/>
                </a:lnTo>
                <a:lnTo>
                  <a:pt x="2198" y="2594"/>
                </a:lnTo>
                <a:lnTo>
                  <a:pt x="2197" y="2594"/>
                </a:lnTo>
                <a:lnTo>
                  <a:pt x="2195" y="2594"/>
                </a:lnTo>
                <a:lnTo>
                  <a:pt x="2191" y="2594"/>
                </a:lnTo>
                <a:lnTo>
                  <a:pt x="2184" y="2594"/>
                </a:lnTo>
                <a:lnTo>
                  <a:pt x="2175" y="2594"/>
                </a:lnTo>
                <a:lnTo>
                  <a:pt x="2161" y="2594"/>
                </a:lnTo>
                <a:lnTo>
                  <a:pt x="2142" y="2594"/>
                </a:lnTo>
                <a:lnTo>
                  <a:pt x="2119" y="2594"/>
                </a:lnTo>
                <a:lnTo>
                  <a:pt x="2089" y="2594"/>
                </a:lnTo>
                <a:lnTo>
                  <a:pt x="2052" y="2594"/>
                </a:lnTo>
                <a:lnTo>
                  <a:pt x="2052" y="2594"/>
                </a:lnTo>
                <a:lnTo>
                  <a:pt x="2052" y="2593"/>
                </a:lnTo>
                <a:lnTo>
                  <a:pt x="2052" y="2590"/>
                </a:lnTo>
                <a:lnTo>
                  <a:pt x="2052" y="2545"/>
                </a:lnTo>
                <a:lnTo>
                  <a:pt x="2052" y="2522"/>
                </a:lnTo>
                <a:lnTo>
                  <a:pt x="2052" y="2491"/>
                </a:lnTo>
                <a:lnTo>
                  <a:pt x="2052" y="2453"/>
                </a:lnTo>
                <a:lnTo>
                  <a:pt x="2003" y="2450"/>
                </a:lnTo>
                <a:lnTo>
                  <a:pt x="1954" y="2442"/>
                </a:lnTo>
                <a:lnTo>
                  <a:pt x="1910" y="2432"/>
                </a:lnTo>
                <a:lnTo>
                  <a:pt x="1867" y="2420"/>
                </a:lnTo>
                <a:lnTo>
                  <a:pt x="1830" y="2405"/>
                </a:lnTo>
                <a:lnTo>
                  <a:pt x="1798" y="2391"/>
                </a:lnTo>
                <a:lnTo>
                  <a:pt x="1798" y="2391"/>
                </a:lnTo>
                <a:lnTo>
                  <a:pt x="1798" y="2389"/>
                </a:lnTo>
                <a:lnTo>
                  <a:pt x="1799" y="2388"/>
                </a:lnTo>
                <a:lnTo>
                  <a:pt x="1799" y="2385"/>
                </a:lnTo>
                <a:lnTo>
                  <a:pt x="1801" y="2381"/>
                </a:lnTo>
                <a:lnTo>
                  <a:pt x="1803" y="2374"/>
                </a:lnTo>
                <a:lnTo>
                  <a:pt x="1806" y="2363"/>
                </a:lnTo>
                <a:lnTo>
                  <a:pt x="1809" y="2350"/>
                </a:lnTo>
                <a:lnTo>
                  <a:pt x="1813" y="2332"/>
                </a:lnTo>
                <a:lnTo>
                  <a:pt x="1820" y="2311"/>
                </a:lnTo>
                <a:lnTo>
                  <a:pt x="1826" y="2284"/>
                </a:lnTo>
                <a:lnTo>
                  <a:pt x="1834" y="2253"/>
                </a:lnTo>
                <a:lnTo>
                  <a:pt x="1844" y="2216"/>
                </a:lnTo>
                <a:lnTo>
                  <a:pt x="1877" y="2232"/>
                </a:lnTo>
                <a:lnTo>
                  <a:pt x="1914" y="2247"/>
                </a:lnTo>
                <a:lnTo>
                  <a:pt x="1954" y="2261"/>
                </a:lnTo>
                <a:lnTo>
                  <a:pt x="1998" y="2271"/>
                </a:lnTo>
                <a:lnTo>
                  <a:pt x="2043" y="2278"/>
                </a:lnTo>
                <a:lnTo>
                  <a:pt x="2090" y="2280"/>
                </a:lnTo>
                <a:lnTo>
                  <a:pt x="2122" y="2279"/>
                </a:lnTo>
                <a:lnTo>
                  <a:pt x="2149" y="2275"/>
                </a:lnTo>
                <a:lnTo>
                  <a:pt x="2174" y="2267"/>
                </a:lnTo>
                <a:lnTo>
                  <a:pt x="2195" y="2257"/>
                </a:lnTo>
                <a:lnTo>
                  <a:pt x="2211" y="2244"/>
                </a:lnTo>
                <a:lnTo>
                  <a:pt x="2223" y="2229"/>
                </a:lnTo>
                <a:lnTo>
                  <a:pt x="2231" y="2210"/>
                </a:lnTo>
                <a:lnTo>
                  <a:pt x="2234" y="2189"/>
                </a:lnTo>
                <a:lnTo>
                  <a:pt x="2232" y="2169"/>
                </a:lnTo>
                <a:lnTo>
                  <a:pt x="2225" y="2150"/>
                </a:lnTo>
                <a:lnTo>
                  <a:pt x="2213" y="2133"/>
                </a:lnTo>
                <a:lnTo>
                  <a:pt x="2196" y="2117"/>
                </a:lnTo>
                <a:lnTo>
                  <a:pt x="2175" y="2102"/>
                </a:lnTo>
                <a:lnTo>
                  <a:pt x="2147" y="2087"/>
                </a:lnTo>
                <a:lnTo>
                  <a:pt x="2114" y="2073"/>
                </a:lnTo>
                <a:lnTo>
                  <a:pt x="2076" y="2061"/>
                </a:lnTo>
                <a:lnTo>
                  <a:pt x="2038" y="2046"/>
                </a:lnTo>
                <a:lnTo>
                  <a:pt x="2002" y="2031"/>
                </a:lnTo>
                <a:lnTo>
                  <a:pt x="1968" y="2014"/>
                </a:lnTo>
                <a:lnTo>
                  <a:pt x="1936" y="1997"/>
                </a:lnTo>
                <a:lnTo>
                  <a:pt x="1909" y="1978"/>
                </a:lnTo>
                <a:lnTo>
                  <a:pt x="1883" y="1957"/>
                </a:lnTo>
                <a:lnTo>
                  <a:pt x="1861" y="1934"/>
                </a:lnTo>
                <a:lnTo>
                  <a:pt x="1843" y="1910"/>
                </a:lnTo>
                <a:lnTo>
                  <a:pt x="1828" y="1882"/>
                </a:lnTo>
                <a:lnTo>
                  <a:pt x="1817" y="1854"/>
                </a:lnTo>
                <a:lnTo>
                  <a:pt x="1810" y="1822"/>
                </a:lnTo>
                <a:lnTo>
                  <a:pt x="1808" y="1787"/>
                </a:lnTo>
                <a:lnTo>
                  <a:pt x="1811" y="1749"/>
                </a:lnTo>
                <a:lnTo>
                  <a:pt x="1820" y="1712"/>
                </a:lnTo>
                <a:lnTo>
                  <a:pt x="1832" y="1678"/>
                </a:lnTo>
                <a:lnTo>
                  <a:pt x="1851" y="1646"/>
                </a:lnTo>
                <a:lnTo>
                  <a:pt x="1875" y="1616"/>
                </a:lnTo>
                <a:lnTo>
                  <a:pt x="1902" y="1591"/>
                </a:lnTo>
                <a:lnTo>
                  <a:pt x="1935" y="1568"/>
                </a:lnTo>
                <a:lnTo>
                  <a:pt x="1972" y="1548"/>
                </a:lnTo>
                <a:lnTo>
                  <a:pt x="2014" y="1533"/>
                </a:lnTo>
                <a:lnTo>
                  <a:pt x="2059" y="1522"/>
                </a:lnTo>
                <a:lnTo>
                  <a:pt x="2059" y="1522"/>
                </a:lnTo>
                <a:lnTo>
                  <a:pt x="2059" y="1521"/>
                </a:lnTo>
                <a:lnTo>
                  <a:pt x="2059" y="1518"/>
                </a:lnTo>
                <a:lnTo>
                  <a:pt x="2059" y="1473"/>
                </a:lnTo>
                <a:lnTo>
                  <a:pt x="2059" y="1449"/>
                </a:lnTo>
                <a:lnTo>
                  <a:pt x="2059" y="1419"/>
                </a:lnTo>
                <a:lnTo>
                  <a:pt x="2059" y="1380"/>
                </a:lnTo>
                <a:lnTo>
                  <a:pt x="2059" y="1380"/>
                </a:lnTo>
                <a:close/>
                <a:moveTo>
                  <a:pt x="1364" y="1380"/>
                </a:moveTo>
                <a:lnTo>
                  <a:pt x="1365" y="1380"/>
                </a:lnTo>
                <a:lnTo>
                  <a:pt x="1402" y="1380"/>
                </a:lnTo>
                <a:lnTo>
                  <a:pt x="1420" y="1380"/>
                </a:lnTo>
                <a:lnTo>
                  <a:pt x="1443" y="1380"/>
                </a:lnTo>
                <a:lnTo>
                  <a:pt x="1510" y="1380"/>
                </a:lnTo>
                <a:lnTo>
                  <a:pt x="1510" y="1381"/>
                </a:lnTo>
                <a:lnTo>
                  <a:pt x="1510" y="1381"/>
                </a:lnTo>
                <a:lnTo>
                  <a:pt x="1510" y="1384"/>
                </a:lnTo>
                <a:lnTo>
                  <a:pt x="1510" y="1425"/>
                </a:lnTo>
                <a:lnTo>
                  <a:pt x="1510" y="1448"/>
                </a:lnTo>
                <a:lnTo>
                  <a:pt x="1510" y="1476"/>
                </a:lnTo>
                <a:lnTo>
                  <a:pt x="1510" y="1512"/>
                </a:lnTo>
                <a:lnTo>
                  <a:pt x="1558" y="1516"/>
                </a:lnTo>
                <a:lnTo>
                  <a:pt x="1599" y="1522"/>
                </a:lnTo>
                <a:lnTo>
                  <a:pt x="1637" y="1530"/>
                </a:lnTo>
                <a:lnTo>
                  <a:pt x="1670" y="1540"/>
                </a:lnTo>
                <a:lnTo>
                  <a:pt x="1700" y="1551"/>
                </a:lnTo>
                <a:lnTo>
                  <a:pt x="1725" y="1562"/>
                </a:lnTo>
                <a:lnTo>
                  <a:pt x="1725" y="1562"/>
                </a:lnTo>
                <a:lnTo>
                  <a:pt x="1725" y="1563"/>
                </a:lnTo>
                <a:lnTo>
                  <a:pt x="1724" y="1564"/>
                </a:lnTo>
                <a:lnTo>
                  <a:pt x="1724" y="1568"/>
                </a:lnTo>
                <a:lnTo>
                  <a:pt x="1722" y="1572"/>
                </a:lnTo>
                <a:lnTo>
                  <a:pt x="1721" y="1579"/>
                </a:lnTo>
                <a:lnTo>
                  <a:pt x="1718" y="1589"/>
                </a:lnTo>
                <a:lnTo>
                  <a:pt x="1715" y="1601"/>
                </a:lnTo>
                <a:lnTo>
                  <a:pt x="1710" y="1617"/>
                </a:lnTo>
                <a:lnTo>
                  <a:pt x="1705" y="1639"/>
                </a:lnTo>
                <a:lnTo>
                  <a:pt x="1699" y="1664"/>
                </a:lnTo>
                <a:lnTo>
                  <a:pt x="1691" y="1694"/>
                </a:lnTo>
                <a:lnTo>
                  <a:pt x="1682" y="1730"/>
                </a:lnTo>
                <a:lnTo>
                  <a:pt x="1666" y="1722"/>
                </a:lnTo>
                <a:lnTo>
                  <a:pt x="1648" y="1715"/>
                </a:lnTo>
                <a:lnTo>
                  <a:pt x="1625" y="1706"/>
                </a:lnTo>
                <a:lnTo>
                  <a:pt x="1600" y="1698"/>
                </a:lnTo>
                <a:lnTo>
                  <a:pt x="1572" y="1691"/>
                </a:lnTo>
                <a:lnTo>
                  <a:pt x="1542" y="1685"/>
                </a:lnTo>
                <a:lnTo>
                  <a:pt x="1507" y="1681"/>
                </a:lnTo>
                <a:lnTo>
                  <a:pt x="1469" y="1680"/>
                </a:lnTo>
                <a:lnTo>
                  <a:pt x="1439" y="1681"/>
                </a:lnTo>
                <a:lnTo>
                  <a:pt x="1413" y="1685"/>
                </a:lnTo>
                <a:lnTo>
                  <a:pt x="1392" y="1692"/>
                </a:lnTo>
                <a:lnTo>
                  <a:pt x="1374" y="1700"/>
                </a:lnTo>
                <a:lnTo>
                  <a:pt x="1361" y="1711"/>
                </a:lnTo>
                <a:lnTo>
                  <a:pt x="1352" y="1721"/>
                </a:lnTo>
                <a:lnTo>
                  <a:pt x="1344" y="1734"/>
                </a:lnTo>
                <a:lnTo>
                  <a:pt x="1341" y="1748"/>
                </a:lnTo>
                <a:lnTo>
                  <a:pt x="1340" y="1761"/>
                </a:lnTo>
                <a:lnTo>
                  <a:pt x="1341" y="1777"/>
                </a:lnTo>
                <a:lnTo>
                  <a:pt x="1348" y="1792"/>
                </a:lnTo>
                <a:lnTo>
                  <a:pt x="1358" y="1806"/>
                </a:lnTo>
                <a:lnTo>
                  <a:pt x="1373" y="1820"/>
                </a:lnTo>
                <a:lnTo>
                  <a:pt x="1392" y="1833"/>
                </a:lnTo>
                <a:lnTo>
                  <a:pt x="1417" y="1846"/>
                </a:lnTo>
                <a:lnTo>
                  <a:pt x="1445" y="1860"/>
                </a:lnTo>
                <a:lnTo>
                  <a:pt x="1479" y="1875"/>
                </a:lnTo>
                <a:lnTo>
                  <a:pt x="1519" y="1890"/>
                </a:lnTo>
                <a:lnTo>
                  <a:pt x="1569" y="1909"/>
                </a:lnTo>
                <a:lnTo>
                  <a:pt x="1613" y="1930"/>
                </a:lnTo>
                <a:lnTo>
                  <a:pt x="1651" y="1952"/>
                </a:lnTo>
                <a:lnTo>
                  <a:pt x="1683" y="1976"/>
                </a:lnTo>
                <a:lnTo>
                  <a:pt x="1710" y="2002"/>
                </a:lnTo>
                <a:lnTo>
                  <a:pt x="1732" y="2030"/>
                </a:lnTo>
                <a:lnTo>
                  <a:pt x="1747" y="2061"/>
                </a:lnTo>
                <a:lnTo>
                  <a:pt x="1759" y="2094"/>
                </a:lnTo>
                <a:lnTo>
                  <a:pt x="1765" y="2130"/>
                </a:lnTo>
                <a:lnTo>
                  <a:pt x="1768" y="2168"/>
                </a:lnTo>
                <a:lnTo>
                  <a:pt x="1765" y="2203"/>
                </a:lnTo>
                <a:lnTo>
                  <a:pt x="1759" y="2238"/>
                </a:lnTo>
                <a:lnTo>
                  <a:pt x="1747" y="2271"/>
                </a:lnTo>
                <a:lnTo>
                  <a:pt x="1732" y="2301"/>
                </a:lnTo>
                <a:lnTo>
                  <a:pt x="1710" y="2330"/>
                </a:lnTo>
                <a:lnTo>
                  <a:pt x="1686" y="2357"/>
                </a:lnTo>
                <a:lnTo>
                  <a:pt x="1657" y="2381"/>
                </a:lnTo>
                <a:lnTo>
                  <a:pt x="1624" y="2402"/>
                </a:lnTo>
                <a:lnTo>
                  <a:pt x="1587" y="2419"/>
                </a:lnTo>
                <a:lnTo>
                  <a:pt x="1547" y="2433"/>
                </a:lnTo>
                <a:lnTo>
                  <a:pt x="1502" y="2444"/>
                </a:lnTo>
                <a:lnTo>
                  <a:pt x="1502" y="2444"/>
                </a:lnTo>
                <a:lnTo>
                  <a:pt x="1502" y="2445"/>
                </a:lnTo>
                <a:lnTo>
                  <a:pt x="1502" y="2447"/>
                </a:lnTo>
                <a:lnTo>
                  <a:pt x="1502" y="2451"/>
                </a:lnTo>
                <a:lnTo>
                  <a:pt x="1502" y="2457"/>
                </a:lnTo>
                <a:lnTo>
                  <a:pt x="1502" y="2468"/>
                </a:lnTo>
                <a:lnTo>
                  <a:pt x="1502" y="2482"/>
                </a:lnTo>
                <a:lnTo>
                  <a:pt x="1502" y="2501"/>
                </a:lnTo>
                <a:lnTo>
                  <a:pt x="1502" y="2526"/>
                </a:lnTo>
                <a:lnTo>
                  <a:pt x="1502" y="2594"/>
                </a:lnTo>
                <a:lnTo>
                  <a:pt x="1502" y="2594"/>
                </a:lnTo>
                <a:lnTo>
                  <a:pt x="1501" y="2594"/>
                </a:lnTo>
                <a:lnTo>
                  <a:pt x="1499" y="2594"/>
                </a:lnTo>
                <a:lnTo>
                  <a:pt x="1495" y="2594"/>
                </a:lnTo>
                <a:lnTo>
                  <a:pt x="1489" y="2594"/>
                </a:lnTo>
                <a:lnTo>
                  <a:pt x="1479" y="2594"/>
                </a:lnTo>
                <a:lnTo>
                  <a:pt x="1464" y="2594"/>
                </a:lnTo>
                <a:lnTo>
                  <a:pt x="1446" y="2594"/>
                </a:lnTo>
                <a:lnTo>
                  <a:pt x="1423" y="2594"/>
                </a:lnTo>
                <a:lnTo>
                  <a:pt x="1393" y="2594"/>
                </a:lnTo>
                <a:lnTo>
                  <a:pt x="1356" y="2594"/>
                </a:lnTo>
                <a:lnTo>
                  <a:pt x="1356" y="2453"/>
                </a:lnTo>
                <a:lnTo>
                  <a:pt x="1306" y="2450"/>
                </a:lnTo>
                <a:lnTo>
                  <a:pt x="1259" y="2442"/>
                </a:lnTo>
                <a:lnTo>
                  <a:pt x="1213" y="2432"/>
                </a:lnTo>
                <a:lnTo>
                  <a:pt x="1172" y="2420"/>
                </a:lnTo>
                <a:lnTo>
                  <a:pt x="1135" y="2405"/>
                </a:lnTo>
                <a:lnTo>
                  <a:pt x="1103" y="2391"/>
                </a:lnTo>
                <a:lnTo>
                  <a:pt x="1103" y="2391"/>
                </a:lnTo>
                <a:lnTo>
                  <a:pt x="1103" y="2389"/>
                </a:lnTo>
                <a:lnTo>
                  <a:pt x="1104" y="2388"/>
                </a:lnTo>
                <a:lnTo>
                  <a:pt x="1104" y="2385"/>
                </a:lnTo>
                <a:lnTo>
                  <a:pt x="1106" y="2381"/>
                </a:lnTo>
                <a:lnTo>
                  <a:pt x="1107" y="2374"/>
                </a:lnTo>
                <a:lnTo>
                  <a:pt x="1110" y="2363"/>
                </a:lnTo>
                <a:lnTo>
                  <a:pt x="1113" y="2350"/>
                </a:lnTo>
                <a:lnTo>
                  <a:pt x="1118" y="2332"/>
                </a:lnTo>
                <a:lnTo>
                  <a:pt x="1124" y="2311"/>
                </a:lnTo>
                <a:lnTo>
                  <a:pt x="1130" y="2284"/>
                </a:lnTo>
                <a:lnTo>
                  <a:pt x="1139" y="2253"/>
                </a:lnTo>
                <a:lnTo>
                  <a:pt x="1148" y="2216"/>
                </a:lnTo>
                <a:lnTo>
                  <a:pt x="1181" y="2232"/>
                </a:lnTo>
                <a:lnTo>
                  <a:pt x="1218" y="2247"/>
                </a:lnTo>
                <a:lnTo>
                  <a:pt x="1259" y="2261"/>
                </a:lnTo>
                <a:lnTo>
                  <a:pt x="1302" y="2271"/>
                </a:lnTo>
                <a:lnTo>
                  <a:pt x="1348" y="2278"/>
                </a:lnTo>
                <a:lnTo>
                  <a:pt x="1394" y="2280"/>
                </a:lnTo>
                <a:lnTo>
                  <a:pt x="1426" y="2279"/>
                </a:lnTo>
                <a:lnTo>
                  <a:pt x="1454" y="2275"/>
                </a:lnTo>
                <a:lnTo>
                  <a:pt x="1478" y="2267"/>
                </a:lnTo>
                <a:lnTo>
                  <a:pt x="1499" y="2257"/>
                </a:lnTo>
                <a:lnTo>
                  <a:pt x="1515" y="2244"/>
                </a:lnTo>
                <a:lnTo>
                  <a:pt x="1528" y="2229"/>
                </a:lnTo>
                <a:lnTo>
                  <a:pt x="1535" y="2210"/>
                </a:lnTo>
                <a:lnTo>
                  <a:pt x="1539" y="2189"/>
                </a:lnTo>
                <a:lnTo>
                  <a:pt x="1536" y="2169"/>
                </a:lnTo>
                <a:lnTo>
                  <a:pt x="1529" y="2150"/>
                </a:lnTo>
                <a:lnTo>
                  <a:pt x="1517" y="2133"/>
                </a:lnTo>
                <a:lnTo>
                  <a:pt x="1500" y="2117"/>
                </a:lnTo>
                <a:lnTo>
                  <a:pt x="1479" y="2102"/>
                </a:lnTo>
                <a:lnTo>
                  <a:pt x="1452" y="2087"/>
                </a:lnTo>
                <a:lnTo>
                  <a:pt x="1419" y="2073"/>
                </a:lnTo>
                <a:lnTo>
                  <a:pt x="1381" y="2061"/>
                </a:lnTo>
                <a:lnTo>
                  <a:pt x="1342" y="2046"/>
                </a:lnTo>
                <a:lnTo>
                  <a:pt x="1305" y="2031"/>
                </a:lnTo>
                <a:lnTo>
                  <a:pt x="1272" y="2014"/>
                </a:lnTo>
                <a:lnTo>
                  <a:pt x="1241" y="1997"/>
                </a:lnTo>
                <a:lnTo>
                  <a:pt x="1212" y="1978"/>
                </a:lnTo>
                <a:lnTo>
                  <a:pt x="1188" y="1957"/>
                </a:lnTo>
                <a:lnTo>
                  <a:pt x="1165" y="1934"/>
                </a:lnTo>
                <a:lnTo>
                  <a:pt x="1147" y="1910"/>
                </a:lnTo>
                <a:lnTo>
                  <a:pt x="1132" y="1882"/>
                </a:lnTo>
                <a:lnTo>
                  <a:pt x="1122" y="1854"/>
                </a:lnTo>
                <a:lnTo>
                  <a:pt x="1114" y="1822"/>
                </a:lnTo>
                <a:lnTo>
                  <a:pt x="1112" y="1787"/>
                </a:lnTo>
                <a:lnTo>
                  <a:pt x="1115" y="1749"/>
                </a:lnTo>
                <a:lnTo>
                  <a:pt x="1124" y="1712"/>
                </a:lnTo>
                <a:lnTo>
                  <a:pt x="1137" y="1678"/>
                </a:lnTo>
                <a:lnTo>
                  <a:pt x="1156" y="1646"/>
                </a:lnTo>
                <a:lnTo>
                  <a:pt x="1179" y="1616"/>
                </a:lnTo>
                <a:lnTo>
                  <a:pt x="1207" y="1591"/>
                </a:lnTo>
                <a:lnTo>
                  <a:pt x="1240" y="1568"/>
                </a:lnTo>
                <a:lnTo>
                  <a:pt x="1277" y="1548"/>
                </a:lnTo>
                <a:lnTo>
                  <a:pt x="1318" y="1533"/>
                </a:lnTo>
                <a:lnTo>
                  <a:pt x="1364" y="1522"/>
                </a:lnTo>
                <a:lnTo>
                  <a:pt x="1364" y="1380"/>
                </a:lnTo>
                <a:lnTo>
                  <a:pt x="1364" y="1380"/>
                </a:lnTo>
                <a:close/>
                <a:moveTo>
                  <a:pt x="1738" y="241"/>
                </a:moveTo>
                <a:lnTo>
                  <a:pt x="1739" y="241"/>
                </a:lnTo>
                <a:lnTo>
                  <a:pt x="1752" y="241"/>
                </a:lnTo>
                <a:lnTo>
                  <a:pt x="1761" y="241"/>
                </a:lnTo>
                <a:lnTo>
                  <a:pt x="1776" y="241"/>
                </a:lnTo>
                <a:lnTo>
                  <a:pt x="1794" y="241"/>
                </a:lnTo>
                <a:lnTo>
                  <a:pt x="1817" y="241"/>
                </a:lnTo>
                <a:lnTo>
                  <a:pt x="1847" y="241"/>
                </a:lnTo>
                <a:lnTo>
                  <a:pt x="1884" y="241"/>
                </a:lnTo>
                <a:lnTo>
                  <a:pt x="1884" y="372"/>
                </a:lnTo>
                <a:lnTo>
                  <a:pt x="1931" y="376"/>
                </a:lnTo>
                <a:lnTo>
                  <a:pt x="1973" y="383"/>
                </a:lnTo>
                <a:lnTo>
                  <a:pt x="2011" y="390"/>
                </a:lnTo>
                <a:lnTo>
                  <a:pt x="2044" y="400"/>
                </a:lnTo>
                <a:lnTo>
                  <a:pt x="2074" y="411"/>
                </a:lnTo>
                <a:lnTo>
                  <a:pt x="2099" y="423"/>
                </a:lnTo>
                <a:lnTo>
                  <a:pt x="2099" y="423"/>
                </a:lnTo>
                <a:lnTo>
                  <a:pt x="2099" y="423"/>
                </a:lnTo>
                <a:lnTo>
                  <a:pt x="2098" y="425"/>
                </a:lnTo>
                <a:lnTo>
                  <a:pt x="2098" y="427"/>
                </a:lnTo>
                <a:lnTo>
                  <a:pt x="2096" y="433"/>
                </a:lnTo>
                <a:lnTo>
                  <a:pt x="2095" y="439"/>
                </a:lnTo>
                <a:lnTo>
                  <a:pt x="2092" y="449"/>
                </a:lnTo>
                <a:lnTo>
                  <a:pt x="2089" y="462"/>
                </a:lnTo>
                <a:lnTo>
                  <a:pt x="2085" y="478"/>
                </a:lnTo>
                <a:lnTo>
                  <a:pt x="2079" y="500"/>
                </a:lnTo>
                <a:lnTo>
                  <a:pt x="2073" y="524"/>
                </a:lnTo>
                <a:lnTo>
                  <a:pt x="2066" y="555"/>
                </a:lnTo>
                <a:lnTo>
                  <a:pt x="2056" y="591"/>
                </a:lnTo>
                <a:lnTo>
                  <a:pt x="2040" y="583"/>
                </a:lnTo>
                <a:lnTo>
                  <a:pt x="2022" y="576"/>
                </a:lnTo>
                <a:lnTo>
                  <a:pt x="2000" y="567"/>
                </a:lnTo>
                <a:lnTo>
                  <a:pt x="1974" y="559"/>
                </a:lnTo>
                <a:lnTo>
                  <a:pt x="1947" y="551"/>
                </a:lnTo>
                <a:lnTo>
                  <a:pt x="1916" y="546"/>
                </a:lnTo>
                <a:lnTo>
                  <a:pt x="1881" y="542"/>
                </a:lnTo>
                <a:lnTo>
                  <a:pt x="1843" y="540"/>
                </a:lnTo>
                <a:lnTo>
                  <a:pt x="1813" y="542"/>
                </a:lnTo>
                <a:lnTo>
                  <a:pt x="1788" y="546"/>
                </a:lnTo>
                <a:lnTo>
                  <a:pt x="1766" y="553"/>
                </a:lnTo>
                <a:lnTo>
                  <a:pt x="1748" y="561"/>
                </a:lnTo>
                <a:lnTo>
                  <a:pt x="1736" y="571"/>
                </a:lnTo>
                <a:lnTo>
                  <a:pt x="1726" y="582"/>
                </a:lnTo>
                <a:lnTo>
                  <a:pt x="1719" y="595"/>
                </a:lnTo>
                <a:lnTo>
                  <a:pt x="1716" y="608"/>
                </a:lnTo>
                <a:lnTo>
                  <a:pt x="1713" y="621"/>
                </a:lnTo>
                <a:lnTo>
                  <a:pt x="1716" y="637"/>
                </a:lnTo>
                <a:lnTo>
                  <a:pt x="1722" y="652"/>
                </a:lnTo>
                <a:lnTo>
                  <a:pt x="1733" y="667"/>
                </a:lnTo>
                <a:lnTo>
                  <a:pt x="1747" y="681"/>
                </a:lnTo>
                <a:lnTo>
                  <a:pt x="1766" y="694"/>
                </a:lnTo>
                <a:lnTo>
                  <a:pt x="1791" y="707"/>
                </a:lnTo>
                <a:lnTo>
                  <a:pt x="1820" y="721"/>
                </a:lnTo>
                <a:lnTo>
                  <a:pt x="1853" y="736"/>
                </a:lnTo>
                <a:lnTo>
                  <a:pt x="1894" y="751"/>
                </a:lnTo>
                <a:lnTo>
                  <a:pt x="1944" y="770"/>
                </a:lnTo>
                <a:lnTo>
                  <a:pt x="1987" y="791"/>
                </a:lnTo>
                <a:lnTo>
                  <a:pt x="2025" y="813"/>
                </a:lnTo>
                <a:lnTo>
                  <a:pt x="2057" y="837"/>
                </a:lnTo>
                <a:lnTo>
                  <a:pt x="2085" y="863"/>
                </a:lnTo>
                <a:lnTo>
                  <a:pt x="2106" y="891"/>
                </a:lnTo>
                <a:lnTo>
                  <a:pt x="2122" y="922"/>
                </a:lnTo>
                <a:lnTo>
                  <a:pt x="2133" y="955"/>
                </a:lnTo>
                <a:lnTo>
                  <a:pt x="2140" y="990"/>
                </a:lnTo>
                <a:lnTo>
                  <a:pt x="2142" y="1029"/>
                </a:lnTo>
                <a:lnTo>
                  <a:pt x="2140" y="1064"/>
                </a:lnTo>
                <a:lnTo>
                  <a:pt x="2133" y="1099"/>
                </a:lnTo>
                <a:lnTo>
                  <a:pt x="2122" y="1132"/>
                </a:lnTo>
                <a:lnTo>
                  <a:pt x="2106" y="1162"/>
                </a:lnTo>
                <a:lnTo>
                  <a:pt x="2085" y="1191"/>
                </a:lnTo>
                <a:lnTo>
                  <a:pt x="2060" y="1218"/>
                </a:lnTo>
                <a:lnTo>
                  <a:pt x="2032" y="1242"/>
                </a:lnTo>
                <a:lnTo>
                  <a:pt x="1999" y="1262"/>
                </a:lnTo>
                <a:lnTo>
                  <a:pt x="1962" y="1280"/>
                </a:lnTo>
                <a:lnTo>
                  <a:pt x="1921" y="1294"/>
                </a:lnTo>
                <a:lnTo>
                  <a:pt x="1877" y="1303"/>
                </a:lnTo>
                <a:lnTo>
                  <a:pt x="1877" y="1455"/>
                </a:lnTo>
                <a:lnTo>
                  <a:pt x="1863" y="1455"/>
                </a:lnTo>
                <a:lnTo>
                  <a:pt x="1853" y="1455"/>
                </a:lnTo>
                <a:lnTo>
                  <a:pt x="1839" y="1455"/>
                </a:lnTo>
                <a:lnTo>
                  <a:pt x="1797" y="1455"/>
                </a:lnTo>
                <a:lnTo>
                  <a:pt x="1768" y="1455"/>
                </a:lnTo>
                <a:lnTo>
                  <a:pt x="1730" y="1455"/>
                </a:lnTo>
                <a:lnTo>
                  <a:pt x="1730" y="1313"/>
                </a:lnTo>
                <a:lnTo>
                  <a:pt x="1681" y="1310"/>
                </a:lnTo>
                <a:lnTo>
                  <a:pt x="1633" y="1303"/>
                </a:lnTo>
                <a:lnTo>
                  <a:pt x="1587" y="1293"/>
                </a:lnTo>
                <a:lnTo>
                  <a:pt x="1546" y="1281"/>
                </a:lnTo>
                <a:lnTo>
                  <a:pt x="1509" y="1266"/>
                </a:lnTo>
                <a:lnTo>
                  <a:pt x="1477" y="1251"/>
                </a:lnTo>
                <a:lnTo>
                  <a:pt x="1477" y="1251"/>
                </a:lnTo>
                <a:lnTo>
                  <a:pt x="1477" y="1250"/>
                </a:lnTo>
                <a:lnTo>
                  <a:pt x="1478" y="1249"/>
                </a:lnTo>
                <a:lnTo>
                  <a:pt x="1478" y="1246"/>
                </a:lnTo>
                <a:lnTo>
                  <a:pt x="1480" y="1241"/>
                </a:lnTo>
                <a:lnTo>
                  <a:pt x="1481" y="1234"/>
                </a:lnTo>
                <a:lnTo>
                  <a:pt x="1484" y="1224"/>
                </a:lnTo>
                <a:lnTo>
                  <a:pt x="1488" y="1210"/>
                </a:lnTo>
                <a:lnTo>
                  <a:pt x="1492" y="1193"/>
                </a:lnTo>
                <a:lnTo>
                  <a:pt x="1498" y="1172"/>
                </a:lnTo>
                <a:lnTo>
                  <a:pt x="1505" y="1145"/>
                </a:lnTo>
                <a:lnTo>
                  <a:pt x="1513" y="1114"/>
                </a:lnTo>
                <a:lnTo>
                  <a:pt x="1523" y="1076"/>
                </a:lnTo>
                <a:lnTo>
                  <a:pt x="1555" y="1092"/>
                </a:lnTo>
                <a:lnTo>
                  <a:pt x="1593" y="1108"/>
                </a:lnTo>
                <a:lnTo>
                  <a:pt x="1633" y="1121"/>
                </a:lnTo>
                <a:lnTo>
                  <a:pt x="1676" y="1132"/>
                </a:lnTo>
                <a:lnTo>
                  <a:pt x="1722" y="1139"/>
                </a:lnTo>
                <a:lnTo>
                  <a:pt x="1769" y="1141"/>
                </a:lnTo>
                <a:lnTo>
                  <a:pt x="1800" y="1140"/>
                </a:lnTo>
                <a:lnTo>
                  <a:pt x="1828" y="1135"/>
                </a:lnTo>
                <a:lnTo>
                  <a:pt x="1852" y="1128"/>
                </a:lnTo>
                <a:lnTo>
                  <a:pt x="1874" y="1118"/>
                </a:lnTo>
                <a:lnTo>
                  <a:pt x="1889" y="1105"/>
                </a:lnTo>
                <a:lnTo>
                  <a:pt x="1902" y="1089"/>
                </a:lnTo>
                <a:lnTo>
                  <a:pt x="1910" y="1071"/>
                </a:lnTo>
                <a:lnTo>
                  <a:pt x="1913" y="1050"/>
                </a:lnTo>
                <a:lnTo>
                  <a:pt x="1911" y="1030"/>
                </a:lnTo>
                <a:lnTo>
                  <a:pt x="1903" y="1011"/>
                </a:lnTo>
                <a:lnTo>
                  <a:pt x="1892" y="994"/>
                </a:lnTo>
                <a:lnTo>
                  <a:pt x="1875" y="978"/>
                </a:lnTo>
                <a:lnTo>
                  <a:pt x="1853" y="962"/>
                </a:lnTo>
                <a:lnTo>
                  <a:pt x="1826" y="948"/>
                </a:lnTo>
                <a:lnTo>
                  <a:pt x="1793" y="934"/>
                </a:lnTo>
                <a:lnTo>
                  <a:pt x="1755" y="921"/>
                </a:lnTo>
                <a:lnTo>
                  <a:pt x="1717" y="907"/>
                </a:lnTo>
                <a:lnTo>
                  <a:pt x="1680" y="892"/>
                </a:lnTo>
                <a:lnTo>
                  <a:pt x="1647" y="875"/>
                </a:lnTo>
                <a:lnTo>
                  <a:pt x="1615" y="858"/>
                </a:lnTo>
                <a:lnTo>
                  <a:pt x="1586" y="839"/>
                </a:lnTo>
                <a:lnTo>
                  <a:pt x="1562" y="818"/>
                </a:lnTo>
                <a:lnTo>
                  <a:pt x="1540" y="795"/>
                </a:lnTo>
                <a:lnTo>
                  <a:pt x="1522" y="770"/>
                </a:lnTo>
                <a:lnTo>
                  <a:pt x="1507" y="743"/>
                </a:lnTo>
                <a:lnTo>
                  <a:pt x="1496" y="714"/>
                </a:lnTo>
                <a:lnTo>
                  <a:pt x="1489" y="682"/>
                </a:lnTo>
                <a:lnTo>
                  <a:pt x="1487" y="648"/>
                </a:lnTo>
                <a:lnTo>
                  <a:pt x="1490" y="610"/>
                </a:lnTo>
                <a:lnTo>
                  <a:pt x="1497" y="573"/>
                </a:lnTo>
                <a:lnTo>
                  <a:pt x="1511" y="539"/>
                </a:lnTo>
                <a:lnTo>
                  <a:pt x="1530" y="507"/>
                </a:lnTo>
                <a:lnTo>
                  <a:pt x="1553" y="477"/>
                </a:lnTo>
                <a:lnTo>
                  <a:pt x="1581" y="452"/>
                </a:lnTo>
                <a:lnTo>
                  <a:pt x="1614" y="428"/>
                </a:lnTo>
                <a:lnTo>
                  <a:pt x="1651" y="409"/>
                </a:lnTo>
                <a:lnTo>
                  <a:pt x="1692" y="393"/>
                </a:lnTo>
                <a:lnTo>
                  <a:pt x="1738" y="382"/>
                </a:lnTo>
                <a:lnTo>
                  <a:pt x="1738" y="241"/>
                </a:lnTo>
                <a:lnTo>
                  <a:pt x="1738" y="241"/>
                </a:lnTo>
                <a:close/>
                <a:moveTo>
                  <a:pt x="1420" y="98"/>
                </a:moveTo>
                <a:lnTo>
                  <a:pt x="1303" y="98"/>
                </a:lnTo>
                <a:lnTo>
                  <a:pt x="907" y="98"/>
                </a:lnTo>
                <a:lnTo>
                  <a:pt x="907" y="99"/>
                </a:lnTo>
                <a:lnTo>
                  <a:pt x="907" y="100"/>
                </a:lnTo>
                <a:lnTo>
                  <a:pt x="907" y="102"/>
                </a:lnTo>
                <a:lnTo>
                  <a:pt x="907" y="106"/>
                </a:lnTo>
                <a:lnTo>
                  <a:pt x="907" y="111"/>
                </a:lnTo>
                <a:lnTo>
                  <a:pt x="907" y="118"/>
                </a:lnTo>
                <a:lnTo>
                  <a:pt x="907" y="126"/>
                </a:lnTo>
                <a:lnTo>
                  <a:pt x="907" y="137"/>
                </a:lnTo>
                <a:lnTo>
                  <a:pt x="907" y="151"/>
                </a:lnTo>
                <a:lnTo>
                  <a:pt x="907" y="206"/>
                </a:lnTo>
                <a:lnTo>
                  <a:pt x="907" y="231"/>
                </a:lnTo>
                <a:lnTo>
                  <a:pt x="907" y="260"/>
                </a:lnTo>
                <a:lnTo>
                  <a:pt x="907" y="293"/>
                </a:lnTo>
                <a:lnTo>
                  <a:pt x="907" y="329"/>
                </a:lnTo>
                <a:lnTo>
                  <a:pt x="907" y="369"/>
                </a:lnTo>
                <a:lnTo>
                  <a:pt x="907" y="415"/>
                </a:lnTo>
                <a:lnTo>
                  <a:pt x="907" y="465"/>
                </a:lnTo>
                <a:lnTo>
                  <a:pt x="907" y="520"/>
                </a:lnTo>
                <a:lnTo>
                  <a:pt x="907" y="580"/>
                </a:lnTo>
                <a:lnTo>
                  <a:pt x="907" y="646"/>
                </a:lnTo>
                <a:lnTo>
                  <a:pt x="907" y="717"/>
                </a:lnTo>
                <a:lnTo>
                  <a:pt x="907" y="878"/>
                </a:lnTo>
                <a:lnTo>
                  <a:pt x="907" y="968"/>
                </a:lnTo>
                <a:lnTo>
                  <a:pt x="907" y="1065"/>
                </a:lnTo>
                <a:lnTo>
                  <a:pt x="907" y="1168"/>
                </a:lnTo>
                <a:lnTo>
                  <a:pt x="907" y="1279"/>
                </a:lnTo>
                <a:lnTo>
                  <a:pt x="907" y="1397"/>
                </a:lnTo>
                <a:lnTo>
                  <a:pt x="907" y="1798"/>
                </a:lnTo>
                <a:lnTo>
                  <a:pt x="797" y="1798"/>
                </a:lnTo>
                <a:lnTo>
                  <a:pt x="768" y="1798"/>
                </a:lnTo>
                <a:lnTo>
                  <a:pt x="734" y="1798"/>
                </a:lnTo>
                <a:lnTo>
                  <a:pt x="693" y="1798"/>
                </a:lnTo>
                <a:lnTo>
                  <a:pt x="648" y="1798"/>
                </a:lnTo>
                <a:lnTo>
                  <a:pt x="596" y="1798"/>
                </a:lnTo>
                <a:lnTo>
                  <a:pt x="234" y="1798"/>
                </a:lnTo>
                <a:lnTo>
                  <a:pt x="234" y="1798"/>
                </a:lnTo>
                <a:lnTo>
                  <a:pt x="234" y="1798"/>
                </a:lnTo>
                <a:lnTo>
                  <a:pt x="235" y="1798"/>
                </a:lnTo>
                <a:lnTo>
                  <a:pt x="235" y="1799"/>
                </a:lnTo>
                <a:lnTo>
                  <a:pt x="236" y="1800"/>
                </a:lnTo>
                <a:lnTo>
                  <a:pt x="238" y="1801"/>
                </a:lnTo>
                <a:lnTo>
                  <a:pt x="240" y="1803"/>
                </a:lnTo>
                <a:lnTo>
                  <a:pt x="242" y="1805"/>
                </a:lnTo>
                <a:lnTo>
                  <a:pt x="245" y="1808"/>
                </a:lnTo>
                <a:lnTo>
                  <a:pt x="249" y="1812"/>
                </a:lnTo>
                <a:lnTo>
                  <a:pt x="254" y="1817"/>
                </a:lnTo>
                <a:lnTo>
                  <a:pt x="260" y="1823"/>
                </a:lnTo>
                <a:lnTo>
                  <a:pt x="267" y="1829"/>
                </a:lnTo>
                <a:lnTo>
                  <a:pt x="275" y="1838"/>
                </a:lnTo>
                <a:lnTo>
                  <a:pt x="284" y="1846"/>
                </a:lnTo>
                <a:lnTo>
                  <a:pt x="295" y="1857"/>
                </a:lnTo>
                <a:lnTo>
                  <a:pt x="306" y="1870"/>
                </a:lnTo>
                <a:lnTo>
                  <a:pt x="319" y="1882"/>
                </a:lnTo>
                <a:lnTo>
                  <a:pt x="335" y="1897"/>
                </a:lnTo>
                <a:lnTo>
                  <a:pt x="351" y="1914"/>
                </a:lnTo>
                <a:lnTo>
                  <a:pt x="370" y="1932"/>
                </a:lnTo>
                <a:lnTo>
                  <a:pt x="390" y="1952"/>
                </a:lnTo>
                <a:lnTo>
                  <a:pt x="412" y="1975"/>
                </a:lnTo>
                <a:lnTo>
                  <a:pt x="436" y="1999"/>
                </a:lnTo>
                <a:lnTo>
                  <a:pt x="462" y="2026"/>
                </a:lnTo>
                <a:lnTo>
                  <a:pt x="491" y="2054"/>
                </a:lnTo>
                <a:lnTo>
                  <a:pt x="522" y="2085"/>
                </a:lnTo>
                <a:lnTo>
                  <a:pt x="555" y="2118"/>
                </a:lnTo>
                <a:lnTo>
                  <a:pt x="591" y="2153"/>
                </a:lnTo>
                <a:lnTo>
                  <a:pt x="628" y="2191"/>
                </a:lnTo>
                <a:lnTo>
                  <a:pt x="669" y="2232"/>
                </a:lnTo>
                <a:lnTo>
                  <a:pt x="713" y="2276"/>
                </a:lnTo>
                <a:lnTo>
                  <a:pt x="758" y="2322"/>
                </a:lnTo>
                <a:lnTo>
                  <a:pt x="808" y="2371"/>
                </a:lnTo>
                <a:lnTo>
                  <a:pt x="860" y="2423"/>
                </a:lnTo>
                <a:lnTo>
                  <a:pt x="915" y="2479"/>
                </a:lnTo>
                <a:lnTo>
                  <a:pt x="973" y="2537"/>
                </a:lnTo>
                <a:lnTo>
                  <a:pt x="1035" y="2598"/>
                </a:lnTo>
                <a:lnTo>
                  <a:pt x="1100" y="2663"/>
                </a:lnTo>
                <a:lnTo>
                  <a:pt x="1167" y="2731"/>
                </a:lnTo>
                <a:lnTo>
                  <a:pt x="1240" y="2803"/>
                </a:lnTo>
                <a:lnTo>
                  <a:pt x="1315" y="2878"/>
                </a:lnTo>
                <a:lnTo>
                  <a:pt x="1393" y="2957"/>
                </a:lnTo>
                <a:lnTo>
                  <a:pt x="1476" y="3040"/>
                </a:lnTo>
                <a:lnTo>
                  <a:pt x="1563" y="3127"/>
                </a:lnTo>
                <a:lnTo>
                  <a:pt x="1653" y="3218"/>
                </a:lnTo>
                <a:lnTo>
                  <a:pt x="1747" y="3312"/>
                </a:lnTo>
                <a:lnTo>
                  <a:pt x="3262" y="1798"/>
                </a:lnTo>
                <a:lnTo>
                  <a:pt x="3152" y="1798"/>
                </a:lnTo>
                <a:lnTo>
                  <a:pt x="3123" y="1798"/>
                </a:lnTo>
                <a:lnTo>
                  <a:pt x="3088" y="1798"/>
                </a:lnTo>
                <a:lnTo>
                  <a:pt x="3048" y="1798"/>
                </a:lnTo>
                <a:lnTo>
                  <a:pt x="3003" y="1798"/>
                </a:lnTo>
                <a:lnTo>
                  <a:pt x="2951" y="1798"/>
                </a:lnTo>
                <a:lnTo>
                  <a:pt x="2589" y="1798"/>
                </a:lnTo>
                <a:lnTo>
                  <a:pt x="2589" y="1797"/>
                </a:lnTo>
                <a:lnTo>
                  <a:pt x="2589" y="1796"/>
                </a:lnTo>
                <a:lnTo>
                  <a:pt x="2589" y="1792"/>
                </a:lnTo>
                <a:lnTo>
                  <a:pt x="2589" y="1789"/>
                </a:lnTo>
                <a:lnTo>
                  <a:pt x="2589" y="1784"/>
                </a:lnTo>
                <a:lnTo>
                  <a:pt x="2589" y="1777"/>
                </a:lnTo>
                <a:lnTo>
                  <a:pt x="2589" y="1769"/>
                </a:lnTo>
                <a:lnTo>
                  <a:pt x="2589" y="1758"/>
                </a:lnTo>
                <a:lnTo>
                  <a:pt x="2589" y="1745"/>
                </a:lnTo>
                <a:lnTo>
                  <a:pt x="2589" y="1688"/>
                </a:lnTo>
                <a:lnTo>
                  <a:pt x="2589" y="1664"/>
                </a:lnTo>
                <a:lnTo>
                  <a:pt x="2589" y="1635"/>
                </a:lnTo>
                <a:lnTo>
                  <a:pt x="2589" y="1603"/>
                </a:lnTo>
                <a:lnTo>
                  <a:pt x="2589" y="1566"/>
                </a:lnTo>
                <a:lnTo>
                  <a:pt x="2589" y="1526"/>
                </a:lnTo>
                <a:lnTo>
                  <a:pt x="2589" y="1481"/>
                </a:lnTo>
                <a:lnTo>
                  <a:pt x="2589" y="1431"/>
                </a:lnTo>
                <a:lnTo>
                  <a:pt x="2589" y="1376"/>
                </a:lnTo>
                <a:lnTo>
                  <a:pt x="2589" y="1315"/>
                </a:lnTo>
                <a:lnTo>
                  <a:pt x="2589" y="1249"/>
                </a:lnTo>
                <a:lnTo>
                  <a:pt x="2589" y="1178"/>
                </a:lnTo>
                <a:lnTo>
                  <a:pt x="2589" y="1017"/>
                </a:lnTo>
                <a:lnTo>
                  <a:pt x="2589" y="927"/>
                </a:lnTo>
                <a:lnTo>
                  <a:pt x="2589" y="830"/>
                </a:lnTo>
                <a:lnTo>
                  <a:pt x="2589" y="726"/>
                </a:lnTo>
                <a:lnTo>
                  <a:pt x="2589" y="616"/>
                </a:lnTo>
                <a:lnTo>
                  <a:pt x="2589" y="498"/>
                </a:lnTo>
                <a:lnTo>
                  <a:pt x="2589" y="98"/>
                </a:lnTo>
                <a:lnTo>
                  <a:pt x="2588" y="98"/>
                </a:lnTo>
                <a:lnTo>
                  <a:pt x="2587" y="98"/>
                </a:lnTo>
                <a:lnTo>
                  <a:pt x="2585" y="98"/>
                </a:lnTo>
                <a:lnTo>
                  <a:pt x="2581" y="98"/>
                </a:lnTo>
                <a:lnTo>
                  <a:pt x="2576" y="98"/>
                </a:lnTo>
                <a:lnTo>
                  <a:pt x="2569" y="98"/>
                </a:lnTo>
                <a:lnTo>
                  <a:pt x="2561" y="98"/>
                </a:lnTo>
                <a:lnTo>
                  <a:pt x="2550" y="98"/>
                </a:lnTo>
                <a:lnTo>
                  <a:pt x="2537" y="98"/>
                </a:lnTo>
                <a:lnTo>
                  <a:pt x="2482" y="98"/>
                </a:lnTo>
                <a:lnTo>
                  <a:pt x="2457" y="98"/>
                </a:lnTo>
                <a:lnTo>
                  <a:pt x="2429" y="98"/>
                </a:lnTo>
                <a:lnTo>
                  <a:pt x="2396" y="98"/>
                </a:lnTo>
                <a:lnTo>
                  <a:pt x="2360" y="98"/>
                </a:lnTo>
                <a:lnTo>
                  <a:pt x="2320" y="98"/>
                </a:lnTo>
                <a:lnTo>
                  <a:pt x="2275" y="98"/>
                </a:lnTo>
                <a:lnTo>
                  <a:pt x="2226" y="98"/>
                </a:lnTo>
                <a:lnTo>
                  <a:pt x="2172" y="98"/>
                </a:lnTo>
                <a:lnTo>
                  <a:pt x="2112" y="98"/>
                </a:lnTo>
                <a:lnTo>
                  <a:pt x="2046" y="98"/>
                </a:lnTo>
                <a:lnTo>
                  <a:pt x="1976" y="98"/>
                </a:lnTo>
                <a:lnTo>
                  <a:pt x="1816" y="98"/>
                </a:lnTo>
                <a:lnTo>
                  <a:pt x="1727" y="98"/>
                </a:lnTo>
                <a:lnTo>
                  <a:pt x="1632" y="98"/>
                </a:lnTo>
                <a:lnTo>
                  <a:pt x="1530" y="98"/>
                </a:lnTo>
                <a:lnTo>
                  <a:pt x="1420" y="98"/>
                </a:lnTo>
                <a:close/>
                <a:moveTo>
                  <a:pt x="809" y="0"/>
                </a:moveTo>
                <a:lnTo>
                  <a:pt x="813" y="0"/>
                </a:lnTo>
                <a:lnTo>
                  <a:pt x="814" y="0"/>
                </a:lnTo>
                <a:lnTo>
                  <a:pt x="819" y="0"/>
                </a:lnTo>
                <a:lnTo>
                  <a:pt x="826" y="0"/>
                </a:lnTo>
                <a:lnTo>
                  <a:pt x="939" y="0"/>
                </a:lnTo>
                <a:lnTo>
                  <a:pt x="975" y="0"/>
                </a:lnTo>
                <a:lnTo>
                  <a:pt x="1017" y="0"/>
                </a:lnTo>
                <a:lnTo>
                  <a:pt x="1036" y="0"/>
                </a:lnTo>
                <a:lnTo>
                  <a:pt x="2075" y="0"/>
                </a:lnTo>
                <a:lnTo>
                  <a:pt x="2103" y="0"/>
                </a:lnTo>
                <a:lnTo>
                  <a:pt x="2172" y="0"/>
                </a:lnTo>
                <a:lnTo>
                  <a:pt x="2214" y="0"/>
                </a:lnTo>
                <a:lnTo>
                  <a:pt x="2262" y="0"/>
                </a:lnTo>
                <a:lnTo>
                  <a:pt x="2316" y="0"/>
                </a:lnTo>
                <a:lnTo>
                  <a:pt x="2376" y="0"/>
                </a:lnTo>
                <a:lnTo>
                  <a:pt x="2687" y="0"/>
                </a:lnTo>
                <a:lnTo>
                  <a:pt x="2687" y="0"/>
                </a:lnTo>
                <a:lnTo>
                  <a:pt x="2687" y="1"/>
                </a:lnTo>
                <a:lnTo>
                  <a:pt x="2687" y="2"/>
                </a:lnTo>
                <a:lnTo>
                  <a:pt x="2687" y="8"/>
                </a:lnTo>
                <a:lnTo>
                  <a:pt x="2687" y="14"/>
                </a:lnTo>
                <a:lnTo>
                  <a:pt x="2687" y="22"/>
                </a:lnTo>
                <a:lnTo>
                  <a:pt x="2687" y="33"/>
                </a:lnTo>
                <a:lnTo>
                  <a:pt x="2687" y="48"/>
                </a:lnTo>
                <a:lnTo>
                  <a:pt x="2687" y="65"/>
                </a:lnTo>
                <a:lnTo>
                  <a:pt x="2687" y="86"/>
                </a:lnTo>
                <a:lnTo>
                  <a:pt x="2687" y="112"/>
                </a:lnTo>
                <a:lnTo>
                  <a:pt x="2687" y="178"/>
                </a:lnTo>
                <a:lnTo>
                  <a:pt x="2687" y="218"/>
                </a:lnTo>
                <a:lnTo>
                  <a:pt x="2687" y="265"/>
                </a:lnTo>
                <a:lnTo>
                  <a:pt x="2687" y="378"/>
                </a:lnTo>
                <a:lnTo>
                  <a:pt x="2687" y="444"/>
                </a:lnTo>
                <a:lnTo>
                  <a:pt x="2687" y="518"/>
                </a:lnTo>
                <a:lnTo>
                  <a:pt x="2687" y="1405"/>
                </a:lnTo>
                <a:lnTo>
                  <a:pt x="2687" y="1405"/>
                </a:lnTo>
                <a:lnTo>
                  <a:pt x="2687" y="1405"/>
                </a:lnTo>
                <a:lnTo>
                  <a:pt x="2687" y="1407"/>
                </a:lnTo>
                <a:lnTo>
                  <a:pt x="2687" y="1411"/>
                </a:lnTo>
                <a:lnTo>
                  <a:pt x="2687" y="1424"/>
                </a:lnTo>
                <a:lnTo>
                  <a:pt x="2687" y="1435"/>
                </a:lnTo>
                <a:lnTo>
                  <a:pt x="2687" y="1450"/>
                </a:lnTo>
                <a:lnTo>
                  <a:pt x="2687" y="1469"/>
                </a:lnTo>
                <a:lnTo>
                  <a:pt x="2687" y="1522"/>
                </a:lnTo>
                <a:lnTo>
                  <a:pt x="2687" y="1556"/>
                </a:lnTo>
                <a:lnTo>
                  <a:pt x="2687" y="1597"/>
                </a:lnTo>
                <a:lnTo>
                  <a:pt x="2687" y="1645"/>
                </a:lnTo>
                <a:lnTo>
                  <a:pt x="2687" y="1700"/>
                </a:lnTo>
                <a:lnTo>
                  <a:pt x="3496" y="1700"/>
                </a:lnTo>
                <a:lnTo>
                  <a:pt x="3496" y="1700"/>
                </a:lnTo>
                <a:lnTo>
                  <a:pt x="3496" y="1701"/>
                </a:lnTo>
                <a:lnTo>
                  <a:pt x="3495" y="1701"/>
                </a:lnTo>
                <a:lnTo>
                  <a:pt x="3493" y="1703"/>
                </a:lnTo>
                <a:lnTo>
                  <a:pt x="3491" y="1705"/>
                </a:lnTo>
                <a:lnTo>
                  <a:pt x="3487" y="1710"/>
                </a:lnTo>
                <a:lnTo>
                  <a:pt x="3482" y="1715"/>
                </a:lnTo>
                <a:lnTo>
                  <a:pt x="3475" y="1721"/>
                </a:lnTo>
                <a:lnTo>
                  <a:pt x="3466" y="1730"/>
                </a:lnTo>
                <a:lnTo>
                  <a:pt x="3456" y="1741"/>
                </a:lnTo>
                <a:lnTo>
                  <a:pt x="3442" y="1754"/>
                </a:lnTo>
                <a:lnTo>
                  <a:pt x="3426" y="1770"/>
                </a:lnTo>
                <a:lnTo>
                  <a:pt x="3407" y="1789"/>
                </a:lnTo>
                <a:lnTo>
                  <a:pt x="3385" y="1811"/>
                </a:lnTo>
                <a:lnTo>
                  <a:pt x="3359" y="1837"/>
                </a:lnTo>
                <a:lnTo>
                  <a:pt x="3329" y="1867"/>
                </a:lnTo>
                <a:lnTo>
                  <a:pt x="3329" y="1867"/>
                </a:lnTo>
                <a:lnTo>
                  <a:pt x="3329" y="1867"/>
                </a:lnTo>
                <a:lnTo>
                  <a:pt x="3329" y="1867"/>
                </a:lnTo>
                <a:lnTo>
                  <a:pt x="3329" y="1868"/>
                </a:lnTo>
                <a:lnTo>
                  <a:pt x="3328" y="1869"/>
                </a:lnTo>
                <a:lnTo>
                  <a:pt x="3326" y="1870"/>
                </a:lnTo>
                <a:lnTo>
                  <a:pt x="3325" y="1872"/>
                </a:lnTo>
                <a:lnTo>
                  <a:pt x="3322" y="1874"/>
                </a:lnTo>
                <a:lnTo>
                  <a:pt x="3319" y="1877"/>
                </a:lnTo>
                <a:lnTo>
                  <a:pt x="3316" y="1881"/>
                </a:lnTo>
                <a:lnTo>
                  <a:pt x="3310" y="1886"/>
                </a:lnTo>
                <a:lnTo>
                  <a:pt x="3305" y="1892"/>
                </a:lnTo>
                <a:lnTo>
                  <a:pt x="3298" y="1898"/>
                </a:lnTo>
                <a:lnTo>
                  <a:pt x="3290" y="1907"/>
                </a:lnTo>
                <a:lnTo>
                  <a:pt x="3281" y="1915"/>
                </a:lnTo>
                <a:lnTo>
                  <a:pt x="3270" y="1926"/>
                </a:lnTo>
                <a:lnTo>
                  <a:pt x="3258" y="1939"/>
                </a:lnTo>
                <a:lnTo>
                  <a:pt x="3245" y="1951"/>
                </a:lnTo>
                <a:lnTo>
                  <a:pt x="3230" y="1966"/>
                </a:lnTo>
                <a:lnTo>
                  <a:pt x="3213" y="1983"/>
                </a:lnTo>
                <a:lnTo>
                  <a:pt x="3195" y="2001"/>
                </a:lnTo>
                <a:lnTo>
                  <a:pt x="3175" y="2021"/>
                </a:lnTo>
                <a:lnTo>
                  <a:pt x="3152" y="2044"/>
                </a:lnTo>
                <a:lnTo>
                  <a:pt x="3128" y="2068"/>
                </a:lnTo>
                <a:lnTo>
                  <a:pt x="3103" y="2095"/>
                </a:lnTo>
                <a:lnTo>
                  <a:pt x="3074" y="2123"/>
                </a:lnTo>
                <a:lnTo>
                  <a:pt x="3043" y="2154"/>
                </a:lnTo>
                <a:lnTo>
                  <a:pt x="3010" y="2187"/>
                </a:lnTo>
                <a:lnTo>
                  <a:pt x="2974" y="2222"/>
                </a:lnTo>
                <a:lnTo>
                  <a:pt x="2936" y="2260"/>
                </a:lnTo>
                <a:lnTo>
                  <a:pt x="2896" y="2301"/>
                </a:lnTo>
                <a:lnTo>
                  <a:pt x="2852" y="2345"/>
                </a:lnTo>
                <a:lnTo>
                  <a:pt x="2806" y="2391"/>
                </a:lnTo>
                <a:lnTo>
                  <a:pt x="2757" y="2439"/>
                </a:lnTo>
                <a:lnTo>
                  <a:pt x="2705" y="2492"/>
                </a:lnTo>
                <a:lnTo>
                  <a:pt x="2650" y="2547"/>
                </a:lnTo>
                <a:lnTo>
                  <a:pt x="2591" y="2605"/>
                </a:lnTo>
                <a:lnTo>
                  <a:pt x="2530" y="2666"/>
                </a:lnTo>
                <a:lnTo>
                  <a:pt x="2465" y="2732"/>
                </a:lnTo>
                <a:lnTo>
                  <a:pt x="2397" y="2800"/>
                </a:lnTo>
                <a:lnTo>
                  <a:pt x="2325" y="2872"/>
                </a:lnTo>
                <a:lnTo>
                  <a:pt x="2250" y="2947"/>
                </a:lnTo>
                <a:lnTo>
                  <a:pt x="2172" y="3026"/>
                </a:lnTo>
                <a:lnTo>
                  <a:pt x="2089" y="3108"/>
                </a:lnTo>
                <a:lnTo>
                  <a:pt x="2002" y="3195"/>
                </a:lnTo>
                <a:lnTo>
                  <a:pt x="1911" y="3286"/>
                </a:lnTo>
                <a:lnTo>
                  <a:pt x="1816" y="3381"/>
                </a:lnTo>
                <a:lnTo>
                  <a:pt x="1816" y="3381"/>
                </a:lnTo>
                <a:lnTo>
                  <a:pt x="1816" y="3381"/>
                </a:lnTo>
                <a:lnTo>
                  <a:pt x="1815" y="3382"/>
                </a:lnTo>
                <a:lnTo>
                  <a:pt x="1812" y="3385"/>
                </a:lnTo>
                <a:lnTo>
                  <a:pt x="1808" y="3390"/>
                </a:lnTo>
                <a:lnTo>
                  <a:pt x="1801" y="3396"/>
                </a:lnTo>
                <a:lnTo>
                  <a:pt x="1793" y="3404"/>
                </a:lnTo>
                <a:lnTo>
                  <a:pt x="1781" y="3416"/>
                </a:lnTo>
                <a:lnTo>
                  <a:pt x="1766" y="3431"/>
                </a:lnTo>
                <a:lnTo>
                  <a:pt x="1747" y="3450"/>
                </a:lnTo>
                <a:lnTo>
                  <a:pt x="1747" y="3449"/>
                </a:lnTo>
                <a:lnTo>
                  <a:pt x="1747" y="3449"/>
                </a:lnTo>
                <a:lnTo>
                  <a:pt x="1746" y="3448"/>
                </a:lnTo>
                <a:lnTo>
                  <a:pt x="1743" y="3445"/>
                </a:lnTo>
                <a:lnTo>
                  <a:pt x="1739" y="3440"/>
                </a:lnTo>
                <a:lnTo>
                  <a:pt x="1733" y="3435"/>
                </a:lnTo>
                <a:lnTo>
                  <a:pt x="1724" y="3426"/>
                </a:lnTo>
                <a:lnTo>
                  <a:pt x="1712" y="3414"/>
                </a:lnTo>
                <a:lnTo>
                  <a:pt x="1698" y="3399"/>
                </a:lnTo>
                <a:lnTo>
                  <a:pt x="1680" y="3381"/>
                </a:lnTo>
                <a:lnTo>
                  <a:pt x="1680" y="3381"/>
                </a:lnTo>
                <a:lnTo>
                  <a:pt x="1678" y="3380"/>
                </a:lnTo>
                <a:lnTo>
                  <a:pt x="1677" y="3379"/>
                </a:lnTo>
                <a:lnTo>
                  <a:pt x="1676" y="3378"/>
                </a:lnTo>
                <a:lnTo>
                  <a:pt x="1673" y="3375"/>
                </a:lnTo>
                <a:lnTo>
                  <a:pt x="1670" y="3372"/>
                </a:lnTo>
                <a:lnTo>
                  <a:pt x="1664" y="3365"/>
                </a:lnTo>
                <a:lnTo>
                  <a:pt x="1656" y="3358"/>
                </a:lnTo>
                <a:lnTo>
                  <a:pt x="1647" y="3348"/>
                </a:lnTo>
                <a:lnTo>
                  <a:pt x="1635" y="3337"/>
                </a:lnTo>
                <a:lnTo>
                  <a:pt x="1620" y="3322"/>
                </a:lnTo>
                <a:lnTo>
                  <a:pt x="1602" y="3305"/>
                </a:lnTo>
                <a:lnTo>
                  <a:pt x="1582" y="3283"/>
                </a:lnTo>
                <a:lnTo>
                  <a:pt x="1558" y="3259"/>
                </a:lnTo>
                <a:lnTo>
                  <a:pt x="1299" y="2996"/>
                </a:lnTo>
                <a:lnTo>
                  <a:pt x="1299" y="2996"/>
                </a:lnTo>
                <a:lnTo>
                  <a:pt x="1299" y="2996"/>
                </a:lnTo>
                <a:lnTo>
                  <a:pt x="1298" y="2996"/>
                </a:lnTo>
                <a:lnTo>
                  <a:pt x="1298" y="2995"/>
                </a:lnTo>
                <a:lnTo>
                  <a:pt x="1297" y="2994"/>
                </a:lnTo>
                <a:lnTo>
                  <a:pt x="1296" y="2993"/>
                </a:lnTo>
                <a:lnTo>
                  <a:pt x="1294" y="2991"/>
                </a:lnTo>
                <a:lnTo>
                  <a:pt x="1290" y="2988"/>
                </a:lnTo>
                <a:lnTo>
                  <a:pt x="1287" y="2984"/>
                </a:lnTo>
                <a:lnTo>
                  <a:pt x="1282" y="2980"/>
                </a:lnTo>
                <a:lnTo>
                  <a:pt x="1277" y="2974"/>
                </a:lnTo>
                <a:lnTo>
                  <a:pt x="1270" y="2967"/>
                </a:lnTo>
                <a:lnTo>
                  <a:pt x="1263" y="2960"/>
                </a:lnTo>
                <a:lnTo>
                  <a:pt x="1253" y="2952"/>
                </a:lnTo>
                <a:lnTo>
                  <a:pt x="1244" y="2941"/>
                </a:lnTo>
                <a:lnTo>
                  <a:pt x="1231" y="2929"/>
                </a:lnTo>
                <a:lnTo>
                  <a:pt x="1218" y="2915"/>
                </a:lnTo>
                <a:lnTo>
                  <a:pt x="1202" y="2901"/>
                </a:lnTo>
                <a:lnTo>
                  <a:pt x="1186" y="2884"/>
                </a:lnTo>
                <a:lnTo>
                  <a:pt x="1167" y="2865"/>
                </a:lnTo>
                <a:lnTo>
                  <a:pt x="1146" y="2844"/>
                </a:lnTo>
                <a:lnTo>
                  <a:pt x="1124" y="2821"/>
                </a:lnTo>
                <a:lnTo>
                  <a:pt x="1098" y="2797"/>
                </a:lnTo>
                <a:lnTo>
                  <a:pt x="1072" y="2769"/>
                </a:lnTo>
                <a:lnTo>
                  <a:pt x="1042" y="2740"/>
                </a:lnTo>
                <a:lnTo>
                  <a:pt x="1009" y="2708"/>
                </a:lnTo>
                <a:lnTo>
                  <a:pt x="975" y="2674"/>
                </a:lnTo>
                <a:lnTo>
                  <a:pt x="938" y="2637"/>
                </a:lnTo>
                <a:lnTo>
                  <a:pt x="898" y="2596"/>
                </a:lnTo>
                <a:lnTo>
                  <a:pt x="855" y="2554"/>
                </a:lnTo>
                <a:lnTo>
                  <a:pt x="809" y="2508"/>
                </a:lnTo>
                <a:lnTo>
                  <a:pt x="760" y="2459"/>
                </a:lnTo>
                <a:lnTo>
                  <a:pt x="708" y="2407"/>
                </a:lnTo>
                <a:lnTo>
                  <a:pt x="653" y="2352"/>
                </a:lnTo>
                <a:lnTo>
                  <a:pt x="594" y="2293"/>
                </a:lnTo>
                <a:lnTo>
                  <a:pt x="532" y="2231"/>
                </a:lnTo>
                <a:lnTo>
                  <a:pt x="467" y="2166"/>
                </a:lnTo>
                <a:lnTo>
                  <a:pt x="397" y="2097"/>
                </a:lnTo>
                <a:lnTo>
                  <a:pt x="323" y="2024"/>
                </a:lnTo>
                <a:lnTo>
                  <a:pt x="247" y="1947"/>
                </a:lnTo>
                <a:lnTo>
                  <a:pt x="165" y="1867"/>
                </a:lnTo>
                <a:lnTo>
                  <a:pt x="165" y="1867"/>
                </a:lnTo>
                <a:lnTo>
                  <a:pt x="165" y="1867"/>
                </a:lnTo>
                <a:lnTo>
                  <a:pt x="164" y="1866"/>
                </a:lnTo>
                <a:lnTo>
                  <a:pt x="163" y="1863"/>
                </a:lnTo>
                <a:lnTo>
                  <a:pt x="161" y="1861"/>
                </a:lnTo>
                <a:lnTo>
                  <a:pt x="157" y="1858"/>
                </a:lnTo>
                <a:lnTo>
                  <a:pt x="152" y="1853"/>
                </a:lnTo>
                <a:lnTo>
                  <a:pt x="145" y="1845"/>
                </a:lnTo>
                <a:lnTo>
                  <a:pt x="137" y="1837"/>
                </a:lnTo>
                <a:lnTo>
                  <a:pt x="125" y="1826"/>
                </a:lnTo>
                <a:lnTo>
                  <a:pt x="112" y="1812"/>
                </a:lnTo>
                <a:lnTo>
                  <a:pt x="95" y="1797"/>
                </a:lnTo>
                <a:lnTo>
                  <a:pt x="77" y="1777"/>
                </a:lnTo>
                <a:lnTo>
                  <a:pt x="55" y="1755"/>
                </a:lnTo>
                <a:lnTo>
                  <a:pt x="30" y="1730"/>
                </a:lnTo>
                <a:lnTo>
                  <a:pt x="0" y="1700"/>
                </a:lnTo>
                <a:lnTo>
                  <a:pt x="809" y="1700"/>
                </a:lnTo>
                <a:lnTo>
                  <a:pt x="809" y="656"/>
                </a:lnTo>
                <a:lnTo>
                  <a:pt x="809" y="655"/>
                </a:lnTo>
                <a:lnTo>
                  <a:pt x="809" y="654"/>
                </a:lnTo>
                <a:lnTo>
                  <a:pt x="809" y="635"/>
                </a:lnTo>
                <a:lnTo>
                  <a:pt x="809" y="625"/>
                </a:lnTo>
                <a:lnTo>
                  <a:pt x="809" y="611"/>
                </a:lnTo>
                <a:lnTo>
                  <a:pt x="809" y="574"/>
                </a:lnTo>
                <a:lnTo>
                  <a:pt x="809" y="549"/>
                </a:lnTo>
                <a:lnTo>
                  <a:pt x="809" y="521"/>
                </a:lnTo>
                <a:lnTo>
                  <a:pt x="809" y="487"/>
                </a:lnTo>
                <a:lnTo>
                  <a:pt x="809" y="449"/>
                </a:lnTo>
                <a:lnTo>
                  <a:pt x="809" y="404"/>
                </a:lnTo>
                <a:lnTo>
                  <a:pt x="809" y="353"/>
                </a:lnTo>
                <a:lnTo>
                  <a:pt x="809" y="233"/>
                </a:lnTo>
                <a:lnTo>
                  <a:pt x="809" y="163"/>
                </a:lnTo>
                <a:lnTo>
                  <a:pt x="809" y="86"/>
                </a:lnTo>
                <a:lnTo>
                  <a:pt x="809" y="0"/>
                </a:lnTo>
                <a:close/>
              </a:path>
            </a:pathLst>
          </a:custGeom>
          <a:solidFill>
            <a:schemeClr val="accent1"/>
          </a:solidFill>
          <a:ln w="15875">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843140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56"/>
                                        </p:tgtEl>
                                        <p:attrNameLst>
                                          <p:attrName>style.visibility</p:attrName>
                                        </p:attrNameLst>
                                      </p:cBhvr>
                                      <p:to>
                                        <p:strVal val="visible"/>
                                      </p:to>
                                    </p:set>
                                    <p:animEffect transition="in" filter="fade">
                                      <p:cBhvr>
                                        <p:cTn id="7" dur="500"/>
                                        <p:tgtEl>
                                          <p:spTgt spid="1056"/>
                                        </p:tgtEl>
                                      </p:cBhvr>
                                    </p:animEffect>
                                  </p:childTnLst>
                                </p:cTn>
                              </p:par>
                              <p:par>
                                <p:cTn id="8" presetID="10" presetClass="entr" presetSubtype="0" fill="hold" nodeType="withEffect">
                                  <p:stCondLst>
                                    <p:cond delay="200"/>
                                  </p:stCondLst>
                                  <p:childTnLst>
                                    <p:set>
                                      <p:cBhvr>
                                        <p:cTn id="9" dur="1" fill="hold">
                                          <p:stCondLst>
                                            <p:cond delay="0"/>
                                          </p:stCondLst>
                                        </p:cTn>
                                        <p:tgtEl>
                                          <p:spTgt spid="174"/>
                                        </p:tgtEl>
                                        <p:attrNameLst>
                                          <p:attrName>style.visibility</p:attrName>
                                        </p:attrNameLst>
                                      </p:cBhvr>
                                      <p:to>
                                        <p:strVal val="visible"/>
                                      </p:to>
                                    </p:set>
                                    <p:animEffect transition="in" filter="fade">
                                      <p:cBhvr>
                                        <p:cTn id="10" dur="500"/>
                                        <p:tgtEl>
                                          <p:spTgt spid="174"/>
                                        </p:tgtEl>
                                      </p:cBhvr>
                                    </p:animEffect>
                                  </p:childTnLst>
                                </p:cTn>
                              </p:par>
                            </p:childTnLst>
                          </p:cTn>
                        </p:par>
                        <p:par>
                          <p:cTn id="11" fill="hold">
                            <p:stCondLst>
                              <p:cond delay="700"/>
                            </p:stCondLst>
                            <p:childTnLst>
                              <p:par>
                                <p:cTn id="12" presetID="2" presetClass="entr" presetSubtype="8" decel="100000" fill="hold" grpId="0" nodeType="afterEffect">
                                  <p:stCondLst>
                                    <p:cond delay="0"/>
                                  </p:stCondLst>
                                  <p:childTnLst>
                                    <p:set>
                                      <p:cBhvr>
                                        <p:cTn id="13" dur="1" fill="hold">
                                          <p:stCondLst>
                                            <p:cond delay="0"/>
                                          </p:stCondLst>
                                        </p:cTn>
                                        <p:tgtEl>
                                          <p:spTgt spid="1052"/>
                                        </p:tgtEl>
                                        <p:attrNameLst>
                                          <p:attrName>style.visibility</p:attrName>
                                        </p:attrNameLst>
                                      </p:cBhvr>
                                      <p:to>
                                        <p:strVal val="visible"/>
                                      </p:to>
                                    </p:set>
                                    <p:anim calcmode="lin" valueType="num">
                                      <p:cBhvr additive="base">
                                        <p:cTn id="14" dur="500" fill="hold"/>
                                        <p:tgtEl>
                                          <p:spTgt spid="1052"/>
                                        </p:tgtEl>
                                        <p:attrNameLst>
                                          <p:attrName>ppt_x</p:attrName>
                                        </p:attrNameLst>
                                      </p:cBhvr>
                                      <p:tavLst>
                                        <p:tav tm="0">
                                          <p:val>
                                            <p:strVal val="0-#ppt_w/2"/>
                                          </p:val>
                                        </p:tav>
                                        <p:tav tm="100000">
                                          <p:val>
                                            <p:strVal val="#ppt_x"/>
                                          </p:val>
                                        </p:tav>
                                      </p:tavLst>
                                    </p:anim>
                                    <p:anim calcmode="lin" valueType="num">
                                      <p:cBhvr additive="base">
                                        <p:cTn id="15" dur="500" fill="hold"/>
                                        <p:tgtEl>
                                          <p:spTgt spid="1052"/>
                                        </p:tgtEl>
                                        <p:attrNameLst>
                                          <p:attrName>ppt_y</p:attrName>
                                        </p:attrNameLst>
                                      </p:cBhvr>
                                      <p:tavLst>
                                        <p:tav tm="0">
                                          <p:val>
                                            <p:strVal val="#ppt_y"/>
                                          </p:val>
                                        </p:tav>
                                        <p:tav tm="100000">
                                          <p:val>
                                            <p:strVal val="#ppt_y"/>
                                          </p:val>
                                        </p:tav>
                                      </p:tavLst>
                                    </p:anim>
                                  </p:childTnLst>
                                </p:cTn>
                              </p:par>
                            </p:childTnLst>
                          </p:cTn>
                        </p:par>
                        <p:par>
                          <p:cTn id="16" fill="hold">
                            <p:stCondLst>
                              <p:cond delay="1200"/>
                            </p:stCondLst>
                            <p:childTnLst>
                              <p:par>
                                <p:cTn id="17" presetID="2" presetClass="entr" presetSubtype="8" decel="100000" fill="hold" grpId="0" nodeType="afterEffect">
                                  <p:stCondLst>
                                    <p:cond delay="0"/>
                                  </p:stCondLst>
                                  <p:childTnLst>
                                    <p:set>
                                      <p:cBhvr>
                                        <p:cTn id="18" dur="1" fill="hold">
                                          <p:stCondLst>
                                            <p:cond delay="0"/>
                                          </p:stCondLst>
                                        </p:cTn>
                                        <p:tgtEl>
                                          <p:spTgt spid="1051"/>
                                        </p:tgtEl>
                                        <p:attrNameLst>
                                          <p:attrName>style.visibility</p:attrName>
                                        </p:attrNameLst>
                                      </p:cBhvr>
                                      <p:to>
                                        <p:strVal val="visible"/>
                                      </p:to>
                                    </p:set>
                                    <p:anim calcmode="lin" valueType="num">
                                      <p:cBhvr additive="base">
                                        <p:cTn id="19" dur="500" fill="hold"/>
                                        <p:tgtEl>
                                          <p:spTgt spid="1051"/>
                                        </p:tgtEl>
                                        <p:attrNameLst>
                                          <p:attrName>ppt_x</p:attrName>
                                        </p:attrNameLst>
                                      </p:cBhvr>
                                      <p:tavLst>
                                        <p:tav tm="0">
                                          <p:val>
                                            <p:strVal val="0-#ppt_w/2"/>
                                          </p:val>
                                        </p:tav>
                                        <p:tav tm="100000">
                                          <p:val>
                                            <p:strVal val="#ppt_x"/>
                                          </p:val>
                                        </p:tav>
                                      </p:tavLst>
                                    </p:anim>
                                    <p:anim calcmode="lin" valueType="num">
                                      <p:cBhvr additive="base">
                                        <p:cTn id="20" dur="500" fill="hold"/>
                                        <p:tgtEl>
                                          <p:spTgt spid="1051"/>
                                        </p:tgtEl>
                                        <p:attrNameLst>
                                          <p:attrName>ppt_y</p:attrName>
                                        </p:attrNameLst>
                                      </p:cBhvr>
                                      <p:tavLst>
                                        <p:tav tm="0">
                                          <p:val>
                                            <p:strVal val="#ppt_y"/>
                                          </p:val>
                                        </p:tav>
                                        <p:tav tm="100000">
                                          <p:val>
                                            <p:strVal val="#ppt_y"/>
                                          </p:val>
                                        </p:tav>
                                      </p:tavLst>
                                    </p:anim>
                                  </p:childTnLst>
                                </p:cTn>
                              </p:par>
                            </p:childTnLst>
                          </p:cTn>
                        </p:par>
                        <p:par>
                          <p:cTn id="21" fill="hold">
                            <p:stCondLst>
                              <p:cond delay="1700"/>
                            </p:stCondLst>
                            <p:childTnLst>
                              <p:par>
                                <p:cTn id="22" presetID="2" presetClass="entr" presetSubtype="8" decel="100000" fill="hold" grpId="0" nodeType="afterEffect">
                                  <p:stCondLst>
                                    <p:cond delay="0"/>
                                  </p:stCondLst>
                                  <p:childTnLst>
                                    <p:set>
                                      <p:cBhvr>
                                        <p:cTn id="23" dur="1" fill="hold">
                                          <p:stCondLst>
                                            <p:cond delay="0"/>
                                          </p:stCondLst>
                                        </p:cTn>
                                        <p:tgtEl>
                                          <p:spTgt spid="1047"/>
                                        </p:tgtEl>
                                        <p:attrNameLst>
                                          <p:attrName>style.visibility</p:attrName>
                                        </p:attrNameLst>
                                      </p:cBhvr>
                                      <p:to>
                                        <p:strVal val="visible"/>
                                      </p:to>
                                    </p:set>
                                    <p:anim calcmode="lin" valueType="num">
                                      <p:cBhvr additive="base">
                                        <p:cTn id="24" dur="500" fill="hold"/>
                                        <p:tgtEl>
                                          <p:spTgt spid="1047"/>
                                        </p:tgtEl>
                                        <p:attrNameLst>
                                          <p:attrName>ppt_x</p:attrName>
                                        </p:attrNameLst>
                                      </p:cBhvr>
                                      <p:tavLst>
                                        <p:tav tm="0">
                                          <p:val>
                                            <p:strVal val="0-#ppt_w/2"/>
                                          </p:val>
                                        </p:tav>
                                        <p:tav tm="100000">
                                          <p:val>
                                            <p:strVal val="#ppt_x"/>
                                          </p:val>
                                        </p:tav>
                                      </p:tavLst>
                                    </p:anim>
                                    <p:anim calcmode="lin" valueType="num">
                                      <p:cBhvr additive="base">
                                        <p:cTn id="25" dur="500" fill="hold"/>
                                        <p:tgtEl>
                                          <p:spTgt spid="1047"/>
                                        </p:tgtEl>
                                        <p:attrNameLst>
                                          <p:attrName>ppt_y</p:attrName>
                                        </p:attrNameLst>
                                      </p:cBhvr>
                                      <p:tavLst>
                                        <p:tav tm="0">
                                          <p:val>
                                            <p:strVal val="#ppt_y"/>
                                          </p:val>
                                        </p:tav>
                                        <p:tav tm="100000">
                                          <p:val>
                                            <p:strVal val="#ppt_y"/>
                                          </p:val>
                                        </p:tav>
                                      </p:tavLst>
                                    </p:anim>
                                  </p:childTnLst>
                                </p:cTn>
                              </p:par>
                            </p:childTnLst>
                          </p:cTn>
                        </p:par>
                        <p:par>
                          <p:cTn id="26" fill="hold">
                            <p:stCondLst>
                              <p:cond delay="2200"/>
                            </p:stCondLst>
                            <p:childTnLst>
                              <p:par>
                                <p:cTn id="27" presetID="10" presetClass="entr" presetSubtype="0" fill="hold" grpId="0" nodeType="afterEffect">
                                  <p:stCondLst>
                                    <p:cond delay="0"/>
                                  </p:stCondLst>
                                  <p:childTnLst>
                                    <p:set>
                                      <p:cBhvr>
                                        <p:cTn id="28" dur="1" fill="hold">
                                          <p:stCondLst>
                                            <p:cond delay="0"/>
                                          </p:stCondLst>
                                        </p:cTn>
                                        <p:tgtEl>
                                          <p:spTgt spid="1147">
                                            <p:txEl>
                                              <p:pRg st="0" end="0"/>
                                            </p:txEl>
                                          </p:spTgt>
                                        </p:tgtEl>
                                        <p:attrNameLst>
                                          <p:attrName>style.visibility</p:attrName>
                                        </p:attrNameLst>
                                      </p:cBhvr>
                                      <p:to>
                                        <p:strVal val="visible"/>
                                      </p:to>
                                    </p:set>
                                    <p:animEffect transition="in" filter="fade">
                                      <p:cBhvr>
                                        <p:cTn id="29" dur="500"/>
                                        <p:tgtEl>
                                          <p:spTgt spid="1147">
                                            <p:txEl>
                                              <p:pRg st="0" end="0"/>
                                            </p:txEl>
                                          </p:spTgt>
                                        </p:tgtEl>
                                      </p:cBhvr>
                                    </p:animEffect>
                                  </p:childTnLst>
                                </p:cTn>
                              </p:par>
                            </p:childTnLst>
                          </p:cTn>
                        </p:par>
                        <p:par>
                          <p:cTn id="30" fill="hold">
                            <p:stCondLst>
                              <p:cond delay="2700"/>
                            </p:stCondLst>
                            <p:childTnLst>
                              <p:par>
                                <p:cTn id="31" presetID="10" presetClass="entr" presetSubtype="0" fill="hold" grpId="0" nodeType="afterEffect">
                                  <p:stCondLst>
                                    <p:cond delay="0"/>
                                  </p:stCondLst>
                                  <p:childTnLst>
                                    <p:set>
                                      <p:cBhvr>
                                        <p:cTn id="32" dur="1" fill="hold">
                                          <p:stCondLst>
                                            <p:cond delay="0"/>
                                          </p:stCondLst>
                                        </p:cTn>
                                        <p:tgtEl>
                                          <p:spTgt spid="1147">
                                            <p:txEl>
                                              <p:pRg st="1" end="1"/>
                                            </p:txEl>
                                          </p:spTgt>
                                        </p:tgtEl>
                                        <p:attrNameLst>
                                          <p:attrName>style.visibility</p:attrName>
                                        </p:attrNameLst>
                                      </p:cBhvr>
                                      <p:to>
                                        <p:strVal val="visible"/>
                                      </p:to>
                                    </p:set>
                                    <p:animEffect transition="in" filter="fade">
                                      <p:cBhvr>
                                        <p:cTn id="33" dur="500"/>
                                        <p:tgtEl>
                                          <p:spTgt spid="1147">
                                            <p:txEl>
                                              <p:pRg st="1" end="1"/>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8" decel="100000" fill="hold" grpId="0" nodeType="clickEffect">
                                  <p:stCondLst>
                                    <p:cond delay="0"/>
                                  </p:stCondLst>
                                  <p:childTnLst>
                                    <p:set>
                                      <p:cBhvr>
                                        <p:cTn id="37" dur="1" fill="hold">
                                          <p:stCondLst>
                                            <p:cond delay="0"/>
                                          </p:stCondLst>
                                        </p:cTn>
                                        <p:tgtEl>
                                          <p:spTgt spid="1158"/>
                                        </p:tgtEl>
                                        <p:attrNameLst>
                                          <p:attrName>style.visibility</p:attrName>
                                        </p:attrNameLst>
                                      </p:cBhvr>
                                      <p:to>
                                        <p:strVal val="visible"/>
                                      </p:to>
                                    </p:set>
                                    <p:anim calcmode="lin" valueType="num">
                                      <p:cBhvr additive="base">
                                        <p:cTn id="38" dur="500" fill="hold"/>
                                        <p:tgtEl>
                                          <p:spTgt spid="1158"/>
                                        </p:tgtEl>
                                        <p:attrNameLst>
                                          <p:attrName>ppt_x</p:attrName>
                                        </p:attrNameLst>
                                      </p:cBhvr>
                                      <p:tavLst>
                                        <p:tav tm="0">
                                          <p:val>
                                            <p:strVal val="0-#ppt_w/2"/>
                                          </p:val>
                                        </p:tav>
                                        <p:tav tm="100000">
                                          <p:val>
                                            <p:strVal val="#ppt_x"/>
                                          </p:val>
                                        </p:tav>
                                      </p:tavLst>
                                    </p:anim>
                                    <p:anim calcmode="lin" valueType="num">
                                      <p:cBhvr additive="base">
                                        <p:cTn id="39" dur="500" fill="hold"/>
                                        <p:tgtEl>
                                          <p:spTgt spid="1158"/>
                                        </p:tgtEl>
                                        <p:attrNameLst>
                                          <p:attrName>ppt_y</p:attrName>
                                        </p:attrNameLst>
                                      </p:cBhvr>
                                      <p:tavLst>
                                        <p:tav tm="0">
                                          <p:val>
                                            <p:strVal val="#ppt_y"/>
                                          </p:val>
                                        </p:tav>
                                        <p:tav tm="100000">
                                          <p:val>
                                            <p:strVal val="#ppt_y"/>
                                          </p:val>
                                        </p:tav>
                                      </p:tavLst>
                                    </p:anim>
                                  </p:childTnLst>
                                </p:cTn>
                              </p:par>
                              <p:par>
                                <p:cTn id="40" presetID="2" presetClass="entr" presetSubtype="8" decel="100000" fill="hold" grpId="0" nodeType="withEffect">
                                  <p:stCondLst>
                                    <p:cond delay="0"/>
                                  </p:stCondLst>
                                  <p:childTnLst>
                                    <p:set>
                                      <p:cBhvr>
                                        <p:cTn id="41" dur="1" fill="hold">
                                          <p:stCondLst>
                                            <p:cond delay="0"/>
                                          </p:stCondLst>
                                        </p:cTn>
                                        <p:tgtEl>
                                          <p:spTgt spid="1160"/>
                                        </p:tgtEl>
                                        <p:attrNameLst>
                                          <p:attrName>style.visibility</p:attrName>
                                        </p:attrNameLst>
                                      </p:cBhvr>
                                      <p:to>
                                        <p:strVal val="visible"/>
                                      </p:to>
                                    </p:set>
                                    <p:anim calcmode="lin" valueType="num">
                                      <p:cBhvr additive="base">
                                        <p:cTn id="42" dur="500" fill="hold"/>
                                        <p:tgtEl>
                                          <p:spTgt spid="1160"/>
                                        </p:tgtEl>
                                        <p:attrNameLst>
                                          <p:attrName>ppt_x</p:attrName>
                                        </p:attrNameLst>
                                      </p:cBhvr>
                                      <p:tavLst>
                                        <p:tav tm="0">
                                          <p:val>
                                            <p:strVal val="0-#ppt_w/2"/>
                                          </p:val>
                                        </p:tav>
                                        <p:tav tm="100000">
                                          <p:val>
                                            <p:strVal val="#ppt_x"/>
                                          </p:val>
                                        </p:tav>
                                      </p:tavLst>
                                    </p:anim>
                                    <p:anim calcmode="lin" valueType="num">
                                      <p:cBhvr additive="base">
                                        <p:cTn id="43" dur="500" fill="hold"/>
                                        <p:tgtEl>
                                          <p:spTgt spid="1160"/>
                                        </p:tgtEl>
                                        <p:attrNameLst>
                                          <p:attrName>ppt_y</p:attrName>
                                        </p:attrNameLst>
                                      </p:cBhvr>
                                      <p:tavLst>
                                        <p:tav tm="0">
                                          <p:val>
                                            <p:strVal val="#ppt_y"/>
                                          </p:val>
                                        </p:tav>
                                        <p:tav tm="100000">
                                          <p:val>
                                            <p:strVal val="#ppt_y"/>
                                          </p:val>
                                        </p:tav>
                                      </p:tavLst>
                                    </p:anim>
                                  </p:childTnLst>
                                </p:cTn>
                              </p:par>
                              <p:par>
                                <p:cTn id="44" presetID="19" presetClass="emph" presetSubtype="0" fill="remove" grpId="1" nodeType="withEffect">
                                  <p:stCondLst>
                                    <p:cond delay="500"/>
                                  </p:stCondLst>
                                  <p:childTnLst>
                                    <p:animClr clrSpc="rgb" dir="cw">
                                      <p:cBhvr override="childStyle">
                                        <p:cTn id="45" dur="1000" fill="hold"/>
                                        <p:tgtEl>
                                          <p:spTgt spid="1158"/>
                                        </p:tgtEl>
                                        <p:attrNameLst>
                                          <p:attrName>style.color</p:attrName>
                                        </p:attrNameLst>
                                      </p:cBhvr>
                                      <p:to>
                                        <a:schemeClr val="folHlink"/>
                                      </p:to>
                                    </p:animClr>
                                    <p:animClr clrSpc="rgb" dir="cw">
                                      <p:cBhvr>
                                        <p:cTn id="46" dur="1000" fill="hold"/>
                                        <p:tgtEl>
                                          <p:spTgt spid="1158"/>
                                        </p:tgtEl>
                                        <p:attrNameLst>
                                          <p:attrName>fillcolor</p:attrName>
                                        </p:attrNameLst>
                                      </p:cBhvr>
                                      <p:to>
                                        <a:schemeClr val="folHlink"/>
                                      </p:to>
                                    </p:animClr>
                                    <p:set>
                                      <p:cBhvr>
                                        <p:cTn id="47" dur="1000" fill="hold"/>
                                        <p:tgtEl>
                                          <p:spTgt spid="1158"/>
                                        </p:tgtEl>
                                        <p:attrNameLst>
                                          <p:attrName>fill.type</p:attrName>
                                        </p:attrNameLst>
                                      </p:cBhvr>
                                      <p:to>
                                        <p:strVal val="solid"/>
                                      </p:to>
                                    </p:set>
                                    <p:set>
                                      <p:cBhvr>
                                        <p:cTn id="48" dur="1000" fill="hold"/>
                                        <p:tgtEl>
                                          <p:spTgt spid="1158"/>
                                        </p:tgtEl>
                                        <p:attrNameLst>
                                          <p:attrName>fill.on</p:attrName>
                                        </p:attrNameLst>
                                      </p:cBhvr>
                                      <p:to>
                                        <p:strVal val="true"/>
                                      </p:to>
                                    </p:set>
                                  </p:childTnLst>
                                </p:cTn>
                              </p:par>
                              <p:par>
                                <p:cTn id="49" presetID="10" presetClass="exit" presetSubtype="0" fill="hold" grpId="1" nodeType="withEffect">
                                  <p:stCondLst>
                                    <p:cond delay="250"/>
                                  </p:stCondLst>
                                  <p:childTnLst>
                                    <p:animEffect transition="out" filter="fade">
                                      <p:cBhvr>
                                        <p:cTn id="50" dur="500"/>
                                        <p:tgtEl>
                                          <p:spTgt spid="1147">
                                            <p:txEl>
                                              <p:pRg st="0" end="0"/>
                                            </p:txEl>
                                          </p:spTgt>
                                        </p:tgtEl>
                                      </p:cBhvr>
                                    </p:animEffect>
                                    <p:set>
                                      <p:cBhvr>
                                        <p:cTn id="51" dur="1" fill="hold">
                                          <p:stCondLst>
                                            <p:cond delay="499"/>
                                          </p:stCondLst>
                                        </p:cTn>
                                        <p:tgtEl>
                                          <p:spTgt spid="1147">
                                            <p:txEl>
                                              <p:pRg st="0" end="0"/>
                                            </p:txEl>
                                          </p:spTgt>
                                        </p:tgtEl>
                                        <p:attrNameLst>
                                          <p:attrName>style.visibility</p:attrName>
                                        </p:attrNameLst>
                                      </p:cBhvr>
                                      <p:to>
                                        <p:strVal val="hidden"/>
                                      </p:to>
                                    </p:set>
                                  </p:childTnLst>
                                </p:cTn>
                              </p:par>
                              <p:par>
                                <p:cTn id="52" presetID="10" presetClass="exit" presetSubtype="0" fill="hold" grpId="1" nodeType="withEffect">
                                  <p:stCondLst>
                                    <p:cond delay="250"/>
                                  </p:stCondLst>
                                  <p:childTnLst>
                                    <p:animEffect transition="out" filter="fade">
                                      <p:cBhvr>
                                        <p:cTn id="53" dur="500"/>
                                        <p:tgtEl>
                                          <p:spTgt spid="1147">
                                            <p:txEl>
                                              <p:pRg st="1" end="1"/>
                                            </p:txEl>
                                          </p:spTgt>
                                        </p:tgtEl>
                                      </p:cBhvr>
                                    </p:animEffect>
                                    <p:set>
                                      <p:cBhvr>
                                        <p:cTn id="54" dur="1" fill="hold">
                                          <p:stCondLst>
                                            <p:cond delay="499"/>
                                          </p:stCondLst>
                                        </p:cTn>
                                        <p:tgtEl>
                                          <p:spTgt spid="1147">
                                            <p:txEl>
                                              <p:pRg st="1" end="1"/>
                                            </p:txEl>
                                          </p:spTgt>
                                        </p:tgtEl>
                                        <p:attrNameLst>
                                          <p:attrName>style.visibility</p:attrName>
                                        </p:attrNameLst>
                                      </p:cBhvr>
                                      <p:to>
                                        <p:strVal val="hidden"/>
                                      </p:to>
                                    </p:set>
                                  </p:childTnLst>
                                </p:cTn>
                              </p:par>
                            </p:childTnLst>
                          </p:cTn>
                        </p:par>
                        <p:par>
                          <p:cTn id="55" fill="hold">
                            <p:stCondLst>
                              <p:cond delay="2000"/>
                            </p:stCondLst>
                            <p:childTnLst>
                              <p:par>
                                <p:cTn id="56" presetID="1" presetClass="entr" presetSubtype="0" fill="hold" grpId="0" nodeType="afterEffect">
                                  <p:stCondLst>
                                    <p:cond delay="0"/>
                                  </p:stCondLst>
                                  <p:childTnLst>
                                    <p:set>
                                      <p:cBhvr>
                                        <p:cTn id="57" dur="1" fill="hold">
                                          <p:stCondLst>
                                            <p:cond delay="0"/>
                                          </p:stCondLst>
                                        </p:cTn>
                                        <p:tgtEl>
                                          <p:spTgt spid="1046"/>
                                        </p:tgtEl>
                                        <p:attrNameLst>
                                          <p:attrName>style.visibility</p:attrName>
                                        </p:attrNameLst>
                                      </p:cBhvr>
                                      <p:to>
                                        <p:strVal val="visible"/>
                                      </p:to>
                                    </p:set>
                                  </p:childTnLst>
                                </p:cTn>
                              </p:par>
                            </p:childTnLst>
                          </p:cTn>
                        </p:par>
                        <p:par>
                          <p:cTn id="58" fill="hold">
                            <p:stCondLst>
                              <p:cond delay="2000"/>
                            </p:stCondLst>
                            <p:childTnLst>
                              <p:par>
                                <p:cTn id="59" presetID="9" presetClass="emph" presetSubtype="0" grpId="1" nodeType="afterEffect">
                                  <p:stCondLst>
                                    <p:cond delay="0"/>
                                  </p:stCondLst>
                                  <p:childTnLst>
                                    <p:set>
                                      <p:cBhvr rctx="PPT">
                                        <p:cTn id="60" dur="indefinite"/>
                                        <p:tgtEl>
                                          <p:spTgt spid="1046"/>
                                        </p:tgtEl>
                                        <p:attrNameLst>
                                          <p:attrName>style.opacity</p:attrName>
                                        </p:attrNameLst>
                                      </p:cBhvr>
                                      <p:to>
                                        <p:strVal val="0.25"/>
                                      </p:to>
                                    </p:set>
                                    <p:animEffect filter="image" prLst="opacity: 0.25">
                                      <p:cBhvr rctx="IE">
                                        <p:cTn id="61" dur="indefinite"/>
                                        <p:tgtEl>
                                          <p:spTgt spid="1046"/>
                                        </p:tgtEl>
                                      </p:cBhvr>
                                    </p:animEffect>
                                  </p:childTnLst>
                                </p:cTn>
                              </p:par>
                              <p:par>
                                <p:cTn id="62" presetID="35" presetClass="path" presetSubtype="0" accel="50000" decel="50000" fill="hold" grpId="1" nodeType="withEffect">
                                  <p:stCondLst>
                                    <p:cond delay="500"/>
                                  </p:stCondLst>
                                  <p:childTnLst>
                                    <p:animMotion origin="layout" path="M 5.53746E-7 3.15449E-6 L -0.09355 3.15449E-6 " pathEditMode="relative" rAng="0" ptsTypes="AA">
                                      <p:cBhvr>
                                        <p:cTn id="63" dur="750" fill="hold"/>
                                        <p:tgtEl>
                                          <p:spTgt spid="1047"/>
                                        </p:tgtEl>
                                        <p:attrNameLst>
                                          <p:attrName>ppt_x</p:attrName>
                                          <p:attrName>ppt_y</p:attrName>
                                        </p:attrNameLst>
                                      </p:cBhvr>
                                      <p:rCtr x="-4678" y="0"/>
                                    </p:animMotion>
                                  </p:childTnLst>
                                </p:cTn>
                              </p:par>
                            </p:childTnLst>
                          </p:cTn>
                        </p:par>
                        <p:par>
                          <p:cTn id="64" fill="hold">
                            <p:stCondLst>
                              <p:cond delay="3250"/>
                            </p:stCondLst>
                            <p:childTnLst>
                              <p:par>
                                <p:cTn id="65" presetID="10" presetClass="entr" presetSubtype="0" fill="hold" nodeType="after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162"/>
                                        </p:tgtEl>
                                        <p:attrNameLst>
                                          <p:attrName>style.visibility</p:attrName>
                                        </p:attrNameLst>
                                      </p:cBhvr>
                                      <p:to>
                                        <p:strVal val="visible"/>
                                      </p:to>
                                    </p:set>
                                    <p:animEffect transition="in" filter="fade">
                                      <p:cBhvr>
                                        <p:cTn id="70" dur="500"/>
                                        <p:tgtEl>
                                          <p:spTgt spid="116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63"/>
                                        </p:tgtEl>
                                        <p:attrNameLst>
                                          <p:attrName>style.visibility</p:attrName>
                                        </p:attrNameLst>
                                      </p:cBhvr>
                                      <p:to>
                                        <p:strVal val="visible"/>
                                      </p:to>
                                    </p:set>
                                    <p:animEffect transition="in" filter="fade">
                                      <p:cBhvr>
                                        <p:cTn id="73" dur="500"/>
                                        <p:tgtEl>
                                          <p:spTgt spid="1163"/>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10"/>
                                        </p:tgtEl>
                                        <p:attrNameLst>
                                          <p:attrName>style.visibility</p:attrName>
                                        </p:attrNameLst>
                                      </p:cBhvr>
                                      <p:to>
                                        <p:strVal val="visible"/>
                                      </p:to>
                                    </p:set>
                                    <p:animEffect transition="in" filter="fade">
                                      <p:cBhvr>
                                        <p:cTn id="78" dur="500"/>
                                        <p:tgtEl>
                                          <p:spTgt spid="10"/>
                                        </p:tgtEl>
                                      </p:cBhvr>
                                    </p:animEffect>
                                  </p:childTnLst>
                                </p:cTn>
                              </p:par>
                            </p:childTnLst>
                          </p:cTn>
                        </p:par>
                        <p:par>
                          <p:cTn id="79" fill="hold">
                            <p:stCondLst>
                              <p:cond delay="500"/>
                            </p:stCondLst>
                            <p:childTnLst>
                              <p:par>
                                <p:cTn id="80" presetID="2" presetClass="entr" presetSubtype="8" decel="100000" fill="hold" grpId="0" nodeType="afterEffect">
                                  <p:stCondLst>
                                    <p:cond delay="0"/>
                                  </p:stCondLst>
                                  <p:childTnLst>
                                    <p:set>
                                      <p:cBhvr>
                                        <p:cTn id="81" dur="1" fill="hold">
                                          <p:stCondLst>
                                            <p:cond delay="0"/>
                                          </p:stCondLst>
                                        </p:cTn>
                                        <p:tgtEl>
                                          <p:spTgt spid="1055"/>
                                        </p:tgtEl>
                                        <p:attrNameLst>
                                          <p:attrName>style.visibility</p:attrName>
                                        </p:attrNameLst>
                                      </p:cBhvr>
                                      <p:to>
                                        <p:strVal val="visible"/>
                                      </p:to>
                                    </p:set>
                                    <p:anim calcmode="lin" valueType="num">
                                      <p:cBhvr additive="base">
                                        <p:cTn id="82" dur="500" fill="hold"/>
                                        <p:tgtEl>
                                          <p:spTgt spid="1055"/>
                                        </p:tgtEl>
                                        <p:attrNameLst>
                                          <p:attrName>ppt_x</p:attrName>
                                        </p:attrNameLst>
                                      </p:cBhvr>
                                      <p:tavLst>
                                        <p:tav tm="0">
                                          <p:val>
                                            <p:strVal val="0-#ppt_w/2"/>
                                          </p:val>
                                        </p:tav>
                                        <p:tav tm="100000">
                                          <p:val>
                                            <p:strVal val="#ppt_x"/>
                                          </p:val>
                                        </p:tav>
                                      </p:tavLst>
                                    </p:anim>
                                    <p:anim calcmode="lin" valueType="num">
                                      <p:cBhvr additive="base">
                                        <p:cTn id="83" dur="500" fill="hold"/>
                                        <p:tgtEl>
                                          <p:spTgt spid="1055"/>
                                        </p:tgtEl>
                                        <p:attrNameLst>
                                          <p:attrName>ppt_y</p:attrName>
                                        </p:attrNameLst>
                                      </p:cBhvr>
                                      <p:tavLst>
                                        <p:tav tm="0">
                                          <p:val>
                                            <p:strVal val="#ppt_y"/>
                                          </p:val>
                                        </p:tav>
                                        <p:tav tm="100000">
                                          <p:val>
                                            <p:strVal val="#ppt_y"/>
                                          </p:val>
                                        </p:tav>
                                      </p:tavLst>
                                    </p:anim>
                                  </p:childTnLst>
                                </p:cTn>
                              </p:par>
                            </p:childTnLst>
                          </p:cTn>
                        </p:par>
                        <p:par>
                          <p:cTn id="84" fill="hold">
                            <p:stCondLst>
                              <p:cond delay="1000"/>
                            </p:stCondLst>
                            <p:childTnLst>
                              <p:par>
                                <p:cTn id="85" presetID="2" presetClass="entr" presetSubtype="8" decel="100000" fill="hold" grpId="0" nodeType="afterEffect">
                                  <p:stCondLst>
                                    <p:cond delay="0"/>
                                  </p:stCondLst>
                                  <p:childTnLst>
                                    <p:set>
                                      <p:cBhvr>
                                        <p:cTn id="86" dur="1" fill="hold">
                                          <p:stCondLst>
                                            <p:cond delay="0"/>
                                          </p:stCondLst>
                                        </p:cTn>
                                        <p:tgtEl>
                                          <p:spTgt spid="1053"/>
                                        </p:tgtEl>
                                        <p:attrNameLst>
                                          <p:attrName>style.visibility</p:attrName>
                                        </p:attrNameLst>
                                      </p:cBhvr>
                                      <p:to>
                                        <p:strVal val="visible"/>
                                      </p:to>
                                    </p:set>
                                    <p:anim calcmode="lin" valueType="num">
                                      <p:cBhvr additive="base">
                                        <p:cTn id="87" dur="500" fill="hold"/>
                                        <p:tgtEl>
                                          <p:spTgt spid="1053"/>
                                        </p:tgtEl>
                                        <p:attrNameLst>
                                          <p:attrName>ppt_x</p:attrName>
                                        </p:attrNameLst>
                                      </p:cBhvr>
                                      <p:tavLst>
                                        <p:tav tm="0">
                                          <p:val>
                                            <p:strVal val="0-#ppt_w/2"/>
                                          </p:val>
                                        </p:tav>
                                        <p:tav tm="100000">
                                          <p:val>
                                            <p:strVal val="#ppt_x"/>
                                          </p:val>
                                        </p:tav>
                                      </p:tavLst>
                                    </p:anim>
                                    <p:anim calcmode="lin" valueType="num">
                                      <p:cBhvr additive="base">
                                        <p:cTn id="88" dur="500" fill="hold"/>
                                        <p:tgtEl>
                                          <p:spTgt spid="1053"/>
                                        </p:tgtEl>
                                        <p:attrNameLst>
                                          <p:attrName>ppt_y</p:attrName>
                                        </p:attrNameLst>
                                      </p:cBhvr>
                                      <p:tavLst>
                                        <p:tav tm="0">
                                          <p:val>
                                            <p:strVal val="#ppt_y"/>
                                          </p:val>
                                        </p:tav>
                                        <p:tav tm="100000">
                                          <p:val>
                                            <p:strVal val="#ppt_y"/>
                                          </p:val>
                                        </p:tav>
                                      </p:tavLst>
                                    </p:anim>
                                  </p:childTnLst>
                                </p:cTn>
                              </p:par>
                            </p:childTnLst>
                          </p:cTn>
                        </p:par>
                        <p:par>
                          <p:cTn id="89" fill="hold">
                            <p:stCondLst>
                              <p:cond delay="1500"/>
                            </p:stCondLst>
                            <p:childTnLst>
                              <p:par>
                                <p:cTn id="90" presetID="2" presetClass="entr" presetSubtype="8" decel="100000" fill="hold" grpId="0" nodeType="afterEffect">
                                  <p:stCondLst>
                                    <p:cond delay="0"/>
                                  </p:stCondLst>
                                  <p:childTnLst>
                                    <p:set>
                                      <p:cBhvr>
                                        <p:cTn id="91" dur="1" fill="hold">
                                          <p:stCondLst>
                                            <p:cond delay="0"/>
                                          </p:stCondLst>
                                        </p:cTn>
                                        <p:tgtEl>
                                          <p:spTgt spid="1050"/>
                                        </p:tgtEl>
                                        <p:attrNameLst>
                                          <p:attrName>style.visibility</p:attrName>
                                        </p:attrNameLst>
                                      </p:cBhvr>
                                      <p:to>
                                        <p:strVal val="visible"/>
                                      </p:to>
                                    </p:set>
                                    <p:anim calcmode="lin" valueType="num">
                                      <p:cBhvr additive="base">
                                        <p:cTn id="92" dur="500" fill="hold"/>
                                        <p:tgtEl>
                                          <p:spTgt spid="1050"/>
                                        </p:tgtEl>
                                        <p:attrNameLst>
                                          <p:attrName>ppt_x</p:attrName>
                                        </p:attrNameLst>
                                      </p:cBhvr>
                                      <p:tavLst>
                                        <p:tav tm="0">
                                          <p:val>
                                            <p:strVal val="0-#ppt_w/2"/>
                                          </p:val>
                                        </p:tav>
                                        <p:tav tm="100000">
                                          <p:val>
                                            <p:strVal val="#ppt_x"/>
                                          </p:val>
                                        </p:tav>
                                      </p:tavLst>
                                    </p:anim>
                                    <p:anim calcmode="lin" valueType="num">
                                      <p:cBhvr additive="base">
                                        <p:cTn id="93" dur="500" fill="hold"/>
                                        <p:tgtEl>
                                          <p:spTgt spid="1050"/>
                                        </p:tgtEl>
                                        <p:attrNameLst>
                                          <p:attrName>ppt_y</p:attrName>
                                        </p:attrNameLst>
                                      </p:cBhvr>
                                      <p:tavLst>
                                        <p:tav tm="0">
                                          <p:val>
                                            <p:strVal val="#ppt_y"/>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35" presetClass="path" presetSubtype="0" accel="50000" decel="50000" fill="hold" grpId="1" nodeType="clickEffect">
                                  <p:stCondLst>
                                    <p:cond delay="0"/>
                                  </p:stCondLst>
                                  <p:childTnLst>
                                    <p:animMotion origin="layout" path="M 2.4359E-6 3.7037E-6 L -0.04167 3.7037E-6 " pathEditMode="relative" rAng="0" ptsTypes="AA">
                                      <p:cBhvr>
                                        <p:cTn id="97" dur="2000" fill="hold"/>
                                        <p:tgtEl>
                                          <p:spTgt spid="1055"/>
                                        </p:tgtEl>
                                        <p:attrNameLst>
                                          <p:attrName>ppt_x</p:attrName>
                                          <p:attrName>ppt_y</p:attrName>
                                        </p:attrNameLst>
                                      </p:cBhvr>
                                      <p:rCtr x="-2083" y="0"/>
                                    </p:animMotion>
                                  </p:childTnLst>
                                </p:cTn>
                              </p:par>
                              <p:par>
                                <p:cTn id="98" presetID="35" presetClass="path" presetSubtype="0" accel="50000" decel="50000" fill="hold" grpId="1" nodeType="withEffect">
                                  <p:stCondLst>
                                    <p:cond delay="0"/>
                                  </p:stCondLst>
                                  <p:childTnLst>
                                    <p:animMotion origin="layout" path="M 3.4188E-7 3.7037E-6 L -0.05889 3.7037E-6 " pathEditMode="relative" rAng="0" ptsTypes="AA">
                                      <p:cBhvr>
                                        <p:cTn id="99" dur="2000" fill="hold"/>
                                        <p:tgtEl>
                                          <p:spTgt spid="1053"/>
                                        </p:tgtEl>
                                        <p:attrNameLst>
                                          <p:attrName>ppt_x</p:attrName>
                                          <p:attrName>ppt_y</p:attrName>
                                        </p:attrNameLst>
                                      </p:cBhvr>
                                      <p:rCtr x="-2951" y="0"/>
                                    </p:animMotion>
                                  </p:childTnLst>
                                </p:cTn>
                              </p:par>
                              <p:par>
                                <p:cTn id="100" presetID="35" presetClass="path" presetSubtype="0" accel="50000" decel="50000" fill="hold" grpId="1" nodeType="withEffect">
                                  <p:stCondLst>
                                    <p:cond delay="0"/>
                                  </p:stCondLst>
                                  <p:childTnLst>
                                    <p:animMotion origin="layout" path="M 4.48718E-6 3.7037E-6 L -0.1226 3.7037E-6 " pathEditMode="relative" rAng="0" ptsTypes="AA">
                                      <p:cBhvr>
                                        <p:cTn id="101" dur="2000" fill="hold"/>
                                        <p:tgtEl>
                                          <p:spTgt spid="1050"/>
                                        </p:tgtEl>
                                        <p:attrNameLst>
                                          <p:attrName>ppt_x</p:attrName>
                                          <p:attrName>ppt_y</p:attrName>
                                        </p:attrNameLst>
                                      </p:cBhvr>
                                      <p:rCtr x="-6130" y="0"/>
                                    </p:animMotion>
                                  </p:childTnLst>
                                </p:cTn>
                              </p:par>
                            </p:childTnLst>
                          </p:cTn>
                        </p:par>
                        <p:par>
                          <p:cTn id="102" fill="hold">
                            <p:stCondLst>
                              <p:cond delay="2000"/>
                            </p:stCondLst>
                            <p:childTnLst>
                              <p:par>
                                <p:cTn id="103" presetID="10" presetClass="entr" presetSubtype="0" fill="hold" nodeType="afterEffect">
                                  <p:stCondLst>
                                    <p:cond delay="0"/>
                                  </p:stCondLst>
                                  <p:childTnLst>
                                    <p:set>
                                      <p:cBhvr>
                                        <p:cTn id="104" dur="1" fill="hold">
                                          <p:stCondLst>
                                            <p:cond delay="0"/>
                                          </p:stCondLst>
                                        </p:cTn>
                                        <p:tgtEl>
                                          <p:spTgt spid="7"/>
                                        </p:tgtEl>
                                        <p:attrNameLst>
                                          <p:attrName>style.visibility</p:attrName>
                                        </p:attrNameLst>
                                      </p:cBhvr>
                                      <p:to>
                                        <p:strVal val="visible"/>
                                      </p:to>
                                    </p:set>
                                    <p:animEffect transition="in" filter="fade">
                                      <p:cBhvr>
                                        <p:cTn id="105" dur="500"/>
                                        <p:tgtEl>
                                          <p:spTgt spid="7"/>
                                        </p:tgtEl>
                                      </p:cBhvr>
                                    </p:animEffect>
                                  </p:childTnLst>
                                </p:cTn>
                              </p:par>
                            </p:childTnLst>
                          </p:cTn>
                        </p:par>
                      </p:childTnLst>
                    </p:cTn>
                  </p:par>
                  <p:par>
                    <p:cTn id="106" fill="hold">
                      <p:stCondLst>
                        <p:cond delay="indefinite"/>
                      </p:stCondLst>
                      <p:childTnLst>
                        <p:par>
                          <p:cTn id="107" fill="hold">
                            <p:stCondLst>
                              <p:cond delay="0"/>
                            </p:stCondLst>
                            <p:childTnLst>
                              <p:par>
                                <p:cTn id="108" presetID="10" presetClass="entr" presetSubtype="0" fill="hold" nodeType="clickEffect">
                                  <p:stCondLst>
                                    <p:cond delay="0"/>
                                  </p:stCondLst>
                                  <p:childTnLst>
                                    <p:set>
                                      <p:cBhvr>
                                        <p:cTn id="109" dur="1" fill="hold">
                                          <p:stCondLst>
                                            <p:cond delay="0"/>
                                          </p:stCondLst>
                                        </p:cTn>
                                        <p:tgtEl>
                                          <p:spTgt spid="8"/>
                                        </p:tgtEl>
                                        <p:attrNameLst>
                                          <p:attrName>style.visibility</p:attrName>
                                        </p:attrNameLst>
                                      </p:cBhvr>
                                      <p:to>
                                        <p:strVal val="visible"/>
                                      </p:to>
                                    </p:set>
                                    <p:animEffect transition="in" filter="fade">
                                      <p:cBhvr>
                                        <p:cTn id="110" dur="500"/>
                                        <p:tgtEl>
                                          <p:spTgt spid="8"/>
                                        </p:tgtEl>
                                      </p:cBhvr>
                                    </p:animEffect>
                                  </p:childTnLst>
                                </p:cTn>
                              </p:par>
                            </p:childTnLst>
                          </p:cTn>
                        </p:par>
                        <p:par>
                          <p:cTn id="111" fill="hold">
                            <p:stCondLst>
                              <p:cond delay="500"/>
                            </p:stCondLst>
                            <p:childTnLst>
                              <p:par>
                                <p:cTn id="112" presetID="2" presetClass="entr" presetSubtype="8" decel="100000" fill="hold" grpId="0" nodeType="afterEffect">
                                  <p:stCondLst>
                                    <p:cond delay="0"/>
                                  </p:stCondLst>
                                  <p:childTnLst>
                                    <p:set>
                                      <p:cBhvr>
                                        <p:cTn id="113" dur="1" fill="hold">
                                          <p:stCondLst>
                                            <p:cond delay="0"/>
                                          </p:stCondLst>
                                        </p:cTn>
                                        <p:tgtEl>
                                          <p:spTgt spid="1054"/>
                                        </p:tgtEl>
                                        <p:attrNameLst>
                                          <p:attrName>style.visibility</p:attrName>
                                        </p:attrNameLst>
                                      </p:cBhvr>
                                      <p:to>
                                        <p:strVal val="visible"/>
                                      </p:to>
                                    </p:set>
                                    <p:anim calcmode="lin" valueType="num">
                                      <p:cBhvr additive="base">
                                        <p:cTn id="114" dur="500" fill="hold"/>
                                        <p:tgtEl>
                                          <p:spTgt spid="1054"/>
                                        </p:tgtEl>
                                        <p:attrNameLst>
                                          <p:attrName>ppt_x</p:attrName>
                                        </p:attrNameLst>
                                      </p:cBhvr>
                                      <p:tavLst>
                                        <p:tav tm="0">
                                          <p:val>
                                            <p:strVal val="0-#ppt_w/2"/>
                                          </p:val>
                                        </p:tav>
                                        <p:tav tm="100000">
                                          <p:val>
                                            <p:strVal val="#ppt_x"/>
                                          </p:val>
                                        </p:tav>
                                      </p:tavLst>
                                    </p:anim>
                                    <p:anim calcmode="lin" valueType="num">
                                      <p:cBhvr additive="base">
                                        <p:cTn id="115" dur="500" fill="hold"/>
                                        <p:tgtEl>
                                          <p:spTgt spid="1054"/>
                                        </p:tgtEl>
                                        <p:attrNameLst>
                                          <p:attrName>ppt_y</p:attrName>
                                        </p:attrNameLst>
                                      </p:cBhvr>
                                      <p:tavLst>
                                        <p:tav tm="0">
                                          <p:val>
                                            <p:strVal val="#ppt_y"/>
                                          </p:val>
                                        </p:tav>
                                        <p:tav tm="100000">
                                          <p:val>
                                            <p:strVal val="#ppt_y"/>
                                          </p:val>
                                        </p:tav>
                                      </p:tavLst>
                                    </p:anim>
                                  </p:childTnLst>
                                </p:cTn>
                              </p:par>
                            </p:childTnLst>
                          </p:cTn>
                        </p:par>
                        <p:par>
                          <p:cTn id="116" fill="hold">
                            <p:stCondLst>
                              <p:cond delay="1000"/>
                            </p:stCondLst>
                            <p:childTnLst>
                              <p:par>
                                <p:cTn id="117" presetID="2" presetClass="entr" presetSubtype="8" decel="100000" fill="hold" grpId="0" nodeType="afterEffect">
                                  <p:stCondLst>
                                    <p:cond delay="0"/>
                                  </p:stCondLst>
                                  <p:childTnLst>
                                    <p:set>
                                      <p:cBhvr>
                                        <p:cTn id="118" dur="1" fill="hold">
                                          <p:stCondLst>
                                            <p:cond delay="0"/>
                                          </p:stCondLst>
                                        </p:cTn>
                                        <p:tgtEl>
                                          <p:spTgt spid="1049"/>
                                        </p:tgtEl>
                                        <p:attrNameLst>
                                          <p:attrName>style.visibility</p:attrName>
                                        </p:attrNameLst>
                                      </p:cBhvr>
                                      <p:to>
                                        <p:strVal val="visible"/>
                                      </p:to>
                                    </p:set>
                                    <p:anim calcmode="lin" valueType="num">
                                      <p:cBhvr additive="base">
                                        <p:cTn id="119" dur="500" fill="hold"/>
                                        <p:tgtEl>
                                          <p:spTgt spid="1049"/>
                                        </p:tgtEl>
                                        <p:attrNameLst>
                                          <p:attrName>ppt_x</p:attrName>
                                        </p:attrNameLst>
                                      </p:cBhvr>
                                      <p:tavLst>
                                        <p:tav tm="0">
                                          <p:val>
                                            <p:strVal val="0-#ppt_w/2"/>
                                          </p:val>
                                        </p:tav>
                                        <p:tav tm="100000">
                                          <p:val>
                                            <p:strVal val="#ppt_x"/>
                                          </p:val>
                                        </p:tav>
                                      </p:tavLst>
                                    </p:anim>
                                    <p:anim calcmode="lin" valueType="num">
                                      <p:cBhvr additive="base">
                                        <p:cTn id="120" dur="500" fill="hold"/>
                                        <p:tgtEl>
                                          <p:spTgt spid="1049"/>
                                        </p:tgtEl>
                                        <p:attrNameLst>
                                          <p:attrName>ppt_y</p:attrName>
                                        </p:attrNameLst>
                                      </p:cBhvr>
                                      <p:tavLst>
                                        <p:tav tm="0">
                                          <p:val>
                                            <p:strVal val="#ppt_y"/>
                                          </p:val>
                                        </p:tav>
                                        <p:tav tm="100000">
                                          <p:val>
                                            <p:strVal val="#ppt_y"/>
                                          </p:val>
                                        </p:tav>
                                      </p:tavLst>
                                    </p:anim>
                                  </p:childTnLst>
                                </p:cTn>
                              </p:par>
                            </p:childTnLst>
                          </p:cTn>
                        </p:par>
                        <p:par>
                          <p:cTn id="121" fill="hold">
                            <p:stCondLst>
                              <p:cond delay="1500"/>
                            </p:stCondLst>
                            <p:childTnLst>
                              <p:par>
                                <p:cTn id="122" presetID="2" presetClass="entr" presetSubtype="8" decel="100000" fill="hold" grpId="0" nodeType="afterEffect">
                                  <p:stCondLst>
                                    <p:cond delay="0"/>
                                  </p:stCondLst>
                                  <p:childTnLst>
                                    <p:set>
                                      <p:cBhvr>
                                        <p:cTn id="123" dur="1" fill="hold">
                                          <p:stCondLst>
                                            <p:cond delay="0"/>
                                          </p:stCondLst>
                                        </p:cTn>
                                        <p:tgtEl>
                                          <p:spTgt spid="1043"/>
                                        </p:tgtEl>
                                        <p:attrNameLst>
                                          <p:attrName>style.visibility</p:attrName>
                                        </p:attrNameLst>
                                      </p:cBhvr>
                                      <p:to>
                                        <p:strVal val="visible"/>
                                      </p:to>
                                    </p:set>
                                    <p:anim calcmode="lin" valueType="num">
                                      <p:cBhvr additive="base">
                                        <p:cTn id="124" dur="500" fill="hold"/>
                                        <p:tgtEl>
                                          <p:spTgt spid="1043"/>
                                        </p:tgtEl>
                                        <p:attrNameLst>
                                          <p:attrName>ppt_x</p:attrName>
                                        </p:attrNameLst>
                                      </p:cBhvr>
                                      <p:tavLst>
                                        <p:tav tm="0">
                                          <p:val>
                                            <p:strVal val="0-#ppt_w/2"/>
                                          </p:val>
                                        </p:tav>
                                        <p:tav tm="100000">
                                          <p:val>
                                            <p:strVal val="#ppt_x"/>
                                          </p:val>
                                        </p:tav>
                                      </p:tavLst>
                                    </p:anim>
                                    <p:anim calcmode="lin" valueType="num">
                                      <p:cBhvr additive="base">
                                        <p:cTn id="125" dur="500" fill="hold"/>
                                        <p:tgtEl>
                                          <p:spTgt spid="1043"/>
                                        </p:tgtEl>
                                        <p:attrNameLst>
                                          <p:attrName>ppt_y</p:attrName>
                                        </p:attrNameLst>
                                      </p:cBhvr>
                                      <p:tavLst>
                                        <p:tav tm="0">
                                          <p:val>
                                            <p:strVal val="#ppt_y"/>
                                          </p:val>
                                        </p:tav>
                                        <p:tav tm="100000">
                                          <p:val>
                                            <p:strVal val="#ppt_y"/>
                                          </p:val>
                                        </p:tav>
                                      </p:tavLst>
                                    </p:anim>
                                  </p:childTnLst>
                                </p:cTn>
                              </p:par>
                            </p:childTnLst>
                          </p:cTn>
                        </p:par>
                      </p:childTnLst>
                    </p:cTn>
                  </p:par>
                  <p:par>
                    <p:cTn id="126" fill="hold">
                      <p:stCondLst>
                        <p:cond delay="indefinite"/>
                      </p:stCondLst>
                      <p:childTnLst>
                        <p:par>
                          <p:cTn id="127" fill="hold">
                            <p:stCondLst>
                              <p:cond delay="0"/>
                            </p:stCondLst>
                            <p:childTnLst>
                              <p:par>
                                <p:cTn id="128" presetID="35" presetClass="path" presetSubtype="0" accel="50000" decel="50000" fill="hold" grpId="1" nodeType="clickEffect">
                                  <p:stCondLst>
                                    <p:cond delay="0"/>
                                  </p:stCondLst>
                                  <p:childTnLst>
                                    <p:animMotion origin="layout" path="M -1.96581E-6 1.48148E-6 L -0.03686 1.48148E-6 " pathEditMode="relative" rAng="0" ptsTypes="AA">
                                      <p:cBhvr>
                                        <p:cTn id="129" dur="2000" fill="hold"/>
                                        <p:tgtEl>
                                          <p:spTgt spid="1054"/>
                                        </p:tgtEl>
                                        <p:attrNameLst>
                                          <p:attrName>ppt_x</p:attrName>
                                          <p:attrName>ppt_y</p:attrName>
                                        </p:attrNameLst>
                                      </p:cBhvr>
                                      <p:rCtr x="-1843" y="0"/>
                                    </p:animMotion>
                                  </p:childTnLst>
                                </p:cTn>
                              </p:par>
                              <p:par>
                                <p:cTn id="130" presetID="35" presetClass="path" presetSubtype="0" accel="50000" decel="50000" fill="hold" grpId="1" nodeType="withEffect">
                                  <p:stCondLst>
                                    <p:cond delay="0"/>
                                  </p:stCondLst>
                                  <p:childTnLst>
                                    <p:animMotion origin="layout" path="M -3.2906E-6 1.48148E-6 L -0.10537 1.48148E-6 " pathEditMode="relative" rAng="0" ptsTypes="AA">
                                      <p:cBhvr>
                                        <p:cTn id="131" dur="2000" fill="hold"/>
                                        <p:tgtEl>
                                          <p:spTgt spid="1049"/>
                                        </p:tgtEl>
                                        <p:attrNameLst>
                                          <p:attrName>ppt_x</p:attrName>
                                          <p:attrName>ppt_y</p:attrName>
                                        </p:attrNameLst>
                                      </p:cBhvr>
                                      <p:rCtr x="-5275" y="0"/>
                                    </p:animMotion>
                                  </p:childTnLst>
                                </p:cTn>
                              </p:par>
                              <p:par>
                                <p:cTn id="132" presetID="35" presetClass="path" presetSubtype="0" accel="50000" decel="50000" fill="hold" grpId="1" nodeType="withEffect">
                                  <p:stCondLst>
                                    <p:cond delay="0"/>
                                  </p:stCondLst>
                                  <p:childTnLst>
                                    <p:animMotion origin="layout" path="M 4.2735E-8 1.48148E-6 L -0.11218 1.48148E-6 " pathEditMode="relative" rAng="0" ptsTypes="AA">
                                      <p:cBhvr>
                                        <p:cTn id="133" dur="2000" fill="hold"/>
                                        <p:tgtEl>
                                          <p:spTgt spid="1043"/>
                                        </p:tgtEl>
                                        <p:attrNameLst>
                                          <p:attrName>ppt_x</p:attrName>
                                          <p:attrName>ppt_y</p:attrName>
                                        </p:attrNameLst>
                                      </p:cBhvr>
                                      <p:rCtr x="-5609" y="0"/>
                                    </p:animMotion>
                                  </p:childTnLst>
                                </p:cTn>
                              </p:par>
                            </p:childTnLst>
                          </p:cTn>
                        </p:par>
                        <p:par>
                          <p:cTn id="134" fill="hold">
                            <p:stCondLst>
                              <p:cond delay="2000"/>
                            </p:stCondLst>
                            <p:childTnLst>
                              <p:par>
                                <p:cTn id="135" presetID="10" presetClass="entr" presetSubtype="0" fill="hold" nodeType="afterEffect">
                                  <p:stCondLst>
                                    <p:cond delay="0"/>
                                  </p:stCondLst>
                                  <p:childTnLst>
                                    <p:set>
                                      <p:cBhvr>
                                        <p:cTn id="136" dur="1" fill="hold">
                                          <p:stCondLst>
                                            <p:cond delay="0"/>
                                          </p:stCondLst>
                                        </p:cTn>
                                        <p:tgtEl>
                                          <p:spTgt spid="9"/>
                                        </p:tgtEl>
                                        <p:attrNameLst>
                                          <p:attrName>style.visibility</p:attrName>
                                        </p:attrNameLst>
                                      </p:cBhvr>
                                      <p:to>
                                        <p:strVal val="visible"/>
                                      </p:to>
                                    </p:set>
                                    <p:animEffect transition="in" filter="fade">
                                      <p:cBhvr>
                                        <p:cTn id="137" dur="500"/>
                                        <p:tgtEl>
                                          <p:spTgt spid="9"/>
                                        </p:tgtEl>
                                      </p:cBhvr>
                                    </p:animEffect>
                                  </p:childTnLst>
                                </p:cTn>
                              </p:par>
                            </p:childTnLst>
                          </p:cTn>
                        </p:par>
                      </p:childTnLst>
                    </p:cTn>
                  </p:par>
                  <p:par>
                    <p:cTn id="138" fill="hold">
                      <p:stCondLst>
                        <p:cond delay="indefinite"/>
                      </p:stCondLst>
                      <p:childTnLst>
                        <p:par>
                          <p:cTn id="139" fill="hold">
                            <p:stCondLst>
                              <p:cond delay="0"/>
                            </p:stCondLst>
                            <p:childTnLst>
                              <p:par>
                                <p:cTn id="140" presetID="10" presetClass="exit" presetSubtype="0" fill="hold" nodeType="clickEffect">
                                  <p:stCondLst>
                                    <p:cond delay="0"/>
                                  </p:stCondLst>
                                  <p:childTnLst>
                                    <p:animEffect transition="out" filter="fade">
                                      <p:cBhvr>
                                        <p:cTn id="141" dur="500"/>
                                        <p:tgtEl>
                                          <p:spTgt spid="5"/>
                                        </p:tgtEl>
                                      </p:cBhvr>
                                    </p:animEffect>
                                    <p:set>
                                      <p:cBhvr>
                                        <p:cTn id="142" dur="1" fill="hold">
                                          <p:stCondLst>
                                            <p:cond delay="499"/>
                                          </p:stCondLst>
                                        </p:cTn>
                                        <p:tgtEl>
                                          <p:spTgt spid="5"/>
                                        </p:tgtEl>
                                        <p:attrNameLst>
                                          <p:attrName>style.visibility</p:attrName>
                                        </p:attrNameLst>
                                      </p:cBhvr>
                                      <p:to>
                                        <p:strVal val="hidden"/>
                                      </p:to>
                                    </p:set>
                                  </p:childTnLst>
                                </p:cTn>
                              </p:par>
                              <p:par>
                                <p:cTn id="143" presetID="10" presetClass="exit" presetSubtype="0" fill="hold" nodeType="withEffect">
                                  <p:stCondLst>
                                    <p:cond delay="0"/>
                                  </p:stCondLst>
                                  <p:childTnLst>
                                    <p:animEffect transition="out" filter="fade">
                                      <p:cBhvr>
                                        <p:cTn id="144" dur="500"/>
                                        <p:tgtEl>
                                          <p:spTgt spid="7"/>
                                        </p:tgtEl>
                                      </p:cBhvr>
                                    </p:animEffect>
                                    <p:set>
                                      <p:cBhvr>
                                        <p:cTn id="145" dur="1" fill="hold">
                                          <p:stCondLst>
                                            <p:cond delay="499"/>
                                          </p:stCondLst>
                                        </p:cTn>
                                        <p:tgtEl>
                                          <p:spTgt spid="7"/>
                                        </p:tgtEl>
                                        <p:attrNameLst>
                                          <p:attrName>style.visibility</p:attrName>
                                        </p:attrNameLst>
                                      </p:cBhvr>
                                      <p:to>
                                        <p:strVal val="hidden"/>
                                      </p:to>
                                    </p:set>
                                  </p:childTnLst>
                                </p:cTn>
                              </p:par>
                              <p:par>
                                <p:cTn id="146" presetID="10" presetClass="exit" presetSubtype="0" fill="hold" nodeType="withEffect">
                                  <p:stCondLst>
                                    <p:cond delay="0"/>
                                  </p:stCondLst>
                                  <p:childTnLst>
                                    <p:animEffect transition="out" filter="fade">
                                      <p:cBhvr>
                                        <p:cTn id="147" dur="500"/>
                                        <p:tgtEl>
                                          <p:spTgt spid="9"/>
                                        </p:tgtEl>
                                      </p:cBhvr>
                                    </p:animEffect>
                                    <p:set>
                                      <p:cBhvr>
                                        <p:cTn id="148" dur="1" fill="hold">
                                          <p:stCondLst>
                                            <p:cond delay="499"/>
                                          </p:stCondLst>
                                        </p:cTn>
                                        <p:tgtEl>
                                          <p:spTgt spid="9"/>
                                        </p:tgtEl>
                                        <p:attrNameLst>
                                          <p:attrName>style.visibility</p:attrName>
                                        </p:attrNameLst>
                                      </p:cBhvr>
                                      <p:to>
                                        <p:strVal val="hidden"/>
                                      </p:to>
                                    </p:set>
                                  </p:childTnLst>
                                </p:cTn>
                              </p:par>
                            </p:childTnLst>
                          </p:cTn>
                        </p:par>
                        <p:par>
                          <p:cTn id="149" fill="hold">
                            <p:stCondLst>
                              <p:cond delay="500"/>
                            </p:stCondLst>
                            <p:childTnLst>
                              <p:par>
                                <p:cTn id="150" presetID="10" presetClass="entr" presetSubtype="0" fill="hold" nodeType="afterEffect">
                                  <p:stCondLst>
                                    <p:cond delay="0"/>
                                  </p:stCondLst>
                                  <p:childTnLst>
                                    <p:set>
                                      <p:cBhvr>
                                        <p:cTn id="151" dur="1" fill="hold">
                                          <p:stCondLst>
                                            <p:cond delay="0"/>
                                          </p:stCondLst>
                                        </p:cTn>
                                        <p:tgtEl>
                                          <p:spTgt spid="1141"/>
                                        </p:tgtEl>
                                        <p:attrNameLst>
                                          <p:attrName>style.visibility</p:attrName>
                                        </p:attrNameLst>
                                      </p:cBhvr>
                                      <p:to>
                                        <p:strVal val="visible"/>
                                      </p:to>
                                    </p:set>
                                    <p:animEffect transition="in" filter="fade">
                                      <p:cBhvr>
                                        <p:cTn id="152" dur="500"/>
                                        <p:tgtEl>
                                          <p:spTgt spid="1141"/>
                                        </p:tgtEl>
                                      </p:cBhvr>
                                    </p:animEffect>
                                  </p:childTnLst>
                                </p:cTn>
                              </p:par>
                              <p:par>
                                <p:cTn id="153" presetID="1" presetClass="entr" presetSubtype="0" fill="hold" grpId="0" nodeType="withEffect">
                                  <p:stCondLst>
                                    <p:cond delay="0"/>
                                  </p:stCondLst>
                                  <p:childTnLst>
                                    <p:set>
                                      <p:cBhvr>
                                        <p:cTn id="154" dur="1" fill="hold">
                                          <p:stCondLst>
                                            <p:cond delay="0"/>
                                          </p:stCondLst>
                                        </p:cTn>
                                        <p:tgtEl>
                                          <p:spTgt spid="1044"/>
                                        </p:tgtEl>
                                        <p:attrNameLst>
                                          <p:attrName>style.visibility</p:attrName>
                                        </p:attrNameLst>
                                      </p:cBhvr>
                                      <p:to>
                                        <p:strVal val="visible"/>
                                      </p:to>
                                    </p:set>
                                  </p:childTnLst>
                                </p:cTn>
                              </p:par>
                              <p:par>
                                <p:cTn id="155" presetID="35" presetClass="path" presetSubtype="0" accel="50000" decel="50000" fill="hold" grpId="1" nodeType="withEffect">
                                  <p:stCondLst>
                                    <p:cond delay="0"/>
                                  </p:stCondLst>
                                  <p:childTnLst>
                                    <p:animMotion origin="layout" path="M 1.19658E-6 1.11022E-16 L -0.04861 1.11022E-16 " pathEditMode="relative" rAng="0" ptsTypes="AA">
                                      <p:cBhvr>
                                        <p:cTn id="156" dur="1750" fill="hold"/>
                                        <p:tgtEl>
                                          <p:spTgt spid="1044"/>
                                        </p:tgtEl>
                                        <p:attrNameLst>
                                          <p:attrName>ppt_x</p:attrName>
                                          <p:attrName>ppt_y</p:attrName>
                                        </p:attrNameLst>
                                      </p:cBhvr>
                                      <p:rCtr x="-2431" y="0"/>
                                    </p:animMotion>
                                  </p:childTnLst>
                                </p:cTn>
                              </p:par>
                              <p:par>
                                <p:cTn id="157" presetID="19" presetClass="emph" presetSubtype="0" fill="hold" grpId="2" nodeType="withEffect">
                                  <p:stCondLst>
                                    <p:cond delay="0"/>
                                  </p:stCondLst>
                                  <p:childTnLst>
                                    <p:animClr clrSpc="rgb" dir="cw">
                                      <p:cBhvr override="childStyle">
                                        <p:cTn id="158" dur="500" fill="hold"/>
                                        <p:tgtEl>
                                          <p:spTgt spid="1044"/>
                                        </p:tgtEl>
                                        <p:attrNameLst>
                                          <p:attrName>style.color</p:attrName>
                                        </p:attrNameLst>
                                      </p:cBhvr>
                                      <p:to>
                                        <a:srgbClr val="FFC400"/>
                                      </p:to>
                                    </p:animClr>
                                    <p:animClr clrSpc="rgb" dir="cw">
                                      <p:cBhvr>
                                        <p:cTn id="159" dur="500" fill="hold"/>
                                        <p:tgtEl>
                                          <p:spTgt spid="1044"/>
                                        </p:tgtEl>
                                        <p:attrNameLst>
                                          <p:attrName>fillcolor</p:attrName>
                                        </p:attrNameLst>
                                      </p:cBhvr>
                                      <p:to>
                                        <a:srgbClr val="FFC400"/>
                                      </p:to>
                                    </p:animClr>
                                    <p:set>
                                      <p:cBhvr>
                                        <p:cTn id="160" dur="500" fill="hold"/>
                                        <p:tgtEl>
                                          <p:spTgt spid="1044"/>
                                        </p:tgtEl>
                                        <p:attrNameLst>
                                          <p:attrName>fill.type</p:attrName>
                                        </p:attrNameLst>
                                      </p:cBhvr>
                                      <p:to>
                                        <p:strVal val="solid"/>
                                      </p:to>
                                    </p:set>
                                    <p:set>
                                      <p:cBhvr>
                                        <p:cTn id="161" dur="500" fill="hold"/>
                                        <p:tgtEl>
                                          <p:spTgt spid="1044"/>
                                        </p:tgtEl>
                                        <p:attrNameLst>
                                          <p:attrName>fill.on</p:attrName>
                                        </p:attrNameLst>
                                      </p:cBhvr>
                                      <p:to>
                                        <p:strVal val="true"/>
                                      </p:to>
                                    </p:set>
                                  </p:childTnLst>
                                </p:cTn>
                              </p:par>
                              <p:par>
                                <p:cTn id="162" presetID="1" presetClass="entr" presetSubtype="0" fill="hold" grpId="2" nodeType="withEffect">
                                  <p:stCondLst>
                                    <p:cond delay="0"/>
                                  </p:stCondLst>
                                  <p:childTnLst>
                                    <p:set>
                                      <p:cBhvr>
                                        <p:cTn id="163" dur="1" fill="hold">
                                          <p:stCondLst>
                                            <p:cond delay="0"/>
                                          </p:stCondLst>
                                        </p:cTn>
                                        <p:tgtEl>
                                          <p:spTgt spid="1048"/>
                                        </p:tgtEl>
                                        <p:attrNameLst>
                                          <p:attrName>style.visibility</p:attrName>
                                        </p:attrNameLst>
                                      </p:cBhvr>
                                      <p:to>
                                        <p:strVal val="visible"/>
                                      </p:to>
                                    </p:set>
                                  </p:childTnLst>
                                </p:cTn>
                              </p:par>
                              <p:par>
                                <p:cTn id="164" presetID="19" presetClass="emph" presetSubtype="0" fill="hold" grpId="0" nodeType="withEffect">
                                  <p:stCondLst>
                                    <p:cond delay="0"/>
                                  </p:stCondLst>
                                  <p:childTnLst>
                                    <p:animClr clrSpc="rgb" dir="cw">
                                      <p:cBhvr override="childStyle">
                                        <p:cTn id="165" dur="500" fill="hold"/>
                                        <p:tgtEl>
                                          <p:spTgt spid="1048"/>
                                        </p:tgtEl>
                                        <p:attrNameLst>
                                          <p:attrName>style.color</p:attrName>
                                        </p:attrNameLst>
                                      </p:cBhvr>
                                      <p:to>
                                        <a:srgbClr val="FFC400"/>
                                      </p:to>
                                    </p:animClr>
                                    <p:animClr clrSpc="rgb" dir="cw">
                                      <p:cBhvr>
                                        <p:cTn id="166" dur="500" fill="hold"/>
                                        <p:tgtEl>
                                          <p:spTgt spid="1048"/>
                                        </p:tgtEl>
                                        <p:attrNameLst>
                                          <p:attrName>fillcolor</p:attrName>
                                        </p:attrNameLst>
                                      </p:cBhvr>
                                      <p:to>
                                        <a:srgbClr val="FFC400"/>
                                      </p:to>
                                    </p:animClr>
                                    <p:set>
                                      <p:cBhvr>
                                        <p:cTn id="167" dur="500" fill="hold"/>
                                        <p:tgtEl>
                                          <p:spTgt spid="1048"/>
                                        </p:tgtEl>
                                        <p:attrNameLst>
                                          <p:attrName>fill.type</p:attrName>
                                        </p:attrNameLst>
                                      </p:cBhvr>
                                      <p:to>
                                        <p:strVal val="solid"/>
                                      </p:to>
                                    </p:set>
                                    <p:set>
                                      <p:cBhvr>
                                        <p:cTn id="168" dur="500" fill="hold"/>
                                        <p:tgtEl>
                                          <p:spTgt spid="1048"/>
                                        </p:tgtEl>
                                        <p:attrNameLst>
                                          <p:attrName>fill.on</p:attrName>
                                        </p:attrNameLst>
                                      </p:cBhvr>
                                      <p:to>
                                        <p:strVal val="true"/>
                                      </p:to>
                                    </p:set>
                                  </p:childTnLst>
                                </p:cTn>
                              </p:par>
                              <p:par>
                                <p:cTn id="169" presetID="35" presetClass="path" presetSubtype="0" accel="50000" decel="50000" fill="hold" grpId="1" nodeType="withEffect">
                                  <p:stCondLst>
                                    <p:cond delay="0"/>
                                  </p:stCondLst>
                                  <p:childTnLst>
                                    <p:animMotion origin="layout" path="M -4.57265E-6 5.55112E-17 L -0.09962 5.55112E-17 " pathEditMode="relative" rAng="0" ptsTypes="AA">
                                      <p:cBhvr>
                                        <p:cTn id="170" dur="1750" fill="hold"/>
                                        <p:tgtEl>
                                          <p:spTgt spid="1048"/>
                                        </p:tgtEl>
                                        <p:attrNameLst>
                                          <p:attrName>ppt_x</p:attrName>
                                          <p:attrName>ppt_y</p:attrName>
                                        </p:attrNameLst>
                                      </p:cBhvr>
                                      <p:rCtr x="-4981" y="0"/>
                                    </p:animMotion>
                                  </p:childTnLst>
                                </p:cTn>
                              </p:par>
                              <p:par>
                                <p:cTn id="171" presetID="9" presetClass="emph" presetSubtype="0" grpId="0" nodeType="withEffect">
                                  <p:stCondLst>
                                    <p:cond delay="0"/>
                                  </p:stCondLst>
                                  <p:childTnLst>
                                    <p:set>
                                      <p:cBhvr rctx="PPT">
                                        <p:cTn id="172" dur="500"/>
                                        <p:tgtEl>
                                          <p:spTgt spid="1144"/>
                                        </p:tgtEl>
                                        <p:attrNameLst>
                                          <p:attrName>style.opacity</p:attrName>
                                        </p:attrNameLst>
                                      </p:cBhvr>
                                      <p:to>
                                        <p:strVal val="0.25"/>
                                      </p:to>
                                    </p:set>
                                    <p:animEffect filter="image" prLst="opacity: 0.25">
                                      <p:cBhvr rctx="IE">
                                        <p:cTn id="173" dur="500"/>
                                        <p:tgtEl>
                                          <p:spTgt spid="1144"/>
                                        </p:tgtEl>
                                      </p:cBhvr>
                                    </p:animEffect>
                                  </p:childTnLst>
                                </p:cTn>
                              </p:par>
                              <p:par>
                                <p:cTn id="174" presetID="1" presetClass="exit" presetSubtype="0" fill="hold" grpId="1" nodeType="withEffect">
                                  <p:stCondLst>
                                    <p:cond delay="0"/>
                                  </p:stCondLst>
                                  <p:childTnLst>
                                    <p:set>
                                      <p:cBhvr>
                                        <p:cTn id="175" dur="1" fill="hold">
                                          <p:stCondLst>
                                            <p:cond delay="0"/>
                                          </p:stCondLst>
                                        </p:cTn>
                                        <p:tgtEl>
                                          <p:spTgt spid="1144"/>
                                        </p:tgtEl>
                                        <p:attrNameLst>
                                          <p:attrName>style.visibility</p:attrName>
                                        </p:attrNameLst>
                                      </p:cBhvr>
                                      <p:to>
                                        <p:strVal val="hidden"/>
                                      </p:to>
                                    </p:set>
                                  </p:childTnLst>
                                </p:cTn>
                              </p:par>
                              <p:par>
                                <p:cTn id="176" presetID="10" presetClass="entr" presetSubtype="0" fill="hold" nodeType="withEffect">
                                  <p:stCondLst>
                                    <p:cond delay="0"/>
                                  </p:stCondLst>
                                  <p:childTnLst>
                                    <p:set>
                                      <p:cBhvr>
                                        <p:cTn id="177" dur="1" fill="hold">
                                          <p:stCondLst>
                                            <p:cond delay="0"/>
                                          </p:stCondLst>
                                        </p:cTn>
                                        <p:tgtEl>
                                          <p:spTgt spid="1170"/>
                                        </p:tgtEl>
                                        <p:attrNameLst>
                                          <p:attrName>style.visibility</p:attrName>
                                        </p:attrNameLst>
                                      </p:cBhvr>
                                      <p:to>
                                        <p:strVal val="visible"/>
                                      </p:to>
                                    </p:set>
                                    <p:animEffect transition="in" filter="fade">
                                      <p:cBhvr>
                                        <p:cTn id="178" dur="500"/>
                                        <p:tgtEl>
                                          <p:spTgt spid="1170"/>
                                        </p:tgtEl>
                                      </p:cBhvr>
                                    </p:animEffect>
                                  </p:childTnLst>
                                </p:cTn>
                              </p:par>
                              <p:par>
                                <p:cTn id="179" presetID="9" presetClass="emph" presetSubtype="0" grpId="2" nodeType="withEffect">
                                  <p:stCondLst>
                                    <p:cond delay="0"/>
                                  </p:stCondLst>
                                  <p:childTnLst>
                                    <p:set>
                                      <p:cBhvr rctx="PPT">
                                        <p:cTn id="180" dur="indefinite"/>
                                        <p:tgtEl>
                                          <p:spTgt spid="1047"/>
                                        </p:tgtEl>
                                        <p:attrNameLst>
                                          <p:attrName>style.opacity</p:attrName>
                                        </p:attrNameLst>
                                      </p:cBhvr>
                                      <p:to>
                                        <p:strVal val="0.25"/>
                                      </p:to>
                                    </p:set>
                                    <p:animEffect filter="image" prLst="opacity: 0.25">
                                      <p:cBhvr rctx="IE">
                                        <p:cTn id="181" dur="indefinite"/>
                                        <p:tgtEl>
                                          <p:spTgt spid="1047"/>
                                        </p:tgtEl>
                                      </p:cBhvr>
                                    </p:animEffect>
                                  </p:childTnLst>
                                </p:cTn>
                              </p:par>
                              <p:par>
                                <p:cTn id="182" presetID="1" presetClass="entr" presetSubtype="0" fill="hold" grpId="1" nodeType="withEffect">
                                  <p:stCondLst>
                                    <p:cond delay="1000"/>
                                  </p:stCondLst>
                                  <p:childTnLst>
                                    <p:set>
                                      <p:cBhvr>
                                        <p:cTn id="183" dur="1" fill="hold">
                                          <p:stCondLst>
                                            <p:cond delay="0"/>
                                          </p:stCondLst>
                                        </p:cTn>
                                        <p:tgtEl>
                                          <p:spTgt spid="1133"/>
                                        </p:tgtEl>
                                        <p:attrNameLst>
                                          <p:attrName>style.visibility</p:attrName>
                                        </p:attrNameLst>
                                      </p:cBhvr>
                                      <p:to>
                                        <p:strVal val="visible"/>
                                      </p:to>
                                    </p:set>
                                  </p:childTnLst>
                                </p:cTn>
                              </p:par>
                              <p:par>
                                <p:cTn id="184" presetID="9" presetClass="emph" presetSubtype="0" grpId="0" nodeType="withEffect">
                                  <p:stCondLst>
                                    <p:cond delay="0"/>
                                  </p:stCondLst>
                                  <p:childTnLst>
                                    <p:set>
                                      <p:cBhvr rctx="PPT">
                                        <p:cTn id="185" dur="indefinite"/>
                                        <p:tgtEl>
                                          <p:spTgt spid="1133"/>
                                        </p:tgtEl>
                                        <p:attrNameLst>
                                          <p:attrName>style.opacity</p:attrName>
                                        </p:attrNameLst>
                                      </p:cBhvr>
                                      <p:to>
                                        <p:strVal val="0.25"/>
                                      </p:to>
                                    </p:set>
                                    <p:animEffect filter="image" prLst="opacity: 0.25">
                                      <p:cBhvr rctx="IE">
                                        <p:cTn id="186" dur="indefinite"/>
                                        <p:tgtEl>
                                          <p:spTgt spid="1133"/>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1161"/>
                                        </p:tgtEl>
                                        <p:attrNameLst>
                                          <p:attrName>style.visibility</p:attrName>
                                        </p:attrNameLst>
                                      </p:cBhvr>
                                      <p:to>
                                        <p:strVal val="visible"/>
                                      </p:to>
                                    </p:set>
                                    <p:animEffect transition="in" filter="fade">
                                      <p:cBhvr>
                                        <p:cTn id="189" dur="500"/>
                                        <p:tgtEl>
                                          <p:spTgt spid="1161"/>
                                        </p:tgtEl>
                                      </p:cBhvr>
                                    </p:animEffect>
                                  </p:childTnLst>
                                </p:cTn>
                              </p:par>
                              <p:par>
                                <p:cTn id="190" presetID="10" presetClass="entr" presetSubtype="0" fill="hold" nodeType="withEffect">
                                  <p:stCondLst>
                                    <p:cond delay="0"/>
                                  </p:stCondLst>
                                  <p:childTnLst>
                                    <p:set>
                                      <p:cBhvr>
                                        <p:cTn id="191" dur="1" fill="hold">
                                          <p:stCondLst>
                                            <p:cond delay="0"/>
                                          </p:stCondLst>
                                        </p:cTn>
                                        <p:tgtEl>
                                          <p:spTgt spid="1164"/>
                                        </p:tgtEl>
                                        <p:attrNameLst>
                                          <p:attrName>style.visibility</p:attrName>
                                        </p:attrNameLst>
                                      </p:cBhvr>
                                      <p:to>
                                        <p:strVal val="visible"/>
                                      </p:to>
                                    </p:set>
                                    <p:animEffect transition="in" filter="fade">
                                      <p:cBhvr>
                                        <p:cTn id="192" dur="500"/>
                                        <p:tgtEl>
                                          <p:spTgt spid="1164"/>
                                        </p:tgtEl>
                                      </p:cBhvr>
                                    </p:animEffect>
                                  </p:childTnLst>
                                </p:cTn>
                              </p:par>
                              <p:par>
                                <p:cTn id="193" presetID="1" presetClass="entr" presetSubtype="0" fill="hold" grpId="0" nodeType="withEffect">
                                  <p:stCondLst>
                                    <p:cond delay="0"/>
                                  </p:stCondLst>
                                  <p:childTnLst>
                                    <p:set>
                                      <p:cBhvr>
                                        <p:cTn id="194" dur="1" fill="hold">
                                          <p:stCondLst>
                                            <p:cond delay="0"/>
                                          </p:stCondLst>
                                        </p:cTn>
                                        <p:tgtEl>
                                          <p:spTgt spid="1042"/>
                                        </p:tgtEl>
                                        <p:attrNameLst>
                                          <p:attrName>style.visibility</p:attrName>
                                        </p:attrNameLst>
                                      </p:cBhvr>
                                      <p:to>
                                        <p:strVal val="visible"/>
                                      </p:to>
                                    </p:set>
                                  </p:childTnLst>
                                </p:cTn>
                              </p:par>
                              <p:par>
                                <p:cTn id="195" presetID="35" presetClass="path" presetSubtype="0" accel="50000" decel="50000" fill="hold" grpId="2" nodeType="withEffect">
                                  <p:stCondLst>
                                    <p:cond delay="0"/>
                                  </p:stCondLst>
                                  <p:childTnLst>
                                    <p:animMotion origin="layout" path="M 3.20513E-6 -0.00047 L -0.04835 2.22222E-6 " pathEditMode="relative" rAng="0" ptsTypes="AA">
                                      <p:cBhvr>
                                        <p:cTn id="196" dur="1750" fill="hold"/>
                                        <p:tgtEl>
                                          <p:spTgt spid="1042"/>
                                        </p:tgtEl>
                                        <p:attrNameLst>
                                          <p:attrName>ppt_x</p:attrName>
                                          <p:attrName>ppt_y</p:attrName>
                                        </p:attrNameLst>
                                      </p:cBhvr>
                                      <p:rCtr x="-2417" y="23"/>
                                    </p:animMotion>
                                  </p:childTnLst>
                                </p:cTn>
                              </p:par>
                              <p:par>
                                <p:cTn id="197" presetID="19" presetClass="emph" presetSubtype="0" fill="hold" grpId="1" nodeType="withEffect">
                                  <p:stCondLst>
                                    <p:cond delay="0"/>
                                  </p:stCondLst>
                                  <p:childTnLst>
                                    <p:animClr clrSpc="rgb" dir="cw">
                                      <p:cBhvr override="childStyle">
                                        <p:cTn id="198" dur="500" fill="hold"/>
                                        <p:tgtEl>
                                          <p:spTgt spid="1042"/>
                                        </p:tgtEl>
                                        <p:attrNameLst>
                                          <p:attrName>style.color</p:attrName>
                                        </p:attrNameLst>
                                      </p:cBhvr>
                                      <p:to>
                                        <a:srgbClr val="FFC400"/>
                                      </p:to>
                                    </p:animClr>
                                    <p:animClr clrSpc="rgb" dir="cw">
                                      <p:cBhvr>
                                        <p:cTn id="199" dur="500" fill="hold"/>
                                        <p:tgtEl>
                                          <p:spTgt spid="1042"/>
                                        </p:tgtEl>
                                        <p:attrNameLst>
                                          <p:attrName>fillcolor</p:attrName>
                                        </p:attrNameLst>
                                      </p:cBhvr>
                                      <p:to>
                                        <a:srgbClr val="FFC400"/>
                                      </p:to>
                                    </p:animClr>
                                    <p:set>
                                      <p:cBhvr>
                                        <p:cTn id="200" dur="500" fill="hold"/>
                                        <p:tgtEl>
                                          <p:spTgt spid="1042"/>
                                        </p:tgtEl>
                                        <p:attrNameLst>
                                          <p:attrName>fill.type</p:attrName>
                                        </p:attrNameLst>
                                      </p:cBhvr>
                                      <p:to>
                                        <p:strVal val="solid"/>
                                      </p:to>
                                    </p:set>
                                    <p:set>
                                      <p:cBhvr>
                                        <p:cTn id="201" dur="500" fill="hold"/>
                                        <p:tgtEl>
                                          <p:spTgt spid="1042"/>
                                        </p:tgtEl>
                                        <p:attrNameLst>
                                          <p:attrName>fill.on</p:attrName>
                                        </p:attrNameLst>
                                      </p:cBhvr>
                                      <p:to>
                                        <p:strVal val="true"/>
                                      </p:to>
                                    </p:set>
                                  </p:childTnLst>
                                </p:cTn>
                              </p:par>
                              <p:par>
                                <p:cTn id="202" presetID="10" presetClass="entr" presetSubtype="0" fill="hold" nodeType="withEffect">
                                  <p:stCondLst>
                                    <p:cond delay="0"/>
                                  </p:stCondLst>
                                  <p:childTnLst>
                                    <p:set>
                                      <p:cBhvr>
                                        <p:cTn id="203" dur="1" fill="hold">
                                          <p:stCondLst>
                                            <p:cond delay="0"/>
                                          </p:stCondLst>
                                        </p:cTn>
                                        <p:tgtEl>
                                          <p:spTgt spid="1167"/>
                                        </p:tgtEl>
                                        <p:attrNameLst>
                                          <p:attrName>style.visibility</p:attrName>
                                        </p:attrNameLst>
                                      </p:cBhvr>
                                      <p:to>
                                        <p:strVal val="visible"/>
                                      </p:to>
                                    </p:set>
                                    <p:animEffect transition="in" filter="fade">
                                      <p:cBhvr>
                                        <p:cTn id="204" dur="500"/>
                                        <p:tgtEl>
                                          <p:spTgt spid="1167"/>
                                        </p:tgtEl>
                                      </p:cBhvr>
                                    </p:animEffect>
                                  </p:childTnLst>
                                </p:cTn>
                              </p:par>
                              <p:par>
                                <p:cTn id="205" presetID="1" presetClass="entr" presetSubtype="0" fill="hold" grpId="0" nodeType="withEffect">
                                  <p:stCondLst>
                                    <p:cond delay="0"/>
                                  </p:stCondLst>
                                  <p:childTnLst>
                                    <p:set>
                                      <p:cBhvr>
                                        <p:cTn id="206" dur="1" fill="hold">
                                          <p:stCondLst>
                                            <p:cond delay="0"/>
                                          </p:stCondLst>
                                        </p:cTn>
                                        <p:tgtEl>
                                          <p:spTgt spid="1045"/>
                                        </p:tgtEl>
                                        <p:attrNameLst>
                                          <p:attrName>style.visibility</p:attrName>
                                        </p:attrNameLst>
                                      </p:cBhvr>
                                      <p:to>
                                        <p:strVal val="visible"/>
                                      </p:to>
                                    </p:set>
                                  </p:childTnLst>
                                </p:cTn>
                              </p:par>
                              <p:par>
                                <p:cTn id="207" presetID="9" presetClass="emph" presetSubtype="0" grpId="1" nodeType="withEffect">
                                  <p:stCondLst>
                                    <p:cond delay="0"/>
                                  </p:stCondLst>
                                  <p:childTnLst>
                                    <p:set>
                                      <p:cBhvr rctx="PPT">
                                        <p:cTn id="208" dur="indefinite"/>
                                        <p:tgtEl>
                                          <p:spTgt spid="1045"/>
                                        </p:tgtEl>
                                        <p:attrNameLst>
                                          <p:attrName>style.opacity</p:attrName>
                                        </p:attrNameLst>
                                      </p:cBhvr>
                                      <p:to>
                                        <p:strVal val="0.25"/>
                                      </p:to>
                                    </p:set>
                                    <p:animEffect filter="image" prLst="opacity: 0.25">
                                      <p:cBhvr rctx="IE">
                                        <p:cTn id="209" dur="indefinite"/>
                                        <p:tgtEl>
                                          <p:spTgt spid="1045"/>
                                        </p:tgtEl>
                                      </p:cBhvr>
                                    </p:animEffect>
                                  </p:childTnLst>
                                </p:cTn>
                              </p:par>
                              <p:par>
                                <p:cTn id="210" presetID="10" presetClass="entr" presetSubtype="0" fill="hold" grpId="0" nodeType="withEffect">
                                  <p:stCondLst>
                                    <p:cond delay="0"/>
                                  </p:stCondLst>
                                  <p:childTnLst>
                                    <p:set>
                                      <p:cBhvr>
                                        <p:cTn id="211" dur="1" fill="hold">
                                          <p:stCondLst>
                                            <p:cond delay="0"/>
                                          </p:stCondLst>
                                        </p:cTn>
                                        <p:tgtEl>
                                          <p:spTgt spid="202"/>
                                        </p:tgtEl>
                                        <p:attrNameLst>
                                          <p:attrName>style.visibility</p:attrName>
                                        </p:attrNameLst>
                                      </p:cBhvr>
                                      <p:to>
                                        <p:strVal val="visible"/>
                                      </p:to>
                                    </p:set>
                                    <p:animEffect transition="in" filter="fade">
                                      <p:cBhvr>
                                        <p:cTn id="212" dur="500"/>
                                        <p:tgtEl>
                                          <p:spTgt spid="202"/>
                                        </p:tgtEl>
                                      </p:cBhvr>
                                    </p:animEffect>
                                  </p:childTnLst>
                                </p:cTn>
                              </p:par>
                              <p:par>
                                <p:cTn id="213" presetID="9" presetClass="emph" presetSubtype="0" grpId="0" nodeType="withEffect">
                                  <p:stCondLst>
                                    <p:cond delay="0"/>
                                  </p:stCondLst>
                                  <p:childTnLst>
                                    <p:set>
                                      <p:cBhvr rctx="PPT">
                                        <p:cTn id="214" dur="500"/>
                                        <p:tgtEl>
                                          <p:spTgt spid="124"/>
                                        </p:tgtEl>
                                        <p:attrNameLst>
                                          <p:attrName>style.opacity</p:attrName>
                                        </p:attrNameLst>
                                      </p:cBhvr>
                                      <p:to>
                                        <p:strVal val="0.25"/>
                                      </p:to>
                                    </p:set>
                                    <p:animEffect filter="image" prLst="opacity: 0.25">
                                      <p:cBhvr rctx="IE">
                                        <p:cTn id="215" dur="500"/>
                                        <p:tgtEl>
                                          <p:spTgt spid="1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animBg="1"/>
      <p:bldP spid="1043" grpId="0" animBg="1"/>
      <p:bldP spid="1043" grpId="1" animBg="1"/>
      <p:bldP spid="1050" grpId="0" animBg="1"/>
      <p:bldP spid="1050" grpId="1" animBg="1"/>
      <p:bldP spid="1046" grpId="0" animBg="1"/>
      <p:bldP spid="1046" grpId="1" animBg="1"/>
      <p:bldP spid="1047" grpId="0" animBg="1"/>
      <p:bldP spid="1047" grpId="1" animBg="1"/>
      <p:bldP spid="1047" grpId="2" animBg="1"/>
      <p:bldP spid="1042" grpId="0" animBg="1"/>
      <p:bldP spid="1042" grpId="1" animBg="1"/>
      <p:bldP spid="1042" grpId="2" animBg="1"/>
      <p:bldP spid="1044" grpId="0" animBg="1"/>
      <p:bldP spid="1044" grpId="1" animBg="1"/>
      <p:bldP spid="1044" grpId="2" animBg="1"/>
      <p:bldP spid="1045" grpId="0" animBg="1"/>
      <p:bldP spid="1045" grpId="1" animBg="1"/>
      <p:bldP spid="1048" grpId="0" animBg="1"/>
      <p:bldP spid="1048" grpId="1" animBg="1"/>
      <p:bldP spid="1048" grpId="2" animBg="1"/>
      <p:bldP spid="1049" grpId="0" animBg="1"/>
      <p:bldP spid="1049" grpId="1" animBg="1"/>
      <p:bldP spid="1051" grpId="0" animBg="1"/>
      <p:bldP spid="1052" grpId="0" animBg="1"/>
      <p:bldP spid="1053" grpId="0" animBg="1"/>
      <p:bldP spid="1053" grpId="1" animBg="1"/>
      <p:bldP spid="1054" grpId="0" animBg="1"/>
      <p:bldP spid="1054" grpId="1" animBg="1"/>
      <p:bldP spid="1055" grpId="0" animBg="1"/>
      <p:bldP spid="1055" grpId="1" animBg="1"/>
      <p:bldP spid="1133" grpId="0" animBg="1"/>
      <p:bldP spid="1133" grpId="1" animBg="1"/>
      <p:bldP spid="1144" grpId="0" animBg="1"/>
      <p:bldP spid="1144" grpId="1" animBg="1"/>
      <p:bldP spid="1147" grpId="0" uiExpand="1" build="allAtOnce"/>
      <p:bldP spid="1147" grpId="1" build="allAtOnce"/>
      <p:bldP spid="1158" grpId="0" animBg="1"/>
      <p:bldP spid="1158" grpId="1" animBg="1"/>
      <p:bldP spid="1160" grpId="0"/>
      <p:bldP spid="1161" grpId="0"/>
      <p:bldP spid="1162" grpId="0" animBg="1"/>
      <p:bldP spid="1163" grpId="0"/>
      <p:bldP spid="20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p:cNvSpPr>
            <a:spLocks noGrp="1"/>
          </p:cNvSpPr>
          <p:nvPr>
            <p:ph type="title"/>
          </p:nvPr>
        </p:nvSpPr>
        <p:spPr>
          <a:xfrm>
            <a:off x="251192" y="296863"/>
            <a:ext cx="9667601" cy="779309"/>
          </a:xfrm>
        </p:spPr>
        <p:txBody>
          <a:bodyPr/>
          <a:lstStyle/>
          <a:p>
            <a:pPr lvl="0"/>
            <a:r>
              <a:rPr lang="en-US" dirty="0" smtClean="0"/>
              <a:t>High availability</a:t>
            </a:r>
            <a:endParaRPr lang="en-US" dirty="0"/>
          </a:p>
        </p:txBody>
      </p:sp>
      <p:sp>
        <p:nvSpPr>
          <p:cNvPr id="65" name="Rectangle 6"/>
          <p:cNvSpPr>
            <a:spLocks noChangeArrowheads="1"/>
          </p:cNvSpPr>
          <p:nvPr/>
        </p:nvSpPr>
        <p:spPr bwMode="auto">
          <a:xfrm>
            <a:off x="3094038" y="4583246"/>
            <a:ext cx="2487612" cy="1161783"/>
          </a:xfrm>
          <a:prstGeom prst="rect">
            <a:avLst/>
          </a:prstGeom>
          <a:noFill/>
          <a:ln w="9525" algn="ctr">
            <a:noFill/>
            <a:miter lim="800000"/>
            <a:headEnd/>
            <a:tailEnd/>
          </a:ln>
        </p:spPr>
        <p:txBody>
          <a:bodyPr lIns="279781" tIns="38495" rIns="279781" bIns="177195" anchor="t"/>
          <a:lstStyle/>
          <a:p>
            <a:pPr>
              <a:spcBef>
                <a:spcPct val="50000"/>
              </a:spcBef>
              <a:buClr>
                <a:schemeClr val="accent2"/>
              </a:buClr>
            </a:pPr>
            <a:r>
              <a:rPr lang="en-US" sz="2000" dirty="0"/>
              <a:t>Improve with active/active broker </a:t>
            </a:r>
          </a:p>
        </p:txBody>
      </p:sp>
      <p:sp>
        <p:nvSpPr>
          <p:cNvPr id="66" name="Rectangle 7"/>
          <p:cNvSpPr>
            <a:spLocks noChangeArrowheads="1"/>
          </p:cNvSpPr>
          <p:nvPr/>
        </p:nvSpPr>
        <p:spPr bwMode="auto">
          <a:xfrm>
            <a:off x="148695" y="4579672"/>
            <a:ext cx="2869143" cy="1181044"/>
          </a:xfrm>
          <a:prstGeom prst="rect">
            <a:avLst/>
          </a:prstGeom>
          <a:noFill/>
          <a:ln w="9525" algn="ctr">
            <a:noFill/>
            <a:miter lim="800000"/>
            <a:headEnd/>
            <a:tailEnd/>
          </a:ln>
        </p:spPr>
        <p:txBody>
          <a:bodyPr lIns="279781" tIns="38495" rIns="279781" bIns="177195" anchor="t"/>
          <a:lstStyle/>
          <a:p>
            <a:pPr>
              <a:spcBef>
                <a:spcPct val="50000"/>
              </a:spcBef>
              <a:buClr>
                <a:schemeClr val="accent2"/>
              </a:buClr>
            </a:pPr>
            <a:r>
              <a:rPr lang="en-US" sz="2000" dirty="0" smtClean="0"/>
              <a:t>Use a scale-out file </a:t>
            </a:r>
            <a:r>
              <a:rPr lang="en-US" sz="2000" dirty="0"/>
              <a:t>s</a:t>
            </a:r>
            <a:r>
              <a:rPr lang="en-US" sz="2000" dirty="0" smtClean="0"/>
              <a:t>erver </a:t>
            </a:r>
            <a:r>
              <a:rPr lang="en-US" sz="2000" dirty="0"/>
              <a:t>and Hyper-V clustering</a:t>
            </a:r>
          </a:p>
        </p:txBody>
      </p:sp>
      <p:sp>
        <p:nvSpPr>
          <p:cNvPr id="67" name="Rectangle 8"/>
          <p:cNvSpPr>
            <a:spLocks noChangeArrowheads="1"/>
          </p:cNvSpPr>
          <p:nvPr/>
        </p:nvSpPr>
        <p:spPr bwMode="auto">
          <a:xfrm>
            <a:off x="5523819" y="4579584"/>
            <a:ext cx="3163888" cy="1297341"/>
          </a:xfrm>
          <a:prstGeom prst="rect">
            <a:avLst/>
          </a:prstGeom>
          <a:noFill/>
          <a:ln w="9525" algn="ctr">
            <a:noFill/>
            <a:miter lim="800000"/>
            <a:headEnd/>
            <a:tailEnd/>
          </a:ln>
        </p:spPr>
        <p:txBody>
          <a:bodyPr lIns="279781" tIns="38495" rIns="279781" bIns="177195" anchor="t"/>
          <a:lstStyle/>
          <a:p>
            <a:pPr>
              <a:spcBef>
                <a:spcPct val="50000"/>
              </a:spcBef>
              <a:buClr>
                <a:schemeClr val="accent2"/>
              </a:buClr>
            </a:pPr>
            <a:r>
              <a:rPr lang="en-US" sz="2000" dirty="0"/>
              <a:t>Experience up to 64 nodes </a:t>
            </a:r>
            <a:r>
              <a:rPr lang="en-US" sz="2000" dirty="0" smtClean="0"/>
              <a:t>and 8,000 </a:t>
            </a:r>
            <a:r>
              <a:rPr lang="en-US" sz="2000" dirty="0"/>
              <a:t>virtual machines per cluster </a:t>
            </a:r>
            <a:br>
              <a:rPr lang="en-US" sz="2000" dirty="0"/>
            </a:br>
            <a:r>
              <a:rPr lang="en-US" sz="2000" dirty="0"/>
              <a:t>with Hyper-V</a:t>
            </a:r>
          </a:p>
        </p:txBody>
      </p:sp>
      <p:sp>
        <p:nvSpPr>
          <p:cNvPr id="68" name="Rectangle 9"/>
          <p:cNvSpPr>
            <a:spLocks noChangeArrowheads="1"/>
          </p:cNvSpPr>
          <p:nvPr/>
        </p:nvSpPr>
        <p:spPr bwMode="auto">
          <a:xfrm>
            <a:off x="8818239" y="4571780"/>
            <a:ext cx="3343599" cy="1681516"/>
          </a:xfrm>
          <a:prstGeom prst="rect">
            <a:avLst/>
          </a:prstGeom>
          <a:noFill/>
          <a:ln w="9525" algn="ctr">
            <a:noFill/>
            <a:miter lim="800000"/>
            <a:headEnd/>
            <a:tailEnd/>
          </a:ln>
        </p:spPr>
        <p:txBody>
          <a:bodyPr lIns="279781" tIns="38495" rIns="279781" bIns="177195" anchor="t"/>
          <a:lstStyle/>
          <a:p>
            <a:pPr>
              <a:spcBef>
                <a:spcPct val="50000"/>
              </a:spcBef>
              <a:buClr>
                <a:schemeClr val="accent2"/>
              </a:buClr>
            </a:pPr>
            <a:r>
              <a:rPr lang="en-US" sz="2000" dirty="0"/>
              <a:t>Further increase density by using Remote Desktop Session Host (greater than 2x compared to virtual machines)</a:t>
            </a:r>
          </a:p>
        </p:txBody>
      </p:sp>
      <p:grpSp>
        <p:nvGrpSpPr>
          <p:cNvPr id="3" name="Group 2"/>
          <p:cNvGrpSpPr/>
          <p:nvPr/>
        </p:nvGrpSpPr>
        <p:grpSpPr>
          <a:xfrm>
            <a:off x="615671" y="2117314"/>
            <a:ext cx="1468079" cy="2057869"/>
            <a:chOff x="976422" y="3631803"/>
            <a:chExt cx="493888" cy="692304"/>
          </a:xfrm>
        </p:grpSpPr>
        <p:sp>
          <p:nvSpPr>
            <p:cNvPr id="18" name="Freeform 1550"/>
            <p:cNvSpPr>
              <a:spLocks noEditPoints="1"/>
            </p:cNvSpPr>
            <p:nvPr/>
          </p:nvSpPr>
          <p:spPr bwMode="auto">
            <a:xfrm>
              <a:off x="1120203" y="3631803"/>
              <a:ext cx="350107" cy="692304"/>
            </a:xfrm>
            <a:custGeom>
              <a:avLst/>
              <a:gdLst>
                <a:gd name="T0" fmla="*/ 27 w 244"/>
                <a:gd name="T1" fmla="*/ 417 h 483"/>
                <a:gd name="T2" fmla="*/ 27 w 244"/>
                <a:gd name="T3" fmla="*/ 434 h 483"/>
                <a:gd name="T4" fmla="*/ 217 w 244"/>
                <a:gd name="T5" fmla="*/ 434 h 483"/>
                <a:gd name="T6" fmla="*/ 217 w 244"/>
                <a:gd name="T7" fmla="*/ 417 h 483"/>
                <a:gd name="T8" fmla="*/ 27 w 244"/>
                <a:gd name="T9" fmla="*/ 417 h 483"/>
                <a:gd name="T10" fmla="*/ 27 w 244"/>
                <a:gd name="T11" fmla="*/ 380 h 483"/>
                <a:gd name="T12" fmla="*/ 27 w 244"/>
                <a:gd name="T13" fmla="*/ 397 h 483"/>
                <a:gd name="T14" fmla="*/ 65 w 244"/>
                <a:gd name="T15" fmla="*/ 397 h 483"/>
                <a:gd name="T16" fmla="*/ 65 w 244"/>
                <a:gd name="T17" fmla="*/ 380 h 483"/>
                <a:gd name="T18" fmla="*/ 27 w 244"/>
                <a:gd name="T19" fmla="*/ 380 h 483"/>
                <a:gd name="T20" fmla="*/ 27 w 244"/>
                <a:gd name="T21" fmla="*/ 343 h 483"/>
                <a:gd name="T22" fmla="*/ 27 w 244"/>
                <a:gd name="T23" fmla="*/ 359 h 483"/>
                <a:gd name="T24" fmla="*/ 65 w 244"/>
                <a:gd name="T25" fmla="*/ 359 h 483"/>
                <a:gd name="T26" fmla="*/ 65 w 244"/>
                <a:gd name="T27" fmla="*/ 343 h 483"/>
                <a:gd name="T28" fmla="*/ 27 w 244"/>
                <a:gd name="T29" fmla="*/ 343 h 483"/>
                <a:gd name="T30" fmla="*/ 27 w 244"/>
                <a:gd name="T31" fmla="*/ 90 h 483"/>
                <a:gd name="T32" fmla="*/ 27 w 244"/>
                <a:gd name="T33" fmla="*/ 115 h 483"/>
                <a:gd name="T34" fmla="*/ 217 w 244"/>
                <a:gd name="T35" fmla="*/ 115 h 483"/>
                <a:gd name="T36" fmla="*/ 217 w 244"/>
                <a:gd name="T37" fmla="*/ 90 h 483"/>
                <a:gd name="T38" fmla="*/ 27 w 244"/>
                <a:gd name="T39" fmla="*/ 90 h 483"/>
                <a:gd name="T40" fmla="*/ 27 w 244"/>
                <a:gd name="T41" fmla="*/ 50 h 483"/>
                <a:gd name="T42" fmla="*/ 27 w 244"/>
                <a:gd name="T43" fmla="*/ 67 h 483"/>
                <a:gd name="T44" fmla="*/ 217 w 244"/>
                <a:gd name="T45" fmla="*/ 67 h 483"/>
                <a:gd name="T46" fmla="*/ 217 w 244"/>
                <a:gd name="T47" fmla="*/ 50 h 483"/>
                <a:gd name="T48" fmla="*/ 27 w 244"/>
                <a:gd name="T49" fmla="*/ 50 h 483"/>
                <a:gd name="T50" fmla="*/ 32 w 244"/>
                <a:gd name="T51" fmla="*/ 0 h 483"/>
                <a:gd name="T52" fmla="*/ 212 w 244"/>
                <a:gd name="T53" fmla="*/ 0 h 483"/>
                <a:gd name="T54" fmla="*/ 244 w 244"/>
                <a:gd name="T55" fmla="*/ 29 h 483"/>
                <a:gd name="T56" fmla="*/ 244 w 244"/>
                <a:gd name="T57" fmla="*/ 454 h 483"/>
                <a:gd name="T58" fmla="*/ 212 w 244"/>
                <a:gd name="T59" fmla="*/ 483 h 483"/>
                <a:gd name="T60" fmla="*/ 32 w 244"/>
                <a:gd name="T61" fmla="*/ 483 h 483"/>
                <a:gd name="T62" fmla="*/ 0 w 244"/>
                <a:gd name="T63" fmla="*/ 454 h 483"/>
                <a:gd name="T64" fmla="*/ 0 w 244"/>
                <a:gd name="T65" fmla="*/ 29 h 483"/>
                <a:gd name="T66" fmla="*/ 32 w 244"/>
                <a:gd name="T6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4" h="483">
                  <a:moveTo>
                    <a:pt x="27" y="417"/>
                  </a:moveTo>
                  <a:cubicBezTo>
                    <a:pt x="27" y="434"/>
                    <a:pt x="27" y="434"/>
                    <a:pt x="27" y="434"/>
                  </a:cubicBezTo>
                  <a:cubicBezTo>
                    <a:pt x="217" y="434"/>
                    <a:pt x="217" y="434"/>
                    <a:pt x="217" y="434"/>
                  </a:cubicBezTo>
                  <a:cubicBezTo>
                    <a:pt x="217" y="417"/>
                    <a:pt x="217" y="417"/>
                    <a:pt x="217" y="417"/>
                  </a:cubicBezTo>
                  <a:cubicBezTo>
                    <a:pt x="27" y="417"/>
                    <a:pt x="27" y="417"/>
                    <a:pt x="27" y="417"/>
                  </a:cubicBezTo>
                  <a:close/>
                  <a:moveTo>
                    <a:pt x="27" y="380"/>
                  </a:moveTo>
                  <a:cubicBezTo>
                    <a:pt x="27" y="397"/>
                    <a:pt x="27" y="397"/>
                    <a:pt x="27" y="397"/>
                  </a:cubicBezTo>
                  <a:cubicBezTo>
                    <a:pt x="65" y="397"/>
                    <a:pt x="65" y="397"/>
                    <a:pt x="65" y="397"/>
                  </a:cubicBezTo>
                  <a:cubicBezTo>
                    <a:pt x="65" y="380"/>
                    <a:pt x="65" y="380"/>
                    <a:pt x="65" y="380"/>
                  </a:cubicBezTo>
                  <a:cubicBezTo>
                    <a:pt x="27" y="380"/>
                    <a:pt x="27" y="380"/>
                    <a:pt x="27" y="380"/>
                  </a:cubicBezTo>
                  <a:close/>
                  <a:moveTo>
                    <a:pt x="27" y="343"/>
                  </a:moveTo>
                  <a:cubicBezTo>
                    <a:pt x="27" y="359"/>
                    <a:pt x="27" y="359"/>
                    <a:pt x="27" y="359"/>
                  </a:cubicBezTo>
                  <a:cubicBezTo>
                    <a:pt x="65" y="359"/>
                    <a:pt x="65" y="359"/>
                    <a:pt x="65" y="359"/>
                  </a:cubicBezTo>
                  <a:cubicBezTo>
                    <a:pt x="65" y="343"/>
                    <a:pt x="65" y="343"/>
                    <a:pt x="65" y="343"/>
                  </a:cubicBezTo>
                  <a:cubicBezTo>
                    <a:pt x="27" y="343"/>
                    <a:pt x="27" y="343"/>
                    <a:pt x="27" y="343"/>
                  </a:cubicBezTo>
                  <a:close/>
                  <a:moveTo>
                    <a:pt x="27" y="90"/>
                  </a:moveTo>
                  <a:cubicBezTo>
                    <a:pt x="27" y="115"/>
                    <a:pt x="27" y="115"/>
                    <a:pt x="27" y="115"/>
                  </a:cubicBezTo>
                  <a:cubicBezTo>
                    <a:pt x="217" y="115"/>
                    <a:pt x="217" y="115"/>
                    <a:pt x="217" y="115"/>
                  </a:cubicBezTo>
                  <a:cubicBezTo>
                    <a:pt x="217" y="90"/>
                    <a:pt x="217" y="90"/>
                    <a:pt x="217" y="90"/>
                  </a:cubicBezTo>
                  <a:cubicBezTo>
                    <a:pt x="27" y="90"/>
                    <a:pt x="27" y="90"/>
                    <a:pt x="27" y="90"/>
                  </a:cubicBezTo>
                  <a:close/>
                  <a:moveTo>
                    <a:pt x="27" y="50"/>
                  </a:moveTo>
                  <a:cubicBezTo>
                    <a:pt x="27" y="67"/>
                    <a:pt x="27" y="67"/>
                    <a:pt x="27" y="67"/>
                  </a:cubicBezTo>
                  <a:cubicBezTo>
                    <a:pt x="217" y="67"/>
                    <a:pt x="217" y="67"/>
                    <a:pt x="217" y="67"/>
                  </a:cubicBezTo>
                  <a:cubicBezTo>
                    <a:pt x="217" y="50"/>
                    <a:pt x="217" y="50"/>
                    <a:pt x="217" y="50"/>
                  </a:cubicBezTo>
                  <a:cubicBezTo>
                    <a:pt x="27" y="50"/>
                    <a:pt x="27" y="50"/>
                    <a:pt x="27" y="50"/>
                  </a:cubicBezTo>
                  <a:close/>
                  <a:moveTo>
                    <a:pt x="32" y="0"/>
                  </a:moveTo>
                  <a:cubicBezTo>
                    <a:pt x="212" y="0"/>
                    <a:pt x="212" y="0"/>
                    <a:pt x="212" y="0"/>
                  </a:cubicBezTo>
                  <a:cubicBezTo>
                    <a:pt x="230" y="0"/>
                    <a:pt x="244" y="13"/>
                    <a:pt x="244" y="29"/>
                  </a:cubicBezTo>
                  <a:cubicBezTo>
                    <a:pt x="244" y="454"/>
                    <a:pt x="244" y="454"/>
                    <a:pt x="244" y="454"/>
                  </a:cubicBezTo>
                  <a:cubicBezTo>
                    <a:pt x="244" y="470"/>
                    <a:pt x="230" y="483"/>
                    <a:pt x="212" y="483"/>
                  </a:cubicBezTo>
                  <a:cubicBezTo>
                    <a:pt x="32" y="483"/>
                    <a:pt x="32" y="483"/>
                    <a:pt x="32" y="483"/>
                  </a:cubicBezTo>
                  <a:cubicBezTo>
                    <a:pt x="14" y="483"/>
                    <a:pt x="0" y="470"/>
                    <a:pt x="0" y="454"/>
                  </a:cubicBezTo>
                  <a:cubicBezTo>
                    <a:pt x="0" y="29"/>
                    <a:pt x="0" y="29"/>
                    <a:pt x="0" y="29"/>
                  </a:cubicBezTo>
                  <a:cubicBezTo>
                    <a:pt x="0" y="13"/>
                    <a:pt x="14" y="0"/>
                    <a:pt x="32"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51"/>
            <p:cNvSpPr>
              <a:spLocks noEditPoints="1"/>
            </p:cNvSpPr>
            <p:nvPr/>
          </p:nvSpPr>
          <p:spPr bwMode="auto">
            <a:xfrm>
              <a:off x="976422" y="3776303"/>
              <a:ext cx="406182" cy="345793"/>
            </a:xfrm>
            <a:custGeom>
              <a:avLst/>
              <a:gdLst>
                <a:gd name="T0" fmla="*/ 11 w 283"/>
                <a:gd name="T1" fmla="*/ 238 h 241"/>
                <a:gd name="T2" fmla="*/ 11 w 283"/>
                <a:gd name="T3" fmla="*/ 241 h 241"/>
                <a:gd name="T4" fmla="*/ 0 w 283"/>
                <a:gd name="T5" fmla="*/ 226 h 241"/>
                <a:gd name="T6" fmla="*/ 0 w 283"/>
                <a:gd name="T7" fmla="*/ 47 h 241"/>
                <a:gd name="T8" fmla="*/ 13 w 283"/>
                <a:gd name="T9" fmla="*/ 32 h 241"/>
                <a:gd name="T10" fmla="*/ 127 w 283"/>
                <a:gd name="T11" fmla="*/ 32 h 241"/>
                <a:gd name="T12" fmla="*/ 140 w 283"/>
                <a:gd name="T13" fmla="*/ 18 h 241"/>
                <a:gd name="T14" fmla="*/ 140 w 283"/>
                <a:gd name="T15" fmla="*/ 15 h 241"/>
                <a:gd name="T16" fmla="*/ 152 w 283"/>
                <a:gd name="T17" fmla="*/ 0 h 241"/>
                <a:gd name="T18" fmla="*/ 256 w 283"/>
                <a:gd name="T19" fmla="*/ 0 h 241"/>
                <a:gd name="T20" fmla="*/ 268 w 283"/>
                <a:gd name="T21" fmla="*/ 15 h 241"/>
                <a:gd name="T22" fmla="*/ 268 w 283"/>
                <a:gd name="T23" fmla="*/ 18 h 241"/>
                <a:gd name="T24" fmla="*/ 275 w 283"/>
                <a:gd name="T25" fmla="*/ 32 h 241"/>
                <a:gd name="T26" fmla="*/ 282 w 283"/>
                <a:gd name="T27" fmla="*/ 47 h 241"/>
                <a:gd name="T28" fmla="*/ 282 w 283"/>
                <a:gd name="T29" fmla="*/ 69 h 241"/>
                <a:gd name="T30" fmla="*/ 34 w 283"/>
                <a:gd name="T31" fmla="*/ 49 h 241"/>
                <a:gd name="T32" fmla="*/ 21 w 283"/>
                <a:gd name="T33" fmla="*/ 59 h 241"/>
                <a:gd name="T34" fmla="*/ 11 w 283"/>
                <a:gd name="T35" fmla="*/ 238 h 241"/>
                <a:gd name="T36" fmla="*/ 265 w 283"/>
                <a:gd name="T37" fmla="*/ 241 h 241"/>
                <a:gd name="T38" fmla="*/ 274 w 283"/>
                <a:gd name="T39" fmla="*/ 230 h 241"/>
                <a:gd name="T40" fmla="*/ 274 w 283"/>
                <a:gd name="T41" fmla="*/ 230 h 241"/>
                <a:gd name="T42" fmla="*/ 274 w 283"/>
                <a:gd name="T43" fmla="*/ 230 h 241"/>
                <a:gd name="T44" fmla="*/ 282 w 283"/>
                <a:gd name="T45" fmla="*/ 79 h 241"/>
                <a:gd name="T46" fmla="*/ 277 w 283"/>
                <a:gd name="T47" fmla="*/ 68 h 241"/>
                <a:gd name="T48" fmla="*/ 29 w 283"/>
                <a:gd name="T49" fmla="*/ 47 h 241"/>
                <a:gd name="T50" fmla="*/ 28 w 283"/>
                <a:gd name="T51" fmla="*/ 47 h 241"/>
                <a:gd name="T52" fmla="*/ 19 w 283"/>
                <a:gd name="T53" fmla="*/ 58 h 241"/>
                <a:gd name="T54" fmla="*/ 9 w 283"/>
                <a:gd name="T55" fmla="*/ 241 h 241"/>
                <a:gd name="T56" fmla="*/ 265 w 283"/>
                <a:gd name="T57"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3" h="241">
                  <a:moveTo>
                    <a:pt x="11" y="238"/>
                  </a:moveTo>
                  <a:cubicBezTo>
                    <a:pt x="11" y="239"/>
                    <a:pt x="11" y="240"/>
                    <a:pt x="11" y="241"/>
                  </a:cubicBezTo>
                  <a:cubicBezTo>
                    <a:pt x="5" y="240"/>
                    <a:pt x="0" y="234"/>
                    <a:pt x="0" y="226"/>
                  </a:cubicBezTo>
                  <a:cubicBezTo>
                    <a:pt x="0" y="47"/>
                    <a:pt x="0" y="227"/>
                    <a:pt x="0" y="47"/>
                  </a:cubicBezTo>
                  <a:cubicBezTo>
                    <a:pt x="0" y="39"/>
                    <a:pt x="6" y="32"/>
                    <a:pt x="13" y="32"/>
                  </a:cubicBezTo>
                  <a:cubicBezTo>
                    <a:pt x="13" y="32"/>
                    <a:pt x="13" y="32"/>
                    <a:pt x="127" y="32"/>
                  </a:cubicBezTo>
                  <a:cubicBezTo>
                    <a:pt x="134" y="32"/>
                    <a:pt x="140" y="26"/>
                    <a:pt x="140" y="18"/>
                  </a:cubicBezTo>
                  <a:cubicBezTo>
                    <a:pt x="140" y="18"/>
                    <a:pt x="140" y="18"/>
                    <a:pt x="140" y="15"/>
                  </a:cubicBezTo>
                  <a:cubicBezTo>
                    <a:pt x="140" y="7"/>
                    <a:pt x="145" y="0"/>
                    <a:pt x="152" y="0"/>
                  </a:cubicBezTo>
                  <a:cubicBezTo>
                    <a:pt x="152" y="0"/>
                    <a:pt x="152" y="0"/>
                    <a:pt x="256" y="0"/>
                  </a:cubicBezTo>
                  <a:cubicBezTo>
                    <a:pt x="263" y="0"/>
                    <a:pt x="268" y="7"/>
                    <a:pt x="268" y="15"/>
                  </a:cubicBezTo>
                  <a:cubicBezTo>
                    <a:pt x="268" y="15"/>
                    <a:pt x="268" y="15"/>
                    <a:pt x="268" y="18"/>
                  </a:cubicBezTo>
                  <a:cubicBezTo>
                    <a:pt x="268" y="26"/>
                    <a:pt x="271" y="32"/>
                    <a:pt x="275" y="32"/>
                  </a:cubicBezTo>
                  <a:cubicBezTo>
                    <a:pt x="279" y="32"/>
                    <a:pt x="282" y="39"/>
                    <a:pt x="282" y="47"/>
                  </a:cubicBezTo>
                  <a:cubicBezTo>
                    <a:pt x="282" y="47"/>
                    <a:pt x="282" y="51"/>
                    <a:pt x="282" y="69"/>
                  </a:cubicBezTo>
                  <a:cubicBezTo>
                    <a:pt x="282" y="69"/>
                    <a:pt x="282" y="69"/>
                    <a:pt x="34" y="49"/>
                  </a:cubicBezTo>
                  <a:cubicBezTo>
                    <a:pt x="28" y="48"/>
                    <a:pt x="22" y="51"/>
                    <a:pt x="21" y="59"/>
                  </a:cubicBezTo>
                  <a:cubicBezTo>
                    <a:pt x="21" y="59"/>
                    <a:pt x="21" y="59"/>
                    <a:pt x="11" y="238"/>
                  </a:cubicBezTo>
                  <a:close/>
                  <a:moveTo>
                    <a:pt x="265" y="241"/>
                  </a:moveTo>
                  <a:cubicBezTo>
                    <a:pt x="270" y="241"/>
                    <a:pt x="274" y="236"/>
                    <a:pt x="274" y="230"/>
                  </a:cubicBezTo>
                  <a:cubicBezTo>
                    <a:pt x="274" y="230"/>
                    <a:pt x="274" y="230"/>
                    <a:pt x="274" y="230"/>
                  </a:cubicBezTo>
                  <a:cubicBezTo>
                    <a:pt x="274" y="230"/>
                    <a:pt x="274" y="230"/>
                    <a:pt x="274" y="230"/>
                  </a:cubicBezTo>
                  <a:cubicBezTo>
                    <a:pt x="274" y="230"/>
                    <a:pt x="274" y="230"/>
                    <a:pt x="282" y="79"/>
                  </a:cubicBezTo>
                  <a:cubicBezTo>
                    <a:pt x="283" y="74"/>
                    <a:pt x="280" y="70"/>
                    <a:pt x="277" y="68"/>
                  </a:cubicBezTo>
                  <a:cubicBezTo>
                    <a:pt x="277" y="68"/>
                    <a:pt x="277" y="68"/>
                    <a:pt x="29" y="47"/>
                  </a:cubicBezTo>
                  <a:cubicBezTo>
                    <a:pt x="29" y="47"/>
                    <a:pt x="28" y="47"/>
                    <a:pt x="28" y="47"/>
                  </a:cubicBezTo>
                  <a:cubicBezTo>
                    <a:pt x="24" y="47"/>
                    <a:pt x="19" y="52"/>
                    <a:pt x="19" y="58"/>
                  </a:cubicBezTo>
                  <a:cubicBezTo>
                    <a:pt x="19" y="58"/>
                    <a:pt x="19" y="58"/>
                    <a:pt x="9" y="241"/>
                  </a:cubicBezTo>
                  <a:cubicBezTo>
                    <a:pt x="9" y="241"/>
                    <a:pt x="9" y="241"/>
                    <a:pt x="265" y="241"/>
                  </a:cubicBezTo>
                  <a:close/>
                </a:path>
              </a:pathLst>
            </a:custGeom>
            <a:solidFill>
              <a:schemeClr val="accent3"/>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2" name="Group 21"/>
          <p:cNvGrpSpPr/>
          <p:nvPr/>
        </p:nvGrpSpPr>
        <p:grpSpPr>
          <a:xfrm>
            <a:off x="5758295" y="2383390"/>
            <a:ext cx="2488457" cy="1555619"/>
            <a:chOff x="5758295" y="2374923"/>
            <a:chExt cx="2488457" cy="1555619"/>
          </a:xfrm>
        </p:grpSpPr>
        <p:grpSp>
          <p:nvGrpSpPr>
            <p:cNvPr id="10" name="Group 9"/>
            <p:cNvGrpSpPr/>
            <p:nvPr/>
          </p:nvGrpSpPr>
          <p:grpSpPr>
            <a:xfrm>
              <a:off x="5761038" y="3172720"/>
              <a:ext cx="1217566" cy="744740"/>
              <a:chOff x="5689600" y="3462867"/>
              <a:chExt cx="1356520" cy="829733"/>
            </a:xfrm>
          </p:grpSpPr>
          <p:sp>
            <p:nvSpPr>
              <p:cNvPr id="8" name="Freeform 6"/>
              <p:cNvSpPr>
                <a:spLocks noEditPoints="1"/>
              </p:cNvSpPr>
              <p:nvPr/>
            </p:nvSpPr>
            <p:spPr bwMode="auto">
              <a:xfrm>
                <a:off x="5777972" y="3545090"/>
                <a:ext cx="1192530" cy="662517"/>
              </a:xfrm>
              <a:custGeom>
                <a:avLst/>
                <a:gdLst>
                  <a:gd name="T0" fmla="*/ 2214 w 3169"/>
                  <a:gd name="T1" fmla="*/ 1274 h 1760"/>
                  <a:gd name="T2" fmla="*/ 290 w 3169"/>
                  <a:gd name="T3" fmla="*/ 1050 h 1760"/>
                  <a:gd name="T4" fmla="*/ 2982 w 3169"/>
                  <a:gd name="T5" fmla="*/ 1601 h 1760"/>
                  <a:gd name="T6" fmla="*/ 180 w 3169"/>
                  <a:gd name="T7" fmla="*/ 945 h 1760"/>
                  <a:gd name="T8" fmla="*/ 61 w 3169"/>
                  <a:gd name="T9" fmla="*/ 1012 h 1760"/>
                  <a:gd name="T10" fmla="*/ 55 w 3169"/>
                  <a:gd name="T11" fmla="*/ 1589 h 1760"/>
                  <a:gd name="T12" fmla="*/ 149 w 3169"/>
                  <a:gd name="T13" fmla="*/ 1689 h 1760"/>
                  <a:gd name="T14" fmla="*/ 340 w 3169"/>
                  <a:gd name="T15" fmla="*/ 1712 h 1760"/>
                  <a:gd name="T16" fmla="*/ 2933 w 3169"/>
                  <a:gd name="T17" fmla="*/ 1708 h 1760"/>
                  <a:gd name="T18" fmla="*/ 3079 w 3169"/>
                  <a:gd name="T19" fmla="*/ 1653 h 1760"/>
                  <a:gd name="T20" fmla="*/ 3120 w 3169"/>
                  <a:gd name="T21" fmla="*/ 1093 h 1760"/>
                  <a:gd name="T22" fmla="*/ 3063 w 3169"/>
                  <a:gd name="T23" fmla="*/ 966 h 1760"/>
                  <a:gd name="T24" fmla="*/ 2879 w 3169"/>
                  <a:gd name="T25" fmla="*/ 938 h 1760"/>
                  <a:gd name="T26" fmla="*/ 288 w 3169"/>
                  <a:gd name="T27" fmla="*/ 891 h 1760"/>
                  <a:gd name="T28" fmla="*/ 2901 w 3169"/>
                  <a:gd name="T29" fmla="*/ 891 h 1760"/>
                  <a:gd name="T30" fmla="*/ 3038 w 3169"/>
                  <a:gd name="T31" fmla="*/ 905 h 1760"/>
                  <a:gd name="T32" fmla="*/ 3144 w 3169"/>
                  <a:gd name="T33" fmla="*/ 981 h 1760"/>
                  <a:gd name="T34" fmla="*/ 3166 w 3169"/>
                  <a:gd name="T35" fmla="*/ 1566 h 1760"/>
                  <a:gd name="T36" fmla="*/ 3088 w 3169"/>
                  <a:gd name="T37" fmla="*/ 1708 h 1760"/>
                  <a:gd name="T38" fmla="*/ 2934 w 3169"/>
                  <a:gd name="T39" fmla="*/ 1756 h 1760"/>
                  <a:gd name="T40" fmla="*/ 379 w 3169"/>
                  <a:gd name="T41" fmla="*/ 1760 h 1760"/>
                  <a:gd name="T42" fmla="*/ 205 w 3169"/>
                  <a:gd name="T43" fmla="*/ 1752 h 1760"/>
                  <a:gd name="T44" fmla="*/ 60 w 3169"/>
                  <a:gd name="T45" fmla="*/ 1693 h 1760"/>
                  <a:gd name="T46" fmla="*/ 0 w 3169"/>
                  <a:gd name="T47" fmla="*/ 1529 h 1760"/>
                  <a:gd name="T48" fmla="*/ 37 w 3169"/>
                  <a:gd name="T49" fmla="*/ 962 h 1760"/>
                  <a:gd name="T50" fmla="*/ 152 w 3169"/>
                  <a:gd name="T51" fmla="*/ 900 h 1760"/>
                  <a:gd name="T52" fmla="*/ 288 w 3169"/>
                  <a:gd name="T53" fmla="*/ 891 h 1760"/>
                  <a:gd name="T54" fmla="*/ 2165 w 3169"/>
                  <a:gd name="T55" fmla="*/ 303 h 1760"/>
                  <a:gd name="T56" fmla="*/ 289 w 3169"/>
                  <a:gd name="T57" fmla="*/ 149 h 1760"/>
                  <a:gd name="T58" fmla="*/ 2980 w 3169"/>
                  <a:gd name="T59" fmla="*/ 700 h 1760"/>
                  <a:gd name="T60" fmla="*/ 180 w 3169"/>
                  <a:gd name="T61" fmla="*/ 54 h 1760"/>
                  <a:gd name="T62" fmla="*/ 61 w 3169"/>
                  <a:gd name="T63" fmla="*/ 123 h 1760"/>
                  <a:gd name="T64" fmla="*/ 55 w 3169"/>
                  <a:gd name="T65" fmla="*/ 699 h 1760"/>
                  <a:gd name="T66" fmla="*/ 149 w 3169"/>
                  <a:gd name="T67" fmla="*/ 799 h 1760"/>
                  <a:gd name="T68" fmla="*/ 340 w 3169"/>
                  <a:gd name="T69" fmla="*/ 822 h 1760"/>
                  <a:gd name="T70" fmla="*/ 2933 w 3169"/>
                  <a:gd name="T71" fmla="*/ 817 h 1760"/>
                  <a:gd name="T72" fmla="*/ 3079 w 3169"/>
                  <a:gd name="T73" fmla="*/ 762 h 1760"/>
                  <a:gd name="T74" fmla="*/ 3120 w 3169"/>
                  <a:gd name="T75" fmla="*/ 202 h 1760"/>
                  <a:gd name="T76" fmla="*/ 3063 w 3169"/>
                  <a:gd name="T77" fmla="*/ 76 h 1760"/>
                  <a:gd name="T78" fmla="*/ 2879 w 3169"/>
                  <a:gd name="T79" fmla="*/ 49 h 1760"/>
                  <a:gd name="T80" fmla="*/ 288 w 3169"/>
                  <a:gd name="T81" fmla="*/ 0 h 1760"/>
                  <a:gd name="T82" fmla="*/ 2901 w 3169"/>
                  <a:gd name="T83" fmla="*/ 0 h 1760"/>
                  <a:gd name="T84" fmla="*/ 3038 w 3169"/>
                  <a:gd name="T85" fmla="*/ 14 h 1760"/>
                  <a:gd name="T86" fmla="*/ 3144 w 3169"/>
                  <a:gd name="T87" fmla="*/ 91 h 1760"/>
                  <a:gd name="T88" fmla="*/ 3166 w 3169"/>
                  <a:gd name="T89" fmla="*/ 675 h 1760"/>
                  <a:gd name="T90" fmla="*/ 3088 w 3169"/>
                  <a:gd name="T91" fmla="*/ 817 h 1760"/>
                  <a:gd name="T92" fmla="*/ 2934 w 3169"/>
                  <a:gd name="T93" fmla="*/ 865 h 1760"/>
                  <a:gd name="T94" fmla="*/ 379 w 3169"/>
                  <a:gd name="T95" fmla="*/ 870 h 1760"/>
                  <a:gd name="T96" fmla="*/ 205 w 3169"/>
                  <a:gd name="T97" fmla="*/ 861 h 1760"/>
                  <a:gd name="T98" fmla="*/ 60 w 3169"/>
                  <a:gd name="T99" fmla="*/ 802 h 1760"/>
                  <a:gd name="T100" fmla="*/ 0 w 3169"/>
                  <a:gd name="T101" fmla="*/ 639 h 1760"/>
                  <a:gd name="T102" fmla="*/ 37 w 3169"/>
                  <a:gd name="T103" fmla="*/ 71 h 1760"/>
                  <a:gd name="T104" fmla="*/ 152 w 3169"/>
                  <a:gd name="T105" fmla="*/ 9 h 1760"/>
                  <a:gd name="T106" fmla="*/ 288 w 3169"/>
                  <a:gd name="T10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69" h="1760">
                    <a:moveTo>
                      <a:pt x="2214" y="1484"/>
                    </a:moveTo>
                    <a:lnTo>
                      <a:pt x="2795" y="1484"/>
                    </a:lnTo>
                    <a:lnTo>
                      <a:pt x="2795" y="1569"/>
                    </a:lnTo>
                    <a:lnTo>
                      <a:pt x="2214" y="1569"/>
                    </a:lnTo>
                    <a:lnTo>
                      <a:pt x="2214" y="1484"/>
                    </a:lnTo>
                    <a:close/>
                    <a:moveTo>
                      <a:pt x="2214" y="1274"/>
                    </a:moveTo>
                    <a:lnTo>
                      <a:pt x="2795" y="1274"/>
                    </a:lnTo>
                    <a:lnTo>
                      <a:pt x="2795" y="1366"/>
                    </a:lnTo>
                    <a:lnTo>
                      <a:pt x="2214" y="1366"/>
                    </a:lnTo>
                    <a:lnTo>
                      <a:pt x="2214" y="1274"/>
                    </a:lnTo>
                    <a:close/>
                    <a:moveTo>
                      <a:pt x="198" y="1050"/>
                    </a:moveTo>
                    <a:lnTo>
                      <a:pt x="290" y="1050"/>
                    </a:lnTo>
                    <a:lnTo>
                      <a:pt x="290" y="1631"/>
                    </a:lnTo>
                    <a:lnTo>
                      <a:pt x="198" y="1631"/>
                    </a:lnTo>
                    <a:lnTo>
                      <a:pt x="198" y="1050"/>
                    </a:lnTo>
                    <a:close/>
                    <a:moveTo>
                      <a:pt x="2889" y="1020"/>
                    </a:moveTo>
                    <a:lnTo>
                      <a:pt x="2982" y="1020"/>
                    </a:lnTo>
                    <a:lnTo>
                      <a:pt x="2982" y="1601"/>
                    </a:lnTo>
                    <a:lnTo>
                      <a:pt x="2889" y="1601"/>
                    </a:lnTo>
                    <a:lnTo>
                      <a:pt x="2889" y="1020"/>
                    </a:lnTo>
                    <a:close/>
                    <a:moveTo>
                      <a:pt x="288" y="938"/>
                    </a:moveTo>
                    <a:lnTo>
                      <a:pt x="248" y="939"/>
                    </a:lnTo>
                    <a:lnTo>
                      <a:pt x="212" y="942"/>
                    </a:lnTo>
                    <a:lnTo>
                      <a:pt x="180" y="945"/>
                    </a:lnTo>
                    <a:lnTo>
                      <a:pt x="150" y="949"/>
                    </a:lnTo>
                    <a:lnTo>
                      <a:pt x="126" y="957"/>
                    </a:lnTo>
                    <a:lnTo>
                      <a:pt x="104" y="966"/>
                    </a:lnTo>
                    <a:lnTo>
                      <a:pt x="86" y="978"/>
                    </a:lnTo>
                    <a:lnTo>
                      <a:pt x="72" y="994"/>
                    </a:lnTo>
                    <a:lnTo>
                      <a:pt x="61" y="1012"/>
                    </a:lnTo>
                    <a:lnTo>
                      <a:pt x="54" y="1035"/>
                    </a:lnTo>
                    <a:lnTo>
                      <a:pt x="49" y="1062"/>
                    </a:lnTo>
                    <a:lnTo>
                      <a:pt x="47" y="1093"/>
                    </a:lnTo>
                    <a:lnTo>
                      <a:pt x="47" y="1529"/>
                    </a:lnTo>
                    <a:lnTo>
                      <a:pt x="49" y="1561"/>
                    </a:lnTo>
                    <a:lnTo>
                      <a:pt x="55" y="1589"/>
                    </a:lnTo>
                    <a:lnTo>
                      <a:pt x="62" y="1614"/>
                    </a:lnTo>
                    <a:lnTo>
                      <a:pt x="74" y="1634"/>
                    </a:lnTo>
                    <a:lnTo>
                      <a:pt x="89" y="1653"/>
                    </a:lnTo>
                    <a:lnTo>
                      <a:pt x="106" y="1668"/>
                    </a:lnTo>
                    <a:lnTo>
                      <a:pt x="127" y="1680"/>
                    </a:lnTo>
                    <a:lnTo>
                      <a:pt x="149" y="1689"/>
                    </a:lnTo>
                    <a:lnTo>
                      <a:pt x="175" y="1697"/>
                    </a:lnTo>
                    <a:lnTo>
                      <a:pt x="204" y="1703"/>
                    </a:lnTo>
                    <a:lnTo>
                      <a:pt x="234" y="1708"/>
                    </a:lnTo>
                    <a:lnTo>
                      <a:pt x="268" y="1710"/>
                    </a:lnTo>
                    <a:lnTo>
                      <a:pt x="302" y="1712"/>
                    </a:lnTo>
                    <a:lnTo>
                      <a:pt x="340" y="1712"/>
                    </a:lnTo>
                    <a:lnTo>
                      <a:pt x="379" y="1713"/>
                    </a:lnTo>
                    <a:lnTo>
                      <a:pt x="2789" y="1713"/>
                    </a:lnTo>
                    <a:lnTo>
                      <a:pt x="2827" y="1712"/>
                    </a:lnTo>
                    <a:lnTo>
                      <a:pt x="2865" y="1712"/>
                    </a:lnTo>
                    <a:lnTo>
                      <a:pt x="2901" y="1710"/>
                    </a:lnTo>
                    <a:lnTo>
                      <a:pt x="2933" y="1708"/>
                    </a:lnTo>
                    <a:lnTo>
                      <a:pt x="2964" y="1703"/>
                    </a:lnTo>
                    <a:lnTo>
                      <a:pt x="2992" y="1697"/>
                    </a:lnTo>
                    <a:lnTo>
                      <a:pt x="3018" y="1689"/>
                    </a:lnTo>
                    <a:lnTo>
                      <a:pt x="3040" y="1680"/>
                    </a:lnTo>
                    <a:lnTo>
                      <a:pt x="3061" y="1668"/>
                    </a:lnTo>
                    <a:lnTo>
                      <a:pt x="3079" y="1653"/>
                    </a:lnTo>
                    <a:lnTo>
                      <a:pt x="3093" y="1634"/>
                    </a:lnTo>
                    <a:lnTo>
                      <a:pt x="3105" y="1614"/>
                    </a:lnTo>
                    <a:lnTo>
                      <a:pt x="3114" y="1589"/>
                    </a:lnTo>
                    <a:lnTo>
                      <a:pt x="3119" y="1561"/>
                    </a:lnTo>
                    <a:lnTo>
                      <a:pt x="3120" y="1529"/>
                    </a:lnTo>
                    <a:lnTo>
                      <a:pt x="3120" y="1093"/>
                    </a:lnTo>
                    <a:lnTo>
                      <a:pt x="3119" y="1062"/>
                    </a:lnTo>
                    <a:lnTo>
                      <a:pt x="3115" y="1035"/>
                    </a:lnTo>
                    <a:lnTo>
                      <a:pt x="3106" y="1012"/>
                    </a:lnTo>
                    <a:lnTo>
                      <a:pt x="3095" y="994"/>
                    </a:lnTo>
                    <a:lnTo>
                      <a:pt x="3081" y="978"/>
                    </a:lnTo>
                    <a:lnTo>
                      <a:pt x="3063" y="966"/>
                    </a:lnTo>
                    <a:lnTo>
                      <a:pt x="3043" y="957"/>
                    </a:lnTo>
                    <a:lnTo>
                      <a:pt x="3017" y="949"/>
                    </a:lnTo>
                    <a:lnTo>
                      <a:pt x="2989" y="945"/>
                    </a:lnTo>
                    <a:lnTo>
                      <a:pt x="2957" y="942"/>
                    </a:lnTo>
                    <a:lnTo>
                      <a:pt x="2920" y="939"/>
                    </a:lnTo>
                    <a:lnTo>
                      <a:pt x="2879" y="938"/>
                    </a:lnTo>
                    <a:lnTo>
                      <a:pt x="2836" y="939"/>
                    </a:lnTo>
                    <a:lnTo>
                      <a:pt x="2789" y="939"/>
                    </a:lnTo>
                    <a:lnTo>
                      <a:pt x="379" y="939"/>
                    </a:lnTo>
                    <a:lnTo>
                      <a:pt x="331" y="939"/>
                    </a:lnTo>
                    <a:lnTo>
                      <a:pt x="288" y="938"/>
                    </a:lnTo>
                    <a:close/>
                    <a:moveTo>
                      <a:pt x="288" y="891"/>
                    </a:moveTo>
                    <a:lnTo>
                      <a:pt x="332" y="891"/>
                    </a:lnTo>
                    <a:lnTo>
                      <a:pt x="379" y="891"/>
                    </a:lnTo>
                    <a:lnTo>
                      <a:pt x="2789" y="891"/>
                    </a:lnTo>
                    <a:lnTo>
                      <a:pt x="2836" y="891"/>
                    </a:lnTo>
                    <a:lnTo>
                      <a:pt x="2879" y="891"/>
                    </a:lnTo>
                    <a:lnTo>
                      <a:pt x="2901" y="891"/>
                    </a:lnTo>
                    <a:lnTo>
                      <a:pt x="2923" y="891"/>
                    </a:lnTo>
                    <a:lnTo>
                      <a:pt x="2947" y="892"/>
                    </a:lnTo>
                    <a:lnTo>
                      <a:pt x="2969" y="893"/>
                    </a:lnTo>
                    <a:lnTo>
                      <a:pt x="2993" y="896"/>
                    </a:lnTo>
                    <a:lnTo>
                      <a:pt x="3016" y="900"/>
                    </a:lnTo>
                    <a:lnTo>
                      <a:pt x="3038" y="905"/>
                    </a:lnTo>
                    <a:lnTo>
                      <a:pt x="3059" y="911"/>
                    </a:lnTo>
                    <a:lnTo>
                      <a:pt x="3079" y="921"/>
                    </a:lnTo>
                    <a:lnTo>
                      <a:pt x="3099" y="932"/>
                    </a:lnTo>
                    <a:lnTo>
                      <a:pt x="3115" y="946"/>
                    </a:lnTo>
                    <a:lnTo>
                      <a:pt x="3131" y="962"/>
                    </a:lnTo>
                    <a:lnTo>
                      <a:pt x="3144" y="981"/>
                    </a:lnTo>
                    <a:lnTo>
                      <a:pt x="3154" y="1004"/>
                    </a:lnTo>
                    <a:lnTo>
                      <a:pt x="3162" y="1030"/>
                    </a:lnTo>
                    <a:lnTo>
                      <a:pt x="3166" y="1060"/>
                    </a:lnTo>
                    <a:lnTo>
                      <a:pt x="3169" y="1093"/>
                    </a:lnTo>
                    <a:lnTo>
                      <a:pt x="3169" y="1529"/>
                    </a:lnTo>
                    <a:lnTo>
                      <a:pt x="3166" y="1566"/>
                    </a:lnTo>
                    <a:lnTo>
                      <a:pt x="3161" y="1598"/>
                    </a:lnTo>
                    <a:lnTo>
                      <a:pt x="3152" y="1627"/>
                    </a:lnTo>
                    <a:lnTo>
                      <a:pt x="3140" y="1652"/>
                    </a:lnTo>
                    <a:lnTo>
                      <a:pt x="3126" y="1673"/>
                    </a:lnTo>
                    <a:lnTo>
                      <a:pt x="3107" y="1693"/>
                    </a:lnTo>
                    <a:lnTo>
                      <a:pt x="3088" y="1708"/>
                    </a:lnTo>
                    <a:lnTo>
                      <a:pt x="3065" y="1720"/>
                    </a:lnTo>
                    <a:lnTo>
                      <a:pt x="3042" y="1731"/>
                    </a:lnTo>
                    <a:lnTo>
                      <a:pt x="3017" y="1740"/>
                    </a:lnTo>
                    <a:lnTo>
                      <a:pt x="2990" y="1747"/>
                    </a:lnTo>
                    <a:lnTo>
                      <a:pt x="2962" y="1752"/>
                    </a:lnTo>
                    <a:lnTo>
                      <a:pt x="2934" y="1756"/>
                    </a:lnTo>
                    <a:lnTo>
                      <a:pt x="2905" y="1758"/>
                    </a:lnTo>
                    <a:lnTo>
                      <a:pt x="2876" y="1759"/>
                    </a:lnTo>
                    <a:lnTo>
                      <a:pt x="2847" y="1760"/>
                    </a:lnTo>
                    <a:lnTo>
                      <a:pt x="2818" y="1760"/>
                    </a:lnTo>
                    <a:lnTo>
                      <a:pt x="2789" y="1760"/>
                    </a:lnTo>
                    <a:lnTo>
                      <a:pt x="379" y="1760"/>
                    </a:lnTo>
                    <a:lnTo>
                      <a:pt x="351" y="1760"/>
                    </a:lnTo>
                    <a:lnTo>
                      <a:pt x="322" y="1760"/>
                    </a:lnTo>
                    <a:lnTo>
                      <a:pt x="293" y="1759"/>
                    </a:lnTo>
                    <a:lnTo>
                      <a:pt x="262" y="1758"/>
                    </a:lnTo>
                    <a:lnTo>
                      <a:pt x="233" y="1756"/>
                    </a:lnTo>
                    <a:lnTo>
                      <a:pt x="205" y="1752"/>
                    </a:lnTo>
                    <a:lnTo>
                      <a:pt x="177" y="1747"/>
                    </a:lnTo>
                    <a:lnTo>
                      <a:pt x="152" y="1740"/>
                    </a:lnTo>
                    <a:lnTo>
                      <a:pt x="126" y="1731"/>
                    </a:lnTo>
                    <a:lnTo>
                      <a:pt x="102" y="1720"/>
                    </a:lnTo>
                    <a:lnTo>
                      <a:pt x="80" y="1708"/>
                    </a:lnTo>
                    <a:lnTo>
                      <a:pt x="60" y="1693"/>
                    </a:lnTo>
                    <a:lnTo>
                      <a:pt x="43" y="1673"/>
                    </a:lnTo>
                    <a:lnTo>
                      <a:pt x="28" y="1652"/>
                    </a:lnTo>
                    <a:lnTo>
                      <a:pt x="16" y="1627"/>
                    </a:lnTo>
                    <a:lnTo>
                      <a:pt x="6" y="1598"/>
                    </a:lnTo>
                    <a:lnTo>
                      <a:pt x="1" y="1566"/>
                    </a:lnTo>
                    <a:lnTo>
                      <a:pt x="0" y="1529"/>
                    </a:lnTo>
                    <a:lnTo>
                      <a:pt x="0" y="1093"/>
                    </a:lnTo>
                    <a:lnTo>
                      <a:pt x="1" y="1060"/>
                    </a:lnTo>
                    <a:lnTo>
                      <a:pt x="6" y="1030"/>
                    </a:lnTo>
                    <a:lnTo>
                      <a:pt x="14" y="1004"/>
                    </a:lnTo>
                    <a:lnTo>
                      <a:pt x="25" y="981"/>
                    </a:lnTo>
                    <a:lnTo>
                      <a:pt x="37" y="962"/>
                    </a:lnTo>
                    <a:lnTo>
                      <a:pt x="53" y="946"/>
                    </a:lnTo>
                    <a:lnTo>
                      <a:pt x="70" y="932"/>
                    </a:lnTo>
                    <a:lnTo>
                      <a:pt x="88" y="921"/>
                    </a:lnTo>
                    <a:lnTo>
                      <a:pt x="108" y="911"/>
                    </a:lnTo>
                    <a:lnTo>
                      <a:pt x="130" y="905"/>
                    </a:lnTo>
                    <a:lnTo>
                      <a:pt x="152" y="900"/>
                    </a:lnTo>
                    <a:lnTo>
                      <a:pt x="174" y="896"/>
                    </a:lnTo>
                    <a:lnTo>
                      <a:pt x="198" y="893"/>
                    </a:lnTo>
                    <a:lnTo>
                      <a:pt x="220" y="892"/>
                    </a:lnTo>
                    <a:lnTo>
                      <a:pt x="244" y="891"/>
                    </a:lnTo>
                    <a:lnTo>
                      <a:pt x="267" y="891"/>
                    </a:lnTo>
                    <a:lnTo>
                      <a:pt x="288" y="891"/>
                    </a:lnTo>
                    <a:close/>
                    <a:moveTo>
                      <a:pt x="2165" y="515"/>
                    </a:moveTo>
                    <a:lnTo>
                      <a:pt x="2748" y="515"/>
                    </a:lnTo>
                    <a:lnTo>
                      <a:pt x="2748" y="600"/>
                    </a:lnTo>
                    <a:lnTo>
                      <a:pt x="2165" y="600"/>
                    </a:lnTo>
                    <a:lnTo>
                      <a:pt x="2165" y="515"/>
                    </a:lnTo>
                    <a:close/>
                    <a:moveTo>
                      <a:pt x="2165" y="303"/>
                    </a:moveTo>
                    <a:lnTo>
                      <a:pt x="2748" y="303"/>
                    </a:lnTo>
                    <a:lnTo>
                      <a:pt x="2748" y="397"/>
                    </a:lnTo>
                    <a:lnTo>
                      <a:pt x="2165" y="397"/>
                    </a:lnTo>
                    <a:lnTo>
                      <a:pt x="2165" y="303"/>
                    </a:lnTo>
                    <a:close/>
                    <a:moveTo>
                      <a:pt x="197" y="149"/>
                    </a:moveTo>
                    <a:lnTo>
                      <a:pt x="289" y="149"/>
                    </a:lnTo>
                    <a:lnTo>
                      <a:pt x="289" y="730"/>
                    </a:lnTo>
                    <a:lnTo>
                      <a:pt x="197" y="730"/>
                    </a:lnTo>
                    <a:lnTo>
                      <a:pt x="197" y="149"/>
                    </a:lnTo>
                    <a:close/>
                    <a:moveTo>
                      <a:pt x="2888" y="119"/>
                    </a:moveTo>
                    <a:lnTo>
                      <a:pt x="2980" y="119"/>
                    </a:lnTo>
                    <a:lnTo>
                      <a:pt x="2980" y="700"/>
                    </a:lnTo>
                    <a:lnTo>
                      <a:pt x="2888" y="700"/>
                    </a:lnTo>
                    <a:lnTo>
                      <a:pt x="2888" y="119"/>
                    </a:lnTo>
                    <a:close/>
                    <a:moveTo>
                      <a:pt x="288" y="49"/>
                    </a:moveTo>
                    <a:lnTo>
                      <a:pt x="248" y="49"/>
                    </a:lnTo>
                    <a:lnTo>
                      <a:pt x="212" y="51"/>
                    </a:lnTo>
                    <a:lnTo>
                      <a:pt x="180" y="54"/>
                    </a:lnTo>
                    <a:lnTo>
                      <a:pt x="150" y="58"/>
                    </a:lnTo>
                    <a:lnTo>
                      <a:pt x="126" y="66"/>
                    </a:lnTo>
                    <a:lnTo>
                      <a:pt x="104" y="76"/>
                    </a:lnTo>
                    <a:lnTo>
                      <a:pt x="86" y="89"/>
                    </a:lnTo>
                    <a:lnTo>
                      <a:pt x="72" y="104"/>
                    </a:lnTo>
                    <a:lnTo>
                      <a:pt x="61" y="123"/>
                    </a:lnTo>
                    <a:lnTo>
                      <a:pt x="54" y="145"/>
                    </a:lnTo>
                    <a:lnTo>
                      <a:pt x="49" y="171"/>
                    </a:lnTo>
                    <a:lnTo>
                      <a:pt x="47" y="202"/>
                    </a:lnTo>
                    <a:lnTo>
                      <a:pt x="47" y="639"/>
                    </a:lnTo>
                    <a:lnTo>
                      <a:pt x="49" y="671"/>
                    </a:lnTo>
                    <a:lnTo>
                      <a:pt x="55" y="699"/>
                    </a:lnTo>
                    <a:lnTo>
                      <a:pt x="62" y="723"/>
                    </a:lnTo>
                    <a:lnTo>
                      <a:pt x="74" y="745"/>
                    </a:lnTo>
                    <a:lnTo>
                      <a:pt x="89" y="762"/>
                    </a:lnTo>
                    <a:lnTo>
                      <a:pt x="106" y="777"/>
                    </a:lnTo>
                    <a:lnTo>
                      <a:pt x="127" y="789"/>
                    </a:lnTo>
                    <a:lnTo>
                      <a:pt x="149" y="799"/>
                    </a:lnTo>
                    <a:lnTo>
                      <a:pt x="175" y="807"/>
                    </a:lnTo>
                    <a:lnTo>
                      <a:pt x="204" y="813"/>
                    </a:lnTo>
                    <a:lnTo>
                      <a:pt x="234" y="817"/>
                    </a:lnTo>
                    <a:lnTo>
                      <a:pt x="268" y="819"/>
                    </a:lnTo>
                    <a:lnTo>
                      <a:pt x="302" y="821"/>
                    </a:lnTo>
                    <a:lnTo>
                      <a:pt x="340" y="822"/>
                    </a:lnTo>
                    <a:lnTo>
                      <a:pt x="379" y="822"/>
                    </a:lnTo>
                    <a:lnTo>
                      <a:pt x="2789" y="822"/>
                    </a:lnTo>
                    <a:lnTo>
                      <a:pt x="2827" y="822"/>
                    </a:lnTo>
                    <a:lnTo>
                      <a:pt x="2865" y="821"/>
                    </a:lnTo>
                    <a:lnTo>
                      <a:pt x="2901" y="819"/>
                    </a:lnTo>
                    <a:lnTo>
                      <a:pt x="2933" y="817"/>
                    </a:lnTo>
                    <a:lnTo>
                      <a:pt x="2964" y="813"/>
                    </a:lnTo>
                    <a:lnTo>
                      <a:pt x="2992" y="807"/>
                    </a:lnTo>
                    <a:lnTo>
                      <a:pt x="3018" y="799"/>
                    </a:lnTo>
                    <a:lnTo>
                      <a:pt x="3040" y="789"/>
                    </a:lnTo>
                    <a:lnTo>
                      <a:pt x="3061" y="777"/>
                    </a:lnTo>
                    <a:lnTo>
                      <a:pt x="3079" y="762"/>
                    </a:lnTo>
                    <a:lnTo>
                      <a:pt x="3093" y="745"/>
                    </a:lnTo>
                    <a:lnTo>
                      <a:pt x="3105" y="723"/>
                    </a:lnTo>
                    <a:lnTo>
                      <a:pt x="3114" y="699"/>
                    </a:lnTo>
                    <a:lnTo>
                      <a:pt x="3119" y="671"/>
                    </a:lnTo>
                    <a:lnTo>
                      <a:pt x="3120" y="639"/>
                    </a:lnTo>
                    <a:lnTo>
                      <a:pt x="3120" y="202"/>
                    </a:lnTo>
                    <a:lnTo>
                      <a:pt x="3119" y="171"/>
                    </a:lnTo>
                    <a:lnTo>
                      <a:pt x="3115" y="145"/>
                    </a:lnTo>
                    <a:lnTo>
                      <a:pt x="3106" y="123"/>
                    </a:lnTo>
                    <a:lnTo>
                      <a:pt x="3095" y="104"/>
                    </a:lnTo>
                    <a:lnTo>
                      <a:pt x="3081" y="89"/>
                    </a:lnTo>
                    <a:lnTo>
                      <a:pt x="3063" y="76"/>
                    </a:lnTo>
                    <a:lnTo>
                      <a:pt x="3043" y="66"/>
                    </a:lnTo>
                    <a:lnTo>
                      <a:pt x="3017" y="58"/>
                    </a:lnTo>
                    <a:lnTo>
                      <a:pt x="2989" y="54"/>
                    </a:lnTo>
                    <a:lnTo>
                      <a:pt x="2957" y="51"/>
                    </a:lnTo>
                    <a:lnTo>
                      <a:pt x="2920" y="49"/>
                    </a:lnTo>
                    <a:lnTo>
                      <a:pt x="2879" y="49"/>
                    </a:lnTo>
                    <a:lnTo>
                      <a:pt x="2836" y="49"/>
                    </a:lnTo>
                    <a:lnTo>
                      <a:pt x="2789" y="49"/>
                    </a:lnTo>
                    <a:lnTo>
                      <a:pt x="379" y="49"/>
                    </a:lnTo>
                    <a:lnTo>
                      <a:pt x="331" y="49"/>
                    </a:lnTo>
                    <a:lnTo>
                      <a:pt x="288" y="49"/>
                    </a:lnTo>
                    <a:close/>
                    <a:moveTo>
                      <a:pt x="288" y="0"/>
                    </a:moveTo>
                    <a:lnTo>
                      <a:pt x="332" y="0"/>
                    </a:lnTo>
                    <a:lnTo>
                      <a:pt x="379" y="2"/>
                    </a:lnTo>
                    <a:lnTo>
                      <a:pt x="2789" y="2"/>
                    </a:lnTo>
                    <a:lnTo>
                      <a:pt x="2836" y="0"/>
                    </a:lnTo>
                    <a:lnTo>
                      <a:pt x="2879" y="0"/>
                    </a:lnTo>
                    <a:lnTo>
                      <a:pt x="2901" y="0"/>
                    </a:lnTo>
                    <a:lnTo>
                      <a:pt x="2924" y="0"/>
                    </a:lnTo>
                    <a:lnTo>
                      <a:pt x="2947" y="2"/>
                    </a:lnTo>
                    <a:lnTo>
                      <a:pt x="2971" y="4"/>
                    </a:lnTo>
                    <a:lnTo>
                      <a:pt x="2993" y="6"/>
                    </a:lnTo>
                    <a:lnTo>
                      <a:pt x="3016" y="9"/>
                    </a:lnTo>
                    <a:lnTo>
                      <a:pt x="3038" y="14"/>
                    </a:lnTo>
                    <a:lnTo>
                      <a:pt x="3059" y="22"/>
                    </a:lnTo>
                    <a:lnTo>
                      <a:pt x="3079" y="31"/>
                    </a:lnTo>
                    <a:lnTo>
                      <a:pt x="3099" y="41"/>
                    </a:lnTo>
                    <a:lnTo>
                      <a:pt x="3115" y="55"/>
                    </a:lnTo>
                    <a:lnTo>
                      <a:pt x="3131" y="71"/>
                    </a:lnTo>
                    <a:lnTo>
                      <a:pt x="3144" y="91"/>
                    </a:lnTo>
                    <a:lnTo>
                      <a:pt x="3154" y="113"/>
                    </a:lnTo>
                    <a:lnTo>
                      <a:pt x="3162" y="139"/>
                    </a:lnTo>
                    <a:lnTo>
                      <a:pt x="3166" y="169"/>
                    </a:lnTo>
                    <a:lnTo>
                      <a:pt x="3169" y="202"/>
                    </a:lnTo>
                    <a:lnTo>
                      <a:pt x="3169" y="639"/>
                    </a:lnTo>
                    <a:lnTo>
                      <a:pt x="3166" y="675"/>
                    </a:lnTo>
                    <a:lnTo>
                      <a:pt x="3161" y="707"/>
                    </a:lnTo>
                    <a:lnTo>
                      <a:pt x="3152" y="736"/>
                    </a:lnTo>
                    <a:lnTo>
                      <a:pt x="3140" y="761"/>
                    </a:lnTo>
                    <a:lnTo>
                      <a:pt x="3126" y="783"/>
                    </a:lnTo>
                    <a:lnTo>
                      <a:pt x="3107" y="802"/>
                    </a:lnTo>
                    <a:lnTo>
                      <a:pt x="3088" y="817"/>
                    </a:lnTo>
                    <a:lnTo>
                      <a:pt x="3065" y="831"/>
                    </a:lnTo>
                    <a:lnTo>
                      <a:pt x="3042" y="842"/>
                    </a:lnTo>
                    <a:lnTo>
                      <a:pt x="3017" y="850"/>
                    </a:lnTo>
                    <a:lnTo>
                      <a:pt x="2990" y="857"/>
                    </a:lnTo>
                    <a:lnTo>
                      <a:pt x="2962" y="861"/>
                    </a:lnTo>
                    <a:lnTo>
                      <a:pt x="2934" y="865"/>
                    </a:lnTo>
                    <a:lnTo>
                      <a:pt x="2905" y="867"/>
                    </a:lnTo>
                    <a:lnTo>
                      <a:pt x="2876" y="868"/>
                    </a:lnTo>
                    <a:lnTo>
                      <a:pt x="2847" y="870"/>
                    </a:lnTo>
                    <a:lnTo>
                      <a:pt x="2818" y="870"/>
                    </a:lnTo>
                    <a:lnTo>
                      <a:pt x="2789" y="870"/>
                    </a:lnTo>
                    <a:lnTo>
                      <a:pt x="379" y="870"/>
                    </a:lnTo>
                    <a:lnTo>
                      <a:pt x="351" y="870"/>
                    </a:lnTo>
                    <a:lnTo>
                      <a:pt x="322" y="870"/>
                    </a:lnTo>
                    <a:lnTo>
                      <a:pt x="293" y="868"/>
                    </a:lnTo>
                    <a:lnTo>
                      <a:pt x="262" y="867"/>
                    </a:lnTo>
                    <a:lnTo>
                      <a:pt x="233" y="865"/>
                    </a:lnTo>
                    <a:lnTo>
                      <a:pt x="205" y="861"/>
                    </a:lnTo>
                    <a:lnTo>
                      <a:pt x="177" y="857"/>
                    </a:lnTo>
                    <a:lnTo>
                      <a:pt x="152" y="850"/>
                    </a:lnTo>
                    <a:lnTo>
                      <a:pt x="126" y="842"/>
                    </a:lnTo>
                    <a:lnTo>
                      <a:pt x="102" y="831"/>
                    </a:lnTo>
                    <a:lnTo>
                      <a:pt x="80" y="817"/>
                    </a:lnTo>
                    <a:lnTo>
                      <a:pt x="60" y="802"/>
                    </a:lnTo>
                    <a:lnTo>
                      <a:pt x="43" y="783"/>
                    </a:lnTo>
                    <a:lnTo>
                      <a:pt x="28" y="761"/>
                    </a:lnTo>
                    <a:lnTo>
                      <a:pt x="16" y="736"/>
                    </a:lnTo>
                    <a:lnTo>
                      <a:pt x="6" y="707"/>
                    </a:lnTo>
                    <a:lnTo>
                      <a:pt x="1" y="675"/>
                    </a:lnTo>
                    <a:lnTo>
                      <a:pt x="0" y="639"/>
                    </a:lnTo>
                    <a:lnTo>
                      <a:pt x="0" y="202"/>
                    </a:lnTo>
                    <a:lnTo>
                      <a:pt x="1" y="169"/>
                    </a:lnTo>
                    <a:lnTo>
                      <a:pt x="6" y="139"/>
                    </a:lnTo>
                    <a:lnTo>
                      <a:pt x="14" y="113"/>
                    </a:lnTo>
                    <a:lnTo>
                      <a:pt x="25" y="91"/>
                    </a:lnTo>
                    <a:lnTo>
                      <a:pt x="37" y="71"/>
                    </a:lnTo>
                    <a:lnTo>
                      <a:pt x="53" y="55"/>
                    </a:lnTo>
                    <a:lnTo>
                      <a:pt x="70" y="41"/>
                    </a:lnTo>
                    <a:lnTo>
                      <a:pt x="88" y="31"/>
                    </a:lnTo>
                    <a:lnTo>
                      <a:pt x="108" y="22"/>
                    </a:lnTo>
                    <a:lnTo>
                      <a:pt x="130" y="14"/>
                    </a:lnTo>
                    <a:lnTo>
                      <a:pt x="152" y="9"/>
                    </a:lnTo>
                    <a:lnTo>
                      <a:pt x="174" y="6"/>
                    </a:lnTo>
                    <a:lnTo>
                      <a:pt x="198" y="4"/>
                    </a:lnTo>
                    <a:lnTo>
                      <a:pt x="220" y="2"/>
                    </a:lnTo>
                    <a:lnTo>
                      <a:pt x="244" y="0"/>
                    </a:lnTo>
                    <a:lnTo>
                      <a:pt x="267" y="0"/>
                    </a:lnTo>
                    <a:lnTo>
                      <a:pt x="2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Rounded Rectangle 8"/>
              <p:cNvSpPr/>
              <p:nvPr/>
            </p:nvSpPr>
            <p:spPr bwMode="auto">
              <a:xfrm>
                <a:off x="5689600" y="3462867"/>
                <a:ext cx="1356520" cy="829733"/>
              </a:xfrm>
              <a:prstGeom prst="roundRect">
                <a:avLst/>
              </a:prstGeom>
              <a:noFill/>
              <a:ln w="22225">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nvGrpSpPr>
            <p:cNvPr id="26" name="Group 25"/>
            <p:cNvGrpSpPr/>
            <p:nvPr/>
          </p:nvGrpSpPr>
          <p:grpSpPr>
            <a:xfrm>
              <a:off x="7029186" y="3185802"/>
              <a:ext cx="1217566" cy="744740"/>
              <a:chOff x="5689600" y="3462867"/>
              <a:chExt cx="1356520" cy="829733"/>
            </a:xfrm>
          </p:grpSpPr>
          <p:sp>
            <p:nvSpPr>
              <p:cNvPr id="27" name="Freeform 6"/>
              <p:cNvSpPr>
                <a:spLocks noEditPoints="1"/>
              </p:cNvSpPr>
              <p:nvPr/>
            </p:nvSpPr>
            <p:spPr bwMode="auto">
              <a:xfrm>
                <a:off x="5777972" y="3545090"/>
                <a:ext cx="1192530" cy="662517"/>
              </a:xfrm>
              <a:custGeom>
                <a:avLst/>
                <a:gdLst>
                  <a:gd name="T0" fmla="*/ 2214 w 3169"/>
                  <a:gd name="T1" fmla="*/ 1274 h 1760"/>
                  <a:gd name="T2" fmla="*/ 290 w 3169"/>
                  <a:gd name="T3" fmla="*/ 1050 h 1760"/>
                  <a:gd name="T4" fmla="*/ 2982 w 3169"/>
                  <a:gd name="T5" fmla="*/ 1601 h 1760"/>
                  <a:gd name="T6" fmla="*/ 180 w 3169"/>
                  <a:gd name="T7" fmla="*/ 945 h 1760"/>
                  <a:gd name="T8" fmla="*/ 61 w 3169"/>
                  <a:gd name="T9" fmla="*/ 1012 h 1760"/>
                  <a:gd name="T10" fmla="*/ 55 w 3169"/>
                  <a:gd name="T11" fmla="*/ 1589 h 1760"/>
                  <a:gd name="T12" fmla="*/ 149 w 3169"/>
                  <a:gd name="T13" fmla="*/ 1689 h 1760"/>
                  <a:gd name="T14" fmla="*/ 340 w 3169"/>
                  <a:gd name="T15" fmla="*/ 1712 h 1760"/>
                  <a:gd name="T16" fmla="*/ 2933 w 3169"/>
                  <a:gd name="T17" fmla="*/ 1708 h 1760"/>
                  <a:gd name="T18" fmla="*/ 3079 w 3169"/>
                  <a:gd name="T19" fmla="*/ 1653 h 1760"/>
                  <a:gd name="T20" fmla="*/ 3120 w 3169"/>
                  <a:gd name="T21" fmla="*/ 1093 h 1760"/>
                  <a:gd name="T22" fmla="*/ 3063 w 3169"/>
                  <a:gd name="T23" fmla="*/ 966 h 1760"/>
                  <a:gd name="T24" fmla="*/ 2879 w 3169"/>
                  <a:gd name="T25" fmla="*/ 938 h 1760"/>
                  <a:gd name="T26" fmla="*/ 288 w 3169"/>
                  <a:gd name="T27" fmla="*/ 891 h 1760"/>
                  <a:gd name="T28" fmla="*/ 2901 w 3169"/>
                  <a:gd name="T29" fmla="*/ 891 h 1760"/>
                  <a:gd name="T30" fmla="*/ 3038 w 3169"/>
                  <a:gd name="T31" fmla="*/ 905 h 1760"/>
                  <a:gd name="T32" fmla="*/ 3144 w 3169"/>
                  <a:gd name="T33" fmla="*/ 981 h 1760"/>
                  <a:gd name="T34" fmla="*/ 3166 w 3169"/>
                  <a:gd name="T35" fmla="*/ 1566 h 1760"/>
                  <a:gd name="T36" fmla="*/ 3088 w 3169"/>
                  <a:gd name="T37" fmla="*/ 1708 h 1760"/>
                  <a:gd name="T38" fmla="*/ 2934 w 3169"/>
                  <a:gd name="T39" fmla="*/ 1756 h 1760"/>
                  <a:gd name="T40" fmla="*/ 379 w 3169"/>
                  <a:gd name="T41" fmla="*/ 1760 h 1760"/>
                  <a:gd name="T42" fmla="*/ 205 w 3169"/>
                  <a:gd name="T43" fmla="*/ 1752 h 1760"/>
                  <a:gd name="T44" fmla="*/ 60 w 3169"/>
                  <a:gd name="T45" fmla="*/ 1693 h 1760"/>
                  <a:gd name="T46" fmla="*/ 0 w 3169"/>
                  <a:gd name="T47" fmla="*/ 1529 h 1760"/>
                  <a:gd name="T48" fmla="*/ 37 w 3169"/>
                  <a:gd name="T49" fmla="*/ 962 h 1760"/>
                  <a:gd name="T50" fmla="*/ 152 w 3169"/>
                  <a:gd name="T51" fmla="*/ 900 h 1760"/>
                  <a:gd name="T52" fmla="*/ 288 w 3169"/>
                  <a:gd name="T53" fmla="*/ 891 h 1760"/>
                  <a:gd name="T54" fmla="*/ 2165 w 3169"/>
                  <a:gd name="T55" fmla="*/ 303 h 1760"/>
                  <a:gd name="T56" fmla="*/ 289 w 3169"/>
                  <a:gd name="T57" fmla="*/ 149 h 1760"/>
                  <a:gd name="T58" fmla="*/ 2980 w 3169"/>
                  <a:gd name="T59" fmla="*/ 700 h 1760"/>
                  <a:gd name="T60" fmla="*/ 180 w 3169"/>
                  <a:gd name="T61" fmla="*/ 54 h 1760"/>
                  <a:gd name="T62" fmla="*/ 61 w 3169"/>
                  <a:gd name="T63" fmla="*/ 123 h 1760"/>
                  <a:gd name="T64" fmla="*/ 55 w 3169"/>
                  <a:gd name="T65" fmla="*/ 699 h 1760"/>
                  <a:gd name="T66" fmla="*/ 149 w 3169"/>
                  <a:gd name="T67" fmla="*/ 799 h 1760"/>
                  <a:gd name="T68" fmla="*/ 340 w 3169"/>
                  <a:gd name="T69" fmla="*/ 822 h 1760"/>
                  <a:gd name="T70" fmla="*/ 2933 w 3169"/>
                  <a:gd name="T71" fmla="*/ 817 h 1760"/>
                  <a:gd name="T72" fmla="*/ 3079 w 3169"/>
                  <a:gd name="T73" fmla="*/ 762 h 1760"/>
                  <a:gd name="T74" fmla="*/ 3120 w 3169"/>
                  <a:gd name="T75" fmla="*/ 202 h 1760"/>
                  <a:gd name="T76" fmla="*/ 3063 w 3169"/>
                  <a:gd name="T77" fmla="*/ 76 h 1760"/>
                  <a:gd name="T78" fmla="*/ 2879 w 3169"/>
                  <a:gd name="T79" fmla="*/ 49 h 1760"/>
                  <a:gd name="T80" fmla="*/ 288 w 3169"/>
                  <a:gd name="T81" fmla="*/ 0 h 1760"/>
                  <a:gd name="T82" fmla="*/ 2901 w 3169"/>
                  <a:gd name="T83" fmla="*/ 0 h 1760"/>
                  <a:gd name="T84" fmla="*/ 3038 w 3169"/>
                  <a:gd name="T85" fmla="*/ 14 h 1760"/>
                  <a:gd name="T86" fmla="*/ 3144 w 3169"/>
                  <a:gd name="T87" fmla="*/ 91 h 1760"/>
                  <a:gd name="T88" fmla="*/ 3166 w 3169"/>
                  <a:gd name="T89" fmla="*/ 675 h 1760"/>
                  <a:gd name="T90" fmla="*/ 3088 w 3169"/>
                  <a:gd name="T91" fmla="*/ 817 h 1760"/>
                  <a:gd name="T92" fmla="*/ 2934 w 3169"/>
                  <a:gd name="T93" fmla="*/ 865 h 1760"/>
                  <a:gd name="T94" fmla="*/ 379 w 3169"/>
                  <a:gd name="T95" fmla="*/ 870 h 1760"/>
                  <a:gd name="T96" fmla="*/ 205 w 3169"/>
                  <a:gd name="T97" fmla="*/ 861 h 1760"/>
                  <a:gd name="T98" fmla="*/ 60 w 3169"/>
                  <a:gd name="T99" fmla="*/ 802 h 1760"/>
                  <a:gd name="T100" fmla="*/ 0 w 3169"/>
                  <a:gd name="T101" fmla="*/ 639 h 1760"/>
                  <a:gd name="T102" fmla="*/ 37 w 3169"/>
                  <a:gd name="T103" fmla="*/ 71 h 1760"/>
                  <a:gd name="T104" fmla="*/ 152 w 3169"/>
                  <a:gd name="T105" fmla="*/ 9 h 1760"/>
                  <a:gd name="T106" fmla="*/ 288 w 3169"/>
                  <a:gd name="T10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69" h="1760">
                    <a:moveTo>
                      <a:pt x="2214" y="1484"/>
                    </a:moveTo>
                    <a:lnTo>
                      <a:pt x="2795" y="1484"/>
                    </a:lnTo>
                    <a:lnTo>
                      <a:pt x="2795" y="1569"/>
                    </a:lnTo>
                    <a:lnTo>
                      <a:pt x="2214" y="1569"/>
                    </a:lnTo>
                    <a:lnTo>
                      <a:pt x="2214" y="1484"/>
                    </a:lnTo>
                    <a:close/>
                    <a:moveTo>
                      <a:pt x="2214" y="1274"/>
                    </a:moveTo>
                    <a:lnTo>
                      <a:pt x="2795" y="1274"/>
                    </a:lnTo>
                    <a:lnTo>
                      <a:pt x="2795" y="1366"/>
                    </a:lnTo>
                    <a:lnTo>
                      <a:pt x="2214" y="1366"/>
                    </a:lnTo>
                    <a:lnTo>
                      <a:pt x="2214" y="1274"/>
                    </a:lnTo>
                    <a:close/>
                    <a:moveTo>
                      <a:pt x="198" y="1050"/>
                    </a:moveTo>
                    <a:lnTo>
                      <a:pt x="290" y="1050"/>
                    </a:lnTo>
                    <a:lnTo>
                      <a:pt x="290" y="1631"/>
                    </a:lnTo>
                    <a:lnTo>
                      <a:pt x="198" y="1631"/>
                    </a:lnTo>
                    <a:lnTo>
                      <a:pt x="198" y="1050"/>
                    </a:lnTo>
                    <a:close/>
                    <a:moveTo>
                      <a:pt x="2889" y="1020"/>
                    </a:moveTo>
                    <a:lnTo>
                      <a:pt x="2982" y="1020"/>
                    </a:lnTo>
                    <a:lnTo>
                      <a:pt x="2982" y="1601"/>
                    </a:lnTo>
                    <a:lnTo>
                      <a:pt x="2889" y="1601"/>
                    </a:lnTo>
                    <a:lnTo>
                      <a:pt x="2889" y="1020"/>
                    </a:lnTo>
                    <a:close/>
                    <a:moveTo>
                      <a:pt x="288" y="938"/>
                    </a:moveTo>
                    <a:lnTo>
                      <a:pt x="248" y="939"/>
                    </a:lnTo>
                    <a:lnTo>
                      <a:pt x="212" y="942"/>
                    </a:lnTo>
                    <a:lnTo>
                      <a:pt x="180" y="945"/>
                    </a:lnTo>
                    <a:lnTo>
                      <a:pt x="150" y="949"/>
                    </a:lnTo>
                    <a:lnTo>
                      <a:pt x="126" y="957"/>
                    </a:lnTo>
                    <a:lnTo>
                      <a:pt x="104" y="966"/>
                    </a:lnTo>
                    <a:lnTo>
                      <a:pt x="86" y="978"/>
                    </a:lnTo>
                    <a:lnTo>
                      <a:pt x="72" y="994"/>
                    </a:lnTo>
                    <a:lnTo>
                      <a:pt x="61" y="1012"/>
                    </a:lnTo>
                    <a:lnTo>
                      <a:pt x="54" y="1035"/>
                    </a:lnTo>
                    <a:lnTo>
                      <a:pt x="49" y="1062"/>
                    </a:lnTo>
                    <a:lnTo>
                      <a:pt x="47" y="1093"/>
                    </a:lnTo>
                    <a:lnTo>
                      <a:pt x="47" y="1529"/>
                    </a:lnTo>
                    <a:lnTo>
                      <a:pt x="49" y="1561"/>
                    </a:lnTo>
                    <a:lnTo>
                      <a:pt x="55" y="1589"/>
                    </a:lnTo>
                    <a:lnTo>
                      <a:pt x="62" y="1614"/>
                    </a:lnTo>
                    <a:lnTo>
                      <a:pt x="74" y="1634"/>
                    </a:lnTo>
                    <a:lnTo>
                      <a:pt x="89" y="1653"/>
                    </a:lnTo>
                    <a:lnTo>
                      <a:pt x="106" y="1668"/>
                    </a:lnTo>
                    <a:lnTo>
                      <a:pt x="127" y="1680"/>
                    </a:lnTo>
                    <a:lnTo>
                      <a:pt x="149" y="1689"/>
                    </a:lnTo>
                    <a:lnTo>
                      <a:pt x="175" y="1697"/>
                    </a:lnTo>
                    <a:lnTo>
                      <a:pt x="204" y="1703"/>
                    </a:lnTo>
                    <a:lnTo>
                      <a:pt x="234" y="1708"/>
                    </a:lnTo>
                    <a:lnTo>
                      <a:pt x="268" y="1710"/>
                    </a:lnTo>
                    <a:lnTo>
                      <a:pt x="302" y="1712"/>
                    </a:lnTo>
                    <a:lnTo>
                      <a:pt x="340" y="1712"/>
                    </a:lnTo>
                    <a:lnTo>
                      <a:pt x="379" y="1713"/>
                    </a:lnTo>
                    <a:lnTo>
                      <a:pt x="2789" y="1713"/>
                    </a:lnTo>
                    <a:lnTo>
                      <a:pt x="2827" y="1712"/>
                    </a:lnTo>
                    <a:lnTo>
                      <a:pt x="2865" y="1712"/>
                    </a:lnTo>
                    <a:lnTo>
                      <a:pt x="2901" y="1710"/>
                    </a:lnTo>
                    <a:lnTo>
                      <a:pt x="2933" y="1708"/>
                    </a:lnTo>
                    <a:lnTo>
                      <a:pt x="2964" y="1703"/>
                    </a:lnTo>
                    <a:lnTo>
                      <a:pt x="2992" y="1697"/>
                    </a:lnTo>
                    <a:lnTo>
                      <a:pt x="3018" y="1689"/>
                    </a:lnTo>
                    <a:lnTo>
                      <a:pt x="3040" y="1680"/>
                    </a:lnTo>
                    <a:lnTo>
                      <a:pt x="3061" y="1668"/>
                    </a:lnTo>
                    <a:lnTo>
                      <a:pt x="3079" y="1653"/>
                    </a:lnTo>
                    <a:lnTo>
                      <a:pt x="3093" y="1634"/>
                    </a:lnTo>
                    <a:lnTo>
                      <a:pt x="3105" y="1614"/>
                    </a:lnTo>
                    <a:lnTo>
                      <a:pt x="3114" y="1589"/>
                    </a:lnTo>
                    <a:lnTo>
                      <a:pt x="3119" y="1561"/>
                    </a:lnTo>
                    <a:lnTo>
                      <a:pt x="3120" y="1529"/>
                    </a:lnTo>
                    <a:lnTo>
                      <a:pt x="3120" y="1093"/>
                    </a:lnTo>
                    <a:lnTo>
                      <a:pt x="3119" y="1062"/>
                    </a:lnTo>
                    <a:lnTo>
                      <a:pt x="3115" y="1035"/>
                    </a:lnTo>
                    <a:lnTo>
                      <a:pt x="3106" y="1012"/>
                    </a:lnTo>
                    <a:lnTo>
                      <a:pt x="3095" y="994"/>
                    </a:lnTo>
                    <a:lnTo>
                      <a:pt x="3081" y="978"/>
                    </a:lnTo>
                    <a:lnTo>
                      <a:pt x="3063" y="966"/>
                    </a:lnTo>
                    <a:lnTo>
                      <a:pt x="3043" y="957"/>
                    </a:lnTo>
                    <a:lnTo>
                      <a:pt x="3017" y="949"/>
                    </a:lnTo>
                    <a:lnTo>
                      <a:pt x="2989" y="945"/>
                    </a:lnTo>
                    <a:lnTo>
                      <a:pt x="2957" y="942"/>
                    </a:lnTo>
                    <a:lnTo>
                      <a:pt x="2920" y="939"/>
                    </a:lnTo>
                    <a:lnTo>
                      <a:pt x="2879" y="938"/>
                    </a:lnTo>
                    <a:lnTo>
                      <a:pt x="2836" y="939"/>
                    </a:lnTo>
                    <a:lnTo>
                      <a:pt x="2789" y="939"/>
                    </a:lnTo>
                    <a:lnTo>
                      <a:pt x="379" y="939"/>
                    </a:lnTo>
                    <a:lnTo>
                      <a:pt x="331" y="939"/>
                    </a:lnTo>
                    <a:lnTo>
                      <a:pt x="288" y="938"/>
                    </a:lnTo>
                    <a:close/>
                    <a:moveTo>
                      <a:pt x="288" y="891"/>
                    </a:moveTo>
                    <a:lnTo>
                      <a:pt x="332" y="891"/>
                    </a:lnTo>
                    <a:lnTo>
                      <a:pt x="379" y="891"/>
                    </a:lnTo>
                    <a:lnTo>
                      <a:pt x="2789" y="891"/>
                    </a:lnTo>
                    <a:lnTo>
                      <a:pt x="2836" y="891"/>
                    </a:lnTo>
                    <a:lnTo>
                      <a:pt x="2879" y="891"/>
                    </a:lnTo>
                    <a:lnTo>
                      <a:pt x="2901" y="891"/>
                    </a:lnTo>
                    <a:lnTo>
                      <a:pt x="2923" y="891"/>
                    </a:lnTo>
                    <a:lnTo>
                      <a:pt x="2947" y="892"/>
                    </a:lnTo>
                    <a:lnTo>
                      <a:pt x="2969" y="893"/>
                    </a:lnTo>
                    <a:lnTo>
                      <a:pt x="2993" y="896"/>
                    </a:lnTo>
                    <a:lnTo>
                      <a:pt x="3016" y="900"/>
                    </a:lnTo>
                    <a:lnTo>
                      <a:pt x="3038" y="905"/>
                    </a:lnTo>
                    <a:lnTo>
                      <a:pt x="3059" y="911"/>
                    </a:lnTo>
                    <a:lnTo>
                      <a:pt x="3079" y="921"/>
                    </a:lnTo>
                    <a:lnTo>
                      <a:pt x="3099" y="932"/>
                    </a:lnTo>
                    <a:lnTo>
                      <a:pt x="3115" y="946"/>
                    </a:lnTo>
                    <a:lnTo>
                      <a:pt x="3131" y="962"/>
                    </a:lnTo>
                    <a:lnTo>
                      <a:pt x="3144" y="981"/>
                    </a:lnTo>
                    <a:lnTo>
                      <a:pt x="3154" y="1004"/>
                    </a:lnTo>
                    <a:lnTo>
                      <a:pt x="3162" y="1030"/>
                    </a:lnTo>
                    <a:lnTo>
                      <a:pt x="3166" y="1060"/>
                    </a:lnTo>
                    <a:lnTo>
                      <a:pt x="3169" y="1093"/>
                    </a:lnTo>
                    <a:lnTo>
                      <a:pt x="3169" y="1529"/>
                    </a:lnTo>
                    <a:lnTo>
                      <a:pt x="3166" y="1566"/>
                    </a:lnTo>
                    <a:lnTo>
                      <a:pt x="3161" y="1598"/>
                    </a:lnTo>
                    <a:lnTo>
                      <a:pt x="3152" y="1627"/>
                    </a:lnTo>
                    <a:lnTo>
                      <a:pt x="3140" y="1652"/>
                    </a:lnTo>
                    <a:lnTo>
                      <a:pt x="3126" y="1673"/>
                    </a:lnTo>
                    <a:lnTo>
                      <a:pt x="3107" y="1693"/>
                    </a:lnTo>
                    <a:lnTo>
                      <a:pt x="3088" y="1708"/>
                    </a:lnTo>
                    <a:lnTo>
                      <a:pt x="3065" y="1720"/>
                    </a:lnTo>
                    <a:lnTo>
                      <a:pt x="3042" y="1731"/>
                    </a:lnTo>
                    <a:lnTo>
                      <a:pt x="3017" y="1740"/>
                    </a:lnTo>
                    <a:lnTo>
                      <a:pt x="2990" y="1747"/>
                    </a:lnTo>
                    <a:lnTo>
                      <a:pt x="2962" y="1752"/>
                    </a:lnTo>
                    <a:lnTo>
                      <a:pt x="2934" y="1756"/>
                    </a:lnTo>
                    <a:lnTo>
                      <a:pt x="2905" y="1758"/>
                    </a:lnTo>
                    <a:lnTo>
                      <a:pt x="2876" y="1759"/>
                    </a:lnTo>
                    <a:lnTo>
                      <a:pt x="2847" y="1760"/>
                    </a:lnTo>
                    <a:lnTo>
                      <a:pt x="2818" y="1760"/>
                    </a:lnTo>
                    <a:lnTo>
                      <a:pt x="2789" y="1760"/>
                    </a:lnTo>
                    <a:lnTo>
                      <a:pt x="379" y="1760"/>
                    </a:lnTo>
                    <a:lnTo>
                      <a:pt x="351" y="1760"/>
                    </a:lnTo>
                    <a:lnTo>
                      <a:pt x="322" y="1760"/>
                    </a:lnTo>
                    <a:lnTo>
                      <a:pt x="293" y="1759"/>
                    </a:lnTo>
                    <a:lnTo>
                      <a:pt x="262" y="1758"/>
                    </a:lnTo>
                    <a:lnTo>
                      <a:pt x="233" y="1756"/>
                    </a:lnTo>
                    <a:lnTo>
                      <a:pt x="205" y="1752"/>
                    </a:lnTo>
                    <a:lnTo>
                      <a:pt x="177" y="1747"/>
                    </a:lnTo>
                    <a:lnTo>
                      <a:pt x="152" y="1740"/>
                    </a:lnTo>
                    <a:lnTo>
                      <a:pt x="126" y="1731"/>
                    </a:lnTo>
                    <a:lnTo>
                      <a:pt x="102" y="1720"/>
                    </a:lnTo>
                    <a:lnTo>
                      <a:pt x="80" y="1708"/>
                    </a:lnTo>
                    <a:lnTo>
                      <a:pt x="60" y="1693"/>
                    </a:lnTo>
                    <a:lnTo>
                      <a:pt x="43" y="1673"/>
                    </a:lnTo>
                    <a:lnTo>
                      <a:pt x="28" y="1652"/>
                    </a:lnTo>
                    <a:lnTo>
                      <a:pt x="16" y="1627"/>
                    </a:lnTo>
                    <a:lnTo>
                      <a:pt x="6" y="1598"/>
                    </a:lnTo>
                    <a:lnTo>
                      <a:pt x="1" y="1566"/>
                    </a:lnTo>
                    <a:lnTo>
                      <a:pt x="0" y="1529"/>
                    </a:lnTo>
                    <a:lnTo>
                      <a:pt x="0" y="1093"/>
                    </a:lnTo>
                    <a:lnTo>
                      <a:pt x="1" y="1060"/>
                    </a:lnTo>
                    <a:lnTo>
                      <a:pt x="6" y="1030"/>
                    </a:lnTo>
                    <a:lnTo>
                      <a:pt x="14" y="1004"/>
                    </a:lnTo>
                    <a:lnTo>
                      <a:pt x="25" y="981"/>
                    </a:lnTo>
                    <a:lnTo>
                      <a:pt x="37" y="962"/>
                    </a:lnTo>
                    <a:lnTo>
                      <a:pt x="53" y="946"/>
                    </a:lnTo>
                    <a:lnTo>
                      <a:pt x="70" y="932"/>
                    </a:lnTo>
                    <a:lnTo>
                      <a:pt x="88" y="921"/>
                    </a:lnTo>
                    <a:lnTo>
                      <a:pt x="108" y="911"/>
                    </a:lnTo>
                    <a:lnTo>
                      <a:pt x="130" y="905"/>
                    </a:lnTo>
                    <a:lnTo>
                      <a:pt x="152" y="900"/>
                    </a:lnTo>
                    <a:lnTo>
                      <a:pt x="174" y="896"/>
                    </a:lnTo>
                    <a:lnTo>
                      <a:pt x="198" y="893"/>
                    </a:lnTo>
                    <a:lnTo>
                      <a:pt x="220" y="892"/>
                    </a:lnTo>
                    <a:lnTo>
                      <a:pt x="244" y="891"/>
                    </a:lnTo>
                    <a:lnTo>
                      <a:pt x="267" y="891"/>
                    </a:lnTo>
                    <a:lnTo>
                      <a:pt x="288" y="891"/>
                    </a:lnTo>
                    <a:close/>
                    <a:moveTo>
                      <a:pt x="2165" y="515"/>
                    </a:moveTo>
                    <a:lnTo>
                      <a:pt x="2748" y="515"/>
                    </a:lnTo>
                    <a:lnTo>
                      <a:pt x="2748" y="600"/>
                    </a:lnTo>
                    <a:lnTo>
                      <a:pt x="2165" y="600"/>
                    </a:lnTo>
                    <a:lnTo>
                      <a:pt x="2165" y="515"/>
                    </a:lnTo>
                    <a:close/>
                    <a:moveTo>
                      <a:pt x="2165" y="303"/>
                    </a:moveTo>
                    <a:lnTo>
                      <a:pt x="2748" y="303"/>
                    </a:lnTo>
                    <a:lnTo>
                      <a:pt x="2748" y="397"/>
                    </a:lnTo>
                    <a:lnTo>
                      <a:pt x="2165" y="397"/>
                    </a:lnTo>
                    <a:lnTo>
                      <a:pt x="2165" y="303"/>
                    </a:lnTo>
                    <a:close/>
                    <a:moveTo>
                      <a:pt x="197" y="149"/>
                    </a:moveTo>
                    <a:lnTo>
                      <a:pt x="289" y="149"/>
                    </a:lnTo>
                    <a:lnTo>
                      <a:pt x="289" y="730"/>
                    </a:lnTo>
                    <a:lnTo>
                      <a:pt x="197" y="730"/>
                    </a:lnTo>
                    <a:lnTo>
                      <a:pt x="197" y="149"/>
                    </a:lnTo>
                    <a:close/>
                    <a:moveTo>
                      <a:pt x="2888" y="119"/>
                    </a:moveTo>
                    <a:lnTo>
                      <a:pt x="2980" y="119"/>
                    </a:lnTo>
                    <a:lnTo>
                      <a:pt x="2980" y="700"/>
                    </a:lnTo>
                    <a:lnTo>
                      <a:pt x="2888" y="700"/>
                    </a:lnTo>
                    <a:lnTo>
                      <a:pt x="2888" y="119"/>
                    </a:lnTo>
                    <a:close/>
                    <a:moveTo>
                      <a:pt x="288" y="49"/>
                    </a:moveTo>
                    <a:lnTo>
                      <a:pt x="248" y="49"/>
                    </a:lnTo>
                    <a:lnTo>
                      <a:pt x="212" y="51"/>
                    </a:lnTo>
                    <a:lnTo>
                      <a:pt x="180" y="54"/>
                    </a:lnTo>
                    <a:lnTo>
                      <a:pt x="150" y="58"/>
                    </a:lnTo>
                    <a:lnTo>
                      <a:pt x="126" y="66"/>
                    </a:lnTo>
                    <a:lnTo>
                      <a:pt x="104" y="76"/>
                    </a:lnTo>
                    <a:lnTo>
                      <a:pt x="86" y="89"/>
                    </a:lnTo>
                    <a:lnTo>
                      <a:pt x="72" y="104"/>
                    </a:lnTo>
                    <a:lnTo>
                      <a:pt x="61" y="123"/>
                    </a:lnTo>
                    <a:lnTo>
                      <a:pt x="54" y="145"/>
                    </a:lnTo>
                    <a:lnTo>
                      <a:pt x="49" y="171"/>
                    </a:lnTo>
                    <a:lnTo>
                      <a:pt x="47" y="202"/>
                    </a:lnTo>
                    <a:lnTo>
                      <a:pt x="47" y="639"/>
                    </a:lnTo>
                    <a:lnTo>
                      <a:pt x="49" y="671"/>
                    </a:lnTo>
                    <a:lnTo>
                      <a:pt x="55" y="699"/>
                    </a:lnTo>
                    <a:lnTo>
                      <a:pt x="62" y="723"/>
                    </a:lnTo>
                    <a:lnTo>
                      <a:pt x="74" y="745"/>
                    </a:lnTo>
                    <a:lnTo>
                      <a:pt x="89" y="762"/>
                    </a:lnTo>
                    <a:lnTo>
                      <a:pt x="106" y="777"/>
                    </a:lnTo>
                    <a:lnTo>
                      <a:pt x="127" y="789"/>
                    </a:lnTo>
                    <a:lnTo>
                      <a:pt x="149" y="799"/>
                    </a:lnTo>
                    <a:lnTo>
                      <a:pt x="175" y="807"/>
                    </a:lnTo>
                    <a:lnTo>
                      <a:pt x="204" y="813"/>
                    </a:lnTo>
                    <a:lnTo>
                      <a:pt x="234" y="817"/>
                    </a:lnTo>
                    <a:lnTo>
                      <a:pt x="268" y="819"/>
                    </a:lnTo>
                    <a:lnTo>
                      <a:pt x="302" y="821"/>
                    </a:lnTo>
                    <a:lnTo>
                      <a:pt x="340" y="822"/>
                    </a:lnTo>
                    <a:lnTo>
                      <a:pt x="379" y="822"/>
                    </a:lnTo>
                    <a:lnTo>
                      <a:pt x="2789" y="822"/>
                    </a:lnTo>
                    <a:lnTo>
                      <a:pt x="2827" y="822"/>
                    </a:lnTo>
                    <a:lnTo>
                      <a:pt x="2865" y="821"/>
                    </a:lnTo>
                    <a:lnTo>
                      <a:pt x="2901" y="819"/>
                    </a:lnTo>
                    <a:lnTo>
                      <a:pt x="2933" y="817"/>
                    </a:lnTo>
                    <a:lnTo>
                      <a:pt x="2964" y="813"/>
                    </a:lnTo>
                    <a:lnTo>
                      <a:pt x="2992" y="807"/>
                    </a:lnTo>
                    <a:lnTo>
                      <a:pt x="3018" y="799"/>
                    </a:lnTo>
                    <a:lnTo>
                      <a:pt x="3040" y="789"/>
                    </a:lnTo>
                    <a:lnTo>
                      <a:pt x="3061" y="777"/>
                    </a:lnTo>
                    <a:lnTo>
                      <a:pt x="3079" y="762"/>
                    </a:lnTo>
                    <a:lnTo>
                      <a:pt x="3093" y="745"/>
                    </a:lnTo>
                    <a:lnTo>
                      <a:pt x="3105" y="723"/>
                    </a:lnTo>
                    <a:lnTo>
                      <a:pt x="3114" y="699"/>
                    </a:lnTo>
                    <a:lnTo>
                      <a:pt x="3119" y="671"/>
                    </a:lnTo>
                    <a:lnTo>
                      <a:pt x="3120" y="639"/>
                    </a:lnTo>
                    <a:lnTo>
                      <a:pt x="3120" y="202"/>
                    </a:lnTo>
                    <a:lnTo>
                      <a:pt x="3119" y="171"/>
                    </a:lnTo>
                    <a:lnTo>
                      <a:pt x="3115" y="145"/>
                    </a:lnTo>
                    <a:lnTo>
                      <a:pt x="3106" y="123"/>
                    </a:lnTo>
                    <a:lnTo>
                      <a:pt x="3095" y="104"/>
                    </a:lnTo>
                    <a:lnTo>
                      <a:pt x="3081" y="89"/>
                    </a:lnTo>
                    <a:lnTo>
                      <a:pt x="3063" y="76"/>
                    </a:lnTo>
                    <a:lnTo>
                      <a:pt x="3043" y="66"/>
                    </a:lnTo>
                    <a:lnTo>
                      <a:pt x="3017" y="58"/>
                    </a:lnTo>
                    <a:lnTo>
                      <a:pt x="2989" y="54"/>
                    </a:lnTo>
                    <a:lnTo>
                      <a:pt x="2957" y="51"/>
                    </a:lnTo>
                    <a:lnTo>
                      <a:pt x="2920" y="49"/>
                    </a:lnTo>
                    <a:lnTo>
                      <a:pt x="2879" y="49"/>
                    </a:lnTo>
                    <a:lnTo>
                      <a:pt x="2836" y="49"/>
                    </a:lnTo>
                    <a:lnTo>
                      <a:pt x="2789" y="49"/>
                    </a:lnTo>
                    <a:lnTo>
                      <a:pt x="379" y="49"/>
                    </a:lnTo>
                    <a:lnTo>
                      <a:pt x="331" y="49"/>
                    </a:lnTo>
                    <a:lnTo>
                      <a:pt x="288" y="49"/>
                    </a:lnTo>
                    <a:close/>
                    <a:moveTo>
                      <a:pt x="288" y="0"/>
                    </a:moveTo>
                    <a:lnTo>
                      <a:pt x="332" y="0"/>
                    </a:lnTo>
                    <a:lnTo>
                      <a:pt x="379" y="2"/>
                    </a:lnTo>
                    <a:lnTo>
                      <a:pt x="2789" y="2"/>
                    </a:lnTo>
                    <a:lnTo>
                      <a:pt x="2836" y="0"/>
                    </a:lnTo>
                    <a:lnTo>
                      <a:pt x="2879" y="0"/>
                    </a:lnTo>
                    <a:lnTo>
                      <a:pt x="2901" y="0"/>
                    </a:lnTo>
                    <a:lnTo>
                      <a:pt x="2924" y="0"/>
                    </a:lnTo>
                    <a:lnTo>
                      <a:pt x="2947" y="2"/>
                    </a:lnTo>
                    <a:lnTo>
                      <a:pt x="2971" y="4"/>
                    </a:lnTo>
                    <a:lnTo>
                      <a:pt x="2993" y="6"/>
                    </a:lnTo>
                    <a:lnTo>
                      <a:pt x="3016" y="9"/>
                    </a:lnTo>
                    <a:lnTo>
                      <a:pt x="3038" y="14"/>
                    </a:lnTo>
                    <a:lnTo>
                      <a:pt x="3059" y="22"/>
                    </a:lnTo>
                    <a:lnTo>
                      <a:pt x="3079" y="31"/>
                    </a:lnTo>
                    <a:lnTo>
                      <a:pt x="3099" y="41"/>
                    </a:lnTo>
                    <a:lnTo>
                      <a:pt x="3115" y="55"/>
                    </a:lnTo>
                    <a:lnTo>
                      <a:pt x="3131" y="71"/>
                    </a:lnTo>
                    <a:lnTo>
                      <a:pt x="3144" y="91"/>
                    </a:lnTo>
                    <a:lnTo>
                      <a:pt x="3154" y="113"/>
                    </a:lnTo>
                    <a:lnTo>
                      <a:pt x="3162" y="139"/>
                    </a:lnTo>
                    <a:lnTo>
                      <a:pt x="3166" y="169"/>
                    </a:lnTo>
                    <a:lnTo>
                      <a:pt x="3169" y="202"/>
                    </a:lnTo>
                    <a:lnTo>
                      <a:pt x="3169" y="639"/>
                    </a:lnTo>
                    <a:lnTo>
                      <a:pt x="3166" y="675"/>
                    </a:lnTo>
                    <a:lnTo>
                      <a:pt x="3161" y="707"/>
                    </a:lnTo>
                    <a:lnTo>
                      <a:pt x="3152" y="736"/>
                    </a:lnTo>
                    <a:lnTo>
                      <a:pt x="3140" y="761"/>
                    </a:lnTo>
                    <a:lnTo>
                      <a:pt x="3126" y="783"/>
                    </a:lnTo>
                    <a:lnTo>
                      <a:pt x="3107" y="802"/>
                    </a:lnTo>
                    <a:lnTo>
                      <a:pt x="3088" y="817"/>
                    </a:lnTo>
                    <a:lnTo>
                      <a:pt x="3065" y="831"/>
                    </a:lnTo>
                    <a:lnTo>
                      <a:pt x="3042" y="842"/>
                    </a:lnTo>
                    <a:lnTo>
                      <a:pt x="3017" y="850"/>
                    </a:lnTo>
                    <a:lnTo>
                      <a:pt x="2990" y="857"/>
                    </a:lnTo>
                    <a:lnTo>
                      <a:pt x="2962" y="861"/>
                    </a:lnTo>
                    <a:lnTo>
                      <a:pt x="2934" y="865"/>
                    </a:lnTo>
                    <a:lnTo>
                      <a:pt x="2905" y="867"/>
                    </a:lnTo>
                    <a:lnTo>
                      <a:pt x="2876" y="868"/>
                    </a:lnTo>
                    <a:lnTo>
                      <a:pt x="2847" y="870"/>
                    </a:lnTo>
                    <a:lnTo>
                      <a:pt x="2818" y="870"/>
                    </a:lnTo>
                    <a:lnTo>
                      <a:pt x="2789" y="870"/>
                    </a:lnTo>
                    <a:lnTo>
                      <a:pt x="379" y="870"/>
                    </a:lnTo>
                    <a:lnTo>
                      <a:pt x="351" y="870"/>
                    </a:lnTo>
                    <a:lnTo>
                      <a:pt x="322" y="870"/>
                    </a:lnTo>
                    <a:lnTo>
                      <a:pt x="293" y="868"/>
                    </a:lnTo>
                    <a:lnTo>
                      <a:pt x="262" y="867"/>
                    </a:lnTo>
                    <a:lnTo>
                      <a:pt x="233" y="865"/>
                    </a:lnTo>
                    <a:lnTo>
                      <a:pt x="205" y="861"/>
                    </a:lnTo>
                    <a:lnTo>
                      <a:pt x="177" y="857"/>
                    </a:lnTo>
                    <a:lnTo>
                      <a:pt x="152" y="850"/>
                    </a:lnTo>
                    <a:lnTo>
                      <a:pt x="126" y="842"/>
                    </a:lnTo>
                    <a:lnTo>
                      <a:pt x="102" y="831"/>
                    </a:lnTo>
                    <a:lnTo>
                      <a:pt x="80" y="817"/>
                    </a:lnTo>
                    <a:lnTo>
                      <a:pt x="60" y="802"/>
                    </a:lnTo>
                    <a:lnTo>
                      <a:pt x="43" y="783"/>
                    </a:lnTo>
                    <a:lnTo>
                      <a:pt x="28" y="761"/>
                    </a:lnTo>
                    <a:lnTo>
                      <a:pt x="16" y="736"/>
                    </a:lnTo>
                    <a:lnTo>
                      <a:pt x="6" y="707"/>
                    </a:lnTo>
                    <a:lnTo>
                      <a:pt x="1" y="675"/>
                    </a:lnTo>
                    <a:lnTo>
                      <a:pt x="0" y="639"/>
                    </a:lnTo>
                    <a:lnTo>
                      <a:pt x="0" y="202"/>
                    </a:lnTo>
                    <a:lnTo>
                      <a:pt x="1" y="169"/>
                    </a:lnTo>
                    <a:lnTo>
                      <a:pt x="6" y="139"/>
                    </a:lnTo>
                    <a:lnTo>
                      <a:pt x="14" y="113"/>
                    </a:lnTo>
                    <a:lnTo>
                      <a:pt x="25" y="91"/>
                    </a:lnTo>
                    <a:lnTo>
                      <a:pt x="37" y="71"/>
                    </a:lnTo>
                    <a:lnTo>
                      <a:pt x="53" y="55"/>
                    </a:lnTo>
                    <a:lnTo>
                      <a:pt x="70" y="41"/>
                    </a:lnTo>
                    <a:lnTo>
                      <a:pt x="88" y="31"/>
                    </a:lnTo>
                    <a:lnTo>
                      <a:pt x="108" y="22"/>
                    </a:lnTo>
                    <a:lnTo>
                      <a:pt x="130" y="14"/>
                    </a:lnTo>
                    <a:lnTo>
                      <a:pt x="152" y="9"/>
                    </a:lnTo>
                    <a:lnTo>
                      <a:pt x="174" y="6"/>
                    </a:lnTo>
                    <a:lnTo>
                      <a:pt x="198" y="4"/>
                    </a:lnTo>
                    <a:lnTo>
                      <a:pt x="220" y="2"/>
                    </a:lnTo>
                    <a:lnTo>
                      <a:pt x="244" y="0"/>
                    </a:lnTo>
                    <a:lnTo>
                      <a:pt x="267" y="0"/>
                    </a:lnTo>
                    <a:lnTo>
                      <a:pt x="2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Rounded Rectangle 27"/>
              <p:cNvSpPr/>
              <p:nvPr/>
            </p:nvSpPr>
            <p:spPr bwMode="auto">
              <a:xfrm>
                <a:off x="5689600" y="3462867"/>
                <a:ext cx="1356520" cy="829733"/>
              </a:xfrm>
              <a:prstGeom prst="roundRect">
                <a:avLst/>
              </a:prstGeom>
              <a:noFill/>
              <a:ln w="22225">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nvGrpSpPr>
            <p:cNvPr id="29" name="Group 28"/>
            <p:cNvGrpSpPr/>
            <p:nvPr/>
          </p:nvGrpSpPr>
          <p:grpSpPr>
            <a:xfrm>
              <a:off x="5758295" y="2374923"/>
              <a:ext cx="1217566" cy="744740"/>
              <a:chOff x="5689600" y="3462867"/>
              <a:chExt cx="1356520" cy="829733"/>
            </a:xfrm>
          </p:grpSpPr>
          <p:sp>
            <p:nvSpPr>
              <p:cNvPr id="30" name="Freeform 6"/>
              <p:cNvSpPr>
                <a:spLocks noEditPoints="1"/>
              </p:cNvSpPr>
              <p:nvPr/>
            </p:nvSpPr>
            <p:spPr bwMode="auto">
              <a:xfrm>
                <a:off x="5777972" y="3545090"/>
                <a:ext cx="1192530" cy="662517"/>
              </a:xfrm>
              <a:custGeom>
                <a:avLst/>
                <a:gdLst>
                  <a:gd name="T0" fmla="*/ 2214 w 3169"/>
                  <a:gd name="T1" fmla="*/ 1274 h 1760"/>
                  <a:gd name="T2" fmla="*/ 290 w 3169"/>
                  <a:gd name="T3" fmla="*/ 1050 h 1760"/>
                  <a:gd name="T4" fmla="*/ 2982 w 3169"/>
                  <a:gd name="T5" fmla="*/ 1601 h 1760"/>
                  <a:gd name="T6" fmla="*/ 180 w 3169"/>
                  <a:gd name="T7" fmla="*/ 945 h 1760"/>
                  <a:gd name="T8" fmla="*/ 61 w 3169"/>
                  <a:gd name="T9" fmla="*/ 1012 h 1760"/>
                  <a:gd name="T10" fmla="*/ 55 w 3169"/>
                  <a:gd name="T11" fmla="*/ 1589 h 1760"/>
                  <a:gd name="T12" fmla="*/ 149 w 3169"/>
                  <a:gd name="T13" fmla="*/ 1689 h 1760"/>
                  <a:gd name="T14" fmla="*/ 340 w 3169"/>
                  <a:gd name="T15" fmla="*/ 1712 h 1760"/>
                  <a:gd name="T16" fmla="*/ 2933 w 3169"/>
                  <a:gd name="T17" fmla="*/ 1708 h 1760"/>
                  <a:gd name="T18" fmla="*/ 3079 w 3169"/>
                  <a:gd name="T19" fmla="*/ 1653 h 1760"/>
                  <a:gd name="T20" fmla="*/ 3120 w 3169"/>
                  <a:gd name="T21" fmla="*/ 1093 h 1760"/>
                  <a:gd name="T22" fmla="*/ 3063 w 3169"/>
                  <a:gd name="T23" fmla="*/ 966 h 1760"/>
                  <a:gd name="T24" fmla="*/ 2879 w 3169"/>
                  <a:gd name="T25" fmla="*/ 938 h 1760"/>
                  <a:gd name="T26" fmla="*/ 288 w 3169"/>
                  <a:gd name="T27" fmla="*/ 891 h 1760"/>
                  <a:gd name="T28" fmla="*/ 2901 w 3169"/>
                  <a:gd name="T29" fmla="*/ 891 h 1760"/>
                  <a:gd name="T30" fmla="*/ 3038 w 3169"/>
                  <a:gd name="T31" fmla="*/ 905 h 1760"/>
                  <a:gd name="T32" fmla="*/ 3144 w 3169"/>
                  <a:gd name="T33" fmla="*/ 981 h 1760"/>
                  <a:gd name="T34" fmla="*/ 3166 w 3169"/>
                  <a:gd name="T35" fmla="*/ 1566 h 1760"/>
                  <a:gd name="T36" fmla="*/ 3088 w 3169"/>
                  <a:gd name="T37" fmla="*/ 1708 h 1760"/>
                  <a:gd name="T38" fmla="*/ 2934 w 3169"/>
                  <a:gd name="T39" fmla="*/ 1756 h 1760"/>
                  <a:gd name="T40" fmla="*/ 379 w 3169"/>
                  <a:gd name="T41" fmla="*/ 1760 h 1760"/>
                  <a:gd name="T42" fmla="*/ 205 w 3169"/>
                  <a:gd name="T43" fmla="*/ 1752 h 1760"/>
                  <a:gd name="T44" fmla="*/ 60 w 3169"/>
                  <a:gd name="T45" fmla="*/ 1693 h 1760"/>
                  <a:gd name="T46" fmla="*/ 0 w 3169"/>
                  <a:gd name="T47" fmla="*/ 1529 h 1760"/>
                  <a:gd name="T48" fmla="*/ 37 w 3169"/>
                  <a:gd name="T49" fmla="*/ 962 h 1760"/>
                  <a:gd name="T50" fmla="*/ 152 w 3169"/>
                  <a:gd name="T51" fmla="*/ 900 h 1760"/>
                  <a:gd name="T52" fmla="*/ 288 w 3169"/>
                  <a:gd name="T53" fmla="*/ 891 h 1760"/>
                  <a:gd name="T54" fmla="*/ 2165 w 3169"/>
                  <a:gd name="T55" fmla="*/ 303 h 1760"/>
                  <a:gd name="T56" fmla="*/ 289 w 3169"/>
                  <a:gd name="T57" fmla="*/ 149 h 1760"/>
                  <a:gd name="T58" fmla="*/ 2980 w 3169"/>
                  <a:gd name="T59" fmla="*/ 700 h 1760"/>
                  <a:gd name="T60" fmla="*/ 180 w 3169"/>
                  <a:gd name="T61" fmla="*/ 54 h 1760"/>
                  <a:gd name="T62" fmla="*/ 61 w 3169"/>
                  <a:gd name="T63" fmla="*/ 123 h 1760"/>
                  <a:gd name="T64" fmla="*/ 55 w 3169"/>
                  <a:gd name="T65" fmla="*/ 699 h 1760"/>
                  <a:gd name="T66" fmla="*/ 149 w 3169"/>
                  <a:gd name="T67" fmla="*/ 799 h 1760"/>
                  <a:gd name="T68" fmla="*/ 340 w 3169"/>
                  <a:gd name="T69" fmla="*/ 822 h 1760"/>
                  <a:gd name="T70" fmla="*/ 2933 w 3169"/>
                  <a:gd name="T71" fmla="*/ 817 h 1760"/>
                  <a:gd name="T72" fmla="*/ 3079 w 3169"/>
                  <a:gd name="T73" fmla="*/ 762 h 1760"/>
                  <a:gd name="T74" fmla="*/ 3120 w 3169"/>
                  <a:gd name="T75" fmla="*/ 202 h 1760"/>
                  <a:gd name="T76" fmla="*/ 3063 w 3169"/>
                  <a:gd name="T77" fmla="*/ 76 h 1760"/>
                  <a:gd name="T78" fmla="*/ 2879 w 3169"/>
                  <a:gd name="T79" fmla="*/ 49 h 1760"/>
                  <a:gd name="T80" fmla="*/ 288 w 3169"/>
                  <a:gd name="T81" fmla="*/ 0 h 1760"/>
                  <a:gd name="T82" fmla="*/ 2901 w 3169"/>
                  <a:gd name="T83" fmla="*/ 0 h 1760"/>
                  <a:gd name="T84" fmla="*/ 3038 w 3169"/>
                  <a:gd name="T85" fmla="*/ 14 h 1760"/>
                  <a:gd name="T86" fmla="*/ 3144 w 3169"/>
                  <a:gd name="T87" fmla="*/ 91 h 1760"/>
                  <a:gd name="T88" fmla="*/ 3166 w 3169"/>
                  <a:gd name="T89" fmla="*/ 675 h 1760"/>
                  <a:gd name="T90" fmla="*/ 3088 w 3169"/>
                  <a:gd name="T91" fmla="*/ 817 h 1760"/>
                  <a:gd name="T92" fmla="*/ 2934 w 3169"/>
                  <a:gd name="T93" fmla="*/ 865 h 1760"/>
                  <a:gd name="T94" fmla="*/ 379 w 3169"/>
                  <a:gd name="T95" fmla="*/ 870 h 1760"/>
                  <a:gd name="T96" fmla="*/ 205 w 3169"/>
                  <a:gd name="T97" fmla="*/ 861 h 1760"/>
                  <a:gd name="T98" fmla="*/ 60 w 3169"/>
                  <a:gd name="T99" fmla="*/ 802 h 1760"/>
                  <a:gd name="T100" fmla="*/ 0 w 3169"/>
                  <a:gd name="T101" fmla="*/ 639 h 1760"/>
                  <a:gd name="T102" fmla="*/ 37 w 3169"/>
                  <a:gd name="T103" fmla="*/ 71 h 1760"/>
                  <a:gd name="T104" fmla="*/ 152 w 3169"/>
                  <a:gd name="T105" fmla="*/ 9 h 1760"/>
                  <a:gd name="T106" fmla="*/ 288 w 3169"/>
                  <a:gd name="T10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69" h="1760">
                    <a:moveTo>
                      <a:pt x="2214" y="1484"/>
                    </a:moveTo>
                    <a:lnTo>
                      <a:pt x="2795" y="1484"/>
                    </a:lnTo>
                    <a:lnTo>
                      <a:pt x="2795" y="1569"/>
                    </a:lnTo>
                    <a:lnTo>
                      <a:pt x="2214" y="1569"/>
                    </a:lnTo>
                    <a:lnTo>
                      <a:pt x="2214" y="1484"/>
                    </a:lnTo>
                    <a:close/>
                    <a:moveTo>
                      <a:pt x="2214" y="1274"/>
                    </a:moveTo>
                    <a:lnTo>
                      <a:pt x="2795" y="1274"/>
                    </a:lnTo>
                    <a:lnTo>
                      <a:pt x="2795" y="1366"/>
                    </a:lnTo>
                    <a:lnTo>
                      <a:pt x="2214" y="1366"/>
                    </a:lnTo>
                    <a:lnTo>
                      <a:pt x="2214" y="1274"/>
                    </a:lnTo>
                    <a:close/>
                    <a:moveTo>
                      <a:pt x="198" y="1050"/>
                    </a:moveTo>
                    <a:lnTo>
                      <a:pt x="290" y="1050"/>
                    </a:lnTo>
                    <a:lnTo>
                      <a:pt x="290" y="1631"/>
                    </a:lnTo>
                    <a:lnTo>
                      <a:pt x="198" y="1631"/>
                    </a:lnTo>
                    <a:lnTo>
                      <a:pt x="198" y="1050"/>
                    </a:lnTo>
                    <a:close/>
                    <a:moveTo>
                      <a:pt x="2889" y="1020"/>
                    </a:moveTo>
                    <a:lnTo>
                      <a:pt x="2982" y="1020"/>
                    </a:lnTo>
                    <a:lnTo>
                      <a:pt x="2982" y="1601"/>
                    </a:lnTo>
                    <a:lnTo>
                      <a:pt x="2889" y="1601"/>
                    </a:lnTo>
                    <a:lnTo>
                      <a:pt x="2889" y="1020"/>
                    </a:lnTo>
                    <a:close/>
                    <a:moveTo>
                      <a:pt x="288" y="938"/>
                    </a:moveTo>
                    <a:lnTo>
                      <a:pt x="248" y="939"/>
                    </a:lnTo>
                    <a:lnTo>
                      <a:pt x="212" y="942"/>
                    </a:lnTo>
                    <a:lnTo>
                      <a:pt x="180" y="945"/>
                    </a:lnTo>
                    <a:lnTo>
                      <a:pt x="150" y="949"/>
                    </a:lnTo>
                    <a:lnTo>
                      <a:pt x="126" y="957"/>
                    </a:lnTo>
                    <a:lnTo>
                      <a:pt x="104" y="966"/>
                    </a:lnTo>
                    <a:lnTo>
                      <a:pt x="86" y="978"/>
                    </a:lnTo>
                    <a:lnTo>
                      <a:pt x="72" y="994"/>
                    </a:lnTo>
                    <a:lnTo>
                      <a:pt x="61" y="1012"/>
                    </a:lnTo>
                    <a:lnTo>
                      <a:pt x="54" y="1035"/>
                    </a:lnTo>
                    <a:lnTo>
                      <a:pt x="49" y="1062"/>
                    </a:lnTo>
                    <a:lnTo>
                      <a:pt x="47" y="1093"/>
                    </a:lnTo>
                    <a:lnTo>
                      <a:pt x="47" y="1529"/>
                    </a:lnTo>
                    <a:lnTo>
                      <a:pt x="49" y="1561"/>
                    </a:lnTo>
                    <a:lnTo>
                      <a:pt x="55" y="1589"/>
                    </a:lnTo>
                    <a:lnTo>
                      <a:pt x="62" y="1614"/>
                    </a:lnTo>
                    <a:lnTo>
                      <a:pt x="74" y="1634"/>
                    </a:lnTo>
                    <a:lnTo>
                      <a:pt x="89" y="1653"/>
                    </a:lnTo>
                    <a:lnTo>
                      <a:pt x="106" y="1668"/>
                    </a:lnTo>
                    <a:lnTo>
                      <a:pt x="127" y="1680"/>
                    </a:lnTo>
                    <a:lnTo>
                      <a:pt x="149" y="1689"/>
                    </a:lnTo>
                    <a:lnTo>
                      <a:pt x="175" y="1697"/>
                    </a:lnTo>
                    <a:lnTo>
                      <a:pt x="204" y="1703"/>
                    </a:lnTo>
                    <a:lnTo>
                      <a:pt x="234" y="1708"/>
                    </a:lnTo>
                    <a:lnTo>
                      <a:pt x="268" y="1710"/>
                    </a:lnTo>
                    <a:lnTo>
                      <a:pt x="302" y="1712"/>
                    </a:lnTo>
                    <a:lnTo>
                      <a:pt x="340" y="1712"/>
                    </a:lnTo>
                    <a:lnTo>
                      <a:pt x="379" y="1713"/>
                    </a:lnTo>
                    <a:lnTo>
                      <a:pt x="2789" y="1713"/>
                    </a:lnTo>
                    <a:lnTo>
                      <a:pt x="2827" y="1712"/>
                    </a:lnTo>
                    <a:lnTo>
                      <a:pt x="2865" y="1712"/>
                    </a:lnTo>
                    <a:lnTo>
                      <a:pt x="2901" y="1710"/>
                    </a:lnTo>
                    <a:lnTo>
                      <a:pt x="2933" y="1708"/>
                    </a:lnTo>
                    <a:lnTo>
                      <a:pt x="2964" y="1703"/>
                    </a:lnTo>
                    <a:lnTo>
                      <a:pt x="2992" y="1697"/>
                    </a:lnTo>
                    <a:lnTo>
                      <a:pt x="3018" y="1689"/>
                    </a:lnTo>
                    <a:lnTo>
                      <a:pt x="3040" y="1680"/>
                    </a:lnTo>
                    <a:lnTo>
                      <a:pt x="3061" y="1668"/>
                    </a:lnTo>
                    <a:lnTo>
                      <a:pt x="3079" y="1653"/>
                    </a:lnTo>
                    <a:lnTo>
                      <a:pt x="3093" y="1634"/>
                    </a:lnTo>
                    <a:lnTo>
                      <a:pt x="3105" y="1614"/>
                    </a:lnTo>
                    <a:lnTo>
                      <a:pt x="3114" y="1589"/>
                    </a:lnTo>
                    <a:lnTo>
                      <a:pt x="3119" y="1561"/>
                    </a:lnTo>
                    <a:lnTo>
                      <a:pt x="3120" y="1529"/>
                    </a:lnTo>
                    <a:lnTo>
                      <a:pt x="3120" y="1093"/>
                    </a:lnTo>
                    <a:lnTo>
                      <a:pt x="3119" y="1062"/>
                    </a:lnTo>
                    <a:lnTo>
                      <a:pt x="3115" y="1035"/>
                    </a:lnTo>
                    <a:lnTo>
                      <a:pt x="3106" y="1012"/>
                    </a:lnTo>
                    <a:lnTo>
                      <a:pt x="3095" y="994"/>
                    </a:lnTo>
                    <a:lnTo>
                      <a:pt x="3081" y="978"/>
                    </a:lnTo>
                    <a:lnTo>
                      <a:pt x="3063" y="966"/>
                    </a:lnTo>
                    <a:lnTo>
                      <a:pt x="3043" y="957"/>
                    </a:lnTo>
                    <a:lnTo>
                      <a:pt x="3017" y="949"/>
                    </a:lnTo>
                    <a:lnTo>
                      <a:pt x="2989" y="945"/>
                    </a:lnTo>
                    <a:lnTo>
                      <a:pt x="2957" y="942"/>
                    </a:lnTo>
                    <a:lnTo>
                      <a:pt x="2920" y="939"/>
                    </a:lnTo>
                    <a:lnTo>
                      <a:pt x="2879" y="938"/>
                    </a:lnTo>
                    <a:lnTo>
                      <a:pt x="2836" y="939"/>
                    </a:lnTo>
                    <a:lnTo>
                      <a:pt x="2789" y="939"/>
                    </a:lnTo>
                    <a:lnTo>
                      <a:pt x="379" y="939"/>
                    </a:lnTo>
                    <a:lnTo>
                      <a:pt x="331" y="939"/>
                    </a:lnTo>
                    <a:lnTo>
                      <a:pt x="288" y="938"/>
                    </a:lnTo>
                    <a:close/>
                    <a:moveTo>
                      <a:pt x="288" y="891"/>
                    </a:moveTo>
                    <a:lnTo>
                      <a:pt x="332" y="891"/>
                    </a:lnTo>
                    <a:lnTo>
                      <a:pt x="379" y="891"/>
                    </a:lnTo>
                    <a:lnTo>
                      <a:pt x="2789" y="891"/>
                    </a:lnTo>
                    <a:lnTo>
                      <a:pt x="2836" y="891"/>
                    </a:lnTo>
                    <a:lnTo>
                      <a:pt x="2879" y="891"/>
                    </a:lnTo>
                    <a:lnTo>
                      <a:pt x="2901" y="891"/>
                    </a:lnTo>
                    <a:lnTo>
                      <a:pt x="2923" y="891"/>
                    </a:lnTo>
                    <a:lnTo>
                      <a:pt x="2947" y="892"/>
                    </a:lnTo>
                    <a:lnTo>
                      <a:pt x="2969" y="893"/>
                    </a:lnTo>
                    <a:lnTo>
                      <a:pt x="2993" y="896"/>
                    </a:lnTo>
                    <a:lnTo>
                      <a:pt x="3016" y="900"/>
                    </a:lnTo>
                    <a:lnTo>
                      <a:pt x="3038" y="905"/>
                    </a:lnTo>
                    <a:lnTo>
                      <a:pt x="3059" y="911"/>
                    </a:lnTo>
                    <a:lnTo>
                      <a:pt x="3079" y="921"/>
                    </a:lnTo>
                    <a:lnTo>
                      <a:pt x="3099" y="932"/>
                    </a:lnTo>
                    <a:lnTo>
                      <a:pt x="3115" y="946"/>
                    </a:lnTo>
                    <a:lnTo>
                      <a:pt x="3131" y="962"/>
                    </a:lnTo>
                    <a:lnTo>
                      <a:pt x="3144" y="981"/>
                    </a:lnTo>
                    <a:lnTo>
                      <a:pt x="3154" y="1004"/>
                    </a:lnTo>
                    <a:lnTo>
                      <a:pt x="3162" y="1030"/>
                    </a:lnTo>
                    <a:lnTo>
                      <a:pt x="3166" y="1060"/>
                    </a:lnTo>
                    <a:lnTo>
                      <a:pt x="3169" y="1093"/>
                    </a:lnTo>
                    <a:lnTo>
                      <a:pt x="3169" y="1529"/>
                    </a:lnTo>
                    <a:lnTo>
                      <a:pt x="3166" y="1566"/>
                    </a:lnTo>
                    <a:lnTo>
                      <a:pt x="3161" y="1598"/>
                    </a:lnTo>
                    <a:lnTo>
                      <a:pt x="3152" y="1627"/>
                    </a:lnTo>
                    <a:lnTo>
                      <a:pt x="3140" y="1652"/>
                    </a:lnTo>
                    <a:lnTo>
                      <a:pt x="3126" y="1673"/>
                    </a:lnTo>
                    <a:lnTo>
                      <a:pt x="3107" y="1693"/>
                    </a:lnTo>
                    <a:lnTo>
                      <a:pt x="3088" y="1708"/>
                    </a:lnTo>
                    <a:lnTo>
                      <a:pt x="3065" y="1720"/>
                    </a:lnTo>
                    <a:lnTo>
                      <a:pt x="3042" y="1731"/>
                    </a:lnTo>
                    <a:lnTo>
                      <a:pt x="3017" y="1740"/>
                    </a:lnTo>
                    <a:lnTo>
                      <a:pt x="2990" y="1747"/>
                    </a:lnTo>
                    <a:lnTo>
                      <a:pt x="2962" y="1752"/>
                    </a:lnTo>
                    <a:lnTo>
                      <a:pt x="2934" y="1756"/>
                    </a:lnTo>
                    <a:lnTo>
                      <a:pt x="2905" y="1758"/>
                    </a:lnTo>
                    <a:lnTo>
                      <a:pt x="2876" y="1759"/>
                    </a:lnTo>
                    <a:lnTo>
                      <a:pt x="2847" y="1760"/>
                    </a:lnTo>
                    <a:lnTo>
                      <a:pt x="2818" y="1760"/>
                    </a:lnTo>
                    <a:lnTo>
                      <a:pt x="2789" y="1760"/>
                    </a:lnTo>
                    <a:lnTo>
                      <a:pt x="379" y="1760"/>
                    </a:lnTo>
                    <a:lnTo>
                      <a:pt x="351" y="1760"/>
                    </a:lnTo>
                    <a:lnTo>
                      <a:pt x="322" y="1760"/>
                    </a:lnTo>
                    <a:lnTo>
                      <a:pt x="293" y="1759"/>
                    </a:lnTo>
                    <a:lnTo>
                      <a:pt x="262" y="1758"/>
                    </a:lnTo>
                    <a:lnTo>
                      <a:pt x="233" y="1756"/>
                    </a:lnTo>
                    <a:lnTo>
                      <a:pt x="205" y="1752"/>
                    </a:lnTo>
                    <a:lnTo>
                      <a:pt x="177" y="1747"/>
                    </a:lnTo>
                    <a:lnTo>
                      <a:pt x="152" y="1740"/>
                    </a:lnTo>
                    <a:lnTo>
                      <a:pt x="126" y="1731"/>
                    </a:lnTo>
                    <a:lnTo>
                      <a:pt x="102" y="1720"/>
                    </a:lnTo>
                    <a:lnTo>
                      <a:pt x="80" y="1708"/>
                    </a:lnTo>
                    <a:lnTo>
                      <a:pt x="60" y="1693"/>
                    </a:lnTo>
                    <a:lnTo>
                      <a:pt x="43" y="1673"/>
                    </a:lnTo>
                    <a:lnTo>
                      <a:pt x="28" y="1652"/>
                    </a:lnTo>
                    <a:lnTo>
                      <a:pt x="16" y="1627"/>
                    </a:lnTo>
                    <a:lnTo>
                      <a:pt x="6" y="1598"/>
                    </a:lnTo>
                    <a:lnTo>
                      <a:pt x="1" y="1566"/>
                    </a:lnTo>
                    <a:lnTo>
                      <a:pt x="0" y="1529"/>
                    </a:lnTo>
                    <a:lnTo>
                      <a:pt x="0" y="1093"/>
                    </a:lnTo>
                    <a:lnTo>
                      <a:pt x="1" y="1060"/>
                    </a:lnTo>
                    <a:lnTo>
                      <a:pt x="6" y="1030"/>
                    </a:lnTo>
                    <a:lnTo>
                      <a:pt x="14" y="1004"/>
                    </a:lnTo>
                    <a:lnTo>
                      <a:pt x="25" y="981"/>
                    </a:lnTo>
                    <a:lnTo>
                      <a:pt x="37" y="962"/>
                    </a:lnTo>
                    <a:lnTo>
                      <a:pt x="53" y="946"/>
                    </a:lnTo>
                    <a:lnTo>
                      <a:pt x="70" y="932"/>
                    </a:lnTo>
                    <a:lnTo>
                      <a:pt x="88" y="921"/>
                    </a:lnTo>
                    <a:lnTo>
                      <a:pt x="108" y="911"/>
                    </a:lnTo>
                    <a:lnTo>
                      <a:pt x="130" y="905"/>
                    </a:lnTo>
                    <a:lnTo>
                      <a:pt x="152" y="900"/>
                    </a:lnTo>
                    <a:lnTo>
                      <a:pt x="174" y="896"/>
                    </a:lnTo>
                    <a:lnTo>
                      <a:pt x="198" y="893"/>
                    </a:lnTo>
                    <a:lnTo>
                      <a:pt x="220" y="892"/>
                    </a:lnTo>
                    <a:lnTo>
                      <a:pt x="244" y="891"/>
                    </a:lnTo>
                    <a:lnTo>
                      <a:pt x="267" y="891"/>
                    </a:lnTo>
                    <a:lnTo>
                      <a:pt x="288" y="891"/>
                    </a:lnTo>
                    <a:close/>
                    <a:moveTo>
                      <a:pt x="2165" y="515"/>
                    </a:moveTo>
                    <a:lnTo>
                      <a:pt x="2748" y="515"/>
                    </a:lnTo>
                    <a:lnTo>
                      <a:pt x="2748" y="600"/>
                    </a:lnTo>
                    <a:lnTo>
                      <a:pt x="2165" y="600"/>
                    </a:lnTo>
                    <a:lnTo>
                      <a:pt x="2165" y="515"/>
                    </a:lnTo>
                    <a:close/>
                    <a:moveTo>
                      <a:pt x="2165" y="303"/>
                    </a:moveTo>
                    <a:lnTo>
                      <a:pt x="2748" y="303"/>
                    </a:lnTo>
                    <a:lnTo>
                      <a:pt x="2748" y="397"/>
                    </a:lnTo>
                    <a:lnTo>
                      <a:pt x="2165" y="397"/>
                    </a:lnTo>
                    <a:lnTo>
                      <a:pt x="2165" y="303"/>
                    </a:lnTo>
                    <a:close/>
                    <a:moveTo>
                      <a:pt x="197" y="149"/>
                    </a:moveTo>
                    <a:lnTo>
                      <a:pt x="289" y="149"/>
                    </a:lnTo>
                    <a:lnTo>
                      <a:pt x="289" y="730"/>
                    </a:lnTo>
                    <a:lnTo>
                      <a:pt x="197" y="730"/>
                    </a:lnTo>
                    <a:lnTo>
                      <a:pt x="197" y="149"/>
                    </a:lnTo>
                    <a:close/>
                    <a:moveTo>
                      <a:pt x="2888" y="119"/>
                    </a:moveTo>
                    <a:lnTo>
                      <a:pt x="2980" y="119"/>
                    </a:lnTo>
                    <a:lnTo>
                      <a:pt x="2980" y="700"/>
                    </a:lnTo>
                    <a:lnTo>
                      <a:pt x="2888" y="700"/>
                    </a:lnTo>
                    <a:lnTo>
                      <a:pt x="2888" y="119"/>
                    </a:lnTo>
                    <a:close/>
                    <a:moveTo>
                      <a:pt x="288" y="49"/>
                    </a:moveTo>
                    <a:lnTo>
                      <a:pt x="248" y="49"/>
                    </a:lnTo>
                    <a:lnTo>
                      <a:pt x="212" y="51"/>
                    </a:lnTo>
                    <a:lnTo>
                      <a:pt x="180" y="54"/>
                    </a:lnTo>
                    <a:lnTo>
                      <a:pt x="150" y="58"/>
                    </a:lnTo>
                    <a:lnTo>
                      <a:pt x="126" y="66"/>
                    </a:lnTo>
                    <a:lnTo>
                      <a:pt x="104" y="76"/>
                    </a:lnTo>
                    <a:lnTo>
                      <a:pt x="86" y="89"/>
                    </a:lnTo>
                    <a:lnTo>
                      <a:pt x="72" y="104"/>
                    </a:lnTo>
                    <a:lnTo>
                      <a:pt x="61" y="123"/>
                    </a:lnTo>
                    <a:lnTo>
                      <a:pt x="54" y="145"/>
                    </a:lnTo>
                    <a:lnTo>
                      <a:pt x="49" y="171"/>
                    </a:lnTo>
                    <a:lnTo>
                      <a:pt x="47" y="202"/>
                    </a:lnTo>
                    <a:lnTo>
                      <a:pt x="47" y="639"/>
                    </a:lnTo>
                    <a:lnTo>
                      <a:pt x="49" y="671"/>
                    </a:lnTo>
                    <a:lnTo>
                      <a:pt x="55" y="699"/>
                    </a:lnTo>
                    <a:lnTo>
                      <a:pt x="62" y="723"/>
                    </a:lnTo>
                    <a:lnTo>
                      <a:pt x="74" y="745"/>
                    </a:lnTo>
                    <a:lnTo>
                      <a:pt x="89" y="762"/>
                    </a:lnTo>
                    <a:lnTo>
                      <a:pt x="106" y="777"/>
                    </a:lnTo>
                    <a:lnTo>
                      <a:pt x="127" y="789"/>
                    </a:lnTo>
                    <a:lnTo>
                      <a:pt x="149" y="799"/>
                    </a:lnTo>
                    <a:lnTo>
                      <a:pt x="175" y="807"/>
                    </a:lnTo>
                    <a:lnTo>
                      <a:pt x="204" y="813"/>
                    </a:lnTo>
                    <a:lnTo>
                      <a:pt x="234" y="817"/>
                    </a:lnTo>
                    <a:lnTo>
                      <a:pt x="268" y="819"/>
                    </a:lnTo>
                    <a:lnTo>
                      <a:pt x="302" y="821"/>
                    </a:lnTo>
                    <a:lnTo>
                      <a:pt x="340" y="822"/>
                    </a:lnTo>
                    <a:lnTo>
                      <a:pt x="379" y="822"/>
                    </a:lnTo>
                    <a:lnTo>
                      <a:pt x="2789" y="822"/>
                    </a:lnTo>
                    <a:lnTo>
                      <a:pt x="2827" y="822"/>
                    </a:lnTo>
                    <a:lnTo>
                      <a:pt x="2865" y="821"/>
                    </a:lnTo>
                    <a:lnTo>
                      <a:pt x="2901" y="819"/>
                    </a:lnTo>
                    <a:lnTo>
                      <a:pt x="2933" y="817"/>
                    </a:lnTo>
                    <a:lnTo>
                      <a:pt x="2964" y="813"/>
                    </a:lnTo>
                    <a:lnTo>
                      <a:pt x="2992" y="807"/>
                    </a:lnTo>
                    <a:lnTo>
                      <a:pt x="3018" y="799"/>
                    </a:lnTo>
                    <a:lnTo>
                      <a:pt x="3040" y="789"/>
                    </a:lnTo>
                    <a:lnTo>
                      <a:pt x="3061" y="777"/>
                    </a:lnTo>
                    <a:lnTo>
                      <a:pt x="3079" y="762"/>
                    </a:lnTo>
                    <a:lnTo>
                      <a:pt x="3093" y="745"/>
                    </a:lnTo>
                    <a:lnTo>
                      <a:pt x="3105" y="723"/>
                    </a:lnTo>
                    <a:lnTo>
                      <a:pt x="3114" y="699"/>
                    </a:lnTo>
                    <a:lnTo>
                      <a:pt x="3119" y="671"/>
                    </a:lnTo>
                    <a:lnTo>
                      <a:pt x="3120" y="639"/>
                    </a:lnTo>
                    <a:lnTo>
                      <a:pt x="3120" y="202"/>
                    </a:lnTo>
                    <a:lnTo>
                      <a:pt x="3119" y="171"/>
                    </a:lnTo>
                    <a:lnTo>
                      <a:pt x="3115" y="145"/>
                    </a:lnTo>
                    <a:lnTo>
                      <a:pt x="3106" y="123"/>
                    </a:lnTo>
                    <a:lnTo>
                      <a:pt x="3095" y="104"/>
                    </a:lnTo>
                    <a:lnTo>
                      <a:pt x="3081" y="89"/>
                    </a:lnTo>
                    <a:lnTo>
                      <a:pt x="3063" y="76"/>
                    </a:lnTo>
                    <a:lnTo>
                      <a:pt x="3043" y="66"/>
                    </a:lnTo>
                    <a:lnTo>
                      <a:pt x="3017" y="58"/>
                    </a:lnTo>
                    <a:lnTo>
                      <a:pt x="2989" y="54"/>
                    </a:lnTo>
                    <a:lnTo>
                      <a:pt x="2957" y="51"/>
                    </a:lnTo>
                    <a:lnTo>
                      <a:pt x="2920" y="49"/>
                    </a:lnTo>
                    <a:lnTo>
                      <a:pt x="2879" y="49"/>
                    </a:lnTo>
                    <a:lnTo>
                      <a:pt x="2836" y="49"/>
                    </a:lnTo>
                    <a:lnTo>
                      <a:pt x="2789" y="49"/>
                    </a:lnTo>
                    <a:lnTo>
                      <a:pt x="379" y="49"/>
                    </a:lnTo>
                    <a:lnTo>
                      <a:pt x="331" y="49"/>
                    </a:lnTo>
                    <a:lnTo>
                      <a:pt x="288" y="49"/>
                    </a:lnTo>
                    <a:close/>
                    <a:moveTo>
                      <a:pt x="288" y="0"/>
                    </a:moveTo>
                    <a:lnTo>
                      <a:pt x="332" y="0"/>
                    </a:lnTo>
                    <a:lnTo>
                      <a:pt x="379" y="2"/>
                    </a:lnTo>
                    <a:lnTo>
                      <a:pt x="2789" y="2"/>
                    </a:lnTo>
                    <a:lnTo>
                      <a:pt x="2836" y="0"/>
                    </a:lnTo>
                    <a:lnTo>
                      <a:pt x="2879" y="0"/>
                    </a:lnTo>
                    <a:lnTo>
                      <a:pt x="2901" y="0"/>
                    </a:lnTo>
                    <a:lnTo>
                      <a:pt x="2924" y="0"/>
                    </a:lnTo>
                    <a:lnTo>
                      <a:pt x="2947" y="2"/>
                    </a:lnTo>
                    <a:lnTo>
                      <a:pt x="2971" y="4"/>
                    </a:lnTo>
                    <a:lnTo>
                      <a:pt x="2993" y="6"/>
                    </a:lnTo>
                    <a:lnTo>
                      <a:pt x="3016" y="9"/>
                    </a:lnTo>
                    <a:lnTo>
                      <a:pt x="3038" y="14"/>
                    </a:lnTo>
                    <a:lnTo>
                      <a:pt x="3059" y="22"/>
                    </a:lnTo>
                    <a:lnTo>
                      <a:pt x="3079" y="31"/>
                    </a:lnTo>
                    <a:lnTo>
                      <a:pt x="3099" y="41"/>
                    </a:lnTo>
                    <a:lnTo>
                      <a:pt x="3115" y="55"/>
                    </a:lnTo>
                    <a:lnTo>
                      <a:pt x="3131" y="71"/>
                    </a:lnTo>
                    <a:lnTo>
                      <a:pt x="3144" y="91"/>
                    </a:lnTo>
                    <a:lnTo>
                      <a:pt x="3154" y="113"/>
                    </a:lnTo>
                    <a:lnTo>
                      <a:pt x="3162" y="139"/>
                    </a:lnTo>
                    <a:lnTo>
                      <a:pt x="3166" y="169"/>
                    </a:lnTo>
                    <a:lnTo>
                      <a:pt x="3169" y="202"/>
                    </a:lnTo>
                    <a:lnTo>
                      <a:pt x="3169" y="639"/>
                    </a:lnTo>
                    <a:lnTo>
                      <a:pt x="3166" y="675"/>
                    </a:lnTo>
                    <a:lnTo>
                      <a:pt x="3161" y="707"/>
                    </a:lnTo>
                    <a:lnTo>
                      <a:pt x="3152" y="736"/>
                    </a:lnTo>
                    <a:lnTo>
                      <a:pt x="3140" y="761"/>
                    </a:lnTo>
                    <a:lnTo>
                      <a:pt x="3126" y="783"/>
                    </a:lnTo>
                    <a:lnTo>
                      <a:pt x="3107" y="802"/>
                    </a:lnTo>
                    <a:lnTo>
                      <a:pt x="3088" y="817"/>
                    </a:lnTo>
                    <a:lnTo>
                      <a:pt x="3065" y="831"/>
                    </a:lnTo>
                    <a:lnTo>
                      <a:pt x="3042" y="842"/>
                    </a:lnTo>
                    <a:lnTo>
                      <a:pt x="3017" y="850"/>
                    </a:lnTo>
                    <a:lnTo>
                      <a:pt x="2990" y="857"/>
                    </a:lnTo>
                    <a:lnTo>
                      <a:pt x="2962" y="861"/>
                    </a:lnTo>
                    <a:lnTo>
                      <a:pt x="2934" y="865"/>
                    </a:lnTo>
                    <a:lnTo>
                      <a:pt x="2905" y="867"/>
                    </a:lnTo>
                    <a:lnTo>
                      <a:pt x="2876" y="868"/>
                    </a:lnTo>
                    <a:lnTo>
                      <a:pt x="2847" y="870"/>
                    </a:lnTo>
                    <a:lnTo>
                      <a:pt x="2818" y="870"/>
                    </a:lnTo>
                    <a:lnTo>
                      <a:pt x="2789" y="870"/>
                    </a:lnTo>
                    <a:lnTo>
                      <a:pt x="379" y="870"/>
                    </a:lnTo>
                    <a:lnTo>
                      <a:pt x="351" y="870"/>
                    </a:lnTo>
                    <a:lnTo>
                      <a:pt x="322" y="870"/>
                    </a:lnTo>
                    <a:lnTo>
                      <a:pt x="293" y="868"/>
                    </a:lnTo>
                    <a:lnTo>
                      <a:pt x="262" y="867"/>
                    </a:lnTo>
                    <a:lnTo>
                      <a:pt x="233" y="865"/>
                    </a:lnTo>
                    <a:lnTo>
                      <a:pt x="205" y="861"/>
                    </a:lnTo>
                    <a:lnTo>
                      <a:pt x="177" y="857"/>
                    </a:lnTo>
                    <a:lnTo>
                      <a:pt x="152" y="850"/>
                    </a:lnTo>
                    <a:lnTo>
                      <a:pt x="126" y="842"/>
                    </a:lnTo>
                    <a:lnTo>
                      <a:pt x="102" y="831"/>
                    </a:lnTo>
                    <a:lnTo>
                      <a:pt x="80" y="817"/>
                    </a:lnTo>
                    <a:lnTo>
                      <a:pt x="60" y="802"/>
                    </a:lnTo>
                    <a:lnTo>
                      <a:pt x="43" y="783"/>
                    </a:lnTo>
                    <a:lnTo>
                      <a:pt x="28" y="761"/>
                    </a:lnTo>
                    <a:lnTo>
                      <a:pt x="16" y="736"/>
                    </a:lnTo>
                    <a:lnTo>
                      <a:pt x="6" y="707"/>
                    </a:lnTo>
                    <a:lnTo>
                      <a:pt x="1" y="675"/>
                    </a:lnTo>
                    <a:lnTo>
                      <a:pt x="0" y="639"/>
                    </a:lnTo>
                    <a:lnTo>
                      <a:pt x="0" y="202"/>
                    </a:lnTo>
                    <a:lnTo>
                      <a:pt x="1" y="169"/>
                    </a:lnTo>
                    <a:lnTo>
                      <a:pt x="6" y="139"/>
                    </a:lnTo>
                    <a:lnTo>
                      <a:pt x="14" y="113"/>
                    </a:lnTo>
                    <a:lnTo>
                      <a:pt x="25" y="91"/>
                    </a:lnTo>
                    <a:lnTo>
                      <a:pt x="37" y="71"/>
                    </a:lnTo>
                    <a:lnTo>
                      <a:pt x="53" y="55"/>
                    </a:lnTo>
                    <a:lnTo>
                      <a:pt x="70" y="41"/>
                    </a:lnTo>
                    <a:lnTo>
                      <a:pt x="88" y="31"/>
                    </a:lnTo>
                    <a:lnTo>
                      <a:pt x="108" y="22"/>
                    </a:lnTo>
                    <a:lnTo>
                      <a:pt x="130" y="14"/>
                    </a:lnTo>
                    <a:lnTo>
                      <a:pt x="152" y="9"/>
                    </a:lnTo>
                    <a:lnTo>
                      <a:pt x="174" y="6"/>
                    </a:lnTo>
                    <a:lnTo>
                      <a:pt x="198" y="4"/>
                    </a:lnTo>
                    <a:lnTo>
                      <a:pt x="220" y="2"/>
                    </a:lnTo>
                    <a:lnTo>
                      <a:pt x="244" y="0"/>
                    </a:lnTo>
                    <a:lnTo>
                      <a:pt x="267" y="0"/>
                    </a:lnTo>
                    <a:lnTo>
                      <a:pt x="2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Rounded Rectangle 30"/>
              <p:cNvSpPr/>
              <p:nvPr/>
            </p:nvSpPr>
            <p:spPr bwMode="auto">
              <a:xfrm>
                <a:off x="5689600" y="3462867"/>
                <a:ext cx="1356520" cy="829733"/>
              </a:xfrm>
              <a:prstGeom prst="roundRect">
                <a:avLst/>
              </a:prstGeom>
              <a:noFill/>
              <a:ln w="22225">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nvGrpSpPr>
            <p:cNvPr id="32" name="Group 31"/>
            <p:cNvGrpSpPr/>
            <p:nvPr/>
          </p:nvGrpSpPr>
          <p:grpSpPr>
            <a:xfrm>
              <a:off x="7026443" y="2388005"/>
              <a:ext cx="1217566" cy="744740"/>
              <a:chOff x="5689600" y="3462867"/>
              <a:chExt cx="1356520" cy="829733"/>
            </a:xfrm>
          </p:grpSpPr>
          <p:sp>
            <p:nvSpPr>
              <p:cNvPr id="33" name="Freeform 6"/>
              <p:cNvSpPr>
                <a:spLocks noEditPoints="1"/>
              </p:cNvSpPr>
              <p:nvPr/>
            </p:nvSpPr>
            <p:spPr bwMode="auto">
              <a:xfrm>
                <a:off x="5777972" y="3545090"/>
                <a:ext cx="1192530" cy="662517"/>
              </a:xfrm>
              <a:custGeom>
                <a:avLst/>
                <a:gdLst>
                  <a:gd name="T0" fmla="*/ 2214 w 3169"/>
                  <a:gd name="T1" fmla="*/ 1274 h 1760"/>
                  <a:gd name="T2" fmla="*/ 290 w 3169"/>
                  <a:gd name="T3" fmla="*/ 1050 h 1760"/>
                  <a:gd name="T4" fmla="*/ 2982 w 3169"/>
                  <a:gd name="T5" fmla="*/ 1601 h 1760"/>
                  <a:gd name="T6" fmla="*/ 180 w 3169"/>
                  <a:gd name="T7" fmla="*/ 945 h 1760"/>
                  <a:gd name="T8" fmla="*/ 61 w 3169"/>
                  <a:gd name="T9" fmla="*/ 1012 h 1760"/>
                  <a:gd name="T10" fmla="*/ 55 w 3169"/>
                  <a:gd name="T11" fmla="*/ 1589 h 1760"/>
                  <a:gd name="T12" fmla="*/ 149 w 3169"/>
                  <a:gd name="T13" fmla="*/ 1689 h 1760"/>
                  <a:gd name="T14" fmla="*/ 340 w 3169"/>
                  <a:gd name="T15" fmla="*/ 1712 h 1760"/>
                  <a:gd name="T16" fmla="*/ 2933 w 3169"/>
                  <a:gd name="T17" fmla="*/ 1708 h 1760"/>
                  <a:gd name="T18" fmla="*/ 3079 w 3169"/>
                  <a:gd name="T19" fmla="*/ 1653 h 1760"/>
                  <a:gd name="T20" fmla="*/ 3120 w 3169"/>
                  <a:gd name="T21" fmla="*/ 1093 h 1760"/>
                  <a:gd name="T22" fmla="*/ 3063 w 3169"/>
                  <a:gd name="T23" fmla="*/ 966 h 1760"/>
                  <a:gd name="T24" fmla="*/ 2879 w 3169"/>
                  <a:gd name="T25" fmla="*/ 938 h 1760"/>
                  <a:gd name="T26" fmla="*/ 288 w 3169"/>
                  <a:gd name="T27" fmla="*/ 891 h 1760"/>
                  <a:gd name="T28" fmla="*/ 2901 w 3169"/>
                  <a:gd name="T29" fmla="*/ 891 h 1760"/>
                  <a:gd name="T30" fmla="*/ 3038 w 3169"/>
                  <a:gd name="T31" fmla="*/ 905 h 1760"/>
                  <a:gd name="T32" fmla="*/ 3144 w 3169"/>
                  <a:gd name="T33" fmla="*/ 981 h 1760"/>
                  <a:gd name="T34" fmla="*/ 3166 w 3169"/>
                  <a:gd name="T35" fmla="*/ 1566 h 1760"/>
                  <a:gd name="T36" fmla="*/ 3088 w 3169"/>
                  <a:gd name="T37" fmla="*/ 1708 h 1760"/>
                  <a:gd name="T38" fmla="*/ 2934 w 3169"/>
                  <a:gd name="T39" fmla="*/ 1756 h 1760"/>
                  <a:gd name="T40" fmla="*/ 379 w 3169"/>
                  <a:gd name="T41" fmla="*/ 1760 h 1760"/>
                  <a:gd name="T42" fmla="*/ 205 w 3169"/>
                  <a:gd name="T43" fmla="*/ 1752 h 1760"/>
                  <a:gd name="T44" fmla="*/ 60 w 3169"/>
                  <a:gd name="T45" fmla="*/ 1693 h 1760"/>
                  <a:gd name="T46" fmla="*/ 0 w 3169"/>
                  <a:gd name="T47" fmla="*/ 1529 h 1760"/>
                  <a:gd name="T48" fmla="*/ 37 w 3169"/>
                  <a:gd name="T49" fmla="*/ 962 h 1760"/>
                  <a:gd name="T50" fmla="*/ 152 w 3169"/>
                  <a:gd name="T51" fmla="*/ 900 h 1760"/>
                  <a:gd name="T52" fmla="*/ 288 w 3169"/>
                  <a:gd name="T53" fmla="*/ 891 h 1760"/>
                  <a:gd name="T54" fmla="*/ 2165 w 3169"/>
                  <a:gd name="T55" fmla="*/ 303 h 1760"/>
                  <a:gd name="T56" fmla="*/ 289 w 3169"/>
                  <a:gd name="T57" fmla="*/ 149 h 1760"/>
                  <a:gd name="T58" fmla="*/ 2980 w 3169"/>
                  <a:gd name="T59" fmla="*/ 700 h 1760"/>
                  <a:gd name="T60" fmla="*/ 180 w 3169"/>
                  <a:gd name="T61" fmla="*/ 54 h 1760"/>
                  <a:gd name="T62" fmla="*/ 61 w 3169"/>
                  <a:gd name="T63" fmla="*/ 123 h 1760"/>
                  <a:gd name="T64" fmla="*/ 55 w 3169"/>
                  <a:gd name="T65" fmla="*/ 699 h 1760"/>
                  <a:gd name="T66" fmla="*/ 149 w 3169"/>
                  <a:gd name="T67" fmla="*/ 799 h 1760"/>
                  <a:gd name="T68" fmla="*/ 340 w 3169"/>
                  <a:gd name="T69" fmla="*/ 822 h 1760"/>
                  <a:gd name="T70" fmla="*/ 2933 w 3169"/>
                  <a:gd name="T71" fmla="*/ 817 h 1760"/>
                  <a:gd name="T72" fmla="*/ 3079 w 3169"/>
                  <a:gd name="T73" fmla="*/ 762 h 1760"/>
                  <a:gd name="T74" fmla="*/ 3120 w 3169"/>
                  <a:gd name="T75" fmla="*/ 202 h 1760"/>
                  <a:gd name="T76" fmla="*/ 3063 w 3169"/>
                  <a:gd name="T77" fmla="*/ 76 h 1760"/>
                  <a:gd name="T78" fmla="*/ 2879 w 3169"/>
                  <a:gd name="T79" fmla="*/ 49 h 1760"/>
                  <a:gd name="T80" fmla="*/ 288 w 3169"/>
                  <a:gd name="T81" fmla="*/ 0 h 1760"/>
                  <a:gd name="T82" fmla="*/ 2901 w 3169"/>
                  <a:gd name="T83" fmla="*/ 0 h 1760"/>
                  <a:gd name="T84" fmla="*/ 3038 w 3169"/>
                  <a:gd name="T85" fmla="*/ 14 h 1760"/>
                  <a:gd name="T86" fmla="*/ 3144 w 3169"/>
                  <a:gd name="T87" fmla="*/ 91 h 1760"/>
                  <a:gd name="T88" fmla="*/ 3166 w 3169"/>
                  <a:gd name="T89" fmla="*/ 675 h 1760"/>
                  <a:gd name="T90" fmla="*/ 3088 w 3169"/>
                  <a:gd name="T91" fmla="*/ 817 h 1760"/>
                  <a:gd name="T92" fmla="*/ 2934 w 3169"/>
                  <a:gd name="T93" fmla="*/ 865 h 1760"/>
                  <a:gd name="T94" fmla="*/ 379 w 3169"/>
                  <a:gd name="T95" fmla="*/ 870 h 1760"/>
                  <a:gd name="T96" fmla="*/ 205 w 3169"/>
                  <a:gd name="T97" fmla="*/ 861 h 1760"/>
                  <a:gd name="T98" fmla="*/ 60 w 3169"/>
                  <a:gd name="T99" fmla="*/ 802 h 1760"/>
                  <a:gd name="T100" fmla="*/ 0 w 3169"/>
                  <a:gd name="T101" fmla="*/ 639 h 1760"/>
                  <a:gd name="T102" fmla="*/ 37 w 3169"/>
                  <a:gd name="T103" fmla="*/ 71 h 1760"/>
                  <a:gd name="T104" fmla="*/ 152 w 3169"/>
                  <a:gd name="T105" fmla="*/ 9 h 1760"/>
                  <a:gd name="T106" fmla="*/ 288 w 3169"/>
                  <a:gd name="T10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69" h="1760">
                    <a:moveTo>
                      <a:pt x="2214" y="1484"/>
                    </a:moveTo>
                    <a:lnTo>
                      <a:pt x="2795" y="1484"/>
                    </a:lnTo>
                    <a:lnTo>
                      <a:pt x="2795" y="1569"/>
                    </a:lnTo>
                    <a:lnTo>
                      <a:pt x="2214" y="1569"/>
                    </a:lnTo>
                    <a:lnTo>
                      <a:pt x="2214" y="1484"/>
                    </a:lnTo>
                    <a:close/>
                    <a:moveTo>
                      <a:pt x="2214" y="1274"/>
                    </a:moveTo>
                    <a:lnTo>
                      <a:pt x="2795" y="1274"/>
                    </a:lnTo>
                    <a:lnTo>
                      <a:pt x="2795" y="1366"/>
                    </a:lnTo>
                    <a:lnTo>
                      <a:pt x="2214" y="1366"/>
                    </a:lnTo>
                    <a:lnTo>
                      <a:pt x="2214" y="1274"/>
                    </a:lnTo>
                    <a:close/>
                    <a:moveTo>
                      <a:pt x="198" y="1050"/>
                    </a:moveTo>
                    <a:lnTo>
                      <a:pt x="290" y="1050"/>
                    </a:lnTo>
                    <a:lnTo>
                      <a:pt x="290" y="1631"/>
                    </a:lnTo>
                    <a:lnTo>
                      <a:pt x="198" y="1631"/>
                    </a:lnTo>
                    <a:lnTo>
                      <a:pt x="198" y="1050"/>
                    </a:lnTo>
                    <a:close/>
                    <a:moveTo>
                      <a:pt x="2889" y="1020"/>
                    </a:moveTo>
                    <a:lnTo>
                      <a:pt x="2982" y="1020"/>
                    </a:lnTo>
                    <a:lnTo>
                      <a:pt x="2982" y="1601"/>
                    </a:lnTo>
                    <a:lnTo>
                      <a:pt x="2889" y="1601"/>
                    </a:lnTo>
                    <a:lnTo>
                      <a:pt x="2889" y="1020"/>
                    </a:lnTo>
                    <a:close/>
                    <a:moveTo>
                      <a:pt x="288" y="938"/>
                    </a:moveTo>
                    <a:lnTo>
                      <a:pt x="248" y="939"/>
                    </a:lnTo>
                    <a:lnTo>
                      <a:pt x="212" y="942"/>
                    </a:lnTo>
                    <a:lnTo>
                      <a:pt x="180" y="945"/>
                    </a:lnTo>
                    <a:lnTo>
                      <a:pt x="150" y="949"/>
                    </a:lnTo>
                    <a:lnTo>
                      <a:pt x="126" y="957"/>
                    </a:lnTo>
                    <a:lnTo>
                      <a:pt x="104" y="966"/>
                    </a:lnTo>
                    <a:lnTo>
                      <a:pt x="86" y="978"/>
                    </a:lnTo>
                    <a:lnTo>
                      <a:pt x="72" y="994"/>
                    </a:lnTo>
                    <a:lnTo>
                      <a:pt x="61" y="1012"/>
                    </a:lnTo>
                    <a:lnTo>
                      <a:pt x="54" y="1035"/>
                    </a:lnTo>
                    <a:lnTo>
                      <a:pt x="49" y="1062"/>
                    </a:lnTo>
                    <a:lnTo>
                      <a:pt x="47" y="1093"/>
                    </a:lnTo>
                    <a:lnTo>
                      <a:pt x="47" y="1529"/>
                    </a:lnTo>
                    <a:lnTo>
                      <a:pt x="49" y="1561"/>
                    </a:lnTo>
                    <a:lnTo>
                      <a:pt x="55" y="1589"/>
                    </a:lnTo>
                    <a:lnTo>
                      <a:pt x="62" y="1614"/>
                    </a:lnTo>
                    <a:lnTo>
                      <a:pt x="74" y="1634"/>
                    </a:lnTo>
                    <a:lnTo>
                      <a:pt x="89" y="1653"/>
                    </a:lnTo>
                    <a:lnTo>
                      <a:pt x="106" y="1668"/>
                    </a:lnTo>
                    <a:lnTo>
                      <a:pt x="127" y="1680"/>
                    </a:lnTo>
                    <a:lnTo>
                      <a:pt x="149" y="1689"/>
                    </a:lnTo>
                    <a:lnTo>
                      <a:pt x="175" y="1697"/>
                    </a:lnTo>
                    <a:lnTo>
                      <a:pt x="204" y="1703"/>
                    </a:lnTo>
                    <a:lnTo>
                      <a:pt x="234" y="1708"/>
                    </a:lnTo>
                    <a:lnTo>
                      <a:pt x="268" y="1710"/>
                    </a:lnTo>
                    <a:lnTo>
                      <a:pt x="302" y="1712"/>
                    </a:lnTo>
                    <a:lnTo>
                      <a:pt x="340" y="1712"/>
                    </a:lnTo>
                    <a:lnTo>
                      <a:pt x="379" y="1713"/>
                    </a:lnTo>
                    <a:lnTo>
                      <a:pt x="2789" y="1713"/>
                    </a:lnTo>
                    <a:lnTo>
                      <a:pt x="2827" y="1712"/>
                    </a:lnTo>
                    <a:lnTo>
                      <a:pt x="2865" y="1712"/>
                    </a:lnTo>
                    <a:lnTo>
                      <a:pt x="2901" y="1710"/>
                    </a:lnTo>
                    <a:lnTo>
                      <a:pt x="2933" y="1708"/>
                    </a:lnTo>
                    <a:lnTo>
                      <a:pt x="2964" y="1703"/>
                    </a:lnTo>
                    <a:lnTo>
                      <a:pt x="2992" y="1697"/>
                    </a:lnTo>
                    <a:lnTo>
                      <a:pt x="3018" y="1689"/>
                    </a:lnTo>
                    <a:lnTo>
                      <a:pt x="3040" y="1680"/>
                    </a:lnTo>
                    <a:lnTo>
                      <a:pt x="3061" y="1668"/>
                    </a:lnTo>
                    <a:lnTo>
                      <a:pt x="3079" y="1653"/>
                    </a:lnTo>
                    <a:lnTo>
                      <a:pt x="3093" y="1634"/>
                    </a:lnTo>
                    <a:lnTo>
                      <a:pt x="3105" y="1614"/>
                    </a:lnTo>
                    <a:lnTo>
                      <a:pt x="3114" y="1589"/>
                    </a:lnTo>
                    <a:lnTo>
                      <a:pt x="3119" y="1561"/>
                    </a:lnTo>
                    <a:lnTo>
                      <a:pt x="3120" y="1529"/>
                    </a:lnTo>
                    <a:lnTo>
                      <a:pt x="3120" y="1093"/>
                    </a:lnTo>
                    <a:lnTo>
                      <a:pt x="3119" y="1062"/>
                    </a:lnTo>
                    <a:lnTo>
                      <a:pt x="3115" y="1035"/>
                    </a:lnTo>
                    <a:lnTo>
                      <a:pt x="3106" y="1012"/>
                    </a:lnTo>
                    <a:lnTo>
                      <a:pt x="3095" y="994"/>
                    </a:lnTo>
                    <a:lnTo>
                      <a:pt x="3081" y="978"/>
                    </a:lnTo>
                    <a:lnTo>
                      <a:pt x="3063" y="966"/>
                    </a:lnTo>
                    <a:lnTo>
                      <a:pt x="3043" y="957"/>
                    </a:lnTo>
                    <a:lnTo>
                      <a:pt x="3017" y="949"/>
                    </a:lnTo>
                    <a:lnTo>
                      <a:pt x="2989" y="945"/>
                    </a:lnTo>
                    <a:lnTo>
                      <a:pt x="2957" y="942"/>
                    </a:lnTo>
                    <a:lnTo>
                      <a:pt x="2920" y="939"/>
                    </a:lnTo>
                    <a:lnTo>
                      <a:pt x="2879" y="938"/>
                    </a:lnTo>
                    <a:lnTo>
                      <a:pt x="2836" y="939"/>
                    </a:lnTo>
                    <a:lnTo>
                      <a:pt x="2789" y="939"/>
                    </a:lnTo>
                    <a:lnTo>
                      <a:pt x="379" y="939"/>
                    </a:lnTo>
                    <a:lnTo>
                      <a:pt x="331" y="939"/>
                    </a:lnTo>
                    <a:lnTo>
                      <a:pt x="288" y="938"/>
                    </a:lnTo>
                    <a:close/>
                    <a:moveTo>
                      <a:pt x="288" y="891"/>
                    </a:moveTo>
                    <a:lnTo>
                      <a:pt x="332" y="891"/>
                    </a:lnTo>
                    <a:lnTo>
                      <a:pt x="379" y="891"/>
                    </a:lnTo>
                    <a:lnTo>
                      <a:pt x="2789" y="891"/>
                    </a:lnTo>
                    <a:lnTo>
                      <a:pt x="2836" y="891"/>
                    </a:lnTo>
                    <a:lnTo>
                      <a:pt x="2879" y="891"/>
                    </a:lnTo>
                    <a:lnTo>
                      <a:pt x="2901" y="891"/>
                    </a:lnTo>
                    <a:lnTo>
                      <a:pt x="2923" y="891"/>
                    </a:lnTo>
                    <a:lnTo>
                      <a:pt x="2947" y="892"/>
                    </a:lnTo>
                    <a:lnTo>
                      <a:pt x="2969" y="893"/>
                    </a:lnTo>
                    <a:lnTo>
                      <a:pt x="2993" y="896"/>
                    </a:lnTo>
                    <a:lnTo>
                      <a:pt x="3016" y="900"/>
                    </a:lnTo>
                    <a:lnTo>
                      <a:pt x="3038" y="905"/>
                    </a:lnTo>
                    <a:lnTo>
                      <a:pt x="3059" y="911"/>
                    </a:lnTo>
                    <a:lnTo>
                      <a:pt x="3079" y="921"/>
                    </a:lnTo>
                    <a:lnTo>
                      <a:pt x="3099" y="932"/>
                    </a:lnTo>
                    <a:lnTo>
                      <a:pt x="3115" y="946"/>
                    </a:lnTo>
                    <a:lnTo>
                      <a:pt x="3131" y="962"/>
                    </a:lnTo>
                    <a:lnTo>
                      <a:pt x="3144" y="981"/>
                    </a:lnTo>
                    <a:lnTo>
                      <a:pt x="3154" y="1004"/>
                    </a:lnTo>
                    <a:lnTo>
                      <a:pt x="3162" y="1030"/>
                    </a:lnTo>
                    <a:lnTo>
                      <a:pt x="3166" y="1060"/>
                    </a:lnTo>
                    <a:lnTo>
                      <a:pt x="3169" y="1093"/>
                    </a:lnTo>
                    <a:lnTo>
                      <a:pt x="3169" y="1529"/>
                    </a:lnTo>
                    <a:lnTo>
                      <a:pt x="3166" y="1566"/>
                    </a:lnTo>
                    <a:lnTo>
                      <a:pt x="3161" y="1598"/>
                    </a:lnTo>
                    <a:lnTo>
                      <a:pt x="3152" y="1627"/>
                    </a:lnTo>
                    <a:lnTo>
                      <a:pt x="3140" y="1652"/>
                    </a:lnTo>
                    <a:lnTo>
                      <a:pt x="3126" y="1673"/>
                    </a:lnTo>
                    <a:lnTo>
                      <a:pt x="3107" y="1693"/>
                    </a:lnTo>
                    <a:lnTo>
                      <a:pt x="3088" y="1708"/>
                    </a:lnTo>
                    <a:lnTo>
                      <a:pt x="3065" y="1720"/>
                    </a:lnTo>
                    <a:lnTo>
                      <a:pt x="3042" y="1731"/>
                    </a:lnTo>
                    <a:lnTo>
                      <a:pt x="3017" y="1740"/>
                    </a:lnTo>
                    <a:lnTo>
                      <a:pt x="2990" y="1747"/>
                    </a:lnTo>
                    <a:lnTo>
                      <a:pt x="2962" y="1752"/>
                    </a:lnTo>
                    <a:lnTo>
                      <a:pt x="2934" y="1756"/>
                    </a:lnTo>
                    <a:lnTo>
                      <a:pt x="2905" y="1758"/>
                    </a:lnTo>
                    <a:lnTo>
                      <a:pt x="2876" y="1759"/>
                    </a:lnTo>
                    <a:lnTo>
                      <a:pt x="2847" y="1760"/>
                    </a:lnTo>
                    <a:lnTo>
                      <a:pt x="2818" y="1760"/>
                    </a:lnTo>
                    <a:lnTo>
                      <a:pt x="2789" y="1760"/>
                    </a:lnTo>
                    <a:lnTo>
                      <a:pt x="379" y="1760"/>
                    </a:lnTo>
                    <a:lnTo>
                      <a:pt x="351" y="1760"/>
                    </a:lnTo>
                    <a:lnTo>
                      <a:pt x="322" y="1760"/>
                    </a:lnTo>
                    <a:lnTo>
                      <a:pt x="293" y="1759"/>
                    </a:lnTo>
                    <a:lnTo>
                      <a:pt x="262" y="1758"/>
                    </a:lnTo>
                    <a:lnTo>
                      <a:pt x="233" y="1756"/>
                    </a:lnTo>
                    <a:lnTo>
                      <a:pt x="205" y="1752"/>
                    </a:lnTo>
                    <a:lnTo>
                      <a:pt x="177" y="1747"/>
                    </a:lnTo>
                    <a:lnTo>
                      <a:pt x="152" y="1740"/>
                    </a:lnTo>
                    <a:lnTo>
                      <a:pt x="126" y="1731"/>
                    </a:lnTo>
                    <a:lnTo>
                      <a:pt x="102" y="1720"/>
                    </a:lnTo>
                    <a:lnTo>
                      <a:pt x="80" y="1708"/>
                    </a:lnTo>
                    <a:lnTo>
                      <a:pt x="60" y="1693"/>
                    </a:lnTo>
                    <a:lnTo>
                      <a:pt x="43" y="1673"/>
                    </a:lnTo>
                    <a:lnTo>
                      <a:pt x="28" y="1652"/>
                    </a:lnTo>
                    <a:lnTo>
                      <a:pt x="16" y="1627"/>
                    </a:lnTo>
                    <a:lnTo>
                      <a:pt x="6" y="1598"/>
                    </a:lnTo>
                    <a:lnTo>
                      <a:pt x="1" y="1566"/>
                    </a:lnTo>
                    <a:lnTo>
                      <a:pt x="0" y="1529"/>
                    </a:lnTo>
                    <a:lnTo>
                      <a:pt x="0" y="1093"/>
                    </a:lnTo>
                    <a:lnTo>
                      <a:pt x="1" y="1060"/>
                    </a:lnTo>
                    <a:lnTo>
                      <a:pt x="6" y="1030"/>
                    </a:lnTo>
                    <a:lnTo>
                      <a:pt x="14" y="1004"/>
                    </a:lnTo>
                    <a:lnTo>
                      <a:pt x="25" y="981"/>
                    </a:lnTo>
                    <a:lnTo>
                      <a:pt x="37" y="962"/>
                    </a:lnTo>
                    <a:lnTo>
                      <a:pt x="53" y="946"/>
                    </a:lnTo>
                    <a:lnTo>
                      <a:pt x="70" y="932"/>
                    </a:lnTo>
                    <a:lnTo>
                      <a:pt x="88" y="921"/>
                    </a:lnTo>
                    <a:lnTo>
                      <a:pt x="108" y="911"/>
                    </a:lnTo>
                    <a:lnTo>
                      <a:pt x="130" y="905"/>
                    </a:lnTo>
                    <a:lnTo>
                      <a:pt x="152" y="900"/>
                    </a:lnTo>
                    <a:lnTo>
                      <a:pt x="174" y="896"/>
                    </a:lnTo>
                    <a:lnTo>
                      <a:pt x="198" y="893"/>
                    </a:lnTo>
                    <a:lnTo>
                      <a:pt x="220" y="892"/>
                    </a:lnTo>
                    <a:lnTo>
                      <a:pt x="244" y="891"/>
                    </a:lnTo>
                    <a:lnTo>
                      <a:pt x="267" y="891"/>
                    </a:lnTo>
                    <a:lnTo>
                      <a:pt x="288" y="891"/>
                    </a:lnTo>
                    <a:close/>
                    <a:moveTo>
                      <a:pt x="2165" y="515"/>
                    </a:moveTo>
                    <a:lnTo>
                      <a:pt x="2748" y="515"/>
                    </a:lnTo>
                    <a:lnTo>
                      <a:pt x="2748" y="600"/>
                    </a:lnTo>
                    <a:lnTo>
                      <a:pt x="2165" y="600"/>
                    </a:lnTo>
                    <a:lnTo>
                      <a:pt x="2165" y="515"/>
                    </a:lnTo>
                    <a:close/>
                    <a:moveTo>
                      <a:pt x="2165" y="303"/>
                    </a:moveTo>
                    <a:lnTo>
                      <a:pt x="2748" y="303"/>
                    </a:lnTo>
                    <a:lnTo>
                      <a:pt x="2748" y="397"/>
                    </a:lnTo>
                    <a:lnTo>
                      <a:pt x="2165" y="397"/>
                    </a:lnTo>
                    <a:lnTo>
                      <a:pt x="2165" y="303"/>
                    </a:lnTo>
                    <a:close/>
                    <a:moveTo>
                      <a:pt x="197" y="149"/>
                    </a:moveTo>
                    <a:lnTo>
                      <a:pt x="289" y="149"/>
                    </a:lnTo>
                    <a:lnTo>
                      <a:pt x="289" y="730"/>
                    </a:lnTo>
                    <a:lnTo>
                      <a:pt x="197" y="730"/>
                    </a:lnTo>
                    <a:lnTo>
                      <a:pt x="197" y="149"/>
                    </a:lnTo>
                    <a:close/>
                    <a:moveTo>
                      <a:pt x="2888" y="119"/>
                    </a:moveTo>
                    <a:lnTo>
                      <a:pt x="2980" y="119"/>
                    </a:lnTo>
                    <a:lnTo>
                      <a:pt x="2980" y="700"/>
                    </a:lnTo>
                    <a:lnTo>
                      <a:pt x="2888" y="700"/>
                    </a:lnTo>
                    <a:lnTo>
                      <a:pt x="2888" y="119"/>
                    </a:lnTo>
                    <a:close/>
                    <a:moveTo>
                      <a:pt x="288" y="49"/>
                    </a:moveTo>
                    <a:lnTo>
                      <a:pt x="248" y="49"/>
                    </a:lnTo>
                    <a:lnTo>
                      <a:pt x="212" y="51"/>
                    </a:lnTo>
                    <a:lnTo>
                      <a:pt x="180" y="54"/>
                    </a:lnTo>
                    <a:lnTo>
                      <a:pt x="150" y="58"/>
                    </a:lnTo>
                    <a:lnTo>
                      <a:pt x="126" y="66"/>
                    </a:lnTo>
                    <a:lnTo>
                      <a:pt x="104" y="76"/>
                    </a:lnTo>
                    <a:lnTo>
                      <a:pt x="86" y="89"/>
                    </a:lnTo>
                    <a:lnTo>
                      <a:pt x="72" y="104"/>
                    </a:lnTo>
                    <a:lnTo>
                      <a:pt x="61" y="123"/>
                    </a:lnTo>
                    <a:lnTo>
                      <a:pt x="54" y="145"/>
                    </a:lnTo>
                    <a:lnTo>
                      <a:pt x="49" y="171"/>
                    </a:lnTo>
                    <a:lnTo>
                      <a:pt x="47" y="202"/>
                    </a:lnTo>
                    <a:lnTo>
                      <a:pt x="47" y="639"/>
                    </a:lnTo>
                    <a:lnTo>
                      <a:pt x="49" y="671"/>
                    </a:lnTo>
                    <a:lnTo>
                      <a:pt x="55" y="699"/>
                    </a:lnTo>
                    <a:lnTo>
                      <a:pt x="62" y="723"/>
                    </a:lnTo>
                    <a:lnTo>
                      <a:pt x="74" y="745"/>
                    </a:lnTo>
                    <a:lnTo>
                      <a:pt x="89" y="762"/>
                    </a:lnTo>
                    <a:lnTo>
                      <a:pt x="106" y="777"/>
                    </a:lnTo>
                    <a:lnTo>
                      <a:pt x="127" y="789"/>
                    </a:lnTo>
                    <a:lnTo>
                      <a:pt x="149" y="799"/>
                    </a:lnTo>
                    <a:lnTo>
                      <a:pt x="175" y="807"/>
                    </a:lnTo>
                    <a:lnTo>
                      <a:pt x="204" y="813"/>
                    </a:lnTo>
                    <a:lnTo>
                      <a:pt x="234" y="817"/>
                    </a:lnTo>
                    <a:lnTo>
                      <a:pt x="268" y="819"/>
                    </a:lnTo>
                    <a:lnTo>
                      <a:pt x="302" y="821"/>
                    </a:lnTo>
                    <a:lnTo>
                      <a:pt x="340" y="822"/>
                    </a:lnTo>
                    <a:lnTo>
                      <a:pt x="379" y="822"/>
                    </a:lnTo>
                    <a:lnTo>
                      <a:pt x="2789" y="822"/>
                    </a:lnTo>
                    <a:lnTo>
                      <a:pt x="2827" y="822"/>
                    </a:lnTo>
                    <a:lnTo>
                      <a:pt x="2865" y="821"/>
                    </a:lnTo>
                    <a:lnTo>
                      <a:pt x="2901" y="819"/>
                    </a:lnTo>
                    <a:lnTo>
                      <a:pt x="2933" y="817"/>
                    </a:lnTo>
                    <a:lnTo>
                      <a:pt x="2964" y="813"/>
                    </a:lnTo>
                    <a:lnTo>
                      <a:pt x="2992" y="807"/>
                    </a:lnTo>
                    <a:lnTo>
                      <a:pt x="3018" y="799"/>
                    </a:lnTo>
                    <a:lnTo>
                      <a:pt x="3040" y="789"/>
                    </a:lnTo>
                    <a:lnTo>
                      <a:pt x="3061" y="777"/>
                    </a:lnTo>
                    <a:lnTo>
                      <a:pt x="3079" y="762"/>
                    </a:lnTo>
                    <a:lnTo>
                      <a:pt x="3093" y="745"/>
                    </a:lnTo>
                    <a:lnTo>
                      <a:pt x="3105" y="723"/>
                    </a:lnTo>
                    <a:lnTo>
                      <a:pt x="3114" y="699"/>
                    </a:lnTo>
                    <a:lnTo>
                      <a:pt x="3119" y="671"/>
                    </a:lnTo>
                    <a:lnTo>
                      <a:pt x="3120" y="639"/>
                    </a:lnTo>
                    <a:lnTo>
                      <a:pt x="3120" y="202"/>
                    </a:lnTo>
                    <a:lnTo>
                      <a:pt x="3119" y="171"/>
                    </a:lnTo>
                    <a:lnTo>
                      <a:pt x="3115" y="145"/>
                    </a:lnTo>
                    <a:lnTo>
                      <a:pt x="3106" y="123"/>
                    </a:lnTo>
                    <a:lnTo>
                      <a:pt x="3095" y="104"/>
                    </a:lnTo>
                    <a:lnTo>
                      <a:pt x="3081" y="89"/>
                    </a:lnTo>
                    <a:lnTo>
                      <a:pt x="3063" y="76"/>
                    </a:lnTo>
                    <a:lnTo>
                      <a:pt x="3043" y="66"/>
                    </a:lnTo>
                    <a:lnTo>
                      <a:pt x="3017" y="58"/>
                    </a:lnTo>
                    <a:lnTo>
                      <a:pt x="2989" y="54"/>
                    </a:lnTo>
                    <a:lnTo>
                      <a:pt x="2957" y="51"/>
                    </a:lnTo>
                    <a:lnTo>
                      <a:pt x="2920" y="49"/>
                    </a:lnTo>
                    <a:lnTo>
                      <a:pt x="2879" y="49"/>
                    </a:lnTo>
                    <a:lnTo>
                      <a:pt x="2836" y="49"/>
                    </a:lnTo>
                    <a:lnTo>
                      <a:pt x="2789" y="49"/>
                    </a:lnTo>
                    <a:lnTo>
                      <a:pt x="379" y="49"/>
                    </a:lnTo>
                    <a:lnTo>
                      <a:pt x="331" y="49"/>
                    </a:lnTo>
                    <a:lnTo>
                      <a:pt x="288" y="49"/>
                    </a:lnTo>
                    <a:close/>
                    <a:moveTo>
                      <a:pt x="288" y="0"/>
                    </a:moveTo>
                    <a:lnTo>
                      <a:pt x="332" y="0"/>
                    </a:lnTo>
                    <a:lnTo>
                      <a:pt x="379" y="2"/>
                    </a:lnTo>
                    <a:lnTo>
                      <a:pt x="2789" y="2"/>
                    </a:lnTo>
                    <a:lnTo>
                      <a:pt x="2836" y="0"/>
                    </a:lnTo>
                    <a:lnTo>
                      <a:pt x="2879" y="0"/>
                    </a:lnTo>
                    <a:lnTo>
                      <a:pt x="2901" y="0"/>
                    </a:lnTo>
                    <a:lnTo>
                      <a:pt x="2924" y="0"/>
                    </a:lnTo>
                    <a:lnTo>
                      <a:pt x="2947" y="2"/>
                    </a:lnTo>
                    <a:lnTo>
                      <a:pt x="2971" y="4"/>
                    </a:lnTo>
                    <a:lnTo>
                      <a:pt x="2993" y="6"/>
                    </a:lnTo>
                    <a:lnTo>
                      <a:pt x="3016" y="9"/>
                    </a:lnTo>
                    <a:lnTo>
                      <a:pt x="3038" y="14"/>
                    </a:lnTo>
                    <a:lnTo>
                      <a:pt x="3059" y="22"/>
                    </a:lnTo>
                    <a:lnTo>
                      <a:pt x="3079" y="31"/>
                    </a:lnTo>
                    <a:lnTo>
                      <a:pt x="3099" y="41"/>
                    </a:lnTo>
                    <a:lnTo>
                      <a:pt x="3115" y="55"/>
                    </a:lnTo>
                    <a:lnTo>
                      <a:pt x="3131" y="71"/>
                    </a:lnTo>
                    <a:lnTo>
                      <a:pt x="3144" y="91"/>
                    </a:lnTo>
                    <a:lnTo>
                      <a:pt x="3154" y="113"/>
                    </a:lnTo>
                    <a:lnTo>
                      <a:pt x="3162" y="139"/>
                    </a:lnTo>
                    <a:lnTo>
                      <a:pt x="3166" y="169"/>
                    </a:lnTo>
                    <a:lnTo>
                      <a:pt x="3169" y="202"/>
                    </a:lnTo>
                    <a:lnTo>
                      <a:pt x="3169" y="639"/>
                    </a:lnTo>
                    <a:lnTo>
                      <a:pt x="3166" y="675"/>
                    </a:lnTo>
                    <a:lnTo>
                      <a:pt x="3161" y="707"/>
                    </a:lnTo>
                    <a:lnTo>
                      <a:pt x="3152" y="736"/>
                    </a:lnTo>
                    <a:lnTo>
                      <a:pt x="3140" y="761"/>
                    </a:lnTo>
                    <a:lnTo>
                      <a:pt x="3126" y="783"/>
                    </a:lnTo>
                    <a:lnTo>
                      <a:pt x="3107" y="802"/>
                    </a:lnTo>
                    <a:lnTo>
                      <a:pt x="3088" y="817"/>
                    </a:lnTo>
                    <a:lnTo>
                      <a:pt x="3065" y="831"/>
                    </a:lnTo>
                    <a:lnTo>
                      <a:pt x="3042" y="842"/>
                    </a:lnTo>
                    <a:lnTo>
                      <a:pt x="3017" y="850"/>
                    </a:lnTo>
                    <a:lnTo>
                      <a:pt x="2990" y="857"/>
                    </a:lnTo>
                    <a:lnTo>
                      <a:pt x="2962" y="861"/>
                    </a:lnTo>
                    <a:lnTo>
                      <a:pt x="2934" y="865"/>
                    </a:lnTo>
                    <a:lnTo>
                      <a:pt x="2905" y="867"/>
                    </a:lnTo>
                    <a:lnTo>
                      <a:pt x="2876" y="868"/>
                    </a:lnTo>
                    <a:lnTo>
                      <a:pt x="2847" y="870"/>
                    </a:lnTo>
                    <a:lnTo>
                      <a:pt x="2818" y="870"/>
                    </a:lnTo>
                    <a:lnTo>
                      <a:pt x="2789" y="870"/>
                    </a:lnTo>
                    <a:lnTo>
                      <a:pt x="379" y="870"/>
                    </a:lnTo>
                    <a:lnTo>
                      <a:pt x="351" y="870"/>
                    </a:lnTo>
                    <a:lnTo>
                      <a:pt x="322" y="870"/>
                    </a:lnTo>
                    <a:lnTo>
                      <a:pt x="293" y="868"/>
                    </a:lnTo>
                    <a:lnTo>
                      <a:pt x="262" y="867"/>
                    </a:lnTo>
                    <a:lnTo>
                      <a:pt x="233" y="865"/>
                    </a:lnTo>
                    <a:lnTo>
                      <a:pt x="205" y="861"/>
                    </a:lnTo>
                    <a:lnTo>
                      <a:pt x="177" y="857"/>
                    </a:lnTo>
                    <a:lnTo>
                      <a:pt x="152" y="850"/>
                    </a:lnTo>
                    <a:lnTo>
                      <a:pt x="126" y="842"/>
                    </a:lnTo>
                    <a:lnTo>
                      <a:pt x="102" y="831"/>
                    </a:lnTo>
                    <a:lnTo>
                      <a:pt x="80" y="817"/>
                    </a:lnTo>
                    <a:lnTo>
                      <a:pt x="60" y="802"/>
                    </a:lnTo>
                    <a:lnTo>
                      <a:pt x="43" y="783"/>
                    </a:lnTo>
                    <a:lnTo>
                      <a:pt x="28" y="761"/>
                    </a:lnTo>
                    <a:lnTo>
                      <a:pt x="16" y="736"/>
                    </a:lnTo>
                    <a:lnTo>
                      <a:pt x="6" y="707"/>
                    </a:lnTo>
                    <a:lnTo>
                      <a:pt x="1" y="675"/>
                    </a:lnTo>
                    <a:lnTo>
                      <a:pt x="0" y="639"/>
                    </a:lnTo>
                    <a:lnTo>
                      <a:pt x="0" y="202"/>
                    </a:lnTo>
                    <a:lnTo>
                      <a:pt x="1" y="169"/>
                    </a:lnTo>
                    <a:lnTo>
                      <a:pt x="6" y="139"/>
                    </a:lnTo>
                    <a:lnTo>
                      <a:pt x="14" y="113"/>
                    </a:lnTo>
                    <a:lnTo>
                      <a:pt x="25" y="91"/>
                    </a:lnTo>
                    <a:lnTo>
                      <a:pt x="37" y="71"/>
                    </a:lnTo>
                    <a:lnTo>
                      <a:pt x="53" y="55"/>
                    </a:lnTo>
                    <a:lnTo>
                      <a:pt x="70" y="41"/>
                    </a:lnTo>
                    <a:lnTo>
                      <a:pt x="88" y="31"/>
                    </a:lnTo>
                    <a:lnTo>
                      <a:pt x="108" y="22"/>
                    </a:lnTo>
                    <a:lnTo>
                      <a:pt x="130" y="14"/>
                    </a:lnTo>
                    <a:lnTo>
                      <a:pt x="152" y="9"/>
                    </a:lnTo>
                    <a:lnTo>
                      <a:pt x="174" y="6"/>
                    </a:lnTo>
                    <a:lnTo>
                      <a:pt x="198" y="4"/>
                    </a:lnTo>
                    <a:lnTo>
                      <a:pt x="220" y="2"/>
                    </a:lnTo>
                    <a:lnTo>
                      <a:pt x="244" y="0"/>
                    </a:lnTo>
                    <a:lnTo>
                      <a:pt x="267" y="0"/>
                    </a:lnTo>
                    <a:lnTo>
                      <a:pt x="2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Rounded Rectangle 33"/>
              <p:cNvSpPr/>
              <p:nvPr/>
            </p:nvSpPr>
            <p:spPr bwMode="auto">
              <a:xfrm>
                <a:off x="5689600" y="3462867"/>
                <a:ext cx="1356520" cy="829733"/>
              </a:xfrm>
              <a:prstGeom prst="roundRect">
                <a:avLst/>
              </a:prstGeom>
              <a:noFill/>
              <a:ln w="22225">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grpSp>
        <p:nvGrpSpPr>
          <p:cNvPr id="23" name="Group 22"/>
          <p:cNvGrpSpPr/>
          <p:nvPr/>
        </p:nvGrpSpPr>
        <p:grpSpPr>
          <a:xfrm>
            <a:off x="3017838" y="2117314"/>
            <a:ext cx="2219140" cy="2078500"/>
            <a:chOff x="3287162" y="2470978"/>
            <a:chExt cx="1849678" cy="1732453"/>
          </a:xfrm>
        </p:grpSpPr>
        <p:sp>
          <p:nvSpPr>
            <p:cNvPr id="36" name="Freeform 30"/>
            <p:cNvSpPr>
              <a:spLocks noEditPoints="1"/>
            </p:cNvSpPr>
            <p:nvPr/>
          </p:nvSpPr>
          <p:spPr bwMode="auto">
            <a:xfrm>
              <a:off x="3287162" y="2470978"/>
              <a:ext cx="898083" cy="1718536"/>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30"/>
            <p:cNvSpPr>
              <a:spLocks noEditPoints="1"/>
            </p:cNvSpPr>
            <p:nvPr/>
          </p:nvSpPr>
          <p:spPr bwMode="auto">
            <a:xfrm>
              <a:off x="4238757" y="2484895"/>
              <a:ext cx="898083" cy="1718536"/>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5" name="Group 24"/>
          <p:cNvGrpSpPr/>
          <p:nvPr/>
        </p:nvGrpSpPr>
        <p:grpSpPr>
          <a:xfrm>
            <a:off x="9331839" y="2919416"/>
            <a:ext cx="1080574" cy="1406754"/>
            <a:chOff x="9230239" y="2919416"/>
            <a:chExt cx="1080574" cy="1406754"/>
          </a:xfrm>
        </p:grpSpPr>
        <p:sp>
          <p:nvSpPr>
            <p:cNvPr id="41" name="Freeform 24"/>
            <p:cNvSpPr>
              <a:spLocks noEditPoints="1"/>
            </p:cNvSpPr>
            <p:nvPr/>
          </p:nvSpPr>
          <p:spPr bwMode="auto">
            <a:xfrm>
              <a:off x="9596903" y="2919416"/>
              <a:ext cx="713910" cy="1406754"/>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540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25"/>
            <p:cNvSpPr>
              <a:spLocks noEditPoints="1"/>
            </p:cNvSpPr>
            <p:nvPr/>
          </p:nvSpPr>
          <p:spPr bwMode="auto">
            <a:xfrm>
              <a:off x="9252622" y="3073299"/>
              <a:ext cx="883714" cy="754814"/>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6"/>
            <p:cNvSpPr>
              <a:spLocks noEditPoints="1"/>
            </p:cNvSpPr>
            <p:nvPr/>
          </p:nvSpPr>
          <p:spPr bwMode="auto">
            <a:xfrm>
              <a:off x="9230239" y="3044792"/>
              <a:ext cx="902305" cy="783319"/>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 name="Group 23"/>
          <p:cNvGrpSpPr/>
          <p:nvPr/>
        </p:nvGrpSpPr>
        <p:grpSpPr>
          <a:xfrm>
            <a:off x="10226314" y="2913629"/>
            <a:ext cx="1080574" cy="1406754"/>
            <a:chOff x="10192450" y="2913629"/>
            <a:chExt cx="1080574" cy="1406754"/>
          </a:xfrm>
        </p:grpSpPr>
        <p:sp>
          <p:nvSpPr>
            <p:cNvPr id="44" name="Freeform 24"/>
            <p:cNvSpPr>
              <a:spLocks noEditPoints="1"/>
            </p:cNvSpPr>
            <p:nvPr/>
          </p:nvSpPr>
          <p:spPr bwMode="auto">
            <a:xfrm>
              <a:off x="10559114" y="2913629"/>
              <a:ext cx="713910" cy="1406754"/>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540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25"/>
            <p:cNvSpPr>
              <a:spLocks noEditPoints="1"/>
            </p:cNvSpPr>
            <p:nvPr/>
          </p:nvSpPr>
          <p:spPr bwMode="auto">
            <a:xfrm>
              <a:off x="10214833" y="3067512"/>
              <a:ext cx="883714" cy="754814"/>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26"/>
            <p:cNvSpPr>
              <a:spLocks noEditPoints="1"/>
            </p:cNvSpPr>
            <p:nvPr/>
          </p:nvSpPr>
          <p:spPr bwMode="auto">
            <a:xfrm>
              <a:off x="10192450" y="3039005"/>
              <a:ext cx="902305" cy="783319"/>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9" name="Group 48"/>
          <p:cNvGrpSpPr/>
          <p:nvPr/>
        </p:nvGrpSpPr>
        <p:grpSpPr>
          <a:xfrm>
            <a:off x="9331839" y="1471508"/>
            <a:ext cx="1080574" cy="1406754"/>
            <a:chOff x="9230239" y="2919416"/>
            <a:chExt cx="1080574" cy="1406754"/>
          </a:xfrm>
        </p:grpSpPr>
        <p:sp>
          <p:nvSpPr>
            <p:cNvPr id="50" name="Freeform 24"/>
            <p:cNvSpPr>
              <a:spLocks noEditPoints="1"/>
            </p:cNvSpPr>
            <p:nvPr/>
          </p:nvSpPr>
          <p:spPr bwMode="auto">
            <a:xfrm>
              <a:off x="9596903" y="2919416"/>
              <a:ext cx="713910" cy="1406754"/>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540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25"/>
            <p:cNvSpPr>
              <a:spLocks noEditPoints="1"/>
            </p:cNvSpPr>
            <p:nvPr/>
          </p:nvSpPr>
          <p:spPr bwMode="auto">
            <a:xfrm>
              <a:off x="9252622" y="3073299"/>
              <a:ext cx="883714" cy="754814"/>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26"/>
            <p:cNvSpPr>
              <a:spLocks noEditPoints="1"/>
            </p:cNvSpPr>
            <p:nvPr/>
          </p:nvSpPr>
          <p:spPr bwMode="auto">
            <a:xfrm>
              <a:off x="9230239" y="3044792"/>
              <a:ext cx="902305" cy="783319"/>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3" name="Group 52"/>
          <p:cNvGrpSpPr/>
          <p:nvPr/>
        </p:nvGrpSpPr>
        <p:grpSpPr>
          <a:xfrm>
            <a:off x="10219913" y="1473247"/>
            <a:ext cx="1080574" cy="1406754"/>
            <a:chOff x="10192450" y="2913629"/>
            <a:chExt cx="1080574" cy="1406754"/>
          </a:xfrm>
        </p:grpSpPr>
        <p:sp>
          <p:nvSpPr>
            <p:cNvPr id="54" name="Freeform 24"/>
            <p:cNvSpPr>
              <a:spLocks noEditPoints="1"/>
            </p:cNvSpPr>
            <p:nvPr/>
          </p:nvSpPr>
          <p:spPr bwMode="auto">
            <a:xfrm>
              <a:off x="10559114" y="2913629"/>
              <a:ext cx="713910" cy="1406754"/>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540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25"/>
            <p:cNvSpPr>
              <a:spLocks noEditPoints="1"/>
            </p:cNvSpPr>
            <p:nvPr/>
          </p:nvSpPr>
          <p:spPr bwMode="auto">
            <a:xfrm>
              <a:off x="10214833" y="3067512"/>
              <a:ext cx="883714" cy="754814"/>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6"/>
            <p:cNvSpPr>
              <a:spLocks noEditPoints="1"/>
            </p:cNvSpPr>
            <p:nvPr/>
          </p:nvSpPr>
          <p:spPr bwMode="auto">
            <a:xfrm>
              <a:off x="10192450" y="3039005"/>
              <a:ext cx="902305" cy="783319"/>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985161334"/>
      </p:ext>
    </p:extLst>
  </p:cSld>
  <p:clrMapOvr>
    <a:masterClrMapping/>
  </p:clrMapOvr>
  <p:transition spd="slow">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7" name="Group 716"/>
          <p:cNvGrpSpPr/>
          <p:nvPr/>
        </p:nvGrpSpPr>
        <p:grpSpPr>
          <a:xfrm>
            <a:off x="7887981" y="2592504"/>
            <a:ext cx="1206302" cy="1461514"/>
            <a:chOff x="7887981" y="2790624"/>
            <a:chExt cx="1206302" cy="1461514"/>
          </a:xfrm>
        </p:grpSpPr>
        <p:sp>
          <p:nvSpPr>
            <p:cNvPr id="61" name="Freeform 6"/>
            <p:cNvSpPr>
              <a:spLocks noEditPoints="1"/>
            </p:cNvSpPr>
            <p:nvPr/>
          </p:nvSpPr>
          <p:spPr bwMode="auto">
            <a:xfrm>
              <a:off x="8197012" y="3326583"/>
              <a:ext cx="761242" cy="422913"/>
            </a:xfrm>
            <a:custGeom>
              <a:avLst/>
              <a:gdLst>
                <a:gd name="T0" fmla="*/ 2214 w 3169"/>
                <a:gd name="T1" fmla="*/ 1274 h 1760"/>
                <a:gd name="T2" fmla="*/ 290 w 3169"/>
                <a:gd name="T3" fmla="*/ 1050 h 1760"/>
                <a:gd name="T4" fmla="*/ 2982 w 3169"/>
                <a:gd name="T5" fmla="*/ 1601 h 1760"/>
                <a:gd name="T6" fmla="*/ 180 w 3169"/>
                <a:gd name="T7" fmla="*/ 945 h 1760"/>
                <a:gd name="T8" fmla="*/ 61 w 3169"/>
                <a:gd name="T9" fmla="*/ 1012 h 1760"/>
                <a:gd name="T10" fmla="*/ 55 w 3169"/>
                <a:gd name="T11" fmla="*/ 1589 h 1760"/>
                <a:gd name="T12" fmla="*/ 149 w 3169"/>
                <a:gd name="T13" fmla="*/ 1689 h 1760"/>
                <a:gd name="T14" fmla="*/ 340 w 3169"/>
                <a:gd name="T15" fmla="*/ 1712 h 1760"/>
                <a:gd name="T16" fmla="*/ 2933 w 3169"/>
                <a:gd name="T17" fmla="*/ 1708 h 1760"/>
                <a:gd name="T18" fmla="*/ 3079 w 3169"/>
                <a:gd name="T19" fmla="*/ 1653 h 1760"/>
                <a:gd name="T20" fmla="*/ 3120 w 3169"/>
                <a:gd name="T21" fmla="*/ 1093 h 1760"/>
                <a:gd name="T22" fmla="*/ 3063 w 3169"/>
                <a:gd name="T23" fmla="*/ 966 h 1760"/>
                <a:gd name="T24" fmla="*/ 2879 w 3169"/>
                <a:gd name="T25" fmla="*/ 938 h 1760"/>
                <a:gd name="T26" fmla="*/ 288 w 3169"/>
                <a:gd name="T27" fmla="*/ 891 h 1760"/>
                <a:gd name="T28" fmla="*/ 2901 w 3169"/>
                <a:gd name="T29" fmla="*/ 891 h 1760"/>
                <a:gd name="T30" fmla="*/ 3038 w 3169"/>
                <a:gd name="T31" fmla="*/ 905 h 1760"/>
                <a:gd name="T32" fmla="*/ 3144 w 3169"/>
                <a:gd name="T33" fmla="*/ 981 h 1760"/>
                <a:gd name="T34" fmla="*/ 3166 w 3169"/>
                <a:gd name="T35" fmla="*/ 1566 h 1760"/>
                <a:gd name="T36" fmla="*/ 3088 w 3169"/>
                <a:gd name="T37" fmla="*/ 1708 h 1760"/>
                <a:gd name="T38" fmla="*/ 2934 w 3169"/>
                <a:gd name="T39" fmla="*/ 1756 h 1760"/>
                <a:gd name="T40" fmla="*/ 379 w 3169"/>
                <a:gd name="T41" fmla="*/ 1760 h 1760"/>
                <a:gd name="T42" fmla="*/ 205 w 3169"/>
                <a:gd name="T43" fmla="*/ 1752 h 1760"/>
                <a:gd name="T44" fmla="*/ 60 w 3169"/>
                <a:gd name="T45" fmla="*/ 1693 h 1760"/>
                <a:gd name="T46" fmla="*/ 0 w 3169"/>
                <a:gd name="T47" fmla="*/ 1529 h 1760"/>
                <a:gd name="T48" fmla="*/ 37 w 3169"/>
                <a:gd name="T49" fmla="*/ 962 h 1760"/>
                <a:gd name="T50" fmla="*/ 152 w 3169"/>
                <a:gd name="T51" fmla="*/ 900 h 1760"/>
                <a:gd name="T52" fmla="*/ 288 w 3169"/>
                <a:gd name="T53" fmla="*/ 891 h 1760"/>
                <a:gd name="T54" fmla="*/ 2165 w 3169"/>
                <a:gd name="T55" fmla="*/ 303 h 1760"/>
                <a:gd name="T56" fmla="*/ 289 w 3169"/>
                <a:gd name="T57" fmla="*/ 149 h 1760"/>
                <a:gd name="T58" fmla="*/ 2980 w 3169"/>
                <a:gd name="T59" fmla="*/ 700 h 1760"/>
                <a:gd name="T60" fmla="*/ 180 w 3169"/>
                <a:gd name="T61" fmla="*/ 54 h 1760"/>
                <a:gd name="T62" fmla="*/ 61 w 3169"/>
                <a:gd name="T63" fmla="*/ 123 h 1760"/>
                <a:gd name="T64" fmla="*/ 55 w 3169"/>
                <a:gd name="T65" fmla="*/ 699 h 1760"/>
                <a:gd name="T66" fmla="*/ 149 w 3169"/>
                <a:gd name="T67" fmla="*/ 799 h 1760"/>
                <a:gd name="T68" fmla="*/ 340 w 3169"/>
                <a:gd name="T69" fmla="*/ 822 h 1760"/>
                <a:gd name="T70" fmla="*/ 2933 w 3169"/>
                <a:gd name="T71" fmla="*/ 817 h 1760"/>
                <a:gd name="T72" fmla="*/ 3079 w 3169"/>
                <a:gd name="T73" fmla="*/ 762 h 1760"/>
                <a:gd name="T74" fmla="*/ 3120 w 3169"/>
                <a:gd name="T75" fmla="*/ 202 h 1760"/>
                <a:gd name="T76" fmla="*/ 3063 w 3169"/>
                <a:gd name="T77" fmla="*/ 76 h 1760"/>
                <a:gd name="T78" fmla="*/ 2879 w 3169"/>
                <a:gd name="T79" fmla="*/ 49 h 1760"/>
                <a:gd name="T80" fmla="*/ 288 w 3169"/>
                <a:gd name="T81" fmla="*/ 0 h 1760"/>
                <a:gd name="T82" fmla="*/ 2901 w 3169"/>
                <a:gd name="T83" fmla="*/ 0 h 1760"/>
                <a:gd name="T84" fmla="*/ 3038 w 3169"/>
                <a:gd name="T85" fmla="*/ 14 h 1760"/>
                <a:gd name="T86" fmla="*/ 3144 w 3169"/>
                <a:gd name="T87" fmla="*/ 91 h 1760"/>
                <a:gd name="T88" fmla="*/ 3166 w 3169"/>
                <a:gd name="T89" fmla="*/ 675 h 1760"/>
                <a:gd name="T90" fmla="*/ 3088 w 3169"/>
                <a:gd name="T91" fmla="*/ 817 h 1760"/>
                <a:gd name="T92" fmla="*/ 2934 w 3169"/>
                <a:gd name="T93" fmla="*/ 865 h 1760"/>
                <a:gd name="T94" fmla="*/ 379 w 3169"/>
                <a:gd name="T95" fmla="*/ 870 h 1760"/>
                <a:gd name="T96" fmla="*/ 205 w 3169"/>
                <a:gd name="T97" fmla="*/ 861 h 1760"/>
                <a:gd name="T98" fmla="*/ 60 w 3169"/>
                <a:gd name="T99" fmla="*/ 802 h 1760"/>
                <a:gd name="T100" fmla="*/ 0 w 3169"/>
                <a:gd name="T101" fmla="*/ 639 h 1760"/>
                <a:gd name="T102" fmla="*/ 37 w 3169"/>
                <a:gd name="T103" fmla="*/ 71 h 1760"/>
                <a:gd name="T104" fmla="*/ 152 w 3169"/>
                <a:gd name="T105" fmla="*/ 9 h 1760"/>
                <a:gd name="T106" fmla="*/ 288 w 3169"/>
                <a:gd name="T10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69" h="1760">
                  <a:moveTo>
                    <a:pt x="2214" y="1484"/>
                  </a:moveTo>
                  <a:lnTo>
                    <a:pt x="2795" y="1484"/>
                  </a:lnTo>
                  <a:lnTo>
                    <a:pt x="2795" y="1569"/>
                  </a:lnTo>
                  <a:lnTo>
                    <a:pt x="2214" y="1569"/>
                  </a:lnTo>
                  <a:lnTo>
                    <a:pt x="2214" y="1484"/>
                  </a:lnTo>
                  <a:close/>
                  <a:moveTo>
                    <a:pt x="2214" y="1274"/>
                  </a:moveTo>
                  <a:lnTo>
                    <a:pt x="2795" y="1274"/>
                  </a:lnTo>
                  <a:lnTo>
                    <a:pt x="2795" y="1366"/>
                  </a:lnTo>
                  <a:lnTo>
                    <a:pt x="2214" y="1366"/>
                  </a:lnTo>
                  <a:lnTo>
                    <a:pt x="2214" y="1274"/>
                  </a:lnTo>
                  <a:close/>
                  <a:moveTo>
                    <a:pt x="198" y="1050"/>
                  </a:moveTo>
                  <a:lnTo>
                    <a:pt x="290" y="1050"/>
                  </a:lnTo>
                  <a:lnTo>
                    <a:pt x="290" y="1631"/>
                  </a:lnTo>
                  <a:lnTo>
                    <a:pt x="198" y="1631"/>
                  </a:lnTo>
                  <a:lnTo>
                    <a:pt x="198" y="1050"/>
                  </a:lnTo>
                  <a:close/>
                  <a:moveTo>
                    <a:pt x="2889" y="1020"/>
                  </a:moveTo>
                  <a:lnTo>
                    <a:pt x="2982" y="1020"/>
                  </a:lnTo>
                  <a:lnTo>
                    <a:pt x="2982" y="1601"/>
                  </a:lnTo>
                  <a:lnTo>
                    <a:pt x="2889" y="1601"/>
                  </a:lnTo>
                  <a:lnTo>
                    <a:pt x="2889" y="1020"/>
                  </a:lnTo>
                  <a:close/>
                  <a:moveTo>
                    <a:pt x="288" y="938"/>
                  </a:moveTo>
                  <a:lnTo>
                    <a:pt x="248" y="939"/>
                  </a:lnTo>
                  <a:lnTo>
                    <a:pt x="212" y="942"/>
                  </a:lnTo>
                  <a:lnTo>
                    <a:pt x="180" y="945"/>
                  </a:lnTo>
                  <a:lnTo>
                    <a:pt x="150" y="949"/>
                  </a:lnTo>
                  <a:lnTo>
                    <a:pt x="126" y="957"/>
                  </a:lnTo>
                  <a:lnTo>
                    <a:pt x="104" y="966"/>
                  </a:lnTo>
                  <a:lnTo>
                    <a:pt x="86" y="978"/>
                  </a:lnTo>
                  <a:lnTo>
                    <a:pt x="72" y="994"/>
                  </a:lnTo>
                  <a:lnTo>
                    <a:pt x="61" y="1012"/>
                  </a:lnTo>
                  <a:lnTo>
                    <a:pt x="54" y="1035"/>
                  </a:lnTo>
                  <a:lnTo>
                    <a:pt x="49" y="1062"/>
                  </a:lnTo>
                  <a:lnTo>
                    <a:pt x="47" y="1093"/>
                  </a:lnTo>
                  <a:lnTo>
                    <a:pt x="47" y="1529"/>
                  </a:lnTo>
                  <a:lnTo>
                    <a:pt x="49" y="1561"/>
                  </a:lnTo>
                  <a:lnTo>
                    <a:pt x="55" y="1589"/>
                  </a:lnTo>
                  <a:lnTo>
                    <a:pt x="62" y="1614"/>
                  </a:lnTo>
                  <a:lnTo>
                    <a:pt x="74" y="1634"/>
                  </a:lnTo>
                  <a:lnTo>
                    <a:pt x="89" y="1653"/>
                  </a:lnTo>
                  <a:lnTo>
                    <a:pt x="106" y="1668"/>
                  </a:lnTo>
                  <a:lnTo>
                    <a:pt x="127" y="1680"/>
                  </a:lnTo>
                  <a:lnTo>
                    <a:pt x="149" y="1689"/>
                  </a:lnTo>
                  <a:lnTo>
                    <a:pt x="175" y="1697"/>
                  </a:lnTo>
                  <a:lnTo>
                    <a:pt x="204" y="1703"/>
                  </a:lnTo>
                  <a:lnTo>
                    <a:pt x="234" y="1708"/>
                  </a:lnTo>
                  <a:lnTo>
                    <a:pt x="268" y="1710"/>
                  </a:lnTo>
                  <a:lnTo>
                    <a:pt x="302" y="1712"/>
                  </a:lnTo>
                  <a:lnTo>
                    <a:pt x="340" y="1712"/>
                  </a:lnTo>
                  <a:lnTo>
                    <a:pt x="379" y="1713"/>
                  </a:lnTo>
                  <a:lnTo>
                    <a:pt x="2789" y="1713"/>
                  </a:lnTo>
                  <a:lnTo>
                    <a:pt x="2827" y="1712"/>
                  </a:lnTo>
                  <a:lnTo>
                    <a:pt x="2865" y="1712"/>
                  </a:lnTo>
                  <a:lnTo>
                    <a:pt x="2901" y="1710"/>
                  </a:lnTo>
                  <a:lnTo>
                    <a:pt x="2933" y="1708"/>
                  </a:lnTo>
                  <a:lnTo>
                    <a:pt x="2964" y="1703"/>
                  </a:lnTo>
                  <a:lnTo>
                    <a:pt x="2992" y="1697"/>
                  </a:lnTo>
                  <a:lnTo>
                    <a:pt x="3018" y="1689"/>
                  </a:lnTo>
                  <a:lnTo>
                    <a:pt x="3040" y="1680"/>
                  </a:lnTo>
                  <a:lnTo>
                    <a:pt x="3061" y="1668"/>
                  </a:lnTo>
                  <a:lnTo>
                    <a:pt x="3079" y="1653"/>
                  </a:lnTo>
                  <a:lnTo>
                    <a:pt x="3093" y="1634"/>
                  </a:lnTo>
                  <a:lnTo>
                    <a:pt x="3105" y="1614"/>
                  </a:lnTo>
                  <a:lnTo>
                    <a:pt x="3114" y="1589"/>
                  </a:lnTo>
                  <a:lnTo>
                    <a:pt x="3119" y="1561"/>
                  </a:lnTo>
                  <a:lnTo>
                    <a:pt x="3120" y="1529"/>
                  </a:lnTo>
                  <a:lnTo>
                    <a:pt x="3120" y="1093"/>
                  </a:lnTo>
                  <a:lnTo>
                    <a:pt x="3119" y="1062"/>
                  </a:lnTo>
                  <a:lnTo>
                    <a:pt x="3115" y="1035"/>
                  </a:lnTo>
                  <a:lnTo>
                    <a:pt x="3106" y="1012"/>
                  </a:lnTo>
                  <a:lnTo>
                    <a:pt x="3095" y="994"/>
                  </a:lnTo>
                  <a:lnTo>
                    <a:pt x="3081" y="978"/>
                  </a:lnTo>
                  <a:lnTo>
                    <a:pt x="3063" y="966"/>
                  </a:lnTo>
                  <a:lnTo>
                    <a:pt x="3043" y="957"/>
                  </a:lnTo>
                  <a:lnTo>
                    <a:pt x="3017" y="949"/>
                  </a:lnTo>
                  <a:lnTo>
                    <a:pt x="2989" y="945"/>
                  </a:lnTo>
                  <a:lnTo>
                    <a:pt x="2957" y="942"/>
                  </a:lnTo>
                  <a:lnTo>
                    <a:pt x="2920" y="939"/>
                  </a:lnTo>
                  <a:lnTo>
                    <a:pt x="2879" y="938"/>
                  </a:lnTo>
                  <a:lnTo>
                    <a:pt x="2836" y="939"/>
                  </a:lnTo>
                  <a:lnTo>
                    <a:pt x="2789" y="939"/>
                  </a:lnTo>
                  <a:lnTo>
                    <a:pt x="379" y="939"/>
                  </a:lnTo>
                  <a:lnTo>
                    <a:pt x="331" y="939"/>
                  </a:lnTo>
                  <a:lnTo>
                    <a:pt x="288" y="938"/>
                  </a:lnTo>
                  <a:close/>
                  <a:moveTo>
                    <a:pt x="288" y="891"/>
                  </a:moveTo>
                  <a:lnTo>
                    <a:pt x="332" y="891"/>
                  </a:lnTo>
                  <a:lnTo>
                    <a:pt x="379" y="891"/>
                  </a:lnTo>
                  <a:lnTo>
                    <a:pt x="2789" y="891"/>
                  </a:lnTo>
                  <a:lnTo>
                    <a:pt x="2836" y="891"/>
                  </a:lnTo>
                  <a:lnTo>
                    <a:pt x="2879" y="891"/>
                  </a:lnTo>
                  <a:lnTo>
                    <a:pt x="2901" y="891"/>
                  </a:lnTo>
                  <a:lnTo>
                    <a:pt x="2923" y="891"/>
                  </a:lnTo>
                  <a:lnTo>
                    <a:pt x="2947" y="892"/>
                  </a:lnTo>
                  <a:lnTo>
                    <a:pt x="2969" y="893"/>
                  </a:lnTo>
                  <a:lnTo>
                    <a:pt x="2993" y="896"/>
                  </a:lnTo>
                  <a:lnTo>
                    <a:pt x="3016" y="900"/>
                  </a:lnTo>
                  <a:lnTo>
                    <a:pt x="3038" y="905"/>
                  </a:lnTo>
                  <a:lnTo>
                    <a:pt x="3059" y="911"/>
                  </a:lnTo>
                  <a:lnTo>
                    <a:pt x="3079" y="921"/>
                  </a:lnTo>
                  <a:lnTo>
                    <a:pt x="3099" y="932"/>
                  </a:lnTo>
                  <a:lnTo>
                    <a:pt x="3115" y="946"/>
                  </a:lnTo>
                  <a:lnTo>
                    <a:pt x="3131" y="962"/>
                  </a:lnTo>
                  <a:lnTo>
                    <a:pt x="3144" y="981"/>
                  </a:lnTo>
                  <a:lnTo>
                    <a:pt x="3154" y="1004"/>
                  </a:lnTo>
                  <a:lnTo>
                    <a:pt x="3162" y="1030"/>
                  </a:lnTo>
                  <a:lnTo>
                    <a:pt x="3166" y="1060"/>
                  </a:lnTo>
                  <a:lnTo>
                    <a:pt x="3169" y="1093"/>
                  </a:lnTo>
                  <a:lnTo>
                    <a:pt x="3169" y="1529"/>
                  </a:lnTo>
                  <a:lnTo>
                    <a:pt x="3166" y="1566"/>
                  </a:lnTo>
                  <a:lnTo>
                    <a:pt x="3161" y="1598"/>
                  </a:lnTo>
                  <a:lnTo>
                    <a:pt x="3152" y="1627"/>
                  </a:lnTo>
                  <a:lnTo>
                    <a:pt x="3140" y="1652"/>
                  </a:lnTo>
                  <a:lnTo>
                    <a:pt x="3126" y="1673"/>
                  </a:lnTo>
                  <a:lnTo>
                    <a:pt x="3107" y="1693"/>
                  </a:lnTo>
                  <a:lnTo>
                    <a:pt x="3088" y="1708"/>
                  </a:lnTo>
                  <a:lnTo>
                    <a:pt x="3065" y="1720"/>
                  </a:lnTo>
                  <a:lnTo>
                    <a:pt x="3042" y="1731"/>
                  </a:lnTo>
                  <a:lnTo>
                    <a:pt x="3017" y="1740"/>
                  </a:lnTo>
                  <a:lnTo>
                    <a:pt x="2990" y="1747"/>
                  </a:lnTo>
                  <a:lnTo>
                    <a:pt x="2962" y="1752"/>
                  </a:lnTo>
                  <a:lnTo>
                    <a:pt x="2934" y="1756"/>
                  </a:lnTo>
                  <a:lnTo>
                    <a:pt x="2905" y="1758"/>
                  </a:lnTo>
                  <a:lnTo>
                    <a:pt x="2876" y="1759"/>
                  </a:lnTo>
                  <a:lnTo>
                    <a:pt x="2847" y="1760"/>
                  </a:lnTo>
                  <a:lnTo>
                    <a:pt x="2818" y="1760"/>
                  </a:lnTo>
                  <a:lnTo>
                    <a:pt x="2789" y="1760"/>
                  </a:lnTo>
                  <a:lnTo>
                    <a:pt x="379" y="1760"/>
                  </a:lnTo>
                  <a:lnTo>
                    <a:pt x="351" y="1760"/>
                  </a:lnTo>
                  <a:lnTo>
                    <a:pt x="322" y="1760"/>
                  </a:lnTo>
                  <a:lnTo>
                    <a:pt x="293" y="1759"/>
                  </a:lnTo>
                  <a:lnTo>
                    <a:pt x="262" y="1758"/>
                  </a:lnTo>
                  <a:lnTo>
                    <a:pt x="233" y="1756"/>
                  </a:lnTo>
                  <a:lnTo>
                    <a:pt x="205" y="1752"/>
                  </a:lnTo>
                  <a:lnTo>
                    <a:pt x="177" y="1747"/>
                  </a:lnTo>
                  <a:lnTo>
                    <a:pt x="152" y="1740"/>
                  </a:lnTo>
                  <a:lnTo>
                    <a:pt x="126" y="1731"/>
                  </a:lnTo>
                  <a:lnTo>
                    <a:pt x="102" y="1720"/>
                  </a:lnTo>
                  <a:lnTo>
                    <a:pt x="80" y="1708"/>
                  </a:lnTo>
                  <a:lnTo>
                    <a:pt x="60" y="1693"/>
                  </a:lnTo>
                  <a:lnTo>
                    <a:pt x="43" y="1673"/>
                  </a:lnTo>
                  <a:lnTo>
                    <a:pt x="28" y="1652"/>
                  </a:lnTo>
                  <a:lnTo>
                    <a:pt x="16" y="1627"/>
                  </a:lnTo>
                  <a:lnTo>
                    <a:pt x="6" y="1598"/>
                  </a:lnTo>
                  <a:lnTo>
                    <a:pt x="1" y="1566"/>
                  </a:lnTo>
                  <a:lnTo>
                    <a:pt x="0" y="1529"/>
                  </a:lnTo>
                  <a:lnTo>
                    <a:pt x="0" y="1093"/>
                  </a:lnTo>
                  <a:lnTo>
                    <a:pt x="1" y="1060"/>
                  </a:lnTo>
                  <a:lnTo>
                    <a:pt x="6" y="1030"/>
                  </a:lnTo>
                  <a:lnTo>
                    <a:pt x="14" y="1004"/>
                  </a:lnTo>
                  <a:lnTo>
                    <a:pt x="25" y="981"/>
                  </a:lnTo>
                  <a:lnTo>
                    <a:pt x="37" y="962"/>
                  </a:lnTo>
                  <a:lnTo>
                    <a:pt x="53" y="946"/>
                  </a:lnTo>
                  <a:lnTo>
                    <a:pt x="70" y="932"/>
                  </a:lnTo>
                  <a:lnTo>
                    <a:pt x="88" y="921"/>
                  </a:lnTo>
                  <a:lnTo>
                    <a:pt x="108" y="911"/>
                  </a:lnTo>
                  <a:lnTo>
                    <a:pt x="130" y="905"/>
                  </a:lnTo>
                  <a:lnTo>
                    <a:pt x="152" y="900"/>
                  </a:lnTo>
                  <a:lnTo>
                    <a:pt x="174" y="896"/>
                  </a:lnTo>
                  <a:lnTo>
                    <a:pt x="198" y="893"/>
                  </a:lnTo>
                  <a:lnTo>
                    <a:pt x="220" y="892"/>
                  </a:lnTo>
                  <a:lnTo>
                    <a:pt x="244" y="891"/>
                  </a:lnTo>
                  <a:lnTo>
                    <a:pt x="267" y="891"/>
                  </a:lnTo>
                  <a:lnTo>
                    <a:pt x="288" y="891"/>
                  </a:lnTo>
                  <a:close/>
                  <a:moveTo>
                    <a:pt x="2165" y="515"/>
                  </a:moveTo>
                  <a:lnTo>
                    <a:pt x="2748" y="515"/>
                  </a:lnTo>
                  <a:lnTo>
                    <a:pt x="2748" y="600"/>
                  </a:lnTo>
                  <a:lnTo>
                    <a:pt x="2165" y="600"/>
                  </a:lnTo>
                  <a:lnTo>
                    <a:pt x="2165" y="515"/>
                  </a:lnTo>
                  <a:close/>
                  <a:moveTo>
                    <a:pt x="2165" y="303"/>
                  </a:moveTo>
                  <a:lnTo>
                    <a:pt x="2748" y="303"/>
                  </a:lnTo>
                  <a:lnTo>
                    <a:pt x="2748" y="397"/>
                  </a:lnTo>
                  <a:lnTo>
                    <a:pt x="2165" y="397"/>
                  </a:lnTo>
                  <a:lnTo>
                    <a:pt x="2165" y="303"/>
                  </a:lnTo>
                  <a:close/>
                  <a:moveTo>
                    <a:pt x="197" y="149"/>
                  </a:moveTo>
                  <a:lnTo>
                    <a:pt x="289" y="149"/>
                  </a:lnTo>
                  <a:lnTo>
                    <a:pt x="289" y="730"/>
                  </a:lnTo>
                  <a:lnTo>
                    <a:pt x="197" y="730"/>
                  </a:lnTo>
                  <a:lnTo>
                    <a:pt x="197" y="149"/>
                  </a:lnTo>
                  <a:close/>
                  <a:moveTo>
                    <a:pt x="2888" y="119"/>
                  </a:moveTo>
                  <a:lnTo>
                    <a:pt x="2980" y="119"/>
                  </a:lnTo>
                  <a:lnTo>
                    <a:pt x="2980" y="700"/>
                  </a:lnTo>
                  <a:lnTo>
                    <a:pt x="2888" y="700"/>
                  </a:lnTo>
                  <a:lnTo>
                    <a:pt x="2888" y="119"/>
                  </a:lnTo>
                  <a:close/>
                  <a:moveTo>
                    <a:pt x="288" y="49"/>
                  </a:moveTo>
                  <a:lnTo>
                    <a:pt x="248" y="49"/>
                  </a:lnTo>
                  <a:lnTo>
                    <a:pt x="212" y="51"/>
                  </a:lnTo>
                  <a:lnTo>
                    <a:pt x="180" y="54"/>
                  </a:lnTo>
                  <a:lnTo>
                    <a:pt x="150" y="58"/>
                  </a:lnTo>
                  <a:lnTo>
                    <a:pt x="126" y="66"/>
                  </a:lnTo>
                  <a:lnTo>
                    <a:pt x="104" y="76"/>
                  </a:lnTo>
                  <a:lnTo>
                    <a:pt x="86" y="89"/>
                  </a:lnTo>
                  <a:lnTo>
                    <a:pt x="72" y="104"/>
                  </a:lnTo>
                  <a:lnTo>
                    <a:pt x="61" y="123"/>
                  </a:lnTo>
                  <a:lnTo>
                    <a:pt x="54" y="145"/>
                  </a:lnTo>
                  <a:lnTo>
                    <a:pt x="49" y="171"/>
                  </a:lnTo>
                  <a:lnTo>
                    <a:pt x="47" y="202"/>
                  </a:lnTo>
                  <a:lnTo>
                    <a:pt x="47" y="639"/>
                  </a:lnTo>
                  <a:lnTo>
                    <a:pt x="49" y="671"/>
                  </a:lnTo>
                  <a:lnTo>
                    <a:pt x="55" y="699"/>
                  </a:lnTo>
                  <a:lnTo>
                    <a:pt x="62" y="723"/>
                  </a:lnTo>
                  <a:lnTo>
                    <a:pt x="74" y="745"/>
                  </a:lnTo>
                  <a:lnTo>
                    <a:pt x="89" y="762"/>
                  </a:lnTo>
                  <a:lnTo>
                    <a:pt x="106" y="777"/>
                  </a:lnTo>
                  <a:lnTo>
                    <a:pt x="127" y="789"/>
                  </a:lnTo>
                  <a:lnTo>
                    <a:pt x="149" y="799"/>
                  </a:lnTo>
                  <a:lnTo>
                    <a:pt x="175" y="807"/>
                  </a:lnTo>
                  <a:lnTo>
                    <a:pt x="204" y="813"/>
                  </a:lnTo>
                  <a:lnTo>
                    <a:pt x="234" y="817"/>
                  </a:lnTo>
                  <a:lnTo>
                    <a:pt x="268" y="819"/>
                  </a:lnTo>
                  <a:lnTo>
                    <a:pt x="302" y="821"/>
                  </a:lnTo>
                  <a:lnTo>
                    <a:pt x="340" y="822"/>
                  </a:lnTo>
                  <a:lnTo>
                    <a:pt x="379" y="822"/>
                  </a:lnTo>
                  <a:lnTo>
                    <a:pt x="2789" y="822"/>
                  </a:lnTo>
                  <a:lnTo>
                    <a:pt x="2827" y="822"/>
                  </a:lnTo>
                  <a:lnTo>
                    <a:pt x="2865" y="821"/>
                  </a:lnTo>
                  <a:lnTo>
                    <a:pt x="2901" y="819"/>
                  </a:lnTo>
                  <a:lnTo>
                    <a:pt x="2933" y="817"/>
                  </a:lnTo>
                  <a:lnTo>
                    <a:pt x="2964" y="813"/>
                  </a:lnTo>
                  <a:lnTo>
                    <a:pt x="2992" y="807"/>
                  </a:lnTo>
                  <a:lnTo>
                    <a:pt x="3018" y="799"/>
                  </a:lnTo>
                  <a:lnTo>
                    <a:pt x="3040" y="789"/>
                  </a:lnTo>
                  <a:lnTo>
                    <a:pt x="3061" y="777"/>
                  </a:lnTo>
                  <a:lnTo>
                    <a:pt x="3079" y="762"/>
                  </a:lnTo>
                  <a:lnTo>
                    <a:pt x="3093" y="745"/>
                  </a:lnTo>
                  <a:lnTo>
                    <a:pt x="3105" y="723"/>
                  </a:lnTo>
                  <a:lnTo>
                    <a:pt x="3114" y="699"/>
                  </a:lnTo>
                  <a:lnTo>
                    <a:pt x="3119" y="671"/>
                  </a:lnTo>
                  <a:lnTo>
                    <a:pt x="3120" y="639"/>
                  </a:lnTo>
                  <a:lnTo>
                    <a:pt x="3120" y="202"/>
                  </a:lnTo>
                  <a:lnTo>
                    <a:pt x="3119" y="171"/>
                  </a:lnTo>
                  <a:lnTo>
                    <a:pt x="3115" y="145"/>
                  </a:lnTo>
                  <a:lnTo>
                    <a:pt x="3106" y="123"/>
                  </a:lnTo>
                  <a:lnTo>
                    <a:pt x="3095" y="104"/>
                  </a:lnTo>
                  <a:lnTo>
                    <a:pt x="3081" y="89"/>
                  </a:lnTo>
                  <a:lnTo>
                    <a:pt x="3063" y="76"/>
                  </a:lnTo>
                  <a:lnTo>
                    <a:pt x="3043" y="66"/>
                  </a:lnTo>
                  <a:lnTo>
                    <a:pt x="3017" y="58"/>
                  </a:lnTo>
                  <a:lnTo>
                    <a:pt x="2989" y="54"/>
                  </a:lnTo>
                  <a:lnTo>
                    <a:pt x="2957" y="51"/>
                  </a:lnTo>
                  <a:lnTo>
                    <a:pt x="2920" y="49"/>
                  </a:lnTo>
                  <a:lnTo>
                    <a:pt x="2879" y="49"/>
                  </a:lnTo>
                  <a:lnTo>
                    <a:pt x="2836" y="49"/>
                  </a:lnTo>
                  <a:lnTo>
                    <a:pt x="2789" y="49"/>
                  </a:lnTo>
                  <a:lnTo>
                    <a:pt x="379" y="49"/>
                  </a:lnTo>
                  <a:lnTo>
                    <a:pt x="331" y="49"/>
                  </a:lnTo>
                  <a:lnTo>
                    <a:pt x="288" y="49"/>
                  </a:lnTo>
                  <a:close/>
                  <a:moveTo>
                    <a:pt x="288" y="0"/>
                  </a:moveTo>
                  <a:lnTo>
                    <a:pt x="332" y="0"/>
                  </a:lnTo>
                  <a:lnTo>
                    <a:pt x="379" y="2"/>
                  </a:lnTo>
                  <a:lnTo>
                    <a:pt x="2789" y="2"/>
                  </a:lnTo>
                  <a:lnTo>
                    <a:pt x="2836" y="0"/>
                  </a:lnTo>
                  <a:lnTo>
                    <a:pt x="2879" y="0"/>
                  </a:lnTo>
                  <a:lnTo>
                    <a:pt x="2901" y="0"/>
                  </a:lnTo>
                  <a:lnTo>
                    <a:pt x="2924" y="0"/>
                  </a:lnTo>
                  <a:lnTo>
                    <a:pt x="2947" y="2"/>
                  </a:lnTo>
                  <a:lnTo>
                    <a:pt x="2971" y="4"/>
                  </a:lnTo>
                  <a:lnTo>
                    <a:pt x="2993" y="6"/>
                  </a:lnTo>
                  <a:lnTo>
                    <a:pt x="3016" y="9"/>
                  </a:lnTo>
                  <a:lnTo>
                    <a:pt x="3038" y="14"/>
                  </a:lnTo>
                  <a:lnTo>
                    <a:pt x="3059" y="22"/>
                  </a:lnTo>
                  <a:lnTo>
                    <a:pt x="3079" y="31"/>
                  </a:lnTo>
                  <a:lnTo>
                    <a:pt x="3099" y="41"/>
                  </a:lnTo>
                  <a:lnTo>
                    <a:pt x="3115" y="55"/>
                  </a:lnTo>
                  <a:lnTo>
                    <a:pt x="3131" y="71"/>
                  </a:lnTo>
                  <a:lnTo>
                    <a:pt x="3144" y="91"/>
                  </a:lnTo>
                  <a:lnTo>
                    <a:pt x="3154" y="113"/>
                  </a:lnTo>
                  <a:lnTo>
                    <a:pt x="3162" y="139"/>
                  </a:lnTo>
                  <a:lnTo>
                    <a:pt x="3166" y="169"/>
                  </a:lnTo>
                  <a:lnTo>
                    <a:pt x="3169" y="202"/>
                  </a:lnTo>
                  <a:lnTo>
                    <a:pt x="3169" y="639"/>
                  </a:lnTo>
                  <a:lnTo>
                    <a:pt x="3166" y="675"/>
                  </a:lnTo>
                  <a:lnTo>
                    <a:pt x="3161" y="707"/>
                  </a:lnTo>
                  <a:lnTo>
                    <a:pt x="3152" y="736"/>
                  </a:lnTo>
                  <a:lnTo>
                    <a:pt x="3140" y="761"/>
                  </a:lnTo>
                  <a:lnTo>
                    <a:pt x="3126" y="783"/>
                  </a:lnTo>
                  <a:lnTo>
                    <a:pt x="3107" y="802"/>
                  </a:lnTo>
                  <a:lnTo>
                    <a:pt x="3088" y="817"/>
                  </a:lnTo>
                  <a:lnTo>
                    <a:pt x="3065" y="831"/>
                  </a:lnTo>
                  <a:lnTo>
                    <a:pt x="3042" y="842"/>
                  </a:lnTo>
                  <a:lnTo>
                    <a:pt x="3017" y="850"/>
                  </a:lnTo>
                  <a:lnTo>
                    <a:pt x="2990" y="857"/>
                  </a:lnTo>
                  <a:lnTo>
                    <a:pt x="2962" y="861"/>
                  </a:lnTo>
                  <a:lnTo>
                    <a:pt x="2934" y="865"/>
                  </a:lnTo>
                  <a:lnTo>
                    <a:pt x="2905" y="867"/>
                  </a:lnTo>
                  <a:lnTo>
                    <a:pt x="2876" y="868"/>
                  </a:lnTo>
                  <a:lnTo>
                    <a:pt x="2847" y="870"/>
                  </a:lnTo>
                  <a:lnTo>
                    <a:pt x="2818" y="870"/>
                  </a:lnTo>
                  <a:lnTo>
                    <a:pt x="2789" y="870"/>
                  </a:lnTo>
                  <a:lnTo>
                    <a:pt x="379" y="870"/>
                  </a:lnTo>
                  <a:lnTo>
                    <a:pt x="351" y="870"/>
                  </a:lnTo>
                  <a:lnTo>
                    <a:pt x="322" y="870"/>
                  </a:lnTo>
                  <a:lnTo>
                    <a:pt x="293" y="868"/>
                  </a:lnTo>
                  <a:lnTo>
                    <a:pt x="262" y="867"/>
                  </a:lnTo>
                  <a:lnTo>
                    <a:pt x="233" y="865"/>
                  </a:lnTo>
                  <a:lnTo>
                    <a:pt x="205" y="861"/>
                  </a:lnTo>
                  <a:lnTo>
                    <a:pt x="177" y="857"/>
                  </a:lnTo>
                  <a:lnTo>
                    <a:pt x="152" y="850"/>
                  </a:lnTo>
                  <a:lnTo>
                    <a:pt x="126" y="842"/>
                  </a:lnTo>
                  <a:lnTo>
                    <a:pt x="102" y="831"/>
                  </a:lnTo>
                  <a:lnTo>
                    <a:pt x="80" y="817"/>
                  </a:lnTo>
                  <a:lnTo>
                    <a:pt x="60" y="802"/>
                  </a:lnTo>
                  <a:lnTo>
                    <a:pt x="43" y="783"/>
                  </a:lnTo>
                  <a:lnTo>
                    <a:pt x="28" y="761"/>
                  </a:lnTo>
                  <a:lnTo>
                    <a:pt x="16" y="736"/>
                  </a:lnTo>
                  <a:lnTo>
                    <a:pt x="6" y="707"/>
                  </a:lnTo>
                  <a:lnTo>
                    <a:pt x="1" y="675"/>
                  </a:lnTo>
                  <a:lnTo>
                    <a:pt x="0" y="639"/>
                  </a:lnTo>
                  <a:lnTo>
                    <a:pt x="0" y="202"/>
                  </a:lnTo>
                  <a:lnTo>
                    <a:pt x="1" y="169"/>
                  </a:lnTo>
                  <a:lnTo>
                    <a:pt x="6" y="139"/>
                  </a:lnTo>
                  <a:lnTo>
                    <a:pt x="14" y="113"/>
                  </a:lnTo>
                  <a:lnTo>
                    <a:pt x="25" y="91"/>
                  </a:lnTo>
                  <a:lnTo>
                    <a:pt x="37" y="71"/>
                  </a:lnTo>
                  <a:lnTo>
                    <a:pt x="53" y="55"/>
                  </a:lnTo>
                  <a:lnTo>
                    <a:pt x="70" y="41"/>
                  </a:lnTo>
                  <a:lnTo>
                    <a:pt x="88" y="31"/>
                  </a:lnTo>
                  <a:lnTo>
                    <a:pt x="108" y="22"/>
                  </a:lnTo>
                  <a:lnTo>
                    <a:pt x="130" y="14"/>
                  </a:lnTo>
                  <a:lnTo>
                    <a:pt x="152" y="9"/>
                  </a:lnTo>
                  <a:lnTo>
                    <a:pt x="174" y="6"/>
                  </a:lnTo>
                  <a:lnTo>
                    <a:pt x="198" y="4"/>
                  </a:lnTo>
                  <a:lnTo>
                    <a:pt x="220" y="2"/>
                  </a:lnTo>
                  <a:lnTo>
                    <a:pt x="244" y="0"/>
                  </a:lnTo>
                  <a:lnTo>
                    <a:pt x="267" y="0"/>
                  </a:lnTo>
                  <a:lnTo>
                    <a:pt x="2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73" name="Group 72"/>
            <p:cNvGrpSpPr/>
            <p:nvPr/>
          </p:nvGrpSpPr>
          <p:grpSpPr>
            <a:xfrm>
              <a:off x="7887981" y="2790624"/>
              <a:ext cx="1206302" cy="1461514"/>
              <a:chOff x="7971784" y="2790624"/>
              <a:chExt cx="1206302" cy="1461514"/>
            </a:xfrm>
          </p:grpSpPr>
          <p:sp>
            <p:nvSpPr>
              <p:cNvPr id="29" name="TextBox 28"/>
              <p:cNvSpPr txBox="1"/>
              <p:nvPr/>
            </p:nvSpPr>
            <p:spPr>
              <a:xfrm>
                <a:off x="8120462" y="2790624"/>
                <a:ext cx="1056275" cy="528340"/>
              </a:xfrm>
              <a:prstGeom prst="rect">
                <a:avLst/>
              </a:prstGeom>
              <a:noFill/>
            </p:spPr>
            <p:txBody>
              <a:bodyPr wrap="square" lIns="0" tIns="0" rIns="0" bIns="0" rtlCol="0">
                <a:spAutoFit/>
              </a:bodyPr>
              <a:lstStyle/>
              <a:p>
                <a:pPr algn="ctr"/>
                <a:r>
                  <a:rPr lang="en-US" sz="1122" b="1" dirty="0">
                    <a:latin typeface="Segoe UI Light" pitchFamily="34" charset="0"/>
                  </a:rPr>
                  <a:t>Remote Desktop Connection Broker</a:t>
                </a:r>
              </a:p>
            </p:txBody>
          </p:sp>
          <p:pic>
            <p:nvPicPr>
              <p:cNvPr id="194" name="Picture 1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880854" y="3813885"/>
                <a:ext cx="297232" cy="438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5" name="TextBox 194"/>
              <p:cNvSpPr txBox="1"/>
              <p:nvPr/>
            </p:nvSpPr>
            <p:spPr>
              <a:xfrm>
                <a:off x="7971784" y="3930087"/>
                <a:ext cx="1056275" cy="172676"/>
              </a:xfrm>
              <a:prstGeom prst="rect">
                <a:avLst/>
              </a:prstGeom>
              <a:noFill/>
            </p:spPr>
            <p:txBody>
              <a:bodyPr wrap="square" lIns="0" tIns="0" rIns="0" bIns="0" rtlCol="0">
                <a:spAutoFit/>
              </a:bodyPr>
              <a:lstStyle/>
              <a:p>
                <a:pPr algn="ctr"/>
                <a:r>
                  <a:rPr lang="en-US" sz="1122" b="1" dirty="0" smtClean="0">
                    <a:latin typeface="Segoe UI Light" pitchFamily="34" charset="0"/>
                  </a:rPr>
                  <a:t>Database</a:t>
                </a:r>
                <a:endParaRPr lang="en-US" sz="1122" b="1" dirty="0">
                  <a:latin typeface="Segoe UI Light" pitchFamily="34" charset="0"/>
                </a:endParaRPr>
              </a:p>
            </p:txBody>
          </p:sp>
        </p:grpSp>
      </p:grpSp>
      <p:sp>
        <p:nvSpPr>
          <p:cNvPr id="2" name="Title 1"/>
          <p:cNvSpPr>
            <a:spLocks noGrp="1"/>
          </p:cNvSpPr>
          <p:nvPr>
            <p:ph type="title"/>
          </p:nvPr>
        </p:nvSpPr>
        <p:spPr>
          <a:xfrm>
            <a:off x="266171" y="283615"/>
            <a:ext cx="11375536" cy="738664"/>
          </a:xfrm>
        </p:spPr>
        <p:txBody>
          <a:bodyPr/>
          <a:lstStyle/>
          <a:p>
            <a:r>
              <a:rPr lang="en-US" sz="4000" dirty="0" smtClean="0"/>
              <a:t>High availability</a:t>
            </a:r>
            <a:endParaRPr lang="en-US" sz="4000" dirty="0"/>
          </a:p>
        </p:txBody>
      </p:sp>
      <p:cxnSp>
        <p:nvCxnSpPr>
          <p:cNvPr id="32" name="Straight Arrow Connector 31"/>
          <p:cNvCxnSpPr>
            <a:cxnSpLocks noChangeAspect="1"/>
          </p:cNvCxnSpPr>
          <p:nvPr/>
        </p:nvCxnSpPr>
        <p:spPr>
          <a:xfrm>
            <a:off x="6850380" y="2905712"/>
            <a:ext cx="901167" cy="0"/>
          </a:xfrm>
          <a:prstGeom prst="straightConnector1">
            <a:avLst/>
          </a:prstGeom>
          <a:ln w="19050" cap="rnd">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cxnSpLocks noChangeAspect="1"/>
          </p:cNvCxnSpPr>
          <p:nvPr/>
        </p:nvCxnSpPr>
        <p:spPr>
          <a:xfrm>
            <a:off x="6850380" y="3662574"/>
            <a:ext cx="901167" cy="0"/>
          </a:xfrm>
          <a:prstGeom prst="straightConnector1">
            <a:avLst/>
          </a:prstGeom>
          <a:ln w="19050" cap="rnd">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9" name="Rectangle 98"/>
          <p:cNvSpPr>
            <a:spLocks noChangeAspect="1"/>
          </p:cNvSpPr>
          <p:nvPr/>
        </p:nvSpPr>
        <p:spPr bwMode="auto">
          <a:xfrm>
            <a:off x="10732637" y="1152525"/>
            <a:ext cx="737283" cy="45517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fontAlgn="base">
              <a:lnSpc>
                <a:spcPct val="90000"/>
              </a:lnSpc>
              <a:spcBef>
                <a:spcPct val="20000"/>
              </a:spcBef>
              <a:spcAft>
                <a:spcPct val="0"/>
              </a:spcAft>
              <a:buSzPct val="90000"/>
            </a:pPr>
            <a:r>
              <a:rPr lang="en-US" sz="1122" b="1" dirty="0">
                <a:solidFill>
                  <a:schemeClr val="tx1"/>
                </a:solidFill>
              </a:rPr>
              <a:t>Hyper-V </a:t>
            </a:r>
            <a:r>
              <a:rPr lang="en-US" sz="1122" b="1" dirty="0" smtClean="0">
                <a:solidFill>
                  <a:schemeClr val="tx1"/>
                </a:solidFill>
              </a:rPr>
              <a:t>cluster</a:t>
            </a:r>
            <a:endParaRPr lang="en-US" sz="1122" b="1" dirty="0">
              <a:solidFill>
                <a:schemeClr val="tx1"/>
              </a:solidFill>
            </a:endParaRPr>
          </a:p>
        </p:txBody>
      </p:sp>
      <p:sp>
        <p:nvSpPr>
          <p:cNvPr id="102" name="Rectangle 101"/>
          <p:cNvSpPr>
            <a:spLocks/>
          </p:cNvSpPr>
          <p:nvPr/>
        </p:nvSpPr>
        <p:spPr bwMode="auto">
          <a:xfrm>
            <a:off x="5425270" y="4847842"/>
            <a:ext cx="745978" cy="41961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fontAlgn="base">
              <a:lnSpc>
                <a:spcPct val="90000"/>
              </a:lnSpc>
              <a:spcBef>
                <a:spcPct val="20000"/>
              </a:spcBef>
              <a:spcAft>
                <a:spcPct val="0"/>
              </a:spcAft>
              <a:buSzPct val="90000"/>
            </a:pPr>
            <a:r>
              <a:rPr lang="en-US" sz="1122" b="1" dirty="0">
                <a:solidFill>
                  <a:schemeClr val="tx1"/>
                </a:solidFill>
              </a:rPr>
              <a:t>Web farm</a:t>
            </a:r>
          </a:p>
        </p:txBody>
      </p:sp>
      <p:sp>
        <p:nvSpPr>
          <p:cNvPr id="103" name="Rectangle 102"/>
          <p:cNvSpPr>
            <a:spLocks noChangeAspect="1"/>
          </p:cNvSpPr>
          <p:nvPr/>
        </p:nvSpPr>
        <p:spPr bwMode="auto">
          <a:xfrm>
            <a:off x="7702746" y="5835928"/>
            <a:ext cx="620704" cy="42509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fontAlgn="base">
              <a:lnSpc>
                <a:spcPct val="90000"/>
              </a:lnSpc>
              <a:spcBef>
                <a:spcPct val="20000"/>
              </a:spcBef>
              <a:spcAft>
                <a:spcPct val="0"/>
              </a:spcAft>
              <a:buSzPct val="90000"/>
            </a:pPr>
            <a:r>
              <a:rPr lang="en-US" sz="1122" b="1" dirty="0">
                <a:solidFill>
                  <a:schemeClr val="tx1"/>
                </a:solidFill>
              </a:rPr>
              <a:t>Cluster</a:t>
            </a:r>
          </a:p>
        </p:txBody>
      </p:sp>
      <p:sp>
        <p:nvSpPr>
          <p:cNvPr id="105" name="Rectangle 104"/>
          <p:cNvSpPr>
            <a:spLocks noChangeAspect="1"/>
          </p:cNvSpPr>
          <p:nvPr/>
        </p:nvSpPr>
        <p:spPr bwMode="auto">
          <a:xfrm>
            <a:off x="10572568" y="5077959"/>
            <a:ext cx="1236642" cy="41961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fontAlgn="base">
              <a:lnSpc>
                <a:spcPct val="90000"/>
              </a:lnSpc>
              <a:spcBef>
                <a:spcPct val="20000"/>
              </a:spcBef>
              <a:spcAft>
                <a:spcPct val="0"/>
              </a:spcAft>
              <a:buSzPct val="90000"/>
            </a:pPr>
            <a:r>
              <a:rPr lang="en-US" sz="1122" b="1" dirty="0">
                <a:solidFill>
                  <a:schemeClr val="tx1"/>
                </a:solidFill>
              </a:rPr>
              <a:t>Remote Desktop Session Host farm</a:t>
            </a:r>
          </a:p>
        </p:txBody>
      </p:sp>
      <p:cxnSp>
        <p:nvCxnSpPr>
          <p:cNvPr id="111" name="Straight Connector 110"/>
          <p:cNvCxnSpPr>
            <a:cxnSpLocks noChangeAspect="1"/>
          </p:cNvCxnSpPr>
          <p:nvPr/>
        </p:nvCxnSpPr>
        <p:spPr bwMode="auto">
          <a:xfrm>
            <a:off x="9158290" y="2216531"/>
            <a:ext cx="1000312" cy="0"/>
          </a:xfrm>
          <a:prstGeom prst="line">
            <a:avLst/>
          </a:prstGeom>
          <a:ln w="19050" cap="rnd">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cxnSpLocks noChangeAspect="1"/>
          </p:cNvCxnSpPr>
          <p:nvPr/>
        </p:nvCxnSpPr>
        <p:spPr bwMode="auto">
          <a:xfrm flipV="1">
            <a:off x="8540123" y="2647960"/>
            <a:ext cx="0" cy="438261"/>
          </a:xfrm>
          <a:prstGeom prst="line">
            <a:avLst/>
          </a:prstGeom>
          <a:ln w="19050" cap="rnd">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a:spLocks noChangeAspect="1"/>
          </p:cNvSpPr>
          <p:nvPr/>
        </p:nvSpPr>
        <p:spPr bwMode="auto">
          <a:xfrm>
            <a:off x="5434018" y="943267"/>
            <a:ext cx="745978" cy="4185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fontAlgn="base">
              <a:lnSpc>
                <a:spcPct val="90000"/>
              </a:lnSpc>
              <a:spcBef>
                <a:spcPct val="20000"/>
              </a:spcBef>
              <a:spcAft>
                <a:spcPct val="0"/>
              </a:spcAft>
              <a:buSzPct val="90000"/>
            </a:pPr>
            <a:r>
              <a:rPr lang="en-US" sz="1122" b="1" dirty="0">
                <a:solidFill>
                  <a:schemeClr val="tx1"/>
                </a:solidFill>
              </a:rPr>
              <a:t>Web farm</a:t>
            </a:r>
          </a:p>
        </p:txBody>
      </p:sp>
      <p:sp>
        <p:nvSpPr>
          <p:cNvPr id="49" name="Rectangle 48"/>
          <p:cNvSpPr/>
          <p:nvPr/>
        </p:nvSpPr>
        <p:spPr>
          <a:xfrm>
            <a:off x="258233" y="1623468"/>
            <a:ext cx="4174320" cy="768930"/>
          </a:xfrm>
          <a:prstGeom prst="rect">
            <a:avLst/>
          </a:prstGeom>
          <a:noFill/>
          <a:ln w="57150" cmpd="sng">
            <a:noFill/>
          </a:ln>
        </p:spPr>
        <p:txBody>
          <a:bodyPr wrap="square" lIns="186521" tIns="93260" rIns="186521" bIns="93260" anchor="ctr">
            <a:noAutofit/>
          </a:bodyPr>
          <a:lstStyle/>
          <a:p>
            <a:pPr defTabSz="932597">
              <a:spcBef>
                <a:spcPct val="75000"/>
              </a:spcBef>
              <a:buClr>
                <a:srgbClr val="002050"/>
              </a:buClr>
              <a:defRPr/>
            </a:pPr>
            <a:r>
              <a:rPr lang="en-US" sz="2400" kern="0" dirty="0" smtClean="0">
                <a:solidFill>
                  <a:schemeClr val="accent1"/>
                </a:solidFill>
              </a:rPr>
              <a:t>With Windows </a:t>
            </a:r>
            <a:r>
              <a:rPr lang="en-US" sz="2400" kern="0" dirty="0">
                <a:solidFill>
                  <a:schemeClr val="accent1"/>
                </a:solidFill>
              </a:rPr>
              <a:t>Server 2012</a:t>
            </a:r>
          </a:p>
        </p:txBody>
      </p:sp>
      <p:sp>
        <p:nvSpPr>
          <p:cNvPr id="50" name="Rectangle 49"/>
          <p:cNvSpPr/>
          <p:nvPr/>
        </p:nvSpPr>
        <p:spPr>
          <a:xfrm>
            <a:off x="345688" y="2404611"/>
            <a:ext cx="4492483" cy="1684115"/>
          </a:xfrm>
          <a:prstGeom prst="rect">
            <a:avLst/>
          </a:prstGeom>
        </p:spPr>
        <p:txBody>
          <a:bodyPr wrap="square">
            <a:spAutoFit/>
          </a:bodyPr>
          <a:lstStyle/>
          <a:p>
            <a:pPr marL="0" lvl="1" defTabSz="471596">
              <a:lnSpc>
                <a:spcPct val="90000"/>
              </a:lnSpc>
              <a:spcBef>
                <a:spcPts val="612"/>
              </a:spcBef>
              <a:spcAft>
                <a:spcPts val="612"/>
              </a:spcAft>
            </a:pPr>
            <a:r>
              <a:rPr lang="en-US" sz="1632" kern="0" dirty="0">
                <a:cs typeface="Segoe UI" pitchFamily="34" charset="0"/>
              </a:rPr>
              <a:t>Active/active high availability mode for brokers</a:t>
            </a:r>
          </a:p>
          <a:p>
            <a:pPr marL="0" lvl="1" defTabSz="471596">
              <a:lnSpc>
                <a:spcPct val="90000"/>
              </a:lnSpc>
              <a:spcBef>
                <a:spcPts val="612"/>
              </a:spcBef>
              <a:spcAft>
                <a:spcPts val="612"/>
              </a:spcAft>
            </a:pPr>
            <a:r>
              <a:rPr lang="en-US" sz="1632" kern="0" dirty="0">
                <a:cs typeface="Segoe UI" pitchFamily="34" charset="0"/>
              </a:rPr>
              <a:t>Scale-out </a:t>
            </a:r>
            <a:r>
              <a:rPr lang="en-US" sz="1632" kern="0" dirty="0" smtClean="0">
                <a:cs typeface="Segoe UI" pitchFamily="34" charset="0"/>
              </a:rPr>
              <a:t>file server </a:t>
            </a:r>
            <a:r>
              <a:rPr lang="en-US" sz="1632" kern="0" dirty="0">
                <a:cs typeface="Segoe UI" pitchFamily="34" charset="0"/>
              </a:rPr>
              <a:t>and resiliency</a:t>
            </a:r>
          </a:p>
          <a:p>
            <a:pPr marL="0" lvl="1" defTabSz="471596">
              <a:lnSpc>
                <a:spcPct val="90000"/>
              </a:lnSpc>
              <a:spcBef>
                <a:spcPts val="612"/>
              </a:spcBef>
              <a:spcAft>
                <a:spcPts val="612"/>
              </a:spcAft>
            </a:pPr>
            <a:r>
              <a:rPr lang="en-US" sz="1632" kern="0" dirty="0">
                <a:cs typeface="Segoe UI" pitchFamily="34" charset="0"/>
              </a:rPr>
              <a:t>Requires Microsoft SQL Server</a:t>
            </a:r>
          </a:p>
          <a:p>
            <a:pPr marL="0" lvl="1" defTabSz="471596">
              <a:lnSpc>
                <a:spcPct val="90000"/>
              </a:lnSpc>
              <a:spcBef>
                <a:spcPts val="612"/>
              </a:spcBef>
              <a:spcAft>
                <a:spcPts val="612"/>
              </a:spcAft>
            </a:pPr>
            <a:r>
              <a:rPr lang="en-US" sz="1632" kern="0" dirty="0">
                <a:cs typeface="Segoe UI" pitchFamily="34" charset="0"/>
              </a:rPr>
              <a:t>Automatic data migration from single instance to high availability</a:t>
            </a:r>
          </a:p>
        </p:txBody>
      </p:sp>
      <p:grpSp>
        <p:nvGrpSpPr>
          <p:cNvPr id="640" name="Group 639"/>
          <p:cNvGrpSpPr/>
          <p:nvPr/>
        </p:nvGrpSpPr>
        <p:grpSpPr>
          <a:xfrm>
            <a:off x="10415966" y="1819847"/>
            <a:ext cx="1430729" cy="1104783"/>
            <a:chOff x="10415966" y="1819847"/>
            <a:chExt cx="1430729" cy="1104783"/>
          </a:xfrm>
        </p:grpSpPr>
        <p:sp>
          <p:nvSpPr>
            <p:cNvPr id="37" name="TextBox 36"/>
            <p:cNvSpPr txBox="1"/>
            <p:nvPr/>
          </p:nvSpPr>
          <p:spPr>
            <a:xfrm>
              <a:off x="10415966" y="1819847"/>
              <a:ext cx="1430729" cy="352226"/>
            </a:xfrm>
            <a:prstGeom prst="rect">
              <a:avLst/>
            </a:prstGeom>
            <a:noFill/>
          </p:spPr>
          <p:txBody>
            <a:bodyPr wrap="square" lIns="0" tIns="0" rIns="0" bIns="0" rtlCol="0">
              <a:spAutoFit/>
            </a:bodyPr>
            <a:lstStyle/>
            <a:p>
              <a:pPr algn="ctr"/>
              <a:r>
                <a:rPr lang="en-US" sz="1122" b="1" dirty="0">
                  <a:latin typeface="Segoe UI Light" pitchFamily="34" charset="0"/>
                </a:rPr>
                <a:t>Remote Desktop  Virtualization Host</a:t>
              </a:r>
            </a:p>
          </p:txBody>
        </p:sp>
        <p:grpSp>
          <p:nvGrpSpPr>
            <p:cNvPr id="3" name="Group 2"/>
            <p:cNvGrpSpPr/>
            <p:nvPr/>
          </p:nvGrpSpPr>
          <p:grpSpPr>
            <a:xfrm>
              <a:off x="10580475" y="2249664"/>
              <a:ext cx="1103494" cy="674966"/>
              <a:chOff x="10580475" y="2249664"/>
              <a:chExt cx="1103494" cy="674966"/>
            </a:xfrm>
          </p:grpSpPr>
          <p:sp>
            <p:nvSpPr>
              <p:cNvPr id="58" name="Freeform 6"/>
              <p:cNvSpPr>
                <a:spLocks noEditPoints="1"/>
              </p:cNvSpPr>
              <p:nvPr/>
            </p:nvSpPr>
            <p:spPr bwMode="auto">
              <a:xfrm>
                <a:off x="10659795" y="2318928"/>
                <a:ext cx="970092" cy="538941"/>
              </a:xfrm>
              <a:custGeom>
                <a:avLst/>
                <a:gdLst>
                  <a:gd name="T0" fmla="*/ 2214 w 3169"/>
                  <a:gd name="T1" fmla="*/ 1274 h 1760"/>
                  <a:gd name="T2" fmla="*/ 290 w 3169"/>
                  <a:gd name="T3" fmla="*/ 1050 h 1760"/>
                  <a:gd name="T4" fmla="*/ 2982 w 3169"/>
                  <a:gd name="T5" fmla="*/ 1601 h 1760"/>
                  <a:gd name="T6" fmla="*/ 180 w 3169"/>
                  <a:gd name="T7" fmla="*/ 945 h 1760"/>
                  <a:gd name="T8" fmla="*/ 61 w 3169"/>
                  <a:gd name="T9" fmla="*/ 1012 h 1760"/>
                  <a:gd name="T10" fmla="*/ 55 w 3169"/>
                  <a:gd name="T11" fmla="*/ 1589 h 1760"/>
                  <a:gd name="T12" fmla="*/ 149 w 3169"/>
                  <a:gd name="T13" fmla="*/ 1689 h 1760"/>
                  <a:gd name="T14" fmla="*/ 340 w 3169"/>
                  <a:gd name="T15" fmla="*/ 1712 h 1760"/>
                  <a:gd name="T16" fmla="*/ 2933 w 3169"/>
                  <a:gd name="T17" fmla="*/ 1708 h 1760"/>
                  <a:gd name="T18" fmla="*/ 3079 w 3169"/>
                  <a:gd name="T19" fmla="*/ 1653 h 1760"/>
                  <a:gd name="T20" fmla="*/ 3120 w 3169"/>
                  <a:gd name="T21" fmla="*/ 1093 h 1760"/>
                  <a:gd name="T22" fmla="*/ 3063 w 3169"/>
                  <a:gd name="T23" fmla="*/ 966 h 1760"/>
                  <a:gd name="T24" fmla="*/ 2879 w 3169"/>
                  <a:gd name="T25" fmla="*/ 938 h 1760"/>
                  <a:gd name="T26" fmla="*/ 288 w 3169"/>
                  <a:gd name="T27" fmla="*/ 891 h 1760"/>
                  <a:gd name="T28" fmla="*/ 2901 w 3169"/>
                  <a:gd name="T29" fmla="*/ 891 h 1760"/>
                  <a:gd name="T30" fmla="*/ 3038 w 3169"/>
                  <a:gd name="T31" fmla="*/ 905 h 1760"/>
                  <a:gd name="T32" fmla="*/ 3144 w 3169"/>
                  <a:gd name="T33" fmla="*/ 981 h 1760"/>
                  <a:gd name="T34" fmla="*/ 3166 w 3169"/>
                  <a:gd name="T35" fmla="*/ 1566 h 1760"/>
                  <a:gd name="T36" fmla="*/ 3088 w 3169"/>
                  <a:gd name="T37" fmla="*/ 1708 h 1760"/>
                  <a:gd name="T38" fmla="*/ 2934 w 3169"/>
                  <a:gd name="T39" fmla="*/ 1756 h 1760"/>
                  <a:gd name="T40" fmla="*/ 379 w 3169"/>
                  <a:gd name="T41" fmla="*/ 1760 h 1760"/>
                  <a:gd name="T42" fmla="*/ 205 w 3169"/>
                  <a:gd name="T43" fmla="*/ 1752 h 1760"/>
                  <a:gd name="T44" fmla="*/ 60 w 3169"/>
                  <a:gd name="T45" fmla="*/ 1693 h 1760"/>
                  <a:gd name="T46" fmla="*/ 0 w 3169"/>
                  <a:gd name="T47" fmla="*/ 1529 h 1760"/>
                  <a:gd name="T48" fmla="*/ 37 w 3169"/>
                  <a:gd name="T49" fmla="*/ 962 h 1760"/>
                  <a:gd name="T50" fmla="*/ 152 w 3169"/>
                  <a:gd name="T51" fmla="*/ 900 h 1760"/>
                  <a:gd name="T52" fmla="*/ 288 w 3169"/>
                  <a:gd name="T53" fmla="*/ 891 h 1760"/>
                  <a:gd name="T54" fmla="*/ 2165 w 3169"/>
                  <a:gd name="T55" fmla="*/ 303 h 1760"/>
                  <a:gd name="T56" fmla="*/ 289 w 3169"/>
                  <a:gd name="T57" fmla="*/ 149 h 1760"/>
                  <a:gd name="T58" fmla="*/ 2980 w 3169"/>
                  <a:gd name="T59" fmla="*/ 700 h 1760"/>
                  <a:gd name="T60" fmla="*/ 180 w 3169"/>
                  <a:gd name="T61" fmla="*/ 54 h 1760"/>
                  <a:gd name="T62" fmla="*/ 61 w 3169"/>
                  <a:gd name="T63" fmla="*/ 123 h 1760"/>
                  <a:gd name="T64" fmla="*/ 55 w 3169"/>
                  <a:gd name="T65" fmla="*/ 699 h 1760"/>
                  <a:gd name="T66" fmla="*/ 149 w 3169"/>
                  <a:gd name="T67" fmla="*/ 799 h 1760"/>
                  <a:gd name="T68" fmla="*/ 340 w 3169"/>
                  <a:gd name="T69" fmla="*/ 822 h 1760"/>
                  <a:gd name="T70" fmla="*/ 2933 w 3169"/>
                  <a:gd name="T71" fmla="*/ 817 h 1760"/>
                  <a:gd name="T72" fmla="*/ 3079 w 3169"/>
                  <a:gd name="T73" fmla="*/ 762 h 1760"/>
                  <a:gd name="T74" fmla="*/ 3120 w 3169"/>
                  <a:gd name="T75" fmla="*/ 202 h 1760"/>
                  <a:gd name="T76" fmla="*/ 3063 w 3169"/>
                  <a:gd name="T77" fmla="*/ 76 h 1760"/>
                  <a:gd name="T78" fmla="*/ 2879 w 3169"/>
                  <a:gd name="T79" fmla="*/ 49 h 1760"/>
                  <a:gd name="T80" fmla="*/ 288 w 3169"/>
                  <a:gd name="T81" fmla="*/ 0 h 1760"/>
                  <a:gd name="T82" fmla="*/ 2901 w 3169"/>
                  <a:gd name="T83" fmla="*/ 0 h 1760"/>
                  <a:gd name="T84" fmla="*/ 3038 w 3169"/>
                  <a:gd name="T85" fmla="*/ 14 h 1760"/>
                  <a:gd name="T86" fmla="*/ 3144 w 3169"/>
                  <a:gd name="T87" fmla="*/ 91 h 1760"/>
                  <a:gd name="T88" fmla="*/ 3166 w 3169"/>
                  <a:gd name="T89" fmla="*/ 675 h 1760"/>
                  <a:gd name="T90" fmla="*/ 3088 w 3169"/>
                  <a:gd name="T91" fmla="*/ 817 h 1760"/>
                  <a:gd name="T92" fmla="*/ 2934 w 3169"/>
                  <a:gd name="T93" fmla="*/ 865 h 1760"/>
                  <a:gd name="T94" fmla="*/ 379 w 3169"/>
                  <a:gd name="T95" fmla="*/ 870 h 1760"/>
                  <a:gd name="T96" fmla="*/ 205 w 3169"/>
                  <a:gd name="T97" fmla="*/ 861 h 1760"/>
                  <a:gd name="T98" fmla="*/ 60 w 3169"/>
                  <a:gd name="T99" fmla="*/ 802 h 1760"/>
                  <a:gd name="T100" fmla="*/ 0 w 3169"/>
                  <a:gd name="T101" fmla="*/ 639 h 1760"/>
                  <a:gd name="T102" fmla="*/ 37 w 3169"/>
                  <a:gd name="T103" fmla="*/ 71 h 1760"/>
                  <a:gd name="T104" fmla="*/ 152 w 3169"/>
                  <a:gd name="T105" fmla="*/ 9 h 1760"/>
                  <a:gd name="T106" fmla="*/ 288 w 3169"/>
                  <a:gd name="T10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69" h="1760">
                    <a:moveTo>
                      <a:pt x="2214" y="1484"/>
                    </a:moveTo>
                    <a:lnTo>
                      <a:pt x="2795" y="1484"/>
                    </a:lnTo>
                    <a:lnTo>
                      <a:pt x="2795" y="1569"/>
                    </a:lnTo>
                    <a:lnTo>
                      <a:pt x="2214" y="1569"/>
                    </a:lnTo>
                    <a:lnTo>
                      <a:pt x="2214" y="1484"/>
                    </a:lnTo>
                    <a:close/>
                    <a:moveTo>
                      <a:pt x="2214" y="1274"/>
                    </a:moveTo>
                    <a:lnTo>
                      <a:pt x="2795" y="1274"/>
                    </a:lnTo>
                    <a:lnTo>
                      <a:pt x="2795" y="1366"/>
                    </a:lnTo>
                    <a:lnTo>
                      <a:pt x="2214" y="1366"/>
                    </a:lnTo>
                    <a:lnTo>
                      <a:pt x="2214" y="1274"/>
                    </a:lnTo>
                    <a:close/>
                    <a:moveTo>
                      <a:pt x="198" y="1050"/>
                    </a:moveTo>
                    <a:lnTo>
                      <a:pt x="290" y="1050"/>
                    </a:lnTo>
                    <a:lnTo>
                      <a:pt x="290" y="1631"/>
                    </a:lnTo>
                    <a:lnTo>
                      <a:pt x="198" y="1631"/>
                    </a:lnTo>
                    <a:lnTo>
                      <a:pt x="198" y="1050"/>
                    </a:lnTo>
                    <a:close/>
                    <a:moveTo>
                      <a:pt x="2889" y="1020"/>
                    </a:moveTo>
                    <a:lnTo>
                      <a:pt x="2982" y="1020"/>
                    </a:lnTo>
                    <a:lnTo>
                      <a:pt x="2982" y="1601"/>
                    </a:lnTo>
                    <a:lnTo>
                      <a:pt x="2889" y="1601"/>
                    </a:lnTo>
                    <a:lnTo>
                      <a:pt x="2889" y="1020"/>
                    </a:lnTo>
                    <a:close/>
                    <a:moveTo>
                      <a:pt x="288" y="938"/>
                    </a:moveTo>
                    <a:lnTo>
                      <a:pt x="248" y="939"/>
                    </a:lnTo>
                    <a:lnTo>
                      <a:pt x="212" y="942"/>
                    </a:lnTo>
                    <a:lnTo>
                      <a:pt x="180" y="945"/>
                    </a:lnTo>
                    <a:lnTo>
                      <a:pt x="150" y="949"/>
                    </a:lnTo>
                    <a:lnTo>
                      <a:pt x="126" y="957"/>
                    </a:lnTo>
                    <a:lnTo>
                      <a:pt x="104" y="966"/>
                    </a:lnTo>
                    <a:lnTo>
                      <a:pt x="86" y="978"/>
                    </a:lnTo>
                    <a:lnTo>
                      <a:pt x="72" y="994"/>
                    </a:lnTo>
                    <a:lnTo>
                      <a:pt x="61" y="1012"/>
                    </a:lnTo>
                    <a:lnTo>
                      <a:pt x="54" y="1035"/>
                    </a:lnTo>
                    <a:lnTo>
                      <a:pt x="49" y="1062"/>
                    </a:lnTo>
                    <a:lnTo>
                      <a:pt x="47" y="1093"/>
                    </a:lnTo>
                    <a:lnTo>
                      <a:pt x="47" y="1529"/>
                    </a:lnTo>
                    <a:lnTo>
                      <a:pt x="49" y="1561"/>
                    </a:lnTo>
                    <a:lnTo>
                      <a:pt x="55" y="1589"/>
                    </a:lnTo>
                    <a:lnTo>
                      <a:pt x="62" y="1614"/>
                    </a:lnTo>
                    <a:lnTo>
                      <a:pt x="74" y="1634"/>
                    </a:lnTo>
                    <a:lnTo>
                      <a:pt x="89" y="1653"/>
                    </a:lnTo>
                    <a:lnTo>
                      <a:pt x="106" y="1668"/>
                    </a:lnTo>
                    <a:lnTo>
                      <a:pt x="127" y="1680"/>
                    </a:lnTo>
                    <a:lnTo>
                      <a:pt x="149" y="1689"/>
                    </a:lnTo>
                    <a:lnTo>
                      <a:pt x="175" y="1697"/>
                    </a:lnTo>
                    <a:lnTo>
                      <a:pt x="204" y="1703"/>
                    </a:lnTo>
                    <a:lnTo>
                      <a:pt x="234" y="1708"/>
                    </a:lnTo>
                    <a:lnTo>
                      <a:pt x="268" y="1710"/>
                    </a:lnTo>
                    <a:lnTo>
                      <a:pt x="302" y="1712"/>
                    </a:lnTo>
                    <a:lnTo>
                      <a:pt x="340" y="1712"/>
                    </a:lnTo>
                    <a:lnTo>
                      <a:pt x="379" y="1713"/>
                    </a:lnTo>
                    <a:lnTo>
                      <a:pt x="2789" y="1713"/>
                    </a:lnTo>
                    <a:lnTo>
                      <a:pt x="2827" y="1712"/>
                    </a:lnTo>
                    <a:lnTo>
                      <a:pt x="2865" y="1712"/>
                    </a:lnTo>
                    <a:lnTo>
                      <a:pt x="2901" y="1710"/>
                    </a:lnTo>
                    <a:lnTo>
                      <a:pt x="2933" y="1708"/>
                    </a:lnTo>
                    <a:lnTo>
                      <a:pt x="2964" y="1703"/>
                    </a:lnTo>
                    <a:lnTo>
                      <a:pt x="2992" y="1697"/>
                    </a:lnTo>
                    <a:lnTo>
                      <a:pt x="3018" y="1689"/>
                    </a:lnTo>
                    <a:lnTo>
                      <a:pt x="3040" y="1680"/>
                    </a:lnTo>
                    <a:lnTo>
                      <a:pt x="3061" y="1668"/>
                    </a:lnTo>
                    <a:lnTo>
                      <a:pt x="3079" y="1653"/>
                    </a:lnTo>
                    <a:lnTo>
                      <a:pt x="3093" y="1634"/>
                    </a:lnTo>
                    <a:lnTo>
                      <a:pt x="3105" y="1614"/>
                    </a:lnTo>
                    <a:lnTo>
                      <a:pt x="3114" y="1589"/>
                    </a:lnTo>
                    <a:lnTo>
                      <a:pt x="3119" y="1561"/>
                    </a:lnTo>
                    <a:lnTo>
                      <a:pt x="3120" y="1529"/>
                    </a:lnTo>
                    <a:lnTo>
                      <a:pt x="3120" y="1093"/>
                    </a:lnTo>
                    <a:lnTo>
                      <a:pt x="3119" y="1062"/>
                    </a:lnTo>
                    <a:lnTo>
                      <a:pt x="3115" y="1035"/>
                    </a:lnTo>
                    <a:lnTo>
                      <a:pt x="3106" y="1012"/>
                    </a:lnTo>
                    <a:lnTo>
                      <a:pt x="3095" y="994"/>
                    </a:lnTo>
                    <a:lnTo>
                      <a:pt x="3081" y="978"/>
                    </a:lnTo>
                    <a:lnTo>
                      <a:pt x="3063" y="966"/>
                    </a:lnTo>
                    <a:lnTo>
                      <a:pt x="3043" y="957"/>
                    </a:lnTo>
                    <a:lnTo>
                      <a:pt x="3017" y="949"/>
                    </a:lnTo>
                    <a:lnTo>
                      <a:pt x="2989" y="945"/>
                    </a:lnTo>
                    <a:lnTo>
                      <a:pt x="2957" y="942"/>
                    </a:lnTo>
                    <a:lnTo>
                      <a:pt x="2920" y="939"/>
                    </a:lnTo>
                    <a:lnTo>
                      <a:pt x="2879" y="938"/>
                    </a:lnTo>
                    <a:lnTo>
                      <a:pt x="2836" y="939"/>
                    </a:lnTo>
                    <a:lnTo>
                      <a:pt x="2789" y="939"/>
                    </a:lnTo>
                    <a:lnTo>
                      <a:pt x="379" y="939"/>
                    </a:lnTo>
                    <a:lnTo>
                      <a:pt x="331" y="939"/>
                    </a:lnTo>
                    <a:lnTo>
                      <a:pt x="288" y="938"/>
                    </a:lnTo>
                    <a:close/>
                    <a:moveTo>
                      <a:pt x="288" y="891"/>
                    </a:moveTo>
                    <a:lnTo>
                      <a:pt x="332" y="891"/>
                    </a:lnTo>
                    <a:lnTo>
                      <a:pt x="379" y="891"/>
                    </a:lnTo>
                    <a:lnTo>
                      <a:pt x="2789" y="891"/>
                    </a:lnTo>
                    <a:lnTo>
                      <a:pt x="2836" y="891"/>
                    </a:lnTo>
                    <a:lnTo>
                      <a:pt x="2879" y="891"/>
                    </a:lnTo>
                    <a:lnTo>
                      <a:pt x="2901" y="891"/>
                    </a:lnTo>
                    <a:lnTo>
                      <a:pt x="2923" y="891"/>
                    </a:lnTo>
                    <a:lnTo>
                      <a:pt x="2947" y="892"/>
                    </a:lnTo>
                    <a:lnTo>
                      <a:pt x="2969" y="893"/>
                    </a:lnTo>
                    <a:lnTo>
                      <a:pt x="2993" y="896"/>
                    </a:lnTo>
                    <a:lnTo>
                      <a:pt x="3016" y="900"/>
                    </a:lnTo>
                    <a:lnTo>
                      <a:pt x="3038" y="905"/>
                    </a:lnTo>
                    <a:lnTo>
                      <a:pt x="3059" y="911"/>
                    </a:lnTo>
                    <a:lnTo>
                      <a:pt x="3079" y="921"/>
                    </a:lnTo>
                    <a:lnTo>
                      <a:pt x="3099" y="932"/>
                    </a:lnTo>
                    <a:lnTo>
                      <a:pt x="3115" y="946"/>
                    </a:lnTo>
                    <a:lnTo>
                      <a:pt x="3131" y="962"/>
                    </a:lnTo>
                    <a:lnTo>
                      <a:pt x="3144" y="981"/>
                    </a:lnTo>
                    <a:lnTo>
                      <a:pt x="3154" y="1004"/>
                    </a:lnTo>
                    <a:lnTo>
                      <a:pt x="3162" y="1030"/>
                    </a:lnTo>
                    <a:lnTo>
                      <a:pt x="3166" y="1060"/>
                    </a:lnTo>
                    <a:lnTo>
                      <a:pt x="3169" y="1093"/>
                    </a:lnTo>
                    <a:lnTo>
                      <a:pt x="3169" y="1529"/>
                    </a:lnTo>
                    <a:lnTo>
                      <a:pt x="3166" y="1566"/>
                    </a:lnTo>
                    <a:lnTo>
                      <a:pt x="3161" y="1598"/>
                    </a:lnTo>
                    <a:lnTo>
                      <a:pt x="3152" y="1627"/>
                    </a:lnTo>
                    <a:lnTo>
                      <a:pt x="3140" y="1652"/>
                    </a:lnTo>
                    <a:lnTo>
                      <a:pt x="3126" y="1673"/>
                    </a:lnTo>
                    <a:lnTo>
                      <a:pt x="3107" y="1693"/>
                    </a:lnTo>
                    <a:lnTo>
                      <a:pt x="3088" y="1708"/>
                    </a:lnTo>
                    <a:lnTo>
                      <a:pt x="3065" y="1720"/>
                    </a:lnTo>
                    <a:lnTo>
                      <a:pt x="3042" y="1731"/>
                    </a:lnTo>
                    <a:lnTo>
                      <a:pt x="3017" y="1740"/>
                    </a:lnTo>
                    <a:lnTo>
                      <a:pt x="2990" y="1747"/>
                    </a:lnTo>
                    <a:lnTo>
                      <a:pt x="2962" y="1752"/>
                    </a:lnTo>
                    <a:lnTo>
                      <a:pt x="2934" y="1756"/>
                    </a:lnTo>
                    <a:lnTo>
                      <a:pt x="2905" y="1758"/>
                    </a:lnTo>
                    <a:lnTo>
                      <a:pt x="2876" y="1759"/>
                    </a:lnTo>
                    <a:lnTo>
                      <a:pt x="2847" y="1760"/>
                    </a:lnTo>
                    <a:lnTo>
                      <a:pt x="2818" y="1760"/>
                    </a:lnTo>
                    <a:lnTo>
                      <a:pt x="2789" y="1760"/>
                    </a:lnTo>
                    <a:lnTo>
                      <a:pt x="379" y="1760"/>
                    </a:lnTo>
                    <a:lnTo>
                      <a:pt x="351" y="1760"/>
                    </a:lnTo>
                    <a:lnTo>
                      <a:pt x="322" y="1760"/>
                    </a:lnTo>
                    <a:lnTo>
                      <a:pt x="293" y="1759"/>
                    </a:lnTo>
                    <a:lnTo>
                      <a:pt x="262" y="1758"/>
                    </a:lnTo>
                    <a:lnTo>
                      <a:pt x="233" y="1756"/>
                    </a:lnTo>
                    <a:lnTo>
                      <a:pt x="205" y="1752"/>
                    </a:lnTo>
                    <a:lnTo>
                      <a:pt x="177" y="1747"/>
                    </a:lnTo>
                    <a:lnTo>
                      <a:pt x="152" y="1740"/>
                    </a:lnTo>
                    <a:lnTo>
                      <a:pt x="126" y="1731"/>
                    </a:lnTo>
                    <a:lnTo>
                      <a:pt x="102" y="1720"/>
                    </a:lnTo>
                    <a:lnTo>
                      <a:pt x="80" y="1708"/>
                    </a:lnTo>
                    <a:lnTo>
                      <a:pt x="60" y="1693"/>
                    </a:lnTo>
                    <a:lnTo>
                      <a:pt x="43" y="1673"/>
                    </a:lnTo>
                    <a:lnTo>
                      <a:pt x="28" y="1652"/>
                    </a:lnTo>
                    <a:lnTo>
                      <a:pt x="16" y="1627"/>
                    </a:lnTo>
                    <a:lnTo>
                      <a:pt x="6" y="1598"/>
                    </a:lnTo>
                    <a:lnTo>
                      <a:pt x="1" y="1566"/>
                    </a:lnTo>
                    <a:lnTo>
                      <a:pt x="0" y="1529"/>
                    </a:lnTo>
                    <a:lnTo>
                      <a:pt x="0" y="1093"/>
                    </a:lnTo>
                    <a:lnTo>
                      <a:pt x="1" y="1060"/>
                    </a:lnTo>
                    <a:lnTo>
                      <a:pt x="6" y="1030"/>
                    </a:lnTo>
                    <a:lnTo>
                      <a:pt x="14" y="1004"/>
                    </a:lnTo>
                    <a:lnTo>
                      <a:pt x="25" y="981"/>
                    </a:lnTo>
                    <a:lnTo>
                      <a:pt x="37" y="962"/>
                    </a:lnTo>
                    <a:lnTo>
                      <a:pt x="53" y="946"/>
                    </a:lnTo>
                    <a:lnTo>
                      <a:pt x="70" y="932"/>
                    </a:lnTo>
                    <a:lnTo>
                      <a:pt x="88" y="921"/>
                    </a:lnTo>
                    <a:lnTo>
                      <a:pt x="108" y="911"/>
                    </a:lnTo>
                    <a:lnTo>
                      <a:pt x="130" y="905"/>
                    </a:lnTo>
                    <a:lnTo>
                      <a:pt x="152" y="900"/>
                    </a:lnTo>
                    <a:lnTo>
                      <a:pt x="174" y="896"/>
                    </a:lnTo>
                    <a:lnTo>
                      <a:pt x="198" y="893"/>
                    </a:lnTo>
                    <a:lnTo>
                      <a:pt x="220" y="892"/>
                    </a:lnTo>
                    <a:lnTo>
                      <a:pt x="244" y="891"/>
                    </a:lnTo>
                    <a:lnTo>
                      <a:pt x="267" y="891"/>
                    </a:lnTo>
                    <a:lnTo>
                      <a:pt x="288" y="891"/>
                    </a:lnTo>
                    <a:close/>
                    <a:moveTo>
                      <a:pt x="2165" y="515"/>
                    </a:moveTo>
                    <a:lnTo>
                      <a:pt x="2748" y="515"/>
                    </a:lnTo>
                    <a:lnTo>
                      <a:pt x="2748" y="600"/>
                    </a:lnTo>
                    <a:lnTo>
                      <a:pt x="2165" y="600"/>
                    </a:lnTo>
                    <a:lnTo>
                      <a:pt x="2165" y="515"/>
                    </a:lnTo>
                    <a:close/>
                    <a:moveTo>
                      <a:pt x="2165" y="303"/>
                    </a:moveTo>
                    <a:lnTo>
                      <a:pt x="2748" y="303"/>
                    </a:lnTo>
                    <a:lnTo>
                      <a:pt x="2748" y="397"/>
                    </a:lnTo>
                    <a:lnTo>
                      <a:pt x="2165" y="397"/>
                    </a:lnTo>
                    <a:lnTo>
                      <a:pt x="2165" y="303"/>
                    </a:lnTo>
                    <a:close/>
                    <a:moveTo>
                      <a:pt x="197" y="149"/>
                    </a:moveTo>
                    <a:lnTo>
                      <a:pt x="289" y="149"/>
                    </a:lnTo>
                    <a:lnTo>
                      <a:pt x="289" y="730"/>
                    </a:lnTo>
                    <a:lnTo>
                      <a:pt x="197" y="730"/>
                    </a:lnTo>
                    <a:lnTo>
                      <a:pt x="197" y="149"/>
                    </a:lnTo>
                    <a:close/>
                    <a:moveTo>
                      <a:pt x="2888" y="119"/>
                    </a:moveTo>
                    <a:lnTo>
                      <a:pt x="2980" y="119"/>
                    </a:lnTo>
                    <a:lnTo>
                      <a:pt x="2980" y="700"/>
                    </a:lnTo>
                    <a:lnTo>
                      <a:pt x="2888" y="700"/>
                    </a:lnTo>
                    <a:lnTo>
                      <a:pt x="2888" y="119"/>
                    </a:lnTo>
                    <a:close/>
                    <a:moveTo>
                      <a:pt x="288" y="49"/>
                    </a:moveTo>
                    <a:lnTo>
                      <a:pt x="248" y="49"/>
                    </a:lnTo>
                    <a:lnTo>
                      <a:pt x="212" y="51"/>
                    </a:lnTo>
                    <a:lnTo>
                      <a:pt x="180" y="54"/>
                    </a:lnTo>
                    <a:lnTo>
                      <a:pt x="150" y="58"/>
                    </a:lnTo>
                    <a:lnTo>
                      <a:pt x="126" y="66"/>
                    </a:lnTo>
                    <a:lnTo>
                      <a:pt x="104" y="76"/>
                    </a:lnTo>
                    <a:lnTo>
                      <a:pt x="86" y="89"/>
                    </a:lnTo>
                    <a:lnTo>
                      <a:pt x="72" y="104"/>
                    </a:lnTo>
                    <a:lnTo>
                      <a:pt x="61" y="123"/>
                    </a:lnTo>
                    <a:lnTo>
                      <a:pt x="54" y="145"/>
                    </a:lnTo>
                    <a:lnTo>
                      <a:pt x="49" y="171"/>
                    </a:lnTo>
                    <a:lnTo>
                      <a:pt x="47" y="202"/>
                    </a:lnTo>
                    <a:lnTo>
                      <a:pt x="47" y="639"/>
                    </a:lnTo>
                    <a:lnTo>
                      <a:pt x="49" y="671"/>
                    </a:lnTo>
                    <a:lnTo>
                      <a:pt x="55" y="699"/>
                    </a:lnTo>
                    <a:lnTo>
                      <a:pt x="62" y="723"/>
                    </a:lnTo>
                    <a:lnTo>
                      <a:pt x="74" y="745"/>
                    </a:lnTo>
                    <a:lnTo>
                      <a:pt x="89" y="762"/>
                    </a:lnTo>
                    <a:lnTo>
                      <a:pt x="106" y="777"/>
                    </a:lnTo>
                    <a:lnTo>
                      <a:pt x="127" y="789"/>
                    </a:lnTo>
                    <a:lnTo>
                      <a:pt x="149" y="799"/>
                    </a:lnTo>
                    <a:lnTo>
                      <a:pt x="175" y="807"/>
                    </a:lnTo>
                    <a:lnTo>
                      <a:pt x="204" y="813"/>
                    </a:lnTo>
                    <a:lnTo>
                      <a:pt x="234" y="817"/>
                    </a:lnTo>
                    <a:lnTo>
                      <a:pt x="268" y="819"/>
                    </a:lnTo>
                    <a:lnTo>
                      <a:pt x="302" y="821"/>
                    </a:lnTo>
                    <a:lnTo>
                      <a:pt x="340" y="822"/>
                    </a:lnTo>
                    <a:lnTo>
                      <a:pt x="379" y="822"/>
                    </a:lnTo>
                    <a:lnTo>
                      <a:pt x="2789" y="822"/>
                    </a:lnTo>
                    <a:lnTo>
                      <a:pt x="2827" y="822"/>
                    </a:lnTo>
                    <a:lnTo>
                      <a:pt x="2865" y="821"/>
                    </a:lnTo>
                    <a:lnTo>
                      <a:pt x="2901" y="819"/>
                    </a:lnTo>
                    <a:lnTo>
                      <a:pt x="2933" y="817"/>
                    </a:lnTo>
                    <a:lnTo>
                      <a:pt x="2964" y="813"/>
                    </a:lnTo>
                    <a:lnTo>
                      <a:pt x="2992" y="807"/>
                    </a:lnTo>
                    <a:lnTo>
                      <a:pt x="3018" y="799"/>
                    </a:lnTo>
                    <a:lnTo>
                      <a:pt x="3040" y="789"/>
                    </a:lnTo>
                    <a:lnTo>
                      <a:pt x="3061" y="777"/>
                    </a:lnTo>
                    <a:lnTo>
                      <a:pt x="3079" y="762"/>
                    </a:lnTo>
                    <a:lnTo>
                      <a:pt x="3093" y="745"/>
                    </a:lnTo>
                    <a:lnTo>
                      <a:pt x="3105" y="723"/>
                    </a:lnTo>
                    <a:lnTo>
                      <a:pt x="3114" y="699"/>
                    </a:lnTo>
                    <a:lnTo>
                      <a:pt x="3119" y="671"/>
                    </a:lnTo>
                    <a:lnTo>
                      <a:pt x="3120" y="639"/>
                    </a:lnTo>
                    <a:lnTo>
                      <a:pt x="3120" y="202"/>
                    </a:lnTo>
                    <a:lnTo>
                      <a:pt x="3119" y="171"/>
                    </a:lnTo>
                    <a:lnTo>
                      <a:pt x="3115" y="145"/>
                    </a:lnTo>
                    <a:lnTo>
                      <a:pt x="3106" y="123"/>
                    </a:lnTo>
                    <a:lnTo>
                      <a:pt x="3095" y="104"/>
                    </a:lnTo>
                    <a:lnTo>
                      <a:pt x="3081" y="89"/>
                    </a:lnTo>
                    <a:lnTo>
                      <a:pt x="3063" y="76"/>
                    </a:lnTo>
                    <a:lnTo>
                      <a:pt x="3043" y="66"/>
                    </a:lnTo>
                    <a:lnTo>
                      <a:pt x="3017" y="58"/>
                    </a:lnTo>
                    <a:lnTo>
                      <a:pt x="2989" y="54"/>
                    </a:lnTo>
                    <a:lnTo>
                      <a:pt x="2957" y="51"/>
                    </a:lnTo>
                    <a:lnTo>
                      <a:pt x="2920" y="49"/>
                    </a:lnTo>
                    <a:lnTo>
                      <a:pt x="2879" y="49"/>
                    </a:lnTo>
                    <a:lnTo>
                      <a:pt x="2836" y="49"/>
                    </a:lnTo>
                    <a:lnTo>
                      <a:pt x="2789" y="49"/>
                    </a:lnTo>
                    <a:lnTo>
                      <a:pt x="379" y="49"/>
                    </a:lnTo>
                    <a:lnTo>
                      <a:pt x="331" y="49"/>
                    </a:lnTo>
                    <a:lnTo>
                      <a:pt x="288" y="49"/>
                    </a:lnTo>
                    <a:close/>
                    <a:moveTo>
                      <a:pt x="288" y="0"/>
                    </a:moveTo>
                    <a:lnTo>
                      <a:pt x="332" y="0"/>
                    </a:lnTo>
                    <a:lnTo>
                      <a:pt x="379" y="2"/>
                    </a:lnTo>
                    <a:lnTo>
                      <a:pt x="2789" y="2"/>
                    </a:lnTo>
                    <a:lnTo>
                      <a:pt x="2836" y="0"/>
                    </a:lnTo>
                    <a:lnTo>
                      <a:pt x="2879" y="0"/>
                    </a:lnTo>
                    <a:lnTo>
                      <a:pt x="2901" y="0"/>
                    </a:lnTo>
                    <a:lnTo>
                      <a:pt x="2924" y="0"/>
                    </a:lnTo>
                    <a:lnTo>
                      <a:pt x="2947" y="2"/>
                    </a:lnTo>
                    <a:lnTo>
                      <a:pt x="2971" y="4"/>
                    </a:lnTo>
                    <a:lnTo>
                      <a:pt x="2993" y="6"/>
                    </a:lnTo>
                    <a:lnTo>
                      <a:pt x="3016" y="9"/>
                    </a:lnTo>
                    <a:lnTo>
                      <a:pt x="3038" y="14"/>
                    </a:lnTo>
                    <a:lnTo>
                      <a:pt x="3059" y="22"/>
                    </a:lnTo>
                    <a:lnTo>
                      <a:pt x="3079" y="31"/>
                    </a:lnTo>
                    <a:lnTo>
                      <a:pt x="3099" y="41"/>
                    </a:lnTo>
                    <a:lnTo>
                      <a:pt x="3115" y="55"/>
                    </a:lnTo>
                    <a:lnTo>
                      <a:pt x="3131" y="71"/>
                    </a:lnTo>
                    <a:lnTo>
                      <a:pt x="3144" y="91"/>
                    </a:lnTo>
                    <a:lnTo>
                      <a:pt x="3154" y="113"/>
                    </a:lnTo>
                    <a:lnTo>
                      <a:pt x="3162" y="139"/>
                    </a:lnTo>
                    <a:lnTo>
                      <a:pt x="3166" y="169"/>
                    </a:lnTo>
                    <a:lnTo>
                      <a:pt x="3169" y="202"/>
                    </a:lnTo>
                    <a:lnTo>
                      <a:pt x="3169" y="639"/>
                    </a:lnTo>
                    <a:lnTo>
                      <a:pt x="3166" y="675"/>
                    </a:lnTo>
                    <a:lnTo>
                      <a:pt x="3161" y="707"/>
                    </a:lnTo>
                    <a:lnTo>
                      <a:pt x="3152" y="736"/>
                    </a:lnTo>
                    <a:lnTo>
                      <a:pt x="3140" y="761"/>
                    </a:lnTo>
                    <a:lnTo>
                      <a:pt x="3126" y="783"/>
                    </a:lnTo>
                    <a:lnTo>
                      <a:pt x="3107" y="802"/>
                    </a:lnTo>
                    <a:lnTo>
                      <a:pt x="3088" y="817"/>
                    </a:lnTo>
                    <a:lnTo>
                      <a:pt x="3065" y="831"/>
                    </a:lnTo>
                    <a:lnTo>
                      <a:pt x="3042" y="842"/>
                    </a:lnTo>
                    <a:lnTo>
                      <a:pt x="3017" y="850"/>
                    </a:lnTo>
                    <a:lnTo>
                      <a:pt x="2990" y="857"/>
                    </a:lnTo>
                    <a:lnTo>
                      <a:pt x="2962" y="861"/>
                    </a:lnTo>
                    <a:lnTo>
                      <a:pt x="2934" y="865"/>
                    </a:lnTo>
                    <a:lnTo>
                      <a:pt x="2905" y="867"/>
                    </a:lnTo>
                    <a:lnTo>
                      <a:pt x="2876" y="868"/>
                    </a:lnTo>
                    <a:lnTo>
                      <a:pt x="2847" y="870"/>
                    </a:lnTo>
                    <a:lnTo>
                      <a:pt x="2818" y="870"/>
                    </a:lnTo>
                    <a:lnTo>
                      <a:pt x="2789" y="870"/>
                    </a:lnTo>
                    <a:lnTo>
                      <a:pt x="379" y="870"/>
                    </a:lnTo>
                    <a:lnTo>
                      <a:pt x="351" y="870"/>
                    </a:lnTo>
                    <a:lnTo>
                      <a:pt x="322" y="870"/>
                    </a:lnTo>
                    <a:lnTo>
                      <a:pt x="293" y="868"/>
                    </a:lnTo>
                    <a:lnTo>
                      <a:pt x="262" y="867"/>
                    </a:lnTo>
                    <a:lnTo>
                      <a:pt x="233" y="865"/>
                    </a:lnTo>
                    <a:lnTo>
                      <a:pt x="205" y="861"/>
                    </a:lnTo>
                    <a:lnTo>
                      <a:pt x="177" y="857"/>
                    </a:lnTo>
                    <a:lnTo>
                      <a:pt x="152" y="850"/>
                    </a:lnTo>
                    <a:lnTo>
                      <a:pt x="126" y="842"/>
                    </a:lnTo>
                    <a:lnTo>
                      <a:pt x="102" y="831"/>
                    </a:lnTo>
                    <a:lnTo>
                      <a:pt x="80" y="817"/>
                    </a:lnTo>
                    <a:lnTo>
                      <a:pt x="60" y="802"/>
                    </a:lnTo>
                    <a:lnTo>
                      <a:pt x="43" y="783"/>
                    </a:lnTo>
                    <a:lnTo>
                      <a:pt x="28" y="761"/>
                    </a:lnTo>
                    <a:lnTo>
                      <a:pt x="16" y="736"/>
                    </a:lnTo>
                    <a:lnTo>
                      <a:pt x="6" y="707"/>
                    </a:lnTo>
                    <a:lnTo>
                      <a:pt x="1" y="675"/>
                    </a:lnTo>
                    <a:lnTo>
                      <a:pt x="0" y="639"/>
                    </a:lnTo>
                    <a:lnTo>
                      <a:pt x="0" y="202"/>
                    </a:lnTo>
                    <a:lnTo>
                      <a:pt x="1" y="169"/>
                    </a:lnTo>
                    <a:lnTo>
                      <a:pt x="6" y="139"/>
                    </a:lnTo>
                    <a:lnTo>
                      <a:pt x="14" y="113"/>
                    </a:lnTo>
                    <a:lnTo>
                      <a:pt x="25" y="91"/>
                    </a:lnTo>
                    <a:lnTo>
                      <a:pt x="37" y="71"/>
                    </a:lnTo>
                    <a:lnTo>
                      <a:pt x="53" y="55"/>
                    </a:lnTo>
                    <a:lnTo>
                      <a:pt x="70" y="41"/>
                    </a:lnTo>
                    <a:lnTo>
                      <a:pt x="88" y="31"/>
                    </a:lnTo>
                    <a:lnTo>
                      <a:pt x="108" y="22"/>
                    </a:lnTo>
                    <a:lnTo>
                      <a:pt x="130" y="14"/>
                    </a:lnTo>
                    <a:lnTo>
                      <a:pt x="152" y="9"/>
                    </a:lnTo>
                    <a:lnTo>
                      <a:pt x="174" y="6"/>
                    </a:lnTo>
                    <a:lnTo>
                      <a:pt x="198" y="4"/>
                    </a:lnTo>
                    <a:lnTo>
                      <a:pt x="220" y="2"/>
                    </a:lnTo>
                    <a:lnTo>
                      <a:pt x="244" y="0"/>
                    </a:lnTo>
                    <a:lnTo>
                      <a:pt x="267" y="0"/>
                    </a:lnTo>
                    <a:lnTo>
                      <a:pt x="2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Rounded Rectangle 58"/>
              <p:cNvSpPr/>
              <p:nvPr/>
            </p:nvSpPr>
            <p:spPr bwMode="auto">
              <a:xfrm>
                <a:off x="10580475" y="2249664"/>
                <a:ext cx="1103494" cy="674966"/>
              </a:xfrm>
              <a:prstGeom prst="roundRect">
                <a:avLst/>
              </a:prstGeom>
              <a:noFill/>
              <a:ln w="22225">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grpSp>
        <p:nvGrpSpPr>
          <p:cNvPr id="72" name="Group 71"/>
          <p:cNvGrpSpPr/>
          <p:nvPr/>
        </p:nvGrpSpPr>
        <p:grpSpPr>
          <a:xfrm>
            <a:off x="8001264" y="1501617"/>
            <a:ext cx="1084640" cy="978709"/>
            <a:chOff x="8153979" y="1675626"/>
            <a:chExt cx="1084640" cy="978709"/>
          </a:xfrm>
        </p:grpSpPr>
        <p:sp>
          <p:nvSpPr>
            <p:cNvPr id="107" name="TextBox 106"/>
            <p:cNvSpPr txBox="1"/>
            <p:nvPr/>
          </p:nvSpPr>
          <p:spPr>
            <a:xfrm>
              <a:off x="8153979" y="1675626"/>
              <a:ext cx="1084640" cy="528340"/>
            </a:xfrm>
            <a:prstGeom prst="rect">
              <a:avLst/>
            </a:prstGeom>
            <a:noFill/>
          </p:spPr>
          <p:txBody>
            <a:bodyPr wrap="square" lIns="0" tIns="0" rIns="0" bIns="0" rtlCol="0">
              <a:spAutoFit/>
            </a:bodyPr>
            <a:lstStyle/>
            <a:p>
              <a:pPr algn="ctr"/>
              <a:r>
                <a:rPr lang="en-US" sz="1122" b="1" dirty="0">
                  <a:latin typeface="Segoe UI Light" pitchFamily="34" charset="0"/>
                </a:rPr>
                <a:t>Remote Desktop Connection Broker</a:t>
              </a:r>
            </a:p>
          </p:txBody>
        </p:sp>
        <p:sp>
          <p:nvSpPr>
            <p:cNvPr id="60" name="Freeform 6"/>
            <p:cNvSpPr>
              <a:spLocks noEditPoints="1"/>
            </p:cNvSpPr>
            <p:nvPr/>
          </p:nvSpPr>
          <p:spPr bwMode="auto">
            <a:xfrm>
              <a:off x="8290559" y="2231422"/>
              <a:ext cx="761242" cy="422913"/>
            </a:xfrm>
            <a:custGeom>
              <a:avLst/>
              <a:gdLst>
                <a:gd name="T0" fmla="*/ 2214 w 3169"/>
                <a:gd name="T1" fmla="*/ 1274 h 1760"/>
                <a:gd name="T2" fmla="*/ 290 w 3169"/>
                <a:gd name="T3" fmla="*/ 1050 h 1760"/>
                <a:gd name="T4" fmla="*/ 2982 w 3169"/>
                <a:gd name="T5" fmla="*/ 1601 h 1760"/>
                <a:gd name="T6" fmla="*/ 180 w 3169"/>
                <a:gd name="T7" fmla="*/ 945 h 1760"/>
                <a:gd name="T8" fmla="*/ 61 w 3169"/>
                <a:gd name="T9" fmla="*/ 1012 h 1760"/>
                <a:gd name="T10" fmla="*/ 55 w 3169"/>
                <a:gd name="T11" fmla="*/ 1589 h 1760"/>
                <a:gd name="T12" fmla="*/ 149 w 3169"/>
                <a:gd name="T13" fmla="*/ 1689 h 1760"/>
                <a:gd name="T14" fmla="*/ 340 w 3169"/>
                <a:gd name="T15" fmla="*/ 1712 h 1760"/>
                <a:gd name="T16" fmla="*/ 2933 w 3169"/>
                <a:gd name="T17" fmla="*/ 1708 h 1760"/>
                <a:gd name="T18" fmla="*/ 3079 w 3169"/>
                <a:gd name="T19" fmla="*/ 1653 h 1760"/>
                <a:gd name="T20" fmla="*/ 3120 w 3169"/>
                <a:gd name="T21" fmla="*/ 1093 h 1760"/>
                <a:gd name="T22" fmla="*/ 3063 w 3169"/>
                <a:gd name="T23" fmla="*/ 966 h 1760"/>
                <a:gd name="T24" fmla="*/ 2879 w 3169"/>
                <a:gd name="T25" fmla="*/ 938 h 1760"/>
                <a:gd name="T26" fmla="*/ 288 w 3169"/>
                <a:gd name="T27" fmla="*/ 891 h 1760"/>
                <a:gd name="T28" fmla="*/ 2901 w 3169"/>
                <a:gd name="T29" fmla="*/ 891 h 1760"/>
                <a:gd name="T30" fmla="*/ 3038 w 3169"/>
                <a:gd name="T31" fmla="*/ 905 h 1760"/>
                <a:gd name="T32" fmla="*/ 3144 w 3169"/>
                <a:gd name="T33" fmla="*/ 981 h 1760"/>
                <a:gd name="T34" fmla="*/ 3166 w 3169"/>
                <a:gd name="T35" fmla="*/ 1566 h 1760"/>
                <a:gd name="T36" fmla="*/ 3088 w 3169"/>
                <a:gd name="T37" fmla="*/ 1708 h 1760"/>
                <a:gd name="T38" fmla="*/ 2934 w 3169"/>
                <a:gd name="T39" fmla="*/ 1756 h 1760"/>
                <a:gd name="T40" fmla="*/ 379 w 3169"/>
                <a:gd name="T41" fmla="*/ 1760 h 1760"/>
                <a:gd name="T42" fmla="*/ 205 w 3169"/>
                <a:gd name="T43" fmla="*/ 1752 h 1760"/>
                <a:gd name="T44" fmla="*/ 60 w 3169"/>
                <a:gd name="T45" fmla="*/ 1693 h 1760"/>
                <a:gd name="T46" fmla="*/ 0 w 3169"/>
                <a:gd name="T47" fmla="*/ 1529 h 1760"/>
                <a:gd name="T48" fmla="*/ 37 w 3169"/>
                <a:gd name="T49" fmla="*/ 962 h 1760"/>
                <a:gd name="T50" fmla="*/ 152 w 3169"/>
                <a:gd name="T51" fmla="*/ 900 h 1760"/>
                <a:gd name="T52" fmla="*/ 288 w 3169"/>
                <a:gd name="T53" fmla="*/ 891 h 1760"/>
                <a:gd name="T54" fmla="*/ 2165 w 3169"/>
                <a:gd name="T55" fmla="*/ 303 h 1760"/>
                <a:gd name="T56" fmla="*/ 289 w 3169"/>
                <a:gd name="T57" fmla="*/ 149 h 1760"/>
                <a:gd name="T58" fmla="*/ 2980 w 3169"/>
                <a:gd name="T59" fmla="*/ 700 h 1760"/>
                <a:gd name="T60" fmla="*/ 180 w 3169"/>
                <a:gd name="T61" fmla="*/ 54 h 1760"/>
                <a:gd name="T62" fmla="*/ 61 w 3169"/>
                <a:gd name="T63" fmla="*/ 123 h 1760"/>
                <a:gd name="T64" fmla="*/ 55 w 3169"/>
                <a:gd name="T65" fmla="*/ 699 h 1760"/>
                <a:gd name="T66" fmla="*/ 149 w 3169"/>
                <a:gd name="T67" fmla="*/ 799 h 1760"/>
                <a:gd name="T68" fmla="*/ 340 w 3169"/>
                <a:gd name="T69" fmla="*/ 822 h 1760"/>
                <a:gd name="T70" fmla="*/ 2933 w 3169"/>
                <a:gd name="T71" fmla="*/ 817 h 1760"/>
                <a:gd name="T72" fmla="*/ 3079 w 3169"/>
                <a:gd name="T73" fmla="*/ 762 h 1760"/>
                <a:gd name="T74" fmla="*/ 3120 w 3169"/>
                <a:gd name="T75" fmla="*/ 202 h 1760"/>
                <a:gd name="T76" fmla="*/ 3063 w 3169"/>
                <a:gd name="T77" fmla="*/ 76 h 1760"/>
                <a:gd name="T78" fmla="*/ 2879 w 3169"/>
                <a:gd name="T79" fmla="*/ 49 h 1760"/>
                <a:gd name="T80" fmla="*/ 288 w 3169"/>
                <a:gd name="T81" fmla="*/ 0 h 1760"/>
                <a:gd name="T82" fmla="*/ 2901 w 3169"/>
                <a:gd name="T83" fmla="*/ 0 h 1760"/>
                <a:gd name="T84" fmla="*/ 3038 w 3169"/>
                <a:gd name="T85" fmla="*/ 14 h 1760"/>
                <a:gd name="T86" fmla="*/ 3144 w 3169"/>
                <a:gd name="T87" fmla="*/ 91 h 1760"/>
                <a:gd name="T88" fmla="*/ 3166 w 3169"/>
                <a:gd name="T89" fmla="*/ 675 h 1760"/>
                <a:gd name="T90" fmla="*/ 3088 w 3169"/>
                <a:gd name="T91" fmla="*/ 817 h 1760"/>
                <a:gd name="T92" fmla="*/ 2934 w 3169"/>
                <a:gd name="T93" fmla="*/ 865 h 1760"/>
                <a:gd name="T94" fmla="*/ 379 w 3169"/>
                <a:gd name="T95" fmla="*/ 870 h 1760"/>
                <a:gd name="T96" fmla="*/ 205 w 3169"/>
                <a:gd name="T97" fmla="*/ 861 h 1760"/>
                <a:gd name="T98" fmla="*/ 60 w 3169"/>
                <a:gd name="T99" fmla="*/ 802 h 1760"/>
                <a:gd name="T100" fmla="*/ 0 w 3169"/>
                <a:gd name="T101" fmla="*/ 639 h 1760"/>
                <a:gd name="T102" fmla="*/ 37 w 3169"/>
                <a:gd name="T103" fmla="*/ 71 h 1760"/>
                <a:gd name="T104" fmla="*/ 152 w 3169"/>
                <a:gd name="T105" fmla="*/ 9 h 1760"/>
                <a:gd name="T106" fmla="*/ 288 w 3169"/>
                <a:gd name="T10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69" h="1760">
                  <a:moveTo>
                    <a:pt x="2214" y="1484"/>
                  </a:moveTo>
                  <a:lnTo>
                    <a:pt x="2795" y="1484"/>
                  </a:lnTo>
                  <a:lnTo>
                    <a:pt x="2795" y="1569"/>
                  </a:lnTo>
                  <a:lnTo>
                    <a:pt x="2214" y="1569"/>
                  </a:lnTo>
                  <a:lnTo>
                    <a:pt x="2214" y="1484"/>
                  </a:lnTo>
                  <a:close/>
                  <a:moveTo>
                    <a:pt x="2214" y="1274"/>
                  </a:moveTo>
                  <a:lnTo>
                    <a:pt x="2795" y="1274"/>
                  </a:lnTo>
                  <a:lnTo>
                    <a:pt x="2795" y="1366"/>
                  </a:lnTo>
                  <a:lnTo>
                    <a:pt x="2214" y="1366"/>
                  </a:lnTo>
                  <a:lnTo>
                    <a:pt x="2214" y="1274"/>
                  </a:lnTo>
                  <a:close/>
                  <a:moveTo>
                    <a:pt x="198" y="1050"/>
                  </a:moveTo>
                  <a:lnTo>
                    <a:pt x="290" y="1050"/>
                  </a:lnTo>
                  <a:lnTo>
                    <a:pt x="290" y="1631"/>
                  </a:lnTo>
                  <a:lnTo>
                    <a:pt x="198" y="1631"/>
                  </a:lnTo>
                  <a:lnTo>
                    <a:pt x="198" y="1050"/>
                  </a:lnTo>
                  <a:close/>
                  <a:moveTo>
                    <a:pt x="2889" y="1020"/>
                  </a:moveTo>
                  <a:lnTo>
                    <a:pt x="2982" y="1020"/>
                  </a:lnTo>
                  <a:lnTo>
                    <a:pt x="2982" y="1601"/>
                  </a:lnTo>
                  <a:lnTo>
                    <a:pt x="2889" y="1601"/>
                  </a:lnTo>
                  <a:lnTo>
                    <a:pt x="2889" y="1020"/>
                  </a:lnTo>
                  <a:close/>
                  <a:moveTo>
                    <a:pt x="288" y="938"/>
                  </a:moveTo>
                  <a:lnTo>
                    <a:pt x="248" y="939"/>
                  </a:lnTo>
                  <a:lnTo>
                    <a:pt x="212" y="942"/>
                  </a:lnTo>
                  <a:lnTo>
                    <a:pt x="180" y="945"/>
                  </a:lnTo>
                  <a:lnTo>
                    <a:pt x="150" y="949"/>
                  </a:lnTo>
                  <a:lnTo>
                    <a:pt x="126" y="957"/>
                  </a:lnTo>
                  <a:lnTo>
                    <a:pt x="104" y="966"/>
                  </a:lnTo>
                  <a:lnTo>
                    <a:pt x="86" y="978"/>
                  </a:lnTo>
                  <a:lnTo>
                    <a:pt x="72" y="994"/>
                  </a:lnTo>
                  <a:lnTo>
                    <a:pt x="61" y="1012"/>
                  </a:lnTo>
                  <a:lnTo>
                    <a:pt x="54" y="1035"/>
                  </a:lnTo>
                  <a:lnTo>
                    <a:pt x="49" y="1062"/>
                  </a:lnTo>
                  <a:lnTo>
                    <a:pt x="47" y="1093"/>
                  </a:lnTo>
                  <a:lnTo>
                    <a:pt x="47" y="1529"/>
                  </a:lnTo>
                  <a:lnTo>
                    <a:pt x="49" y="1561"/>
                  </a:lnTo>
                  <a:lnTo>
                    <a:pt x="55" y="1589"/>
                  </a:lnTo>
                  <a:lnTo>
                    <a:pt x="62" y="1614"/>
                  </a:lnTo>
                  <a:lnTo>
                    <a:pt x="74" y="1634"/>
                  </a:lnTo>
                  <a:lnTo>
                    <a:pt x="89" y="1653"/>
                  </a:lnTo>
                  <a:lnTo>
                    <a:pt x="106" y="1668"/>
                  </a:lnTo>
                  <a:lnTo>
                    <a:pt x="127" y="1680"/>
                  </a:lnTo>
                  <a:lnTo>
                    <a:pt x="149" y="1689"/>
                  </a:lnTo>
                  <a:lnTo>
                    <a:pt x="175" y="1697"/>
                  </a:lnTo>
                  <a:lnTo>
                    <a:pt x="204" y="1703"/>
                  </a:lnTo>
                  <a:lnTo>
                    <a:pt x="234" y="1708"/>
                  </a:lnTo>
                  <a:lnTo>
                    <a:pt x="268" y="1710"/>
                  </a:lnTo>
                  <a:lnTo>
                    <a:pt x="302" y="1712"/>
                  </a:lnTo>
                  <a:lnTo>
                    <a:pt x="340" y="1712"/>
                  </a:lnTo>
                  <a:lnTo>
                    <a:pt x="379" y="1713"/>
                  </a:lnTo>
                  <a:lnTo>
                    <a:pt x="2789" y="1713"/>
                  </a:lnTo>
                  <a:lnTo>
                    <a:pt x="2827" y="1712"/>
                  </a:lnTo>
                  <a:lnTo>
                    <a:pt x="2865" y="1712"/>
                  </a:lnTo>
                  <a:lnTo>
                    <a:pt x="2901" y="1710"/>
                  </a:lnTo>
                  <a:lnTo>
                    <a:pt x="2933" y="1708"/>
                  </a:lnTo>
                  <a:lnTo>
                    <a:pt x="2964" y="1703"/>
                  </a:lnTo>
                  <a:lnTo>
                    <a:pt x="2992" y="1697"/>
                  </a:lnTo>
                  <a:lnTo>
                    <a:pt x="3018" y="1689"/>
                  </a:lnTo>
                  <a:lnTo>
                    <a:pt x="3040" y="1680"/>
                  </a:lnTo>
                  <a:lnTo>
                    <a:pt x="3061" y="1668"/>
                  </a:lnTo>
                  <a:lnTo>
                    <a:pt x="3079" y="1653"/>
                  </a:lnTo>
                  <a:lnTo>
                    <a:pt x="3093" y="1634"/>
                  </a:lnTo>
                  <a:lnTo>
                    <a:pt x="3105" y="1614"/>
                  </a:lnTo>
                  <a:lnTo>
                    <a:pt x="3114" y="1589"/>
                  </a:lnTo>
                  <a:lnTo>
                    <a:pt x="3119" y="1561"/>
                  </a:lnTo>
                  <a:lnTo>
                    <a:pt x="3120" y="1529"/>
                  </a:lnTo>
                  <a:lnTo>
                    <a:pt x="3120" y="1093"/>
                  </a:lnTo>
                  <a:lnTo>
                    <a:pt x="3119" y="1062"/>
                  </a:lnTo>
                  <a:lnTo>
                    <a:pt x="3115" y="1035"/>
                  </a:lnTo>
                  <a:lnTo>
                    <a:pt x="3106" y="1012"/>
                  </a:lnTo>
                  <a:lnTo>
                    <a:pt x="3095" y="994"/>
                  </a:lnTo>
                  <a:lnTo>
                    <a:pt x="3081" y="978"/>
                  </a:lnTo>
                  <a:lnTo>
                    <a:pt x="3063" y="966"/>
                  </a:lnTo>
                  <a:lnTo>
                    <a:pt x="3043" y="957"/>
                  </a:lnTo>
                  <a:lnTo>
                    <a:pt x="3017" y="949"/>
                  </a:lnTo>
                  <a:lnTo>
                    <a:pt x="2989" y="945"/>
                  </a:lnTo>
                  <a:lnTo>
                    <a:pt x="2957" y="942"/>
                  </a:lnTo>
                  <a:lnTo>
                    <a:pt x="2920" y="939"/>
                  </a:lnTo>
                  <a:lnTo>
                    <a:pt x="2879" y="938"/>
                  </a:lnTo>
                  <a:lnTo>
                    <a:pt x="2836" y="939"/>
                  </a:lnTo>
                  <a:lnTo>
                    <a:pt x="2789" y="939"/>
                  </a:lnTo>
                  <a:lnTo>
                    <a:pt x="379" y="939"/>
                  </a:lnTo>
                  <a:lnTo>
                    <a:pt x="331" y="939"/>
                  </a:lnTo>
                  <a:lnTo>
                    <a:pt x="288" y="938"/>
                  </a:lnTo>
                  <a:close/>
                  <a:moveTo>
                    <a:pt x="288" y="891"/>
                  </a:moveTo>
                  <a:lnTo>
                    <a:pt x="332" y="891"/>
                  </a:lnTo>
                  <a:lnTo>
                    <a:pt x="379" y="891"/>
                  </a:lnTo>
                  <a:lnTo>
                    <a:pt x="2789" y="891"/>
                  </a:lnTo>
                  <a:lnTo>
                    <a:pt x="2836" y="891"/>
                  </a:lnTo>
                  <a:lnTo>
                    <a:pt x="2879" y="891"/>
                  </a:lnTo>
                  <a:lnTo>
                    <a:pt x="2901" y="891"/>
                  </a:lnTo>
                  <a:lnTo>
                    <a:pt x="2923" y="891"/>
                  </a:lnTo>
                  <a:lnTo>
                    <a:pt x="2947" y="892"/>
                  </a:lnTo>
                  <a:lnTo>
                    <a:pt x="2969" y="893"/>
                  </a:lnTo>
                  <a:lnTo>
                    <a:pt x="2993" y="896"/>
                  </a:lnTo>
                  <a:lnTo>
                    <a:pt x="3016" y="900"/>
                  </a:lnTo>
                  <a:lnTo>
                    <a:pt x="3038" y="905"/>
                  </a:lnTo>
                  <a:lnTo>
                    <a:pt x="3059" y="911"/>
                  </a:lnTo>
                  <a:lnTo>
                    <a:pt x="3079" y="921"/>
                  </a:lnTo>
                  <a:lnTo>
                    <a:pt x="3099" y="932"/>
                  </a:lnTo>
                  <a:lnTo>
                    <a:pt x="3115" y="946"/>
                  </a:lnTo>
                  <a:lnTo>
                    <a:pt x="3131" y="962"/>
                  </a:lnTo>
                  <a:lnTo>
                    <a:pt x="3144" y="981"/>
                  </a:lnTo>
                  <a:lnTo>
                    <a:pt x="3154" y="1004"/>
                  </a:lnTo>
                  <a:lnTo>
                    <a:pt x="3162" y="1030"/>
                  </a:lnTo>
                  <a:lnTo>
                    <a:pt x="3166" y="1060"/>
                  </a:lnTo>
                  <a:lnTo>
                    <a:pt x="3169" y="1093"/>
                  </a:lnTo>
                  <a:lnTo>
                    <a:pt x="3169" y="1529"/>
                  </a:lnTo>
                  <a:lnTo>
                    <a:pt x="3166" y="1566"/>
                  </a:lnTo>
                  <a:lnTo>
                    <a:pt x="3161" y="1598"/>
                  </a:lnTo>
                  <a:lnTo>
                    <a:pt x="3152" y="1627"/>
                  </a:lnTo>
                  <a:lnTo>
                    <a:pt x="3140" y="1652"/>
                  </a:lnTo>
                  <a:lnTo>
                    <a:pt x="3126" y="1673"/>
                  </a:lnTo>
                  <a:lnTo>
                    <a:pt x="3107" y="1693"/>
                  </a:lnTo>
                  <a:lnTo>
                    <a:pt x="3088" y="1708"/>
                  </a:lnTo>
                  <a:lnTo>
                    <a:pt x="3065" y="1720"/>
                  </a:lnTo>
                  <a:lnTo>
                    <a:pt x="3042" y="1731"/>
                  </a:lnTo>
                  <a:lnTo>
                    <a:pt x="3017" y="1740"/>
                  </a:lnTo>
                  <a:lnTo>
                    <a:pt x="2990" y="1747"/>
                  </a:lnTo>
                  <a:lnTo>
                    <a:pt x="2962" y="1752"/>
                  </a:lnTo>
                  <a:lnTo>
                    <a:pt x="2934" y="1756"/>
                  </a:lnTo>
                  <a:lnTo>
                    <a:pt x="2905" y="1758"/>
                  </a:lnTo>
                  <a:lnTo>
                    <a:pt x="2876" y="1759"/>
                  </a:lnTo>
                  <a:lnTo>
                    <a:pt x="2847" y="1760"/>
                  </a:lnTo>
                  <a:lnTo>
                    <a:pt x="2818" y="1760"/>
                  </a:lnTo>
                  <a:lnTo>
                    <a:pt x="2789" y="1760"/>
                  </a:lnTo>
                  <a:lnTo>
                    <a:pt x="379" y="1760"/>
                  </a:lnTo>
                  <a:lnTo>
                    <a:pt x="351" y="1760"/>
                  </a:lnTo>
                  <a:lnTo>
                    <a:pt x="322" y="1760"/>
                  </a:lnTo>
                  <a:lnTo>
                    <a:pt x="293" y="1759"/>
                  </a:lnTo>
                  <a:lnTo>
                    <a:pt x="262" y="1758"/>
                  </a:lnTo>
                  <a:lnTo>
                    <a:pt x="233" y="1756"/>
                  </a:lnTo>
                  <a:lnTo>
                    <a:pt x="205" y="1752"/>
                  </a:lnTo>
                  <a:lnTo>
                    <a:pt x="177" y="1747"/>
                  </a:lnTo>
                  <a:lnTo>
                    <a:pt x="152" y="1740"/>
                  </a:lnTo>
                  <a:lnTo>
                    <a:pt x="126" y="1731"/>
                  </a:lnTo>
                  <a:lnTo>
                    <a:pt x="102" y="1720"/>
                  </a:lnTo>
                  <a:lnTo>
                    <a:pt x="80" y="1708"/>
                  </a:lnTo>
                  <a:lnTo>
                    <a:pt x="60" y="1693"/>
                  </a:lnTo>
                  <a:lnTo>
                    <a:pt x="43" y="1673"/>
                  </a:lnTo>
                  <a:lnTo>
                    <a:pt x="28" y="1652"/>
                  </a:lnTo>
                  <a:lnTo>
                    <a:pt x="16" y="1627"/>
                  </a:lnTo>
                  <a:lnTo>
                    <a:pt x="6" y="1598"/>
                  </a:lnTo>
                  <a:lnTo>
                    <a:pt x="1" y="1566"/>
                  </a:lnTo>
                  <a:lnTo>
                    <a:pt x="0" y="1529"/>
                  </a:lnTo>
                  <a:lnTo>
                    <a:pt x="0" y="1093"/>
                  </a:lnTo>
                  <a:lnTo>
                    <a:pt x="1" y="1060"/>
                  </a:lnTo>
                  <a:lnTo>
                    <a:pt x="6" y="1030"/>
                  </a:lnTo>
                  <a:lnTo>
                    <a:pt x="14" y="1004"/>
                  </a:lnTo>
                  <a:lnTo>
                    <a:pt x="25" y="981"/>
                  </a:lnTo>
                  <a:lnTo>
                    <a:pt x="37" y="962"/>
                  </a:lnTo>
                  <a:lnTo>
                    <a:pt x="53" y="946"/>
                  </a:lnTo>
                  <a:lnTo>
                    <a:pt x="70" y="932"/>
                  </a:lnTo>
                  <a:lnTo>
                    <a:pt x="88" y="921"/>
                  </a:lnTo>
                  <a:lnTo>
                    <a:pt x="108" y="911"/>
                  </a:lnTo>
                  <a:lnTo>
                    <a:pt x="130" y="905"/>
                  </a:lnTo>
                  <a:lnTo>
                    <a:pt x="152" y="900"/>
                  </a:lnTo>
                  <a:lnTo>
                    <a:pt x="174" y="896"/>
                  </a:lnTo>
                  <a:lnTo>
                    <a:pt x="198" y="893"/>
                  </a:lnTo>
                  <a:lnTo>
                    <a:pt x="220" y="892"/>
                  </a:lnTo>
                  <a:lnTo>
                    <a:pt x="244" y="891"/>
                  </a:lnTo>
                  <a:lnTo>
                    <a:pt x="267" y="891"/>
                  </a:lnTo>
                  <a:lnTo>
                    <a:pt x="288" y="891"/>
                  </a:lnTo>
                  <a:close/>
                  <a:moveTo>
                    <a:pt x="2165" y="515"/>
                  </a:moveTo>
                  <a:lnTo>
                    <a:pt x="2748" y="515"/>
                  </a:lnTo>
                  <a:lnTo>
                    <a:pt x="2748" y="600"/>
                  </a:lnTo>
                  <a:lnTo>
                    <a:pt x="2165" y="600"/>
                  </a:lnTo>
                  <a:lnTo>
                    <a:pt x="2165" y="515"/>
                  </a:lnTo>
                  <a:close/>
                  <a:moveTo>
                    <a:pt x="2165" y="303"/>
                  </a:moveTo>
                  <a:lnTo>
                    <a:pt x="2748" y="303"/>
                  </a:lnTo>
                  <a:lnTo>
                    <a:pt x="2748" y="397"/>
                  </a:lnTo>
                  <a:lnTo>
                    <a:pt x="2165" y="397"/>
                  </a:lnTo>
                  <a:lnTo>
                    <a:pt x="2165" y="303"/>
                  </a:lnTo>
                  <a:close/>
                  <a:moveTo>
                    <a:pt x="197" y="149"/>
                  </a:moveTo>
                  <a:lnTo>
                    <a:pt x="289" y="149"/>
                  </a:lnTo>
                  <a:lnTo>
                    <a:pt x="289" y="730"/>
                  </a:lnTo>
                  <a:lnTo>
                    <a:pt x="197" y="730"/>
                  </a:lnTo>
                  <a:lnTo>
                    <a:pt x="197" y="149"/>
                  </a:lnTo>
                  <a:close/>
                  <a:moveTo>
                    <a:pt x="2888" y="119"/>
                  </a:moveTo>
                  <a:lnTo>
                    <a:pt x="2980" y="119"/>
                  </a:lnTo>
                  <a:lnTo>
                    <a:pt x="2980" y="700"/>
                  </a:lnTo>
                  <a:lnTo>
                    <a:pt x="2888" y="700"/>
                  </a:lnTo>
                  <a:lnTo>
                    <a:pt x="2888" y="119"/>
                  </a:lnTo>
                  <a:close/>
                  <a:moveTo>
                    <a:pt x="288" y="49"/>
                  </a:moveTo>
                  <a:lnTo>
                    <a:pt x="248" y="49"/>
                  </a:lnTo>
                  <a:lnTo>
                    <a:pt x="212" y="51"/>
                  </a:lnTo>
                  <a:lnTo>
                    <a:pt x="180" y="54"/>
                  </a:lnTo>
                  <a:lnTo>
                    <a:pt x="150" y="58"/>
                  </a:lnTo>
                  <a:lnTo>
                    <a:pt x="126" y="66"/>
                  </a:lnTo>
                  <a:lnTo>
                    <a:pt x="104" y="76"/>
                  </a:lnTo>
                  <a:lnTo>
                    <a:pt x="86" y="89"/>
                  </a:lnTo>
                  <a:lnTo>
                    <a:pt x="72" y="104"/>
                  </a:lnTo>
                  <a:lnTo>
                    <a:pt x="61" y="123"/>
                  </a:lnTo>
                  <a:lnTo>
                    <a:pt x="54" y="145"/>
                  </a:lnTo>
                  <a:lnTo>
                    <a:pt x="49" y="171"/>
                  </a:lnTo>
                  <a:lnTo>
                    <a:pt x="47" y="202"/>
                  </a:lnTo>
                  <a:lnTo>
                    <a:pt x="47" y="639"/>
                  </a:lnTo>
                  <a:lnTo>
                    <a:pt x="49" y="671"/>
                  </a:lnTo>
                  <a:lnTo>
                    <a:pt x="55" y="699"/>
                  </a:lnTo>
                  <a:lnTo>
                    <a:pt x="62" y="723"/>
                  </a:lnTo>
                  <a:lnTo>
                    <a:pt x="74" y="745"/>
                  </a:lnTo>
                  <a:lnTo>
                    <a:pt x="89" y="762"/>
                  </a:lnTo>
                  <a:lnTo>
                    <a:pt x="106" y="777"/>
                  </a:lnTo>
                  <a:lnTo>
                    <a:pt x="127" y="789"/>
                  </a:lnTo>
                  <a:lnTo>
                    <a:pt x="149" y="799"/>
                  </a:lnTo>
                  <a:lnTo>
                    <a:pt x="175" y="807"/>
                  </a:lnTo>
                  <a:lnTo>
                    <a:pt x="204" y="813"/>
                  </a:lnTo>
                  <a:lnTo>
                    <a:pt x="234" y="817"/>
                  </a:lnTo>
                  <a:lnTo>
                    <a:pt x="268" y="819"/>
                  </a:lnTo>
                  <a:lnTo>
                    <a:pt x="302" y="821"/>
                  </a:lnTo>
                  <a:lnTo>
                    <a:pt x="340" y="822"/>
                  </a:lnTo>
                  <a:lnTo>
                    <a:pt x="379" y="822"/>
                  </a:lnTo>
                  <a:lnTo>
                    <a:pt x="2789" y="822"/>
                  </a:lnTo>
                  <a:lnTo>
                    <a:pt x="2827" y="822"/>
                  </a:lnTo>
                  <a:lnTo>
                    <a:pt x="2865" y="821"/>
                  </a:lnTo>
                  <a:lnTo>
                    <a:pt x="2901" y="819"/>
                  </a:lnTo>
                  <a:lnTo>
                    <a:pt x="2933" y="817"/>
                  </a:lnTo>
                  <a:lnTo>
                    <a:pt x="2964" y="813"/>
                  </a:lnTo>
                  <a:lnTo>
                    <a:pt x="2992" y="807"/>
                  </a:lnTo>
                  <a:lnTo>
                    <a:pt x="3018" y="799"/>
                  </a:lnTo>
                  <a:lnTo>
                    <a:pt x="3040" y="789"/>
                  </a:lnTo>
                  <a:lnTo>
                    <a:pt x="3061" y="777"/>
                  </a:lnTo>
                  <a:lnTo>
                    <a:pt x="3079" y="762"/>
                  </a:lnTo>
                  <a:lnTo>
                    <a:pt x="3093" y="745"/>
                  </a:lnTo>
                  <a:lnTo>
                    <a:pt x="3105" y="723"/>
                  </a:lnTo>
                  <a:lnTo>
                    <a:pt x="3114" y="699"/>
                  </a:lnTo>
                  <a:lnTo>
                    <a:pt x="3119" y="671"/>
                  </a:lnTo>
                  <a:lnTo>
                    <a:pt x="3120" y="639"/>
                  </a:lnTo>
                  <a:lnTo>
                    <a:pt x="3120" y="202"/>
                  </a:lnTo>
                  <a:lnTo>
                    <a:pt x="3119" y="171"/>
                  </a:lnTo>
                  <a:lnTo>
                    <a:pt x="3115" y="145"/>
                  </a:lnTo>
                  <a:lnTo>
                    <a:pt x="3106" y="123"/>
                  </a:lnTo>
                  <a:lnTo>
                    <a:pt x="3095" y="104"/>
                  </a:lnTo>
                  <a:lnTo>
                    <a:pt x="3081" y="89"/>
                  </a:lnTo>
                  <a:lnTo>
                    <a:pt x="3063" y="76"/>
                  </a:lnTo>
                  <a:lnTo>
                    <a:pt x="3043" y="66"/>
                  </a:lnTo>
                  <a:lnTo>
                    <a:pt x="3017" y="58"/>
                  </a:lnTo>
                  <a:lnTo>
                    <a:pt x="2989" y="54"/>
                  </a:lnTo>
                  <a:lnTo>
                    <a:pt x="2957" y="51"/>
                  </a:lnTo>
                  <a:lnTo>
                    <a:pt x="2920" y="49"/>
                  </a:lnTo>
                  <a:lnTo>
                    <a:pt x="2879" y="49"/>
                  </a:lnTo>
                  <a:lnTo>
                    <a:pt x="2836" y="49"/>
                  </a:lnTo>
                  <a:lnTo>
                    <a:pt x="2789" y="49"/>
                  </a:lnTo>
                  <a:lnTo>
                    <a:pt x="379" y="49"/>
                  </a:lnTo>
                  <a:lnTo>
                    <a:pt x="331" y="49"/>
                  </a:lnTo>
                  <a:lnTo>
                    <a:pt x="288" y="49"/>
                  </a:lnTo>
                  <a:close/>
                  <a:moveTo>
                    <a:pt x="288" y="0"/>
                  </a:moveTo>
                  <a:lnTo>
                    <a:pt x="332" y="0"/>
                  </a:lnTo>
                  <a:lnTo>
                    <a:pt x="379" y="2"/>
                  </a:lnTo>
                  <a:lnTo>
                    <a:pt x="2789" y="2"/>
                  </a:lnTo>
                  <a:lnTo>
                    <a:pt x="2836" y="0"/>
                  </a:lnTo>
                  <a:lnTo>
                    <a:pt x="2879" y="0"/>
                  </a:lnTo>
                  <a:lnTo>
                    <a:pt x="2901" y="0"/>
                  </a:lnTo>
                  <a:lnTo>
                    <a:pt x="2924" y="0"/>
                  </a:lnTo>
                  <a:lnTo>
                    <a:pt x="2947" y="2"/>
                  </a:lnTo>
                  <a:lnTo>
                    <a:pt x="2971" y="4"/>
                  </a:lnTo>
                  <a:lnTo>
                    <a:pt x="2993" y="6"/>
                  </a:lnTo>
                  <a:lnTo>
                    <a:pt x="3016" y="9"/>
                  </a:lnTo>
                  <a:lnTo>
                    <a:pt x="3038" y="14"/>
                  </a:lnTo>
                  <a:lnTo>
                    <a:pt x="3059" y="22"/>
                  </a:lnTo>
                  <a:lnTo>
                    <a:pt x="3079" y="31"/>
                  </a:lnTo>
                  <a:lnTo>
                    <a:pt x="3099" y="41"/>
                  </a:lnTo>
                  <a:lnTo>
                    <a:pt x="3115" y="55"/>
                  </a:lnTo>
                  <a:lnTo>
                    <a:pt x="3131" y="71"/>
                  </a:lnTo>
                  <a:lnTo>
                    <a:pt x="3144" y="91"/>
                  </a:lnTo>
                  <a:lnTo>
                    <a:pt x="3154" y="113"/>
                  </a:lnTo>
                  <a:lnTo>
                    <a:pt x="3162" y="139"/>
                  </a:lnTo>
                  <a:lnTo>
                    <a:pt x="3166" y="169"/>
                  </a:lnTo>
                  <a:lnTo>
                    <a:pt x="3169" y="202"/>
                  </a:lnTo>
                  <a:lnTo>
                    <a:pt x="3169" y="639"/>
                  </a:lnTo>
                  <a:lnTo>
                    <a:pt x="3166" y="675"/>
                  </a:lnTo>
                  <a:lnTo>
                    <a:pt x="3161" y="707"/>
                  </a:lnTo>
                  <a:lnTo>
                    <a:pt x="3152" y="736"/>
                  </a:lnTo>
                  <a:lnTo>
                    <a:pt x="3140" y="761"/>
                  </a:lnTo>
                  <a:lnTo>
                    <a:pt x="3126" y="783"/>
                  </a:lnTo>
                  <a:lnTo>
                    <a:pt x="3107" y="802"/>
                  </a:lnTo>
                  <a:lnTo>
                    <a:pt x="3088" y="817"/>
                  </a:lnTo>
                  <a:lnTo>
                    <a:pt x="3065" y="831"/>
                  </a:lnTo>
                  <a:lnTo>
                    <a:pt x="3042" y="842"/>
                  </a:lnTo>
                  <a:lnTo>
                    <a:pt x="3017" y="850"/>
                  </a:lnTo>
                  <a:lnTo>
                    <a:pt x="2990" y="857"/>
                  </a:lnTo>
                  <a:lnTo>
                    <a:pt x="2962" y="861"/>
                  </a:lnTo>
                  <a:lnTo>
                    <a:pt x="2934" y="865"/>
                  </a:lnTo>
                  <a:lnTo>
                    <a:pt x="2905" y="867"/>
                  </a:lnTo>
                  <a:lnTo>
                    <a:pt x="2876" y="868"/>
                  </a:lnTo>
                  <a:lnTo>
                    <a:pt x="2847" y="870"/>
                  </a:lnTo>
                  <a:lnTo>
                    <a:pt x="2818" y="870"/>
                  </a:lnTo>
                  <a:lnTo>
                    <a:pt x="2789" y="870"/>
                  </a:lnTo>
                  <a:lnTo>
                    <a:pt x="379" y="870"/>
                  </a:lnTo>
                  <a:lnTo>
                    <a:pt x="351" y="870"/>
                  </a:lnTo>
                  <a:lnTo>
                    <a:pt x="322" y="870"/>
                  </a:lnTo>
                  <a:lnTo>
                    <a:pt x="293" y="868"/>
                  </a:lnTo>
                  <a:lnTo>
                    <a:pt x="262" y="867"/>
                  </a:lnTo>
                  <a:lnTo>
                    <a:pt x="233" y="865"/>
                  </a:lnTo>
                  <a:lnTo>
                    <a:pt x="205" y="861"/>
                  </a:lnTo>
                  <a:lnTo>
                    <a:pt x="177" y="857"/>
                  </a:lnTo>
                  <a:lnTo>
                    <a:pt x="152" y="850"/>
                  </a:lnTo>
                  <a:lnTo>
                    <a:pt x="126" y="842"/>
                  </a:lnTo>
                  <a:lnTo>
                    <a:pt x="102" y="831"/>
                  </a:lnTo>
                  <a:lnTo>
                    <a:pt x="80" y="817"/>
                  </a:lnTo>
                  <a:lnTo>
                    <a:pt x="60" y="802"/>
                  </a:lnTo>
                  <a:lnTo>
                    <a:pt x="43" y="783"/>
                  </a:lnTo>
                  <a:lnTo>
                    <a:pt x="28" y="761"/>
                  </a:lnTo>
                  <a:lnTo>
                    <a:pt x="16" y="736"/>
                  </a:lnTo>
                  <a:lnTo>
                    <a:pt x="6" y="707"/>
                  </a:lnTo>
                  <a:lnTo>
                    <a:pt x="1" y="675"/>
                  </a:lnTo>
                  <a:lnTo>
                    <a:pt x="0" y="639"/>
                  </a:lnTo>
                  <a:lnTo>
                    <a:pt x="0" y="202"/>
                  </a:lnTo>
                  <a:lnTo>
                    <a:pt x="1" y="169"/>
                  </a:lnTo>
                  <a:lnTo>
                    <a:pt x="6" y="139"/>
                  </a:lnTo>
                  <a:lnTo>
                    <a:pt x="14" y="113"/>
                  </a:lnTo>
                  <a:lnTo>
                    <a:pt x="25" y="91"/>
                  </a:lnTo>
                  <a:lnTo>
                    <a:pt x="37" y="71"/>
                  </a:lnTo>
                  <a:lnTo>
                    <a:pt x="53" y="55"/>
                  </a:lnTo>
                  <a:lnTo>
                    <a:pt x="70" y="41"/>
                  </a:lnTo>
                  <a:lnTo>
                    <a:pt x="88" y="31"/>
                  </a:lnTo>
                  <a:lnTo>
                    <a:pt x="108" y="22"/>
                  </a:lnTo>
                  <a:lnTo>
                    <a:pt x="130" y="14"/>
                  </a:lnTo>
                  <a:lnTo>
                    <a:pt x="152" y="9"/>
                  </a:lnTo>
                  <a:lnTo>
                    <a:pt x="174" y="6"/>
                  </a:lnTo>
                  <a:lnTo>
                    <a:pt x="198" y="4"/>
                  </a:lnTo>
                  <a:lnTo>
                    <a:pt x="220" y="2"/>
                  </a:lnTo>
                  <a:lnTo>
                    <a:pt x="244" y="0"/>
                  </a:lnTo>
                  <a:lnTo>
                    <a:pt x="267" y="0"/>
                  </a:lnTo>
                  <a:lnTo>
                    <a:pt x="2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6" name="Group 45"/>
          <p:cNvGrpSpPr/>
          <p:nvPr/>
        </p:nvGrpSpPr>
        <p:grpSpPr>
          <a:xfrm>
            <a:off x="7722057" y="4630356"/>
            <a:ext cx="1877571" cy="918719"/>
            <a:chOff x="7722057" y="4630356"/>
            <a:chExt cx="1877571" cy="918719"/>
          </a:xfrm>
        </p:grpSpPr>
        <p:sp>
          <p:nvSpPr>
            <p:cNvPr id="19" name="TextBox 18"/>
            <p:cNvSpPr txBox="1"/>
            <p:nvPr/>
          </p:nvSpPr>
          <p:spPr>
            <a:xfrm>
              <a:off x="8537215" y="5004791"/>
              <a:ext cx="1062413" cy="352226"/>
            </a:xfrm>
            <a:prstGeom prst="rect">
              <a:avLst/>
            </a:prstGeom>
            <a:noFill/>
          </p:spPr>
          <p:txBody>
            <a:bodyPr wrap="square" lIns="0" tIns="0" rIns="0" bIns="0" rtlCol="0">
              <a:spAutoFit/>
            </a:bodyPr>
            <a:lstStyle/>
            <a:p>
              <a:pPr algn="ctr"/>
              <a:r>
                <a:rPr lang="en-US" sz="1122" b="1" dirty="0">
                  <a:latin typeface="Segoe UI Light" pitchFamily="34" charset="0"/>
                </a:rPr>
                <a:t>Remote Desktop Licensing</a:t>
              </a:r>
            </a:p>
          </p:txBody>
        </p:sp>
        <p:grpSp>
          <p:nvGrpSpPr>
            <p:cNvPr id="75" name="Group 29"/>
            <p:cNvGrpSpPr>
              <a:grpSpLocks noChangeAspect="1"/>
            </p:cNvGrpSpPr>
            <p:nvPr/>
          </p:nvGrpSpPr>
          <p:grpSpPr bwMode="auto">
            <a:xfrm>
              <a:off x="7722057" y="4630356"/>
              <a:ext cx="705231" cy="918719"/>
              <a:chOff x="5121" y="2489"/>
              <a:chExt cx="882" cy="1149"/>
            </a:xfrm>
          </p:grpSpPr>
          <p:sp>
            <p:nvSpPr>
              <p:cNvPr id="76"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8"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47" name="Group 46"/>
          <p:cNvGrpSpPr/>
          <p:nvPr/>
        </p:nvGrpSpPr>
        <p:grpSpPr>
          <a:xfrm>
            <a:off x="10423761" y="3325435"/>
            <a:ext cx="1430730" cy="1399304"/>
            <a:chOff x="10439001" y="3563560"/>
            <a:chExt cx="1430730" cy="1399304"/>
          </a:xfrm>
        </p:grpSpPr>
        <p:sp>
          <p:nvSpPr>
            <p:cNvPr id="22" name="TextBox 21"/>
            <p:cNvSpPr txBox="1"/>
            <p:nvPr/>
          </p:nvSpPr>
          <p:spPr>
            <a:xfrm>
              <a:off x="10439001" y="3563560"/>
              <a:ext cx="1430730" cy="352226"/>
            </a:xfrm>
            <a:prstGeom prst="rect">
              <a:avLst/>
            </a:prstGeom>
            <a:noFill/>
          </p:spPr>
          <p:txBody>
            <a:bodyPr wrap="square" lIns="0" tIns="0" rIns="0" bIns="0" rtlCol="0">
              <a:spAutoFit/>
            </a:bodyPr>
            <a:lstStyle/>
            <a:p>
              <a:pPr algn="ctr"/>
              <a:r>
                <a:rPr lang="en-US" sz="1122" b="1" dirty="0">
                  <a:latin typeface="Segoe UI Light" pitchFamily="34" charset="0"/>
                </a:rPr>
                <a:t>Remote Desktop  Session Host</a:t>
              </a:r>
            </a:p>
          </p:txBody>
        </p:sp>
        <p:grpSp>
          <p:nvGrpSpPr>
            <p:cNvPr id="81" name="Group 80"/>
            <p:cNvGrpSpPr/>
            <p:nvPr/>
          </p:nvGrpSpPr>
          <p:grpSpPr>
            <a:xfrm>
              <a:off x="10486578" y="3972332"/>
              <a:ext cx="760860" cy="990532"/>
              <a:chOff x="9230239" y="2919416"/>
              <a:chExt cx="1080574" cy="1406754"/>
            </a:xfrm>
          </p:grpSpPr>
          <p:sp>
            <p:nvSpPr>
              <p:cNvPr id="82" name="Freeform 24"/>
              <p:cNvSpPr>
                <a:spLocks noEditPoints="1"/>
              </p:cNvSpPr>
              <p:nvPr/>
            </p:nvSpPr>
            <p:spPr bwMode="auto">
              <a:xfrm>
                <a:off x="9596903" y="2919416"/>
                <a:ext cx="713910" cy="1406754"/>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25"/>
              <p:cNvSpPr>
                <a:spLocks noEditPoints="1"/>
              </p:cNvSpPr>
              <p:nvPr/>
            </p:nvSpPr>
            <p:spPr bwMode="auto">
              <a:xfrm>
                <a:off x="9252622" y="3073299"/>
                <a:ext cx="883714" cy="754814"/>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26"/>
              <p:cNvSpPr>
                <a:spLocks noEditPoints="1"/>
              </p:cNvSpPr>
              <p:nvPr/>
            </p:nvSpPr>
            <p:spPr bwMode="auto">
              <a:xfrm>
                <a:off x="9230239" y="3044792"/>
                <a:ext cx="902305" cy="783319"/>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5" name="Group 84"/>
            <p:cNvGrpSpPr/>
            <p:nvPr/>
          </p:nvGrpSpPr>
          <p:grpSpPr>
            <a:xfrm>
              <a:off x="11060469" y="3966545"/>
              <a:ext cx="760860" cy="990532"/>
              <a:chOff x="10192450" y="2913629"/>
              <a:chExt cx="1080574" cy="1406754"/>
            </a:xfrm>
          </p:grpSpPr>
          <p:sp>
            <p:nvSpPr>
              <p:cNvPr id="86" name="Freeform 24"/>
              <p:cNvSpPr>
                <a:spLocks noEditPoints="1"/>
              </p:cNvSpPr>
              <p:nvPr/>
            </p:nvSpPr>
            <p:spPr bwMode="auto">
              <a:xfrm>
                <a:off x="10559114" y="2913629"/>
                <a:ext cx="713910" cy="1406754"/>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25"/>
              <p:cNvSpPr>
                <a:spLocks noEditPoints="1"/>
              </p:cNvSpPr>
              <p:nvPr/>
            </p:nvSpPr>
            <p:spPr bwMode="auto">
              <a:xfrm>
                <a:off x="10214833" y="3067512"/>
                <a:ext cx="883714" cy="754814"/>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26"/>
              <p:cNvSpPr>
                <a:spLocks noEditPoints="1"/>
              </p:cNvSpPr>
              <p:nvPr/>
            </p:nvSpPr>
            <p:spPr bwMode="auto">
              <a:xfrm>
                <a:off x="10192450" y="3039005"/>
                <a:ext cx="902305" cy="783319"/>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93" name="Group 92"/>
          <p:cNvGrpSpPr/>
          <p:nvPr/>
        </p:nvGrpSpPr>
        <p:grpSpPr>
          <a:xfrm>
            <a:off x="5747287" y="3488249"/>
            <a:ext cx="1027177" cy="1318222"/>
            <a:chOff x="5732047" y="3488249"/>
            <a:chExt cx="1027177" cy="1318222"/>
          </a:xfrm>
        </p:grpSpPr>
        <p:grpSp>
          <p:nvGrpSpPr>
            <p:cNvPr id="10" name="Group 9"/>
            <p:cNvGrpSpPr>
              <a:grpSpLocks noChangeAspect="1"/>
            </p:cNvGrpSpPr>
            <p:nvPr/>
          </p:nvGrpSpPr>
          <p:grpSpPr>
            <a:xfrm>
              <a:off x="5732047" y="3623834"/>
              <a:ext cx="1027177" cy="1182637"/>
              <a:chOff x="2685622" y="4029243"/>
              <a:chExt cx="1259090" cy="1449651"/>
            </a:xfrm>
          </p:grpSpPr>
          <p:pic>
            <p:nvPicPr>
              <p:cNvPr id="15" name="Picture 5"/>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729118" y="4029243"/>
                <a:ext cx="697940" cy="959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2685622" y="5047143"/>
                <a:ext cx="1259090" cy="431751"/>
              </a:xfrm>
              <a:prstGeom prst="rect">
                <a:avLst/>
              </a:prstGeom>
              <a:noFill/>
            </p:spPr>
            <p:txBody>
              <a:bodyPr wrap="square" lIns="0" tIns="0" rIns="0" bIns="0" rtlCol="0">
                <a:spAutoFit/>
              </a:bodyPr>
              <a:lstStyle/>
              <a:p>
                <a:pPr algn="ctr"/>
                <a:r>
                  <a:rPr lang="en-US" sz="1122" b="1" dirty="0">
                    <a:latin typeface="Segoe UI Light" pitchFamily="34" charset="0"/>
                  </a:rPr>
                  <a:t>Remote Desktop Gateway</a:t>
                </a:r>
              </a:p>
            </p:txBody>
          </p:sp>
        </p:grpSp>
        <p:grpSp>
          <p:nvGrpSpPr>
            <p:cNvPr id="92" name="Group 91"/>
            <p:cNvGrpSpPr/>
            <p:nvPr/>
          </p:nvGrpSpPr>
          <p:grpSpPr>
            <a:xfrm>
              <a:off x="5838825" y="3488249"/>
              <a:ext cx="656572" cy="902727"/>
              <a:chOff x="5838825" y="3488249"/>
              <a:chExt cx="656572" cy="902727"/>
            </a:xfrm>
          </p:grpSpPr>
          <p:sp>
            <p:nvSpPr>
              <p:cNvPr id="90" name="Freeform 30"/>
              <p:cNvSpPr>
                <a:spLocks noEditPoints="1"/>
              </p:cNvSpPr>
              <p:nvPr/>
            </p:nvSpPr>
            <p:spPr bwMode="auto">
              <a:xfrm>
                <a:off x="6023644" y="3488249"/>
                <a:ext cx="471753" cy="902727"/>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48" name="Group 19"/>
              <p:cNvGrpSpPr>
                <a:grpSpLocks noChangeAspect="1"/>
              </p:cNvGrpSpPr>
              <p:nvPr/>
            </p:nvGrpSpPr>
            <p:grpSpPr bwMode="auto">
              <a:xfrm rot="1819723">
                <a:off x="5838825" y="3720876"/>
                <a:ext cx="268288" cy="366713"/>
                <a:chOff x="3714" y="2362"/>
                <a:chExt cx="169" cy="231"/>
              </a:xfrm>
              <a:solidFill>
                <a:schemeClr val="accent3"/>
              </a:solidFill>
            </p:grpSpPr>
            <p:sp>
              <p:nvSpPr>
                <p:cNvPr id="63" name="Freeform 20"/>
                <p:cNvSpPr>
                  <a:spLocks noEditPoints="1"/>
                </p:cNvSpPr>
                <p:nvPr/>
              </p:nvSpPr>
              <p:spPr bwMode="auto">
                <a:xfrm>
                  <a:off x="3714" y="2461"/>
                  <a:ext cx="169" cy="132"/>
                </a:xfrm>
                <a:custGeom>
                  <a:avLst/>
                  <a:gdLst>
                    <a:gd name="T0" fmla="*/ 587 w 663"/>
                    <a:gd name="T1" fmla="*/ 1 h 517"/>
                    <a:gd name="T2" fmla="*/ 575 w 663"/>
                    <a:gd name="T3" fmla="*/ 1 h 517"/>
                    <a:gd name="T4" fmla="*/ 575 w 663"/>
                    <a:gd name="T5" fmla="*/ 0 h 517"/>
                    <a:gd name="T6" fmla="*/ 481 w 663"/>
                    <a:gd name="T7" fmla="*/ 0 h 517"/>
                    <a:gd name="T8" fmla="*/ 481 w 663"/>
                    <a:gd name="T9" fmla="*/ 1 h 517"/>
                    <a:gd name="T10" fmla="*/ 177 w 663"/>
                    <a:gd name="T11" fmla="*/ 1 h 517"/>
                    <a:gd name="T12" fmla="*/ 177 w 663"/>
                    <a:gd name="T13" fmla="*/ 0 h 517"/>
                    <a:gd name="T14" fmla="*/ 83 w 663"/>
                    <a:gd name="T15" fmla="*/ 0 h 517"/>
                    <a:gd name="T16" fmla="*/ 83 w 663"/>
                    <a:gd name="T17" fmla="*/ 1 h 517"/>
                    <a:gd name="T18" fmla="*/ 77 w 663"/>
                    <a:gd name="T19" fmla="*/ 1 h 517"/>
                    <a:gd name="T20" fmla="*/ 0 w 663"/>
                    <a:gd name="T21" fmla="*/ 77 h 517"/>
                    <a:gd name="T22" fmla="*/ 0 w 663"/>
                    <a:gd name="T23" fmla="*/ 440 h 517"/>
                    <a:gd name="T24" fmla="*/ 77 w 663"/>
                    <a:gd name="T25" fmla="*/ 517 h 517"/>
                    <a:gd name="T26" fmla="*/ 587 w 663"/>
                    <a:gd name="T27" fmla="*/ 517 h 517"/>
                    <a:gd name="T28" fmla="*/ 663 w 663"/>
                    <a:gd name="T29" fmla="*/ 440 h 517"/>
                    <a:gd name="T30" fmla="*/ 663 w 663"/>
                    <a:gd name="T31" fmla="*/ 77 h 517"/>
                    <a:gd name="T32" fmla="*/ 587 w 663"/>
                    <a:gd name="T33" fmla="*/ 1 h 517"/>
                    <a:gd name="T34" fmla="*/ 357 w 663"/>
                    <a:gd name="T35" fmla="*/ 279 h 517"/>
                    <a:gd name="T36" fmla="*/ 357 w 663"/>
                    <a:gd name="T37" fmla="*/ 374 h 517"/>
                    <a:gd name="T38" fmla="*/ 295 w 663"/>
                    <a:gd name="T39" fmla="*/ 374 h 517"/>
                    <a:gd name="T40" fmla="*/ 295 w 663"/>
                    <a:gd name="T41" fmla="*/ 279 h 517"/>
                    <a:gd name="T42" fmla="*/ 257 w 663"/>
                    <a:gd name="T43" fmla="*/ 217 h 517"/>
                    <a:gd name="T44" fmla="*/ 326 w 663"/>
                    <a:gd name="T45" fmla="*/ 147 h 517"/>
                    <a:gd name="T46" fmla="*/ 396 w 663"/>
                    <a:gd name="T47" fmla="*/ 217 h 517"/>
                    <a:gd name="T48" fmla="*/ 357 w 663"/>
                    <a:gd name="T49" fmla="*/ 279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517">
                      <a:moveTo>
                        <a:pt x="587" y="1"/>
                      </a:moveTo>
                      <a:cubicBezTo>
                        <a:pt x="575" y="1"/>
                        <a:pt x="575" y="1"/>
                        <a:pt x="575" y="1"/>
                      </a:cubicBezTo>
                      <a:cubicBezTo>
                        <a:pt x="575" y="0"/>
                        <a:pt x="575" y="0"/>
                        <a:pt x="575" y="0"/>
                      </a:cubicBezTo>
                      <a:cubicBezTo>
                        <a:pt x="481" y="0"/>
                        <a:pt x="481" y="0"/>
                        <a:pt x="481" y="0"/>
                      </a:cubicBezTo>
                      <a:cubicBezTo>
                        <a:pt x="481" y="1"/>
                        <a:pt x="481" y="1"/>
                        <a:pt x="481" y="1"/>
                      </a:cubicBezTo>
                      <a:cubicBezTo>
                        <a:pt x="177" y="1"/>
                        <a:pt x="177" y="1"/>
                        <a:pt x="177" y="1"/>
                      </a:cubicBezTo>
                      <a:cubicBezTo>
                        <a:pt x="177" y="0"/>
                        <a:pt x="177" y="0"/>
                        <a:pt x="177" y="0"/>
                      </a:cubicBezTo>
                      <a:cubicBezTo>
                        <a:pt x="83" y="0"/>
                        <a:pt x="83" y="0"/>
                        <a:pt x="83" y="0"/>
                      </a:cubicBezTo>
                      <a:cubicBezTo>
                        <a:pt x="83" y="1"/>
                        <a:pt x="83" y="1"/>
                        <a:pt x="83" y="1"/>
                      </a:cubicBezTo>
                      <a:cubicBezTo>
                        <a:pt x="77" y="1"/>
                        <a:pt x="77" y="1"/>
                        <a:pt x="77" y="1"/>
                      </a:cubicBezTo>
                      <a:cubicBezTo>
                        <a:pt x="35" y="1"/>
                        <a:pt x="0" y="35"/>
                        <a:pt x="0" y="77"/>
                      </a:cubicBezTo>
                      <a:cubicBezTo>
                        <a:pt x="0" y="440"/>
                        <a:pt x="0" y="440"/>
                        <a:pt x="0" y="440"/>
                      </a:cubicBezTo>
                      <a:cubicBezTo>
                        <a:pt x="0" y="483"/>
                        <a:pt x="35" y="517"/>
                        <a:pt x="77" y="517"/>
                      </a:cubicBezTo>
                      <a:cubicBezTo>
                        <a:pt x="587" y="517"/>
                        <a:pt x="587" y="517"/>
                        <a:pt x="587" y="517"/>
                      </a:cubicBezTo>
                      <a:cubicBezTo>
                        <a:pt x="629" y="517"/>
                        <a:pt x="663" y="483"/>
                        <a:pt x="663" y="440"/>
                      </a:cubicBezTo>
                      <a:cubicBezTo>
                        <a:pt x="663" y="77"/>
                        <a:pt x="663" y="77"/>
                        <a:pt x="663" y="77"/>
                      </a:cubicBezTo>
                      <a:cubicBezTo>
                        <a:pt x="663" y="35"/>
                        <a:pt x="629" y="1"/>
                        <a:pt x="587" y="1"/>
                      </a:cubicBezTo>
                      <a:close/>
                      <a:moveTo>
                        <a:pt x="357" y="279"/>
                      </a:moveTo>
                      <a:cubicBezTo>
                        <a:pt x="357" y="374"/>
                        <a:pt x="357" y="374"/>
                        <a:pt x="357" y="374"/>
                      </a:cubicBezTo>
                      <a:cubicBezTo>
                        <a:pt x="295" y="374"/>
                        <a:pt x="295" y="374"/>
                        <a:pt x="295" y="374"/>
                      </a:cubicBezTo>
                      <a:cubicBezTo>
                        <a:pt x="295" y="279"/>
                        <a:pt x="295" y="279"/>
                        <a:pt x="295" y="279"/>
                      </a:cubicBezTo>
                      <a:cubicBezTo>
                        <a:pt x="272" y="268"/>
                        <a:pt x="257" y="244"/>
                        <a:pt x="257" y="217"/>
                      </a:cubicBezTo>
                      <a:cubicBezTo>
                        <a:pt x="257" y="178"/>
                        <a:pt x="288" y="147"/>
                        <a:pt x="326" y="147"/>
                      </a:cubicBezTo>
                      <a:cubicBezTo>
                        <a:pt x="365" y="147"/>
                        <a:pt x="396" y="178"/>
                        <a:pt x="396" y="217"/>
                      </a:cubicBezTo>
                      <a:cubicBezTo>
                        <a:pt x="396" y="244"/>
                        <a:pt x="380" y="268"/>
                        <a:pt x="357" y="2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1"/>
                <p:cNvSpPr>
                  <a:spLocks/>
                </p:cNvSpPr>
                <p:nvPr/>
              </p:nvSpPr>
              <p:spPr bwMode="auto">
                <a:xfrm>
                  <a:off x="3735" y="2362"/>
                  <a:ext cx="125" cy="95"/>
                </a:xfrm>
                <a:custGeom>
                  <a:avLst/>
                  <a:gdLst>
                    <a:gd name="T0" fmla="*/ 0 w 492"/>
                    <a:gd name="T1" fmla="*/ 370 h 370"/>
                    <a:gd name="T2" fmla="*/ 94 w 492"/>
                    <a:gd name="T3" fmla="*/ 370 h 370"/>
                    <a:gd name="T4" fmla="*/ 94 w 492"/>
                    <a:gd name="T5" fmla="*/ 238 h 370"/>
                    <a:gd name="T6" fmla="*/ 94 w 492"/>
                    <a:gd name="T7" fmla="*/ 238 h 370"/>
                    <a:gd name="T8" fmla="*/ 94 w 492"/>
                    <a:gd name="T9" fmla="*/ 237 h 370"/>
                    <a:gd name="T10" fmla="*/ 133 w 492"/>
                    <a:gd name="T11" fmla="*/ 134 h 370"/>
                    <a:gd name="T12" fmla="*/ 253 w 492"/>
                    <a:gd name="T13" fmla="*/ 93 h 370"/>
                    <a:gd name="T14" fmla="*/ 328 w 492"/>
                    <a:gd name="T15" fmla="*/ 113 h 370"/>
                    <a:gd name="T16" fmla="*/ 398 w 492"/>
                    <a:gd name="T17" fmla="*/ 239 h 370"/>
                    <a:gd name="T18" fmla="*/ 398 w 492"/>
                    <a:gd name="T19" fmla="*/ 370 h 370"/>
                    <a:gd name="T20" fmla="*/ 492 w 492"/>
                    <a:gd name="T21" fmla="*/ 370 h 370"/>
                    <a:gd name="T22" fmla="*/ 492 w 492"/>
                    <a:gd name="T23" fmla="*/ 239 h 370"/>
                    <a:gd name="T24" fmla="*/ 370 w 492"/>
                    <a:gd name="T25" fmla="*/ 29 h 370"/>
                    <a:gd name="T26" fmla="*/ 253 w 492"/>
                    <a:gd name="T27" fmla="*/ 0 h 370"/>
                    <a:gd name="T28" fmla="*/ 65 w 492"/>
                    <a:gd name="T29" fmla="*/ 70 h 370"/>
                    <a:gd name="T30" fmla="*/ 0 w 492"/>
                    <a:gd name="T31" fmla="*/ 239 h 370"/>
                    <a:gd name="T32" fmla="*/ 0 w 492"/>
                    <a:gd name="T33"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2" h="370">
                      <a:moveTo>
                        <a:pt x="0" y="370"/>
                      </a:moveTo>
                      <a:cubicBezTo>
                        <a:pt x="94" y="370"/>
                        <a:pt x="94" y="370"/>
                        <a:pt x="94" y="370"/>
                      </a:cubicBezTo>
                      <a:cubicBezTo>
                        <a:pt x="94" y="238"/>
                        <a:pt x="94" y="238"/>
                        <a:pt x="94" y="238"/>
                      </a:cubicBezTo>
                      <a:cubicBezTo>
                        <a:pt x="94" y="238"/>
                        <a:pt x="94" y="238"/>
                        <a:pt x="94" y="238"/>
                      </a:cubicBezTo>
                      <a:cubicBezTo>
                        <a:pt x="94" y="237"/>
                        <a:pt x="94" y="237"/>
                        <a:pt x="94" y="237"/>
                      </a:cubicBezTo>
                      <a:cubicBezTo>
                        <a:pt x="94" y="236"/>
                        <a:pt x="93" y="175"/>
                        <a:pt x="133" y="134"/>
                      </a:cubicBezTo>
                      <a:cubicBezTo>
                        <a:pt x="160" y="107"/>
                        <a:pt x="200" y="93"/>
                        <a:pt x="253" y="93"/>
                      </a:cubicBezTo>
                      <a:cubicBezTo>
                        <a:pt x="253" y="93"/>
                        <a:pt x="291" y="94"/>
                        <a:pt x="328" y="113"/>
                      </a:cubicBezTo>
                      <a:cubicBezTo>
                        <a:pt x="375" y="137"/>
                        <a:pt x="398" y="178"/>
                        <a:pt x="398" y="239"/>
                      </a:cubicBezTo>
                      <a:cubicBezTo>
                        <a:pt x="398" y="370"/>
                        <a:pt x="398" y="370"/>
                        <a:pt x="398" y="370"/>
                      </a:cubicBezTo>
                      <a:cubicBezTo>
                        <a:pt x="492" y="370"/>
                        <a:pt x="492" y="370"/>
                        <a:pt x="492" y="370"/>
                      </a:cubicBezTo>
                      <a:cubicBezTo>
                        <a:pt x="492" y="239"/>
                        <a:pt x="492" y="239"/>
                        <a:pt x="492" y="239"/>
                      </a:cubicBezTo>
                      <a:cubicBezTo>
                        <a:pt x="492" y="116"/>
                        <a:pt x="426" y="57"/>
                        <a:pt x="370" y="29"/>
                      </a:cubicBezTo>
                      <a:cubicBezTo>
                        <a:pt x="314" y="1"/>
                        <a:pt x="259" y="0"/>
                        <a:pt x="253" y="0"/>
                      </a:cubicBezTo>
                      <a:cubicBezTo>
                        <a:pt x="173" y="0"/>
                        <a:pt x="110" y="23"/>
                        <a:pt x="65" y="70"/>
                      </a:cubicBezTo>
                      <a:cubicBezTo>
                        <a:pt x="1" y="137"/>
                        <a:pt x="0" y="227"/>
                        <a:pt x="0" y="239"/>
                      </a:cubicBezTo>
                      <a:lnTo>
                        <a:pt x="0"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grpSp>
        <p:nvGrpSpPr>
          <p:cNvPr id="70" name="Group 69"/>
          <p:cNvGrpSpPr/>
          <p:nvPr/>
        </p:nvGrpSpPr>
        <p:grpSpPr>
          <a:xfrm>
            <a:off x="5658271" y="1842640"/>
            <a:ext cx="1126485" cy="1322061"/>
            <a:chOff x="5604522" y="1754691"/>
            <a:chExt cx="1126485" cy="1322061"/>
          </a:xfrm>
        </p:grpSpPr>
        <p:sp>
          <p:nvSpPr>
            <p:cNvPr id="7" name="TextBox 6"/>
            <p:cNvSpPr txBox="1"/>
            <p:nvPr/>
          </p:nvSpPr>
          <p:spPr>
            <a:xfrm>
              <a:off x="5604522" y="2724526"/>
              <a:ext cx="1126485" cy="352226"/>
            </a:xfrm>
            <a:prstGeom prst="rect">
              <a:avLst/>
            </a:prstGeom>
            <a:noFill/>
          </p:spPr>
          <p:txBody>
            <a:bodyPr wrap="square" lIns="0" tIns="0" rIns="0" bIns="0" rtlCol="0">
              <a:spAutoFit/>
            </a:bodyPr>
            <a:lstStyle/>
            <a:p>
              <a:pPr algn="ctr"/>
              <a:r>
                <a:rPr lang="en-US" sz="1122" b="1" dirty="0">
                  <a:latin typeface="Segoe UI Light" pitchFamily="34" charset="0"/>
                </a:rPr>
                <a:t>Remote Desktop Web Access</a:t>
              </a:r>
            </a:p>
          </p:txBody>
        </p:sp>
        <p:grpSp>
          <p:nvGrpSpPr>
            <p:cNvPr id="69" name="Group 68"/>
            <p:cNvGrpSpPr/>
            <p:nvPr/>
          </p:nvGrpSpPr>
          <p:grpSpPr>
            <a:xfrm>
              <a:off x="5752334" y="1754691"/>
              <a:ext cx="686041" cy="902727"/>
              <a:chOff x="5752334" y="1754691"/>
              <a:chExt cx="686041" cy="902727"/>
            </a:xfrm>
          </p:grpSpPr>
          <p:sp>
            <p:nvSpPr>
              <p:cNvPr id="191" name="Freeform 30"/>
              <p:cNvSpPr>
                <a:spLocks noEditPoints="1"/>
              </p:cNvSpPr>
              <p:nvPr/>
            </p:nvSpPr>
            <p:spPr bwMode="auto">
              <a:xfrm>
                <a:off x="5966622" y="1754691"/>
                <a:ext cx="471753" cy="902727"/>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2" name="Freeform 31"/>
              <p:cNvSpPr>
                <a:spLocks/>
              </p:cNvSpPr>
              <p:nvPr/>
            </p:nvSpPr>
            <p:spPr bwMode="auto">
              <a:xfrm>
                <a:off x="5767526" y="1982572"/>
                <a:ext cx="515730" cy="379002"/>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3" name="Freeform 32"/>
              <p:cNvSpPr>
                <a:spLocks noEditPoints="1"/>
              </p:cNvSpPr>
              <p:nvPr/>
            </p:nvSpPr>
            <p:spPr bwMode="auto">
              <a:xfrm>
                <a:off x="5752334" y="1964181"/>
                <a:ext cx="557308" cy="47575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96" name="Group 589"/>
              <p:cNvGrpSpPr>
                <a:grpSpLocks noChangeAspect="1"/>
              </p:cNvGrpSpPr>
              <p:nvPr/>
            </p:nvGrpSpPr>
            <p:grpSpPr bwMode="auto">
              <a:xfrm>
                <a:off x="5897146" y="2015089"/>
                <a:ext cx="277404" cy="275679"/>
                <a:chOff x="3325" y="1774"/>
                <a:chExt cx="804" cy="799"/>
              </a:xfrm>
            </p:grpSpPr>
            <p:sp>
              <p:nvSpPr>
                <p:cNvPr id="100" name="Freeform 593"/>
                <p:cNvSpPr>
                  <a:spLocks/>
                </p:cNvSpPr>
                <p:nvPr/>
              </p:nvSpPr>
              <p:spPr bwMode="auto">
                <a:xfrm>
                  <a:off x="3325" y="1784"/>
                  <a:ext cx="779" cy="780"/>
                </a:xfrm>
                <a:custGeom>
                  <a:avLst/>
                  <a:gdLst>
                    <a:gd name="T0" fmla="*/ 1269 w 2335"/>
                    <a:gd name="T1" fmla="*/ 5 h 2338"/>
                    <a:gd name="T2" fmla="*/ 1462 w 2335"/>
                    <a:gd name="T3" fmla="*/ 39 h 2338"/>
                    <a:gd name="T4" fmla="*/ 1644 w 2335"/>
                    <a:gd name="T5" fmla="*/ 102 h 2338"/>
                    <a:gd name="T6" fmla="*/ 1811 w 2335"/>
                    <a:gd name="T7" fmla="*/ 194 h 2338"/>
                    <a:gd name="T8" fmla="*/ 1959 w 2335"/>
                    <a:gd name="T9" fmla="*/ 310 h 2338"/>
                    <a:gd name="T10" fmla="*/ 2086 w 2335"/>
                    <a:gd name="T11" fmla="*/ 448 h 2338"/>
                    <a:gd name="T12" fmla="*/ 2191 w 2335"/>
                    <a:gd name="T13" fmla="*/ 607 h 2338"/>
                    <a:gd name="T14" fmla="*/ 2270 w 2335"/>
                    <a:gd name="T15" fmla="*/ 782 h 2338"/>
                    <a:gd name="T16" fmla="*/ 2318 w 2335"/>
                    <a:gd name="T17" fmla="*/ 970 h 2338"/>
                    <a:gd name="T18" fmla="*/ 2335 w 2335"/>
                    <a:gd name="T19" fmla="*/ 1169 h 2338"/>
                    <a:gd name="T20" fmla="*/ 2318 w 2335"/>
                    <a:gd name="T21" fmla="*/ 1368 h 2338"/>
                    <a:gd name="T22" fmla="*/ 2270 w 2335"/>
                    <a:gd name="T23" fmla="*/ 1556 h 2338"/>
                    <a:gd name="T24" fmla="*/ 2191 w 2335"/>
                    <a:gd name="T25" fmla="*/ 1732 h 2338"/>
                    <a:gd name="T26" fmla="*/ 2086 w 2335"/>
                    <a:gd name="T27" fmla="*/ 1890 h 2338"/>
                    <a:gd name="T28" fmla="*/ 1959 w 2335"/>
                    <a:gd name="T29" fmla="*/ 2028 h 2338"/>
                    <a:gd name="T30" fmla="*/ 1811 w 2335"/>
                    <a:gd name="T31" fmla="*/ 2144 h 2338"/>
                    <a:gd name="T32" fmla="*/ 1644 w 2335"/>
                    <a:gd name="T33" fmla="*/ 2236 h 2338"/>
                    <a:gd name="T34" fmla="*/ 1462 w 2335"/>
                    <a:gd name="T35" fmla="*/ 2300 h 2338"/>
                    <a:gd name="T36" fmla="*/ 1269 w 2335"/>
                    <a:gd name="T37" fmla="*/ 2334 h 2338"/>
                    <a:gd name="T38" fmla="*/ 1067 w 2335"/>
                    <a:gd name="T39" fmla="*/ 2334 h 2338"/>
                    <a:gd name="T40" fmla="*/ 873 w 2335"/>
                    <a:gd name="T41" fmla="*/ 2300 h 2338"/>
                    <a:gd name="T42" fmla="*/ 692 w 2335"/>
                    <a:gd name="T43" fmla="*/ 2236 h 2338"/>
                    <a:gd name="T44" fmla="*/ 525 w 2335"/>
                    <a:gd name="T45" fmla="*/ 2144 h 2338"/>
                    <a:gd name="T46" fmla="*/ 377 w 2335"/>
                    <a:gd name="T47" fmla="*/ 2028 h 2338"/>
                    <a:gd name="T48" fmla="*/ 249 w 2335"/>
                    <a:gd name="T49" fmla="*/ 1890 h 2338"/>
                    <a:gd name="T50" fmla="*/ 144 w 2335"/>
                    <a:gd name="T51" fmla="*/ 1732 h 2338"/>
                    <a:gd name="T52" fmla="*/ 67 w 2335"/>
                    <a:gd name="T53" fmla="*/ 1556 h 2338"/>
                    <a:gd name="T54" fmla="*/ 17 w 2335"/>
                    <a:gd name="T55" fmla="*/ 1368 h 2338"/>
                    <a:gd name="T56" fmla="*/ 0 w 2335"/>
                    <a:gd name="T57" fmla="*/ 1169 h 2338"/>
                    <a:gd name="T58" fmla="*/ 17 w 2335"/>
                    <a:gd name="T59" fmla="*/ 970 h 2338"/>
                    <a:gd name="T60" fmla="*/ 67 w 2335"/>
                    <a:gd name="T61" fmla="*/ 782 h 2338"/>
                    <a:gd name="T62" fmla="*/ 144 w 2335"/>
                    <a:gd name="T63" fmla="*/ 607 h 2338"/>
                    <a:gd name="T64" fmla="*/ 249 w 2335"/>
                    <a:gd name="T65" fmla="*/ 448 h 2338"/>
                    <a:gd name="T66" fmla="*/ 377 w 2335"/>
                    <a:gd name="T67" fmla="*/ 310 h 2338"/>
                    <a:gd name="T68" fmla="*/ 525 w 2335"/>
                    <a:gd name="T69" fmla="*/ 194 h 2338"/>
                    <a:gd name="T70" fmla="*/ 692 w 2335"/>
                    <a:gd name="T71" fmla="*/ 102 h 2338"/>
                    <a:gd name="T72" fmla="*/ 873 w 2335"/>
                    <a:gd name="T73" fmla="*/ 39 h 2338"/>
                    <a:gd name="T74" fmla="*/ 1067 w 2335"/>
                    <a:gd name="T75" fmla="*/ 5 h 2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35" h="2338">
                      <a:moveTo>
                        <a:pt x="1167" y="0"/>
                      </a:moveTo>
                      <a:lnTo>
                        <a:pt x="1269" y="5"/>
                      </a:lnTo>
                      <a:lnTo>
                        <a:pt x="1366" y="17"/>
                      </a:lnTo>
                      <a:lnTo>
                        <a:pt x="1462" y="39"/>
                      </a:lnTo>
                      <a:lnTo>
                        <a:pt x="1554" y="67"/>
                      </a:lnTo>
                      <a:lnTo>
                        <a:pt x="1644" y="102"/>
                      </a:lnTo>
                      <a:lnTo>
                        <a:pt x="1729" y="145"/>
                      </a:lnTo>
                      <a:lnTo>
                        <a:pt x="1811" y="194"/>
                      </a:lnTo>
                      <a:lnTo>
                        <a:pt x="1887" y="249"/>
                      </a:lnTo>
                      <a:lnTo>
                        <a:pt x="1959" y="310"/>
                      </a:lnTo>
                      <a:lnTo>
                        <a:pt x="2025" y="376"/>
                      </a:lnTo>
                      <a:lnTo>
                        <a:pt x="2086" y="448"/>
                      </a:lnTo>
                      <a:lnTo>
                        <a:pt x="2143" y="526"/>
                      </a:lnTo>
                      <a:lnTo>
                        <a:pt x="2191" y="607"/>
                      </a:lnTo>
                      <a:lnTo>
                        <a:pt x="2233" y="691"/>
                      </a:lnTo>
                      <a:lnTo>
                        <a:pt x="2270" y="782"/>
                      </a:lnTo>
                      <a:lnTo>
                        <a:pt x="2298" y="874"/>
                      </a:lnTo>
                      <a:lnTo>
                        <a:pt x="2318" y="970"/>
                      </a:lnTo>
                      <a:lnTo>
                        <a:pt x="2330" y="1069"/>
                      </a:lnTo>
                      <a:lnTo>
                        <a:pt x="2335" y="1169"/>
                      </a:lnTo>
                      <a:lnTo>
                        <a:pt x="2330" y="1269"/>
                      </a:lnTo>
                      <a:lnTo>
                        <a:pt x="2318" y="1368"/>
                      </a:lnTo>
                      <a:lnTo>
                        <a:pt x="2298" y="1464"/>
                      </a:lnTo>
                      <a:lnTo>
                        <a:pt x="2270" y="1556"/>
                      </a:lnTo>
                      <a:lnTo>
                        <a:pt x="2233" y="1645"/>
                      </a:lnTo>
                      <a:lnTo>
                        <a:pt x="2191" y="1732"/>
                      </a:lnTo>
                      <a:lnTo>
                        <a:pt x="2143" y="1812"/>
                      </a:lnTo>
                      <a:lnTo>
                        <a:pt x="2086" y="1890"/>
                      </a:lnTo>
                      <a:lnTo>
                        <a:pt x="2025" y="1960"/>
                      </a:lnTo>
                      <a:lnTo>
                        <a:pt x="1959" y="2028"/>
                      </a:lnTo>
                      <a:lnTo>
                        <a:pt x="1887" y="2089"/>
                      </a:lnTo>
                      <a:lnTo>
                        <a:pt x="1811" y="2144"/>
                      </a:lnTo>
                      <a:lnTo>
                        <a:pt x="1729" y="2194"/>
                      </a:lnTo>
                      <a:lnTo>
                        <a:pt x="1644" y="2236"/>
                      </a:lnTo>
                      <a:lnTo>
                        <a:pt x="1554" y="2271"/>
                      </a:lnTo>
                      <a:lnTo>
                        <a:pt x="1462" y="2300"/>
                      </a:lnTo>
                      <a:lnTo>
                        <a:pt x="1366" y="2321"/>
                      </a:lnTo>
                      <a:lnTo>
                        <a:pt x="1269" y="2334"/>
                      </a:lnTo>
                      <a:lnTo>
                        <a:pt x="1167" y="2338"/>
                      </a:lnTo>
                      <a:lnTo>
                        <a:pt x="1067" y="2334"/>
                      </a:lnTo>
                      <a:lnTo>
                        <a:pt x="968" y="2321"/>
                      </a:lnTo>
                      <a:lnTo>
                        <a:pt x="873" y="2300"/>
                      </a:lnTo>
                      <a:lnTo>
                        <a:pt x="781" y="2271"/>
                      </a:lnTo>
                      <a:lnTo>
                        <a:pt x="692" y="2236"/>
                      </a:lnTo>
                      <a:lnTo>
                        <a:pt x="606" y="2194"/>
                      </a:lnTo>
                      <a:lnTo>
                        <a:pt x="525" y="2144"/>
                      </a:lnTo>
                      <a:lnTo>
                        <a:pt x="449" y="2089"/>
                      </a:lnTo>
                      <a:lnTo>
                        <a:pt x="377" y="2028"/>
                      </a:lnTo>
                      <a:lnTo>
                        <a:pt x="309" y="1960"/>
                      </a:lnTo>
                      <a:lnTo>
                        <a:pt x="249" y="1890"/>
                      </a:lnTo>
                      <a:lnTo>
                        <a:pt x="194" y="1812"/>
                      </a:lnTo>
                      <a:lnTo>
                        <a:pt x="144" y="1732"/>
                      </a:lnTo>
                      <a:lnTo>
                        <a:pt x="102" y="1645"/>
                      </a:lnTo>
                      <a:lnTo>
                        <a:pt x="67" y="1556"/>
                      </a:lnTo>
                      <a:lnTo>
                        <a:pt x="39" y="1464"/>
                      </a:lnTo>
                      <a:lnTo>
                        <a:pt x="17" y="1368"/>
                      </a:lnTo>
                      <a:lnTo>
                        <a:pt x="5" y="1269"/>
                      </a:lnTo>
                      <a:lnTo>
                        <a:pt x="0" y="1169"/>
                      </a:lnTo>
                      <a:lnTo>
                        <a:pt x="5" y="1069"/>
                      </a:lnTo>
                      <a:lnTo>
                        <a:pt x="17" y="970"/>
                      </a:lnTo>
                      <a:lnTo>
                        <a:pt x="39" y="874"/>
                      </a:lnTo>
                      <a:lnTo>
                        <a:pt x="67" y="782"/>
                      </a:lnTo>
                      <a:lnTo>
                        <a:pt x="102" y="691"/>
                      </a:lnTo>
                      <a:lnTo>
                        <a:pt x="144" y="607"/>
                      </a:lnTo>
                      <a:lnTo>
                        <a:pt x="194" y="526"/>
                      </a:lnTo>
                      <a:lnTo>
                        <a:pt x="249" y="448"/>
                      </a:lnTo>
                      <a:lnTo>
                        <a:pt x="309" y="376"/>
                      </a:lnTo>
                      <a:lnTo>
                        <a:pt x="377" y="310"/>
                      </a:lnTo>
                      <a:lnTo>
                        <a:pt x="449" y="249"/>
                      </a:lnTo>
                      <a:lnTo>
                        <a:pt x="525" y="194"/>
                      </a:lnTo>
                      <a:lnTo>
                        <a:pt x="606" y="145"/>
                      </a:lnTo>
                      <a:lnTo>
                        <a:pt x="692" y="102"/>
                      </a:lnTo>
                      <a:lnTo>
                        <a:pt x="781" y="67"/>
                      </a:lnTo>
                      <a:lnTo>
                        <a:pt x="873" y="39"/>
                      </a:lnTo>
                      <a:lnTo>
                        <a:pt x="968" y="17"/>
                      </a:lnTo>
                      <a:lnTo>
                        <a:pt x="1067" y="5"/>
                      </a:lnTo>
                      <a:lnTo>
                        <a:pt x="116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1" name="Line 594"/>
                <p:cNvSpPr>
                  <a:spLocks noChangeShapeType="1"/>
                </p:cNvSpPr>
                <p:nvPr/>
              </p:nvSpPr>
              <p:spPr bwMode="auto">
                <a:xfrm flipH="1">
                  <a:off x="4102" y="2174"/>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8" name="Line 595"/>
                <p:cNvSpPr>
                  <a:spLocks noChangeShapeType="1"/>
                </p:cNvSpPr>
                <p:nvPr/>
              </p:nvSpPr>
              <p:spPr bwMode="auto">
                <a:xfrm flipH="1">
                  <a:off x="4098" y="2207"/>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3" name="Line 596"/>
                <p:cNvSpPr>
                  <a:spLocks noChangeShapeType="1"/>
                </p:cNvSpPr>
                <p:nvPr/>
              </p:nvSpPr>
              <p:spPr bwMode="auto">
                <a:xfrm flipH="1">
                  <a:off x="4091" y="2240"/>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4" name="Line 597"/>
                <p:cNvSpPr>
                  <a:spLocks noChangeShapeType="1"/>
                </p:cNvSpPr>
                <p:nvPr/>
              </p:nvSpPr>
              <p:spPr bwMode="auto">
                <a:xfrm flipH="1">
                  <a:off x="4082" y="2272"/>
                  <a:ext cx="9"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5" name="Line 598"/>
                <p:cNvSpPr>
                  <a:spLocks noChangeShapeType="1"/>
                </p:cNvSpPr>
                <p:nvPr/>
              </p:nvSpPr>
              <p:spPr bwMode="auto">
                <a:xfrm flipH="1">
                  <a:off x="4070" y="2303"/>
                  <a:ext cx="12"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6" name="Line 599"/>
                <p:cNvSpPr>
                  <a:spLocks noChangeShapeType="1"/>
                </p:cNvSpPr>
                <p:nvPr/>
              </p:nvSpPr>
              <p:spPr bwMode="auto">
                <a:xfrm flipH="1">
                  <a:off x="4056" y="2333"/>
                  <a:ext cx="14" cy="29"/>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7" name="Line 600"/>
                <p:cNvSpPr>
                  <a:spLocks noChangeShapeType="1"/>
                </p:cNvSpPr>
                <p:nvPr/>
              </p:nvSpPr>
              <p:spPr bwMode="auto">
                <a:xfrm flipH="1">
                  <a:off x="4040" y="2362"/>
                  <a:ext cx="16"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8" name="Line 601"/>
                <p:cNvSpPr>
                  <a:spLocks noChangeShapeType="1"/>
                </p:cNvSpPr>
                <p:nvPr/>
              </p:nvSpPr>
              <p:spPr bwMode="auto">
                <a:xfrm flipH="1">
                  <a:off x="4021" y="2388"/>
                  <a:ext cx="19"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9" name="Line 602"/>
                <p:cNvSpPr>
                  <a:spLocks noChangeShapeType="1"/>
                </p:cNvSpPr>
                <p:nvPr/>
              </p:nvSpPr>
              <p:spPr bwMode="auto">
                <a:xfrm flipH="1">
                  <a:off x="4000" y="2414"/>
                  <a:ext cx="21"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0" name="Line 603"/>
                <p:cNvSpPr>
                  <a:spLocks noChangeShapeType="1"/>
                </p:cNvSpPr>
                <p:nvPr/>
              </p:nvSpPr>
              <p:spPr bwMode="auto">
                <a:xfrm flipH="1">
                  <a:off x="3978" y="2438"/>
                  <a:ext cx="22"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1" name="Line 604"/>
                <p:cNvSpPr>
                  <a:spLocks noChangeShapeType="1"/>
                </p:cNvSpPr>
                <p:nvPr/>
              </p:nvSpPr>
              <p:spPr bwMode="auto">
                <a:xfrm flipH="1">
                  <a:off x="3954" y="2460"/>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2" name="Line 605"/>
                <p:cNvSpPr>
                  <a:spLocks noChangeShapeType="1"/>
                </p:cNvSpPr>
                <p:nvPr/>
              </p:nvSpPr>
              <p:spPr bwMode="auto">
                <a:xfrm flipH="1">
                  <a:off x="3929" y="2481"/>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3" name="Line 606"/>
                <p:cNvSpPr>
                  <a:spLocks noChangeShapeType="1"/>
                </p:cNvSpPr>
                <p:nvPr/>
              </p:nvSpPr>
              <p:spPr bwMode="auto">
                <a:xfrm flipH="1">
                  <a:off x="3902" y="2499"/>
                  <a:ext cx="27" cy="1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4" name="Line 607"/>
                <p:cNvSpPr>
                  <a:spLocks noChangeShapeType="1"/>
                </p:cNvSpPr>
                <p:nvPr/>
              </p:nvSpPr>
              <p:spPr bwMode="auto">
                <a:xfrm flipH="1">
                  <a:off x="3873" y="2516"/>
                  <a:ext cx="29" cy="1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5" name="Line 608"/>
                <p:cNvSpPr>
                  <a:spLocks noChangeShapeType="1"/>
                </p:cNvSpPr>
                <p:nvPr/>
              </p:nvSpPr>
              <p:spPr bwMode="auto">
                <a:xfrm flipH="1">
                  <a:off x="3843" y="2530"/>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6" name="Line 609"/>
                <p:cNvSpPr>
                  <a:spLocks noChangeShapeType="1"/>
                </p:cNvSpPr>
                <p:nvPr/>
              </p:nvSpPr>
              <p:spPr bwMode="auto">
                <a:xfrm flipH="1">
                  <a:off x="3813" y="2541"/>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8" name="Line 610"/>
                <p:cNvSpPr>
                  <a:spLocks noChangeShapeType="1"/>
                </p:cNvSpPr>
                <p:nvPr/>
              </p:nvSpPr>
              <p:spPr bwMode="auto">
                <a:xfrm flipH="1">
                  <a:off x="3781" y="2551"/>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9" name="Line 611"/>
                <p:cNvSpPr>
                  <a:spLocks noChangeShapeType="1"/>
                </p:cNvSpPr>
                <p:nvPr/>
              </p:nvSpPr>
              <p:spPr bwMode="auto">
                <a:xfrm flipH="1">
                  <a:off x="3748" y="2558"/>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0" name="Line 612"/>
                <p:cNvSpPr>
                  <a:spLocks noChangeShapeType="1"/>
                </p:cNvSpPr>
                <p:nvPr/>
              </p:nvSpPr>
              <p:spPr bwMode="auto">
                <a:xfrm flipH="1">
                  <a:off x="3714" y="2562"/>
                  <a:ext cx="34"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1" name="Line 613"/>
                <p:cNvSpPr>
                  <a:spLocks noChangeShapeType="1"/>
                </p:cNvSpPr>
                <p:nvPr/>
              </p:nvSpPr>
              <p:spPr bwMode="auto">
                <a:xfrm flipH="1" flipV="1">
                  <a:off x="3681" y="2562"/>
                  <a:ext cx="33"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2" name="Line 614"/>
                <p:cNvSpPr>
                  <a:spLocks noChangeShapeType="1"/>
                </p:cNvSpPr>
                <p:nvPr/>
              </p:nvSpPr>
              <p:spPr bwMode="auto">
                <a:xfrm flipH="1" flipV="1">
                  <a:off x="3648" y="2558"/>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3" name="Line 615"/>
                <p:cNvSpPr>
                  <a:spLocks noChangeShapeType="1"/>
                </p:cNvSpPr>
                <p:nvPr/>
              </p:nvSpPr>
              <p:spPr bwMode="auto">
                <a:xfrm flipH="1" flipV="1">
                  <a:off x="3616" y="2551"/>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4" name="Line 616"/>
                <p:cNvSpPr>
                  <a:spLocks noChangeShapeType="1"/>
                </p:cNvSpPr>
                <p:nvPr/>
              </p:nvSpPr>
              <p:spPr bwMode="auto">
                <a:xfrm flipH="1" flipV="1">
                  <a:off x="3586" y="2541"/>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5" name="Line 617"/>
                <p:cNvSpPr>
                  <a:spLocks noChangeShapeType="1"/>
                </p:cNvSpPr>
                <p:nvPr/>
              </p:nvSpPr>
              <p:spPr bwMode="auto">
                <a:xfrm flipH="1" flipV="1">
                  <a:off x="3556" y="2530"/>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6" name="Line 618"/>
                <p:cNvSpPr>
                  <a:spLocks noChangeShapeType="1"/>
                </p:cNvSpPr>
                <p:nvPr/>
              </p:nvSpPr>
              <p:spPr bwMode="auto">
                <a:xfrm flipH="1" flipV="1">
                  <a:off x="3527" y="2516"/>
                  <a:ext cx="29" cy="1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7" name="Line 619"/>
                <p:cNvSpPr>
                  <a:spLocks noChangeShapeType="1"/>
                </p:cNvSpPr>
                <p:nvPr/>
              </p:nvSpPr>
              <p:spPr bwMode="auto">
                <a:xfrm flipH="1" flipV="1">
                  <a:off x="3500" y="2499"/>
                  <a:ext cx="27" cy="1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8" name="Line 620"/>
                <p:cNvSpPr>
                  <a:spLocks noChangeShapeType="1"/>
                </p:cNvSpPr>
                <p:nvPr/>
              </p:nvSpPr>
              <p:spPr bwMode="auto">
                <a:xfrm flipH="1" flipV="1">
                  <a:off x="3475" y="2481"/>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9" name="Line 621"/>
                <p:cNvSpPr>
                  <a:spLocks noChangeShapeType="1"/>
                </p:cNvSpPr>
                <p:nvPr/>
              </p:nvSpPr>
              <p:spPr bwMode="auto">
                <a:xfrm flipH="1" flipV="1">
                  <a:off x="3451" y="2460"/>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0" name="Line 622"/>
                <p:cNvSpPr>
                  <a:spLocks noChangeShapeType="1"/>
                </p:cNvSpPr>
                <p:nvPr/>
              </p:nvSpPr>
              <p:spPr bwMode="auto">
                <a:xfrm flipH="1" flipV="1">
                  <a:off x="3428" y="2438"/>
                  <a:ext cx="23"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1" name="Line 623"/>
                <p:cNvSpPr>
                  <a:spLocks noChangeShapeType="1"/>
                </p:cNvSpPr>
                <p:nvPr/>
              </p:nvSpPr>
              <p:spPr bwMode="auto">
                <a:xfrm flipH="1" flipV="1">
                  <a:off x="3408" y="2414"/>
                  <a:ext cx="20"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2" name="Line 624"/>
                <p:cNvSpPr>
                  <a:spLocks noChangeShapeType="1"/>
                </p:cNvSpPr>
                <p:nvPr/>
              </p:nvSpPr>
              <p:spPr bwMode="auto">
                <a:xfrm flipH="1" flipV="1">
                  <a:off x="3390" y="2388"/>
                  <a:ext cx="18"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3" name="Line 625"/>
                <p:cNvSpPr>
                  <a:spLocks noChangeShapeType="1"/>
                </p:cNvSpPr>
                <p:nvPr/>
              </p:nvSpPr>
              <p:spPr bwMode="auto">
                <a:xfrm flipH="1" flipV="1">
                  <a:off x="3373" y="2362"/>
                  <a:ext cx="17"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4" name="Line 626"/>
                <p:cNvSpPr>
                  <a:spLocks noChangeShapeType="1"/>
                </p:cNvSpPr>
                <p:nvPr/>
              </p:nvSpPr>
              <p:spPr bwMode="auto">
                <a:xfrm flipH="1" flipV="1">
                  <a:off x="3359" y="2333"/>
                  <a:ext cx="14" cy="29"/>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5" name="Line 627"/>
                <p:cNvSpPr>
                  <a:spLocks noChangeShapeType="1"/>
                </p:cNvSpPr>
                <p:nvPr/>
              </p:nvSpPr>
              <p:spPr bwMode="auto">
                <a:xfrm flipH="1" flipV="1">
                  <a:off x="3348" y="2303"/>
                  <a:ext cx="11"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6" name="Line 628"/>
                <p:cNvSpPr>
                  <a:spLocks noChangeShapeType="1"/>
                </p:cNvSpPr>
                <p:nvPr/>
              </p:nvSpPr>
              <p:spPr bwMode="auto">
                <a:xfrm flipH="1" flipV="1">
                  <a:off x="3338" y="2272"/>
                  <a:ext cx="10"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7" name="Line 629"/>
                <p:cNvSpPr>
                  <a:spLocks noChangeShapeType="1"/>
                </p:cNvSpPr>
                <p:nvPr/>
              </p:nvSpPr>
              <p:spPr bwMode="auto">
                <a:xfrm flipH="1" flipV="1">
                  <a:off x="3331" y="2240"/>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8" name="Line 630"/>
                <p:cNvSpPr>
                  <a:spLocks noChangeShapeType="1"/>
                </p:cNvSpPr>
                <p:nvPr/>
              </p:nvSpPr>
              <p:spPr bwMode="auto">
                <a:xfrm flipH="1" flipV="1">
                  <a:off x="3327" y="2207"/>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9" name="Line 631"/>
                <p:cNvSpPr>
                  <a:spLocks noChangeShapeType="1"/>
                </p:cNvSpPr>
                <p:nvPr/>
              </p:nvSpPr>
              <p:spPr bwMode="auto">
                <a:xfrm flipH="1" flipV="1">
                  <a:off x="3325" y="2174"/>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0" name="Line 632"/>
                <p:cNvSpPr>
                  <a:spLocks noChangeShapeType="1"/>
                </p:cNvSpPr>
                <p:nvPr/>
              </p:nvSpPr>
              <p:spPr bwMode="auto">
                <a:xfrm flipV="1">
                  <a:off x="3325" y="2141"/>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1" name="Line 633"/>
                <p:cNvSpPr>
                  <a:spLocks noChangeShapeType="1"/>
                </p:cNvSpPr>
                <p:nvPr/>
              </p:nvSpPr>
              <p:spPr bwMode="auto">
                <a:xfrm flipV="1">
                  <a:off x="3327" y="2108"/>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2" name="Line 634"/>
                <p:cNvSpPr>
                  <a:spLocks noChangeShapeType="1"/>
                </p:cNvSpPr>
                <p:nvPr/>
              </p:nvSpPr>
              <p:spPr bwMode="auto">
                <a:xfrm flipV="1">
                  <a:off x="3331" y="2076"/>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3" name="Line 635"/>
                <p:cNvSpPr>
                  <a:spLocks noChangeShapeType="1"/>
                </p:cNvSpPr>
                <p:nvPr/>
              </p:nvSpPr>
              <p:spPr bwMode="auto">
                <a:xfrm flipV="1">
                  <a:off x="3338" y="2045"/>
                  <a:ext cx="10"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4" name="Line 636"/>
                <p:cNvSpPr>
                  <a:spLocks noChangeShapeType="1"/>
                </p:cNvSpPr>
                <p:nvPr/>
              </p:nvSpPr>
              <p:spPr bwMode="auto">
                <a:xfrm flipV="1">
                  <a:off x="3348" y="2015"/>
                  <a:ext cx="11"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5" name="Line 637"/>
                <p:cNvSpPr>
                  <a:spLocks noChangeShapeType="1"/>
                </p:cNvSpPr>
                <p:nvPr/>
              </p:nvSpPr>
              <p:spPr bwMode="auto">
                <a:xfrm flipV="1">
                  <a:off x="3359" y="1987"/>
                  <a:ext cx="14" cy="2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6" name="Line 638"/>
                <p:cNvSpPr>
                  <a:spLocks noChangeShapeType="1"/>
                </p:cNvSpPr>
                <p:nvPr/>
              </p:nvSpPr>
              <p:spPr bwMode="auto">
                <a:xfrm flipV="1">
                  <a:off x="3373" y="1960"/>
                  <a:ext cx="17" cy="2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7" name="Line 639"/>
                <p:cNvSpPr>
                  <a:spLocks noChangeShapeType="1"/>
                </p:cNvSpPr>
                <p:nvPr/>
              </p:nvSpPr>
              <p:spPr bwMode="auto">
                <a:xfrm flipV="1">
                  <a:off x="3390" y="1934"/>
                  <a:ext cx="18"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8" name="Line 640"/>
                <p:cNvSpPr>
                  <a:spLocks noChangeShapeType="1"/>
                </p:cNvSpPr>
                <p:nvPr/>
              </p:nvSpPr>
              <p:spPr bwMode="auto">
                <a:xfrm flipV="1">
                  <a:off x="3408" y="1910"/>
                  <a:ext cx="20"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9" name="Line 641"/>
                <p:cNvSpPr>
                  <a:spLocks noChangeShapeType="1"/>
                </p:cNvSpPr>
                <p:nvPr/>
              </p:nvSpPr>
              <p:spPr bwMode="auto">
                <a:xfrm flipV="1">
                  <a:off x="3428" y="1888"/>
                  <a:ext cx="23"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0" name="Line 642"/>
                <p:cNvSpPr>
                  <a:spLocks noChangeShapeType="1"/>
                </p:cNvSpPr>
                <p:nvPr/>
              </p:nvSpPr>
              <p:spPr bwMode="auto">
                <a:xfrm flipV="1">
                  <a:off x="3451" y="1867"/>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1" name="Line 643"/>
                <p:cNvSpPr>
                  <a:spLocks noChangeShapeType="1"/>
                </p:cNvSpPr>
                <p:nvPr/>
              </p:nvSpPr>
              <p:spPr bwMode="auto">
                <a:xfrm flipV="1">
                  <a:off x="3475" y="1849"/>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2" name="Line 644"/>
                <p:cNvSpPr>
                  <a:spLocks noChangeShapeType="1"/>
                </p:cNvSpPr>
                <p:nvPr/>
              </p:nvSpPr>
              <p:spPr bwMode="auto">
                <a:xfrm flipV="1">
                  <a:off x="3500" y="1833"/>
                  <a:ext cx="27" cy="1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3" name="Line 645"/>
                <p:cNvSpPr>
                  <a:spLocks noChangeShapeType="1"/>
                </p:cNvSpPr>
                <p:nvPr/>
              </p:nvSpPr>
              <p:spPr bwMode="auto">
                <a:xfrm flipV="1">
                  <a:off x="3527" y="1818"/>
                  <a:ext cx="29" cy="15"/>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4" name="Line 646"/>
                <p:cNvSpPr>
                  <a:spLocks noChangeShapeType="1"/>
                </p:cNvSpPr>
                <p:nvPr/>
              </p:nvSpPr>
              <p:spPr bwMode="auto">
                <a:xfrm flipV="1">
                  <a:off x="3556" y="1807"/>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5" name="Line 647"/>
                <p:cNvSpPr>
                  <a:spLocks noChangeShapeType="1"/>
                </p:cNvSpPr>
                <p:nvPr/>
              </p:nvSpPr>
              <p:spPr bwMode="auto">
                <a:xfrm flipV="1">
                  <a:off x="3586" y="1797"/>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6" name="Line 648"/>
                <p:cNvSpPr>
                  <a:spLocks noChangeShapeType="1"/>
                </p:cNvSpPr>
                <p:nvPr/>
              </p:nvSpPr>
              <p:spPr bwMode="auto">
                <a:xfrm flipV="1">
                  <a:off x="3616" y="1790"/>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7" name="Line 649"/>
                <p:cNvSpPr>
                  <a:spLocks noChangeShapeType="1"/>
                </p:cNvSpPr>
                <p:nvPr/>
              </p:nvSpPr>
              <p:spPr bwMode="auto">
                <a:xfrm flipV="1">
                  <a:off x="3648" y="1786"/>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8" name="Line 650"/>
                <p:cNvSpPr>
                  <a:spLocks noChangeShapeType="1"/>
                </p:cNvSpPr>
                <p:nvPr/>
              </p:nvSpPr>
              <p:spPr bwMode="auto">
                <a:xfrm flipV="1">
                  <a:off x="3681" y="1784"/>
                  <a:ext cx="33"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9" name="Line 651"/>
                <p:cNvSpPr>
                  <a:spLocks noChangeShapeType="1"/>
                </p:cNvSpPr>
                <p:nvPr/>
              </p:nvSpPr>
              <p:spPr bwMode="auto">
                <a:xfrm>
                  <a:off x="3714" y="1784"/>
                  <a:ext cx="34"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0" name="Line 652"/>
                <p:cNvSpPr>
                  <a:spLocks noChangeShapeType="1"/>
                </p:cNvSpPr>
                <p:nvPr/>
              </p:nvSpPr>
              <p:spPr bwMode="auto">
                <a:xfrm>
                  <a:off x="3748" y="1786"/>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1" name="Line 653"/>
                <p:cNvSpPr>
                  <a:spLocks noChangeShapeType="1"/>
                </p:cNvSpPr>
                <p:nvPr/>
              </p:nvSpPr>
              <p:spPr bwMode="auto">
                <a:xfrm>
                  <a:off x="3781" y="1790"/>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2" name="Line 654"/>
                <p:cNvSpPr>
                  <a:spLocks noChangeShapeType="1"/>
                </p:cNvSpPr>
                <p:nvPr/>
              </p:nvSpPr>
              <p:spPr bwMode="auto">
                <a:xfrm>
                  <a:off x="3813" y="1797"/>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3" name="Line 655"/>
                <p:cNvSpPr>
                  <a:spLocks noChangeShapeType="1"/>
                </p:cNvSpPr>
                <p:nvPr/>
              </p:nvSpPr>
              <p:spPr bwMode="auto">
                <a:xfrm>
                  <a:off x="3843" y="1807"/>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4" name="Line 656"/>
                <p:cNvSpPr>
                  <a:spLocks noChangeShapeType="1"/>
                </p:cNvSpPr>
                <p:nvPr/>
              </p:nvSpPr>
              <p:spPr bwMode="auto">
                <a:xfrm>
                  <a:off x="3873" y="1818"/>
                  <a:ext cx="29" cy="15"/>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5" name="Line 657"/>
                <p:cNvSpPr>
                  <a:spLocks noChangeShapeType="1"/>
                </p:cNvSpPr>
                <p:nvPr/>
              </p:nvSpPr>
              <p:spPr bwMode="auto">
                <a:xfrm>
                  <a:off x="3902" y="1833"/>
                  <a:ext cx="27" cy="1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6" name="Line 658"/>
                <p:cNvSpPr>
                  <a:spLocks noChangeShapeType="1"/>
                </p:cNvSpPr>
                <p:nvPr/>
              </p:nvSpPr>
              <p:spPr bwMode="auto">
                <a:xfrm>
                  <a:off x="3929" y="1849"/>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7" name="Line 659"/>
                <p:cNvSpPr>
                  <a:spLocks noChangeShapeType="1"/>
                </p:cNvSpPr>
                <p:nvPr/>
              </p:nvSpPr>
              <p:spPr bwMode="auto">
                <a:xfrm>
                  <a:off x="3954" y="1867"/>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8" name="Line 660"/>
                <p:cNvSpPr>
                  <a:spLocks noChangeShapeType="1"/>
                </p:cNvSpPr>
                <p:nvPr/>
              </p:nvSpPr>
              <p:spPr bwMode="auto">
                <a:xfrm>
                  <a:off x="3978" y="1888"/>
                  <a:ext cx="22"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9" name="Line 661"/>
                <p:cNvSpPr>
                  <a:spLocks noChangeShapeType="1"/>
                </p:cNvSpPr>
                <p:nvPr/>
              </p:nvSpPr>
              <p:spPr bwMode="auto">
                <a:xfrm>
                  <a:off x="4000" y="1910"/>
                  <a:ext cx="21"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0" name="Line 662"/>
                <p:cNvSpPr>
                  <a:spLocks noChangeShapeType="1"/>
                </p:cNvSpPr>
                <p:nvPr/>
              </p:nvSpPr>
              <p:spPr bwMode="auto">
                <a:xfrm>
                  <a:off x="4021" y="1934"/>
                  <a:ext cx="19"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1" name="Line 663"/>
                <p:cNvSpPr>
                  <a:spLocks noChangeShapeType="1"/>
                </p:cNvSpPr>
                <p:nvPr/>
              </p:nvSpPr>
              <p:spPr bwMode="auto">
                <a:xfrm>
                  <a:off x="4040" y="1960"/>
                  <a:ext cx="16" cy="2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2" name="Line 664"/>
                <p:cNvSpPr>
                  <a:spLocks noChangeShapeType="1"/>
                </p:cNvSpPr>
                <p:nvPr/>
              </p:nvSpPr>
              <p:spPr bwMode="auto">
                <a:xfrm>
                  <a:off x="4056" y="1987"/>
                  <a:ext cx="14" cy="2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3" name="Line 665"/>
                <p:cNvSpPr>
                  <a:spLocks noChangeShapeType="1"/>
                </p:cNvSpPr>
                <p:nvPr/>
              </p:nvSpPr>
              <p:spPr bwMode="auto">
                <a:xfrm>
                  <a:off x="4070" y="2015"/>
                  <a:ext cx="12"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4" name="Line 666"/>
                <p:cNvSpPr>
                  <a:spLocks noChangeShapeType="1"/>
                </p:cNvSpPr>
                <p:nvPr/>
              </p:nvSpPr>
              <p:spPr bwMode="auto">
                <a:xfrm>
                  <a:off x="4082" y="2045"/>
                  <a:ext cx="9"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5" name="Line 667"/>
                <p:cNvSpPr>
                  <a:spLocks noChangeShapeType="1"/>
                </p:cNvSpPr>
                <p:nvPr/>
              </p:nvSpPr>
              <p:spPr bwMode="auto">
                <a:xfrm>
                  <a:off x="4091" y="2076"/>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6" name="Line 668"/>
                <p:cNvSpPr>
                  <a:spLocks noChangeShapeType="1"/>
                </p:cNvSpPr>
                <p:nvPr/>
              </p:nvSpPr>
              <p:spPr bwMode="auto">
                <a:xfrm>
                  <a:off x="4098" y="2108"/>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7" name="Line 669"/>
                <p:cNvSpPr>
                  <a:spLocks noChangeShapeType="1"/>
                </p:cNvSpPr>
                <p:nvPr/>
              </p:nvSpPr>
              <p:spPr bwMode="auto">
                <a:xfrm>
                  <a:off x="4102" y="2141"/>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8" name="Freeform 670"/>
                <p:cNvSpPr>
                  <a:spLocks noEditPoints="1"/>
                </p:cNvSpPr>
                <p:nvPr/>
              </p:nvSpPr>
              <p:spPr bwMode="auto">
                <a:xfrm>
                  <a:off x="3327" y="1774"/>
                  <a:ext cx="802" cy="799"/>
                </a:xfrm>
                <a:custGeom>
                  <a:avLst/>
                  <a:gdLst>
                    <a:gd name="T0" fmla="*/ 1400 w 2406"/>
                    <a:gd name="T1" fmla="*/ 1574 h 2398"/>
                    <a:gd name="T2" fmla="*/ 1366 w 2406"/>
                    <a:gd name="T3" fmla="*/ 1683 h 2398"/>
                    <a:gd name="T4" fmla="*/ 968 w 2406"/>
                    <a:gd name="T5" fmla="*/ 1607 h 2398"/>
                    <a:gd name="T6" fmla="*/ 1744 w 2406"/>
                    <a:gd name="T7" fmla="*/ 1472 h 2398"/>
                    <a:gd name="T8" fmla="*/ 1788 w 2406"/>
                    <a:gd name="T9" fmla="*/ 1655 h 2398"/>
                    <a:gd name="T10" fmla="*/ 1622 w 2406"/>
                    <a:gd name="T11" fmla="*/ 1737 h 2398"/>
                    <a:gd name="T12" fmla="*/ 1508 w 2406"/>
                    <a:gd name="T13" fmla="*/ 1622 h 2398"/>
                    <a:gd name="T14" fmla="*/ 1587 w 2406"/>
                    <a:gd name="T15" fmla="*/ 1461 h 2398"/>
                    <a:gd name="T16" fmla="*/ 804 w 2406"/>
                    <a:gd name="T17" fmla="*/ 1457 h 2398"/>
                    <a:gd name="T18" fmla="*/ 849 w 2406"/>
                    <a:gd name="T19" fmla="*/ 1638 h 2398"/>
                    <a:gd name="T20" fmla="*/ 692 w 2406"/>
                    <a:gd name="T21" fmla="*/ 1721 h 2398"/>
                    <a:gd name="T22" fmla="*/ 573 w 2406"/>
                    <a:gd name="T23" fmla="*/ 1612 h 2398"/>
                    <a:gd name="T24" fmla="*/ 649 w 2406"/>
                    <a:gd name="T25" fmla="*/ 1444 h 2398"/>
                    <a:gd name="T26" fmla="*/ 1615 w 2406"/>
                    <a:gd name="T27" fmla="*/ 1164 h 2398"/>
                    <a:gd name="T28" fmla="*/ 1587 w 2406"/>
                    <a:gd name="T29" fmla="*/ 1347 h 2398"/>
                    <a:gd name="T30" fmla="*/ 1388 w 2406"/>
                    <a:gd name="T31" fmla="*/ 902 h 2398"/>
                    <a:gd name="T32" fmla="*/ 1134 w 2406"/>
                    <a:gd name="T33" fmla="*/ 842 h 2398"/>
                    <a:gd name="T34" fmla="*/ 1076 w 2406"/>
                    <a:gd name="T35" fmla="*/ 985 h 2398"/>
                    <a:gd name="T36" fmla="*/ 790 w 2406"/>
                    <a:gd name="T37" fmla="*/ 1333 h 2398"/>
                    <a:gd name="T38" fmla="*/ 1042 w 2406"/>
                    <a:gd name="T39" fmla="*/ 856 h 2398"/>
                    <a:gd name="T40" fmla="*/ 1424 w 2406"/>
                    <a:gd name="T41" fmla="*/ 564 h 2398"/>
                    <a:gd name="T42" fmla="*/ 1428 w 2406"/>
                    <a:gd name="T43" fmla="*/ 749 h 2398"/>
                    <a:gd name="T44" fmla="*/ 1250 w 2406"/>
                    <a:gd name="T45" fmla="*/ 793 h 2398"/>
                    <a:gd name="T46" fmla="*/ 1162 w 2406"/>
                    <a:gd name="T47" fmla="*/ 660 h 2398"/>
                    <a:gd name="T48" fmla="*/ 1275 w 2406"/>
                    <a:gd name="T49" fmla="*/ 514 h 2398"/>
                    <a:gd name="T50" fmla="*/ 904 w 2406"/>
                    <a:gd name="T51" fmla="*/ 216 h 2398"/>
                    <a:gd name="T52" fmla="*/ 1196 w 2406"/>
                    <a:gd name="T53" fmla="*/ 431 h 2398"/>
                    <a:gd name="T54" fmla="*/ 938 w 2406"/>
                    <a:gd name="T55" fmla="*/ 356 h 2398"/>
                    <a:gd name="T56" fmla="*/ 547 w 2406"/>
                    <a:gd name="T57" fmla="*/ 410 h 2398"/>
                    <a:gd name="T58" fmla="*/ 255 w 2406"/>
                    <a:gd name="T59" fmla="*/ 798 h 2398"/>
                    <a:gd name="T60" fmla="*/ 175 w 2406"/>
                    <a:gd name="T61" fmla="*/ 1228 h 2398"/>
                    <a:gd name="T62" fmla="*/ 431 w 2406"/>
                    <a:gd name="T63" fmla="*/ 1420 h 2398"/>
                    <a:gd name="T64" fmla="*/ 324 w 2406"/>
                    <a:gd name="T65" fmla="*/ 1485 h 2398"/>
                    <a:gd name="T66" fmla="*/ 214 w 2406"/>
                    <a:gd name="T67" fmla="*/ 1484 h 2398"/>
                    <a:gd name="T68" fmla="*/ 458 w 2406"/>
                    <a:gd name="T69" fmla="*/ 1906 h 2398"/>
                    <a:gd name="T70" fmla="*/ 674 w 2406"/>
                    <a:gd name="T71" fmla="*/ 1826 h 2398"/>
                    <a:gd name="T72" fmla="*/ 849 w 2406"/>
                    <a:gd name="T73" fmla="*/ 2162 h 2398"/>
                    <a:gd name="T74" fmla="*/ 1368 w 2406"/>
                    <a:gd name="T75" fmla="*/ 2211 h 2398"/>
                    <a:gd name="T76" fmla="*/ 1590 w 2406"/>
                    <a:gd name="T77" fmla="*/ 1971 h 2398"/>
                    <a:gd name="T78" fmla="*/ 1717 w 2406"/>
                    <a:gd name="T79" fmla="*/ 1840 h 2398"/>
                    <a:gd name="T80" fmla="*/ 1799 w 2406"/>
                    <a:gd name="T81" fmla="*/ 2035 h 2398"/>
                    <a:gd name="T82" fmla="*/ 2107 w 2406"/>
                    <a:gd name="T83" fmla="*/ 1687 h 2398"/>
                    <a:gd name="T84" fmla="*/ 2099 w 2406"/>
                    <a:gd name="T85" fmla="*/ 1482 h 2398"/>
                    <a:gd name="T86" fmla="*/ 1878 w 2406"/>
                    <a:gd name="T87" fmla="*/ 1471 h 2398"/>
                    <a:gd name="T88" fmla="*/ 2231 w 2406"/>
                    <a:gd name="T89" fmla="*/ 1236 h 2398"/>
                    <a:gd name="T90" fmla="*/ 2164 w 2406"/>
                    <a:gd name="T91" fmla="*/ 832 h 2398"/>
                    <a:gd name="T92" fmla="*/ 1865 w 2406"/>
                    <a:gd name="T93" fmla="*/ 413 h 2398"/>
                    <a:gd name="T94" fmla="*/ 1505 w 2406"/>
                    <a:gd name="T95" fmla="*/ 495 h 2398"/>
                    <a:gd name="T96" fmla="*/ 1608 w 2406"/>
                    <a:gd name="T97" fmla="*/ 257 h 2398"/>
                    <a:gd name="T98" fmla="*/ 1185 w 2406"/>
                    <a:gd name="T99" fmla="*/ 0 h 2398"/>
                    <a:gd name="T100" fmla="*/ 1761 w 2406"/>
                    <a:gd name="T101" fmla="*/ 136 h 2398"/>
                    <a:gd name="T102" fmla="*/ 2177 w 2406"/>
                    <a:gd name="T103" fmla="*/ 492 h 2398"/>
                    <a:gd name="T104" fmla="*/ 2389 w 2406"/>
                    <a:gd name="T105" fmla="*/ 992 h 2398"/>
                    <a:gd name="T106" fmla="*/ 2346 w 2406"/>
                    <a:gd name="T107" fmla="*/ 1577 h 2398"/>
                    <a:gd name="T108" fmla="*/ 2049 w 2406"/>
                    <a:gd name="T109" fmla="*/ 2053 h 2398"/>
                    <a:gd name="T110" fmla="*/ 1590 w 2406"/>
                    <a:gd name="T111" fmla="*/ 2336 h 2398"/>
                    <a:gd name="T112" fmla="*/ 1017 w 2406"/>
                    <a:gd name="T113" fmla="*/ 2384 h 2398"/>
                    <a:gd name="T114" fmla="*/ 481 w 2406"/>
                    <a:gd name="T115" fmla="*/ 2159 h 2398"/>
                    <a:gd name="T116" fmla="*/ 134 w 2406"/>
                    <a:gd name="T117" fmla="*/ 1752 h 2398"/>
                    <a:gd name="T118" fmla="*/ 0 w 2406"/>
                    <a:gd name="T119" fmla="*/ 1217 h 2398"/>
                    <a:gd name="T120" fmla="*/ 136 w 2406"/>
                    <a:gd name="T121" fmla="*/ 643 h 2398"/>
                    <a:gd name="T122" fmla="*/ 494 w 2406"/>
                    <a:gd name="T123" fmla="*/ 229 h 2398"/>
                    <a:gd name="T124" fmla="*/ 996 w 2406"/>
                    <a:gd name="T125" fmla="*/ 17 h 2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06" h="2398">
                      <a:moveTo>
                        <a:pt x="971" y="1566"/>
                      </a:moveTo>
                      <a:lnTo>
                        <a:pt x="1083" y="1576"/>
                      </a:lnTo>
                      <a:lnTo>
                        <a:pt x="1199" y="1580"/>
                      </a:lnTo>
                      <a:lnTo>
                        <a:pt x="1313" y="1578"/>
                      </a:lnTo>
                      <a:lnTo>
                        <a:pt x="1357" y="1577"/>
                      </a:lnTo>
                      <a:lnTo>
                        <a:pt x="1400" y="1574"/>
                      </a:lnTo>
                      <a:lnTo>
                        <a:pt x="1398" y="1581"/>
                      </a:lnTo>
                      <a:lnTo>
                        <a:pt x="1398" y="1588"/>
                      </a:lnTo>
                      <a:lnTo>
                        <a:pt x="1398" y="1597"/>
                      </a:lnTo>
                      <a:lnTo>
                        <a:pt x="1402" y="1639"/>
                      </a:lnTo>
                      <a:lnTo>
                        <a:pt x="1414" y="1680"/>
                      </a:lnTo>
                      <a:lnTo>
                        <a:pt x="1366" y="1683"/>
                      </a:lnTo>
                      <a:lnTo>
                        <a:pt x="1316" y="1687"/>
                      </a:lnTo>
                      <a:lnTo>
                        <a:pt x="1193" y="1687"/>
                      </a:lnTo>
                      <a:lnTo>
                        <a:pt x="1074" y="1683"/>
                      </a:lnTo>
                      <a:lnTo>
                        <a:pt x="952" y="1672"/>
                      </a:lnTo>
                      <a:lnTo>
                        <a:pt x="962" y="1639"/>
                      </a:lnTo>
                      <a:lnTo>
                        <a:pt x="968" y="1607"/>
                      </a:lnTo>
                      <a:lnTo>
                        <a:pt x="971" y="1573"/>
                      </a:lnTo>
                      <a:lnTo>
                        <a:pt x="971" y="1566"/>
                      </a:lnTo>
                      <a:close/>
                      <a:moveTo>
                        <a:pt x="1652" y="1444"/>
                      </a:moveTo>
                      <a:lnTo>
                        <a:pt x="1685" y="1447"/>
                      </a:lnTo>
                      <a:lnTo>
                        <a:pt x="1716" y="1457"/>
                      </a:lnTo>
                      <a:lnTo>
                        <a:pt x="1744" y="1472"/>
                      </a:lnTo>
                      <a:lnTo>
                        <a:pt x="1768" y="1495"/>
                      </a:lnTo>
                      <a:lnTo>
                        <a:pt x="1785" y="1523"/>
                      </a:lnTo>
                      <a:lnTo>
                        <a:pt x="1797" y="1554"/>
                      </a:lnTo>
                      <a:lnTo>
                        <a:pt x="1800" y="1590"/>
                      </a:lnTo>
                      <a:lnTo>
                        <a:pt x="1797" y="1624"/>
                      </a:lnTo>
                      <a:lnTo>
                        <a:pt x="1788" y="1655"/>
                      </a:lnTo>
                      <a:lnTo>
                        <a:pt x="1771" y="1683"/>
                      </a:lnTo>
                      <a:lnTo>
                        <a:pt x="1748" y="1706"/>
                      </a:lnTo>
                      <a:lnTo>
                        <a:pt x="1721" y="1724"/>
                      </a:lnTo>
                      <a:lnTo>
                        <a:pt x="1690" y="1735"/>
                      </a:lnTo>
                      <a:lnTo>
                        <a:pt x="1656" y="1740"/>
                      </a:lnTo>
                      <a:lnTo>
                        <a:pt x="1622" y="1737"/>
                      </a:lnTo>
                      <a:lnTo>
                        <a:pt x="1591" y="1725"/>
                      </a:lnTo>
                      <a:lnTo>
                        <a:pt x="1563" y="1708"/>
                      </a:lnTo>
                      <a:lnTo>
                        <a:pt x="1545" y="1691"/>
                      </a:lnTo>
                      <a:lnTo>
                        <a:pt x="1528" y="1672"/>
                      </a:lnTo>
                      <a:lnTo>
                        <a:pt x="1517" y="1648"/>
                      </a:lnTo>
                      <a:lnTo>
                        <a:pt x="1508" y="1622"/>
                      </a:lnTo>
                      <a:lnTo>
                        <a:pt x="1507" y="1594"/>
                      </a:lnTo>
                      <a:lnTo>
                        <a:pt x="1510" y="1560"/>
                      </a:lnTo>
                      <a:lnTo>
                        <a:pt x="1519" y="1529"/>
                      </a:lnTo>
                      <a:lnTo>
                        <a:pt x="1538" y="1502"/>
                      </a:lnTo>
                      <a:lnTo>
                        <a:pt x="1560" y="1478"/>
                      </a:lnTo>
                      <a:lnTo>
                        <a:pt x="1587" y="1461"/>
                      </a:lnTo>
                      <a:lnTo>
                        <a:pt x="1618" y="1448"/>
                      </a:lnTo>
                      <a:lnTo>
                        <a:pt x="1652" y="1444"/>
                      </a:lnTo>
                      <a:close/>
                      <a:moveTo>
                        <a:pt x="714" y="1429"/>
                      </a:moveTo>
                      <a:lnTo>
                        <a:pt x="746" y="1431"/>
                      </a:lnTo>
                      <a:lnTo>
                        <a:pt x="777" y="1441"/>
                      </a:lnTo>
                      <a:lnTo>
                        <a:pt x="804" y="1457"/>
                      </a:lnTo>
                      <a:lnTo>
                        <a:pt x="828" y="1479"/>
                      </a:lnTo>
                      <a:lnTo>
                        <a:pt x="846" y="1508"/>
                      </a:lnTo>
                      <a:lnTo>
                        <a:pt x="859" y="1539"/>
                      </a:lnTo>
                      <a:lnTo>
                        <a:pt x="863" y="1574"/>
                      </a:lnTo>
                      <a:lnTo>
                        <a:pt x="860" y="1608"/>
                      </a:lnTo>
                      <a:lnTo>
                        <a:pt x="849" y="1638"/>
                      </a:lnTo>
                      <a:lnTo>
                        <a:pt x="832" y="1666"/>
                      </a:lnTo>
                      <a:lnTo>
                        <a:pt x="810" y="1689"/>
                      </a:lnTo>
                      <a:lnTo>
                        <a:pt x="783" y="1707"/>
                      </a:lnTo>
                      <a:lnTo>
                        <a:pt x="752" y="1718"/>
                      </a:lnTo>
                      <a:lnTo>
                        <a:pt x="718" y="1723"/>
                      </a:lnTo>
                      <a:lnTo>
                        <a:pt x="692" y="1721"/>
                      </a:lnTo>
                      <a:lnTo>
                        <a:pt x="669" y="1717"/>
                      </a:lnTo>
                      <a:lnTo>
                        <a:pt x="647" y="1707"/>
                      </a:lnTo>
                      <a:lnTo>
                        <a:pt x="628" y="1694"/>
                      </a:lnTo>
                      <a:lnTo>
                        <a:pt x="604" y="1672"/>
                      </a:lnTo>
                      <a:lnTo>
                        <a:pt x="585" y="1643"/>
                      </a:lnTo>
                      <a:lnTo>
                        <a:pt x="573" y="1612"/>
                      </a:lnTo>
                      <a:lnTo>
                        <a:pt x="567" y="1578"/>
                      </a:lnTo>
                      <a:lnTo>
                        <a:pt x="571" y="1544"/>
                      </a:lnTo>
                      <a:lnTo>
                        <a:pt x="582" y="1513"/>
                      </a:lnTo>
                      <a:lnTo>
                        <a:pt x="599" y="1485"/>
                      </a:lnTo>
                      <a:lnTo>
                        <a:pt x="622" y="1463"/>
                      </a:lnTo>
                      <a:lnTo>
                        <a:pt x="649" y="1444"/>
                      </a:lnTo>
                      <a:lnTo>
                        <a:pt x="680" y="1433"/>
                      </a:lnTo>
                      <a:lnTo>
                        <a:pt x="714" y="1429"/>
                      </a:lnTo>
                      <a:close/>
                      <a:moveTo>
                        <a:pt x="1481" y="846"/>
                      </a:moveTo>
                      <a:lnTo>
                        <a:pt x="1531" y="950"/>
                      </a:lnTo>
                      <a:lnTo>
                        <a:pt x="1576" y="1057"/>
                      </a:lnTo>
                      <a:lnTo>
                        <a:pt x="1615" y="1164"/>
                      </a:lnTo>
                      <a:lnTo>
                        <a:pt x="1648" y="1275"/>
                      </a:lnTo>
                      <a:lnTo>
                        <a:pt x="1656" y="1306"/>
                      </a:lnTo>
                      <a:lnTo>
                        <a:pt x="1663" y="1338"/>
                      </a:lnTo>
                      <a:lnTo>
                        <a:pt x="1651" y="1338"/>
                      </a:lnTo>
                      <a:lnTo>
                        <a:pt x="1618" y="1340"/>
                      </a:lnTo>
                      <a:lnTo>
                        <a:pt x="1587" y="1347"/>
                      </a:lnTo>
                      <a:lnTo>
                        <a:pt x="1558" y="1355"/>
                      </a:lnTo>
                      <a:lnTo>
                        <a:pt x="1543" y="1303"/>
                      </a:lnTo>
                      <a:lnTo>
                        <a:pt x="1512" y="1200"/>
                      </a:lnTo>
                      <a:lnTo>
                        <a:pt x="1476" y="1098"/>
                      </a:lnTo>
                      <a:lnTo>
                        <a:pt x="1435" y="998"/>
                      </a:lnTo>
                      <a:lnTo>
                        <a:pt x="1388" y="902"/>
                      </a:lnTo>
                      <a:lnTo>
                        <a:pt x="1424" y="886"/>
                      </a:lnTo>
                      <a:lnTo>
                        <a:pt x="1453" y="868"/>
                      </a:lnTo>
                      <a:lnTo>
                        <a:pt x="1481" y="846"/>
                      </a:lnTo>
                      <a:close/>
                      <a:moveTo>
                        <a:pt x="1096" y="796"/>
                      </a:moveTo>
                      <a:lnTo>
                        <a:pt x="1113" y="820"/>
                      </a:lnTo>
                      <a:lnTo>
                        <a:pt x="1134" y="842"/>
                      </a:lnTo>
                      <a:lnTo>
                        <a:pt x="1158" y="861"/>
                      </a:lnTo>
                      <a:lnTo>
                        <a:pt x="1162" y="865"/>
                      </a:lnTo>
                      <a:lnTo>
                        <a:pt x="1168" y="868"/>
                      </a:lnTo>
                      <a:lnTo>
                        <a:pt x="1172" y="870"/>
                      </a:lnTo>
                      <a:lnTo>
                        <a:pt x="1123" y="927"/>
                      </a:lnTo>
                      <a:lnTo>
                        <a:pt x="1076" y="985"/>
                      </a:lnTo>
                      <a:lnTo>
                        <a:pt x="1014" y="1074"/>
                      </a:lnTo>
                      <a:lnTo>
                        <a:pt x="956" y="1167"/>
                      </a:lnTo>
                      <a:lnTo>
                        <a:pt x="903" y="1263"/>
                      </a:lnTo>
                      <a:lnTo>
                        <a:pt x="855" y="1362"/>
                      </a:lnTo>
                      <a:lnTo>
                        <a:pt x="824" y="1345"/>
                      </a:lnTo>
                      <a:lnTo>
                        <a:pt x="790" y="1333"/>
                      </a:lnTo>
                      <a:lnTo>
                        <a:pt x="753" y="1325"/>
                      </a:lnTo>
                      <a:lnTo>
                        <a:pt x="804" y="1218"/>
                      </a:lnTo>
                      <a:lnTo>
                        <a:pt x="862" y="1115"/>
                      </a:lnTo>
                      <a:lnTo>
                        <a:pt x="924" y="1016"/>
                      </a:lnTo>
                      <a:lnTo>
                        <a:pt x="993" y="921"/>
                      </a:lnTo>
                      <a:lnTo>
                        <a:pt x="1042" y="856"/>
                      </a:lnTo>
                      <a:lnTo>
                        <a:pt x="1096" y="796"/>
                      </a:lnTo>
                      <a:close/>
                      <a:moveTo>
                        <a:pt x="1309" y="510"/>
                      </a:moveTo>
                      <a:lnTo>
                        <a:pt x="1342" y="514"/>
                      </a:lnTo>
                      <a:lnTo>
                        <a:pt x="1373" y="524"/>
                      </a:lnTo>
                      <a:lnTo>
                        <a:pt x="1400" y="541"/>
                      </a:lnTo>
                      <a:lnTo>
                        <a:pt x="1424" y="564"/>
                      </a:lnTo>
                      <a:lnTo>
                        <a:pt x="1442" y="591"/>
                      </a:lnTo>
                      <a:lnTo>
                        <a:pt x="1455" y="622"/>
                      </a:lnTo>
                      <a:lnTo>
                        <a:pt x="1460" y="656"/>
                      </a:lnTo>
                      <a:lnTo>
                        <a:pt x="1456" y="690"/>
                      </a:lnTo>
                      <a:lnTo>
                        <a:pt x="1445" y="721"/>
                      </a:lnTo>
                      <a:lnTo>
                        <a:pt x="1428" y="749"/>
                      </a:lnTo>
                      <a:lnTo>
                        <a:pt x="1405" y="771"/>
                      </a:lnTo>
                      <a:lnTo>
                        <a:pt x="1378" y="790"/>
                      </a:lnTo>
                      <a:lnTo>
                        <a:pt x="1347" y="801"/>
                      </a:lnTo>
                      <a:lnTo>
                        <a:pt x="1313" y="805"/>
                      </a:lnTo>
                      <a:lnTo>
                        <a:pt x="1280" y="803"/>
                      </a:lnTo>
                      <a:lnTo>
                        <a:pt x="1250" y="793"/>
                      </a:lnTo>
                      <a:lnTo>
                        <a:pt x="1223" y="777"/>
                      </a:lnTo>
                      <a:lnTo>
                        <a:pt x="1203" y="760"/>
                      </a:lnTo>
                      <a:lnTo>
                        <a:pt x="1186" y="739"/>
                      </a:lnTo>
                      <a:lnTo>
                        <a:pt x="1174" y="715"/>
                      </a:lnTo>
                      <a:lnTo>
                        <a:pt x="1165" y="688"/>
                      </a:lnTo>
                      <a:lnTo>
                        <a:pt x="1162" y="660"/>
                      </a:lnTo>
                      <a:lnTo>
                        <a:pt x="1167" y="626"/>
                      </a:lnTo>
                      <a:lnTo>
                        <a:pt x="1177" y="595"/>
                      </a:lnTo>
                      <a:lnTo>
                        <a:pt x="1193" y="568"/>
                      </a:lnTo>
                      <a:lnTo>
                        <a:pt x="1216" y="544"/>
                      </a:lnTo>
                      <a:lnTo>
                        <a:pt x="1244" y="527"/>
                      </a:lnTo>
                      <a:lnTo>
                        <a:pt x="1275" y="514"/>
                      </a:lnTo>
                      <a:lnTo>
                        <a:pt x="1309" y="510"/>
                      </a:lnTo>
                      <a:close/>
                      <a:moveTo>
                        <a:pt x="1188" y="175"/>
                      </a:moveTo>
                      <a:lnTo>
                        <a:pt x="1114" y="178"/>
                      </a:lnTo>
                      <a:lnTo>
                        <a:pt x="1042" y="185"/>
                      </a:lnTo>
                      <a:lnTo>
                        <a:pt x="973" y="199"/>
                      </a:lnTo>
                      <a:lnTo>
                        <a:pt x="904" y="216"/>
                      </a:lnTo>
                      <a:lnTo>
                        <a:pt x="958" y="244"/>
                      </a:lnTo>
                      <a:lnTo>
                        <a:pt x="1010" y="275"/>
                      </a:lnTo>
                      <a:lnTo>
                        <a:pt x="1061" y="311"/>
                      </a:lnTo>
                      <a:lnTo>
                        <a:pt x="1107" y="348"/>
                      </a:lnTo>
                      <a:lnTo>
                        <a:pt x="1153" y="389"/>
                      </a:lnTo>
                      <a:lnTo>
                        <a:pt x="1196" y="431"/>
                      </a:lnTo>
                      <a:lnTo>
                        <a:pt x="1164" y="449"/>
                      </a:lnTo>
                      <a:lnTo>
                        <a:pt x="1137" y="472"/>
                      </a:lnTo>
                      <a:lnTo>
                        <a:pt x="1112" y="499"/>
                      </a:lnTo>
                      <a:lnTo>
                        <a:pt x="1055" y="445"/>
                      </a:lnTo>
                      <a:lnTo>
                        <a:pt x="997" y="396"/>
                      </a:lnTo>
                      <a:lnTo>
                        <a:pt x="938" y="356"/>
                      </a:lnTo>
                      <a:lnTo>
                        <a:pt x="877" y="322"/>
                      </a:lnTo>
                      <a:lnTo>
                        <a:pt x="815" y="295"/>
                      </a:lnTo>
                      <a:lnTo>
                        <a:pt x="753" y="275"/>
                      </a:lnTo>
                      <a:lnTo>
                        <a:pt x="681" y="315"/>
                      </a:lnTo>
                      <a:lnTo>
                        <a:pt x="612" y="360"/>
                      </a:lnTo>
                      <a:lnTo>
                        <a:pt x="547" y="410"/>
                      </a:lnTo>
                      <a:lnTo>
                        <a:pt x="486" y="463"/>
                      </a:lnTo>
                      <a:lnTo>
                        <a:pt x="430" y="523"/>
                      </a:lnTo>
                      <a:lnTo>
                        <a:pt x="379" y="585"/>
                      </a:lnTo>
                      <a:lnTo>
                        <a:pt x="331" y="653"/>
                      </a:lnTo>
                      <a:lnTo>
                        <a:pt x="290" y="723"/>
                      </a:lnTo>
                      <a:lnTo>
                        <a:pt x="255" y="798"/>
                      </a:lnTo>
                      <a:lnTo>
                        <a:pt x="225" y="876"/>
                      </a:lnTo>
                      <a:lnTo>
                        <a:pt x="201" y="958"/>
                      </a:lnTo>
                      <a:lnTo>
                        <a:pt x="186" y="1041"/>
                      </a:lnTo>
                      <a:lnTo>
                        <a:pt x="176" y="1126"/>
                      </a:lnTo>
                      <a:lnTo>
                        <a:pt x="173" y="1214"/>
                      </a:lnTo>
                      <a:lnTo>
                        <a:pt x="175" y="1228"/>
                      </a:lnTo>
                      <a:lnTo>
                        <a:pt x="175" y="1241"/>
                      </a:lnTo>
                      <a:lnTo>
                        <a:pt x="217" y="1283"/>
                      </a:lnTo>
                      <a:lnTo>
                        <a:pt x="266" y="1323"/>
                      </a:lnTo>
                      <a:lnTo>
                        <a:pt x="317" y="1358"/>
                      </a:lnTo>
                      <a:lnTo>
                        <a:pt x="372" y="1390"/>
                      </a:lnTo>
                      <a:lnTo>
                        <a:pt x="431" y="1420"/>
                      </a:lnTo>
                      <a:lnTo>
                        <a:pt x="496" y="1448"/>
                      </a:lnTo>
                      <a:lnTo>
                        <a:pt x="479" y="1481"/>
                      </a:lnTo>
                      <a:lnTo>
                        <a:pt x="468" y="1515"/>
                      </a:lnTo>
                      <a:lnTo>
                        <a:pt x="462" y="1550"/>
                      </a:lnTo>
                      <a:lnTo>
                        <a:pt x="392" y="1520"/>
                      </a:lnTo>
                      <a:lnTo>
                        <a:pt x="324" y="1485"/>
                      </a:lnTo>
                      <a:lnTo>
                        <a:pt x="261" y="1448"/>
                      </a:lnTo>
                      <a:lnTo>
                        <a:pt x="201" y="1406"/>
                      </a:lnTo>
                      <a:lnTo>
                        <a:pt x="200" y="1406"/>
                      </a:lnTo>
                      <a:lnTo>
                        <a:pt x="197" y="1405"/>
                      </a:lnTo>
                      <a:lnTo>
                        <a:pt x="194" y="1402"/>
                      </a:lnTo>
                      <a:lnTo>
                        <a:pt x="214" y="1484"/>
                      </a:lnTo>
                      <a:lnTo>
                        <a:pt x="241" y="1563"/>
                      </a:lnTo>
                      <a:lnTo>
                        <a:pt x="273" y="1639"/>
                      </a:lnTo>
                      <a:lnTo>
                        <a:pt x="311" y="1711"/>
                      </a:lnTo>
                      <a:lnTo>
                        <a:pt x="355" y="1780"/>
                      </a:lnTo>
                      <a:lnTo>
                        <a:pt x="405" y="1845"/>
                      </a:lnTo>
                      <a:lnTo>
                        <a:pt x="458" y="1906"/>
                      </a:lnTo>
                      <a:lnTo>
                        <a:pt x="516" y="1961"/>
                      </a:lnTo>
                      <a:lnTo>
                        <a:pt x="578" y="2014"/>
                      </a:lnTo>
                      <a:lnTo>
                        <a:pt x="588" y="1909"/>
                      </a:lnTo>
                      <a:lnTo>
                        <a:pt x="605" y="1805"/>
                      </a:lnTo>
                      <a:lnTo>
                        <a:pt x="639" y="1817"/>
                      </a:lnTo>
                      <a:lnTo>
                        <a:pt x="674" y="1826"/>
                      </a:lnTo>
                      <a:lnTo>
                        <a:pt x="709" y="1830"/>
                      </a:lnTo>
                      <a:lnTo>
                        <a:pt x="697" y="1915"/>
                      </a:lnTo>
                      <a:lnTo>
                        <a:pt x="688" y="2000"/>
                      </a:lnTo>
                      <a:lnTo>
                        <a:pt x="684" y="2084"/>
                      </a:lnTo>
                      <a:lnTo>
                        <a:pt x="766" y="2127"/>
                      </a:lnTo>
                      <a:lnTo>
                        <a:pt x="849" y="2162"/>
                      </a:lnTo>
                      <a:lnTo>
                        <a:pt x="937" y="2190"/>
                      </a:lnTo>
                      <a:lnTo>
                        <a:pt x="1028" y="2210"/>
                      </a:lnTo>
                      <a:lnTo>
                        <a:pt x="1122" y="2223"/>
                      </a:lnTo>
                      <a:lnTo>
                        <a:pt x="1219" y="2226"/>
                      </a:lnTo>
                      <a:lnTo>
                        <a:pt x="1294" y="2221"/>
                      </a:lnTo>
                      <a:lnTo>
                        <a:pt x="1368" y="2211"/>
                      </a:lnTo>
                      <a:lnTo>
                        <a:pt x="1440" y="2196"/>
                      </a:lnTo>
                      <a:lnTo>
                        <a:pt x="1511" y="2178"/>
                      </a:lnTo>
                      <a:lnTo>
                        <a:pt x="1536" y="2134"/>
                      </a:lnTo>
                      <a:lnTo>
                        <a:pt x="1559" y="2086"/>
                      </a:lnTo>
                      <a:lnTo>
                        <a:pt x="1577" y="2031"/>
                      </a:lnTo>
                      <a:lnTo>
                        <a:pt x="1590" y="1971"/>
                      </a:lnTo>
                      <a:lnTo>
                        <a:pt x="1600" y="1909"/>
                      </a:lnTo>
                      <a:lnTo>
                        <a:pt x="1606" y="1841"/>
                      </a:lnTo>
                      <a:lnTo>
                        <a:pt x="1632" y="1845"/>
                      </a:lnTo>
                      <a:lnTo>
                        <a:pt x="1656" y="1845"/>
                      </a:lnTo>
                      <a:lnTo>
                        <a:pt x="1687" y="1844"/>
                      </a:lnTo>
                      <a:lnTo>
                        <a:pt x="1717" y="1840"/>
                      </a:lnTo>
                      <a:lnTo>
                        <a:pt x="1710" y="1913"/>
                      </a:lnTo>
                      <a:lnTo>
                        <a:pt x="1699" y="1984"/>
                      </a:lnTo>
                      <a:lnTo>
                        <a:pt x="1682" y="2053"/>
                      </a:lnTo>
                      <a:lnTo>
                        <a:pt x="1662" y="2117"/>
                      </a:lnTo>
                      <a:lnTo>
                        <a:pt x="1731" y="2079"/>
                      </a:lnTo>
                      <a:lnTo>
                        <a:pt x="1799" y="2035"/>
                      </a:lnTo>
                      <a:lnTo>
                        <a:pt x="1862" y="1985"/>
                      </a:lnTo>
                      <a:lnTo>
                        <a:pt x="1922" y="1933"/>
                      </a:lnTo>
                      <a:lnTo>
                        <a:pt x="1977" y="1875"/>
                      </a:lnTo>
                      <a:lnTo>
                        <a:pt x="2027" y="1813"/>
                      </a:lnTo>
                      <a:lnTo>
                        <a:pt x="2068" y="1752"/>
                      </a:lnTo>
                      <a:lnTo>
                        <a:pt x="2107" y="1687"/>
                      </a:lnTo>
                      <a:lnTo>
                        <a:pt x="2140" y="1621"/>
                      </a:lnTo>
                      <a:lnTo>
                        <a:pt x="2169" y="1552"/>
                      </a:lnTo>
                      <a:lnTo>
                        <a:pt x="2193" y="1479"/>
                      </a:lnTo>
                      <a:lnTo>
                        <a:pt x="2211" y="1405"/>
                      </a:lnTo>
                      <a:lnTo>
                        <a:pt x="2157" y="1446"/>
                      </a:lnTo>
                      <a:lnTo>
                        <a:pt x="2099" y="1482"/>
                      </a:lnTo>
                      <a:lnTo>
                        <a:pt x="2039" y="1516"/>
                      </a:lnTo>
                      <a:lnTo>
                        <a:pt x="1975" y="1546"/>
                      </a:lnTo>
                      <a:lnTo>
                        <a:pt x="1908" y="1574"/>
                      </a:lnTo>
                      <a:lnTo>
                        <a:pt x="1902" y="1537"/>
                      </a:lnTo>
                      <a:lnTo>
                        <a:pt x="1892" y="1504"/>
                      </a:lnTo>
                      <a:lnTo>
                        <a:pt x="1878" y="1471"/>
                      </a:lnTo>
                      <a:lnTo>
                        <a:pt x="1950" y="1440"/>
                      </a:lnTo>
                      <a:lnTo>
                        <a:pt x="2016" y="1406"/>
                      </a:lnTo>
                      <a:lnTo>
                        <a:pt x="2078" y="1369"/>
                      </a:lnTo>
                      <a:lnTo>
                        <a:pt x="2135" y="1328"/>
                      </a:lnTo>
                      <a:lnTo>
                        <a:pt x="2186" y="1284"/>
                      </a:lnTo>
                      <a:lnTo>
                        <a:pt x="2231" y="1236"/>
                      </a:lnTo>
                      <a:lnTo>
                        <a:pt x="2232" y="1210"/>
                      </a:lnTo>
                      <a:lnTo>
                        <a:pt x="2234" y="1184"/>
                      </a:lnTo>
                      <a:lnTo>
                        <a:pt x="2226" y="1092"/>
                      </a:lnTo>
                      <a:lnTo>
                        <a:pt x="2214" y="1002"/>
                      </a:lnTo>
                      <a:lnTo>
                        <a:pt x="2193" y="916"/>
                      </a:lnTo>
                      <a:lnTo>
                        <a:pt x="2164" y="832"/>
                      </a:lnTo>
                      <a:lnTo>
                        <a:pt x="2129" y="752"/>
                      </a:lnTo>
                      <a:lnTo>
                        <a:pt x="2087" y="675"/>
                      </a:lnTo>
                      <a:lnTo>
                        <a:pt x="2040" y="603"/>
                      </a:lnTo>
                      <a:lnTo>
                        <a:pt x="1987" y="534"/>
                      </a:lnTo>
                      <a:lnTo>
                        <a:pt x="1929" y="472"/>
                      </a:lnTo>
                      <a:lnTo>
                        <a:pt x="1865" y="413"/>
                      </a:lnTo>
                      <a:lnTo>
                        <a:pt x="1782" y="439"/>
                      </a:lnTo>
                      <a:lnTo>
                        <a:pt x="1700" y="472"/>
                      </a:lnTo>
                      <a:lnTo>
                        <a:pt x="1621" y="510"/>
                      </a:lnTo>
                      <a:lnTo>
                        <a:pt x="1543" y="554"/>
                      </a:lnTo>
                      <a:lnTo>
                        <a:pt x="1527" y="524"/>
                      </a:lnTo>
                      <a:lnTo>
                        <a:pt x="1505" y="495"/>
                      </a:lnTo>
                      <a:lnTo>
                        <a:pt x="1480" y="468"/>
                      </a:lnTo>
                      <a:lnTo>
                        <a:pt x="1570" y="417"/>
                      </a:lnTo>
                      <a:lnTo>
                        <a:pt x="1662" y="373"/>
                      </a:lnTo>
                      <a:lnTo>
                        <a:pt x="1757" y="336"/>
                      </a:lnTo>
                      <a:lnTo>
                        <a:pt x="1685" y="294"/>
                      </a:lnTo>
                      <a:lnTo>
                        <a:pt x="1608" y="257"/>
                      </a:lnTo>
                      <a:lnTo>
                        <a:pt x="1529" y="226"/>
                      </a:lnTo>
                      <a:lnTo>
                        <a:pt x="1447" y="202"/>
                      </a:lnTo>
                      <a:lnTo>
                        <a:pt x="1364" y="186"/>
                      </a:lnTo>
                      <a:lnTo>
                        <a:pt x="1277" y="177"/>
                      </a:lnTo>
                      <a:lnTo>
                        <a:pt x="1188" y="175"/>
                      </a:lnTo>
                      <a:close/>
                      <a:moveTo>
                        <a:pt x="1185" y="0"/>
                      </a:moveTo>
                      <a:lnTo>
                        <a:pt x="1288" y="3"/>
                      </a:lnTo>
                      <a:lnTo>
                        <a:pt x="1388" y="14"/>
                      </a:lnTo>
                      <a:lnTo>
                        <a:pt x="1487" y="32"/>
                      </a:lnTo>
                      <a:lnTo>
                        <a:pt x="1582" y="59"/>
                      </a:lnTo>
                      <a:lnTo>
                        <a:pt x="1673" y="95"/>
                      </a:lnTo>
                      <a:lnTo>
                        <a:pt x="1761" y="136"/>
                      </a:lnTo>
                      <a:lnTo>
                        <a:pt x="1845" y="184"/>
                      </a:lnTo>
                      <a:lnTo>
                        <a:pt x="1924" y="239"/>
                      </a:lnTo>
                      <a:lnTo>
                        <a:pt x="1995" y="295"/>
                      </a:lnTo>
                      <a:lnTo>
                        <a:pt x="2060" y="356"/>
                      </a:lnTo>
                      <a:lnTo>
                        <a:pt x="2121" y="422"/>
                      </a:lnTo>
                      <a:lnTo>
                        <a:pt x="2177" y="492"/>
                      </a:lnTo>
                      <a:lnTo>
                        <a:pt x="2226" y="567"/>
                      </a:lnTo>
                      <a:lnTo>
                        <a:pt x="2272" y="646"/>
                      </a:lnTo>
                      <a:lnTo>
                        <a:pt x="2310" y="728"/>
                      </a:lnTo>
                      <a:lnTo>
                        <a:pt x="2344" y="812"/>
                      </a:lnTo>
                      <a:lnTo>
                        <a:pt x="2369" y="902"/>
                      </a:lnTo>
                      <a:lnTo>
                        <a:pt x="2389" y="992"/>
                      </a:lnTo>
                      <a:lnTo>
                        <a:pt x="2400" y="1085"/>
                      </a:lnTo>
                      <a:lnTo>
                        <a:pt x="2406" y="1181"/>
                      </a:lnTo>
                      <a:lnTo>
                        <a:pt x="2403" y="1284"/>
                      </a:lnTo>
                      <a:lnTo>
                        <a:pt x="2392" y="1385"/>
                      </a:lnTo>
                      <a:lnTo>
                        <a:pt x="2373" y="1482"/>
                      </a:lnTo>
                      <a:lnTo>
                        <a:pt x="2346" y="1577"/>
                      </a:lnTo>
                      <a:lnTo>
                        <a:pt x="2311" y="1667"/>
                      </a:lnTo>
                      <a:lnTo>
                        <a:pt x="2270" y="1755"/>
                      </a:lnTo>
                      <a:lnTo>
                        <a:pt x="2221" y="1840"/>
                      </a:lnTo>
                      <a:lnTo>
                        <a:pt x="2166" y="1919"/>
                      </a:lnTo>
                      <a:lnTo>
                        <a:pt x="2111" y="1988"/>
                      </a:lnTo>
                      <a:lnTo>
                        <a:pt x="2049" y="2053"/>
                      </a:lnTo>
                      <a:lnTo>
                        <a:pt x="1982" y="2114"/>
                      </a:lnTo>
                      <a:lnTo>
                        <a:pt x="1912" y="2169"/>
                      </a:lnTo>
                      <a:lnTo>
                        <a:pt x="1837" y="2220"/>
                      </a:lnTo>
                      <a:lnTo>
                        <a:pt x="1758" y="2264"/>
                      </a:lnTo>
                      <a:lnTo>
                        <a:pt x="1676" y="2303"/>
                      </a:lnTo>
                      <a:lnTo>
                        <a:pt x="1590" y="2336"/>
                      </a:lnTo>
                      <a:lnTo>
                        <a:pt x="1501" y="2361"/>
                      </a:lnTo>
                      <a:lnTo>
                        <a:pt x="1411" y="2381"/>
                      </a:lnTo>
                      <a:lnTo>
                        <a:pt x="1316" y="2392"/>
                      </a:lnTo>
                      <a:lnTo>
                        <a:pt x="1220" y="2398"/>
                      </a:lnTo>
                      <a:lnTo>
                        <a:pt x="1117" y="2395"/>
                      </a:lnTo>
                      <a:lnTo>
                        <a:pt x="1017" y="2384"/>
                      </a:lnTo>
                      <a:lnTo>
                        <a:pt x="920" y="2366"/>
                      </a:lnTo>
                      <a:lnTo>
                        <a:pt x="824" y="2339"/>
                      </a:lnTo>
                      <a:lnTo>
                        <a:pt x="732" y="2303"/>
                      </a:lnTo>
                      <a:lnTo>
                        <a:pt x="645" y="2262"/>
                      </a:lnTo>
                      <a:lnTo>
                        <a:pt x="560" y="2214"/>
                      </a:lnTo>
                      <a:lnTo>
                        <a:pt x="481" y="2159"/>
                      </a:lnTo>
                      <a:lnTo>
                        <a:pt x="410" y="2103"/>
                      </a:lnTo>
                      <a:lnTo>
                        <a:pt x="345" y="2042"/>
                      </a:lnTo>
                      <a:lnTo>
                        <a:pt x="285" y="1976"/>
                      </a:lnTo>
                      <a:lnTo>
                        <a:pt x="230" y="1906"/>
                      </a:lnTo>
                      <a:lnTo>
                        <a:pt x="179" y="1831"/>
                      </a:lnTo>
                      <a:lnTo>
                        <a:pt x="134" y="1752"/>
                      </a:lnTo>
                      <a:lnTo>
                        <a:pt x="96" y="1670"/>
                      </a:lnTo>
                      <a:lnTo>
                        <a:pt x="63" y="1585"/>
                      </a:lnTo>
                      <a:lnTo>
                        <a:pt x="36" y="1496"/>
                      </a:lnTo>
                      <a:lnTo>
                        <a:pt x="18" y="1406"/>
                      </a:lnTo>
                      <a:lnTo>
                        <a:pt x="5" y="1313"/>
                      </a:lnTo>
                      <a:lnTo>
                        <a:pt x="0" y="1217"/>
                      </a:lnTo>
                      <a:lnTo>
                        <a:pt x="2" y="1113"/>
                      </a:lnTo>
                      <a:lnTo>
                        <a:pt x="14" y="1013"/>
                      </a:lnTo>
                      <a:lnTo>
                        <a:pt x="33" y="916"/>
                      </a:lnTo>
                      <a:lnTo>
                        <a:pt x="60" y="821"/>
                      </a:lnTo>
                      <a:lnTo>
                        <a:pt x="94" y="731"/>
                      </a:lnTo>
                      <a:lnTo>
                        <a:pt x="136" y="643"/>
                      </a:lnTo>
                      <a:lnTo>
                        <a:pt x="184" y="558"/>
                      </a:lnTo>
                      <a:lnTo>
                        <a:pt x="239" y="479"/>
                      </a:lnTo>
                      <a:lnTo>
                        <a:pt x="296" y="410"/>
                      </a:lnTo>
                      <a:lnTo>
                        <a:pt x="357" y="345"/>
                      </a:lnTo>
                      <a:lnTo>
                        <a:pt x="423" y="284"/>
                      </a:lnTo>
                      <a:lnTo>
                        <a:pt x="494" y="229"/>
                      </a:lnTo>
                      <a:lnTo>
                        <a:pt x="568" y="178"/>
                      </a:lnTo>
                      <a:lnTo>
                        <a:pt x="647" y="134"/>
                      </a:lnTo>
                      <a:lnTo>
                        <a:pt x="729" y="95"/>
                      </a:lnTo>
                      <a:lnTo>
                        <a:pt x="815" y="62"/>
                      </a:lnTo>
                      <a:lnTo>
                        <a:pt x="904" y="37"/>
                      </a:lnTo>
                      <a:lnTo>
                        <a:pt x="996" y="17"/>
                      </a:lnTo>
                      <a:lnTo>
                        <a:pt x="1089" y="6"/>
                      </a:lnTo>
                      <a:lnTo>
                        <a:pt x="1185" y="0"/>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grpSp>
      <p:grpSp>
        <p:nvGrpSpPr>
          <p:cNvPr id="89" name="Group 88"/>
          <p:cNvGrpSpPr/>
          <p:nvPr/>
        </p:nvGrpSpPr>
        <p:grpSpPr>
          <a:xfrm>
            <a:off x="5421390" y="1527715"/>
            <a:ext cx="1162984" cy="1540750"/>
            <a:chOff x="5361811" y="4953358"/>
            <a:chExt cx="1162984" cy="1540750"/>
          </a:xfrm>
        </p:grpSpPr>
        <p:grpSp>
          <p:nvGrpSpPr>
            <p:cNvPr id="374" name="Group 373"/>
            <p:cNvGrpSpPr/>
            <p:nvPr/>
          </p:nvGrpSpPr>
          <p:grpSpPr>
            <a:xfrm>
              <a:off x="5361811" y="5172047"/>
              <a:ext cx="1159648" cy="1322061"/>
              <a:chOff x="5752334" y="1754691"/>
              <a:chExt cx="1159648" cy="1322061"/>
            </a:xfrm>
          </p:grpSpPr>
          <p:sp>
            <p:nvSpPr>
              <p:cNvPr id="375" name="TextBox 374"/>
              <p:cNvSpPr txBox="1"/>
              <p:nvPr/>
            </p:nvSpPr>
            <p:spPr>
              <a:xfrm>
                <a:off x="5785497" y="2724526"/>
                <a:ext cx="1126485" cy="352226"/>
              </a:xfrm>
              <a:prstGeom prst="rect">
                <a:avLst/>
              </a:prstGeom>
              <a:noFill/>
            </p:spPr>
            <p:txBody>
              <a:bodyPr wrap="square" lIns="0" tIns="0" rIns="0" bIns="0" rtlCol="0">
                <a:spAutoFit/>
              </a:bodyPr>
              <a:lstStyle/>
              <a:p>
                <a:pPr algn="ctr"/>
                <a:r>
                  <a:rPr lang="en-US" sz="1122" b="1" dirty="0">
                    <a:latin typeface="Segoe UI Light" pitchFamily="34" charset="0"/>
                  </a:rPr>
                  <a:t>Remote Desktop Web Access</a:t>
                </a:r>
              </a:p>
            </p:txBody>
          </p:sp>
          <p:grpSp>
            <p:nvGrpSpPr>
              <p:cNvPr id="376" name="Group 375"/>
              <p:cNvGrpSpPr/>
              <p:nvPr/>
            </p:nvGrpSpPr>
            <p:grpSpPr>
              <a:xfrm>
                <a:off x="5752334" y="1754691"/>
                <a:ext cx="686041" cy="902727"/>
                <a:chOff x="5752334" y="1754691"/>
                <a:chExt cx="686041" cy="902727"/>
              </a:xfrm>
            </p:grpSpPr>
            <p:sp>
              <p:nvSpPr>
                <p:cNvPr id="377" name="Freeform 30"/>
                <p:cNvSpPr>
                  <a:spLocks noEditPoints="1"/>
                </p:cNvSpPr>
                <p:nvPr/>
              </p:nvSpPr>
              <p:spPr bwMode="auto">
                <a:xfrm>
                  <a:off x="5966622" y="1754691"/>
                  <a:ext cx="471753" cy="902727"/>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8" name="Freeform 31"/>
                <p:cNvSpPr>
                  <a:spLocks/>
                </p:cNvSpPr>
                <p:nvPr/>
              </p:nvSpPr>
              <p:spPr bwMode="auto">
                <a:xfrm>
                  <a:off x="5767526" y="1982572"/>
                  <a:ext cx="515730" cy="379002"/>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9" name="Freeform 32"/>
                <p:cNvSpPr>
                  <a:spLocks noEditPoints="1"/>
                </p:cNvSpPr>
                <p:nvPr/>
              </p:nvSpPr>
              <p:spPr bwMode="auto">
                <a:xfrm>
                  <a:off x="5752334" y="1964181"/>
                  <a:ext cx="557308" cy="47575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380" name="Group 589"/>
                <p:cNvGrpSpPr>
                  <a:grpSpLocks noChangeAspect="1"/>
                </p:cNvGrpSpPr>
                <p:nvPr/>
              </p:nvGrpSpPr>
              <p:grpSpPr bwMode="auto">
                <a:xfrm>
                  <a:off x="5897146" y="2015089"/>
                  <a:ext cx="277404" cy="275679"/>
                  <a:chOff x="3325" y="1774"/>
                  <a:chExt cx="804" cy="799"/>
                </a:xfrm>
              </p:grpSpPr>
              <p:sp>
                <p:nvSpPr>
                  <p:cNvPr id="381" name="Freeform 593"/>
                  <p:cNvSpPr>
                    <a:spLocks/>
                  </p:cNvSpPr>
                  <p:nvPr/>
                </p:nvSpPr>
                <p:spPr bwMode="auto">
                  <a:xfrm>
                    <a:off x="3325" y="1784"/>
                    <a:ext cx="779" cy="780"/>
                  </a:xfrm>
                  <a:custGeom>
                    <a:avLst/>
                    <a:gdLst>
                      <a:gd name="T0" fmla="*/ 1269 w 2335"/>
                      <a:gd name="T1" fmla="*/ 5 h 2338"/>
                      <a:gd name="T2" fmla="*/ 1462 w 2335"/>
                      <a:gd name="T3" fmla="*/ 39 h 2338"/>
                      <a:gd name="T4" fmla="*/ 1644 w 2335"/>
                      <a:gd name="T5" fmla="*/ 102 h 2338"/>
                      <a:gd name="T6" fmla="*/ 1811 w 2335"/>
                      <a:gd name="T7" fmla="*/ 194 h 2338"/>
                      <a:gd name="T8" fmla="*/ 1959 w 2335"/>
                      <a:gd name="T9" fmla="*/ 310 h 2338"/>
                      <a:gd name="T10" fmla="*/ 2086 w 2335"/>
                      <a:gd name="T11" fmla="*/ 448 h 2338"/>
                      <a:gd name="T12" fmla="*/ 2191 w 2335"/>
                      <a:gd name="T13" fmla="*/ 607 h 2338"/>
                      <a:gd name="T14" fmla="*/ 2270 w 2335"/>
                      <a:gd name="T15" fmla="*/ 782 h 2338"/>
                      <a:gd name="T16" fmla="*/ 2318 w 2335"/>
                      <a:gd name="T17" fmla="*/ 970 h 2338"/>
                      <a:gd name="T18" fmla="*/ 2335 w 2335"/>
                      <a:gd name="T19" fmla="*/ 1169 h 2338"/>
                      <a:gd name="T20" fmla="*/ 2318 w 2335"/>
                      <a:gd name="T21" fmla="*/ 1368 h 2338"/>
                      <a:gd name="T22" fmla="*/ 2270 w 2335"/>
                      <a:gd name="T23" fmla="*/ 1556 h 2338"/>
                      <a:gd name="T24" fmla="*/ 2191 w 2335"/>
                      <a:gd name="T25" fmla="*/ 1732 h 2338"/>
                      <a:gd name="T26" fmla="*/ 2086 w 2335"/>
                      <a:gd name="T27" fmla="*/ 1890 h 2338"/>
                      <a:gd name="T28" fmla="*/ 1959 w 2335"/>
                      <a:gd name="T29" fmla="*/ 2028 h 2338"/>
                      <a:gd name="T30" fmla="*/ 1811 w 2335"/>
                      <a:gd name="T31" fmla="*/ 2144 h 2338"/>
                      <a:gd name="T32" fmla="*/ 1644 w 2335"/>
                      <a:gd name="T33" fmla="*/ 2236 h 2338"/>
                      <a:gd name="T34" fmla="*/ 1462 w 2335"/>
                      <a:gd name="T35" fmla="*/ 2300 h 2338"/>
                      <a:gd name="T36" fmla="*/ 1269 w 2335"/>
                      <a:gd name="T37" fmla="*/ 2334 h 2338"/>
                      <a:gd name="T38" fmla="*/ 1067 w 2335"/>
                      <a:gd name="T39" fmla="*/ 2334 h 2338"/>
                      <a:gd name="T40" fmla="*/ 873 w 2335"/>
                      <a:gd name="T41" fmla="*/ 2300 h 2338"/>
                      <a:gd name="T42" fmla="*/ 692 w 2335"/>
                      <a:gd name="T43" fmla="*/ 2236 h 2338"/>
                      <a:gd name="T44" fmla="*/ 525 w 2335"/>
                      <a:gd name="T45" fmla="*/ 2144 h 2338"/>
                      <a:gd name="T46" fmla="*/ 377 w 2335"/>
                      <a:gd name="T47" fmla="*/ 2028 h 2338"/>
                      <a:gd name="T48" fmla="*/ 249 w 2335"/>
                      <a:gd name="T49" fmla="*/ 1890 h 2338"/>
                      <a:gd name="T50" fmla="*/ 144 w 2335"/>
                      <a:gd name="T51" fmla="*/ 1732 h 2338"/>
                      <a:gd name="T52" fmla="*/ 67 w 2335"/>
                      <a:gd name="T53" fmla="*/ 1556 h 2338"/>
                      <a:gd name="T54" fmla="*/ 17 w 2335"/>
                      <a:gd name="T55" fmla="*/ 1368 h 2338"/>
                      <a:gd name="T56" fmla="*/ 0 w 2335"/>
                      <a:gd name="T57" fmla="*/ 1169 h 2338"/>
                      <a:gd name="T58" fmla="*/ 17 w 2335"/>
                      <a:gd name="T59" fmla="*/ 970 h 2338"/>
                      <a:gd name="T60" fmla="*/ 67 w 2335"/>
                      <a:gd name="T61" fmla="*/ 782 h 2338"/>
                      <a:gd name="T62" fmla="*/ 144 w 2335"/>
                      <a:gd name="T63" fmla="*/ 607 h 2338"/>
                      <a:gd name="T64" fmla="*/ 249 w 2335"/>
                      <a:gd name="T65" fmla="*/ 448 h 2338"/>
                      <a:gd name="T66" fmla="*/ 377 w 2335"/>
                      <a:gd name="T67" fmla="*/ 310 h 2338"/>
                      <a:gd name="T68" fmla="*/ 525 w 2335"/>
                      <a:gd name="T69" fmla="*/ 194 h 2338"/>
                      <a:gd name="T70" fmla="*/ 692 w 2335"/>
                      <a:gd name="T71" fmla="*/ 102 h 2338"/>
                      <a:gd name="T72" fmla="*/ 873 w 2335"/>
                      <a:gd name="T73" fmla="*/ 39 h 2338"/>
                      <a:gd name="T74" fmla="*/ 1067 w 2335"/>
                      <a:gd name="T75" fmla="*/ 5 h 2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35" h="2338">
                        <a:moveTo>
                          <a:pt x="1167" y="0"/>
                        </a:moveTo>
                        <a:lnTo>
                          <a:pt x="1269" y="5"/>
                        </a:lnTo>
                        <a:lnTo>
                          <a:pt x="1366" y="17"/>
                        </a:lnTo>
                        <a:lnTo>
                          <a:pt x="1462" y="39"/>
                        </a:lnTo>
                        <a:lnTo>
                          <a:pt x="1554" y="67"/>
                        </a:lnTo>
                        <a:lnTo>
                          <a:pt x="1644" y="102"/>
                        </a:lnTo>
                        <a:lnTo>
                          <a:pt x="1729" y="145"/>
                        </a:lnTo>
                        <a:lnTo>
                          <a:pt x="1811" y="194"/>
                        </a:lnTo>
                        <a:lnTo>
                          <a:pt x="1887" y="249"/>
                        </a:lnTo>
                        <a:lnTo>
                          <a:pt x="1959" y="310"/>
                        </a:lnTo>
                        <a:lnTo>
                          <a:pt x="2025" y="376"/>
                        </a:lnTo>
                        <a:lnTo>
                          <a:pt x="2086" y="448"/>
                        </a:lnTo>
                        <a:lnTo>
                          <a:pt x="2143" y="526"/>
                        </a:lnTo>
                        <a:lnTo>
                          <a:pt x="2191" y="607"/>
                        </a:lnTo>
                        <a:lnTo>
                          <a:pt x="2233" y="691"/>
                        </a:lnTo>
                        <a:lnTo>
                          <a:pt x="2270" y="782"/>
                        </a:lnTo>
                        <a:lnTo>
                          <a:pt x="2298" y="874"/>
                        </a:lnTo>
                        <a:lnTo>
                          <a:pt x="2318" y="970"/>
                        </a:lnTo>
                        <a:lnTo>
                          <a:pt x="2330" y="1069"/>
                        </a:lnTo>
                        <a:lnTo>
                          <a:pt x="2335" y="1169"/>
                        </a:lnTo>
                        <a:lnTo>
                          <a:pt x="2330" y="1269"/>
                        </a:lnTo>
                        <a:lnTo>
                          <a:pt x="2318" y="1368"/>
                        </a:lnTo>
                        <a:lnTo>
                          <a:pt x="2298" y="1464"/>
                        </a:lnTo>
                        <a:lnTo>
                          <a:pt x="2270" y="1556"/>
                        </a:lnTo>
                        <a:lnTo>
                          <a:pt x="2233" y="1645"/>
                        </a:lnTo>
                        <a:lnTo>
                          <a:pt x="2191" y="1732"/>
                        </a:lnTo>
                        <a:lnTo>
                          <a:pt x="2143" y="1812"/>
                        </a:lnTo>
                        <a:lnTo>
                          <a:pt x="2086" y="1890"/>
                        </a:lnTo>
                        <a:lnTo>
                          <a:pt x="2025" y="1960"/>
                        </a:lnTo>
                        <a:lnTo>
                          <a:pt x="1959" y="2028"/>
                        </a:lnTo>
                        <a:lnTo>
                          <a:pt x="1887" y="2089"/>
                        </a:lnTo>
                        <a:lnTo>
                          <a:pt x="1811" y="2144"/>
                        </a:lnTo>
                        <a:lnTo>
                          <a:pt x="1729" y="2194"/>
                        </a:lnTo>
                        <a:lnTo>
                          <a:pt x="1644" y="2236"/>
                        </a:lnTo>
                        <a:lnTo>
                          <a:pt x="1554" y="2271"/>
                        </a:lnTo>
                        <a:lnTo>
                          <a:pt x="1462" y="2300"/>
                        </a:lnTo>
                        <a:lnTo>
                          <a:pt x="1366" y="2321"/>
                        </a:lnTo>
                        <a:lnTo>
                          <a:pt x="1269" y="2334"/>
                        </a:lnTo>
                        <a:lnTo>
                          <a:pt x="1167" y="2338"/>
                        </a:lnTo>
                        <a:lnTo>
                          <a:pt x="1067" y="2334"/>
                        </a:lnTo>
                        <a:lnTo>
                          <a:pt x="968" y="2321"/>
                        </a:lnTo>
                        <a:lnTo>
                          <a:pt x="873" y="2300"/>
                        </a:lnTo>
                        <a:lnTo>
                          <a:pt x="781" y="2271"/>
                        </a:lnTo>
                        <a:lnTo>
                          <a:pt x="692" y="2236"/>
                        </a:lnTo>
                        <a:lnTo>
                          <a:pt x="606" y="2194"/>
                        </a:lnTo>
                        <a:lnTo>
                          <a:pt x="525" y="2144"/>
                        </a:lnTo>
                        <a:lnTo>
                          <a:pt x="449" y="2089"/>
                        </a:lnTo>
                        <a:lnTo>
                          <a:pt x="377" y="2028"/>
                        </a:lnTo>
                        <a:lnTo>
                          <a:pt x="309" y="1960"/>
                        </a:lnTo>
                        <a:lnTo>
                          <a:pt x="249" y="1890"/>
                        </a:lnTo>
                        <a:lnTo>
                          <a:pt x="194" y="1812"/>
                        </a:lnTo>
                        <a:lnTo>
                          <a:pt x="144" y="1732"/>
                        </a:lnTo>
                        <a:lnTo>
                          <a:pt x="102" y="1645"/>
                        </a:lnTo>
                        <a:lnTo>
                          <a:pt x="67" y="1556"/>
                        </a:lnTo>
                        <a:lnTo>
                          <a:pt x="39" y="1464"/>
                        </a:lnTo>
                        <a:lnTo>
                          <a:pt x="17" y="1368"/>
                        </a:lnTo>
                        <a:lnTo>
                          <a:pt x="5" y="1269"/>
                        </a:lnTo>
                        <a:lnTo>
                          <a:pt x="0" y="1169"/>
                        </a:lnTo>
                        <a:lnTo>
                          <a:pt x="5" y="1069"/>
                        </a:lnTo>
                        <a:lnTo>
                          <a:pt x="17" y="970"/>
                        </a:lnTo>
                        <a:lnTo>
                          <a:pt x="39" y="874"/>
                        </a:lnTo>
                        <a:lnTo>
                          <a:pt x="67" y="782"/>
                        </a:lnTo>
                        <a:lnTo>
                          <a:pt x="102" y="691"/>
                        </a:lnTo>
                        <a:lnTo>
                          <a:pt x="144" y="607"/>
                        </a:lnTo>
                        <a:lnTo>
                          <a:pt x="194" y="526"/>
                        </a:lnTo>
                        <a:lnTo>
                          <a:pt x="249" y="448"/>
                        </a:lnTo>
                        <a:lnTo>
                          <a:pt x="309" y="376"/>
                        </a:lnTo>
                        <a:lnTo>
                          <a:pt x="377" y="310"/>
                        </a:lnTo>
                        <a:lnTo>
                          <a:pt x="449" y="249"/>
                        </a:lnTo>
                        <a:lnTo>
                          <a:pt x="525" y="194"/>
                        </a:lnTo>
                        <a:lnTo>
                          <a:pt x="606" y="145"/>
                        </a:lnTo>
                        <a:lnTo>
                          <a:pt x="692" y="102"/>
                        </a:lnTo>
                        <a:lnTo>
                          <a:pt x="781" y="67"/>
                        </a:lnTo>
                        <a:lnTo>
                          <a:pt x="873" y="39"/>
                        </a:lnTo>
                        <a:lnTo>
                          <a:pt x="968" y="17"/>
                        </a:lnTo>
                        <a:lnTo>
                          <a:pt x="1067" y="5"/>
                        </a:lnTo>
                        <a:lnTo>
                          <a:pt x="116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82" name="Line 594"/>
                  <p:cNvSpPr>
                    <a:spLocks noChangeShapeType="1"/>
                  </p:cNvSpPr>
                  <p:nvPr/>
                </p:nvSpPr>
                <p:spPr bwMode="auto">
                  <a:xfrm flipH="1">
                    <a:off x="4102" y="2174"/>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3" name="Line 595"/>
                  <p:cNvSpPr>
                    <a:spLocks noChangeShapeType="1"/>
                  </p:cNvSpPr>
                  <p:nvPr/>
                </p:nvSpPr>
                <p:spPr bwMode="auto">
                  <a:xfrm flipH="1">
                    <a:off x="4098" y="2207"/>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4" name="Line 596"/>
                  <p:cNvSpPr>
                    <a:spLocks noChangeShapeType="1"/>
                  </p:cNvSpPr>
                  <p:nvPr/>
                </p:nvSpPr>
                <p:spPr bwMode="auto">
                  <a:xfrm flipH="1">
                    <a:off x="4091" y="2240"/>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5" name="Line 597"/>
                  <p:cNvSpPr>
                    <a:spLocks noChangeShapeType="1"/>
                  </p:cNvSpPr>
                  <p:nvPr/>
                </p:nvSpPr>
                <p:spPr bwMode="auto">
                  <a:xfrm flipH="1">
                    <a:off x="4082" y="2272"/>
                    <a:ext cx="9"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6" name="Line 598"/>
                  <p:cNvSpPr>
                    <a:spLocks noChangeShapeType="1"/>
                  </p:cNvSpPr>
                  <p:nvPr/>
                </p:nvSpPr>
                <p:spPr bwMode="auto">
                  <a:xfrm flipH="1">
                    <a:off x="4070" y="2303"/>
                    <a:ext cx="12"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7" name="Line 599"/>
                  <p:cNvSpPr>
                    <a:spLocks noChangeShapeType="1"/>
                  </p:cNvSpPr>
                  <p:nvPr/>
                </p:nvSpPr>
                <p:spPr bwMode="auto">
                  <a:xfrm flipH="1">
                    <a:off x="4056" y="2333"/>
                    <a:ext cx="14" cy="29"/>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8" name="Line 600"/>
                  <p:cNvSpPr>
                    <a:spLocks noChangeShapeType="1"/>
                  </p:cNvSpPr>
                  <p:nvPr/>
                </p:nvSpPr>
                <p:spPr bwMode="auto">
                  <a:xfrm flipH="1">
                    <a:off x="4040" y="2362"/>
                    <a:ext cx="16"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9" name="Line 601"/>
                  <p:cNvSpPr>
                    <a:spLocks noChangeShapeType="1"/>
                  </p:cNvSpPr>
                  <p:nvPr/>
                </p:nvSpPr>
                <p:spPr bwMode="auto">
                  <a:xfrm flipH="1">
                    <a:off x="4021" y="2388"/>
                    <a:ext cx="19"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0" name="Line 602"/>
                  <p:cNvSpPr>
                    <a:spLocks noChangeShapeType="1"/>
                  </p:cNvSpPr>
                  <p:nvPr/>
                </p:nvSpPr>
                <p:spPr bwMode="auto">
                  <a:xfrm flipH="1">
                    <a:off x="4000" y="2414"/>
                    <a:ext cx="21"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1" name="Line 603"/>
                  <p:cNvSpPr>
                    <a:spLocks noChangeShapeType="1"/>
                  </p:cNvSpPr>
                  <p:nvPr/>
                </p:nvSpPr>
                <p:spPr bwMode="auto">
                  <a:xfrm flipH="1">
                    <a:off x="3978" y="2438"/>
                    <a:ext cx="22"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2" name="Line 604"/>
                  <p:cNvSpPr>
                    <a:spLocks noChangeShapeType="1"/>
                  </p:cNvSpPr>
                  <p:nvPr/>
                </p:nvSpPr>
                <p:spPr bwMode="auto">
                  <a:xfrm flipH="1">
                    <a:off x="3954" y="2460"/>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3" name="Line 605"/>
                  <p:cNvSpPr>
                    <a:spLocks noChangeShapeType="1"/>
                  </p:cNvSpPr>
                  <p:nvPr/>
                </p:nvSpPr>
                <p:spPr bwMode="auto">
                  <a:xfrm flipH="1">
                    <a:off x="3929" y="2481"/>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4" name="Line 606"/>
                  <p:cNvSpPr>
                    <a:spLocks noChangeShapeType="1"/>
                  </p:cNvSpPr>
                  <p:nvPr/>
                </p:nvSpPr>
                <p:spPr bwMode="auto">
                  <a:xfrm flipH="1">
                    <a:off x="3902" y="2499"/>
                    <a:ext cx="27" cy="1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5" name="Line 607"/>
                  <p:cNvSpPr>
                    <a:spLocks noChangeShapeType="1"/>
                  </p:cNvSpPr>
                  <p:nvPr/>
                </p:nvSpPr>
                <p:spPr bwMode="auto">
                  <a:xfrm flipH="1">
                    <a:off x="3873" y="2516"/>
                    <a:ext cx="29" cy="1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6" name="Line 608"/>
                  <p:cNvSpPr>
                    <a:spLocks noChangeShapeType="1"/>
                  </p:cNvSpPr>
                  <p:nvPr/>
                </p:nvSpPr>
                <p:spPr bwMode="auto">
                  <a:xfrm flipH="1">
                    <a:off x="3843" y="2530"/>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7" name="Line 609"/>
                  <p:cNvSpPr>
                    <a:spLocks noChangeShapeType="1"/>
                  </p:cNvSpPr>
                  <p:nvPr/>
                </p:nvSpPr>
                <p:spPr bwMode="auto">
                  <a:xfrm flipH="1">
                    <a:off x="3813" y="2541"/>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8" name="Line 610"/>
                  <p:cNvSpPr>
                    <a:spLocks noChangeShapeType="1"/>
                  </p:cNvSpPr>
                  <p:nvPr/>
                </p:nvSpPr>
                <p:spPr bwMode="auto">
                  <a:xfrm flipH="1">
                    <a:off x="3781" y="2551"/>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9" name="Line 611"/>
                  <p:cNvSpPr>
                    <a:spLocks noChangeShapeType="1"/>
                  </p:cNvSpPr>
                  <p:nvPr/>
                </p:nvSpPr>
                <p:spPr bwMode="auto">
                  <a:xfrm flipH="1">
                    <a:off x="3748" y="2558"/>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0" name="Line 612"/>
                  <p:cNvSpPr>
                    <a:spLocks noChangeShapeType="1"/>
                  </p:cNvSpPr>
                  <p:nvPr/>
                </p:nvSpPr>
                <p:spPr bwMode="auto">
                  <a:xfrm flipH="1">
                    <a:off x="3714" y="2562"/>
                    <a:ext cx="34"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1" name="Line 613"/>
                  <p:cNvSpPr>
                    <a:spLocks noChangeShapeType="1"/>
                  </p:cNvSpPr>
                  <p:nvPr/>
                </p:nvSpPr>
                <p:spPr bwMode="auto">
                  <a:xfrm flipH="1" flipV="1">
                    <a:off x="3681" y="2562"/>
                    <a:ext cx="33"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2" name="Line 614"/>
                  <p:cNvSpPr>
                    <a:spLocks noChangeShapeType="1"/>
                  </p:cNvSpPr>
                  <p:nvPr/>
                </p:nvSpPr>
                <p:spPr bwMode="auto">
                  <a:xfrm flipH="1" flipV="1">
                    <a:off x="3648" y="2558"/>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3" name="Line 615"/>
                  <p:cNvSpPr>
                    <a:spLocks noChangeShapeType="1"/>
                  </p:cNvSpPr>
                  <p:nvPr/>
                </p:nvSpPr>
                <p:spPr bwMode="auto">
                  <a:xfrm flipH="1" flipV="1">
                    <a:off x="3616" y="2551"/>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4" name="Line 616"/>
                  <p:cNvSpPr>
                    <a:spLocks noChangeShapeType="1"/>
                  </p:cNvSpPr>
                  <p:nvPr/>
                </p:nvSpPr>
                <p:spPr bwMode="auto">
                  <a:xfrm flipH="1" flipV="1">
                    <a:off x="3586" y="2541"/>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5" name="Line 617"/>
                  <p:cNvSpPr>
                    <a:spLocks noChangeShapeType="1"/>
                  </p:cNvSpPr>
                  <p:nvPr/>
                </p:nvSpPr>
                <p:spPr bwMode="auto">
                  <a:xfrm flipH="1" flipV="1">
                    <a:off x="3556" y="2530"/>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6" name="Line 618"/>
                  <p:cNvSpPr>
                    <a:spLocks noChangeShapeType="1"/>
                  </p:cNvSpPr>
                  <p:nvPr/>
                </p:nvSpPr>
                <p:spPr bwMode="auto">
                  <a:xfrm flipH="1" flipV="1">
                    <a:off x="3527" y="2516"/>
                    <a:ext cx="29" cy="1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7" name="Line 619"/>
                  <p:cNvSpPr>
                    <a:spLocks noChangeShapeType="1"/>
                  </p:cNvSpPr>
                  <p:nvPr/>
                </p:nvSpPr>
                <p:spPr bwMode="auto">
                  <a:xfrm flipH="1" flipV="1">
                    <a:off x="3500" y="2499"/>
                    <a:ext cx="27" cy="1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8" name="Line 620"/>
                  <p:cNvSpPr>
                    <a:spLocks noChangeShapeType="1"/>
                  </p:cNvSpPr>
                  <p:nvPr/>
                </p:nvSpPr>
                <p:spPr bwMode="auto">
                  <a:xfrm flipH="1" flipV="1">
                    <a:off x="3475" y="2481"/>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9" name="Line 621"/>
                  <p:cNvSpPr>
                    <a:spLocks noChangeShapeType="1"/>
                  </p:cNvSpPr>
                  <p:nvPr/>
                </p:nvSpPr>
                <p:spPr bwMode="auto">
                  <a:xfrm flipH="1" flipV="1">
                    <a:off x="3451" y="2460"/>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0" name="Line 622"/>
                  <p:cNvSpPr>
                    <a:spLocks noChangeShapeType="1"/>
                  </p:cNvSpPr>
                  <p:nvPr/>
                </p:nvSpPr>
                <p:spPr bwMode="auto">
                  <a:xfrm flipH="1" flipV="1">
                    <a:off x="3428" y="2438"/>
                    <a:ext cx="23"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1" name="Line 623"/>
                  <p:cNvSpPr>
                    <a:spLocks noChangeShapeType="1"/>
                  </p:cNvSpPr>
                  <p:nvPr/>
                </p:nvSpPr>
                <p:spPr bwMode="auto">
                  <a:xfrm flipH="1" flipV="1">
                    <a:off x="3408" y="2414"/>
                    <a:ext cx="20"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2" name="Line 624"/>
                  <p:cNvSpPr>
                    <a:spLocks noChangeShapeType="1"/>
                  </p:cNvSpPr>
                  <p:nvPr/>
                </p:nvSpPr>
                <p:spPr bwMode="auto">
                  <a:xfrm flipH="1" flipV="1">
                    <a:off x="3390" y="2388"/>
                    <a:ext cx="18"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3" name="Line 625"/>
                  <p:cNvSpPr>
                    <a:spLocks noChangeShapeType="1"/>
                  </p:cNvSpPr>
                  <p:nvPr/>
                </p:nvSpPr>
                <p:spPr bwMode="auto">
                  <a:xfrm flipH="1" flipV="1">
                    <a:off x="3373" y="2362"/>
                    <a:ext cx="17"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4" name="Line 626"/>
                  <p:cNvSpPr>
                    <a:spLocks noChangeShapeType="1"/>
                  </p:cNvSpPr>
                  <p:nvPr/>
                </p:nvSpPr>
                <p:spPr bwMode="auto">
                  <a:xfrm flipH="1" flipV="1">
                    <a:off x="3359" y="2333"/>
                    <a:ext cx="14" cy="29"/>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5" name="Line 627"/>
                  <p:cNvSpPr>
                    <a:spLocks noChangeShapeType="1"/>
                  </p:cNvSpPr>
                  <p:nvPr/>
                </p:nvSpPr>
                <p:spPr bwMode="auto">
                  <a:xfrm flipH="1" flipV="1">
                    <a:off x="3348" y="2303"/>
                    <a:ext cx="11"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6" name="Line 628"/>
                  <p:cNvSpPr>
                    <a:spLocks noChangeShapeType="1"/>
                  </p:cNvSpPr>
                  <p:nvPr/>
                </p:nvSpPr>
                <p:spPr bwMode="auto">
                  <a:xfrm flipH="1" flipV="1">
                    <a:off x="3338" y="2272"/>
                    <a:ext cx="10"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7" name="Line 629"/>
                  <p:cNvSpPr>
                    <a:spLocks noChangeShapeType="1"/>
                  </p:cNvSpPr>
                  <p:nvPr/>
                </p:nvSpPr>
                <p:spPr bwMode="auto">
                  <a:xfrm flipH="1" flipV="1">
                    <a:off x="3331" y="2240"/>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8" name="Line 630"/>
                  <p:cNvSpPr>
                    <a:spLocks noChangeShapeType="1"/>
                  </p:cNvSpPr>
                  <p:nvPr/>
                </p:nvSpPr>
                <p:spPr bwMode="auto">
                  <a:xfrm flipH="1" flipV="1">
                    <a:off x="3327" y="2207"/>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9" name="Line 631"/>
                  <p:cNvSpPr>
                    <a:spLocks noChangeShapeType="1"/>
                  </p:cNvSpPr>
                  <p:nvPr/>
                </p:nvSpPr>
                <p:spPr bwMode="auto">
                  <a:xfrm flipH="1" flipV="1">
                    <a:off x="3325" y="2174"/>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20" name="Line 632"/>
                  <p:cNvSpPr>
                    <a:spLocks noChangeShapeType="1"/>
                  </p:cNvSpPr>
                  <p:nvPr/>
                </p:nvSpPr>
                <p:spPr bwMode="auto">
                  <a:xfrm flipV="1">
                    <a:off x="3325" y="2141"/>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21" name="Line 633"/>
                  <p:cNvSpPr>
                    <a:spLocks noChangeShapeType="1"/>
                  </p:cNvSpPr>
                  <p:nvPr/>
                </p:nvSpPr>
                <p:spPr bwMode="auto">
                  <a:xfrm flipV="1">
                    <a:off x="3327" y="2108"/>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22" name="Line 634"/>
                  <p:cNvSpPr>
                    <a:spLocks noChangeShapeType="1"/>
                  </p:cNvSpPr>
                  <p:nvPr/>
                </p:nvSpPr>
                <p:spPr bwMode="auto">
                  <a:xfrm flipV="1">
                    <a:off x="3331" y="2076"/>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23" name="Line 635"/>
                  <p:cNvSpPr>
                    <a:spLocks noChangeShapeType="1"/>
                  </p:cNvSpPr>
                  <p:nvPr/>
                </p:nvSpPr>
                <p:spPr bwMode="auto">
                  <a:xfrm flipV="1">
                    <a:off x="3338" y="2045"/>
                    <a:ext cx="10"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24" name="Line 636"/>
                  <p:cNvSpPr>
                    <a:spLocks noChangeShapeType="1"/>
                  </p:cNvSpPr>
                  <p:nvPr/>
                </p:nvSpPr>
                <p:spPr bwMode="auto">
                  <a:xfrm flipV="1">
                    <a:off x="3348" y="2015"/>
                    <a:ext cx="11"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25" name="Line 637"/>
                  <p:cNvSpPr>
                    <a:spLocks noChangeShapeType="1"/>
                  </p:cNvSpPr>
                  <p:nvPr/>
                </p:nvSpPr>
                <p:spPr bwMode="auto">
                  <a:xfrm flipV="1">
                    <a:off x="3359" y="1987"/>
                    <a:ext cx="14" cy="2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26" name="Line 638"/>
                  <p:cNvSpPr>
                    <a:spLocks noChangeShapeType="1"/>
                  </p:cNvSpPr>
                  <p:nvPr/>
                </p:nvSpPr>
                <p:spPr bwMode="auto">
                  <a:xfrm flipV="1">
                    <a:off x="3373" y="1960"/>
                    <a:ext cx="17" cy="2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27" name="Line 639"/>
                  <p:cNvSpPr>
                    <a:spLocks noChangeShapeType="1"/>
                  </p:cNvSpPr>
                  <p:nvPr/>
                </p:nvSpPr>
                <p:spPr bwMode="auto">
                  <a:xfrm flipV="1">
                    <a:off x="3390" y="1934"/>
                    <a:ext cx="18"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28" name="Line 640"/>
                  <p:cNvSpPr>
                    <a:spLocks noChangeShapeType="1"/>
                  </p:cNvSpPr>
                  <p:nvPr/>
                </p:nvSpPr>
                <p:spPr bwMode="auto">
                  <a:xfrm flipV="1">
                    <a:off x="3408" y="1910"/>
                    <a:ext cx="20"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29" name="Line 641"/>
                  <p:cNvSpPr>
                    <a:spLocks noChangeShapeType="1"/>
                  </p:cNvSpPr>
                  <p:nvPr/>
                </p:nvSpPr>
                <p:spPr bwMode="auto">
                  <a:xfrm flipV="1">
                    <a:off x="3428" y="1888"/>
                    <a:ext cx="23"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0" name="Line 642"/>
                  <p:cNvSpPr>
                    <a:spLocks noChangeShapeType="1"/>
                  </p:cNvSpPr>
                  <p:nvPr/>
                </p:nvSpPr>
                <p:spPr bwMode="auto">
                  <a:xfrm flipV="1">
                    <a:off x="3451" y="1867"/>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1" name="Line 643"/>
                  <p:cNvSpPr>
                    <a:spLocks noChangeShapeType="1"/>
                  </p:cNvSpPr>
                  <p:nvPr/>
                </p:nvSpPr>
                <p:spPr bwMode="auto">
                  <a:xfrm flipV="1">
                    <a:off x="3475" y="1849"/>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2" name="Line 644"/>
                  <p:cNvSpPr>
                    <a:spLocks noChangeShapeType="1"/>
                  </p:cNvSpPr>
                  <p:nvPr/>
                </p:nvSpPr>
                <p:spPr bwMode="auto">
                  <a:xfrm flipV="1">
                    <a:off x="3500" y="1833"/>
                    <a:ext cx="27" cy="1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3" name="Line 645"/>
                  <p:cNvSpPr>
                    <a:spLocks noChangeShapeType="1"/>
                  </p:cNvSpPr>
                  <p:nvPr/>
                </p:nvSpPr>
                <p:spPr bwMode="auto">
                  <a:xfrm flipV="1">
                    <a:off x="3527" y="1818"/>
                    <a:ext cx="29" cy="15"/>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4" name="Line 646"/>
                  <p:cNvSpPr>
                    <a:spLocks noChangeShapeType="1"/>
                  </p:cNvSpPr>
                  <p:nvPr/>
                </p:nvSpPr>
                <p:spPr bwMode="auto">
                  <a:xfrm flipV="1">
                    <a:off x="3556" y="1807"/>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5" name="Line 647"/>
                  <p:cNvSpPr>
                    <a:spLocks noChangeShapeType="1"/>
                  </p:cNvSpPr>
                  <p:nvPr/>
                </p:nvSpPr>
                <p:spPr bwMode="auto">
                  <a:xfrm flipV="1">
                    <a:off x="3586" y="1797"/>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6" name="Line 648"/>
                  <p:cNvSpPr>
                    <a:spLocks noChangeShapeType="1"/>
                  </p:cNvSpPr>
                  <p:nvPr/>
                </p:nvSpPr>
                <p:spPr bwMode="auto">
                  <a:xfrm flipV="1">
                    <a:off x="3616" y="1790"/>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7" name="Line 649"/>
                  <p:cNvSpPr>
                    <a:spLocks noChangeShapeType="1"/>
                  </p:cNvSpPr>
                  <p:nvPr/>
                </p:nvSpPr>
                <p:spPr bwMode="auto">
                  <a:xfrm flipV="1">
                    <a:off x="3648" y="1786"/>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8" name="Line 650"/>
                  <p:cNvSpPr>
                    <a:spLocks noChangeShapeType="1"/>
                  </p:cNvSpPr>
                  <p:nvPr/>
                </p:nvSpPr>
                <p:spPr bwMode="auto">
                  <a:xfrm flipV="1">
                    <a:off x="3681" y="1784"/>
                    <a:ext cx="33"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9" name="Line 651"/>
                  <p:cNvSpPr>
                    <a:spLocks noChangeShapeType="1"/>
                  </p:cNvSpPr>
                  <p:nvPr/>
                </p:nvSpPr>
                <p:spPr bwMode="auto">
                  <a:xfrm>
                    <a:off x="3714" y="1784"/>
                    <a:ext cx="34"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0" name="Line 652"/>
                  <p:cNvSpPr>
                    <a:spLocks noChangeShapeType="1"/>
                  </p:cNvSpPr>
                  <p:nvPr/>
                </p:nvSpPr>
                <p:spPr bwMode="auto">
                  <a:xfrm>
                    <a:off x="3748" y="1786"/>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1" name="Line 653"/>
                  <p:cNvSpPr>
                    <a:spLocks noChangeShapeType="1"/>
                  </p:cNvSpPr>
                  <p:nvPr/>
                </p:nvSpPr>
                <p:spPr bwMode="auto">
                  <a:xfrm>
                    <a:off x="3781" y="1790"/>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2" name="Line 654"/>
                  <p:cNvSpPr>
                    <a:spLocks noChangeShapeType="1"/>
                  </p:cNvSpPr>
                  <p:nvPr/>
                </p:nvSpPr>
                <p:spPr bwMode="auto">
                  <a:xfrm>
                    <a:off x="3813" y="1797"/>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3" name="Line 655"/>
                  <p:cNvSpPr>
                    <a:spLocks noChangeShapeType="1"/>
                  </p:cNvSpPr>
                  <p:nvPr/>
                </p:nvSpPr>
                <p:spPr bwMode="auto">
                  <a:xfrm>
                    <a:off x="3843" y="1807"/>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4" name="Line 656"/>
                  <p:cNvSpPr>
                    <a:spLocks noChangeShapeType="1"/>
                  </p:cNvSpPr>
                  <p:nvPr/>
                </p:nvSpPr>
                <p:spPr bwMode="auto">
                  <a:xfrm>
                    <a:off x="3873" y="1818"/>
                    <a:ext cx="29" cy="15"/>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5" name="Line 657"/>
                  <p:cNvSpPr>
                    <a:spLocks noChangeShapeType="1"/>
                  </p:cNvSpPr>
                  <p:nvPr/>
                </p:nvSpPr>
                <p:spPr bwMode="auto">
                  <a:xfrm>
                    <a:off x="3902" y="1833"/>
                    <a:ext cx="27" cy="1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6" name="Line 658"/>
                  <p:cNvSpPr>
                    <a:spLocks noChangeShapeType="1"/>
                  </p:cNvSpPr>
                  <p:nvPr/>
                </p:nvSpPr>
                <p:spPr bwMode="auto">
                  <a:xfrm>
                    <a:off x="3929" y="1849"/>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7" name="Line 659"/>
                  <p:cNvSpPr>
                    <a:spLocks noChangeShapeType="1"/>
                  </p:cNvSpPr>
                  <p:nvPr/>
                </p:nvSpPr>
                <p:spPr bwMode="auto">
                  <a:xfrm>
                    <a:off x="3954" y="1867"/>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8" name="Line 660"/>
                  <p:cNvSpPr>
                    <a:spLocks noChangeShapeType="1"/>
                  </p:cNvSpPr>
                  <p:nvPr/>
                </p:nvSpPr>
                <p:spPr bwMode="auto">
                  <a:xfrm>
                    <a:off x="3978" y="1888"/>
                    <a:ext cx="22"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49" name="Line 661"/>
                  <p:cNvSpPr>
                    <a:spLocks noChangeShapeType="1"/>
                  </p:cNvSpPr>
                  <p:nvPr/>
                </p:nvSpPr>
                <p:spPr bwMode="auto">
                  <a:xfrm>
                    <a:off x="4000" y="1910"/>
                    <a:ext cx="21"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50" name="Line 662"/>
                  <p:cNvSpPr>
                    <a:spLocks noChangeShapeType="1"/>
                  </p:cNvSpPr>
                  <p:nvPr/>
                </p:nvSpPr>
                <p:spPr bwMode="auto">
                  <a:xfrm>
                    <a:off x="4021" y="1934"/>
                    <a:ext cx="19"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51" name="Line 663"/>
                  <p:cNvSpPr>
                    <a:spLocks noChangeShapeType="1"/>
                  </p:cNvSpPr>
                  <p:nvPr/>
                </p:nvSpPr>
                <p:spPr bwMode="auto">
                  <a:xfrm>
                    <a:off x="4040" y="1960"/>
                    <a:ext cx="16" cy="2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52" name="Line 664"/>
                  <p:cNvSpPr>
                    <a:spLocks noChangeShapeType="1"/>
                  </p:cNvSpPr>
                  <p:nvPr/>
                </p:nvSpPr>
                <p:spPr bwMode="auto">
                  <a:xfrm>
                    <a:off x="4056" y="1987"/>
                    <a:ext cx="14" cy="2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53" name="Line 665"/>
                  <p:cNvSpPr>
                    <a:spLocks noChangeShapeType="1"/>
                  </p:cNvSpPr>
                  <p:nvPr/>
                </p:nvSpPr>
                <p:spPr bwMode="auto">
                  <a:xfrm>
                    <a:off x="4070" y="2015"/>
                    <a:ext cx="12"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54" name="Line 666"/>
                  <p:cNvSpPr>
                    <a:spLocks noChangeShapeType="1"/>
                  </p:cNvSpPr>
                  <p:nvPr/>
                </p:nvSpPr>
                <p:spPr bwMode="auto">
                  <a:xfrm>
                    <a:off x="4082" y="2045"/>
                    <a:ext cx="9"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55" name="Line 667"/>
                  <p:cNvSpPr>
                    <a:spLocks noChangeShapeType="1"/>
                  </p:cNvSpPr>
                  <p:nvPr/>
                </p:nvSpPr>
                <p:spPr bwMode="auto">
                  <a:xfrm>
                    <a:off x="4091" y="2076"/>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56" name="Line 668"/>
                  <p:cNvSpPr>
                    <a:spLocks noChangeShapeType="1"/>
                  </p:cNvSpPr>
                  <p:nvPr/>
                </p:nvSpPr>
                <p:spPr bwMode="auto">
                  <a:xfrm>
                    <a:off x="4098" y="2108"/>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57" name="Line 669"/>
                  <p:cNvSpPr>
                    <a:spLocks noChangeShapeType="1"/>
                  </p:cNvSpPr>
                  <p:nvPr/>
                </p:nvSpPr>
                <p:spPr bwMode="auto">
                  <a:xfrm>
                    <a:off x="4102" y="2141"/>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58" name="Freeform 670"/>
                  <p:cNvSpPr>
                    <a:spLocks noEditPoints="1"/>
                  </p:cNvSpPr>
                  <p:nvPr/>
                </p:nvSpPr>
                <p:spPr bwMode="auto">
                  <a:xfrm>
                    <a:off x="3327" y="1774"/>
                    <a:ext cx="802" cy="799"/>
                  </a:xfrm>
                  <a:custGeom>
                    <a:avLst/>
                    <a:gdLst>
                      <a:gd name="T0" fmla="*/ 1400 w 2406"/>
                      <a:gd name="T1" fmla="*/ 1574 h 2398"/>
                      <a:gd name="T2" fmla="*/ 1366 w 2406"/>
                      <a:gd name="T3" fmla="*/ 1683 h 2398"/>
                      <a:gd name="T4" fmla="*/ 968 w 2406"/>
                      <a:gd name="T5" fmla="*/ 1607 h 2398"/>
                      <a:gd name="T6" fmla="*/ 1744 w 2406"/>
                      <a:gd name="T7" fmla="*/ 1472 h 2398"/>
                      <a:gd name="T8" fmla="*/ 1788 w 2406"/>
                      <a:gd name="T9" fmla="*/ 1655 h 2398"/>
                      <a:gd name="T10" fmla="*/ 1622 w 2406"/>
                      <a:gd name="T11" fmla="*/ 1737 h 2398"/>
                      <a:gd name="T12" fmla="*/ 1508 w 2406"/>
                      <a:gd name="T13" fmla="*/ 1622 h 2398"/>
                      <a:gd name="T14" fmla="*/ 1587 w 2406"/>
                      <a:gd name="T15" fmla="*/ 1461 h 2398"/>
                      <a:gd name="T16" fmla="*/ 804 w 2406"/>
                      <a:gd name="T17" fmla="*/ 1457 h 2398"/>
                      <a:gd name="T18" fmla="*/ 849 w 2406"/>
                      <a:gd name="T19" fmla="*/ 1638 h 2398"/>
                      <a:gd name="T20" fmla="*/ 692 w 2406"/>
                      <a:gd name="T21" fmla="*/ 1721 h 2398"/>
                      <a:gd name="T22" fmla="*/ 573 w 2406"/>
                      <a:gd name="T23" fmla="*/ 1612 h 2398"/>
                      <a:gd name="T24" fmla="*/ 649 w 2406"/>
                      <a:gd name="T25" fmla="*/ 1444 h 2398"/>
                      <a:gd name="T26" fmla="*/ 1615 w 2406"/>
                      <a:gd name="T27" fmla="*/ 1164 h 2398"/>
                      <a:gd name="T28" fmla="*/ 1587 w 2406"/>
                      <a:gd name="T29" fmla="*/ 1347 h 2398"/>
                      <a:gd name="T30" fmla="*/ 1388 w 2406"/>
                      <a:gd name="T31" fmla="*/ 902 h 2398"/>
                      <a:gd name="T32" fmla="*/ 1134 w 2406"/>
                      <a:gd name="T33" fmla="*/ 842 h 2398"/>
                      <a:gd name="T34" fmla="*/ 1076 w 2406"/>
                      <a:gd name="T35" fmla="*/ 985 h 2398"/>
                      <a:gd name="T36" fmla="*/ 790 w 2406"/>
                      <a:gd name="T37" fmla="*/ 1333 h 2398"/>
                      <a:gd name="T38" fmla="*/ 1042 w 2406"/>
                      <a:gd name="T39" fmla="*/ 856 h 2398"/>
                      <a:gd name="T40" fmla="*/ 1424 w 2406"/>
                      <a:gd name="T41" fmla="*/ 564 h 2398"/>
                      <a:gd name="T42" fmla="*/ 1428 w 2406"/>
                      <a:gd name="T43" fmla="*/ 749 h 2398"/>
                      <a:gd name="T44" fmla="*/ 1250 w 2406"/>
                      <a:gd name="T45" fmla="*/ 793 h 2398"/>
                      <a:gd name="T46" fmla="*/ 1162 w 2406"/>
                      <a:gd name="T47" fmla="*/ 660 h 2398"/>
                      <a:gd name="T48" fmla="*/ 1275 w 2406"/>
                      <a:gd name="T49" fmla="*/ 514 h 2398"/>
                      <a:gd name="T50" fmla="*/ 904 w 2406"/>
                      <a:gd name="T51" fmla="*/ 216 h 2398"/>
                      <a:gd name="T52" fmla="*/ 1196 w 2406"/>
                      <a:gd name="T53" fmla="*/ 431 h 2398"/>
                      <a:gd name="T54" fmla="*/ 938 w 2406"/>
                      <a:gd name="T55" fmla="*/ 356 h 2398"/>
                      <a:gd name="T56" fmla="*/ 547 w 2406"/>
                      <a:gd name="T57" fmla="*/ 410 h 2398"/>
                      <a:gd name="T58" fmla="*/ 255 w 2406"/>
                      <a:gd name="T59" fmla="*/ 798 h 2398"/>
                      <a:gd name="T60" fmla="*/ 175 w 2406"/>
                      <a:gd name="T61" fmla="*/ 1228 h 2398"/>
                      <a:gd name="T62" fmla="*/ 431 w 2406"/>
                      <a:gd name="T63" fmla="*/ 1420 h 2398"/>
                      <a:gd name="T64" fmla="*/ 324 w 2406"/>
                      <a:gd name="T65" fmla="*/ 1485 h 2398"/>
                      <a:gd name="T66" fmla="*/ 214 w 2406"/>
                      <a:gd name="T67" fmla="*/ 1484 h 2398"/>
                      <a:gd name="T68" fmla="*/ 458 w 2406"/>
                      <a:gd name="T69" fmla="*/ 1906 h 2398"/>
                      <a:gd name="T70" fmla="*/ 674 w 2406"/>
                      <a:gd name="T71" fmla="*/ 1826 h 2398"/>
                      <a:gd name="T72" fmla="*/ 849 w 2406"/>
                      <a:gd name="T73" fmla="*/ 2162 h 2398"/>
                      <a:gd name="T74" fmla="*/ 1368 w 2406"/>
                      <a:gd name="T75" fmla="*/ 2211 h 2398"/>
                      <a:gd name="T76" fmla="*/ 1590 w 2406"/>
                      <a:gd name="T77" fmla="*/ 1971 h 2398"/>
                      <a:gd name="T78" fmla="*/ 1717 w 2406"/>
                      <a:gd name="T79" fmla="*/ 1840 h 2398"/>
                      <a:gd name="T80" fmla="*/ 1799 w 2406"/>
                      <a:gd name="T81" fmla="*/ 2035 h 2398"/>
                      <a:gd name="T82" fmla="*/ 2107 w 2406"/>
                      <a:gd name="T83" fmla="*/ 1687 h 2398"/>
                      <a:gd name="T84" fmla="*/ 2099 w 2406"/>
                      <a:gd name="T85" fmla="*/ 1482 h 2398"/>
                      <a:gd name="T86" fmla="*/ 1878 w 2406"/>
                      <a:gd name="T87" fmla="*/ 1471 h 2398"/>
                      <a:gd name="T88" fmla="*/ 2231 w 2406"/>
                      <a:gd name="T89" fmla="*/ 1236 h 2398"/>
                      <a:gd name="T90" fmla="*/ 2164 w 2406"/>
                      <a:gd name="T91" fmla="*/ 832 h 2398"/>
                      <a:gd name="T92" fmla="*/ 1865 w 2406"/>
                      <a:gd name="T93" fmla="*/ 413 h 2398"/>
                      <a:gd name="T94" fmla="*/ 1505 w 2406"/>
                      <a:gd name="T95" fmla="*/ 495 h 2398"/>
                      <a:gd name="T96" fmla="*/ 1608 w 2406"/>
                      <a:gd name="T97" fmla="*/ 257 h 2398"/>
                      <a:gd name="T98" fmla="*/ 1185 w 2406"/>
                      <a:gd name="T99" fmla="*/ 0 h 2398"/>
                      <a:gd name="T100" fmla="*/ 1761 w 2406"/>
                      <a:gd name="T101" fmla="*/ 136 h 2398"/>
                      <a:gd name="T102" fmla="*/ 2177 w 2406"/>
                      <a:gd name="T103" fmla="*/ 492 h 2398"/>
                      <a:gd name="T104" fmla="*/ 2389 w 2406"/>
                      <a:gd name="T105" fmla="*/ 992 h 2398"/>
                      <a:gd name="T106" fmla="*/ 2346 w 2406"/>
                      <a:gd name="T107" fmla="*/ 1577 h 2398"/>
                      <a:gd name="T108" fmla="*/ 2049 w 2406"/>
                      <a:gd name="T109" fmla="*/ 2053 h 2398"/>
                      <a:gd name="T110" fmla="*/ 1590 w 2406"/>
                      <a:gd name="T111" fmla="*/ 2336 h 2398"/>
                      <a:gd name="T112" fmla="*/ 1017 w 2406"/>
                      <a:gd name="T113" fmla="*/ 2384 h 2398"/>
                      <a:gd name="T114" fmla="*/ 481 w 2406"/>
                      <a:gd name="T115" fmla="*/ 2159 h 2398"/>
                      <a:gd name="T116" fmla="*/ 134 w 2406"/>
                      <a:gd name="T117" fmla="*/ 1752 h 2398"/>
                      <a:gd name="T118" fmla="*/ 0 w 2406"/>
                      <a:gd name="T119" fmla="*/ 1217 h 2398"/>
                      <a:gd name="T120" fmla="*/ 136 w 2406"/>
                      <a:gd name="T121" fmla="*/ 643 h 2398"/>
                      <a:gd name="T122" fmla="*/ 494 w 2406"/>
                      <a:gd name="T123" fmla="*/ 229 h 2398"/>
                      <a:gd name="T124" fmla="*/ 996 w 2406"/>
                      <a:gd name="T125" fmla="*/ 17 h 2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06" h="2398">
                        <a:moveTo>
                          <a:pt x="971" y="1566"/>
                        </a:moveTo>
                        <a:lnTo>
                          <a:pt x="1083" y="1576"/>
                        </a:lnTo>
                        <a:lnTo>
                          <a:pt x="1199" y="1580"/>
                        </a:lnTo>
                        <a:lnTo>
                          <a:pt x="1313" y="1578"/>
                        </a:lnTo>
                        <a:lnTo>
                          <a:pt x="1357" y="1577"/>
                        </a:lnTo>
                        <a:lnTo>
                          <a:pt x="1400" y="1574"/>
                        </a:lnTo>
                        <a:lnTo>
                          <a:pt x="1398" y="1581"/>
                        </a:lnTo>
                        <a:lnTo>
                          <a:pt x="1398" y="1588"/>
                        </a:lnTo>
                        <a:lnTo>
                          <a:pt x="1398" y="1597"/>
                        </a:lnTo>
                        <a:lnTo>
                          <a:pt x="1402" y="1639"/>
                        </a:lnTo>
                        <a:lnTo>
                          <a:pt x="1414" y="1680"/>
                        </a:lnTo>
                        <a:lnTo>
                          <a:pt x="1366" y="1683"/>
                        </a:lnTo>
                        <a:lnTo>
                          <a:pt x="1316" y="1687"/>
                        </a:lnTo>
                        <a:lnTo>
                          <a:pt x="1193" y="1687"/>
                        </a:lnTo>
                        <a:lnTo>
                          <a:pt x="1074" y="1683"/>
                        </a:lnTo>
                        <a:lnTo>
                          <a:pt x="952" y="1672"/>
                        </a:lnTo>
                        <a:lnTo>
                          <a:pt x="962" y="1639"/>
                        </a:lnTo>
                        <a:lnTo>
                          <a:pt x="968" y="1607"/>
                        </a:lnTo>
                        <a:lnTo>
                          <a:pt x="971" y="1573"/>
                        </a:lnTo>
                        <a:lnTo>
                          <a:pt x="971" y="1566"/>
                        </a:lnTo>
                        <a:close/>
                        <a:moveTo>
                          <a:pt x="1652" y="1444"/>
                        </a:moveTo>
                        <a:lnTo>
                          <a:pt x="1685" y="1447"/>
                        </a:lnTo>
                        <a:lnTo>
                          <a:pt x="1716" y="1457"/>
                        </a:lnTo>
                        <a:lnTo>
                          <a:pt x="1744" y="1472"/>
                        </a:lnTo>
                        <a:lnTo>
                          <a:pt x="1768" y="1495"/>
                        </a:lnTo>
                        <a:lnTo>
                          <a:pt x="1785" y="1523"/>
                        </a:lnTo>
                        <a:lnTo>
                          <a:pt x="1797" y="1554"/>
                        </a:lnTo>
                        <a:lnTo>
                          <a:pt x="1800" y="1590"/>
                        </a:lnTo>
                        <a:lnTo>
                          <a:pt x="1797" y="1624"/>
                        </a:lnTo>
                        <a:lnTo>
                          <a:pt x="1788" y="1655"/>
                        </a:lnTo>
                        <a:lnTo>
                          <a:pt x="1771" y="1683"/>
                        </a:lnTo>
                        <a:lnTo>
                          <a:pt x="1748" y="1706"/>
                        </a:lnTo>
                        <a:lnTo>
                          <a:pt x="1721" y="1724"/>
                        </a:lnTo>
                        <a:lnTo>
                          <a:pt x="1690" y="1735"/>
                        </a:lnTo>
                        <a:lnTo>
                          <a:pt x="1656" y="1740"/>
                        </a:lnTo>
                        <a:lnTo>
                          <a:pt x="1622" y="1737"/>
                        </a:lnTo>
                        <a:lnTo>
                          <a:pt x="1591" y="1725"/>
                        </a:lnTo>
                        <a:lnTo>
                          <a:pt x="1563" y="1708"/>
                        </a:lnTo>
                        <a:lnTo>
                          <a:pt x="1545" y="1691"/>
                        </a:lnTo>
                        <a:lnTo>
                          <a:pt x="1528" y="1672"/>
                        </a:lnTo>
                        <a:lnTo>
                          <a:pt x="1517" y="1648"/>
                        </a:lnTo>
                        <a:lnTo>
                          <a:pt x="1508" y="1622"/>
                        </a:lnTo>
                        <a:lnTo>
                          <a:pt x="1507" y="1594"/>
                        </a:lnTo>
                        <a:lnTo>
                          <a:pt x="1510" y="1560"/>
                        </a:lnTo>
                        <a:lnTo>
                          <a:pt x="1519" y="1529"/>
                        </a:lnTo>
                        <a:lnTo>
                          <a:pt x="1538" y="1502"/>
                        </a:lnTo>
                        <a:lnTo>
                          <a:pt x="1560" y="1478"/>
                        </a:lnTo>
                        <a:lnTo>
                          <a:pt x="1587" y="1461"/>
                        </a:lnTo>
                        <a:lnTo>
                          <a:pt x="1618" y="1448"/>
                        </a:lnTo>
                        <a:lnTo>
                          <a:pt x="1652" y="1444"/>
                        </a:lnTo>
                        <a:close/>
                        <a:moveTo>
                          <a:pt x="714" y="1429"/>
                        </a:moveTo>
                        <a:lnTo>
                          <a:pt x="746" y="1431"/>
                        </a:lnTo>
                        <a:lnTo>
                          <a:pt x="777" y="1441"/>
                        </a:lnTo>
                        <a:lnTo>
                          <a:pt x="804" y="1457"/>
                        </a:lnTo>
                        <a:lnTo>
                          <a:pt x="828" y="1479"/>
                        </a:lnTo>
                        <a:lnTo>
                          <a:pt x="846" y="1508"/>
                        </a:lnTo>
                        <a:lnTo>
                          <a:pt x="859" y="1539"/>
                        </a:lnTo>
                        <a:lnTo>
                          <a:pt x="863" y="1574"/>
                        </a:lnTo>
                        <a:lnTo>
                          <a:pt x="860" y="1608"/>
                        </a:lnTo>
                        <a:lnTo>
                          <a:pt x="849" y="1638"/>
                        </a:lnTo>
                        <a:lnTo>
                          <a:pt x="832" y="1666"/>
                        </a:lnTo>
                        <a:lnTo>
                          <a:pt x="810" y="1689"/>
                        </a:lnTo>
                        <a:lnTo>
                          <a:pt x="783" y="1707"/>
                        </a:lnTo>
                        <a:lnTo>
                          <a:pt x="752" y="1718"/>
                        </a:lnTo>
                        <a:lnTo>
                          <a:pt x="718" y="1723"/>
                        </a:lnTo>
                        <a:lnTo>
                          <a:pt x="692" y="1721"/>
                        </a:lnTo>
                        <a:lnTo>
                          <a:pt x="669" y="1717"/>
                        </a:lnTo>
                        <a:lnTo>
                          <a:pt x="647" y="1707"/>
                        </a:lnTo>
                        <a:lnTo>
                          <a:pt x="628" y="1694"/>
                        </a:lnTo>
                        <a:lnTo>
                          <a:pt x="604" y="1672"/>
                        </a:lnTo>
                        <a:lnTo>
                          <a:pt x="585" y="1643"/>
                        </a:lnTo>
                        <a:lnTo>
                          <a:pt x="573" y="1612"/>
                        </a:lnTo>
                        <a:lnTo>
                          <a:pt x="567" y="1578"/>
                        </a:lnTo>
                        <a:lnTo>
                          <a:pt x="571" y="1544"/>
                        </a:lnTo>
                        <a:lnTo>
                          <a:pt x="582" y="1513"/>
                        </a:lnTo>
                        <a:lnTo>
                          <a:pt x="599" y="1485"/>
                        </a:lnTo>
                        <a:lnTo>
                          <a:pt x="622" y="1463"/>
                        </a:lnTo>
                        <a:lnTo>
                          <a:pt x="649" y="1444"/>
                        </a:lnTo>
                        <a:lnTo>
                          <a:pt x="680" y="1433"/>
                        </a:lnTo>
                        <a:lnTo>
                          <a:pt x="714" y="1429"/>
                        </a:lnTo>
                        <a:close/>
                        <a:moveTo>
                          <a:pt x="1481" y="846"/>
                        </a:moveTo>
                        <a:lnTo>
                          <a:pt x="1531" y="950"/>
                        </a:lnTo>
                        <a:lnTo>
                          <a:pt x="1576" y="1057"/>
                        </a:lnTo>
                        <a:lnTo>
                          <a:pt x="1615" y="1164"/>
                        </a:lnTo>
                        <a:lnTo>
                          <a:pt x="1648" y="1275"/>
                        </a:lnTo>
                        <a:lnTo>
                          <a:pt x="1656" y="1306"/>
                        </a:lnTo>
                        <a:lnTo>
                          <a:pt x="1663" y="1338"/>
                        </a:lnTo>
                        <a:lnTo>
                          <a:pt x="1651" y="1338"/>
                        </a:lnTo>
                        <a:lnTo>
                          <a:pt x="1618" y="1340"/>
                        </a:lnTo>
                        <a:lnTo>
                          <a:pt x="1587" y="1347"/>
                        </a:lnTo>
                        <a:lnTo>
                          <a:pt x="1558" y="1355"/>
                        </a:lnTo>
                        <a:lnTo>
                          <a:pt x="1543" y="1303"/>
                        </a:lnTo>
                        <a:lnTo>
                          <a:pt x="1512" y="1200"/>
                        </a:lnTo>
                        <a:lnTo>
                          <a:pt x="1476" y="1098"/>
                        </a:lnTo>
                        <a:lnTo>
                          <a:pt x="1435" y="998"/>
                        </a:lnTo>
                        <a:lnTo>
                          <a:pt x="1388" y="902"/>
                        </a:lnTo>
                        <a:lnTo>
                          <a:pt x="1424" y="886"/>
                        </a:lnTo>
                        <a:lnTo>
                          <a:pt x="1453" y="868"/>
                        </a:lnTo>
                        <a:lnTo>
                          <a:pt x="1481" y="846"/>
                        </a:lnTo>
                        <a:close/>
                        <a:moveTo>
                          <a:pt x="1096" y="796"/>
                        </a:moveTo>
                        <a:lnTo>
                          <a:pt x="1113" y="820"/>
                        </a:lnTo>
                        <a:lnTo>
                          <a:pt x="1134" y="842"/>
                        </a:lnTo>
                        <a:lnTo>
                          <a:pt x="1158" y="861"/>
                        </a:lnTo>
                        <a:lnTo>
                          <a:pt x="1162" y="865"/>
                        </a:lnTo>
                        <a:lnTo>
                          <a:pt x="1168" y="868"/>
                        </a:lnTo>
                        <a:lnTo>
                          <a:pt x="1172" y="870"/>
                        </a:lnTo>
                        <a:lnTo>
                          <a:pt x="1123" y="927"/>
                        </a:lnTo>
                        <a:lnTo>
                          <a:pt x="1076" y="985"/>
                        </a:lnTo>
                        <a:lnTo>
                          <a:pt x="1014" y="1074"/>
                        </a:lnTo>
                        <a:lnTo>
                          <a:pt x="956" y="1167"/>
                        </a:lnTo>
                        <a:lnTo>
                          <a:pt x="903" y="1263"/>
                        </a:lnTo>
                        <a:lnTo>
                          <a:pt x="855" y="1362"/>
                        </a:lnTo>
                        <a:lnTo>
                          <a:pt x="824" y="1345"/>
                        </a:lnTo>
                        <a:lnTo>
                          <a:pt x="790" y="1333"/>
                        </a:lnTo>
                        <a:lnTo>
                          <a:pt x="753" y="1325"/>
                        </a:lnTo>
                        <a:lnTo>
                          <a:pt x="804" y="1218"/>
                        </a:lnTo>
                        <a:lnTo>
                          <a:pt x="862" y="1115"/>
                        </a:lnTo>
                        <a:lnTo>
                          <a:pt x="924" y="1016"/>
                        </a:lnTo>
                        <a:lnTo>
                          <a:pt x="993" y="921"/>
                        </a:lnTo>
                        <a:lnTo>
                          <a:pt x="1042" y="856"/>
                        </a:lnTo>
                        <a:lnTo>
                          <a:pt x="1096" y="796"/>
                        </a:lnTo>
                        <a:close/>
                        <a:moveTo>
                          <a:pt x="1309" y="510"/>
                        </a:moveTo>
                        <a:lnTo>
                          <a:pt x="1342" y="514"/>
                        </a:lnTo>
                        <a:lnTo>
                          <a:pt x="1373" y="524"/>
                        </a:lnTo>
                        <a:lnTo>
                          <a:pt x="1400" y="541"/>
                        </a:lnTo>
                        <a:lnTo>
                          <a:pt x="1424" y="564"/>
                        </a:lnTo>
                        <a:lnTo>
                          <a:pt x="1442" y="591"/>
                        </a:lnTo>
                        <a:lnTo>
                          <a:pt x="1455" y="622"/>
                        </a:lnTo>
                        <a:lnTo>
                          <a:pt x="1460" y="656"/>
                        </a:lnTo>
                        <a:lnTo>
                          <a:pt x="1456" y="690"/>
                        </a:lnTo>
                        <a:lnTo>
                          <a:pt x="1445" y="721"/>
                        </a:lnTo>
                        <a:lnTo>
                          <a:pt x="1428" y="749"/>
                        </a:lnTo>
                        <a:lnTo>
                          <a:pt x="1405" y="771"/>
                        </a:lnTo>
                        <a:lnTo>
                          <a:pt x="1378" y="790"/>
                        </a:lnTo>
                        <a:lnTo>
                          <a:pt x="1347" y="801"/>
                        </a:lnTo>
                        <a:lnTo>
                          <a:pt x="1313" y="805"/>
                        </a:lnTo>
                        <a:lnTo>
                          <a:pt x="1280" y="803"/>
                        </a:lnTo>
                        <a:lnTo>
                          <a:pt x="1250" y="793"/>
                        </a:lnTo>
                        <a:lnTo>
                          <a:pt x="1223" y="777"/>
                        </a:lnTo>
                        <a:lnTo>
                          <a:pt x="1203" y="760"/>
                        </a:lnTo>
                        <a:lnTo>
                          <a:pt x="1186" y="739"/>
                        </a:lnTo>
                        <a:lnTo>
                          <a:pt x="1174" y="715"/>
                        </a:lnTo>
                        <a:lnTo>
                          <a:pt x="1165" y="688"/>
                        </a:lnTo>
                        <a:lnTo>
                          <a:pt x="1162" y="660"/>
                        </a:lnTo>
                        <a:lnTo>
                          <a:pt x="1167" y="626"/>
                        </a:lnTo>
                        <a:lnTo>
                          <a:pt x="1177" y="595"/>
                        </a:lnTo>
                        <a:lnTo>
                          <a:pt x="1193" y="568"/>
                        </a:lnTo>
                        <a:lnTo>
                          <a:pt x="1216" y="544"/>
                        </a:lnTo>
                        <a:lnTo>
                          <a:pt x="1244" y="527"/>
                        </a:lnTo>
                        <a:lnTo>
                          <a:pt x="1275" y="514"/>
                        </a:lnTo>
                        <a:lnTo>
                          <a:pt x="1309" y="510"/>
                        </a:lnTo>
                        <a:close/>
                        <a:moveTo>
                          <a:pt x="1188" y="175"/>
                        </a:moveTo>
                        <a:lnTo>
                          <a:pt x="1114" y="178"/>
                        </a:lnTo>
                        <a:lnTo>
                          <a:pt x="1042" y="185"/>
                        </a:lnTo>
                        <a:lnTo>
                          <a:pt x="973" y="199"/>
                        </a:lnTo>
                        <a:lnTo>
                          <a:pt x="904" y="216"/>
                        </a:lnTo>
                        <a:lnTo>
                          <a:pt x="958" y="244"/>
                        </a:lnTo>
                        <a:lnTo>
                          <a:pt x="1010" y="275"/>
                        </a:lnTo>
                        <a:lnTo>
                          <a:pt x="1061" y="311"/>
                        </a:lnTo>
                        <a:lnTo>
                          <a:pt x="1107" y="348"/>
                        </a:lnTo>
                        <a:lnTo>
                          <a:pt x="1153" y="389"/>
                        </a:lnTo>
                        <a:lnTo>
                          <a:pt x="1196" y="431"/>
                        </a:lnTo>
                        <a:lnTo>
                          <a:pt x="1164" y="449"/>
                        </a:lnTo>
                        <a:lnTo>
                          <a:pt x="1137" y="472"/>
                        </a:lnTo>
                        <a:lnTo>
                          <a:pt x="1112" y="499"/>
                        </a:lnTo>
                        <a:lnTo>
                          <a:pt x="1055" y="445"/>
                        </a:lnTo>
                        <a:lnTo>
                          <a:pt x="997" y="396"/>
                        </a:lnTo>
                        <a:lnTo>
                          <a:pt x="938" y="356"/>
                        </a:lnTo>
                        <a:lnTo>
                          <a:pt x="877" y="322"/>
                        </a:lnTo>
                        <a:lnTo>
                          <a:pt x="815" y="295"/>
                        </a:lnTo>
                        <a:lnTo>
                          <a:pt x="753" y="275"/>
                        </a:lnTo>
                        <a:lnTo>
                          <a:pt x="681" y="315"/>
                        </a:lnTo>
                        <a:lnTo>
                          <a:pt x="612" y="360"/>
                        </a:lnTo>
                        <a:lnTo>
                          <a:pt x="547" y="410"/>
                        </a:lnTo>
                        <a:lnTo>
                          <a:pt x="486" y="463"/>
                        </a:lnTo>
                        <a:lnTo>
                          <a:pt x="430" y="523"/>
                        </a:lnTo>
                        <a:lnTo>
                          <a:pt x="379" y="585"/>
                        </a:lnTo>
                        <a:lnTo>
                          <a:pt x="331" y="653"/>
                        </a:lnTo>
                        <a:lnTo>
                          <a:pt x="290" y="723"/>
                        </a:lnTo>
                        <a:lnTo>
                          <a:pt x="255" y="798"/>
                        </a:lnTo>
                        <a:lnTo>
                          <a:pt x="225" y="876"/>
                        </a:lnTo>
                        <a:lnTo>
                          <a:pt x="201" y="958"/>
                        </a:lnTo>
                        <a:lnTo>
                          <a:pt x="186" y="1041"/>
                        </a:lnTo>
                        <a:lnTo>
                          <a:pt x="176" y="1126"/>
                        </a:lnTo>
                        <a:lnTo>
                          <a:pt x="173" y="1214"/>
                        </a:lnTo>
                        <a:lnTo>
                          <a:pt x="175" y="1228"/>
                        </a:lnTo>
                        <a:lnTo>
                          <a:pt x="175" y="1241"/>
                        </a:lnTo>
                        <a:lnTo>
                          <a:pt x="217" y="1283"/>
                        </a:lnTo>
                        <a:lnTo>
                          <a:pt x="266" y="1323"/>
                        </a:lnTo>
                        <a:lnTo>
                          <a:pt x="317" y="1358"/>
                        </a:lnTo>
                        <a:lnTo>
                          <a:pt x="372" y="1390"/>
                        </a:lnTo>
                        <a:lnTo>
                          <a:pt x="431" y="1420"/>
                        </a:lnTo>
                        <a:lnTo>
                          <a:pt x="496" y="1448"/>
                        </a:lnTo>
                        <a:lnTo>
                          <a:pt x="479" y="1481"/>
                        </a:lnTo>
                        <a:lnTo>
                          <a:pt x="468" y="1515"/>
                        </a:lnTo>
                        <a:lnTo>
                          <a:pt x="462" y="1550"/>
                        </a:lnTo>
                        <a:lnTo>
                          <a:pt x="392" y="1520"/>
                        </a:lnTo>
                        <a:lnTo>
                          <a:pt x="324" y="1485"/>
                        </a:lnTo>
                        <a:lnTo>
                          <a:pt x="261" y="1448"/>
                        </a:lnTo>
                        <a:lnTo>
                          <a:pt x="201" y="1406"/>
                        </a:lnTo>
                        <a:lnTo>
                          <a:pt x="200" y="1406"/>
                        </a:lnTo>
                        <a:lnTo>
                          <a:pt x="197" y="1405"/>
                        </a:lnTo>
                        <a:lnTo>
                          <a:pt x="194" y="1402"/>
                        </a:lnTo>
                        <a:lnTo>
                          <a:pt x="214" y="1484"/>
                        </a:lnTo>
                        <a:lnTo>
                          <a:pt x="241" y="1563"/>
                        </a:lnTo>
                        <a:lnTo>
                          <a:pt x="273" y="1639"/>
                        </a:lnTo>
                        <a:lnTo>
                          <a:pt x="311" y="1711"/>
                        </a:lnTo>
                        <a:lnTo>
                          <a:pt x="355" y="1780"/>
                        </a:lnTo>
                        <a:lnTo>
                          <a:pt x="405" y="1845"/>
                        </a:lnTo>
                        <a:lnTo>
                          <a:pt x="458" y="1906"/>
                        </a:lnTo>
                        <a:lnTo>
                          <a:pt x="516" y="1961"/>
                        </a:lnTo>
                        <a:lnTo>
                          <a:pt x="578" y="2014"/>
                        </a:lnTo>
                        <a:lnTo>
                          <a:pt x="588" y="1909"/>
                        </a:lnTo>
                        <a:lnTo>
                          <a:pt x="605" y="1805"/>
                        </a:lnTo>
                        <a:lnTo>
                          <a:pt x="639" y="1817"/>
                        </a:lnTo>
                        <a:lnTo>
                          <a:pt x="674" y="1826"/>
                        </a:lnTo>
                        <a:lnTo>
                          <a:pt x="709" y="1830"/>
                        </a:lnTo>
                        <a:lnTo>
                          <a:pt x="697" y="1915"/>
                        </a:lnTo>
                        <a:lnTo>
                          <a:pt x="688" y="2000"/>
                        </a:lnTo>
                        <a:lnTo>
                          <a:pt x="684" y="2084"/>
                        </a:lnTo>
                        <a:lnTo>
                          <a:pt x="766" y="2127"/>
                        </a:lnTo>
                        <a:lnTo>
                          <a:pt x="849" y="2162"/>
                        </a:lnTo>
                        <a:lnTo>
                          <a:pt x="937" y="2190"/>
                        </a:lnTo>
                        <a:lnTo>
                          <a:pt x="1028" y="2210"/>
                        </a:lnTo>
                        <a:lnTo>
                          <a:pt x="1122" y="2223"/>
                        </a:lnTo>
                        <a:lnTo>
                          <a:pt x="1219" y="2226"/>
                        </a:lnTo>
                        <a:lnTo>
                          <a:pt x="1294" y="2221"/>
                        </a:lnTo>
                        <a:lnTo>
                          <a:pt x="1368" y="2211"/>
                        </a:lnTo>
                        <a:lnTo>
                          <a:pt x="1440" y="2196"/>
                        </a:lnTo>
                        <a:lnTo>
                          <a:pt x="1511" y="2178"/>
                        </a:lnTo>
                        <a:lnTo>
                          <a:pt x="1536" y="2134"/>
                        </a:lnTo>
                        <a:lnTo>
                          <a:pt x="1559" y="2086"/>
                        </a:lnTo>
                        <a:lnTo>
                          <a:pt x="1577" y="2031"/>
                        </a:lnTo>
                        <a:lnTo>
                          <a:pt x="1590" y="1971"/>
                        </a:lnTo>
                        <a:lnTo>
                          <a:pt x="1600" y="1909"/>
                        </a:lnTo>
                        <a:lnTo>
                          <a:pt x="1606" y="1841"/>
                        </a:lnTo>
                        <a:lnTo>
                          <a:pt x="1632" y="1845"/>
                        </a:lnTo>
                        <a:lnTo>
                          <a:pt x="1656" y="1845"/>
                        </a:lnTo>
                        <a:lnTo>
                          <a:pt x="1687" y="1844"/>
                        </a:lnTo>
                        <a:lnTo>
                          <a:pt x="1717" y="1840"/>
                        </a:lnTo>
                        <a:lnTo>
                          <a:pt x="1710" y="1913"/>
                        </a:lnTo>
                        <a:lnTo>
                          <a:pt x="1699" y="1984"/>
                        </a:lnTo>
                        <a:lnTo>
                          <a:pt x="1682" y="2053"/>
                        </a:lnTo>
                        <a:lnTo>
                          <a:pt x="1662" y="2117"/>
                        </a:lnTo>
                        <a:lnTo>
                          <a:pt x="1731" y="2079"/>
                        </a:lnTo>
                        <a:lnTo>
                          <a:pt x="1799" y="2035"/>
                        </a:lnTo>
                        <a:lnTo>
                          <a:pt x="1862" y="1985"/>
                        </a:lnTo>
                        <a:lnTo>
                          <a:pt x="1922" y="1933"/>
                        </a:lnTo>
                        <a:lnTo>
                          <a:pt x="1977" y="1875"/>
                        </a:lnTo>
                        <a:lnTo>
                          <a:pt x="2027" y="1813"/>
                        </a:lnTo>
                        <a:lnTo>
                          <a:pt x="2068" y="1752"/>
                        </a:lnTo>
                        <a:lnTo>
                          <a:pt x="2107" y="1687"/>
                        </a:lnTo>
                        <a:lnTo>
                          <a:pt x="2140" y="1621"/>
                        </a:lnTo>
                        <a:lnTo>
                          <a:pt x="2169" y="1552"/>
                        </a:lnTo>
                        <a:lnTo>
                          <a:pt x="2193" y="1479"/>
                        </a:lnTo>
                        <a:lnTo>
                          <a:pt x="2211" y="1405"/>
                        </a:lnTo>
                        <a:lnTo>
                          <a:pt x="2157" y="1446"/>
                        </a:lnTo>
                        <a:lnTo>
                          <a:pt x="2099" y="1482"/>
                        </a:lnTo>
                        <a:lnTo>
                          <a:pt x="2039" y="1516"/>
                        </a:lnTo>
                        <a:lnTo>
                          <a:pt x="1975" y="1546"/>
                        </a:lnTo>
                        <a:lnTo>
                          <a:pt x="1908" y="1574"/>
                        </a:lnTo>
                        <a:lnTo>
                          <a:pt x="1902" y="1537"/>
                        </a:lnTo>
                        <a:lnTo>
                          <a:pt x="1892" y="1504"/>
                        </a:lnTo>
                        <a:lnTo>
                          <a:pt x="1878" y="1471"/>
                        </a:lnTo>
                        <a:lnTo>
                          <a:pt x="1950" y="1440"/>
                        </a:lnTo>
                        <a:lnTo>
                          <a:pt x="2016" y="1406"/>
                        </a:lnTo>
                        <a:lnTo>
                          <a:pt x="2078" y="1369"/>
                        </a:lnTo>
                        <a:lnTo>
                          <a:pt x="2135" y="1328"/>
                        </a:lnTo>
                        <a:lnTo>
                          <a:pt x="2186" y="1284"/>
                        </a:lnTo>
                        <a:lnTo>
                          <a:pt x="2231" y="1236"/>
                        </a:lnTo>
                        <a:lnTo>
                          <a:pt x="2232" y="1210"/>
                        </a:lnTo>
                        <a:lnTo>
                          <a:pt x="2234" y="1184"/>
                        </a:lnTo>
                        <a:lnTo>
                          <a:pt x="2226" y="1092"/>
                        </a:lnTo>
                        <a:lnTo>
                          <a:pt x="2214" y="1002"/>
                        </a:lnTo>
                        <a:lnTo>
                          <a:pt x="2193" y="916"/>
                        </a:lnTo>
                        <a:lnTo>
                          <a:pt x="2164" y="832"/>
                        </a:lnTo>
                        <a:lnTo>
                          <a:pt x="2129" y="752"/>
                        </a:lnTo>
                        <a:lnTo>
                          <a:pt x="2087" y="675"/>
                        </a:lnTo>
                        <a:lnTo>
                          <a:pt x="2040" y="603"/>
                        </a:lnTo>
                        <a:lnTo>
                          <a:pt x="1987" y="534"/>
                        </a:lnTo>
                        <a:lnTo>
                          <a:pt x="1929" y="472"/>
                        </a:lnTo>
                        <a:lnTo>
                          <a:pt x="1865" y="413"/>
                        </a:lnTo>
                        <a:lnTo>
                          <a:pt x="1782" y="439"/>
                        </a:lnTo>
                        <a:lnTo>
                          <a:pt x="1700" y="472"/>
                        </a:lnTo>
                        <a:lnTo>
                          <a:pt x="1621" y="510"/>
                        </a:lnTo>
                        <a:lnTo>
                          <a:pt x="1543" y="554"/>
                        </a:lnTo>
                        <a:lnTo>
                          <a:pt x="1527" y="524"/>
                        </a:lnTo>
                        <a:lnTo>
                          <a:pt x="1505" y="495"/>
                        </a:lnTo>
                        <a:lnTo>
                          <a:pt x="1480" y="468"/>
                        </a:lnTo>
                        <a:lnTo>
                          <a:pt x="1570" y="417"/>
                        </a:lnTo>
                        <a:lnTo>
                          <a:pt x="1662" y="373"/>
                        </a:lnTo>
                        <a:lnTo>
                          <a:pt x="1757" y="336"/>
                        </a:lnTo>
                        <a:lnTo>
                          <a:pt x="1685" y="294"/>
                        </a:lnTo>
                        <a:lnTo>
                          <a:pt x="1608" y="257"/>
                        </a:lnTo>
                        <a:lnTo>
                          <a:pt x="1529" y="226"/>
                        </a:lnTo>
                        <a:lnTo>
                          <a:pt x="1447" y="202"/>
                        </a:lnTo>
                        <a:lnTo>
                          <a:pt x="1364" y="186"/>
                        </a:lnTo>
                        <a:lnTo>
                          <a:pt x="1277" y="177"/>
                        </a:lnTo>
                        <a:lnTo>
                          <a:pt x="1188" y="175"/>
                        </a:lnTo>
                        <a:close/>
                        <a:moveTo>
                          <a:pt x="1185" y="0"/>
                        </a:moveTo>
                        <a:lnTo>
                          <a:pt x="1288" y="3"/>
                        </a:lnTo>
                        <a:lnTo>
                          <a:pt x="1388" y="14"/>
                        </a:lnTo>
                        <a:lnTo>
                          <a:pt x="1487" y="32"/>
                        </a:lnTo>
                        <a:lnTo>
                          <a:pt x="1582" y="59"/>
                        </a:lnTo>
                        <a:lnTo>
                          <a:pt x="1673" y="95"/>
                        </a:lnTo>
                        <a:lnTo>
                          <a:pt x="1761" y="136"/>
                        </a:lnTo>
                        <a:lnTo>
                          <a:pt x="1845" y="184"/>
                        </a:lnTo>
                        <a:lnTo>
                          <a:pt x="1924" y="239"/>
                        </a:lnTo>
                        <a:lnTo>
                          <a:pt x="1995" y="295"/>
                        </a:lnTo>
                        <a:lnTo>
                          <a:pt x="2060" y="356"/>
                        </a:lnTo>
                        <a:lnTo>
                          <a:pt x="2121" y="422"/>
                        </a:lnTo>
                        <a:lnTo>
                          <a:pt x="2177" y="492"/>
                        </a:lnTo>
                        <a:lnTo>
                          <a:pt x="2226" y="567"/>
                        </a:lnTo>
                        <a:lnTo>
                          <a:pt x="2272" y="646"/>
                        </a:lnTo>
                        <a:lnTo>
                          <a:pt x="2310" y="728"/>
                        </a:lnTo>
                        <a:lnTo>
                          <a:pt x="2344" y="812"/>
                        </a:lnTo>
                        <a:lnTo>
                          <a:pt x="2369" y="902"/>
                        </a:lnTo>
                        <a:lnTo>
                          <a:pt x="2389" y="992"/>
                        </a:lnTo>
                        <a:lnTo>
                          <a:pt x="2400" y="1085"/>
                        </a:lnTo>
                        <a:lnTo>
                          <a:pt x="2406" y="1181"/>
                        </a:lnTo>
                        <a:lnTo>
                          <a:pt x="2403" y="1284"/>
                        </a:lnTo>
                        <a:lnTo>
                          <a:pt x="2392" y="1385"/>
                        </a:lnTo>
                        <a:lnTo>
                          <a:pt x="2373" y="1482"/>
                        </a:lnTo>
                        <a:lnTo>
                          <a:pt x="2346" y="1577"/>
                        </a:lnTo>
                        <a:lnTo>
                          <a:pt x="2311" y="1667"/>
                        </a:lnTo>
                        <a:lnTo>
                          <a:pt x="2270" y="1755"/>
                        </a:lnTo>
                        <a:lnTo>
                          <a:pt x="2221" y="1840"/>
                        </a:lnTo>
                        <a:lnTo>
                          <a:pt x="2166" y="1919"/>
                        </a:lnTo>
                        <a:lnTo>
                          <a:pt x="2111" y="1988"/>
                        </a:lnTo>
                        <a:lnTo>
                          <a:pt x="2049" y="2053"/>
                        </a:lnTo>
                        <a:lnTo>
                          <a:pt x="1982" y="2114"/>
                        </a:lnTo>
                        <a:lnTo>
                          <a:pt x="1912" y="2169"/>
                        </a:lnTo>
                        <a:lnTo>
                          <a:pt x="1837" y="2220"/>
                        </a:lnTo>
                        <a:lnTo>
                          <a:pt x="1758" y="2264"/>
                        </a:lnTo>
                        <a:lnTo>
                          <a:pt x="1676" y="2303"/>
                        </a:lnTo>
                        <a:lnTo>
                          <a:pt x="1590" y="2336"/>
                        </a:lnTo>
                        <a:lnTo>
                          <a:pt x="1501" y="2361"/>
                        </a:lnTo>
                        <a:lnTo>
                          <a:pt x="1411" y="2381"/>
                        </a:lnTo>
                        <a:lnTo>
                          <a:pt x="1316" y="2392"/>
                        </a:lnTo>
                        <a:lnTo>
                          <a:pt x="1220" y="2398"/>
                        </a:lnTo>
                        <a:lnTo>
                          <a:pt x="1117" y="2395"/>
                        </a:lnTo>
                        <a:lnTo>
                          <a:pt x="1017" y="2384"/>
                        </a:lnTo>
                        <a:lnTo>
                          <a:pt x="920" y="2366"/>
                        </a:lnTo>
                        <a:lnTo>
                          <a:pt x="824" y="2339"/>
                        </a:lnTo>
                        <a:lnTo>
                          <a:pt x="732" y="2303"/>
                        </a:lnTo>
                        <a:lnTo>
                          <a:pt x="645" y="2262"/>
                        </a:lnTo>
                        <a:lnTo>
                          <a:pt x="560" y="2214"/>
                        </a:lnTo>
                        <a:lnTo>
                          <a:pt x="481" y="2159"/>
                        </a:lnTo>
                        <a:lnTo>
                          <a:pt x="410" y="2103"/>
                        </a:lnTo>
                        <a:lnTo>
                          <a:pt x="345" y="2042"/>
                        </a:lnTo>
                        <a:lnTo>
                          <a:pt x="285" y="1976"/>
                        </a:lnTo>
                        <a:lnTo>
                          <a:pt x="230" y="1906"/>
                        </a:lnTo>
                        <a:lnTo>
                          <a:pt x="179" y="1831"/>
                        </a:lnTo>
                        <a:lnTo>
                          <a:pt x="134" y="1752"/>
                        </a:lnTo>
                        <a:lnTo>
                          <a:pt x="96" y="1670"/>
                        </a:lnTo>
                        <a:lnTo>
                          <a:pt x="63" y="1585"/>
                        </a:lnTo>
                        <a:lnTo>
                          <a:pt x="36" y="1496"/>
                        </a:lnTo>
                        <a:lnTo>
                          <a:pt x="18" y="1406"/>
                        </a:lnTo>
                        <a:lnTo>
                          <a:pt x="5" y="1313"/>
                        </a:lnTo>
                        <a:lnTo>
                          <a:pt x="0" y="1217"/>
                        </a:lnTo>
                        <a:lnTo>
                          <a:pt x="2" y="1113"/>
                        </a:lnTo>
                        <a:lnTo>
                          <a:pt x="14" y="1013"/>
                        </a:lnTo>
                        <a:lnTo>
                          <a:pt x="33" y="916"/>
                        </a:lnTo>
                        <a:lnTo>
                          <a:pt x="60" y="821"/>
                        </a:lnTo>
                        <a:lnTo>
                          <a:pt x="94" y="731"/>
                        </a:lnTo>
                        <a:lnTo>
                          <a:pt x="136" y="643"/>
                        </a:lnTo>
                        <a:lnTo>
                          <a:pt x="184" y="558"/>
                        </a:lnTo>
                        <a:lnTo>
                          <a:pt x="239" y="479"/>
                        </a:lnTo>
                        <a:lnTo>
                          <a:pt x="296" y="410"/>
                        </a:lnTo>
                        <a:lnTo>
                          <a:pt x="357" y="345"/>
                        </a:lnTo>
                        <a:lnTo>
                          <a:pt x="423" y="284"/>
                        </a:lnTo>
                        <a:lnTo>
                          <a:pt x="494" y="229"/>
                        </a:lnTo>
                        <a:lnTo>
                          <a:pt x="568" y="178"/>
                        </a:lnTo>
                        <a:lnTo>
                          <a:pt x="647" y="134"/>
                        </a:lnTo>
                        <a:lnTo>
                          <a:pt x="729" y="95"/>
                        </a:lnTo>
                        <a:lnTo>
                          <a:pt x="815" y="62"/>
                        </a:lnTo>
                        <a:lnTo>
                          <a:pt x="904" y="37"/>
                        </a:lnTo>
                        <a:lnTo>
                          <a:pt x="996" y="17"/>
                        </a:lnTo>
                        <a:lnTo>
                          <a:pt x="1089" y="6"/>
                        </a:lnTo>
                        <a:lnTo>
                          <a:pt x="1185" y="0"/>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grpSp>
        <p:grpSp>
          <p:nvGrpSpPr>
            <p:cNvPr id="459" name="Group 458"/>
            <p:cNvGrpSpPr/>
            <p:nvPr/>
          </p:nvGrpSpPr>
          <p:grpSpPr>
            <a:xfrm>
              <a:off x="5610071" y="5057366"/>
              <a:ext cx="686041" cy="902727"/>
              <a:chOff x="5752334" y="1754691"/>
              <a:chExt cx="686041" cy="902727"/>
            </a:xfrm>
          </p:grpSpPr>
          <p:sp>
            <p:nvSpPr>
              <p:cNvPr id="460" name="Freeform 30"/>
              <p:cNvSpPr>
                <a:spLocks noEditPoints="1"/>
              </p:cNvSpPr>
              <p:nvPr/>
            </p:nvSpPr>
            <p:spPr bwMode="auto">
              <a:xfrm>
                <a:off x="5966622" y="1754691"/>
                <a:ext cx="471753" cy="902727"/>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1" name="Freeform 31"/>
              <p:cNvSpPr>
                <a:spLocks/>
              </p:cNvSpPr>
              <p:nvPr/>
            </p:nvSpPr>
            <p:spPr bwMode="auto">
              <a:xfrm>
                <a:off x="5767526" y="1982572"/>
                <a:ext cx="515730" cy="379002"/>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2" name="Freeform 32"/>
              <p:cNvSpPr>
                <a:spLocks noEditPoints="1"/>
              </p:cNvSpPr>
              <p:nvPr/>
            </p:nvSpPr>
            <p:spPr bwMode="auto">
              <a:xfrm>
                <a:off x="5752334" y="1964181"/>
                <a:ext cx="557308" cy="47575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63" name="Group 589"/>
              <p:cNvGrpSpPr>
                <a:grpSpLocks noChangeAspect="1"/>
              </p:cNvGrpSpPr>
              <p:nvPr/>
            </p:nvGrpSpPr>
            <p:grpSpPr bwMode="auto">
              <a:xfrm>
                <a:off x="5897146" y="2015089"/>
                <a:ext cx="277404" cy="275679"/>
                <a:chOff x="3325" y="1774"/>
                <a:chExt cx="804" cy="799"/>
              </a:xfrm>
            </p:grpSpPr>
            <p:sp>
              <p:nvSpPr>
                <p:cNvPr id="464" name="Freeform 593"/>
                <p:cNvSpPr>
                  <a:spLocks/>
                </p:cNvSpPr>
                <p:nvPr/>
              </p:nvSpPr>
              <p:spPr bwMode="auto">
                <a:xfrm>
                  <a:off x="3325" y="1784"/>
                  <a:ext cx="779" cy="780"/>
                </a:xfrm>
                <a:custGeom>
                  <a:avLst/>
                  <a:gdLst>
                    <a:gd name="T0" fmla="*/ 1269 w 2335"/>
                    <a:gd name="T1" fmla="*/ 5 h 2338"/>
                    <a:gd name="T2" fmla="*/ 1462 w 2335"/>
                    <a:gd name="T3" fmla="*/ 39 h 2338"/>
                    <a:gd name="T4" fmla="*/ 1644 w 2335"/>
                    <a:gd name="T5" fmla="*/ 102 h 2338"/>
                    <a:gd name="T6" fmla="*/ 1811 w 2335"/>
                    <a:gd name="T7" fmla="*/ 194 h 2338"/>
                    <a:gd name="T8" fmla="*/ 1959 w 2335"/>
                    <a:gd name="T9" fmla="*/ 310 h 2338"/>
                    <a:gd name="T10" fmla="*/ 2086 w 2335"/>
                    <a:gd name="T11" fmla="*/ 448 h 2338"/>
                    <a:gd name="T12" fmla="*/ 2191 w 2335"/>
                    <a:gd name="T13" fmla="*/ 607 h 2338"/>
                    <a:gd name="T14" fmla="*/ 2270 w 2335"/>
                    <a:gd name="T15" fmla="*/ 782 h 2338"/>
                    <a:gd name="T16" fmla="*/ 2318 w 2335"/>
                    <a:gd name="T17" fmla="*/ 970 h 2338"/>
                    <a:gd name="T18" fmla="*/ 2335 w 2335"/>
                    <a:gd name="T19" fmla="*/ 1169 h 2338"/>
                    <a:gd name="T20" fmla="*/ 2318 w 2335"/>
                    <a:gd name="T21" fmla="*/ 1368 h 2338"/>
                    <a:gd name="T22" fmla="*/ 2270 w 2335"/>
                    <a:gd name="T23" fmla="*/ 1556 h 2338"/>
                    <a:gd name="T24" fmla="*/ 2191 w 2335"/>
                    <a:gd name="T25" fmla="*/ 1732 h 2338"/>
                    <a:gd name="T26" fmla="*/ 2086 w 2335"/>
                    <a:gd name="T27" fmla="*/ 1890 h 2338"/>
                    <a:gd name="T28" fmla="*/ 1959 w 2335"/>
                    <a:gd name="T29" fmla="*/ 2028 h 2338"/>
                    <a:gd name="T30" fmla="*/ 1811 w 2335"/>
                    <a:gd name="T31" fmla="*/ 2144 h 2338"/>
                    <a:gd name="T32" fmla="*/ 1644 w 2335"/>
                    <a:gd name="T33" fmla="*/ 2236 h 2338"/>
                    <a:gd name="T34" fmla="*/ 1462 w 2335"/>
                    <a:gd name="T35" fmla="*/ 2300 h 2338"/>
                    <a:gd name="T36" fmla="*/ 1269 w 2335"/>
                    <a:gd name="T37" fmla="*/ 2334 h 2338"/>
                    <a:gd name="T38" fmla="*/ 1067 w 2335"/>
                    <a:gd name="T39" fmla="*/ 2334 h 2338"/>
                    <a:gd name="T40" fmla="*/ 873 w 2335"/>
                    <a:gd name="T41" fmla="*/ 2300 h 2338"/>
                    <a:gd name="T42" fmla="*/ 692 w 2335"/>
                    <a:gd name="T43" fmla="*/ 2236 h 2338"/>
                    <a:gd name="T44" fmla="*/ 525 w 2335"/>
                    <a:gd name="T45" fmla="*/ 2144 h 2338"/>
                    <a:gd name="T46" fmla="*/ 377 w 2335"/>
                    <a:gd name="T47" fmla="*/ 2028 h 2338"/>
                    <a:gd name="T48" fmla="*/ 249 w 2335"/>
                    <a:gd name="T49" fmla="*/ 1890 h 2338"/>
                    <a:gd name="T50" fmla="*/ 144 w 2335"/>
                    <a:gd name="T51" fmla="*/ 1732 h 2338"/>
                    <a:gd name="T52" fmla="*/ 67 w 2335"/>
                    <a:gd name="T53" fmla="*/ 1556 h 2338"/>
                    <a:gd name="T54" fmla="*/ 17 w 2335"/>
                    <a:gd name="T55" fmla="*/ 1368 h 2338"/>
                    <a:gd name="T56" fmla="*/ 0 w 2335"/>
                    <a:gd name="T57" fmla="*/ 1169 h 2338"/>
                    <a:gd name="T58" fmla="*/ 17 w 2335"/>
                    <a:gd name="T59" fmla="*/ 970 h 2338"/>
                    <a:gd name="T60" fmla="*/ 67 w 2335"/>
                    <a:gd name="T61" fmla="*/ 782 h 2338"/>
                    <a:gd name="T62" fmla="*/ 144 w 2335"/>
                    <a:gd name="T63" fmla="*/ 607 h 2338"/>
                    <a:gd name="T64" fmla="*/ 249 w 2335"/>
                    <a:gd name="T65" fmla="*/ 448 h 2338"/>
                    <a:gd name="T66" fmla="*/ 377 w 2335"/>
                    <a:gd name="T67" fmla="*/ 310 h 2338"/>
                    <a:gd name="T68" fmla="*/ 525 w 2335"/>
                    <a:gd name="T69" fmla="*/ 194 h 2338"/>
                    <a:gd name="T70" fmla="*/ 692 w 2335"/>
                    <a:gd name="T71" fmla="*/ 102 h 2338"/>
                    <a:gd name="T72" fmla="*/ 873 w 2335"/>
                    <a:gd name="T73" fmla="*/ 39 h 2338"/>
                    <a:gd name="T74" fmla="*/ 1067 w 2335"/>
                    <a:gd name="T75" fmla="*/ 5 h 2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35" h="2338">
                      <a:moveTo>
                        <a:pt x="1167" y="0"/>
                      </a:moveTo>
                      <a:lnTo>
                        <a:pt x="1269" y="5"/>
                      </a:lnTo>
                      <a:lnTo>
                        <a:pt x="1366" y="17"/>
                      </a:lnTo>
                      <a:lnTo>
                        <a:pt x="1462" y="39"/>
                      </a:lnTo>
                      <a:lnTo>
                        <a:pt x="1554" y="67"/>
                      </a:lnTo>
                      <a:lnTo>
                        <a:pt x="1644" y="102"/>
                      </a:lnTo>
                      <a:lnTo>
                        <a:pt x="1729" y="145"/>
                      </a:lnTo>
                      <a:lnTo>
                        <a:pt x="1811" y="194"/>
                      </a:lnTo>
                      <a:lnTo>
                        <a:pt x="1887" y="249"/>
                      </a:lnTo>
                      <a:lnTo>
                        <a:pt x="1959" y="310"/>
                      </a:lnTo>
                      <a:lnTo>
                        <a:pt x="2025" y="376"/>
                      </a:lnTo>
                      <a:lnTo>
                        <a:pt x="2086" y="448"/>
                      </a:lnTo>
                      <a:lnTo>
                        <a:pt x="2143" y="526"/>
                      </a:lnTo>
                      <a:lnTo>
                        <a:pt x="2191" y="607"/>
                      </a:lnTo>
                      <a:lnTo>
                        <a:pt x="2233" y="691"/>
                      </a:lnTo>
                      <a:lnTo>
                        <a:pt x="2270" y="782"/>
                      </a:lnTo>
                      <a:lnTo>
                        <a:pt x="2298" y="874"/>
                      </a:lnTo>
                      <a:lnTo>
                        <a:pt x="2318" y="970"/>
                      </a:lnTo>
                      <a:lnTo>
                        <a:pt x="2330" y="1069"/>
                      </a:lnTo>
                      <a:lnTo>
                        <a:pt x="2335" y="1169"/>
                      </a:lnTo>
                      <a:lnTo>
                        <a:pt x="2330" y="1269"/>
                      </a:lnTo>
                      <a:lnTo>
                        <a:pt x="2318" y="1368"/>
                      </a:lnTo>
                      <a:lnTo>
                        <a:pt x="2298" y="1464"/>
                      </a:lnTo>
                      <a:lnTo>
                        <a:pt x="2270" y="1556"/>
                      </a:lnTo>
                      <a:lnTo>
                        <a:pt x="2233" y="1645"/>
                      </a:lnTo>
                      <a:lnTo>
                        <a:pt x="2191" y="1732"/>
                      </a:lnTo>
                      <a:lnTo>
                        <a:pt x="2143" y="1812"/>
                      </a:lnTo>
                      <a:lnTo>
                        <a:pt x="2086" y="1890"/>
                      </a:lnTo>
                      <a:lnTo>
                        <a:pt x="2025" y="1960"/>
                      </a:lnTo>
                      <a:lnTo>
                        <a:pt x="1959" y="2028"/>
                      </a:lnTo>
                      <a:lnTo>
                        <a:pt x="1887" y="2089"/>
                      </a:lnTo>
                      <a:lnTo>
                        <a:pt x="1811" y="2144"/>
                      </a:lnTo>
                      <a:lnTo>
                        <a:pt x="1729" y="2194"/>
                      </a:lnTo>
                      <a:lnTo>
                        <a:pt x="1644" y="2236"/>
                      </a:lnTo>
                      <a:lnTo>
                        <a:pt x="1554" y="2271"/>
                      </a:lnTo>
                      <a:lnTo>
                        <a:pt x="1462" y="2300"/>
                      </a:lnTo>
                      <a:lnTo>
                        <a:pt x="1366" y="2321"/>
                      </a:lnTo>
                      <a:lnTo>
                        <a:pt x="1269" y="2334"/>
                      </a:lnTo>
                      <a:lnTo>
                        <a:pt x="1167" y="2338"/>
                      </a:lnTo>
                      <a:lnTo>
                        <a:pt x="1067" y="2334"/>
                      </a:lnTo>
                      <a:lnTo>
                        <a:pt x="968" y="2321"/>
                      </a:lnTo>
                      <a:lnTo>
                        <a:pt x="873" y="2300"/>
                      </a:lnTo>
                      <a:lnTo>
                        <a:pt x="781" y="2271"/>
                      </a:lnTo>
                      <a:lnTo>
                        <a:pt x="692" y="2236"/>
                      </a:lnTo>
                      <a:lnTo>
                        <a:pt x="606" y="2194"/>
                      </a:lnTo>
                      <a:lnTo>
                        <a:pt x="525" y="2144"/>
                      </a:lnTo>
                      <a:lnTo>
                        <a:pt x="449" y="2089"/>
                      </a:lnTo>
                      <a:lnTo>
                        <a:pt x="377" y="2028"/>
                      </a:lnTo>
                      <a:lnTo>
                        <a:pt x="309" y="1960"/>
                      </a:lnTo>
                      <a:lnTo>
                        <a:pt x="249" y="1890"/>
                      </a:lnTo>
                      <a:lnTo>
                        <a:pt x="194" y="1812"/>
                      </a:lnTo>
                      <a:lnTo>
                        <a:pt x="144" y="1732"/>
                      </a:lnTo>
                      <a:lnTo>
                        <a:pt x="102" y="1645"/>
                      </a:lnTo>
                      <a:lnTo>
                        <a:pt x="67" y="1556"/>
                      </a:lnTo>
                      <a:lnTo>
                        <a:pt x="39" y="1464"/>
                      </a:lnTo>
                      <a:lnTo>
                        <a:pt x="17" y="1368"/>
                      </a:lnTo>
                      <a:lnTo>
                        <a:pt x="5" y="1269"/>
                      </a:lnTo>
                      <a:lnTo>
                        <a:pt x="0" y="1169"/>
                      </a:lnTo>
                      <a:lnTo>
                        <a:pt x="5" y="1069"/>
                      </a:lnTo>
                      <a:lnTo>
                        <a:pt x="17" y="970"/>
                      </a:lnTo>
                      <a:lnTo>
                        <a:pt x="39" y="874"/>
                      </a:lnTo>
                      <a:lnTo>
                        <a:pt x="67" y="782"/>
                      </a:lnTo>
                      <a:lnTo>
                        <a:pt x="102" y="691"/>
                      </a:lnTo>
                      <a:lnTo>
                        <a:pt x="144" y="607"/>
                      </a:lnTo>
                      <a:lnTo>
                        <a:pt x="194" y="526"/>
                      </a:lnTo>
                      <a:lnTo>
                        <a:pt x="249" y="448"/>
                      </a:lnTo>
                      <a:lnTo>
                        <a:pt x="309" y="376"/>
                      </a:lnTo>
                      <a:lnTo>
                        <a:pt x="377" y="310"/>
                      </a:lnTo>
                      <a:lnTo>
                        <a:pt x="449" y="249"/>
                      </a:lnTo>
                      <a:lnTo>
                        <a:pt x="525" y="194"/>
                      </a:lnTo>
                      <a:lnTo>
                        <a:pt x="606" y="145"/>
                      </a:lnTo>
                      <a:lnTo>
                        <a:pt x="692" y="102"/>
                      </a:lnTo>
                      <a:lnTo>
                        <a:pt x="781" y="67"/>
                      </a:lnTo>
                      <a:lnTo>
                        <a:pt x="873" y="39"/>
                      </a:lnTo>
                      <a:lnTo>
                        <a:pt x="968" y="17"/>
                      </a:lnTo>
                      <a:lnTo>
                        <a:pt x="1067" y="5"/>
                      </a:lnTo>
                      <a:lnTo>
                        <a:pt x="116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65" name="Line 594"/>
                <p:cNvSpPr>
                  <a:spLocks noChangeShapeType="1"/>
                </p:cNvSpPr>
                <p:nvPr/>
              </p:nvSpPr>
              <p:spPr bwMode="auto">
                <a:xfrm flipH="1">
                  <a:off x="4102" y="2174"/>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66" name="Line 595"/>
                <p:cNvSpPr>
                  <a:spLocks noChangeShapeType="1"/>
                </p:cNvSpPr>
                <p:nvPr/>
              </p:nvSpPr>
              <p:spPr bwMode="auto">
                <a:xfrm flipH="1">
                  <a:off x="4098" y="2207"/>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67" name="Line 596"/>
                <p:cNvSpPr>
                  <a:spLocks noChangeShapeType="1"/>
                </p:cNvSpPr>
                <p:nvPr/>
              </p:nvSpPr>
              <p:spPr bwMode="auto">
                <a:xfrm flipH="1">
                  <a:off x="4091" y="2240"/>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68" name="Line 597"/>
                <p:cNvSpPr>
                  <a:spLocks noChangeShapeType="1"/>
                </p:cNvSpPr>
                <p:nvPr/>
              </p:nvSpPr>
              <p:spPr bwMode="auto">
                <a:xfrm flipH="1">
                  <a:off x="4082" y="2272"/>
                  <a:ext cx="9"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69" name="Line 598"/>
                <p:cNvSpPr>
                  <a:spLocks noChangeShapeType="1"/>
                </p:cNvSpPr>
                <p:nvPr/>
              </p:nvSpPr>
              <p:spPr bwMode="auto">
                <a:xfrm flipH="1">
                  <a:off x="4070" y="2303"/>
                  <a:ext cx="12"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0" name="Line 599"/>
                <p:cNvSpPr>
                  <a:spLocks noChangeShapeType="1"/>
                </p:cNvSpPr>
                <p:nvPr/>
              </p:nvSpPr>
              <p:spPr bwMode="auto">
                <a:xfrm flipH="1">
                  <a:off x="4056" y="2333"/>
                  <a:ext cx="14" cy="29"/>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1" name="Line 600"/>
                <p:cNvSpPr>
                  <a:spLocks noChangeShapeType="1"/>
                </p:cNvSpPr>
                <p:nvPr/>
              </p:nvSpPr>
              <p:spPr bwMode="auto">
                <a:xfrm flipH="1">
                  <a:off x="4040" y="2362"/>
                  <a:ext cx="16"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2" name="Line 601"/>
                <p:cNvSpPr>
                  <a:spLocks noChangeShapeType="1"/>
                </p:cNvSpPr>
                <p:nvPr/>
              </p:nvSpPr>
              <p:spPr bwMode="auto">
                <a:xfrm flipH="1">
                  <a:off x="4021" y="2388"/>
                  <a:ext cx="19"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3" name="Line 602"/>
                <p:cNvSpPr>
                  <a:spLocks noChangeShapeType="1"/>
                </p:cNvSpPr>
                <p:nvPr/>
              </p:nvSpPr>
              <p:spPr bwMode="auto">
                <a:xfrm flipH="1">
                  <a:off x="4000" y="2414"/>
                  <a:ext cx="21"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4" name="Line 603"/>
                <p:cNvSpPr>
                  <a:spLocks noChangeShapeType="1"/>
                </p:cNvSpPr>
                <p:nvPr/>
              </p:nvSpPr>
              <p:spPr bwMode="auto">
                <a:xfrm flipH="1">
                  <a:off x="3978" y="2438"/>
                  <a:ext cx="22"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5" name="Line 604"/>
                <p:cNvSpPr>
                  <a:spLocks noChangeShapeType="1"/>
                </p:cNvSpPr>
                <p:nvPr/>
              </p:nvSpPr>
              <p:spPr bwMode="auto">
                <a:xfrm flipH="1">
                  <a:off x="3954" y="2460"/>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6" name="Line 605"/>
                <p:cNvSpPr>
                  <a:spLocks noChangeShapeType="1"/>
                </p:cNvSpPr>
                <p:nvPr/>
              </p:nvSpPr>
              <p:spPr bwMode="auto">
                <a:xfrm flipH="1">
                  <a:off x="3929" y="2481"/>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7" name="Line 606"/>
                <p:cNvSpPr>
                  <a:spLocks noChangeShapeType="1"/>
                </p:cNvSpPr>
                <p:nvPr/>
              </p:nvSpPr>
              <p:spPr bwMode="auto">
                <a:xfrm flipH="1">
                  <a:off x="3902" y="2499"/>
                  <a:ext cx="27" cy="1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8" name="Line 607"/>
                <p:cNvSpPr>
                  <a:spLocks noChangeShapeType="1"/>
                </p:cNvSpPr>
                <p:nvPr/>
              </p:nvSpPr>
              <p:spPr bwMode="auto">
                <a:xfrm flipH="1">
                  <a:off x="3873" y="2516"/>
                  <a:ext cx="29" cy="1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9" name="Line 608"/>
                <p:cNvSpPr>
                  <a:spLocks noChangeShapeType="1"/>
                </p:cNvSpPr>
                <p:nvPr/>
              </p:nvSpPr>
              <p:spPr bwMode="auto">
                <a:xfrm flipH="1">
                  <a:off x="3843" y="2530"/>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80" name="Line 609"/>
                <p:cNvSpPr>
                  <a:spLocks noChangeShapeType="1"/>
                </p:cNvSpPr>
                <p:nvPr/>
              </p:nvSpPr>
              <p:spPr bwMode="auto">
                <a:xfrm flipH="1">
                  <a:off x="3813" y="2541"/>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81" name="Line 610"/>
                <p:cNvSpPr>
                  <a:spLocks noChangeShapeType="1"/>
                </p:cNvSpPr>
                <p:nvPr/>
              </p:nvSpPr>
              <p:spPr bwMode="auto">
                <a:xfrm flipH="1">
                  <a:off x="3781" y="2551"/>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82" name="Line 611"/>
                <p:cNvSpPr>
                  <a:spLocks noChangeShapeType="1"/>
                </p:cNvSpPr>
                <p:nvPr/>
              </p:nvSpPr>
              <p:spPr bwMode="auto">
                <a:xfrm flipH="1">
                  <a:off x="3748" y="2558"/>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83" name="Line 612"/>
                <p:cNvSpPr>
                  <a:spLocks noChangeShapeType="1"/>
                </p:cNvSpPr>
                <p:nvPr/>
              </p:nvSpPr>
              <p:spPr bwMode="auto">
                <a:xfrm flipH="1">
                  <a:off x="3714" y="2562"/>
                  <a:ext cx="34"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84" name="Line 613"/>
                <p:cNvSpPr>
                  <a:spLocks noChangeShapeType="1"/>
                </p:cNvSpPr>
                <p:nvPr/>
              </p:nvSpPr>
              <p:spPr bwMode="auto">
                <a:xfrm flipH="1" flipV="1">
                  <a:off x="3681" y="2562"/>
                  <a:ext cx="33"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85" name="Line 614"/>
                <p:cNvSpPr>
                  <a:spLocks noChangeShapeType="1"/>
                </p:cNvSpPr>
                <p:nvPr/>
              </p:nvSpPr>
              <p:spPr bwMode="auto">
                <a:xfrm flipH="1" flipV="1">
                  <a:off x="3648" y="2558"/>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86" name="Line 615"/>
                <p:cNvSpPr>
                  <a:spLocks noChangeShapeType="1"/>
                </p:cNvSpPr>
                <p:nvPr/>
              </p:nvSpPr>
              <p:spPr bwMode="auto">
                <a:xfrm flipH="1" flipV="1">
                  <a:off x="3616" y="2551"/>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87" name="Line 616"/>
                <p:cNvSpPr>
                  <a:spLocks noChangeShapeType="1"/>
                </p:cNvSpPr>
                <p:nvPr/>
              </p:nvSpPr>
              <p:spPr bwMode="auto">
                <a:xfrm flipH="1" flipV="1">
                  <a:off x="3586" y="2541"/>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88" name="Line 617"/>
                <p:cNvSpPr>
                  <a:spLocks noChangeShapeType="1"/>
                </p:cNvSpPr>
                <p:nvPr/>
              </p:nvSpPr>
              <p:spPr bwMode="auto">
                <a:xfrm flipH="1" flipV="1">
                  <a:off x="3556" y="2530"/>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89" name="Line 618"/>
                <p:cNvSpPr>
                  <a:spLocks noChangeShapeType="1"/>
                </p:cNvSpPr>
                <p:nvPr/>
              </p:nvSpPr>
              <p:spPr bwMode="auto">
                <a:xfrm flipH="1" flipV="1">
                  <a:off x="3527" y="2516"/>
                  <a:ext cx="29" cy="1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0" name="Line 619"/>
                <p:cNvSpPr>
                  <a:spLocks noChangeShapeType="1"/>
                </p:cNvSpPr>
                <p:nvPr/>
              </p:nvSpPr>
              <p:spPr bwMode="auto">
                <a:xfrm flipH="1" flipV="1">
                  <a:off x="3500" y="2499"/>
                  <a:ext cx="27" cy="1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1" name="Line 620"/>
                <p:cNvSpPr>
                  <a:spLocks noChangeShapeType="1"/>
                </p:cNvSpPr>
                <p:nvPr/>
              </p:nvSpPr>
              <p:spPr bwMode="auto">
                <a:xfrm flipH="1" flipV="1">
                  <a:off x="3475" y="2481"/>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2" name="Line 621"/>
                <p:cNvSpPr>
                  <a:spLocks noChangeShapeType="1"/>
                </p:cNvSpPr>
                <p:nvPr/>
              </p:nvSpPr>
              <p:spPr bwMode="auto">
                <a:xfrm flipH="1" flipV="1">
                  <a:off x="3451" y="2460"/>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3" name="Line 622"/>
                <p:cNvSpPr>
                  <a:spLocks noChangeShapeType="1"/>
                </p:cNvSpPr>
                <p:nvPr/>
              </p:nvSpPr>
              <p:spPr bwMode="auto">
                <a:xfrm flipH="1" flipV="1">
                  <a:off x="3428" y="2438"/>
                  <a:ext cx="23"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4" name="Line 623"/>
                <p:cNvSpPr>
                  <a:spLocks noChangeShapeType="1"/>
                </p:cNvSpPr>
                <p:nvPr/>
              </p:nvSpPr>
              <p:spPr bwMode="auto">
                <a:xfrm flipH="1" flipV="1">
                  <a:off x="3408" y="2414"/>
                  <a:ext cx="20"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5" name="Line 624"/>
                <p:cNvSpPr>
                  <a:spLocks noChangeShapeType="1"/>
                </p:cNvSpPr>
                <p:nvPr/>
              </p:nvSpPr>
              <p:spPr bwMode="auto">
                <a:xfrm flipH="1" flipV="1">
                  <a:off x="3390" y="2388"/>
                  <a:ext cx="18"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6" name="Line 625"/>
                <p:cNvSpPr>
                  <a:spLocks noChangeShapeType="1"/>
                </p:cNvSpPr>
                <p:nvPr/>
              </p:nvSpPr>
              <p:spPr bwMode="auto">
                <a:xfrm flipH="1" flipV="1">
                  <a:off x="3373" y="2362"/>
                  <a:ext cx="17"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7" name="Line 626"/>
                <p:cNvSpPr>
                  <a:spLocks noChangeShapeType="1"/>
                </p:cNvSpPr>
                <p:nvPr/>
              </p:nvSpPr>
              <p:spPr bwMode="auto">
                <a:xfrm flipH="1" flipV="1">
                  <a:off x="3359" y="2333"/>
                  <a:ext cx="14" cy="29"/>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8" name="Line 627"/>
                <p:cNvSpPr>
                  <a:spLocks noChangeShapeType="1"/>
                </p:cNvSpPr>
                <p:nvPr/>
              </p:nvSpPr>
              <p:spPr bwMode="auto">
                <a:xfrm flipH="1" flipV="1">
                  <a:off x="3348" y="2303"/>
                  <a:ext cx="11"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9" name="Line 628"/>
                <p:cNvSpPr>
                  <a:spLocks noChangeShapeType="1"/>
                </p:cNvSpPr>
                <p:nvPr/>
              </p:nvSpPr>
              <p:spPr bwMode="auto">
                <a:xfrm flipH="1" flipV="1">
                  <a:off x="3338" y="2272"/>
                  <a:ext cx="10"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00" name="Line 629"/>
                <p:cNvSpPr>
                  <a:spLocks noChangeShapeType="1"/>
                </p:cNvSpPr>
                <p:nvPr/>
              </p:nvSpPr>
              <p:spPr bwMode="auto">
                <a:xfrm flipH="1" flipV="1">
                  <a:off x="3331" y="2240"/>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01" name="Line 630"/>
                <p:cNvSpPr>
                  <a:spLocks noChangeShapeType="1"/>
                </p:cNvSpPr>
                <p:nvPr/>
              </p:nvSpPr>
              <p:spPr bwMode="auto">
                <a:xfrm flipH="1" flipV="1">
                  <a:off x="3327" y="2207"/>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02" name="Line 631"/>
                <p:cNvSpPr>
                  <a:spLocks noChangeShapeType="1"/>
                </p:cNvSpPr>
                <p:nvPr/>
              </p:nvSpPr>
              <p:spPr bwMode="auto">
                <a:xfrm flipH="1" flipV="1">
                  <a:off x="3325" y="2174"/>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03" name="Line 632"/>
                <p:cNvSpPr>
                  <a:spLocks noChangeShapeType="1"/>
                </p:cNvSpPr>
                <p:nvPr/>
              </p:nvSpPr>
              <p:spPr bwMode="auto">
                <a:xfrm flipV="1">
                  <a:off x="3325" y="2141"/>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04" name="Line 633"/>
                <p:cNvSpPr>
                  <a:spLocks noChangeShapeType="1"/>
                </p:cNvSpPr>
                <p:nvPr/>
              </p:nvSpPr>
              <p:spPr bwMode="auto">
                <a:xfrm flipV="1">
                  <a:off x="3327" y="2108"/>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05" name="Line 634"/>
                <p:cNvSpPr>
                  <a:spLocks noChangeShapeType="1"/>
                </p:cNvSpPr>
                <p:nvPr/>
              </p:nvSpPr>
              <p:spPr bwMode="auto">
                <a:xfrm flipV="1">
                  <a:off x="3331" y="2076"/>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06" name="Line 635"/>
                <p:cNvSpPr>
                  <a:spLocks noChangeShapeType="1"/>
                </p:cNvSpPr>
                <p:nvPr/>
              </p:nvSpPr>
              <p:spPr bwMode="auto">
                <a:xfrm flipV="1">
                  <a:off x="3338" y="2045"/>
                  <a:ext cx="10"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07" name="Line 636"/>
                <p:cNvSpPr>
                  <a:spLocks noChangeShapeType="1"/>
                </p:cNvSpPr>
                <p:nvPr/>
              </p:nvSpPr>
              <p:spPr bwMode="auto">
                <a:xfrm flipV="1">
                  <a:off x="3348" y="2015"/>
                  <a:ext cx="11"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08" name="Line 637"/>
                <p:cNvSpPr>
                  <a:spLocks noChangeShapeType="1"/>
                </p:cNvSpPr>
                <p:nvPr/>
              </p:nvSpPr>
              <p:spPr bwMode="auto">
                <a:xfrm flipV="1">
                  <a:off x="3359" y="1987"/>
                  <a:ext cx="14" cy="2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09" name="Line 638"/>
                <p:cNvSpPr>
                  <a:spLocks noChangeShapeType="1"/>
                </p:cNvSpPr>
                <p:nvPr/>
              </p:nvSpPr>
              <p:spPr bwMode="auto">
                <a:xfrm flipV="1">
                  <a:off x="3373" y="1960"/>
                  <a:ext cx="17" cy="2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0" name="Line 639"/>
                <p:cNvSpPr>
                  <a:spLocks noChangeShapeType="1"/>
                </p:cNvSpPr>
                <p:nvPr/>
              </p:nvSpPr>
              <p:spPr bwMode="auto">
                <a:xfrm flipV="1">
                  <a:off x="3390" y="1934"/>
                  <a:ext cx="18"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1" name="Line 640"/>
                <p:cNvSpPr>
                  <a:spLocks noChangeShapeType="1"/>
                </p:cNvSpPr>
                <p:nvPr/>
              </p:nvSpPr>
              <p:spPr bwMode="auto">
                <a:xfrm flipV="1">
                  <a:off x="3408" y="1910"/>
                  <a:ext cx="20"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2" name="Line 641"/>
                <p:cNvSpPr>
                  <a:spLocks noChangeShapeType="1"/>
                </p:cNvSpPr>
                <p:nvPr/>
              </p:nvSpPr>
              <p:spPr bwMode="auto">
                <a:xfrm flipV="1">
                  <a:off x="3428" y="1888"/>
                  <a:ext cx="23"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3" name="Line 642"/>
                <p:cNvSpPr>
                  <a:spLocks noChangeShapeType="1"/>
                </p:cNvSpPr>
                <p:nvPr/>
              </p:nvSpPr>
              <p:spPr bwMode="auto">
                <a:xfrm flipV="1">
                  <a:off x="3451" y="1867"/>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4" name="Line 643"/>
                <p:cNvSpPr>
                  <a:spLocks noChangeShapeType="1"/>
                </p:cNvSpPr>
                <p:nvPr/>
              </p:nvSpPr>
              <p:spPr bwMode="auto">
                <a:xfrm flipV="1">
                  <a:off x="3475" y="1849"/>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5" name="Line 644"/>
                <p:cNvSpPr>
                  <a:spLocks noChangeShapeType="1"/>
                </p:cNvSpPr>
                <p:nvPr/>
              </p:nvSpPr>
              <p:spPr bwMode="auto">
                <a:xfrm flipV="1">
                  <a:off x="3500" y="1833"/>
                  <a:ext cx="27" cy="1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6" name="Line 645"/>
                <p:cNvSpPr>
                  <a:spLocks noChangeShapeType="1"/>
                </p:cNvSpPr>
                <p:nvPr/>
              </p:nvSpPr>
              <p:spPr bwMode="auto">
                <a:xfrm flipV="1">
                  <a:off x="3527" y="1818"/>
                  <a:ext cx="29" cy="15"/>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7" name="Line 646"/>
                <p:cNvSpPr>
                  <a:spLocks noChangeShapeType="1"/>
                </p:cNvSpPr>
                <p:nvPr/>
              </p:nvSpPr>
              <p:spPr bwMode="auto">
                <a:xfrm flipV="1">
                  <a:off x="3556" y="1807"/>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8" name="Line 647"/>
                <p:cNvSpPr>
                  <a:spLocks noChangeShapeType="1"/>
                </p:cNvSpPr>
                <p:nvPr/>
              </p:nvSpPr>
              <p:spPr bwMode="auto">
                <a:xfrm flipV="1">
                  <a:off x="3586" y="1797"/>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9" name="Line 648"/>
                <p:cNvSpPr>
                  <a:spLocks noChangeShapeType="1"/>
                </p:cNvSpPr>
                <p:nvPr/>
              </p:nvSpPr>
              <p:spPr bwMode="auto">
                <a:xfrm flipV="1">
                  <a:off x="3616" y="1790"/>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20" name="Line 649"/>
                <p:cNvSpPr>
                  <a:spLocks noChangeShapeType="1"/>
                </p:cNvSpPr>
                <p:nvPr/>
              </p:nvSpPr>
              <p:spPr bwMode="auto">
                <a:xfrm flipV="1">
                  <a:off x="3648" y="1786"/>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21" name="Line 650"/>
                <p:cNvSpPr>
                  <a:spLocks noChangeShapeType="1"/>
                </p:cNvSpPr>
                <p:nvPr/>
              </p:nvSpPr>
              <p:spPr bwMode="auto">
                <a:xfrm flipV="1">
                  <a:off x="3681" y="1784"/>
                  <a:ext cx="33"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22" name="Line 651"/>
                <p:cNvSpPr>
                  <a:spLocks noChangeShapeType="1"/>
                </p:cNvSpPr>
                <p:nvPr/>
              </p:nvSpPr>
              <p:spPr bwMode="auto">
                <a:xfrm>
                  <a:off x="3714" y="1784"/>
                  <a:ext cx="34"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23" name="Line 652"/>
                <p:cNvSpPr>
                  <a:spLocks noChangeShapeType="1"/>
                </p:cNvSpPr>
                <p:nvPr/>
              </p:nvSpPr>
              <p:spPr bwMode="auto">
                <a:xfrm>
                  <a:off x="3748" y="1786"/>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24" name="Line 653"/>
                <p:cNvSpPr>
                  <a:spLocks noChangeShapeType="1"/>
                </p:cNvSpPr>
                <p:nvPr/>
              </p:nvSpPr>
              <p:spPr bwMode="auto">
                <a:xfrm>
                  <a:off x="3781" y="1790"/>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25" name="Line 654"/>
                <p:cNvSpPr>
                  <a:spLocks noChangeShapeType="1"/>
                </p:cNvSpPr>
                <p:nvPr/>
              </p:nvSpPr>
              <p:spPr bwMode="auto">
                <a:xfrm>
                  <a:off x="3813" y="1797"/>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26" name="Line 655"/>
                <p:cNvSpPr>
                  <a:spLocks noChangeShapeType="1"/>
                </p:cNvSpPr>
                <p:nvPr/>
              </p:nvSpPr>
              <p:spPr bwMode="auto">
                <a:xfrm>
                  <a:off x="3843" y="1807"/>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27" name="Line 656"/>
                <p:cNvSpPr>
                  <a:spLocks noChangeShapeType="1"/>
                </p:cNvSpPr>
                <p:nvPr/>
              </p:nvSpPr>
              <p:spPr bwMode="auto">
                <a:xfrm>
                  <a:off x="3873" y="1818"/>
                  <a:ext cx="29" cy="15"/>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28" name="Line 657"/>
                <p:cNvSpPr>
                  <a:spLocks noChangeShapeType="1"/>
                </p:cNvSpPr>
                <p:nvPr/>
              </p:nvSpPr>
              <p:spPr bwMode="auto">
                <a:xfrm>
                  <a:off x="3902" y="1833"/>
                  <a:ext cx="27" cy="1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29" name="Line 658"/>
                <p:cNvSpPr>
                  <a:spLocks noChangeShapeType="1"/>
                </p:cNvSpPr>
                <p:nvPr/>
              </p:nvSpPr>
              <p:spPr bwMode="auto">
                <a:xfrm>
                  <a:off x="3929" y="1849"/>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0" name="Line 659"/>
                <p:cNvSpPr>
                  <a:spLocks noChangeShapeType="1"/>
                </p:cNvSpPr>
                <p:nvPr/>
              </p:nvSpPr>
              <p:spPr bwMode="auto">
                <a:xfrm>
                  <a:off x="3954" y="1867"/>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1" name="Line 660"/>
                <p:cNvSpPr>
                  <a:spLocks noChangeShapeType="1"/>
                </p:cNvSpPr>
                <p:nvPr/>
              </p:nvSpPr>
              <p:spPr bwMode="auto">
                <a:xfrm>
                  <a:off x="3978" y="1888"/>
                  <a:ext cx="22"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2" name="Line 661"/>
                <p:cNvSpPr>
                  <a:spLocks noChangeShapeType="1"/>
                </p:cNvSpPr>
                <p:nvPr/>
              </p:nvSpPr>
              <p:spPr bwMode="auto">
                <a:xfrm>
                  <a:off x="4000" y="1910"/>
                  <a:ext cx="21"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3" name="Line 662"/>
                <p:cNvSpPr>
                  <a:spLocks noChangeShapeType="1"/>
                </p:cNvSpPr>
                <p:nvPr/>
              </p:nvSpPr>
              <p:spPr bwMode="auto">
                <a:xfrm>
                  <a:off x="4021" y="1934"/>
                  <a:ext cx="19"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4" name="Line 663"/>
                <p:cNvSpPr>
                  <a:spLocks noChangeShapeType="1"/>
                </p:cNvSpPr>
                <p:nvPr/>
              </p:nvSpPr>
              <p:spPr bwMode="auto">
                <a:xfrm>
                  <a:off x="4040" y="1960"/>
                  <a:ext cx="16" cy="2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5" name="Line 664"/>
                <p:cNvSpPr>
                  <a:spLocks noChangeShapeType="1"/>
                </p:cNvSpPr>
                <p:nvPr/>
              </p:nvSpPr>
              <p:spPr bwMode="auto">
                <a:xfrm>
                  <a:off x="4056" y="1987"/>
                  <a:ext cx="14" cy="2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6" name="Line 665"/>
                <p:cNvSpPr>
                  <a:spLocks noChangeShapeType="1"/>
                </p:cNvSpPr>
                <p:nvPr/>
              </p:nvSpPr>
              <p:spPr bwMode="auto">
                <a:xfrm>
                  <a:off x="4070" y="2015"/>
                  <a:ext cx="12"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7" name="Line 666"/>
                <p:cNvSpPr>
                  <a:spLocks noChangeShapeType="1"/>
                </p:cNvSpPr>
                <p:nvPr/>
              </p:nvSpPr>
              <p:spPr bwMode="auto">
                <a:xfrm>
                  <a:off x="4082" y="2045"/>
                  <a:ext cx="9"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8" name="Line 667"/>
                <p:cNvSpPr>
                  <a:spLocks noChangeShapeType="1"/>
                </p:cNvSpPr>
                <p:nvPr/>
              </p:nvSpPr>
              <p:spPr bwMode="auto">
                <a:xfrm>
                  <a:off x="4091" y="2076"/>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9" name="Line 668"/>
                <p:cNvSpPr>
                  <a:spLocks noChangeShapeType="1"/>
                </p:cNvSpPr>
                <p:nvPr/>
              </p:nvSpPr>
              <p:spPr bwMode="auto">
                <a:xfrm>
                  <a:off x="4098" y="2108"/>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40" name="Line 669"/>
                <p:cNvSpPr>
                  <a:spLocks noChangeShapeType="1"/>
                </p:cNvSpPr>
                <p:nvPr/>
              </p:nvSpPr>
              <p:spPr bwMode="auto">
                <a:xfrm>
                  <a:off x="4102" y="2141"/>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41" name="Freeform 670"/>
                <p:cNvSpPr>
                  <a:spLocks noEditPoints="1"/>
                </p:cNvSpPr>
                <p:nvPr/>
              </p:nvSpPr>
              <p:spPr bwMode="auto">
                <a:xfrm>
                  <a:off x="3327" y="1774"/>
                  <a:ext cx="802" cy="799"/>
                </a:xfrm>
                <a:custGeom>
                  <a:avLst/>
                  <a:gdLst>
                    <a:gd name="T0" fmla="*/ 1400 w 2406"/>
                    <a:gd name="T1" fmla="*/ 1574 h 2398"/>
                    <a:gd name="T2" fmla="*/ 1366 w 2406"/>
                    <a:gd name="T3" fmla="*/ 1683 h 2398"/>
                    <a:gd name="T4" fmla="*/ 968 w 2406"/>
                    <a:gd name="T5" fmla="*/ 1607 h 2398"/>
                    <a:gd name="T6" fmla="*/ 1744 w 2406"/>
                    <a:gd name="T7" fmla="*/ 1472 h 2398"/>
                    <a:gd name="T8" fmla="*/ 1788 w 2406"/>
                    <a:gd name="T9" fmla="*/ 1655 h 2398"/>
                    <a:gd name="T10" fmla="*/ 1622 w 2406"/>
                    <a:gd name="T11" fmla="*/ 1737 h 2398"/>
                    <a:gd name="T12" fmla="*/ 1508 w 2406"/>
                    <a:gd name="T13" fmla="*/ 1622 h 2398"/>
                    <a:gd name="T14" fmla="*/ 1587 w 2406"/>
                    <a:gd name="T15" fmla="*/ 1461 h 2398"/>
                    <a:gd name="T16" fmla="*/ 804 w 2406"/>
                    <a:gd name="T17" fmla="*/ 1457 h 2398"/>
                    <a:gd name="T18" fmla="*/ 849 w 2406"/>
                    <a:gd name="T19" fmla="*/ 1638 h 2398"/>
                    <a:gd name="T20" fmla="*/ 692 w 2406"/>
                    <a:gd name="T21" fmla="*/ 1721 h 2398"/>
                    <a:gd name="T22" fmla="*/ 573 w 2406"/>
                    <a:gd name="T23" fmla="*/ 1612 h 2398"/>
                    <a:gd name="T24" fmla="*/ 649 w 2406"/>
                    <a:gd name="T25" fmla="*/ 1444 h 2398"/>
                    <a:gd name="T26" fmla="*/ 1615 w 2406"/>
                    <a:gd name="T27" fmla="*/ 1164 h 2398"/>
                    <a:gd name="T28" fmla="*/ 1587 w 2406"/>
                    <a:gd name="T29" fmla="*/ 1347 h 2398"/>
                    <a:gd name="T30" fmla="*/ 1388 w 2406"/>
                    <a:gd name="T31" fmla="*/ 902 h 2398"/>
                    <a:gd name="T32" fmla="*/ 1134 w 2406"/>
                    <a:gd name="T33" fmla="*/ 842 h 2398"/>
                    <a:gd name="T34" fmla="*/ 1076 w 2406"/>
                    <a:gd name="T35" fmla="*/ 985 h 2398"/>
                    <a:gd name="T36" fmla="*/ 790 w 2406"/>
                    <a:gd name="T37" fmla="*/ 1333 h 2398"/>
                    <a:gd name="T38" fmla="*/ 1042 w 2406"/>
                    <a:gd name="T39" fmla="*/ 856 h 2398"/>
                    <a:gd name="T40" fmla="*/ 1424 w 2406"/>
                    <a:gd name="T41" fmla="*/ 564 h 2398"/>
                    <a:gd name="T42" fmla="*/ 1428 w 2406"/>
                    <a:gd name="T43" fmla="*/ 749 h 2398"/>
                    <a:gd name="T44" fmla="*/ 1250 w 2406"/>
                    <a:gd name="T45" fmla="*/ 793 h 2398"/>
                    <a:gd name="T46" fmla="*/ 1162 w 2406"/>
                    <a:gd name="T47" fmla="*/ 660 h 2398"/>
                    <a:gd name="T48" fmla="*/ 1275 w 2406"/>
                    <a:gd name="T49" fmla="*/ 514 h 2398"/>
                    <a:gd name="T50" fmla="*/ 904 w 2406"/>
                    <a:gd name="T51" fmla="*/ 216 h 2398"/>
                    <a:gd name="T52" fmla="*/ 1196 w 2406"/>
                    <a:gd name="T53" fmla="*/ 431 h 2398"/>
                    <a:gd name="T54" fmla="*/ 938 w 2406"/>
                    <a:gd name="T55" fmla="*/ 356 h 2398"/>
                    <a:gd name="T56" fmla="*/ 547 w 2406"/>
                    <a:gd name="T57" fmla="*/ 410 h 2398"/>
                    <a:gd name="T58" fmla="*/ 255 w 2406"/>
                    <a:gd name="T59" fmla="*/ 798 h 2398"/>
                    <a:gd name="T60" fmla="*/ 175 w 2406"/>
                    <a:gd name="T61" fmla="*/ 1228 h 2398"/>
                    <a:gd name="T62" fmla="*/ 431 w 2406"/>
                    <a:gd name="T63" fmla="*/ 1420 h 2398"/>
                    <a:gd name="T64" fmla="*/ 324 w 2406"/>
                    <a:gd name="T65" fmla="*/ 1485 h 2398"/>
                    <a:gd name="T66" fmla="*/ 214 w 2406"/>
                    <a:gd name="T67" fmla="*/ 1484 h 2398"/>
                    <a:gd name="T68" fmla="*/ 458 w 2406"/>
                    <a:gd name="T69" fmla="*/ 1906 h 2398"/>
                    <a:gd name="T70" fmla="*/ 674 w 2406"/>
                    <a:gd name="T71" fmla="*/ 1826 h 2398"/>
                    <a:gd name="T72" fmla="*/ 849 w 2406"/>
                    <a:gd name="T73" fmla="*/ 2162 h 2398"/>
                    <a:gd name="T74" fmla="*/ 1368 w 2406"/>
                    <a:gd name="T75" fmla="*/ 2211 h 2398"/>
                    <a:gd name="T76" fmla="*/ 1590 w 2406"/>
                    <a:gd name="T77" fmla="*/ 1971 h 2398"/>
                    <a:gd name="T78" fmla="*/ 1717 w 2406"/>
                    <a:gd name="T79" fmla="*/ 1840 h 2398"/>
                    <a:gd name="T80" fmla="*/ 1799 w 2406"/>
                    <a:gd name="T81" fmla="*/ 2035 h 2398"/>
                    <a:gd name="T82" fmla="*/ 2107 w 2406"/>
                    <a:gd name="T83" fmla="*/ 1687 h 2398"/>
                    <a:gd name="T84" fmla="*/ 2099 w 2406"/>
                    <a:gd name="T85" fmla="*/ 1482 h 2398"/>
                    <a:gd name="T86" fmla="*/ 1878 w 2406"/>
                    <a:gd name="T87" fmla="*/ 1471 h 2398"/>
                    <a:gd name="T88" fmla="*/ 2231 w 2406"/>
                    <a:gd name="T89" fmla="*/ 1236 h 2398"/>
                    <a:gd name="T90" fmla="*/ 2164 w 2406"/>
                    <a:gd name="T91" fmla="*/ 832 h 2398"/>
                    <a:gd name="T92" fmla="*/ 1865 w 2406"/>
                    <a:gd name="T93" fmla="*/ 413 h 2398"/>
                    <a:gd name="T94" fmla="*/ 1505 w 2406"/>
                    <a:gd name="T95" fmla="*/ 495 h 2398"/>
                    <a:gd name="T96" fmla="*/ 1608 w 2406"/>
                    <a:gd name="T97" fmla="*/ 257 h 2398"/>
                    <a:gd name="T98" fmla="*/ 1185 w 2406"/>
                    <a:gd name="T99" fmla="*/ 0 h 2398"/>
                    <a:gd name="T100" fmla="*/ 1761 w 2406"/>
                    <a:gd name="T101" fmla="*/ 136 h 2398"/>
                    <a:gd name="T102" fmla="*/ 2177 w 2406"/>
                    <a:gd name="T103" fmla="*/ 492 h 2398"/>
                    <a:gd name="T104" fmla="*/ 2389 w 2406"/>
                    <a:gd name="T105" fmla="*/ 992 h 2398"/>
                    <a:gd name="T106" fmla="*/ 2346 w 2406"/>
                    <a:gd name="T107" fmla="*/ 1577 h 2398"/>
                    <a:gd name="T108" fmla="*/ 2049 w 2406"/>
                    <a:gd name="T109" fmla="*/ 2053 h 2398"/>
                    <a:gd name="T110" fmla="*/ 1590 w 2406"/>
                    <a:gd name="T111" fmla="*/ 2336 h 2398"/>
                    <a:gd name="T112" fmla="*/ 1017 w 2406"/>
                    <a:gd name="T113" fmla="*/ 2384 h 2398"/>
                    <a:gd name="T114" fmla="*/ 481 w 2406"/>
                    <a:gd name="T115" fmla="*/ 2159 h 2398"/>
                    <a:gd name="T116" fmla="*/ 134 w 2406"/>
                    <a:gd name="T117" fmla="*/ 1752 h 2398"/>
                    <a:gd name="T118" fmla="*/ 0 w 2406"/>
                    <a:gd name="T119" fmla="*/ 1217 h 2398"/>
                    <a:gd name="T120" fmla="*/ 136 w 2406"/>
                    <a:gd name="T121" fmla="*/ 643 h 2398"/>
                    <a:gd name="T122" fmla="*/ 494 w 2406"/>
                    <a:gd name="T123" fmla="*/ 229 h 2398"/>
                    <a:gd name="T124" fmla="*/ 996 w 2406"/>
                    <a:gd name="T125" fmla="*/ 17 h 2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06" h="2398">
                      <a:moveTo>
                        <a:pt x="971" y="1566"/>
                      </a:moveTo>
                      <a:lnTo>
                        <a:pt x="1083" y="1576"/>
                      </a:lnTo>
                      <a:lnTo>
                        <a:pt x="1199" y="1580"/>
                      </a:lnTo>
                      <a:lnTo>
                        <a:pt x="1313" y="1578"/>
                      </a:lnTo>
                      <a:lnTo>
                        <a:pt x="1357" y="1577"/>
                      </a:lnTo>
                      <a:lnTo>
                        <a:pt x="1400" y="1574"/>
                      </a:lnTo>
                      <a:lnTo>
                        <a:pt x="1398" y="1581"/>
                      </a:lnTo>
                      <a:lnTo>
                        <a:pt x="1398" y="1588"/>
                      </a:lnTo>
                      <a:lnTo>
                        <a:pt x="1398" y="1597"/>
                      </a:lnTo>
                      <a:lnTo>
                        <a:pt x="1402" y="1639"/>
                      </a:lnTo>
                      <a:lnTo>
                        <a:pt x="1414" y="1680"/>
                      </a:lnTo>
                      <a:lnTo>
                        <a:pt x="1366" y="1683"/>
                      </a:lnTo>
                      <a:lnTo>
                        <a:pt x="1316" y="1687"/>
                      </a:lnTo>
                      <a:lnTo>
                        <a:pt x="1193" y="1687"/>
                      </a:lnTo>
                      <a:lnTo>
                        <a:pt x="1074" y="1683"/>
                      </a:lnTo>
                      <a:lnTo>
                        <a:pt x="952" y="1672"/>
                      </a:lnTo>
                      <a:lnTo>
                        <a:pt x="962" y="1639"/>
                      </a:lnTo>
                      <a:lnTo>
                        <a:pt x="968" y="1607"/>
                      </a:lnTo>
                      <a:lnTo>
                        <a:pt x="971" y="1573"/>
                      </a:lnTo>
                      <a:lnTo>
                        <a:pt x="971" y="1566"/>
                      </a:lnTo>
                      <a:close/>
                      <a:moveTo>
                        <a:pt x="1652" y="1444"/>
                      </a:moveTo>
                      <a:lnTo>
                        <a:pt x="1685" y="1447"/>
                      </a:lnTo>
                      <a:lnTo>
                        <a:pt x="1716" y="1457"/>
                      </a:lnTo>
                      <a:lnTo>
                        <a:pt x="1744" y="1472"/>
                      </a:lnTo>
                      <a:lnTo>
                        <a:pt x="1768" y="1495"/>
                      </a:lnTo>
                      <a:lnTo>
                        <a:pt x="1785" y="1523"/>
                      </a:lnTo>
                      <a:lnTo>
                        <a:pt x="1797" y="1554"/>
                      </a:lnTo>
                      <a:lnTo>
                        <a:pt x="1800" y="1590"/>
                      </a:lnTo>
                      <a:lnTo>
                        <a:pt x="1797" y="1624"/>
                      </a:lnTo>
                      <a:lnTo>
                        <a:pt x="1788" y="1655"/>
                      </a:lnTo>
                      <a:lnTo>
                        <a:pt x="1771" y="1683"/>
                      </a:lnTo>
                      <a:lnTo>
                        <a:pt x="1748" y="1706"/>
                      </a:lnTo>
                      <a:lnTo>
                        <a:pt x="1721" y="1724"/>
                      </a:lnTo>
                      <a:lnTo>
                        <a:pt x="1690" y="1735"/>
                      </a:lnTo>
                      <a:lnTo>
                        <a:pt x="1656" y="1740"/>
                      </a:lnTo>
                      <a:lnTo>
                        <a:pt x="1622" y="1737"/>
                      </a:lnTo>
                      <a:lnTo>
                        <a:pt x="1591" y="1725"/>
                      </a:lnTo>
                      <a:lnTo>
                        <a:pt x="1563" y="1708"/>
                      </a:lnTo>
                      <a:lnTo>
                        <a:pt x="1545" y="1691"/>
                      </a:lnTo>
                      <a:lnTo>
                        <a:pt x="1528" y="1672"/>
                      </a:lnTo>
                      <a:lnTo>
                        <a:pt x="1517" y="1648"/>
                      </a:lnTo>
                      <a:lnTo>
                        <a:pt x="1508" y="1622"/>
                      </a:lnTo>
                      <a:lnTo>
                        <a:pt x="1507" y="1594"/>
                      </a:lnTo>
                      <a:lnTo>
                        <a:pt x="1510" y="1560"/>
                      </a:lnTo>
                      <a:lnTo>
                        <a:pt x="1519" y="1529"/>
                      </a:lnTo>
                      <a:lnTo>
                        <a:pt x="1538" y="1502"/>
                      </a:lnTo>
                      <a:lnTo>
                        <a:pt x="1560" y="1478"/>
                      </a:lnTo>
                      <a:lnTo>
                        <a:pt x="1587" y="1461"/>
                      </a:lnTo>
                      <a:lnTo>
                        <a:pt x="1618" y="1448"/>
                      </a:lnTo>
                      <a:lnTo>
                        <a:pt x="1652" y="1444"/>
                      </a:lnTo>
                      <a:close/>
                      <a:moveTo>
                        <a:pt x="714" y="1429"/>
                      </a:moveTo>
                      <a:lnTo>
                        <a:pt x="746" y="1431"/>
                      </a:lnTo>
                      <a:lnTo>
                        <a:pt x="777" y="1441"/>
                      </a:lnTo>
                      <a:lnTo>
                        <a:pt x="804" y="1457"/>
                      </a:lnTo>
                      <a:lnTo>
                        <a:pt x="828" y="1479"/>
                      </a:lnTo>
                      <a:lnTo>
                        <a:pt x="846" y="1508"/>
                      </a:lnTo>
                      <a:lnTo>
                        <a:pt x="859" y="1539"/>
                      </a:lnTo>
                      <a:lnTo>
                        <a:pt x="863" y="1574"/>
                      </a:lnTo>
                      <a:lnTo>
                        <a:pt x="860" y="1608"/>
                      </a:lnTo>
                      <a:lnTo>
                        <a:pt x="849" y="1638"/>
                      </a:lnTo>
                      <a:lnTo>
                        <a:pt x="832" y="1666"/>
                      </a:lnTo>
                      <a:lnTo>
                        <a:pt x="810" y="1689"/>
                      </a:lnTo>
                      <a:lnTo>
                        <a:pt x="783" y="1707"/>
                      </a:lnTo>
                      <a:lnTo>
                        <a:pt x="752" y="1718"/>
                      </a:lnTo>
                      <a:lnTo>
                        <a:pt x="718" y="1723"/>
                      </a:lnTo>
                      <a:lnTo>
                        <a:pt x="692" y="1721"/>
                      </a:lnTo>
                      <a:lnTo>
                        <a:pt x="669" y="1717"/>
                      </a:lnTo>
                      <a:lnTo>
                        <a:pt x="647" y="1707"/>
                      </a:lnTo>
                      <a:lnTo>
                        <a:pt x="628" y="1694"/>
                      </a:lnTo>
                      <a:lnTo>
                        <a:pt x="604" y="1672"/>
                      </a:lnTo>
                      <a:lnTo>
                        <a:pt x="585" y="1643"/>
                      </a:lnTo>
                      <a:lnTo>
                        <a:pt x="573" y="1612"/>
                      </a:lnTo>
                      <a:lnTo>
                        <a:pt x="567" y="1578"/>
                      </a:lnTo>
                      <a:lnTo>
                        <a:pt x="571" y="1544"/>
                      </a:lnTo>
                      <a:lnTo>
                        <a:pt x="582" y="1513"/>
                      </a:lnTo>
                      <a:lnTo>
                        <a:pt x="599" y="1485"/>
                      </a:lnTo>
                      <a:lnTo>
                        <a:pt x="622" y="1463"/>
                      </a:lnTo>
                      <a:lnTo>
                        <a:pt x="649" y="1444"/>
                      </a:lnTo>
                      <a:lnTo>
                        <a:pt x="680" y="1433"/>
                      </a:lnTo>
                      <a:lnTo>
                        <a:pt x="714" y="1429"/>
                      </a:lnTo>
                      <a:close/>
                      <a:moveTo>
                        <a:pt x="1481" y="846"/>
                      </a:moveTo>
                      <a:lnTo>
                        <a:pt x="1531" y="950"/>
                      </a:lnTo>
                      <a:lnTo>
                        <a:pt x="1576" y="1057"/>
                      </a:lnTo>
                      <a:lnTo>
                        <a:pt x="1615" y="1164"/>
                      </a:lnTo>
                      <a:lnTo>
                        <a:pt x="1648" y="1275"/>
                      </a:lnTo>
                      <a:lnTo>
                        <a:pt x="1656" y="1306"/>
                      </a:lnTo>
                      <a:lnTo>
                        <a:pt x="1663" y="1338"/>
                      </a:lnTo>
                      <a:lnTo>
                        <a:pt x="1651" y="1338"/>
                      </a:lnTo>
                      <a:lnTo>
                        <a:pt x="1618" y="1340"/>
                      </a:lnTo>
                      <a:lnTo>
                        <a:pt x="1587" y="1347"/>
                      </a:lnTo>
                      <a:lnTo>
                        <a:pt x="1558" y="1355"/>
                      </a:lnTo>
                      <a:lnTo>
                        <a:pt x="1543" y="1303"/>
                      </a:lnTo>
                      <a:lnTo>
                        <a:pt x="1512" y="1200"/>
                      </a:lnTo>
                      <a:lnTo>
                        <a:pt x="1476" y="1098"/>
                      </a:lnTo>
                      <a:lnTo>
                        <a:pt x="1435" y="998"/>
                      </a:lnTo>
                      <a:lnTo>
                        <a:pt x="1388" y="902"/>
                      </a:lnTo>
                      <a:lnTo>
                        <a:pt x="1424" y="886"/>
                      </a:lnTo>
                      <a:lnTo>
                        <a:pt x="1453" y="868"/>
                      </a:lnTo>
                      <a:lnTo>
                        <a:pt x="1481" y="846"/>
                      </a:lnTo>
                      <a:close/>
                      <a:moveTo>
                        <a:pt x="1096" y="796"/>
                      </a:moveTo>
                      <a:lnTo>
                        <a:pt x="1113" y="820"/>
                      </a:lnTo>
                      <a:lnTo>
                        <a:pt x="1134" y="842"/>
                      </a:lnTo>
                      <a:lnTo>
                        <a:pt x="1158" y="861"/>
                      </a:lnTo>
                      <a:lnTo>
                        <a:pt x="1162" y="865"/>
                      </a:lnTo>
                      <a:lnTo>
                        <a:pt x="1168" y="868"/>
                      </a:lnTo>
                      <a:lnTo>
                        <a:pt x="1172" y="870"/>
                      </a:lnTo>
                      <a:lnTo>
                        <a:pt x="1123" y="927"/>
                      </a:lnTo>
                      <a:lnTo>
                        <a:pt x="1076" y="985"/>
                      </a:lnTo>
                      <a:lnTo>
                        <a:pt x="1014" y="1074"/>
                      </a:lnTo>
                      <a:lnTo>
                        <a:pt x="956" y="1167"/>
                      </a:lnTo>
                      <a:lnTo>
                        <a:pt x="903" y="1263"/>
                      </a:lnTo>
                      <a:lnTo>
                        <a:pt x="855" y="1362"/>
                      </a:lnTo>
                      <a:lnTo>
                        <a:pt x="824" y="1345"/>
                      </a:lnTo>
                      <a:lnTo>
                        <a:pt x="790" y="1333"/>
                      </a:lnTo>
                      <a:lnTo>
                        <a:pt x="753" y="1325"/>
                      </a:lnTo>
                      <a:lnTo>
                        <a:pt x="804" y="1218"/>
                      </a:lnTo>
                      <a:lnTo>
                        <a:pt x="862" y="1115"/>
                      </a:lnTo>
                      <a:lnTo>
                        <a:pt x="924" y="1016"/>
                      </a:lnTo>
                      <a:lnTo>
                        <a:pt x="993" y="921"/>
                      </a:lnTo>
                      <a:lnTo>
                        <a:pt x="1042" y="856"/>
                      </a:lnTo>
                      <a:lnTo>
                        <a:pt x="1096" y="796"/>
                      </a:lnTo>
                      <a:close/>
                      <a:moveTo>
                        <a:pt x="1309" y="510"/>
                      </a:moveTo>
                      <a:lnTo>
                        <a:pt x="1342" y="514"/>
                      </a:lnTo>
                      <a:lnTo>
                        <a:pt x="1373" y="524"/>
                      </a:lnTo>
                      <a:lnTo>
                        <a:pt x="1400" y="541"/>
                      </a:lnTo>
                      <a:lnTo>
                        <a:pt x="1424" y="564"/>
                      </a:lnTo>
                      <a:lnTo>
                        <a:pt x="1442" y="591"/>
                      </a:lnTo>
                      <a:lnTo>
                        <a:pt x="1455" y="622"/>
                      </a:lnTo>
                      <a:lnTo>
                        <a:pt x="1460" y="656"/>
                      </a:lnTo>
                      <a:lnTo>
                        <a:pt x="1456" y="690"/>
                      </a:lnTo>
                      <a:lnTo>
                        <a:pt x="1445" y="721"/>
                      </a:lnTo>
                      <a:lnTo>
                        <a:pt x="1428" y="749"/>
                      </a:lnTo>
                      <a:lnTo>
                        <a:pt x="1405" y="771"/>
                      </a:lnTo>
                      <a:lnTo>
                        <a:pt x="1378" y="790"/>
                      </a:lnTo>
                      <a:lnTo>
                        <a:pt x="1347" y="801"/>
                      </a:lnTo>
                      <a:lnTo>
                        <a:pt x="1313" y="805"/>
                      </a:lnTo>
                      <a:lnTo>
                        <a:pt x="1280" y="803"/>
                      </a:lnTo>
                      <a:lnTo>
                        <a:pt x="1250" y="793"/>
                      </a:lnTo>
                      <a:lnTo>
                        <a:pt x="1223" y="777"/>
                      </a:lnTo>
                      <a:lnTo>
                        <a:pt x="1203" y="760"/>
                      </a:lnTo>
                      <a:lnTo>
                        <a:pt x="1186" y="739"/>
                      </a:lnTo>
                      <a:lnTo>
                        <a:pt x="1174" y="715"/>
                      </a:lnTo>
                      <a:lnTo>
                        <a:pt x="1165" y="688"/>
                      </a:lnTo>
                      <a:lnTo>
                        <a:pt x="1162" y="660"/>
                      </a:lnTo>
                      <a:lnTo>
                        <a:pt x="1167" y="626"/>
                      </a:lnTo>
                      <a:lnTo>
                        <a:pt x="1177" y="595"/>
                      </a:lnTo>
                      <a:lnTo>
                        <a:pt x="1193" y="568"/>
                      </a:lnTo>
                      <a:lnTo>
                        <a:pt x="1216" y="544"/>
                      </a:lnTo>
                      <a:lnTo>
                        <a:pt x="1244" y="527"/>
                      </a:lnTo>
                      <a:lnTo>
                        <a:pt x="1275" y="514"/>
                      </a:lnTo>
                      <a:lnTo>
                        <a:pt x="1309" y="510"/>
                      </a:lnTo>
                      <a:close/>
                      <a:moveTo>
                        <a:pt x="1188" y="175"/>
                      </a:moveTo>
                      <a:lnTo>
                        <a:pt x="1114" y="178"/>
                      </a:lnTo>
                      <a:lnTo>
                        <a:pt x="1042" y="185"/>
                      </a:lnTo>
                      <a:lnTo>
                        <a:pt x="973" y="199"/>
                      </a:lnTo>
                      <a:lnTo>
                        <a:pt x="904" y="216"/>
                      </a:lnTo>
                      <a:lnTo>
                        <a:pt x="958" y="244"/>
                      </a:lnTo>
                      <a:lnTo>
                        <a:pt x="1010" y="275"/>
                      </a:lnTo>
                      <a:lnTo>
                        <a:pt x="1061" y="311"/>
                      </a:lnTo>
                      <a:lnTo>
                        <a:pt x="1107" y="348"/>
                      </a:lnTo>
                      <a:lnTo>
                        <a:pt x="1153" y="389"/>
                      </a:lnTo>
                      <a:lnTo>
                        <a:pt x="1196" y="431"/>
                      </a:lnTo>
                      <a:lnTo>
                        <a:pt x="1164" y="449"/>
                      </a:lnTo>
                      <a:lnTo>
                        <a:pt x="1137" y="472"/>
                      </a:lnTo>
                      <a:lnTo>
                        <a:pt x="1112" y="499"/>
                      </a:lnTo>
                      <a:lnTo>
                        <a:pt x="1055" y="445"/>
                      </a:lnTo>
                      <a:lnTo>
                        <a:pt x="997" y="396"/>
                      </a:lnTo>
                      <a:lnTo>
                        <a:pt x="938" y="356"/>
                      </a:lnTo>
                      <a:lnTo>
                        <a:pt x="877" y="322"/>
                      </a:lnTo>
                      <a:lnTo>
                        <a:pt x="815" y="295"/>
                      </a:lnTo>
                      <a:lnTo>
                        <a:pt x="753" y="275"/>
                      </a:lnTo>
                      <a:lnTo>
                        <a:pt x="681" y="315"/>
                      </a:lnTo>
                      <a:lnTo>
                        <a:pt x="612" y="360"/>
                      </a:lnTo>
                      <a:lnTo>
                        <a:pt x="547" y="410"/>
                      </a:lnTo>
                      <a:lnTo>
                        <a:pt x="486" y="463"/>
                      </a:lnTo>
                      <a:lnTo>
                        <a:pt x="430" y="523"/>
                      </a:lnTo>
                      <a:lnTo>
                        <a:pt x="379" y="585"/>
                      </a:lnTo>
                      <a:lnTo>
                        <a:pt x="331" y="653"/>
                      </a:lnTo>
                      <a:lnTo>
                        <a:pt x="290" y="723"/>
                      </a:lnTo>
                      <a:lnTo>
                        <a:pt x="255" y="798"/>
                      </a:lnTo>
                      <a:lnTo>
                        <a:pt x="225" y="876"/>
                      </a:lnTo>
                      <a:lnTo>
                        <a:pt x="201" y="958"/>
                      </a:lnTo>
                      <a:lnTo>
                        <a:pt x="186" y="1041"/>
                      </a:lnTo>
                      <a:lnTo>
                        <a:pt x="176" y="1126"/>
                      </a:lnTo>
                      <a:lnTo>
                        <a:pt x="173" y="1214"/>
                      </a:lnTo>
                      <a:lnTo>
                        <a:pt x="175" y="1228"/>
                      </a:lnTo>
                      <a:lnTo>
                        <a:pt x="175" y="1241"/>
                      </a:lnTo>
                      <a:lnTo>
                        <a:pt x="217" y="1283"/>
                      </a:lnTo>
                      <a:lnTo>
                        <a:pt x="266" y="1323"/>
                      </a:lnTo>
                      <a:lnTo>
                        <a:pt x="317" y="1358"/>
                      </a:lnTo>
                      <a:lnTo>
                        <a:pt x="372" y="1390"/>
                      </a:lnTo>
                      <a:lnTo>
                        <a:pt x="431" y="1420"/>
                      </a:lnTo>
                      <a:lnTo>
                        <a:pt x="496" y="1448"/>
                      </a:lnTo>
                      <a:lnTo>
                        <a:pt x="479" y="1481"/>
                      </a:lnTo>
                      <a:lnTo>
                        <a:pt x="468" y="1515"/>
                      </a:lnTo>
                      <a:lnTo>
                        <a:pt x="462" y="1550"/>
                      </a:lnTo>
                      <a:lnTo>
                        <a:pt x="392" y="1520"/>
                      </a:lnTo>
                      <a:lnTo>
                        <a:pt x="324" y="1485"/>
                      </a:lnTo>
                      <a:lnTo>
                        <a:pt x="261" y="1448"/>
                      </a:lnTo>
                      <a:lnTo>
                        <a:pt x="201" y="1406"/>
                      </a:lnTo>
                      <a:lnTo>
                        <a:pt x="200" y="1406"/>
                      </a:lnTo>
                      <a:lnTo>
                        <a:pt x="197" y="1405"/>
                      </a:lnTo>
                      <a:lnTo>
                        <a:pt x="194" y="1402"/>
                      </a:lnTo>
                      <a:lnTo>
                        <a:pt x="214" y="1484"/>
                      </a:lnTo>
                      <a:lnTo>
                        <a:pt x="241" y="1563"/>
                      </a:lnTo>
                      <a:lnTo>
                        <a:pt x="273" y="1639"/>
                      </a:lnTo>
                      <a:lnTo>
                        <a:pt x="311" y="1711"/>
                      </a:lnTo>
                      <a:lnTo>
                        <a:pt x="355" y="1780"/>
                      </a:lnTo>
                      <a:lnTo>
                        <a:pt x="405" y="1845"/>
                      </a:lnTo>
                      <a:lnTo>
                        <a:pt x="458" y="1906"/>
                      </a:lnTo>
                      <a:lnTo>
                        <a:pt x="516" y="1961"/>
                      </a:lnTo>
                      <a:lnTo>
                        <a:pt x="578" y="2014"/>
                      </a:lnTo>
                      <a:lnTo>
                        <a:pt x="588" y="1909"/>
                      </a:lnTo>
                      <a:lnTo>
                        <a:pt x="605" y="1805"/>
                      </a:lnTo>
                      <a:lnTo>
                        <a:pt x="639" y="1817"/>
                      </a:lnTo>
                      <a:lnTo>
                        <a:pt x="674" y="1826"/>
                      </a:lnTo>
                      <a:lnTo>
                        <a:pt x="709" y="1830"/>
                      </a:lnTo>
                      <a:lnTo>
                        <a:pt x="697" y="1915"/>
                      </a:lnTo>
                      <a:lnTo>
                        <a:pt x="688" y="2000"/>
                      </a:lnTo>
                      <a:lnTo>
                        <a:pt x="684" y="2084"/>
                      </a:lnTo>
                      <a:lnTo>
                        <a:pt x="766" y="2127"/>
                      </a:lnTo>
                      <a:lnTo>
                        <a:pt x="849" y="2162"/>
                      </a:lnTo>
                      <a:lnTo>
                        <a:pt x="937" y="2190"/>
                      </a:lnTo>
                      <a:lnTo>
                        <a:pt x="1028" y="2210"/>
                      </a:lnTo>
                      <a:lnTo>
                        <a:pt x="1122" y="2223"/>
                      </a:lnTo>
                      <a:lnTo>
                        <a:pt x="1219" y="2226"/>
                      </a:lnTo>
                      <a:lnTo>
                        <a:pt x="1294" y="2221"/>
                      </a:lnTo>
                      <a:lnTo>
                        <a:pt x="1368" y="2211"/>
                      </a:lnTo>
                      <a:lnTo>
                        <a:pt x="1440" y="2196"/>
                      </a:lnTo>
                      <a:lnTo>
                        <a:pt x="1511" y="2178"/>
                      </a:lnTo>
                      <a:lnTo>
                        <a:pt x="1536" y="2134"/>
                      </a:lnTo>
                      <a:lnTo>
                        <a:pt x="1559" y="2086"/>
                      </a:lnTo>
                      <a:lnTo>
                        <a:pt x="1577" y="2031"/>
                      </a:lnTo>
                      <a:lnTo>
                        <a:pt x="1590" y="1971"/>
                      </a:lnTo>
                      <a:lnTo>
                        <a:pt x="1600" y="1909"/>
                      </a:lnTo>
                      <a:lnTo>
                        <a:pt x="1606" y="1841"/>
                      </a:lnTo>
                      <a:lnTo>
                        <a:pt x="1632" y="1845"/>
                      </a:lnTo>
                      <a:lnTo>
                        <a:pt x="1656" y="1845"/>
                      </a:lnTo>
                      <a:lnTo>
                        <a:pt x="1687" y="1844"/>
                      </a:lnTo>
                      <a:lnTo>
                        <a:pt x="1717" y="1840"/>
                      </a:lnTo>
                      <a:lnTo>
                        <a:pt x="1710" y="1913"/>
                      </a:lnTo>
                      <a:lnTo>
                        <a:pt x="1699" y="1984"/>
                      </a:lnTo>
                      <a:lnTo>
                        <a:pt x="1682" y="2053"/>
                      </a:lnTo>
                      <a:lnTo>
                        <a:pt x="1662" y="2117"/>
                      </a:lnTo>
                      <a:lnTo>
                        <a:pt x="1731" y="2079"/>
                      </a:lnTo>
                      <a:lnTo>
                        <a:pt x="1799" y="2035"/>
                      </a:lnTo>
                      <a:lnTo>
                        <a:pt x="1862" y="1985"/>
                      </a:lnTo>
                      <a:lnTo>
                        <a:pt x="1922" y="1933"/>
                      </a:lnTo>
                      <a:lnTo>
                        <a:pt x="1977" y="1875"/>
                      </a:lnTo>
                      <a:lnTo>
                        <a:pt x="2027" y="1813"/>
                      </a:lnTo>
                      <a:lnTo>
                        <a:pt x="2068" y="1752"/>
                      </a:lnTo>
                      <a:lnTo>
                        <a:pt x="2107" y="1687"/>
                      </a:lnTo>
                      <a:lnTo>
                        <a:pt x="2140" y="1621"/>
                      </a:lnTo>
                      <a:lnTo>
                        <a:pt x="2169" y="1552"/>
                      </a:lnTo>
                      <a:lnTo>
                        <a:pt x="2193" y="1479"/>
                      </a:lnTo>
                      <a:lnTo>
                        <a:pt x="2211" y="1405"/>
                      </a:lnTo>
                      <a:lnTo>
                        <a:pt x="2157" y="1446"/>
                      </a:lnTo>
                      <a:lnTo>
                        <a:pt x="2099" y="1482"/>
                      </a:lnTo>
                      <a:lnTo>
                        <a:pt x="2039" y="1516"/>
                      </a:lnTo>
                      <a:lnTo>
                        <a:pt x="1975" y="1546"/>
                      </a:lnTo>
                      <a:lnTo>
                        <a:pt x="1908" y="1574"/>
                      </a:lnTo>
                      <a:lnTo>
                        <a:pt x="1902" y="1537"/>
                      </a:lnTo>
                      <a:lnTo>
                        <a:pt x="1892" y="1504"/>
                      </a:lnTo>
                      <a:lnTo>
                        <a:pt x="1878" y="1471"/>
                      </a:lnTo>
                      <a:lnTo>
                        <a:pt x="1950" y="1440"/>
                      </a:lnTo>
                      <a:lnTo>
                        <a:pt x="2016" y="1406"/>
                      </a:lnTo>
                      <a:lnTo>
                        <a:pt x="2078" y="1369"/>
                      </a:lnTo>
                      <a:lnTo>
                        <a:pt x="2135" y="1328"/>
                      </a:lnTo>
                      <a:lnTo>
                        <a:pt x="2186" y="1284"/>
                      </a:lnTo>
                      <a:lnTo>
                        <a:pt x="2231" y="1236"/>
                      </a:lnTo>
                      <a:lnTo>
                        <a:pt x="2232" y="1210"/>
                      </a:lnTo>
                      <a:lnTo>
                        <a:pt x="2234" y="1184"/>
                      </a:lnTo>
                      <a:lnTo>
                        <a:pt x="2226" y="1092"/>
                      </a:lnTo>
                      <a:lnTo>
                        <a:pt x="2214" y="1002"/>
                      </a:lnTo>
                      <a:lnTo>
                        <a:pt x="2193" y="916"/>
                      </a:lnTo>
                      <a:lnTo>
                        <a:pt x="2164" y="832"/>
                      </a:lnTo>
                      <a:lnTo>
                        <a:pt x="2129" y="752"/>
                      </a:lnTo>
                      <a:lnTo>
                        <a:pt x="2087" y="675"/>
                      </a:lnTo>
                      <a:lnTo>
                        <a:pt x="2040" y="603"/>
                      </a:lnTo>
                      <a:lnTo>
                        <a:pt x="1987" y="534"/>
                      </a:lnTo>
                      <a:lnTo>
                        <a:pt x="1929" y="472"/>
                      </a:lnTo>
                      <a:lnTo>
                        <a:pt x="1865" y="413"/>
                      </a:lnTo>
                      <a:lnTo>
                        <a:pt x="1782" y="439"/>
                      </a:lnTo>
                      <a:lnTo>
                        <a:pt x="1700" y="472"/>
                      </a:lnTo>
                      <a:lnTo>
                        <a:pt x="1621" y="510"/>
                      </a:lnTo>
                      <a:lnTo>
                        <a:pt x="1543" y="554"/>
                      </a:lnTo>
                      <a:lnTo>
                        <a:pt x="1527" y="524"/>
                      </a:lnTo>
                      <a:lnTo>
                        <a:pt x="1505" y="495"/>
                      </a:lnTo>
                      <a:lnTo>
                        <a:pt x="1480" y="468"/>
                      </a:lnTo>
                      <a:lnTo>
                        <a:pt x="1570" y="417"/>
                      </a:lnTo>
                      <a:lnTo>
                        <a:pt x="1662" y="373"/>
                      </a:lnTo>
                      <a:lnTo>
                        <a:pt x="1757" y="336"/>
                      </a:lnTo>
                      <a:lnTo>
                        <a:pt x="1685" y="294"/>
                      </a:lnTo>
                      <a:lnTo>
                        <a:pt x="1608" y="257"/>
                      </a:lnTo>
                      <a:lnTo>
                        <a:pt x="1529" y="226"/>
                      </a:lnTo>
                      <a:lnTo>
                        <a:pt x="1447" y="202"/>
                      </a:lnTo>
                      <a:lnTo>
                        <a:pt x="1364" y="186"/>
                      </a:lnTo>
                      <a:lnTo>
                        <a:pt x="1277" y="177"/>
                      </a:lnTo>
                      <a:lnTo>
                        <a:pt x="1188" y="175"/>
                      </a:lnTo>
                      <a:close/>
                      <a:moveTo>
                        <a:pt x="1185" y="0"/>
                      </a:moveTo>
                      <a:lnTo>
                        <a:pt x="1288" y="3"/>
                      </a:lnTo>
                      <a:lnTo>
                        <a:pt x="1388" y="14"/>
                      </a:lnTo>
                      <a:lnTo>
                        <a:pt x="1487" y="32"/>
                      </a:lnTo>
                      <a:lnTo>
                        <a:pt x="1582" y="59"/>
                      </a:lnTo>
                      <a:lnTo>
                        <a:pt x="1673" y="95"/>
                      </a:lnTo>
                      <a:lnTo>
                        <a:pt x="1761" y="136"/>
                      </a:lnTo>
                      <a:lnTo>
                        <a:pt x="1845" y="184"/>
                      </a:lnTo>
                      <a:lnTo>
                        <a:pt x="1924" y="239"/>
                      </a:lnTo>
                      <a:lnTo>
                        <a:pt x="1995" y="295"/>
                      </a:lnTo>
                      <a:lnTo>
                        <a:pt x="2060" y="356"/>
                      </a:lnTo>
                      <a:lnTo>
                        <a:pt x="2121" y="422"/>
                      </a:lnTo>
                      <a:lnTo>
                        <a:pt x="2177" y="492"/>
                      </a:lnTo>
                      <a:lnTo>
                        <a:pt x="2226" y="567"/>
                      </a:lnTo>
                      <a:lnTo>
                        <a:pt x="2272" y="646"/>
                      </a:lnTo>
                      <a:lnTo>
                        <a:pt x="2310" y="728"/>
                      </a:lnTo>
                      <a:lnTo>
                        <a:pt x="2344" y="812"/>
                      </a:lnTo>
                      <a:lnTo>
                        <a:pt x="2369" y="902"/>
                      </a:lnTo>
                      <a:lnTo>
                        <a:pt x="2389" y="992"/>
                      </a:lnTo>
                      <a:lnTo>
                        <a:pt x="2400" y="1085"/>
                      </a:lnTo>
                      <a:lnTo>
                        <a:pt x="2406" y="1181"/>
                      </a:lnTo>
                      <a:lnTo>
                        <a:pt x="2403" y="1284"/>
                      </a:lnTo>
                      <a:lnTo>
                        <a:pt x="2392" y="1385"/>
                      </a:lnTo>
                      <a:lnTo>
                        <a:pt x="2373" y="1482"/>
                      </a:lnTo>
                      <a:lnTo>
                        <a:pt x="2346" y="1577"/>
                      </a:lnTo>
                      <a:lnTo>
                        <a:pt x="2311" y="1667"/>
                      </a:lnTo>
                      <a:lnTo>
                        <a:pt x="2270" y="1755"/>
                      </a:lnTo>
                      <a:lnTo>
                        <a:pt x="2221" y="1840"/>
                      </a:lnTo>
                      <a:lnTo>
                        <a:pt x="2166" y="1919"/>
                      </a:lnTo>
                      <a:lnTo>
                        <a:pt x="2111" y="1988"/>
                      </a:lnTo>
                      <a:lnTo>
                        <a:pt x="2049" y="2053"/>
                      </a:lnTo>
                      <a:lnTo>
                        <a:pt x="1982" y="2114"/>
                      </a:lnTo>
                      <a:lnTo>
                        <a:pt x="1912" y="2169"/>
                      </a:lnTo>
                      <a:lnTo>
                        <a:pt x="1837" y="2220"/>
                      </a:lnTo>
                      <a:lnTo>
                        <a:pt x="1758" y="2264"/>
                      </a:lnTo>
                      <a:lnTo>
                        <a:pt x="1676" y="2303"/>
                      </a:lnTo>
                      <a:lnTo>
                        <a:pt x="1590" y="2336"/>
                      </a:lnTo>
                      <a:lnTo>
                        <a:pt x="1501" y="2361"/>
                      </a:lnTo>
                      <a:lnTo>
                        <a:pt x="1411" y="2381"/>
                      </a:lnTo>
                      <a:lnTo>
                        <a:pt x="1316" y="2392"/>
                      </a:lnTo>
                      <a:lnTo>
                        <a:pt x="1220" y="2398"/>
                      </a:lnTo>
                      <a:lnTo>
                        <a:pt x="1117" y="2395"/>
                      </a:lnTo>
                      <a:lnTo>
                        <a:pt x="1017" y="2384"/>
                      </a:lnTo>
                      <a:lnTo>
                        <a:pt x="920" y="2366"/>
                      </a:lnTo>
                      <a:lnTo>
                        <a:pt x="824" y="2339"/>
                      </a:lnTo>
                      <a:lnTo>
                        <a:pt x="732" y="2303"/>
                      </a:lnTo>
                      <a:lnTo>
                        <a:pt x="645" y="2262"/>
                      </a:lnTo>
                      <a:lnTo>
                        <a:pt x="560" y="2214"/>
                      </a:lnTo>
                      <a:lnTo>
                        <a:pt x="481" y="2159"/>
                      </a:lnTo>
                      <a:lnTo>
                        <a:pt x="410" y="2103"/>
                      </a:lnTo>
                      <a:lnTo>
                        <a:pt x="345" y="2042"/>
                      </a:lnTo>
                      <a:lnTo>
                        <a:pt x="285" y="1976"/>
                      </a:lnTo>
                      <a:lnTo>
                        <a:pt x="230" y="1906"/>
                      </a:lnTo>
                      <a:lnTo>
                        <a:pt x="179" y="1831"/>
                      </a:lnTo>
                      <a:lnTo>
                        <a:pt x="134" y="1752"/>
                      </a:lnTo>
                      <a:lnTo>
                        <a:pt x="96" y="1670"/>
                      </a:lnTo>
                      <a:lnTo>
                        <a:pt x="63" y="1585"/>
                      </a:lnTo>
                      <a:lnTo>
                        <a:pt x="36" y="1496"/>
                      </a:lnTo>
                      <a:lnTo>
                        <a:pt x="18" y="1406"/>
                      </a:lnTo>
                      <a:lnTo>
                        <a:pt x="5" y="1313"/>
                      </a:lnTo>
                      <a:lnTo>
                        <a:pt x="0" y="1217"/>
                      </a:lnTo>
                      <a:lnTo>
                        <a:pt x="2" y="1113"/>
                      </a:lnTo>
                      <a:lnTo>
                        <a:pt x="14" y="1013"/>
                      </a:lnTo>
                      <a:lnTo>
                        <a:pt x="33" y="916"/>
                      </a:lnTo>
                      <a:lnTo>
                        <a:pt x="60" y="821"/>
                      </a:lnTo>
                      <a:lnTo>
                        <a:pt x="94" y="731"/>
                      </a:lnTo>
                      <a:lnTo>
                        <a:pt x="136" y="643"/>
                      </a:lnTo>
                      <a:lnTo>
                        <a:pt x="184" y="558"/>
                      </a:lnTo>
                      <a:lnTo>
                        <a:pt x="239" y="479"/>
                      </a:lnTo>
                      <a:lnTo>
                        <a:pt x="296" y="410"/>
                      </a:lnTo>
                      <a:lnTo>
                        <a:pt x="357" y="345"/>
                      </a:lnTo>
                      <a:lnTo>
                        <a:pt x="423" y="284"/>
                      </a:lnTo>
                      <a:lnTo>
                        <a:pt x="494" y="229"/>
                      </a:lnTo>
                      <a:lnTo>
                        <a:pt x="568" y="178"/>
                      </a:lnTo>
                      <a:lnTo>
                        <a:pt x="647" y="134"/>
                      </a:lnTo>
                      <a:lnTo>
                        <a:pt x="729" y="95"/>
                      </a:lnTo>
                      <a:lnTo>
                        <a:pt x="815" y="62"/>
                      </a:lnTo>
                      <a:lnTo>
                        <a:pt x="904" y="37"/>
                      </a:lnTo>
                      <a:lnTo>
                        <a:pt x="996" y="17"/>
                      </a:lnTo>
                      <a:lnTo>
                        <a:pt x="1089" y="6"/>
                      </a:lnTo>
                      <a:lnTo>
                        <a:pt x="1185" y="0"/>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542" name="Group 541"/>
            <p:cNvGrpSpPr/>
            <p:nvPr/>
          </p:nvGrpSpPr>
          <p:grpSpPr>
            <a:xfrm>
              <a:off x="5838754" y="4953358"/>
              <a:ext cx="686041" cy="902727"/>
              <a:chOff x="5752334" y="1754691"/>
              <a:chExt cx="686041" cy="902727"/>
            </a:xfrm>
          </p:grpSpPr>
          <p:sp>
            <p:nvSpPr>
              <p:cNvPr id="543" name="Freeform 30"/>
              <p:cNvSpPr>
                <a:spLocks noEditPoints="1"/>
              </p:cNvSpPr>
              <p:nvPr/>
            </p:nvSpPr>
            <p:spPr bwMode="auto">
              <a:xfrm>
                <a:off x="5966622" y="1754691"/>
                <a:ext cx="471753" cy="902727"/>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4" name="Freeform 31"/>
              <p:cNvSpPr>
                <a:spLocks/>
              </p:cNvSpPr>
              <p:nvPr/>
            </p:nvSpPr>
            <p:spPr bwMode="auto">
              <a:xfrm>
                <a:off x="5767526" y="1982572"/>
                <a:ext cx="515730" cy="379002"/>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5" name="Freeform 32"/>
              <p:cNvSpPr>
                <a:spLocks noEditPoints="1"/>
              </p:cNvSpPr>
              <p:nvPr/>
            </p:nvSpPr>
            <p:spPr bwMode="auto">
              <a:xfrm>
                <a:off x="5752334" y="1964181"/>
                <a:ext cx="557308" cy="47575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46" name="Group 589"/>
              <p:cNvGrpSpPr>
                <a:grpSpLocks noChangeAspect="1"/>
              </p:cNvGrpSpPr>
              <p:nvPr/>
            </p:nvGrpSpPr>
            <p:grpSpPr bwMode="auto">
              <a:xfrm>
                <a:off x="5897146" y="2015089"/>
                <a:ext cx="277404" cy="275679"/>
                <a:chOff x="3325" y="1774"/>
                <a:chExt cx="804" cy="799"/>
              </a:xfrm>
            </p:grpSpPr>
            <p:sp>
              <p:nvSpPr>
                <p:cNvPr id="547" name="Freeform 593"/>
                <p:cNvSpPr>
                  <a:spLocks/>
                </p:cNvSpPr>
                <p:nvPr/>
              </p:nvSpPr>
              <p:spPr bwMode="auto">
                <a:xfrm>
                  <a:off x="3325" y="1784"/>
                  <a:ext cx="779" cy="780"/>
                </a:xfrm>
                <a:custGeom>
                  <a:avLst/>
                  <a:gdLst>
                    <a:gd name="T0" fmla="*/ 1269 w 2335"/>
                    <a:gd name="T1" fmla="*/ 5 h 2338"/>
                    <a:gd name="T2" fmla="*/ 1462 w 2335"/>
                    <a:gd name="T3" fmla="*/ 39 h 2338"/>
                    <a:gd name="T4" fmla="*/ 1644 w 2335"/>
                    <a:gd name="T5" fmla="*/ 102 h 2338"/>
                    <a:gd name="T6" fmla="*/ 1811 w 2335"/>
                    <a:gd name="T7" fmla="*/ 194 h 2338"/>
                    <a:gd name="T8" fmla="*/ 1959 w 2335"/>
                    <a:gd name="T9" fmla="*/ 310 h 2338"/>
                    <a:gd name="T10" fmla="*/ 2086 w 2335"/>
                    <a:gd name="T11" fmla="*/ 448 h 2338"/>
                    <a:gd name="T12" fmla="*/ 2191 w 2335"/>
                    <a:gd name="T13" fmla="*/ 607 h 2338"/>
                    <a:gd name="T14" fmla="*/ 2270 w 2335"/>
                    <a:gd name="T15" fmla="*/ 782 h 2338"/>
                    <a:gd name="T16" fmla="*/ 2318 w 2335"/>
                    <a:gd name="T17" fmla="*/ 970 h 2338"/>
                    <a:gd name="T18" fmla="*/ 2335 w 2335"/>
                    <a:gd name="T19" fmla="*/ 1169 h 2338"/>
                    <a:gd name="T20" fmla="*/ 2318 w 2335"/>
                    <a:gd name="T21" fmla="*/ 1368 h 2338"/>
                    <a:gd name="T22" fmla="*/ 2270 w 2335"/>
                    <a:gd name="T23" fmla="*/ 1556 h 2338"/>
                    <a:gd name="T24" fmla="*/ 2191 w 2335"/>
                    <a:gd name="T25" fmla="*/ 1732 h 2338"/>
                    <a:gd name="T26" fmla="*/ 2086 w 2335"/>
                    <a:gd name="T27" fmla="*/ 1890 h 2338"/>
                    <a:gd name="T28" fmla="*/ 1959 w 2335"/>
                    <a:gd name="T29" fmla="*/ 2028 h 2338"/>
                    <a:gd name="T30" fmla="*/ 1811 w 2335"/>
                    <a:gd name="T31" fmla="*/ 2144 h 2338"/>
                    <a:gd name="T32" fmla="*/ 1644 w 2335"/>
                    <a:gd name="T33" fmla="*/ 2236 h 2338"/>
                    <a:gd name="T34" fmla="*/ 1462 w 2335"/>
                    <a:gd name="T35" fmla="*/ 2300 h 2338"/>
                    <a:gd name="T36" fmla="*/ 1269 w 2335"/>
                    <a:gd name="T37" fmla="*/ 2334 h 2338"/>
                    <a:gd name="T38" fmla="*/ 1067 w 2335"/>
                    <a:gd name="T39" fmla="*/ 2334 h 2338"/>
                    <a:gd name="T40" fmla="*/ 873 w 2335"/>
                    <a:gd name="T41" fmla="*/ 2300 h 2338"/>
                    <a:gd name="T42" fmla="*/ 692 w 2335"/>
                    <a:gd name="T43" fmla="*/ 2236 h 2338"/>
                    <a:gd name="T44" fmla="*/ 525 w 2335"/>
                    <a:gd name="T45" fmla="*/ 2144 h 2338"/>
                    <a:gd name="T46" fmla="*/ 377 w 2335"/>
                    <a:gd name="T47" fmla="*/ 2028 h 2338"/>
                    <a:gd name="T48" fmla="*/ 249 w 2335"/>
                    <a:gd name="T49" fmla="*/ 1890 h 2338"/>
                    <a:gd name="T50" fmla="*/ 144 w 2335"/>
                    <a:gd name="T51" fmla="*/ 1732 h 2338"/>
                    <a:gd name="T52" fmla="*/ 67 w 2335"/>
                    <a:gd name="T53" fmla="*/ 1556 h 2338"/>
                    <a:gd name="T54" fmla="*/ 17 w 2335"/>
                    <a:gd name="T55" fmla="*/ 1368 h 2338"/>
                    <a:gd name="T56" fmla="*/ 0 w 2335"/>
                    <a:gd name="T57" fmla="*/ 1169 h 2338"/>
                    <a:gd name="T58" fmla="*/ 17 w 2335"/>
                    <a:gd name="T59" fmla="*/ 970 h 2338"/>
                    <a:gd name="T60" fmla="*/ 67 w 2335"/>
                    <a:gd name="T61" fmla="*/ 782 h 2338"/>
                    <a:gd name="T62" fmla="*/ 144 w 2335"/>
                    <a:gd name="T63" fmla="*/ 607 h 2338"/>
                    <a:gd name="T64" fmla="*/ 249 w 2335"/>
                    <a:gd name="T65" fmla="*/ 448 h 2338"/>
                    <a:gd name="T66" fmla="*/ 377 w 2335"/>
                    <a:gd name="T67" fmla="*/ 310 h 2338"/>
                    <a:gd name="T68" fmla="*/ 525 w 2335"/>
                    <a:gd name="T69" fmla="*/ 194 h 2338"/>
                    <a:gd name="T70" fmla="*/ 692 w 2335"/>
                    <a:gd name="T71" fmla="*/ 102 h 2338"/>
                    <a:gd name="T72" fmla="*/ 873 w 2335"/>
                    <a:gd name="T73" fmla="*/ 39 h 2338"/>
                    <a:gd name="T74" fmla="*/ 1067 w 2335"/>
                    <a:gd name="T75" fmla="*/ 5 h 2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35" h="2338">
                      <a:moveTo>
                        <a:pt x="1167" y="0"/>
                      </a:moveTo>
                      <a:lnTo>
                        <a:pt x="1269" y="5"/>
                      </a:lnTo>
                      <a:lnTo>
                        <a:pt x="1366" y="17"/>
                      </a:lnTo>
                      <a:lnTo>
                        <a:pt x="1462" y="39"/>
                      </a:lnTo>
                      <a:lnTo>
                        <a:pt x="1554" y="67"/>
                      </a:lnTo>
                      <a:lnTo>
                        <a:pt x="1644" y="102"/>
                      </a:lnTo>
                      <a:lnTo>
                        <a:pt x="1729" y="145"/>
                      </a:lnTo>
                      <a:lnTo>
                        <a:pt x="1811" y="194"/>
                      </a:lnTo>
                      <a:lnTo>
                        <a:pt x="1887" y="249"/>
                      </a:lnTo>
                      <a:lnTo>
                        <a:pt x="1959" y="310"/>
                      </a:lnTo>
                      <a:lnTo>
                        <a:pt x="2025" y="376"/>
                      </a:lnTo>
                      <a:lnTo>
                        <a:pt x="2086" y="448"/>
                      </a:lnTo>
                      <a:lnTo>
                        <a:pt x="2143" y="526"/>
                      </a:lnTo>
                      <a:lnTo>
                        <a:pt x="2191" y="607"/>
                      </a:lnTo>
                      <a:lnTo>
                        <a:pt x="2233" y="691"/>
                      </a:lnTo>
                      <a:lnTo>
                        <a:pt x="2270" y="782"/>
                      </a:lnTo>
                      <a:lnTo>
                        <a:pt x="2298" y="874"/>
                      </a:lnTo>
                      <a:lnTo>
                        <a:pt x="2318" y="970"/>
                      </a:lnTo>
                      <a:lnTo>
                        <a:pt x="2330" y="1069"/>
                      </a:lnTo>
                      <a:lnTo>
                        <a:pt x="2335" y="1169"/>
                      </a:lnTo>
                      <a:lnTo>
                        <a:pt x="2330" y="1269"/>
                      </a:lnTo>
                      <a:lnTo>
                        <a:pt x="2318" y="1368"/>
                      </a:lnTo>
                      <a:lnTo>
                        <a:pt x="2298" y="1464"/>
                      </a:lnTo>
                      <a:lnTo>
                        <a:pt x="2270" y="1556"/>
                      </a:lnTo>
                      <a:lnTo>
                        <a:pt x="2233" y="1645"/>
                      </a:lnTo>
                      <a:lnTo>
                        <a:pt x="2191" y="1732"/>
                      </a:lnTo>
                      <a:lnTo>
                        <a:pt x="2143" y="1812"/>
                      </a:lnTo>
                      <a:lnTo>
                        <a:pt x="2086" y="1890"/>
                      </a:lnTo>
                      <a:lnTo>
                        <a:pt x="2025" y="1960"/>
                      </a:lnTo>
                      <a:lnTo>
                        <a:pt x="1959" y="2028"/>
                      </a:lnTo>
                      <a:lnTo>
                        <a:pt x="1887" y="2089"/>
                      </a:lnTo>
                      <a:lnTo>
                        <a:pt x="1811" y="2144"/>
                      </a:lnTo>
                      <a:lnTo>
                        <a:pt x="1729" y="2194"/>
                      </a:lnTo>
                      <a:lnTo>
                        <a:pt x="1644" y="2236"/>
                      </a:lnTo>
                      <a:lnTo>
                        <a:pt x="1554" y="2271"/>
                      </a:lnTo>
                      <a:lnTo>
                        <a:pt x="1462" y="2300"/>
                      </a:lnTo>
                      <a:lnTo>
                        <a:pt x="1366" y="2321"/>
                      </a:lnTo>
                      <a:lnTo>
                        <a:pt x="1269" y="2334"/>
                      </a:lnTo>
                      <a:lnTo>
                        <a:pt x="1167" y="2338"/>
                      </a:lnTo>
                      <a:lnTo>
                        <a:pt x="1067" y="2334"/>
                      </a:lnTo>
                      <a:lnTo>
                        <a:pt x="968" y="2321"/>
                      </a:lnTo>
                      <a:lnTo>
                        <a:pt x="873" y="2300"/>
                      </a:lnTo>
                      <a:lnTo>
                        <a:pt x="781" y="2271"/>
                      </a:lnTo>
                      <a:lnTo>
                        <a:pt x="692" y="2236"/>
                      </a:lnTo>
                      <a:lnTo>
                        <a:pt x="606" y="2194"/>
                      </a:lnTo>
                      <a:lnTo>
                        <a:pt x="525" y="2144"/>
                      </a:lnTo>
                      <a:lnTo>
                        <a:pt x="449" y="2089"/>
                      </a:lnTo>
                      <a:lnTo>
                        <a:pt x="377" y="2028"/>
                      </a:lnTo>
                      <a:lnTo>
                        <a:pt x="309" y="1960"/>
                      </a:lnTo>
                      <a:lnTo>
                        <a:pt x="249" y="1890"/>
                      </a:lnTo>
                      <a:lnTo>
                        <a:pt x="194" y="1812"/>
                      </a:lnTo>
                      <a:lnTo>
                        <a:pt x="144" y="1732"/>
                      </a:lnTo>
                      <a:lnTo>
                        <a:pt x="102" y="1645"/>
                      </a:lnTo>
                      <a:lnTo>
                        <a:pt x="67" y="1556"/>
                      </a:lnTo>
                      <a:lnTo>
                        <a:pt x="39" y="1464"/>
                      </a:lnTo>
                      <a:lnTo>
                        <a:pt x="17" y="1368"/>
                      </a:lnTo>
                      <a:lnTo>
                        <a:pt x="5" y="1269"/>
                      </a:lnTo>
                      <a:lnTo>
                        <a:pt x="0" y="1169"/>
                      </a:lnTo>
                      <a:lnTo>
                        <a:pt x="5" y="1069"/>
                      </a:lnTo>
                      <a:lnTo>
                        <a:pt x="17" y="970"/>
                      </a:lnTo>
                      <a:lnTo>
                        <a:pt x="39" y="874"/>
                      </a:lnTo>
                      <a:lnTo>
                        <a:pt x="67" y="782"/>
                      </a:lnTo>
                      <a:lnTo>
                        <a:pt x="102" y="691"/>
                      </a:lnTo>
                      <a:lnTo>
                        <a:pt x="144" y="607"/>
                      </a:lnTo>
                      <a:lnTo>
                        <a:pt x="194" y="526"/>
                      </a:lnTo>
                      <a:lnTo>
                        <a:pt x="249" y="448"/>
                      </a:lnTo>
                      <a:lnTo>
                        <a:pt x="309" y="376"/>
                      </a:lnTo>
                      <a:lnTo>
                        <a:pt x="377" y="310"/>
                      </a:lnTo>
                      <a:lnTo>
                        <a:pt x="449" y="249"/>
                      </a:lnTo>
                      <a:lnTo>
                        <a:pt x="525" y="194"/>
                      </a:lnTo>
                      <a:lnTo>
                        <a:pt x="606" y="145"/>
                      </a:lnTo>
                      <a:lnTo>
                        <a:pt x="692" y="102"/>
                      </a:lnTo>
                      <a:lnTo>
                        <a:pt x="781" y="67"/>
                      </a:lnTo>
                      <a:lnTo>
                        <a:pt x="873" y="39"/>
                      </a:lnTo>
                      <a:lnTo>
                        <a:pt x="968" y="17"/>
                      </a:lnTo>
                      <a:lnTo>
                        <a:pt x="1067" y="5"/>
                      </a:lnTo>
                      <a:lnTo>
                        <a:pt x="1167"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48" name="Line 594"/>
                <p:cNvSpPr>
                  <a:spLocks noChangeShapeType="1"/>
                </p:cNvSpPr>
                <p:nvPr/>
              </p:nvSpPr>
              <p:spPr bwMode="auto">
                <a:xfrm flipH="1">
                  <a:off x="4102" y="2174"/>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49" name="Line 595"/>
                <p:cNvSpPr>
                  <a:spLocks noChangeShapeType="1"/>
                </p:cNvSpPr>
                <p:nvPr/>
              </p:nvSpPr>
              <p:spPr bwMode="auto">
                <a:xfrm flipH="1">
                  <a:off x="4098" y="2207"/>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0" name="Line 596"/>
                <p:cNvSpPr>
                  <a:spLocks noChangeShapeType="1"/>
                </p:cNvSpPr>
                <p:nvPr/>
              </p:nvSpPr>
              <p:spPr bwMode="auto">
                <a:xfrm flipH="1">
                  <a:off x="4091" y="2240"/>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1" name="Line 597"/>
                <p:cNvSpPr>
                  <a:spLocks noChangeShapeType="1"/>
                </p:cNvSpPr>
                <p:nvPr/>
              </p:nvSpPr>
              <p:spPr bwMode="auto">
                <a:xfrm flipH="1">
                  <a:off x="4082" y="2272"/>
                  <a:ext cx="9"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2" name="Line 598"/>
                <p:cNvSpPr>
                  <a:spLocks noChangeShapeType="1"/>
                </p:cNvSpPr>
                <p:nvPr/>
              </p:nvSpPr>
              <p:spPr bwMode="auto">
                <a:xfrm flipH="1">
                  <a:off x="4070" y="2303"/>
                  <a:ext cx="12"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3" name="Line 599"/>
                <p:cNvSpPr>
                  <a:spLocks noChangeShapeType="1"/>
                </p:cNvSpPr>
                <p:nvPr/>
              </p:nvSpPr>
              <p:spPr bwMode="auto">
                <a:xfrm flipH="1">
                  <a:off x="4056" y="2333"/>
                  <a:ext cx="14" cy="29"/>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4" name="Line 600"/>
                <p:cNvSpPr>
                  <a:spLocks noChangeShapeType="1"/>
                </p:cNvSpPr>
                <p:nvPr/>
              </p:nvSpPr>
              <p:spPr bwMode="auto">
                <a:xfrm flipH="1">
                  <a:off x="4040" y="2362"/>
                  <a:ext cx="16"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5" name="Line 601"/>
                <p:cNvSpPr>
                  <a:spLocks noChangeShapeType="1"/>
                </p:cNvSpPr>
                <p:nvPr/>
              </p:nvSpPr>
              <p:spPr bwMode="auto">
                <a:xfrm flipH="1">
                  <a:off x="4021" y="2388"/>
                  <a:ext cx="19"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6" name="Line 602"/>
                <p:cNvSpPr>
                  <a:spLocks noChangeShapeType="1"/>
                </p:cNvSpPr>
                <p:nvPr/>
              </p:nvSpPr>
              <p:spPr bwMode="auto">
                <a:xfrm flipH="1">
                  <a:off x="4000" y="2414"/>
                  <a:ext cx="21"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7" name="Line 603"/>
                <p:cNvSpPr>
                  <a:spLocks noChangeShapeType="1"/>
                </p:cNvSpPr>
                <p:nvPr/>
              </p:nvSpPr>
              <p:spPr bwMode="auto">
                <a:xfrm flipH="1">
                  <a:off x="3978" y="2438"/>
                  <a:ext cx="22"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8" name="Line 604"/>
                <p:cNvSpPr>
                  <a:spLocks noChangeShapeType="1"/>
                </p:cNvSpPr>
                <p:nvPr/>
              </p:nvSpPr>
              <p:spPr bwMode="auto">
                <a:xfrm flipH="1">
                  <a:off x="3954" y="2460"/>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9" name="Line 605"/>
                <p:cNvSpPr>
                  <a:spLocks noChangeShapeType="1"/>
                </p:cNvSpPr>
                <p:nvPr/>
              </p:nvSpPr>
              <p:spPr bwMode="auto">
                <a:xfrm flipH="1">
                  <a:off x="3929" y="2481"/>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0" name="Line 606"/>
                <p:cNvSpPr>
                  <a:spLocks noChangeShapeType="1"/>
                </p:cNvSpPr>
                <p:nvPr/>
              </p:nvSpPr>
              <p:spPr bwMode="auto">
                <a:xfrm flipH="1">
                  <a:off x="3902" y="2499"/>
                  <a:ext cx="27" cy="1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1" name="Line 607"/>
                <p:cNvSpPr>
                  <a:spLocks noChangeShapeType="1"/>
                </p:cNvSpPr>
                <p:nvPr/>
              </p:nvSpPr>
              <p:spPr bwMode="auto">
                <a:xfrm flipH="1">
                  <a:off x="3873" y="2516"/>
                  <a:ext cx="29" cy="1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2" name="Line 608"/>
                <p:cNvSpPr>
                  <a:spLocks noChangeShapeType="1"/>
                </p:cNvSpPr>
                <p:nvPr/>
              </p:nvSpPr>
              <p:spPr bwMode="auto">
                <a:xfrm flipH="1">
                  <a:off x="3843" y="2530"/>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3" name="Line 609"/>
                <p:cNvSpPr>
                  <a:spLocks noChangeShapeType="1"/>
                </p:cNvSpPr>
                <p:nvPr/>
              </p:nvSpPr>
              <p:spPr bwMode="auto">
                <a:xfrm flipH="1">
                  <a:off x="3813" y="2541"/>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4" name="Line 610"/>
                <p:cNvSpPr>
                  <a:spLocks noChangeShapeType="1"/>
                </p:cNvSpPr>
                <p:nvPr/>
              </p:nvSpPr>
              <p:spPr bwMode="auto">
                <a:xfrm flipH="1">
                  <a:off x="3781" y="2551"/>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5" name="Line 611"/>
                <p:cNvSpPr>
                  <a:spLocks noChangeShapeType="1"/>
                </p:cNvSpPr>
                <p:nvPr/>
              </p:nvSpPr>
              <p:spPr bwMode="auto">
                <a:xfrm flipH="1">
                  <a:off x="3748" y="2558"/>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6" name="Line 612"/>
                <p:cNvSpPr>
                  <a:spLocks noChangeShapeType="1"/>
                </p:cNvSpPr>
                <p:nvPr/>
              </p:nvSpPr>
              <p:spPr bwMode="auto">
                <a:xfrm flipH="1">
                  <a:off x="3714" y="2562"/>
                  <a:ext cx="34"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7" name="Line 613"/>
                <p:cNvSpPr>
                  <a:spLocks noChangeShapeType="1"/>
                </p:cNvSpPr>
                <p:nvPr/>
              </p:nvSpPr>
              <p:spPr bwMode="auto">
                <a:xfrm flipH="1" flipV="1">
                  <a:off x="3681" y="2562"/>
                  <a:ext cx="33"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8" name="Line 614"/>
                <p:cNvSpPr>
                  <a:spLocks noChangeShapeType="1"/>
                </p:cNvSpPr>
                <p:nvPr/>
              </p:nvSpPr>
              <p:spPr bwMode="auto">
                <a:xfrm flipH="1" flipV="1">
                  <a:off x="3648" y="2558"/>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9" name="Line 615"/>
                <p:cNvSpPr>
                  <a:spLocks noChangeShapeType="1"/>
                </p:cNvSpPr>
                <p:nvPr/>
              </p:nvSpPr>
              <p:spPr bwMode="auto">
                <a:xfrm flipH="1" flipV="1">
                  <a:off x="3616" y="2551"/>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0" name="Line 616"/>
                <p:cNvSpPr>
                  <a:spLocks noChangeShapeType="1"/>
                </p:cNvSpPr>
                <p:nvPr/>
              </p:nvSpPr>
              <p:spPr bwMode="auto">
                <a:xfrm flipH="1" flipV="1">
                  <a:off x="3586" y="2541"/>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1" name="Line 617"/>
                <p:cNvSpPr>
                  <a:spLocks noChangeShapeType="1"/>
                </p:cNvSpPr>
                <p:nvPr/>
              </p:nvSpPr>
              <p:spPr bwMode="auto">
                <a:xfrm flipH="1" flipV="1">
                  <a:off x="3556" y="2530"/>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2" name="Line 618"/>
                <p:cNvSpPr>
                  <a:spLocks noChangeShapeType="1"/>
                </p:cNvSpPr>
                <p:nvPr/>
              </p:nvSpPr>
              <p:spPr bwMode="auto">
                <a:xfrm flipH="1" flipV="1">
                  <a:off x="3527" y="2516"/>
                  <a:ext cx="29" cy="1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3" name="Line 619"/>
                <p:cNvSpPr>
                  <a:spLocks noChangeShapeType="1"/>
                </p:cNvSpPr>
                <p:nvPr/>
              </p:nvSpPr>
              <p:spPr bwMode="auto">
                <a:xfrm flipH="1" flipV="1">
                  <a:off x="3500" y="2499"/>
                  <a:ext cx="27" cy="1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4" name="Line 620"/>
                <p:cNvSpPr>
                  <a:spLocks noChangeShapeType="1"/>
                </p:cNvSpPr>
                <p:nvPr/>
              </p:nvSpPr>
              <p:spPr bwMode="auto">
                <a:xfrm flipH="1" flipV="1">
                  <a:off x="3475" y="2481"/>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5" name="Line 621"/>
                <p:cNvSpPr>
                  <a:spLocks noChangeShapeType="1"/>
                </p:cNvSpPr>
                <p:nvPr/>
              </p:nvSpPr>
              <p:spPr bwMode="auto">
                <a:xfrm flipH="1" flipV="1">
                  <a:off x="3451" y="2460"/>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6" name="Line 622"/>
                <p:cNvSpPr>
                  <a:spLocks noChangeShapeType="1"/>
                </p:cNvSpPr>
                <p:nvPr/>
              </p:nvSpPr>
              <p:spPr bwMode="auto">
                <a:xfrm flipH="1" flipV="1">
                  <a:off x="3428" y="2438"/>
                  <a:ext cx="23"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7" name="Line 623"/>
                <p:cNvSpPr>
                  <a:spLocks noChangeShapeType="1"/>
                </p:cNvSpPr>
                <p:nvPr/>
              </p:nvSpPr>
              <p:spPr bwMode="auto">
                <a:xfrm flipH="1" flipV="1">
                  <a:off x="3408" y="2414"/>
                  <a:ext cx="20"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8" name="Line 624"/>
                <p:cNvSpPr>
                  <a:spLocks noChangeShapeType="1"/>
                </p:cNvSpPr>
                <p:nvPr/>
              </p:nvSpPr>
              <p:spPr bwMode="auto">
                <a:xfrm flipH="1" flipV="1">
                  <a:off x="3390" y="2388"/>
                  <a:ext cx="18"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9" name="Line 625"/>
                <p:cNvSpPr>
                  <a:spLocks noChangeShapeType="1"/>
                </p:cNvSpPr>
                <p:nvPr/>
              </p:nvSpPr>
              <p:spPr bwMode="auto">
                <a:xfrm flipH="1" flipV="1">
                  <a:off x="3373" y="2362"/>
                  <a:ext cx="17"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0" name="Line 626"/>
                <p:cNvSpPr>
                  <a:spLocks noChangeShapeType="1"/>
                </p:cNvSpPr>
                <p:nvPr/>
              </p:nvSpPr>
              <p:spPr bwMode="auto">
                <a:xfrm flipH="1" flipV="1">
                  <a:off x="3359" y="2333"/>
                  <a:ext cx="14" cy="29"/>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1" name="Line 627"/>
                <p:cNvSpPr>
                  <a:spLocks noChangeShapeType="1"/>
                </p:cNvSpPr>
                <p:nvPr/>
              </p:nvSpPr>
              <p:spPr bwMode="auto">
                <a:xfrm flipH="1" flipV="1">
                  <a:off x="3348" y="2303"/>
                  <a:ext cx="11"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2" name="Line 628"/>
                <p:cNvSpPr>
                  <a:spLocks noChangeShapeType="1"/>
                </p:cNvSpPr>
                <p:nvPr/>
              </p:nvSpPr>
              <p:spPr bwMode="auto">
                <a:xfrm flipH="1" flipV="1">
                  <a:off x="3338" y="2272"/>
                  <a:ext cx="10"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3" name="Line 629"/>
                <p:cNvSpPr>
                  <a:spLocks noChangeShapeType="1"/>
                </p:cNvSpPr>
                <p:nvPr/>
              </p:nvSpPr>
              <p:spPr bwMode="auto">
                <a:xfrm flipH="1" flipV="1">
                  <a:off x="3331" y="2240"/>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4" name="Line 630"/>
                <p:cNvSpPr>
                  <a:spLocks noChangeShapeType="1"/>
                </p:cNvSpPr>
                <p:nvPr/>
              </p:nvSpPr>
              <p:spPr bwMode="auto">
                <a:xfrm flipH="1" flipV="1">
                  <a:off x="3327" y="2207"/>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5" name="Line 631"/>
                <p:cNvSpPr>
                  <a:spLocks noChangeShapeType="1"/>
                </p:cNvSpPr>
                <p:nvPr/>
              </p:nvSpPr>
              <p:spPr bwMode="auto">
                <a:xfrm flipH="1" flipV="1">
                  <a:off x="3325" y="2174"/>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6" name="Line 632"/>
                <p:cNvSpPr>
                  <a:spLocks noChangeShapeType="1"/>
                </p:cNvSpPr>
                <p:nvPr/>
              </p:nvSpPr>
              <p:spPr bwMode="auto">
                <a:xfrm flipV="1">
                  <a:off x="3325" y="2141"/>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7" name="Line 633"/>
                <p:cNvSpPr>
                  <a:spLocks noChangeShapeType="1"/>
                </p:cNvSpPr>
                <p:nvPr/>
              </p:nvSpPr>
              <p:spPr bwMode="auto">
                <a:xfrm flipV="1">
                  <a:off x="3327" y="2108"/>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8" name="Line 634"/>
                <p:cNvSpPr>
                  <a:spLocks noChangeShapeType="1"/>
                </p:cNvSpPr>
                <p:nvPr/>
              </p:nvSpPr>
              <p:spPr bwMode="auto">
                <a:xfrm flipV="1">
                  <a:off x="3331" y="2076"/>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9" name="Line 635"/>
                <p:cNvSpPr>
                  <a:spLocks noChangeShapeType="1"/>
                </p:cNvSpPr>
                <p:nvPr/>
              </p:nvSpPr>
              <p:spPr bwMode="auto">
                <a:xfrm flipV="1">
                  <a:off x="3338" y="2045"/>
                  <a:ext cx="10"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0" name="Line 636"/>
                <p:cNvSpPr>
                  <a:spLocks noChangeShapeType="1"/>
                </p:cNvSpPr>
                <p:nvPr/>
              </p:nvSpPr>
              <p:spPr bwMode="auto">
                <a:xfrm flipV="1">
                  <a:off x="3348" y="2015"/>
                  <a:ext cx="11"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1" name="Line 637"/>
                <p:cNvSpPr>
                  <a:spLocks noChangeShapeType="1"/>
                </p:cNvSpPr>
                <p:nvPr/>
              </p:nvSpPr>
              <p:spPr bwMode="auto">
                <a:xfrm flipV="1">
                  <a:off x="3359" y="1987"/>
                  <a:ext cx="14" cy="2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2" name="Line 638"/>
                <p:cNvSpPr>
                  <a:spLocks noChangeShapeType="1"/>
                </p:cNvSpPr>
                <p:nvPr/>
              </p:nvSpPr>
              <p:spPr bwMode="auto">
                <a:xfrm flipV="1">
                  <a:off x="3373" y="1960"/>
                  <a:ext cx="17" cy="2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3" name="Line 639"/>
                <p:cNvSpPr>
                  <a:spLocks noChangeShapeType="1"/>
                </p:cNvSpPr>
                <p:nvPr/>
              </p:nvSpPr>
              <p:spPr bwMode="auto">
                <a:xfrm flipV="1">
                  <a:off x="3390" y="1934"/>
                  <a:ext cx="18"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4" name="Line 640"/>
                <p:cNvSpPr>
                  <a:spLocks noChangeShapeType="1"/>
                </p:cNvSpPr>
                <p:nvPr/>
              </p:nvSpPr>
              <p:spPr bwMode="auto">
                <a:xfrm flipV="1">
                  <a:off x="3408" y="1910"/>
                  <a:ext cx="20"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5" name="Line 641"/>
                <p:cNvSpPr>
                  <a:spLocks noChangeShapeType="1"/>
                </p:cNvSpPr>
                <p:nvPr/>
              </p:nvSpPr>
              <p:spPr bwMode="auto">
                <a:xfrm flipV="1">
                  <a:off x="3428" y="1888"/>
                  <a:ext cx="23"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6" name="Line 642"/>
                <p:cNvSpPr>
                  <a:spLocks noChangeShapeType="1"/>
                </p:cNvSpPr>
                <p:nvPr/>
              </p:nvSpPr>
              <p:spPr bwMode="auto">
                <a:xfrm flipV="1">
                  <a:off x="3451" y="1867"/>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7" name="Line 643"/>
                <p:cNvSpPr>
                  <a:spLocks noChangeShapeType="1"/>
                </p:cNvSpPr>
                <p:nvPr/>
              </p:nvSpPr>
              <p:spPr bwMode="auto">
                <a:xfrm flipV="1">
                  <a:off x="3475" y="1849"/>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8" name="Line 644"/>
                <p:cNvSpPr>
                  <a:spLocks noChangeShapeType="1"/>
                </p:cNvSpPr>
                <p:nvPr/>
              </p:nvSpPr>
              <p:spPr bwMode="auto">
                <a:xfrm flipV="1">
                  <a:off x="3500" y="1833"/>
                  <a:ext cx="27" cy="1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9" name="Line 645"/>
                <p:cNvSpPr>
                  <a:spLocks noChangeShapeType="1"/>
                </p:cNvSpPr>
                <p:nvPr/>
              </p:nvSpPr>
              <p:spPr bwMode="auto">
                <a:xfrm flipV="1">
                  <a:off x="3527" y="1818"/>
                  <a:ext cx="29" cy="15"/>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0" name="Line 646"/>
                <p:cNvSpPr>
                  <a:spLocks noChangeShapeType="1"/>
                </p:cNvSpPr>
                <p:nvPr/>
              </p:nvSpPr>
              <p:spPr bwMode="auto">
                <a:xfrm flipV="1">
                  <a:off x="3556" y="1807"/>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1" name="Line 647"/>
                <p:cNvSpPr>
                  <a:spLocks noChangeShapeType="1"/>
                </p:cNvSpPr>
                <p:nvPr/>
              </p:nvSpPr>
              <p:spPr bwMode="auto">
                <a:xfrm flipV="1">
                  <a:off x="3586" y="1797"/>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2" name="Line 648"/>
                <p:cNvSpPr>
                  <a:spLocks noChangeShapeType="1"/>
                </p:cNvSpPr>
                <p:nvPr/>
              </p:nvSpPr>
              <p:spPr bwMode="auto">
                <a:xfrm flipV="1">
                  <a:off x="3616" y="1790"/>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3" name="Line 649"/>
                <p:cNvSpPr>
                  <a:spLocks noChangeShapeType="1"/>
                </p:cNvSpPr>
                <p:nvPr/>
              </p:nvSpPr>
              <p:spPr bwMode="auto">
                <a:xfrm flipV="1">
                  <a:off x="3648" y="1786"/>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4" name="Line 650"/>
                <p:cNvSpPr>
                  <a:spLocks noChangeShapeType="1"/>
                </p:cNvSpPr>
                <p:nvPr/>
              </p:nvSpPr>
              <p:spPr bwMode="auto">
                <a:xfrm flipV="1">
                  <a:off x="3681" y="1784"/>
                  <a:ext cx="33"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5" name="Line 651"/>
                <p:cNvSpPr>
                  <a:spLocks noChangeShapeType="1"/>
                </p:cNvSpPr>
                <p:nvPr/>
              </p:nvSpPr>
              <p:spPr bwMode="auto">
                <a:xfrm>
                  <a:off x="3714" y="1784"/>
                  <a:ext cx="34" cy="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6" name="Line 652"/>
                <p:cNvSpPr>
                  <a:spLocks noChangeShapeType="1"/>
                </p:cNvSpPr>
                <p:nvPr/>
              </p:nvSpPr>
              <p:spPr bwMode="auto">
                <a:xfrm>
                  <a:off x="3748" y="1786"/>
                  <a:ext cx="33" cy="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7" name="Line 653"/>
                <p:cNvSpPr>
                  <a:spLocks noChangeShapeType="1"/>
                </p:cNvSpPr>
                <p:nvPr/>
              </p:nvSpPr>
              <p:spPr bwMode="auto">
                <a:xfrm>
                  <a:off x="3781" y="1790"/>
                  <a:ext cx="32" cy="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8" name="Line 654"/>
                <p:cNvSpPr>
                  <a:spLocks noChangeShapeType="1"/>
                </p:cNvSpPr>
                <p:nvPr/>
              </p:nvSpPr>
              <p:spPr bwMode="auto">
                <a:xfrm>
                  <a:off x="3813" y="1797"/>
                  <a:ext cx="30" cy="1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9" name="Line 655"/>
                <p:cNvSpPr>
                  <a:spLocks noChangeShapeType="1"/>
                </p:cNvSpPr>
                <p:nvPr/>
              </p:nvSpPr>
              <p:spPr bwMode="auto">
                <a:xfrm>
                  <a:off x="3843" y="1807"/>
                  <a:ext cx="30" cy="1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0" name="Line 656"/>
                <p:cNvSpPr>
                  <a:spLocks noChangeShapeType="1"/>
                </p:cNvSpPr>
                <p:nvPr/>
              </p:nvSpPr>
              <p:spPr bwMode="auto">
                <a:xfrm>
                  <a:off x="3873" y="1818"/>
                  <a:ext cx="29" cy="15"/>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1" name="Line 657"/>
                <p:cNvSpPr>
                  <a:spLocks noChangeShapeType="1"/>
                </p:cNvSpPr>
                <p:nvPr/>
              </p:nvSpPr>
              <p:spPr bwMode="auto">
                <a:xfrm>
                  <a:off x="3902" y="1833"/>
                  <a:ext cx="27" cy="1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2" name="Line 658"/>
                <p:cNvSpPr>
                  <a:spLocks noChangeShapeType="1"/>
                </p:cNvSpPr>
                <p:nvPr/>
              </p:nvSpPr>
              <p:spPr bwMode="auto">
                <a:xfrm>
                  <a:off x="3929" y="1849"/>
                  <a:ext cx="25" cy="1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3" name="Line 659"/>
                <p:cNvSpPr>
                  <a:spLocks noChangeShapeType="1"/>
                </p:cNvSpPr>
                <p:nvPr/>
              </p:nvSpPr>
              <p:spPr bwMode="auto">
                <a:xfrm>
                  <a:off x="3954" y="1867"/>
                  <a:ext cx="24" cy="2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4" name="Line 660"/>
                <p:cNvSpPr>
                  <a:spLocks noChangeShapeType="1"/>
                </p:cNvSpPr>
                <p:nvPr/>
              </p:nvSpPr>
              <p:spPr bwMode="auto">
                <a:xfrm>
                  <a:off x="3978" y="1888"/>
                  <a:ext cx="22" cy="2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5" name="Line 661"/>
                <p:cNvSpPr>
                  <a:spLocks noChangeShapeType="1"/>
                </p:cNvSpPr>
                <p:nvPr/>
              </p:nvSpPr>
              <p:spPr bwMode="auto">
                <a:xfrm>
                  <a:off x="4000" y="1910"/>
                  <a:ext cx="21" cy="24"/>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6" name="Line 662"/>
                <p:cNvSpPr>
                  <a:spLocks noChangeShapeType="1"/>
                </p:cNvSpPr>
                <p:nvPr/>
              </p:nvSpPr>
              <p:spPr bwMode="auto">
                <a:xfrm>
                  <a:off x="4021" y="1934"/>
                  <a:ext cx="19" cy="26"/>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7" name="Line 663"/>
                <p:cNvSpPr>
                  <a:spLocks noChangeShapeType="1"/>
                </p:cNvSpPr>
                <p:nvPr/>
              </p:nvSpPr>
              <p:spPr bwMode="auto">
                <a:xfrm>
                  <a:off x="4040" y="1960"/>
                  <a:ext cx="16" cy="27"/>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8" name="Line 664"/>
                <p:cNvSpPr>
                  <a:spLocks noChangeShapeType="1"/>
                </p:cNvSpPr>
                <p:nvPr/>
              </p:nvSpPr>
              <p:spPr bwMode="auto">
                <a:xfrm>
                  <a:off x="4056" y="1987"/>
                  <a:ext cx="14" cy="28"/>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9" name="Line 665"/>
                <p:cNvSpPr>
                  <a:spLocks noChangeShapeType="1"/>
                </p:cNvSpPr>
                <p:nvPr/>
              </p:nvSpPr>
              <p:spPr bwMode="auto">
                <a:xfrm>
                  <a:off x="4070" y="2015"/>
                  <a:ext cx="12" cy="30"/>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20" name="Line 666"/>
                <p:cNvSpPr>
                  <a:spLocks noChangeShapeType="1"/>
                </p:cNvSpPr>
                <p:nvPr/>
              </p:nvSpPr>
              <p:spPr bwMode="auto">
                <a:xfrm>
                  <a:off x="4082" y="2045"/>
                  <a:ext cx="9" cy="31"/>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21" name="Line 667"/>
                <p:cNvSpPr>
                  <a:spLocks noChangeShapeType="1"/>
                </p:cNvSpPr>
                <p:nvPr/>
              </p:nvSpPr>
              <p:spPr bwMode="auto">
                <a:xfrm>
                  <a:off x="4091" y="2076"/>
                  <a:ext cx="7" cy="32"/>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22" name="Line 668"/>
                <p:cNvSpPr>
                  <a:spLocks noChangeShapeType="1"/>
                </p:cNvSpPr>
                <p:nvPr/>
              </p:nvSpPr>
              <p:spPr bwMode="auto">
                <a:xfrm>
                  <a:off x="4098" y="2108"/>
                  <a:ext cx="4"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23" name="Line 669"/>
                <p:cNvSpPr>
                  <a:spLocks noChangeShapeType="1"/>
                </p:cNvSpPr>
                <p:nvPr/>
              </p:nvSpPr>
              <p:spPr bwMode="auto">
                <a:xfrm>
                  <a:off x="4102" y="2141"/>
                  <a:ext cx="2" cy="3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24" name="Freeform 670"/>
                <p:cNvSpPr>
                  <a:spLocks noEditPoints="1"/>
                </p:cNvSpPr>
                <p:nvPr/>
              </p:nvSpPr>
              <p:spPr bwMode="auto">
                <a:xfrm>
                  <a:off x="3327" y="1774"/>
                  <a:ext cx="802" cy="799"/>
                </a:xfrm>
                <a:custGeom>
                  <a:avLst/>
                  <a:gdLst>
                    <a:gd name="T0" fmla="*/ 1400 w 2406"/>
                    <a:gd name="T1" fmla="*/ 1574 h 2398"/>
                    <a:gd name="T2" fmla="*/ 1366 w 2406"/>
                    <a:gd name="T3" fmla="*/ 1683 h 2398"/>
                    <a:gd name="T4" fmla="*/ 968 w 2406"/>
                    <a:gd name="T5" fmla="*/ 1607 h 2398"/>
                    <a:gd name="T6" fmla="*/ 1744 w 2406"/>
                    <a:gd name="T7" fmla="*/ 1472 h 2398"/>
                    <a:gd name="T8" fmla="*/ 1788 w 2406"/>
                    <a:gd name="T9" fmla="*/ 1655 h 2398"/>
                    <a:gd name="T10" fmla="*/ 1622 w 2406"/>
                    <a:gd name="T11" fmla="*/ 1737 h 2398"/>
                    <a:gd name="T12" fmla="*/ 1508 w 2406"/>
                    <a:gd name="T13" fmla="*/ 1622 h 2398"/>
                    <a:gd name="T14" fmla="*/ 1587 w 2406"/>
                    <a:gd name="T15" fmla="*/ 1461 h 2398"/>
                    <a:gd name="T16" fmla="*/ 804 w 2406"/>
                    <a:gd name="T17" fmla="*/ 1457 h 2398"/>
                    <a:gd name="T18" fmla="*/ 849 w 2406"/>
                    <a:gd name="T19" fmla="*/ 1638 h 2398"/>
                    <a:gd name="T20" fmla="*/ 692 w 2406"/>
                    <a:gd name="T21" fmla="*/ 1721 h 2398"/>
                    <a:gd name="T22" fmla="*/ 573 w 2406"/>
                    <a:gd name="T23" fmla="*/ 1612 h 2398"/>
                    <a:gd name="T24" fmla="*/ 649 w 2406"/>
                    <a:gd name="T25" fmla="*/ 1444 h 2398"/>
                    <a:gd name="T26" fmla="*/ 1615 w 2406"/>
                    <a:gd name="T27" fmla="*/ 1164 h 2398"/>
                    <a:gd name="T28" fmla="*/ 1587 w 2406"/>
                    <a:gd name="T29" fmla="*/ 1347 h 2398"/>
                    <a:gd name="T30" fmla="*/ 1388 w 2406"/>
                    <a:gd name="T31" fmla="*/ 902 h 2398"/>
                    <a:gd name="T32" fmla="*/ 1134 w 2406"/>
                    <a:gd name="T33" fmla="*/ 842 h 2398"/>
                    <a:gd name="T34" fmla="*/ 1076 w 2406"/>
                    <a:gd name="T35" fmla="*/ 985 h 2398"/>
                    <a:gd name="T36" fmla="*/ 790 w 2406"/>
                    <a:gd name="T37" fmla="*/ 1333 h 2398"/>
                    <a:gd name="T38" fmla="*/ 1042 w 2406"/>
                    <a:gd name="T39" fmla="*/ 856 h 2398"/>
                    <a:gd name="T40" fmla="*/ 1424 w 2406"/>
                    <a:gd name="T41" fmla="*/ 564 h 2398"/>
                    <a:gd name="T42" fmla="*/ 1428 w 2406"/>
                    <a:gd name="T43" fmla="*/ 749 h 2398"/>
                    <a:gd name="T44" fmla="*/ 1250 w 2406"/>
                    <a:gd name="T45" fmla="*/ 793 h 2398"/>
                    <a:gd name="T46" fmla="*/ 1162 w 2406"/>
                    <a:gd name="T47" fmla="*/ 660 h 2398"/>
                    <a:gd name="T48" fmla="*/ 1275 w 2406"/>
                    <a:gd name="T49" fmla="*/ 514 h 2398"/>
                    <a:gd name="T50" fmla="*/ 904 w 2406"/>
                    <a:gd name="T51" fmla="*/ 216 h 2398"/>
                    <a:gd name="T52" fmla="*/ 1196 w 2406"/>
                    <a:gd name="T53" fmla="*/ 431 h 2398"/>
                    <a:gd name="T54" fmla="*/ 938 w 2406"/>
                    <a:gd name="T55" fmla="*/ 356 h 2398"/>
                    <a:gd name="T56" fmla="*/ 547 w 2406"/>
                    <a:gd name="T57" fmla="*/ 410 h 2398"/>
                    <a:gd name="T58" fmla="*/ 255 w 2406"/>
                    <a:gd name="T59" fmla="*/ 798 h 2398"/>
                    <a:gd name="T60" fmla="*/ 175 w 2406"/>
                    <a:gd name="T61" fmla="*/ 1228 h 2398"/>
                    <a:gd name="T62" fmla="*/ 431 w 2406"/>
                    <a:gd name="T63" fmla="*/ 1420 h 2398"/>
                    <a:gd name="T64" fmla="*/ 324 w 2406"/>
                    <a:gd name="T65" fmla="*/ 1485 h 2398"/>
                    <a:gd name="T66" fmla="*/ 214 w 2406"/>
                    <a:gd name="T67" fmla="*/ 1484 h 2398"/>
                    <a:gd name="T68" fmla="*/ 458 w 2406"/>
                    <a:gd name="T69" fmla="*/ 1906 h 2398"/>
                    <a:gd name="T70" fmla="*/ 674 w 2406"/>
                    <a:gd name="T71" fmla="*/ 1826 h 2398"/>
                    <a:gd name="T72" fmla="*/ 849 w 2406"/>
                    <a:gd name="T73" fmla="*/ 2162 h 2398"/>
                    <a:gd name="T74" fmla="*/ 1368 w 2406"/>
                    <a:gd name="T75" fmla="*/ 2211 h 2398"/>
                    <a:gd name="T76" fmla="*/ 1590 w 2406"/>
                    <a:gd name="T77" fmla="*/ 1971 h 2398"/>
                    <a:gd name="T78" fmla="*/ 1717 w 2406"/>
                    <a:gd name="T79" fmla="*/ 1840 h 2398"/>
                    <a:gd name="T80" fmla="*/ 1799 w 2406"/>
                    <a:gd name="T81" fmla="*/ 2035 h 2398"/>
                    <a:gd name="T82" fmla="*/ 2107 w 2406"/>
                    <a:gd name="T83" fmla="*/ 1687 h 2398"/>
                    <a:gd name="T84" fmla="*/ 2099 w 2406"/>
                    <a:gd name="T85" fmla="*/ 1482 h 2398"/>
                    <a:gd name="T86" fmla="*/ 1878 w 2406"/>
                    <a:gd name="T87" fmla="*/ 1471 h 2398"/>
                    <a:gd name="T88" fmla="*/ 2231 w 2406"/>
                    <a:gd name="T89" fmla="*/ 1236 h 2398"/>
                    <a:gd name="T90" fmla="*/ 2164 w 2406"/>
                    <a:gd name="T91" fmla="*/ 832 h 2398"/>
                    <a:gd name="T92" fmla="*/ 1865 w 2406"/>
                    <a:gd name="T93" fmla="*/ 413 h 2398"/>
                    <a:gd name="T94" fmla="*/ 1505 w 2406"/>
                    <a:gd name="T95" fmla="*/ 495 h 2398"/>
                    <a:gd name="T96" fmla="*/ 1608 w 2406"/>
                    <a:gd name="T97" fmla="*/ 257 h 2398"/>
                    <a:gd name="T98" fmla="*/ 1185 w 2406"/>
                    <a:gd name="T99" fmla="*/ 0 h 2398"/>
                    <a:gd name="T100" fmla="*/ 1761 w 2406"/>
                    <a:gd name="T101" fmla="*/ 136 h 2398"/>
                    <a:gd name="T102" fmla="*/ 2177 w 2406"/>
                    <a:gd name="T103" fmla="*/ 492 h 2398"/>
                    <a:gd name="T104" fmla="*/ 2389 w 2406"/>
                    <a:gd name="T105" fmla="*/ 992 h 2398"/>
                    <a:gd name="T106" fmla="*/ 2346 w 2406"/>
                    <a:gd name="T107" fmla="*/ 1577 h 2398"/>
                    <a:gd name="T108" fmla="*/ 2049 w 2406"/>
                    <a:gd name="T109" fmla="*/ 2053 h 2398"/>
                    <a:gd name="T110" fmla="*/ 1590 w 2406"/>
                    <a:gd name="T111" fmla="*/ 2336 h 2398"/>
                    <a:gd name="T112" fmla="*/ 1017 w 2406"/>
                    <a:gd name="T113" fmla="*/ 2384 h 2398"/>
                    <a:gd name="T114" fmla="*/ 481 w 2406"/>
                    <a:gd name="T115" fmla="*/ 2159 h 2398"/>
                    <a:gd name="T116" fmla="*/ 134 w 2406"/>
                    <a:gd name="T117" fmla="*/ 1752 h 2398"/>
                    <a:gd name="T118" fmla="*/ 0 w 2406"/>
                    <a:gd name="T119" fmla="*/ 1217 h 2398"/>
                    <a:gd name="T120" fmla="*/ 136 w 2406"/>
                    <a:gd name="T121" fmla="*/ 643 h 2398"/>
                    <a:gd name="T122" fmla="*/ 494 w 2406"/>
                    <a:gd name="T123" fmla="*/ 229 h 2398"/>
                    <a:gd name="T124" fmla="*/ 996 w 2406"/>
                    <a:gd name="T125" fmla="*/ 17 h 2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06" h="2398">
                      <a:moveTo>
                        <a:pt x="971" y="1566"/>
                      </a:moveTo>
                      <a:lnTo>
                        <a:pt x="1083" y="1576"/>
                      </a:lnTo>
                      <a:lnTo>
                        <a:pt x="1199" y="1580"/>
                      </a:lnTo>
                      <a:lnTo>
                        <a:pt x="1313" y="1578"/>
                      </a:lnTo>
                      <a:lnTo>
                        <a:pt x="1357" y="1577"/>
                      </a:lnTo>
                      <a:lnTo>
                        <a:pt x="1400" y="1574"/>
                      </a:lnTo>
                      <a:lnTo>
                        <a:pt x="1398" y="1581"/>
                      </a:lnTo>
                      <a:lnTo>
                        <a:pt x="1398" y="1588"/>
                      </a:lnTo>
                      <a:lnTo>
                        <a:pt x="1398" y="1597"/>
                      </a:lnTo>
                      <a:lnTo>
                        <a:pt x="1402" y="1639"/>
                      </a:lnTo>
                      <a:lnTo>
                        <a:pt x="1414" y="1680"/>
                      </a:lnTo>
                      <a:lnTo>
                        <a:pt x="1366" y="1683"/>
                      </a:lnTo>
                      <a:lnTo>
                        <a:pt x="1316" y="1687"/>
                      </a:lnTo>
                      <a:lnTo>
                        <a:pt x="1193" y="1687"/>
                      </a:lnTo>
                      <a:lnTo>
                        <a:pt x="1074" y="1683"/>
                      </a:lnTo>
                      <a:lnTo>
                        <a:pt x="952" y="1672"/>
                      </a:lnTo>
                      <a:lnTo>
                        <a:pt x="962" y="1639"/>
                      </a:lnTo>
                      <a:lnTo>
                        <a:pt x="968" y="1607"/>
                      </a:lnTo>
                      <a:lnTo>
                        <a:pt x="971" y="1573"/>
                      </a:lnTo>
                      <a:lnTo>
                        <a:pt x="971" y="1566"/>
                      </a:lnTo>
                      <a:close/>
                      <a:moveTo>
                        <a:pt x="1652" y="1444"/>
                      </a:moveTo>
                      <a:lnTo>
                        <a:pt x="1685" y="1447"/>
                      </a:lnTo>
                      <a:lnTo>
                        <a:pt x="1716" y="1457"/>
                      </a:lnTo>
                      <a:lnTo>
                        <a:pt x="1744" y="1472"/>
                      </a:lnTo>
                      <a:lnTo>
                        <a:pt x="1768" y="1495"/>
                      </a:lnTo>
                      <a:lnTo>
                        <a:pt x="1785" y="1523"/>
                      </a:lnTo>
                      <a:lnTo>
                        <a:pt x="1797" y="1554"/>
                      </a:lnTo>
                      <a:lnTo>
                        <a:pt x="1800" y="1590"/>
                      </a:lnTo>
                      <a:lnTo>
                        <a:pt x="1797" y="1624"/>
                      </a:lnTo>
                      <a:lnTo>
                        <a:pt x="1788" y="1655"/>
                      </a:lnTo>
                      <a:lnTo>
                        <a:pt x="1771" y="1683"/>
                      </a:lnTo>
                      <a:lnTo>
                        <a:pt x="1748" y="1706"/>
                      </a:lnTo>
                      <a:lnTo>
                        <a:pt x="1721" y="1724"/>
                      </a:lnTo>
                      <a:lnTo>
                        <a:pt x="1690" y="1735"/>
                      </a:lnTo>
                      <a:lnTo>
                        <a:pt x="1656" y="1740"/>
                      </a:lnTo>
                      <a:lnTo>
                        <a:pt x="1622" y="1737"/>
                      </a:lnTo>
                      <a:lnTo>
                        <a:pt x="1591" y="1725"/>
                      </a:lnTo>
                      <a:lnTo>
                        <a:pt x="1563" y="1708"/>
                      </a:lnTo>
                      <a:lnTo>
                        <a:pt x="1545" y="1691"/>
                      </a:lnTo>
                      <a:lnTo>
                        <a:pt x="1528" y="1672"/>
                      </a:lnTo>
                      <a:lnTo>
                        <a:pt x="1517" y="1648"/>
                      </a:lnTo>
                      <a:lnTo>
                        <a:pt x="1508" y="1622"/>
                      </a:lnTo>
                      <a:lnTo>
                        <a:pt x="1507" y="1594"/>
                      </a:lnTo>
                      <a:lnTo>
                        <a:pt x="1510" y="1560"/>
                      </a:lnTo>
                      <a:lnTo>
                        <a:pt x="1519" y="1529"/>
                      </a:lnTo>
                      <a:lnTo>
                        <a:pt x="1538" y="1502"/>
                      </a:lnTo>
                      <a:lnTo>
                        <a:pt x="1560" y="1478"/>
                      </a:lnTo>
                      <a:lnTo>
                        <a:pt x="1587" y="1461"/>
                      </a:lnTo>
                      <a:lnTo>
                        <a:pt x="1618" y="1448"/>
                      </a:lnTo>
                      <a:lnTo>
                        <a:pt x="1652" y="1444"/>
                      </a:lnTo>
                      <a:close/>
                      <a:moveTo>
                        <a:pt x="714" y="1429"/>
                      </a:moveTo>
                      <a:lnTo>
                        <a:pt x="746" y="1431"/>
                      </a:lnTo>
                      <a:lnTo>
                        <a:pt x="777" y="1441"/>
                      </a:lnTo>
                      <a:lnTo>
                        <a:pt x="804" y="1457"/>
                      </a:lnTo>
                      <a:lnTo>
                        <a:pt x="828" y="1479"/>
                      </a:lnTo>
                      <a:lnTo>
                        <a:pt x="846" y="1508"/>
                      </a:lnTo>
                      <a:lnTo>
                        <a:pt x="859" y="1539"/>
                      </a:lnTo>
                      <a:lnTo>
                        <a:pt x="863" y="1574"/>
                      </a:lnTo>
                      <a:lnTo>
                        <a:pt x="860" y="1608"/>
                      </a:lnTo>
                      <a:lnTo>
                        <a:pt x="849" y="1638"/>
                      </a:lnTo>
                      <a:lnTo>
                        <a:pt x="832" y="1666"/>
                      </a:lnTo>
                      <a:lnTo>
                        <a:pt x="810" y="1689"/>
                      </a:lnTo>
                      <a:lnTo>
                        <a:pt x="783" y="1707"/>
                      </a:lnTo>
                      <a:lnTo>
                        <a:pt x="752" y="1718"/>
                      </a:lnTo>
                      <a:lnTo>
                        <a:pt x="718" y="1723"/>
                      </a:lnTo>
                      <a:lnTo>
                        <a:pt x="692" y="1721"/>
                      </a:lnTo>
                      <a:lnTo>
                        <a:pt x="669" y="1717"/>
                      </a:lnTo>
                      <a:lnTo>
                        <a:pt x="647" y="1707"/>
                      </a:lnTo>
                      <a:lnTo>
                        <a:pt x="628" y="1694"/>
                      </a:lnTo>
                      <a:lnTo>
                        <a:pt x="604" y="1672"/>
                      </a:lnTo>
                      <a:lnTo>
                        <a:pt x="585" y="1643"/>
                      </a:lnTo>
                      <a:lnTo>
                        <a:pt x="573" y="1612"/>
                      </a:lnTo>
                      <a:lnTo>
                        <a:pt x="567" y="1578"/>
                      </a:lnTo>
                      <a:lnTo>
                        <a:pt x="571" y="1544"/>
                      </a:lnTo>
                      <a:lnTo>
                        <a:pt x="582" y="1513"/>
                      </a:lnTo>
                      <a:lnTo>
                        <a:pt x="599" y="1485"/>
                      </a:lnTo>
                      <a:lnTo>
                        <a:pt x="622" y="1463"/>
                      </a:lnTo>
                      <a:lnTo>
                        <a:pt x="649" y="1444"/>
                      </a:lnTo>
                      <a:lnTo>
                        <a:pt x="680" y="1433"/>
                      </a:lnTo>
                      <a:lnTo>
                        <a:pt x="714" y="1429"/>
                      </a:lnTo>
                      <a:close/>
                      <a:moveTo>
                        <a:pt x="1481" y="846"/>
                      </a:moveTo>
                      <a:lnTo>
                        <a:pt x="1531" y="950"/>
                      </a:lnTo>
                      <a:lnTo>
                        <a:pt x="1576" y="1057"/>
                      </a:lnTo>
                      <a:lnTo>
                        <a:pt x="1615" y="1164"/>
                      </a:lnTo>
                      <a:lnTo>
                        <a:pt x="1648" y="1275"/>
                      </a:lnTo>
                      <a:lnTo>
                        <a:pt x="1656" y="1306"/>
                      </a:lnTo>
                      <a:lnTo>
                        <a:pt x="1663" y="1338"/>
                      </a:lnTo>
                      <a:lnTo>
                        <a:pt x="1651" y="1338"/>
                      </a:lnTo>
                      <a:lnTo>
                        <a:pt x="1618" y="1340"/>
                      </a:lnTo>
                      <a:lnTo>
                        <a:pt x="1587" y="1347"/>
                      </a:lnTo>
                      <a:lnTo>
                        <a:pt x="1558" y="1355"/>
                      </a:lnTo>
                      <a:lnTo>
                        <a:pt x="1543" y="1303"/>
                      </a:lnTo>
                      <a:lnTo>
                        <a:pt x="1512" y="1200"/>
                      </a:lnTo>
                      <a:lnTo>
                        <a:pt x="1476" y="1098"/>
                      </a:lnTo>
                      <a:lnTo>
                        <a:pt x="1435" y="998"/>
                      </a:lnTo>
                      <a:lnTo>
                        <a:pt x="1388" y="902"/>
                      </a:lnTo>
                      <a:lnTo>
                        <a:pt x="1424" y="886"/>
                      </a:lnTo>
                      <a:lnTo>
                        <a:pt x="1453" y="868"/>
                      </a:lnTo>
                      <a:lnTo>
                        <a:pt x="1481" y="846"/>
                      </a:lnTo>
                      <a:close/>
                      <a:moveTo>
                        <a:pt x="1096" y="796"/>
                      </a:moveTo>
                      <a:lnTo>
                        <a:pt x="1113" y="820"/>
                      </a:lnTo>
                      <a:lnTo>
                        <a:pt x="1134" y="842"/>
                      </a:lnTo>
                      <a:lnTo>
                        <a:pt x="1158" y="861"/>
                      </a:lnTo>
                      <a:lnTo>
                        <a:pt x="1162" y="865"/>
                      </a:lnTo>
                      <a:lnTo>
                        <a:pt x="1168" y="868"/>
                      </a:lnTo>
                      <a:lnTo>
                        <a:pt x="1172" y="870"/>
                      </a:lnTo>
                      <a:lnTo>
                        <a:pt x="1123" y="927"/>
                      </a:lnTo>
                      <a:lnTo>
                        <a:pt x="1076" y="985"/>
                      </a:lnTo>
                      <a:lnTo>
                        <a:pt x="1014" y="1074"/>
                      </a:lnTo>
                      <a:lnTo>
                        <a:pt x="956" y="1167"/>
                      </a:lnTo>
                      <a:lnTo>
                        <a:pt x="903" y="1263"/>
                      </a:lnTo>
                      <a:lnTo>
                        <a:pt x="855" y="1362"/>
                      </a:lnTo>
                      <a:lnTo>
                        <a:pt x="824" y="1345"/>
                      </a:lnTo>
                      <a:lnTo>
                        <a:pt x="790" y="1333"/>
                      </a:lnTo>
                      <a:lnTo>
                        <a:pt x="753" y="1325"/>
                      </a:lnTo>
                      <a:lnTo>
                        <a:pt x="804" y="1218"/>
                      </a:lnTo>
                      <a:lnTo>
                        <a:pt x="862" y="1115"/>
                      </a:lnTo>
                      <a:lnTo>
                        <a:pt x="924" y="1016"/>
                      </a:lnTo>
                      <a:lnTo>
                        <a:pt x="993" y="921"/>
                      </a:lnTo>
                      <a:lnTo>
                        <a:pt x="1042" y="856"/>
                      </a:lnTo>
                      <a:lnTo>
                        <a:pt x="1096" y="796"/>
                      </a:lnTo>
                      <a:close/>
                      <a:moveTo>
                        <a:pt x="1309" y="510"/>
                      </a:moveTo>
                      <a:lnTo>
                        <a:pt x="1342" y="514"/>
                      </a:lnTo>
                      <a:lnTo>
                        <a:pt x="1373" y="524"/>
                      </a:lnTo>
                      <a:lnTo>
                        <a:pt x="1400" y="541"/>
                      </a:lnTo>
                      <a:lnTo>
                        <a:pt x="1424" y="564"/>
                      </a:lnTo>
                      <a:lnTo>
                        <a:pt x="1442" y="591"/>
                      </a:lnTo>
                      <a:lnTo>
                        <a:pt x="1455" y="622"/>
                      </a:lnTo>
                      <a:lnTo>
                        <a:pt x="1460" y="656"/>
                      </a:lnTo>
                      <a:lnTo>
                        <a:pt x="1456" y="690"/>
                      </a:lnTo>
                      <a:lnTo>
                        <a:pt x="1445" y="721"/>
                      </a:lnTo>
                      <a:lnTo>
                        <a:pt x="1428" y="749"/>
                      </a:lnTo>
                      <a:lnTo>
                        <a:pt x="1405" y="771"/>
                      </a:lnTo>
                      <a:lnTo>
                        <a:pt x="1378" y="790"/>
                      </a:lnTo>
                      <a:lnTo>
                        <a:pt x="1347" y="801"/>
                      </a:lnTo>
                      <a:lnTo>
                        <a:pt x="1313" y="805"/>
                      </a:lnTo>
                      <a:lnTo>
                        <a:pt x="1280" y="803"/>
                      </a:lnTo>
                      <a:lnTo>
                        <a:pt x="1250" y="793"/>
                      </a:lnTo>
                      <a:lnTo>
                        <a:pt x="1223" y="777"/>
                      </a:lnTo>
                      <a:lnTo>
                        <a:pt x="1203" y="760"/>
                      </a:lnTo>
                      <a:lnTo>
                        <a:pt x="1186" y="739"/>
                      </a:lnTo>
                      <a:lnTo>
                        <a:pt x="1174" y="715"/>
                      </a:lnTo>
                      <a:lnTo>
                        <a:pt x="1165" y="688"/>
                      </a:lnTo>
                      <a:lnTo>
                        <a:pt x="1162" y="660"/>
                      </a:lnTo>
                      <a:lnTo>
                        <a:pt x="1167" y="626"/>
                      </a:lnTo>
                      <a:lnTo>
                        <a:pt x="1177" y="595"/>
                      </a:lnTo>
                      <a:lnTo>
                        <a:pt x="1193" y="568"/>
                      </a:lnTo>
                      <a:lnTo>
                        <a:pt x="1216" y="544"/>
                      </a:lnTo>
                      <a:lnTo>
                        <a:pt x="1244" y="527"/>
                      </a:lnTo>
                      <a:lnTo>
                        <a:pt x="1275" y="514"/>
                      </a:lnTo>
                      <a:lnTo>
                        <a:pt x="1309" y="510"/>
                      </a:lnTo>
                      <a:close/>
                      <a:moveTo>
                        <a:pt x="1188" y="175"/>
                      </a:moveTo>
                      <a:lnTo>
                        <a:pt x="1114" y="178"/>
                      </a:lnTo>
                      <a:lnTo>
                        <a:pt x="1042" y="185"/>
                      </a:lnTo>
                      <a:lnTo>
                        <a:pt x="973" y="199"/>
                      </a:lnTo>
                      <a:lnTo>
                        <a:pt x="904" y="216"/>
                      </a:lnTo>
                      <a:lnTo>
                        <a:pt x="958" y="244"/>
                      </a:lnTo>
                      <a:lnTo>
                        <a:pt x="1010" y="275"/>
                      </a:lnTo>
                      <a:lnTo>
                        <a:pt x="1061" y="311"/>
                      </a:lnTo>
                      <a:lnTo>
                        <a:pt x="1107" y="348"/>
                      </a:lnTo>
                      <a:lnTo>
                        <a:pt x="1153" y="389"/>
                      </a:lnTo>
                      <a:lnTo>
                        <a:pt x="1196" y="431"/>
                      </a:lnTo>
                      <a:lnTo>
                        <a:pt x="1164" y="449"/>
                      </a:lnTo>
                      <a:lnTo>
                        <a:pt x="1137" y="472"/>
                      </a:lnTo>
                      <a:lnTo>
                        <a:pt x="1112" y="499"/>
                      </a:lnTo>
                      <a:lnTo>
                        <a:pt x="1055" y="445"/>
                      </a:lnTo>
                      <a:lnTo>
                        <a:pt x="997" y="396"/>
                      </a:lnTo>
                      <a:lnTo>
                        <a:pt x="938" y="356"/>
                      </a:lnTo>
                      <a:lnTo>
                        <a:pt x="877" y="322"/>
                      </a:lnTo>
                      <a:lnTo>
                        <a:pt x="815" y="295"/>
                      </a:lnTo>
                      <a:lnTo>
                        <a:pt x="753" y="275"/>
                      </a:lnTo>
                      <a:lnTo>
                        <a:pt x="681" y="315"/>
                      </a:lnTo>
                      <a:lnTo>
                        <a:pt x="612" y="360"/>
                      </a:lnTo>
                      <a:lnTo>
                        <a:pt x="547" y="410"/>
                      </a:lnTo>
                      <a:lnTo>
                        <a:pt x="486" y="463"/>
                      </a:lnTo>
                      <a:lnTo>
                        <a:pt x="430" y="523"/>
                      </a:lnTo>
                      <a:lnTo>
                        <a:pt x="379" y="585"/>
                      </a:lnTo>
                      <a:lnTo>
                        <a:pt x="331" y="653"/>
                      </a:lnTo>
                      <a:lnTo>
                        <a:pt x="290" y="723"/>
                      </a:lnTo>
                      <a:lnTo>
                        <a:pt x="255" y="798"/>
                      </a:lnTo>
                      <a:lnTo>
                        <a:pt x="225" y="876"/>
                      </a:lnTo>
                      <a:lnTo>
                        <a:pt x="201" y="958"/>
                      </a:lnTo>
                      <a:lnTo>
                        <a:pt x="186" y="1041"/>
                      </a:lnTo>
                      <a:lnTo>
                        <a:pt x="176" y="1126"/>
                      </a:lnTo>
                      <a:lnTo>
                        <a:pt x="173" y="1214"/>
                      </a:lnTo>
                      <a:lnTo>
                        <a:pt x="175" y="1228"/>
                      </a:lnTo>
                      <a:lnTo>
                        <a:pt x="175" y="1241"/>
                      </a:lnTo>
                      <a:lnTo>
                        <a:pt x="217" y="1283"/>
                      </a:lnTo>
                      <a:lnTo>
                        <a:pt x="266" y="1323"/>
                      </a:lnTo>
                      <a:lnTo>
                        <a:pt x="317" y="1358"/>
                      </a:lnTo>
                      <a:lnTo>
                        <a:pt x="372" y="1390"/>
                      </a:lnTo>
                      <a:lnTo>
                        <a:pt x="431" y="1420"/>
                      </a:lnTo>
                      <a:lnTo>
                        <a:pt x="496" y="1448"/>
                      </a:lnTo>
                      <a:lnTo>
                        <a:pt x="479" y="1481"/>
                      </a:lnTo>
                      <a:lnTo>
                        <a:pt x="468" y="1515"/>
                      </a:lnTo>
                      <a:lnTo>
                        <a:pt x="462" y="1550"/>
                      </a:lnTo>
                      <a:lnTo>
                        <a:pt x="392" y="1520"/>
                      </a:lnTo>
                      <a:lnTo>
                        <a:pt x="324" y="1485"/>
                      </a:lnTo>
                      <a:lnTo>
                        <a:pt x="261" y="1448"/>
                      </a:lnTo>
                      <a:lnTo>
                        <a:pt x="201" y="1406"/>
                      </a:lnTo>
                      <a:lnTo>
                        <a:pt x="200" y="1406"/>
                      </a:lnTo>
                      <a:lnTo>
                        <a:pt x="197" y="1405"/>
                      </a:lnTo>
                      <a:lnTo>
                        <a:pt x="194" y="1402"/>
                      </a:lnTo>
                      <a:lnTo>
                        <a:pt x="214" y="1484"/>
                      </a:lnTo>
                      <a:lnTo>
                        <a:pt x="241" y="1563"/>
                      </a:lnTo>
                      <a:lnTo>
                        <a:pt x="273" y="1639"/>
                      </a:lnTo>
                      <a:lnTo>
                        <a:pt x="311" y="1711"/>
                      </a:lnTo>
                      <a:lnTo>
                        <a:pt x="355" y="1780"/>
                      </a:lnTo>
                      <a:lnTo>
                        <a:pt x="405" y="1845"/>
                      </a:lnTo>
                      <a:lnTo>
                        <a:pt x="458" y="1906"/>
                      </a:lnTo>
                      <a:lnTo>
                        <a:pt x="516" y="1961"/>
                      </a:lnTo>
                      <a:lnTo>
                        <a:pt x="578" y="2014"/>
                      </a:lnTo>
                      <a:lnTo>
                        <a:pt x="588" y="1909"/>
                      </a:lnTo>
                      <a:lnTo>
                        <a:pt x="605" y="1805"/>
                      </a:lnTo>
                      <a:lnTo>
                        <a:pt x="639" y="1817"/>
                      </a:lnTo>
                      <a:lnTo>
                        <a:pt x="674" y="1826"/>
                      </a:lnTo>
                      <a:lnTo>
                        <a:pt x="709" y="1830"/>
                      </a:lnTo>
                      <a:lnTo>
                        <a:pt x="697" y="1915"/>
                      </a:lnTo>
                      <a:lnTo>
                        <a:pt x="688" y="2000"/>
                      </a:lnTo>
                      <a:lnTo>
                        <a:pt x="684" y="2084"/>
                      </a:lnTo>
                      <a:lnTo>
                        <a:pt x="766" y="2127"/>
                      </a:lnTo>
                      <a:lnTo>
                        <a:pt x="849" y="2162"/>
                      </a:lnTo>
                      <a:lnTo>
                        <a:pt x="937" y="2190"/>
                      </a:lnTo>
                      <a:lnTo>
                        <a:pt x="1028" y="2210"/>
                      </a:lnTo>
                      <a:lnTo>
                        <a:pt x="1122" y="2223"/>
                      </a:lnTo>
                      <a:lnTo>
                        <a:pt x="1219" y="2226"/>
                      </a:lnTo>
                      <a:lnTo>
                        <a:pt x="1294" y="2221"/>
                      </a:lnTo>
                      <a:lnTo>
                        <a:pt x="1368" y="2211"/>
                      </a:lnTo>
                      <a:lnTo>
                        <a:pt x="1440" y="2196"/>
                      </a:lnTo>
                      <a:lnTo>
                        <a:pt x="1511" y="2178"/>
                      </a:lnTo>
                      <a:lnTo>
                        <a:pt x="1536" y="2134"/>
                      </a:lnTo>
                      <a:lnTo>
                        <a:pt x="1559" y="2086"/>
                      </a:lnTo>
                      <a:lnTo>
                        <a:pt x="1577" y="2031"/>
                      </a:lnTo>
                      <a:lnTo>
                        <a:pt x="1590" y="1971"/>
                      </a:lnTo>
                      <a:lnTo>
                        <a:pt x="1600" y="1909"/>
                      </a:lnTo>
                      <a:lnTo>
                        <a:pt x="1606" y="1841"/>
                      </a:lnTo>
                      <a:lnTo>
                        <a:pt x="1632" y="1845"/>
                      </a:lnTo>
                      <a:lnTo>
                        <a:pt x="1656" y="1845"/>
                      </a:lnTo>
                      <a:lnTo>
                        <a:pt x="1687" y="1844"/>
                      </a:lnTo>
                      <a:lnTo>
                        <a:pt x="1717" y="1840"/>
                      </a:lnTo>
                      <a:lnTo>
                        <a:pt x="1710" y="1913"/>
                      </a:lnTo>
                      <a:lnTo>
                        <a:pt x="1699" y="1984"/>
                      </a:lnTo>
                      <a:lnTo>
                        <a:pt x="1682" y="2053"/>
                      </a:lnTo>
                      <a:lnTo>
                        <a:pt x="1662" y="2117"/>
                      </a:lnTo>
                      <a:lnTo>
                        <a:pt x="1731" y="2079"/>
                      </a:lnTo>
                      <a:lnTo>
                        <a:pt x="1799" y="2035"/>
                      </a:lnTo>
                      <a:lnTo>
                        <a:pt x="1862" y="1985"/>
                      </a:lnTo>
                      <a:lnTo>
                        <a:pt x="1922" y="1933"/>
                      </a:lnTo>
                      <a:lnTo>
                        <a:pt x="1977" y="1875"/>
                      </a:lnTo>
                      <a:lnTo>
                        <a:pt x="2027" y="1813"/>
                      </a:lnTo>
                      <a:lnTo>
                        <a:pt x="2068" y="1752"/>
                      </a:lnTo>
                      <a:lnTo>
                        <a:pt x="2107" y="1687"/>
                      </a:lnTo>
                      <a:lnTo>
                        <a:pt x="2140" y="1621"/>
                      </a:lnTo>
                      <a:lnTo>
                        <a:pt x="2169" y="1552"/>
                      </a:lnTo>
                      <a:lnTo>
                        <a:pt x="2193" y="1479"/>
                      </a:lnTo>
                      <a:lnTo>
                        <a:pt x="2211" y="1405"/>
                      </a:lnTo>
                      <a:lnTo>
                        <a:pt x="2157" y="1446"/>
                      </a:lnTo>
                      <a:lnTo>
                        <a:pt x="2099" y="1482"/>
                      </a:lnTo>
                      <a:lnTo>
                        <a:pt x="2039" y="1516"/>
                      </a:lnTo>
                      <a:lnTo>
                        <a:pt x="1975" y="1546"/>
                      </a:lnTo>
                      <a:lnTo>
                        <a:pt x="1908" y="1574"/>
                      </a:lnTo>
                      <a:lnTo>
                        <a:pt x="1902" y="1537"/>
                      </a:lnTo>
                      <a:lnTo>
                        <a:pt x="1892" y="1504"/>
                      </a:lnTo>
                      <a:lnTo>
                        <a:pt x="1878" y="1471"/>
                      </a:lnTo>
                      <a:lnTo>
                        <a:pt x="1950" y="1440"/>
                      </a:lnTo>
                      <a:lnTo>
                        <a:pt x="2016" y="1406"/>
                      </a:lnTo>
                      <a:lnTo>
                        <a:pt x="2078" y="1369"/>
                      </a:lnTo>
                      <a:lnTo>
                        <a:pt x="2135" y="1328"/>
                      </a:lnTo>
                      <a:lnTo>
                        <a:pt x="2186" y="1284"/>
                      </a:lnTo>
                      <a:lnTo>
                        <a:pt x="2231" y="1236"/>
                      </a:lnTo>
                      <a:lnTo>
                        <a:pt x="2232" y="1210"/>
                      </a:lnTo>
                      <a:lnTo>
                        <a:pt x="2234" y="1184"/>
                      </a:lnTo>
                      <a:lnTo>
                        <a:pt x="2226" y="1092"/>
                      </a:lnTo>
                      <a:lnTo>
                        <a:pt x="2214" y="1002"/>
                      </a:lnTo>
                      <a:lnTo>
                        <a:pt x="2193" y="916"/>
                      </a:lnTo>
                      <a:lnTo>
                        <a:pt x="2164" y="832"/>
                      </a:lnTo>
                      <a:lnTo>
                        <a:pt x="2129" y="752"/>
                      </a:lnTo>
                      <a:lnTo>
                        <a:pt x="2087" y="675"/>
                      </a:lnTo>
                      <a:lnTo>
                        <a:pt x="2040" y="603"/>
                      </a:lnTo>
                      <a:lnTo>
                        <a:pt x="1987" y="534"/>
                      </a:lnTo>
                      <a:lnTo>
                        <a:pt x="1929" y="472"/>
                      </a:lnTo>
                      <a:lnTo>
                        <a:pt x="1865" y="413"/>
                      </a:lnTo>
                      <a:lnTo>
                        <a:pt x="1782" y="439"/>
                      </a:lnTo>
                      <a:lnTo>
                        <a:pt x="1700" y="472"/>
                      </a:lnTo>
                      <a:lnTo>
                        <a:pt x="1621" y="510"/>
                      </a:lnTo>
                      <a:lnTo>
                        <a:pt x="1543" y="554"/>
                      </a:lnTo>
                      <a:lnTo>
                        <a:pt x="1527" y="524"/>
                      </a:lnTo>
                      <a:lnTo>
                        <a:pt x="1505" y="495"/>
                      </a:lnTo>
                      <a:lnTo>
                        <a:pt x="1480" y="468"/>
                      </a:lnTo>
                      <a:lnTo>
                        <a:pt x="1570" y="417"/>
                      </a:lnTo>
                      <a:lnTo>
                        <a:pt x="1662" y="373"/>
                      </a:lnTo>
                      <a:lnTo>
                        <a:pt x="1757" y="336"/>
                      </a:lnTo>
                      <a:lnTo>
                        <a:pt x="1685" y="294"/>
                      </a:lnTo>
                      <a:lnTo>
                        <a:pt x="1608" y="257"/>
                      </a:lnTo>
                      <a:lnTo>
                        <a:pt x="1529" y="226"/>
                      </a:lnTo>
                      <a:lnTo>
                        <a:pt x="1447" y="202"/>
                      </a:lnTo>
                      <a:lnTo>
                        <a:pt x="1364" y="186"/>
                      </a:lnTo>
                      <a:lnTo>
                        <a:pt x="1277" y="177"/>
                      </a:lnTo>
                      <a:lnTo>
                        <a:pt x="1188" y="175"/>
                      </a:lnTo>
                      <a:close/>
                      <a:moveTo>
                        <a:pt x="1185" y="0"/>
                      </a:moveTo>
                      <a:lnTo>
                        <a:pt x="1288" y="3"/>
                      </a:lnTo>
                      <a:lnTo>
                        <a:pt x="1388" y="14"/>
                      </a:lnTo>
                      <a:lnTo>
                        <a:pt x="1487" y="32"/>
                      </a:lnTo>
                      <a:lnTo>
                        <a:pt x="1582" y="59"/>
                      </a:lnTo>
                      <a:lnTo>
                        <a:pt x="1673" y="95"/>
                      </a:lnTo>
                      <a:lnTo>
                        <a:pt x="1761" y="136"/>
                      </a:lnTo>
                      <a:lnTo>
                        <a:pt x="1845" y="184"/>
                      </a:lnTo>
                      <a:lnTo>
                        <a:pt x="1924" y="239"/>
                      </a:lnTo>
                      <a:lnTo>
                        <a:pt x="1995" y="295"/>
                      </a:lnTo>
                      <a:lnTo>
                        <a:pt x="2060" y="356"/>
                      </a:lnTo>
                      <a:lnTo>
                        <a:pt x="2121" y="422"/>
                      </a:lnTo>
                      <a:lnTo>
                        <a:pt x="2177" y="492"/>
                      </a:lnTo>
                      <a:lnTo>
                        <a:pt x="2226" y="567"/>
                      </a:lnTo>
                      <a:lnTo>
                        <a:pt x="2272" y="646"/>
                      </a:lnTo>
                      <a:lnTo>
                        <a:pt x="2310" y="728"/>
                      </a:lnTo>
                      <a:lnTo>
                        <a:pt x="2344" y="812"/>
                      </a:lnTo>
                      <a:lnTo>
                        <a:pt x="2369" y="902"/>
                      </a:lnTo>
                      <a:lnTo>
                        <a:pt x="2389" y="992"/>
                      </a:lnTo>
                      <a:lnTo>
                        <a:pt x="2400" y="1085"/>
                      </a:lnTo>
                      <a:lnTo>
                        <a:pt x="2406" y="1181"/>
                      </a:lnTo>
                      <a:lnTo>
                        <a:pt x="2403" y="1284"/>
                      </a:lnTo>
                      <a:lnTo>
                        <a:pt x="2392" y="1385"/>
                      </a:lnTo>
                      <a:lnTo>
                        <a:pt x="2373" y="1482"/>
                      </a:lnTo>
                      <a:lnTo>
                        <a:pt x="2346" y="1577"/>
                      </a:lnTo>
                      <a:lnTo>
                        <a:pt x="2311" y="1667"/>
                      </a:lnTo>
                      <a:lnTo>
                        <a:pt x="2270" y="1755"/>
                      </a:lnTo>
                      <a:lnTo>
                        <a:pt x="2221" y="1840"/>
                      </a:lnTo>
                      <a:lnTo>
                        <a:pt x="2166" y="1919"/>
                      </a:lnTo>
                      <a:lnTo>
                        <a:pt x="2111" y="1988"/>
                      </a:lnTo>
                      <a:lnTo>
                        <a:pt x="2049" y="2053"/>
                      </a:lnTo>
                      <a:lnTo>
                        <a:pt x="1982" y="2114"/>
                      </a:lnTo>
                      <a:lnTo>
                        <a:pt x="1912" y="2169"/>
                      </a:lnTo>
                      <a:lnTo>
                        <a:pt x="1837" y="2220"/>
                      </a:lnTo>
                      <a:lnTo>
                        <a:pt x="1758" y="2264"/>
                      </a:lnTo>
                      <a:lnTo>
                        <a:pt x="1676" y="2303"/>
                      </a:lnTo>
                      <a:lnTo>
                        <a:pt x="1590" y="2336"/>
                      </a:lnTo>
                      <a:lnTo>
                        <a:pt x="1501" y="2361"/>
                      </a:lnTo>
                      <a:lnTo>
                        <a:pt x="1411" y="2381"/>
                      </a:lnTo>
                      <a:lnTo>
                        <a:pt x="1316" y="2392"/>
                      </a:lnTo>
                      <a:lnTo>
                        <a:pt x="1220" y="2398"/>
                      </a:lnTo>
                      <a:lnTo>
                        <a:pt x="1117" y="2395"/>
                      </a:lnTo>
                      <a:lnTo>
                        <a:pt x="1017" y="2384"/>
                      </a:lnTo>
                      <a:lnTo>
                        <a:pt x="920" y="2366"/>
                      </a:lnTo>
                      <a:lnTo>
                        <a:pt x="824" y="2339"/>
                      </a:lnTo>
                      <a:lnTo>
                        <a:pt x="732" y="2303"/>
                      </a:lnTo>
                      <a:lnTo>
                        <a:pt x="645" y="2262"/>
                      </a:lnTo>
                      <a:lnTo>
                        <a:pt x="560" y="2214"/>
                      </a:lnTo>
                      <a:lnTo>
                        <a:pt x="481" y="2159"/>
                      </a:lnTo>
                      <a:lnTo>
                        <a:pt x="410" y="2103"/>
                      </a:lnTo>
                      <a:lnTo>
                        <a:pt x="345" y="2042"/>
                      </a:lnTo>
                      <a:lnTo>
                        <a:pt x="285" y="1976"/>
                      </a:lnTo>
                      <a:lnTo>
                        <a:pt x="230" y="1906"/>
                      </a:lnTo>
                      <a:lnTo>
                        <a:pt x="179" y="1831"/>
                      </a:lnTo>
                      <a:lnTo>
                        <a:pt x="134" y="1752"/>
                      </a:lnTo>
                      <a:lnTo>
                        <a:pt x="96" y="1670"/>
                      </a:lnTo>
                      <a:lnTo>
                        <a:pt x="63" y="1585"/>
                      </a:lnTo>
                      <a:lnTo>
                        <a:pt x="36" y="1496"/>
                      </a:lnTo>
                      <a:lnTo>
                        <a:pt x="18" y="1406"/>
                      </a:lnTo>
                      <a:lnTo>
                        <a:pt x="5" y="1313"/>
                      </a:lnTo>
                      <a:lnTo>
                        <a:pt x="0" y="1217"/>
                      </a:lnTo>
                      <a:lnTo>
                        <a:pt x="2" y="1113"/>
                      </a:lnTo>
                      <a:lnTo>
                        <a:pt x="14" y="1013"/>
                      </a:lnTo>
                      <a:lnTo>
                        <a:pt x="33" y="916"/>
                      </a:lnTo>
                      <a:lnTo>
                        <a:pt x="60" y="821"/>
                      </a:lnTo>
                      <a:lnTo>
                        <a:pt x="94" y="731"/>
                      </a:lnTo>
                      <a:lnTo>
                        <a:pt x="136" y="643"/>
                      </a:lnTo>
                      <a:lnTo>
                        <a:pt x="184" y="558"/>
                      </a:lnTo>
                      <a:lnTo>
                        <a:pt x="239" y="479"/>
                      </a:lnTo>
                      <a:lnTo>
                        <a:pt x="296" y="410"/>
                      </a:lnTo>
                      <a:lnTo>
                        <a:pt x="357" y="345"/>
                      </a:lnTo>
                      <a:lnTo>
                        <a:pt x="423" y="284"/>
                      </a:lnTo>
                      <a:lnTo>
                        <a:pt x="494" y="229"/>
                      </a:lnTo>
                      <a:lnTo>
                        <a:pt x="568" y="178"/>
                      </a:lnTo>
                      <a:lnTo>
                        <a:pt x="647" y="134"/>
                      </a:lnTo>
                      <a:lnTo>
                        <a:pt x="729" y="95"/>
                      </a:lnTo>
                      <a:lnTo>
                        <a:pt x="815" y="62"/>
                      </a:lnTo>
                      <a:lnTo>
                        <a:pt x="904" y="37"/>
                      </a:lnTo>
                      <a:lnTo>
                        <a:pt x="996" y="17"/>
                      </a:lnTo>
                      <a:lnTo>
                        <a:pt x="1089" y="6"/>
                      </a:lnTo>
                      <a:lnTo>
                        <a:pt x="1185" y="0"/>
                      </a:lnTo>
                      <a:close/>
                    </a:path>
                  </a:pathLst>
                </a:custGeom>
                <a:solidFill>
                  <a:srgbClr val="C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grpSp>
      <p:grpSp>
        <p:nvGrpSpPr>
          <p:cNvPr id="639" name="Group 638"/>
          <p:cNvGrpSpPr/>
          <p:nvPr/>
        </p:nvGrpSpPr>
        <p:grpSpPr>
          <a:xfrm>
            <a:off x="5681660" y="3214684"/>
            <a:ext cx="1032216" cy="1594215"/>
            <a:chOff x="5495122" y="4975535"/>
            <a:chExt cx="1032216" cy="1594215"/>
          </a:xfrm>
        </p:grpSpPr>
        <p:grpSp>
          <p:nvGrpSpPr>
            <p:cNvPr id="626" name="Group 625"/>
            <p:cNvGrpSpPr>
              <a:grpSpLocks noChangeAspect="1"/>
            </p:cNvGrpSpPr>
            <p:nvPr/>
          </p:nvGrpSpPr>
          <p:grpSpPr>
            <a:xfrm>
              <a:off x="5500161" y="5225300"/>
              <a:ext cx="1027177" cy="1344450"/>
              <a:chOff x="2610902" y="4029243"/>
              <a:chExt cx="1259090" cy="1647998"/>
            </a:xfrm>
          </p:grpSpPr>
          <p:pic>
            <p:nvPicPr>
              <p:cNvPr id="632" name="Picture 5"/>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729118" y="4029243"/>
                <a:ext cx="697940" cy="959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33" name="TextBox 632"/>
              <p:cNvSpPr txBox="1"/>
              <p:nvPr/>
            </p:nvSpPr>
            <p:spPr>
              <a:xfrm>
                <a:off x="2610902" y="5245490"/>
                <a:ext cx="1259090" cy="431751"/>
              </a:xfrm>
              <a:prstGeom prst="rect">
                <a:avLst/>
              </a:prstGeom>
              <a:noFill/>
            </p:spPr>
            <p:txBody>
              <a:bodyPr wrap="square" lIns="0" tIns="0" rIns="0" bIns="0" rtlCol="0">
                <a:spAutoFit/>
              </a:bodyPr>
              <a:lstStyle/>
              <a:p>
                <a:pPr algn="ctr"/>
                <a:r>
                  <a:rPr lang="en-US" sz="1122" b="1" dirty="0">
                    <a:latin typeface="Segoe UI Light" pitchFamily="34" charset="0"/>
                  </a:rPr>
                  <a:t>Remote Desktop Gateway</a:t>
                </a:r>
              </a:p>
            </p:txBody>
          </p:sp>
        </p:grpSp>
        <p:grpSp>
          <p:nvGrpSpPr>
            <p:cNvPr id="638" name="Group 637"/>
            <p:cNvGrpSpPr/>
            <p:nvPr/>
          </p:nvGrpSpPr>
          <p:grpSpPr>
            <a:xfrm>
              <a:off x="5495122" y="4975535"/>
              <a:ext cx="847669" cy="1159902"/>
              <a:chOff x="5495122" y="4975535"/>
              <a:chExt cx="847669" cy="1159902"/>
            </a:xfrm>
          </p:grpSpPr>
          <p:grpSp>
            <p:nvGrpSpPr>
              <p:cNvPr id="94" name="Group 93"/>
              <p:cNvGrpSpPr/>
              <p:nvPr/>
            </p:nvGrpSpPr>
            <p:grpSpPr>
              <a:xfrm>
                <a:off x="5661488" y="4975535"/>
                <a:ext cx="681303" cy="1159902"/>
                <a:chOff x="5604890" y="4975535"/>
                <a:chExt cx="681303" cy="1159902"/>
              </a:xfrm>
            </p:grpSpPr>
            <p:sp>
              <p:nvSpPr>
                <p:cNvPr id="628" name="Freeform 30"/>
                <p:cNvSpPr>
                  <a:spLocks noEditPoints="1"/>
                </p:cNvSpPr>
                <p:nvPr/>
              </p:nvSpPr>
              <p:spPr bwMode="auto">
                <a:xfrm>
                  <a:off x="5604890" y="4975535"/>
                  <a:ext cx="471753" cy="902727"/>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4" name="Freeform 30"/>
                <p:cNvSpPr>
                  <a:spLocks noEditPoints="1"/>
                </p:cNvSpPr>
                <p:nvPr/>
              </p:nvSpPr>
              <p:spPr bwMode="auto">
                <a:xfrm>
                  <a:off x="5700140" y="5089835"/>
                  <a:ext cx="471753" cy="902727"/>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5" name="Freeform 30"/>
                <p:cNvSpPr>
                  <a:spLocks noEditPoints="1"/>
                </p:cNvSpPr>
                <p:nvPr/>
              </p:nvSpPr>
              <p:spPr bwMode="auto">
                <a:xfrm>
                  <a:off x="5814440" y="5232710"/>
                  <a:ext cx="471753" cy="902727"/>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37" name="Group 636"/>
              <p:cNvGrpSpPr/>
              <p:nvPr/>
            </p:nvGrpSpPr>
            <p:grpSpPr>
              <a:xfrm>
                <a:off x="5495122" y="5348479"/>
                <a:ext cx="448286" cy="612746"/>
                <a:chOff x="5495122" y="5348479"/>
                <a:chExt cx="448286" cy="612746"/>
              </a:xfrm>
            </p:grpSpPr>
            <p:sp>
              <p:nvSpPr>
                <p:cNvPr id="636" name="Rectangle 635"/>
                <p:cNvSpPr/>
                <p:nvPr/>
              </p:nvSpPr>
              <p:spPr bwMode="auto">
                <a:xfrm>
                  <a:off x="5566202" y="5645787"/>
                  <a:ext cx="253652" cy="23247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nvGrpSpPr>
                <p:cNvPr id="629" name="Group 19"/>
                <p:cNvGrpSpPr>
                  <a:grpSpLocks noChangeAspect="1"/>
                </p:cNvGrpSpPr>
                <p:nvPr/>
              </p:nvGrpSpPr>
              <p:grpSpPr bwMode="auto">
                <a:xfrm rot="924784">
                  <a:off x="5495122" y="5348479"/>
                  <a:ext cx="448286" cy="612746"/>
                  <a:chOff x="3714" y="2362"/>
                  <a:chExt cx="169" cy="231"/>
                </a:xfrm>
                <a:solidFill>
                  <a:schemeClr val="accent3"/>
                </a:solidFill>
              </p:grpSpPr>
              <p:sp>
                <p:nvSpPr>
                  <p:cNvPr id="630" name="Freeform 20"/>
                  <p:cNvSpPr>
                    <a:spLocks noEditPoints="1"/>
                  </p:cNvSpPr>
                  <p:nvPr/>
                </p:nvSpPr>
                <p:spPr bwMode="auto">
                  <a:xfrm>
                    <a:off x="3714" y="2461"/>
                    <a:ext cx="169" cy="132"/>
                  </a:xfrm>
                  <a:custGeom>
                    <a:avLst/>
                    <a:gdLst>
                      <a:gd name="T0" fmla="*/ 587 w 663"/>
                      <a:gd name="T1" fmla="*/ 1 h 517"/>
                      <a:gd name="T2" fmla="*/ 575 w 663"/>
                      <a:gd name="T3" fmla="*/ 1 h 517"/>
                      <a:gd name="T4" fmla="*/ 575 w 663"/>
                      <a:gd name="T5" fmla="*/ 0 h 517"/>
                      <a:gd name="T6" fmla="*/ 481 w 663"/>
                      <a:gd name="T7" fmla="*/ 0 h 517"/>
                      <a:gd name="T8" fmla="*/ 481 w 663"/>
                      <a:gd name="T9" fmla="*/ 1 h 517"/>
                      <a:gd name="T10" fmla="*/ 177 w 663"/>
                      <a:gd name="T11" fmla="*/ 1 h 517"/>
                      <a:gd name="T12" fmla="*/ 177 w 663"/>
                      <a:gd name="T13" fmla="*/ 0 h 517"/>
                      <a:gd name="T14" fmla="*/ 83 w 663"/>
                      <a:gd name="T15" fmla="*/ 0 h 517"/>
                      <a:gd name="T16" fmla="*/ 83 w 663"/>
                      <a:gd name="T17" fmla="*/ 1 h 517"/>
                      <a:gd name="T18" fmla="*/ 77 w 663"/>
                      <a:gd name="T19" fmla="*/ 1 h 517"/>
                      <a:gd name="T20" fmla="*/ 0 w 663"/>
                      <a:gd name="T21" fmla="*/ 77 h 517"/>
                      <a:gd name="T22" fmla="*/ 0 w 663"/>
                      <a:gd name="T23" fmla="*/ 440 h 517"/>
                      <a:gd name="T24" fmla="*/ 77 w 663"/>
                      <a:gd name="T25" fmla="*/ 517 h 517"/>
                      <a:gd name="T26" fmla="*/ 587 w 663"/>
                      <a:gd name="T27" fmla="*/ 517 h 517"/>
                      <a:gd name="T28" fmla="*/ 663 w 663"/>
                      <a:gd name="T29" fmla="*/ 440 h 517"/>
                      <a:gd name="T30" fmla="*/ 663 w 663"/>
                      <a:gd name="T31" fmla="*/ 77 h 517"/>
                      <a:gd name="T32" fmla="*/ 587 w 663"/>
                      <a:gd name="T33" fmla="*/ 1 h 517"/>
                      <a:gd name="T34" fmla="*/ 357 w 663"/>
                      <a:gd name="T35" fmla="*/ 279 h 517"/>
                      <a:gd name="T36" fmla="*/ 357 w 663"/>
                      <a:gd name="T37" fmla="*/ 374 h 517"/>
                      <a:gd name="T38" fmla="*/ 295 w 663"/>
                      <a:gd name="T39" fmla="*/ 374 h 517"/>
                      <a:gd name="T40" fmla="*/ 295 w 663"/>
                      <a:gd name="T41" fmla="*/ 279 h 517"/>
                      <a:gd name="T42" fmla="*/ 257 w 663"/>
                      <a:gd name="T43" fmla="*/ 217 h 517"/>
                      <a:gd name="T44" fmla="*/ 326 w 663"/>
                      <a:gd name="T45" fmla="*/ 147 h 517"/>
                      <a:gd name="T46" fmla="*/ 396 w 663"/>
                      <a:gd name="T47" fmla="*/ 217 h 517"/>
                      <a:gd name="T48" fmla="*/ 357 w 663"/>
                      <a:gd name="T49" fmla="*/ 279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517">
                        <a:moveTo>
                          <a:pt x="587" y="1"/>
                        </a:moveTo>
                        <a:cubicBezTo>
                          <a:pt x="575" y="1"/>
                          <a:pt x="575" y="1"/>
                          <a:pt x="575" y="1"/>
                        </a:cubicBezTo>
                        <a:cubicBezTo>
                          <a:pt x="575" y="0"/>
                          <a:pt x="575" y="0"/>
                          <a:pt x="575" y="0"/>
                        </a:cubicBezTo>
                        <a:cubicBezTo>
                          <a:pt x="481" y="0"/>
                          <a:pt x="481" y="0"/>
                          <a:pt x="481" y="0"/>
                        </a:cubicBezTo>
                        <a:cubicBezTo>
                          <a:pt x="481" y="1"/>
                          <a:pt x="481" y="1"/>
                          <a:pt x="481" y="1"/>
                        </a:cubicBezTo>
                        <a:cubicBezTo>
                          <a:pt x="177" y="1"/>
                          <a:pt x="177" y="1"/>
                          <a:pt x="177" y="1"/>
                        </a:cubicBezTo>
                        <a:cubicBezTo>
                          <a:pt x="177" y="0"/>
                          <a:pt x="177" y="0"/>
                          <a:pt x="177" y="0"/>
                        </a:cubicBezTo>
                        <a:cubicBezTo>
                          <a:pt x="83" y="0"/>
                          <a:pt x="83" y="0"/>
                          <a:pt x="83" y="0"/>
                        </a:cubicBezTo>
                        <a:cubicBezTo>
                          <a:pt x="83" y="1"/>
                          <a:pt x="83" y="1"/>
                          <a:pt x="83" y="1"/>
                        </a:cubicBezTo>
                        <a:cubicBezTo>
                          <a:pt x="77" y="1"/>
                          <a:pt x="77" y="1"/>
                          <a:pt x="77" y="1"/>
                        </a:cubicBezTo>
                        <a:cubicBezTo>
                          <a:pt x="35" y="1"/>
                          <a:pt x="0" y="35"/>
                          <a:pt x="0" y="77"/>
                        </a:cubicBezTo>
                        <a:cubicBezTo>
                          <a:pt x="0" y="440"/>
                          <a:pt x="0" y="440"/>
                          <a:pt x="0" y="440"/>
                        </a:cubicBezTo>
                        <a:cubicBezTo>
                          <a:pt x="0" y="483"/>
                          <a:pt x="35" y="517"/>
                          <a:pt x="77" y="517"/>
                        </a:cubicBezTo>
                        <a:cubicBezTo>
                          <a:pt x="587" y="517"/>
                          <a:pt x="587" y="517"/>
                          <a:pt x="587" y="517"/>
                        </a:cubicBezTo>
                        <a:cubicBezTo>
                          <a:pt x="629" y="517"/>
                          <a:pt x="663" y="483"/>
                          <a:pt x="663" y="440"/>
                        </a:cubicBezTo>
                        <a:cubicBezTo>
                          <a:pt x="663" y="77"/>
                          <a:pt x="663" y="77"/>
                          <a:pt x="663" y="77"/>
                        </a:cubicBezTo>
                        <a:cubicBezTo>
                          <a:pt x="663" y="35"/>
                          <a:pt x="629" y="1"/>
                          <a:pt x="587" y="1"/>
                        </a:cubicBezTo>
                        <a:close/>
                        <a:moveTo>
                          <a:pt x="357" y="279"/>
                        </a:moveTo>
                        <a:cubicBezTo>
                          <a:pt x="357" y="374"/>
                          <a:pt x="357" y="374"/>
                          <a:pt x="357" y="374"/>
                        </a:cubicBezTo>
                        <a:cubicBezTo>
                          <a:pt x="295" y="374"/>
                          <a:pt x="295" y="374"/>
                          <a:pt x="295" y="374"/>
                        </a:cubicBezTo>
                        <a:cubicBezTo>
                          <a:pt x="295" y="279"/>
                          <a:pt x="295" y="279"/>
                          <a:pt x="295" y="279"/>
                        </a:cubicBezTo>
                        <a:cubicBezTo>
                          <a:pt x="272" y="268"/>
                          <a:pt x="257" y="244"/>
                          <a:pt x="257" y="217"/>
                        </a:cubicBezTo>
                        <a:cubicBezTo>
                          <a:pt x="257" y="178"/>
                          <a:pt x="288" y="147"/>
                          <a:pt x="326" y="147"/>
                        </a:cubicBezTo>
                        <a:cubicBezTo>
                          <a:pt x="365" y="147"/>
                          <a:pt x="396" y="178"/>
                          <a:pt x="396" y="217"/>
                        </a:cubicBezTo>
                        <a:cubicBezTo>
                          <a:pt x="396" y="244"/>
                          <a:pt x="380" y="268"/>
                          <a:pt x="357" y="2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1" name="Freeform 21"/>
                  <p:cNvSpPr>
                    <a:spLocks/>
                  </p:cNvSpPr>
                  <p:nvPr/>
                </p:nvSpPr>
                <p:spPr bwMode="auto">
                  <a:xfrm>
                    <a:off x="3735" y="2362"/>
                    <a:ext cx="125" cy="95"/>
                  </a:xfrm>
                  <a:custGeom>
                    <a:avLst/>
                    <a:gdLst>
                      <a:gd name="T0" fmla="*/ 0 w 492"/>
                      <a:gd name="T1" fmla="*/ 370 h 370"/>
                      <a:gd name="T2" fmla="*/ 94 w 492"/>
                      <a:gd name="T3" fmla="*/ 370 h 370"/>
                      <a:gd name="T4" fmla="*/ 94 w 492"/>
                      <a:gd name="T5" fmla="*/ 238 h 370"/>
                      <a:gd name="T6" fmla="*/ 94 w 492"/>
                      <a:gd name="T7" fmla="*/ 238 h 370"/>
                      <a:gd name="T8" fmla="*/ 94 w 492"/>
                      <a:gd name="T9" fmla="*/ 237 h 370"/>
                      <a:gd name="T10" fmla="*/ 133 w 492"/>
                      <a:gd name="T11" fmla="*/ 134 h 370"/>
                      <a:gd name="T12" fmla="*/ 253 w 492"/>
                      <a:gd name="T13" fmla="*/ 93 h 370"/>
                      <a:gd name="T14" fmla="*/ 328 w 492"/>
                      <a:gd name="T15" fmla="*/ 113 h 370"/>
                      <a:gd name="T16" fmla="*/ 398 w 492"/>
                      <a:gd name="T17" fmla="*/ 239 h 370"/>
                      <a:gd name="T18" fmla="*/ 398 w 492"/>
                      <a:gd name="T19" fmla="*/ 370 h 370"/>
                      <a:gd name="T20" fmla="*/ 492 w 492"/>
                      <a:gd name="T21" fmla="*/ 370 h 370"/>
                      <a:gd name="T22" fmla="*/ 492 w 492"/>
                      <a:gd name="T23" fmla="*/ 239 h 370"/>
                      <a:gd name="T24" fmla="*/ 370 w 492"/>
                      <a:gd name="T25" fmla="*/ 29 h 370"/>
                      <a:gd name="T26" fmla="*/ 253 w 492"/>
                      <a:gd name="T27" fmla="*/ 0 h 370"/>
                      <a:gd name="T28" fmla="*/ 65 w 492"/>
                      <a:gd name="T29" fmla="*/ 70 h 370"/>
                      <a:gd name="T30" fmla="*/ 0 w 492"/>
                      <a:gd name="T31" fmla="*/ 239 h 370"/>
                      <a:gd name="T32" fmla="*/ 0 w 492"/>
                      <a:gd name="T33"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2" h="370">
                        <a:moveTo>
                          <a:pt x="0" y="370"/>
                        </a:moveTo>
                        <a:cubicBezTo>
                          <a:pt x="94" y="370"/>
                          <a:pt x="94" y="370"/>
                          <a:pt x="94" y="370"/>
                        </a:cubicBezTo>
                        <a:cubicBezTo>
                          <a:pt x="94" y="238"/>
                          <a:pt x="94" y="238"/>
                          <a:pt x="94" y="238"/>
                        </a:cubicBezTo>
                        <a:cubicBezTo>
                          <a:pt x="94" y="238"/>
                          <a:pt x="94" y="238"/>
                          <a:pt x="94" y="238"/>
                        </a:cubicBezTo>
                        <a:cubicBezTo>
                          <a:pt x="94" y="237"/>
                          <a:pt x="94" y="237"/>
                          <a:pt x="94" y="237"/>
                        </a:cubicBezTo>
                        <a:cubicBezTo>
                          <a:pt x="94" y="236"/>
                          <a:pt x="93" y="175"/>
                          <a:pt x="133" y="134"/>
                        </a:cubicBezTo>
                        <a:cubicBezTo>
                          <a:pt x="160" y="107"/>
                          <a:pt x="200" y="93"/>
                          <a:pt x="253" y="93"/>
                        </a:cubicBezTo>
                        <a:cubicBezTo>
                          <a:pt x="253" y="93"/>
                          <a:pt x="291" y="94"/>
                          <a:pt x="328" y="113"/>
                        </a:cubicBezTo>
                        <a:cubicBezTo>
                          <a:pt x="375" y="137"/>
                          <a:pt x="398" y="178"/>
                          <a:pt x="398" y="239"/>
                        </a:cubicBezTo>
                        <a:cubicBezTo>
                          <a:pt x="398" y="370"/>
                          <a:pt x="398" y="370"/>
                          <a:pt x="398" y="370"/>
                        </a:cubicBezTo>
                        <a:cubicBezTo>
                          <a:pt x="492" y="370"/>
                          <a:pt x="492" y="370"/>
                          <a:pt x="492" y="370"/>
                        </a:cubicBezTo>
                        <a:cubicBezTo>
                          <a:pt x="492" y="239"/>
                          <a:pt x="492" y="239"/>
                          <a:pt x="492" y="239"/>
                        </a:cubicBezTo>
                        <a:cubicBezTo>
                          <a:pt x="492" y="116"/>
                          <a:pt x="426" y="57"/>
                          <a:pt x="370" y="29"/>
                        </a:cubicBezTo>
                        <a:cubicBezTo>
                          <a:pt x="314" y="1"/>
                          <a:pt x="259" y="0"/>
                          <a:pt x="253" y="0"/>
                        </a:cubicBezTo>
                        <a:cubicBezTo>
                          <a:pt x="173" y="0"/>
                          <a:pt x="110" y="23"/>
                          <a:pt x="65" y="70"/>
                        </a:cubicBezTo>
                        <a:cubicBezTo>
                          <a:pt x="1" y="137"/>
                          <a:pt x="0" y="227"/>
                          <a:pt x="0" y="239"/>
                        </a:cubicBezTo>
                        <a:lnTo>
                          <a:pt x="0"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grpSp>
      <p:grpSp>
        <p:nvGrpSpPr>
          <p:cNvPr id="670" name="Group 669"/>
          <p:cNvGrpSpPr/>
          <p:nvPr/>
        </p:nvGrpSpPr>
        <p:grpSpPr>
          <a:xfrm>
            <a:off x="10509850" y="1894462"/>
            <a:ext cx="1443463" cy="1382891"/>
            <a:chOff x="5885237" y="5117822"/>
            <a:chExt cx="1443463" cy="1382891"/>
          </a:xfrm>
        </p:grpSpPr>
        <p:sp>
          <p:nvSpPr>
            <p:cNvPr id="642" name="TextBox 641"/>
            <p:cNvSpPr txBox="1"/>
            <p:nvPr/>
          </p:nvSpPr>
          <p:spPr>
            <a:xfrm>
              <a:off x="5891811" y="6148487"/>
              <a:ext cx="1430729" cy="352226"/>
            </a:xfrm>
            <a:prstGeom prst="rect">
              <a:avLst/>
            </a:prstGeom>
            <a:noFill/>
          </p:spPr>
          <p:txBody>
            <a:bodyPr wrap="square" lIns="0" tIns="0" rIns="0" bIns="0" rtlCol="0">
              <a:spAutoFit/>
            </a:bodyPr>
            <a:lstStyle/>
            <a:p>
              <a:pPr algn="ctr"/>
              <a:r>
                <a:rPr lang="en-US" sz="1122" b="1" dirty="0">
                  <a:latin typeface="Segoe UI Light" pitchFamily="34" charset="0"/>
                </a:rPr>
                <a:t>Remote Desktop  Virtualization Host</a:t>
              </a:r>
            </a:p>
          </p:txBody>
        </p:sp>
        <p:grpSp>
          <p:nvGrpSpPr>
            <p:cNvPr id="669" name="Group 668"/>
            <p:cNvGrpSpPr/>
            <p:nvPr/>
          </p:nvGrpSpPr>
          <p:grpSpPr>
            <a:xfrm>
              <a:off x="5885237" y="5117822"/>
              <a:ext cx="1443463" cy="976587"/>
              <a:chOff x="5885237" y="5117822"/>
              <a:chExt cx="1443463" cy="976587"/>
            </a:xfrm>
          </p:grpSpPr>
          <p:grpSp>
            <p:nvGrpSpPr>
              <p:cNvPr id="653" name="Group 652"/>
              <p:cNvGrpSpPr/>
              <p:nvPr/>
            </p:nvGrpSpPr>
            <p:grpSpPr>
              <a:xfrm>
                <a:off x="5885237" y="5117822"/>
                <a:ext cx="1103494" cy="674966"/>
                <a:chOff x="5866030" y="6207074"/>
                <a:chExt cx="1103494" cy="674966"/>
              </a:xfrm>
            </p:grpSpPr>
            <p:sp>
              <p:nvSpPr>
                <p:cNvPr id="652" name="Rounded Rectangle 651"/>
                <p:cNvSpPr/>
                <p:nvPr/>
              </p:nvSpPr>
              <p:spPr bwMode="auto">
                <a:xfrm>
                  <a:off x="5942986" y="6305550"/>
                  <a:ext cx="972456" cy="500204"/>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nvGrpSpPr>
                <p:cNvPr id="649" name="Group 648"/>
                <p:cNvGrpSpPr/>
                <p:nvPr/>
              </p:nvGrpSpPr>
              <p:grpSpPr>
                <a:xfrm>
                  <a:off x="5866030" y="6207074"/>
                  <a:ext cx="1103494" cy="674966"/>
                  <a:chOff x="10580475" y="2249664"/>
                  <a:chExt cx="1103494" cy="674966"/>
                </a:xfrm>
              </p:grpSpPr>
              <p:sp>
                <p:nvSpPr>
                  <p:cNvPr id="650" name="Freeform 6"/>
                  <p:cNvSpPr>
                    <a:spLocks noEditPoints="1"/>
                  </p:cNvSpPr>
                  <p:nvPr/>
                </p:nvSpPr>
                <p:spPr bwMode="auto">
                  <a:xfrm>
                    <a:off x="10659795" y="2318928"/>
                    <a:ext cx="970092" cy="538941"/>
                  </a:xfrm>
                  <a:custGeom>
                    <a:avLst/>
                    <a:gdLst>
                      <a:gd name="T0" fmla="*/ 2214 w 3169"/>
                      <a:gd name="T1" fmla="*/ 1274 h 1760"/>
                      <a:gd name="T2" fmla="*/ 290 w 3169"/>
                      <a:gd name="T3" fmla="*/ 1050 h 1760"/>
                      <a:gd name="T4" fmla="*/ 2982 w 3169"/>
                      <a:gd name="T5" fmla="*/ 1601 h 1760"/>
                      <a:gd name="T6" fmla="*/ 180 w 3169"/>
                      <a:gd name="T7" fmla="*/ 945 h 1760"/>
                      <a:gd name="T8" fmla="*/ 61 w 3169"/>
                      <a:gd name="T9" fmla="*/ 1012 h 1760"/>
                      <a:gd name="T10" fmla="*/ 55 w 3169"/>
                      <a:gd name="T11" fmla="*/ 1589 h 1760"/>
                      <a:gd name="T12" fmla="*/ 149 w 3169"/>
                      <a:gd name="T13" fmla="*/ 1689 h 1760"/>
                      <a:gd name="T14" fmla="*/ 340 w 3169"/>
                      <a:gd name="T15" fmla="*/ 1712 h 1760"/>
                      <a:gd name="T16" fmla="*/ 2933 w 3169"/>
                      <a:gd name="T17" fmla="*/ 1708 h 1760"/>
                      <a:gd name="T18" fmla="*/ 3079 w 3169"/>
                      <a:gd name="T19" fmla="*/ 1653 h 1760"/>
                      <a:gd name="T20" fmla="*/ 3120 w 3169"/>
                      <a:gd name="T21" fmla="*/ 1093 h 1760"/>
                      <a:gd name="T22" fmla="*/ 3063 w 3169"/>
                      <a:gd name="T23" fmla="*/ 966 h 1760"/>
                      <a:gd name="T24" fmla="*/ 2879 w 3169"/>
                      <a:gd name="T25" fmla="*/ 938 h 1760"/>
                      <a:gd name="T26" fmla="*/ 288 w 3169"/>
                      <a:gd name="T27" fmla="*/ 891 h 1760"/>
                      <a:gd name="T28" fmla="*/ 2901 w 3169"/>
                      <a:gd name="T29" fmla="*/ 891 h 1760"/>
                      <a:gd name="T30" fmla="*/ 3038 w 3169"/>
                      <a:gd name="T31" fmla="*/ 905 h 1760"/>
                      <a:gd name="T32" fmla="*/ 3144 w 3169"/>
                      <a:gd name="T33" fmla="*/ 981 h 1760"/>
                      <a:gd name="T34" fmla="*/ 3166 w 3169"/>
                      <a:gd name="T35" fmla="*/ 1566 h 1760"/>
                      <a:gd name="T36" fmla="*/ 3088 w 3169"/>
                      <a:gd name="T37" fmla="*/ 1708 h 1760"/>
                      <a:gd name="T38" fmla="*/ 2934 w 3169"/>
                      <a:gd name="T39" fmla="*/ 1756 h 1760"/>
                      <a:gd name="T40" fmla="*/ 379 w 3169"/>
                      <a:gd name="T41" fmla="*/ 1760 h 1760"/>
                      <a:gd name="T42" fmla="*/ 205 w 3169"/>
                      <a:gd name="T43" fmla="*/ 1752 h 1760"/>
                      <a:gd name="T44" fmla="*/ 60 w 3169"/>
                      <a:gd name="T45" fmla="*/ 1693 h 1760"/>
                      <a:gd name="T46" fmla="*/ 0 w 3169"/>
                      <a:gd name="T47" fmla="*/ 1529 h 1760"/>
                      <a:gd name="T48" fmla="*/ 37 w 3169"/>
                      <a:gd name="T49" fmla="*/ 962 h 1760"/>
                      <a:gd name="T50" fmla="*/ 152 w 3169"/>
                      <a:gd name="T51" fmla="*/ 900 h 1760"/>
                      <a:gd name="T52" fmla="*/ 288 w 3169"/>
                      <a:gd name="T53" fmla="*/ 891 h 1760"/>
                      <a:gd name="T54" fmla="*/ 2165 w 3169"/>
                      <a:gd name="T55" fmla="*/ 303 h 1760"/>
                      <a:gd name="T56" fmla="*/ 289 w 3169"/>
                      <a:gd name="T57" fmla="*/ 149 h 1760"/>
                      <a:gd name="T58" fmla="*/ 2980 w 3169"/>
                      <a:gd name="T59" fmla="*/ 700 h 1760"/>
                      <a:gd name="T60" fmla="*/ 180 w 3169"/>
                      <a:gd name="T61" fmla="*/ 54 h 1760"/>
                      <a:gd name="T62" fmla="*/ 61 w 3169"/>
                      <a:gd name="T63" fmla="*/ 123 h 1760"/>
                      <a:gd name="T64" fmla="*/ 55 w 3169"/>
                      <a:gd name="T65" fmla="*/ 699 h 1760"/>
                      <a:gd name="T66" fmla="*/ 149 w 3169"/>
                      <a:gd name="T67" fmla="*/ 799 h 1760"/>
                      <a:gd name="T68" fmla="*/ 340 w 3169"/>
                      <a:gd name="T69" fmla="*/ 822 h 1760"/>
                      <a:gd name="T70" fmla="*/ 2933 w 3169"/>
                      <a:gd name="T71" fmla="*/ 817 h 1760"/>
                      <a:gd name="T72" fmla="*/ 3079 w 3169"/>
                      <a:gd name="T73" fmla="*/ 762 h 1760"/>
                      <a:gd name="T74" fmla="*/ 3120 w 3169"/>
                      <a:gd name="T75" fmla="*/ 202 h 1760"/>
                      <a:gd name="T76" fmla="*/ 3063 w 3169"/>
                      <a:gd name="T77" fmla="*/ 76 h 1760"/>
                      <a:gd name="T78" fmla="*/ 2879 w 3169"/>
                      <a:gd name="T79" fmla="*/ 49 h 1760"/>
                      <a:gd name="T80" fmla="*/ 288 w 3169"/>
                      <a:gd name="T81" fmla="*/ 0 h 1760"/>
                      <a:gd name="T82" fmla="*/ 2901 w 3169"/>
                      <a:gd name="T83" fmla="*/ 0 h 1760"/>
                      <a:gd name="T84" fmla="*/ 3038 w 3169"/>
                      <a:gd name="T85" fmla="*/ 14 h 1760"/>
                      <a:gd name="T86" fmla="*/ 3144 w 3169"/>
                      <a:gd name="T87" fmla="*/ 91 h 1760"/>
                      <a:gd name="T88" fmla="*/ 3166 w 3169"/>
                      <a:gd name="T89" fmla="*/ 675 h 1760"/>
                      <a:gd name="T90" fmla="*/ 3088 w 3169"/>
                      <a:gd name="T91" fmla="*/ 817 h 1760"/>
                      <a:gd name="T92" fmla="*/ 2934 w 3169"/>
                      <a:gd name="T93" fmla="*/ 865 h 1760"/>
                      <a:gd name="T94" fmla="*/ 379 w 3169"/>
                      <a:gd name="T95" fmla="*/ 870 h 1760"/>
                      <a:gd name="T96" fmla="*/ 205 w 3169"/>
                      <a:gd name="T97" fmla="*/ 861 h 1760"/>
                      <a:gd name="T98" fmla="*/ 60 w 3169"/>
                      <a:gd name="T99" fmla="*/ 802 h 1760"/>
                      <a:gd name="T100" fmla="*/ 0 w 3169"/>
                      <a:gd name="T101" fmla="*/ 639 h 1760"/>
                      <a:gd name="T102" fmla="*/ 37 w 3169"/>
                      <a:gd name="T103" fmla="*/ 71 h 1760"/>
                      <a:gd name="T104" fmla="*/ 152 w 3169"/>
                      <a:gd name="T105" fmla="*/ 9 h 1760"/>
                      <a:gd name="T106" fmla="*/ 288 w 3169"/>
                      <a:gd name="T10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69" h="1760">
                        <a:moveTo>
                          <a:pt x="2214" y="1484"/>
                        </a:moveTo>
                        <a:lnTo>
                          <a:pt x="2795" y="1484"/>
                        </a:lnTo>
                        <a:lnTo>
                          <a:pt x="2795" y="1569"/>
                        </a:lnTo>
                        <a:lnTo>
                          <a:pt x="2214" y="1569"/>
                        </a:lnTo>
                        <a:lnTo>
                          <a:pt x="2214" y="1484"/>
                        </a:lnTo>
                        <a:close/>
                        <a:moveTo>
                          <a:pt x="2214" y="1274"/>
                        </a:moveTo>
                        <a:lnTo>
                          <a:pt x="2795" y="1274"/>
                        </a:lnTo>
                        <a:lnTo>
                          <a:pt x="2795" y="1366"/>
                        </a:lnTo>
                        <a:lnTo>
                          <a:pt x="2214" y="1366"/>
                        </a:lnTo>
                        <a:lnTo>
                          <a:pt x="2214" y="1274"/>
                        </a:lnTo>
                        <a:close/>
                        <a:moveTo>
                          <a:pt x="198" y="1050"/>
                        </a:moveTo>
                        <a:lnTo>
                          <a:pt x="290" y="1050"/>
                        </a:lnTo>
                        <a:lnTo>
                          <a:pt x="290" y="1631"/>
                        </a:lnTo>
                        <a:lnTo>
                          <a:pt x="198" y="1631"/>
                        </a:lnTo>
                        <a:lnTo>
                          <a:pt x="198" y="1050"/>
                        </a:lnTo>
                        <a:close/>
                        <a:moveTo>
                          <a:pt x="2889" y="1020"/>
                        </a:moveTo>
                        <a:lnTo>
                          <a:pt x="2982" y="1020"/>
                        </a:lnTo>
                        <a:lnTo>
                          <a:pt x="2982" y="1601"/>
                        </a:lnTo>
                        <a:lnTo>
                          <a:pt x="2889" y="1601"/>
                        </a:lnTo>
                        <a:lnTo>
                          <a:pt x="2889" y="1020"/>
                        </a:lnTo>
                        <a:close/>
                        <a:moveTo>
                          <a:pt x="288" y="938"/>
                        </a:moveTo>
                        <a:lnTo>
                          <a:pt x="248" y="939"/>
                        </a:lnTo>
                        <a:lnTo>
                          <a:pt x="212" y="942"/>
                        </a:lnTo>
                        <a:lnTo>
                          <a:pt x="180" y="945"/>
                        </a:lnTo>
                        <a:lnTo>
                          <a:pt x="150" y="949"/>
                        </a:lnTo>
                        <a:lnTo>
                          <a:pt x="126" y="957"/>
                        </a:lnTo>
                        <a:lnTo>
                          <a:pt x="104" y="966"/>
                        </a:lnTo>
                        <a:lnTo>
                          <a:pt x="86" y="978"/>
                        </a:lnTo>
                        <a:lnTo>
                          <a:pt x="72" y="994"/>
                        </a:lnTo>
                        <a:lnTo>
                          <a:pt x="61" y="1012"/>
                        </a:lnTo>
                        <a:lnTo>
                          <a:pt x="54" y="1035"/>
                        </a:lnTo>
                        <a:lnTo>
                          <a:pt x="49" y="1062"/>
                        </a:lnTo>
                        <a:lnTo>
                          <a:pt x="47" y="1093"/>
                        </a:lnTo>
                        <a:lnTo>
                          <a:pt x="47" y="1529"/>
                        </a:lnTo>
                        <a:lnTo>
                          <a:pt x="49" y="1561"/>
                        </a:lnTo>
                        <a:lnTo>
                          <a:pt x="55" y="1589"/>
                        </a:lnTo>
                        <a:lnTo>
                          <a:pt x="62" y="1614"/>
                        </a:lnTo>
                        <a:lnTo>
                          <a:pt x="74" y="1634"/>
                        </a:lnTo>
                        <a:lnTo>
                          <a:pt x="89" y="1653"/>
                        </a:lnTo>
                        <a:lnTo>
                          <a:pt x="106" y="1668"/>
                        </a:lnTo>
                        <a:lnTo>
                          <a:pt x="127" y="1680"/>
                        </a:lnTo>
                        <a:lnTo>
                          <a:pt x="149" y="1689"/>
                        </a:lnTo>
                        <a:lnTo>
                          <a:pt x="175" y="1697"/>
                        </a:lnTo>
                        <a:lnTo>
                          <a:pt x="204" y="1703"/>
                        </a:lnTo>
                        <a:lnTo>
                          <a:pt x="234" y="1708"/>
                        </a:lnTo>
                        <a:lnTo>
                          <a:pt x="268" y="1710"/>
                        </a:lnTo>
                        <a:lnTo>
                          <a:pt x="302" y="1712"/>
                        </a:lnTo>
                        <a:lnTo>
                          <a:pt x="340" y="1712"/>
                        </a:lnTo>
                        <a:lnTo>
                          <a:pt x="379" y="1713"/>
                        </a:lnTo>
                        <a:lnTo>
                          <a:pt x="2789" y="1713"/>
                        </a:lnTo>
                        <a:lnTo>
                          <a:pt x="2827" y="1712"/>
                        </a:lnTo>
                        <a:lnTo>
                          <a:pt x="2865" y="1712"/>
                        </a:lnTo>
                        <a:lnTo>
                          <a:pt x="2901" y="1710"/>
                        </a:lnTo>
                        <a:lnTo>
                          <a:pt x="2933" y="1708"/>
                        </a:lnTo>
                        <a:lnTo>
                          <a:pt x="2964" y="1703"/>
                        </a:lnTo>
                        <a:lnTo>
                          <a:pt x="2992" y="1697"/>
                        </a:lnTo>
                        <a:lnTo>
                          <a:pt x="3018" y="1689"/>
                        </a:lnTo>
                        <a:lnTo>
                          <a:pt x="3040" y="1680"/>
                        </a:lnTo>
                        <a:lnTo>
                          <a:pt x="3061" y="1668"/>
                        </a:lnTo>
                        <a:lnTo>
                          <a:pt x="3079" y="1653"/>
                        </a:lnTo>
                        <a:lnTo>
                          <a:pt x="3093" y="1634"/>
                        </a:lnTo>
                        <a:lnTo>
                          <a:pt x="3105" y="1614"/>
                        </a:lnTo>
                        <a:lnTo>
                          <a:pt x="3114" y="1589"/>
                        </a:lnTo>
                        <a:lnTo>
                          <a:pt x="3119" y="1561"/>
                        </a:lnTo>
                        <a:lnTo>
                          <a:pt x="3120" y="1529"/>
                        </a:lnTo>
                        <a:lnTo>
                          <a:pt x="3120" y="1093"/>
                        </a:lnTo>
                        <a:lnTo>
                          <a:pt x="3119" y="1062"/>
                        </a:lnTo>
                        <a:lnTo>
                          <a:pt x="3115" y="1035"/>
                        </a:lnTo>
                        <a:lnTo>
                          <a:pt x="3106" y="1012"/>
                        </a:lnTo>
                        <a:lnTo>
                          <a:pt x="3095" y="994"/>
                        </a:lnTo>
                        <a:lnTo>
                          <a:pt x="3081" y="978"/>
                        </a:lnTo>
                        <a:lnTo>
                          <a:pt x="3063" y="966"/>
                        </a:lnTo>
                        <a:lnTo>
                          <a:pt x="3043" y="957"/>
                        </a:lnTo>
                        <a:lnTo>
                          <a:pt x="3017" y="949"/>
                        </a:lnTo>
                        <a:lnTo>
                          <a:pt x="2989" y="945"/>
                        </a:lnTo>
                        <a:lnTo>
                          <a:pt x="2957" y="942"/>
                        </a:lnTo>
                        <a:lnTo>
                          <a:pt x="2920" y="939"/>
                        </a:lnTo>
                        <a:lnTo>
                          <a:pt x="2879" y="938"/>
                        </a:lnTo>
                        <a:lnTo>
                          <a:pt x="2836" y="939"/>
                        </a:lnTo>
                        <a:lnTo>
                          <a:pt x="2789" y="939"/>
                        </a:lnTo>
                        <a:lnTo>
                          <a:pt x="379" y="939"/>
                        </a:lnTo>
                        <a:lnTo>
                          <a:pt x="331" y="939"/>
                        </a:lnTo>
                        <a:lnTo>
                          <a:pt x="288" y="938"/>
                        </a:lnTo>
                        <a:close/>
                        <a:moveTo>
                          <a:pt x="288" y="891"/>
                        </a:moveTo>
                        <a:lnTo>
                          <a:pt x="332" y="891"/>
                        </a:lnTo>
                        <a:lnTo>
                          <a:pt x="379" y="891"/>
                        </a:lnTo>
                        <a:lnTo>
                          <a:pt x="2789" y="891"/>
                        </a:lnTo>
                        <a:lnTo>
                          <a:pt x="2836" y="891"/>
                        </a:lnTo>
                        <a:lnTo>
                          <a:pt x="2879" y="891"/>
                        </a:lnTo>
                        <a:lnTo>
                          <a:pt x="2901" y="891"/>
                        </a:lnTo>
                        <a:lnTo>
                          <a:pt x="2923" y="891"/>
                        </a:lnTo>
                        <a:lnTo>
                          <a:pt x="2947" y="892"/>
                        </a:lnTo>
                        <a:lnTo>
                          <a:pt x="2969" y="893"/>
                        </a:lnTo>
                        <a:lnTo>
                          <a:pt x="2993" y="896"/>
                        </a:lnTo>
                        <a:lnTo>
                          <a:pt x="3016" y="900"/>
                        </a:lnTo>
                        <a:lnTo>
                          <a:pt x="3038" y="905"/>
                        </a:lnTo>
                        <a:lnTo>
                          <a:pt x="3059" y="911"/>
                        </a:lnTo>
                        <a:lnTo>
                          <a:pt x="3079" y="921"/>
                        </a:lnTo>
                        <a:lnTo>
                          <a:pt x="3099" y="932"/>
                        </a:lnTo>
                        <a:lnTo>
                          <a:pt x="3115" y="946"/>
                        </a:lnTo>
                        <a:lnTo>
                          <a:pt x="3131" y="962"/>
                        </a:lnTo>
                        <a:lnTo>
                          <a:pt x="3144" y="981"/>
                        </a:lnTo>
                        <a:lnTo>
                          <a:pt x="3154" y="1004"/>
                        </a:lnTo>
                        <a:lnTo>
                          <a:pt x="3162" y="1030"/>
                        </a:lnTo>
                        <a:lnTo>
                          <a:pt x="3166" y="1060"/>
                        </a:lnTo>
                        <a:lnTo>
                          <a:pt x="3169" y="1093"/>
                        </a:lnTo>
                        <a:lnTo>
                          <a:pt x="3169" y="1529"/>
                        </a:lnTo>
                        <a:lnTo>
                          <a:pt x="3166" y="1566"/>
                        </a:lnTo>
                        <a:lnTo>
                          <a:pt x="3161" y="1598"/>
                        </a:lnTo>
                        <a:lnTo>
                          <a:pt x="3152" y="1627"/>
                        </a:lnTo>
                        <a:lnTo>
                          <a:pt x="3140" y="1652"/>
                        </a:lnTo>
                        <a:lnTo>
                          <a:pt x="3126" y="1673"/>
                        </a:lnTo>
                        <a:lnTo>
                          <a:pt x="3107" y="1693"/>
                        </a:lnTo>
                        <a:lnTo>
                          <a:pt x="3088" y="1708"/>
                        </a:lnTo>
                        <a:lnTo>
                          <a:pt x="3065" y="1720"/>
                        </a:lnTo>
                        <a:lnTo>
                          <a:pt x="3042" y="1731"/>
                        </a:lnTo>
                        <a:lnTo>
                          <a:pt x="3017" y="1740"/>
                        </a:lnTo>
                        <a:lnTo>
                          <a:pt x="2990" y="1747"/>
                        </a:lnTo>
                        <a:lnTo>
                          <a:pt x="2962" y="1752"/>
                        </a:lnTo>
                        <a:lnTo>
                          <a:pt x="2934" y="1756"/>
                        </a:lnTo>
                        <a:lnTo>
                          <a:pt x="2905" y="1758"/>
                        </a:lnTo>
                        <a:lnTo>
                          <a:pt x="2876" y="1759"/>
                        </a:lnTo>
                        <a:lnTo>
                          <a:pt x="2847" y="1760"/>
                        </a:lnTo>
                        <a:lnTo>
                          <a:pt x="2818" y="1760"/>
                        </a:lnTo>
                        <a:lnTo>
                          <a:pt x="2789" y="1760"/>
                        </a:lnTo>
                        <a:lnTo>
                          <a:pt x="379" y="1760"/>
                        </a:lnTo>
                        <a:lnTo>
                          <a:pt x="351" y="1760"/>
                        </a:lnTo>
                        <a:lnTo>
                          <a:pt x="322" y="1760"/>
                        </a:lnTo>
                        <a:lnTo>
                          <a:pt x="293" y="1759"/>
                        </a:lnTo>
                        <a:lnTo>
                          <a:pt x="262" y="1758"/>
                        </a:lnTo>
                        <a:lnTo>
                          <a:pt x="233" y="1756"/>
                        </a:lnTo>
                        <a:lnTo>
                          <a:pt x="205" y="1752"/>
                        </a:lnTo>
                        <a:lnTo>
                          <a:pt x="177" y="1747"/>
                        </a:lnTo>
                        <a:lnTo>
                          <a:pt x="152" y="1740"/>
                        </a:lnTo>
                        <a:lnTo>
                          <a:pt x="126" y="1731"/>
                        </a:lnTo>
                        <a:lnTo>
                          <a:pt x="102" y="1720"/>
                        </a:lnTo>
                        <a:lnTo>
                          <a:pt x="80" y="1708"/>
                        </a:lnTo>
                        <a:lnTo>
                          <a:pt x="60" y="1693"/>
                        </a:lnTo>
                        <a:lnTo>
                          <a:pt x="43" y="1673"/>
                        </a:lnTo>
                        <a:lnTo>
                          <a:pt x="28" y="1652"/>
                        </a:lnTo>
                        <a:lnTo>
                          <a:pt x="16" y="1627"/>
                        </a:lnTo>
                        <a:lnTo>
                          <a:pt x="6" y="1598"/>
                        </a:lnTo>
                        <a:lnTo>
                          <a:pt x="1" y="1566"/>
                        </a:lnTo>
                        <a:lnTo>
                          <a:pt x="0" y="1529"/>
                        </a:lnTo>
                        <a:lnTo>
                          <a:pt x="0" y="1093"/>
                        </a:lnTo>
                        <a:lnTo>
                          <a:pt x="1" y="1060"/>
                        </a:lnTo>
                        <a:lnTo>
                          <a:pt x="6" y="1030"/>
                        </a:lnTo>
                        <a:lnTo>
                          <a:pt x="14" y="1004"/>
                        </a:lnTo>
                        <a:lnTo>
                          <a:pt x="25" y="981"/>
                        </a:lnTo>
                        <a:lnTo>
                          <a:pt x="37" y="962"/>
                        </a:lnTo>
                        <a:lnTo>
                          <a:pt x="53" y="946"/>
                        </a:lnTo>
                        <a:lnTo>
                          <a:pt x="70" y="932"/>
                        </a:lnTo>
                        <a:lnTo>
                          <a:pt x="88" y="921"/>
                        </a:lnTo>
                        <a:lnTo>
                          <a:pt x="108" y="911"/>
                        </a:lnTo>
                        <a:lnTo>
                          <a:pt x="130" y="905"/>
                        </a:lnTo>
                        <a:lnTo>
                          <a:pt x="152" y="900"/>
                        </a:lnTo>
                        <a:lnTo>
                          <a:pt x="174" y="896"/>
                        </a:lnTo>
                        <a:lnTo>
                          <a:pt x="198" y="893"/>
                        </a:lnTo>
                        <a:lnTo>
                          <a:pt x="220" y="892"/>
                        </a:lnTo>
                        <a:lnTo>
                          <a:pt x="244" y="891"/>
                        </a:lnTo>
                        <a:lnTo>
                          <a:pt x="267" y="891"/>
                        </a:lnTo>
                        <a:lnTo>
                          <a:pt x="288" y="891"/>
                        </a:lnTo>
                        <a:close/>
                        <a:moveTo>
                          <a:pt x="2165" y="515"/>
                        </a:moveTo>
                        <a:lnTo>
                          <a:pt x="2748" y="515"/>
                        </a:lnTo>
                        <a:lnTo>
                          <a:pt x="2748" y="600"/>
                        </a:lnTo>
                        <a:lnTo>
                          <a:pt x="2165" y="600"/>
                        </a:lnTo>
                        <a:lnTo>
                          <a:pt x="2165" y="515"/>
                        </a:lnTo>
                        <a:close/>
                        <a:moveTo>
                          <a:pt x="2165" y="303"/>
                        </a:moveTo>
                        <a:lnTo>
                          <a:pt x="2748" y="303"/>
                        </a:lnTo>
                        <a:lnTo>
                          <a:pt x="2748" y="397"/>
                        </a:lnTo>
                        <a:lnTo>
                          <a:pt x="2165" y="397"/>
                        </a:lnTo>
                        <a:lnTo>
                          <a:pt x="2165" y="303"/>
                        </a:lnTo>
                        <a:close/>
                        <a:moveTo>
                          <a:pt x="197" y="149"/>
                        </a:moveTo>
                        <a:lnTo>
                          <a:pt x="289" y="149"/>
                        </a:lnTo>
                        <a:lnTo>
                          <a:pt x="289" y="730"/>
                        </a:lnTo>
                        <a:lnTo>
                          <a:pt x="197" y="730"/>
                        </a:lnTo>
                        <a:lnTo>
                          <a:pt x="197" y="149"/>
                        </a:lnTo>
                        <a:close/>
                        <a:moveTo>
                          <a:pt x="2888" y="119"/>
                        </a:moveTo>
                        <a:lnTo>
                          <a:pt x="2980" y="119"/>
                        </a:lnTo>
                        <a:lnTo>
                          <a:pt x="2980" y="700"/>
                        </a:lnTo>
                        <a:lnTo>
                          <a:pt x="2888" y="700"/>
                        </a:lnTo>
                        <a:lnTo>
                          <a:pt x="2888" y="119"/>
                        </a:lnTo>
                        <a:close/>
                        <a:moveTo>
                          <a:pt x="288" y="49"/>
                        </a:moveTo>
                        <a:lnTo>
                          <a:pt x="248" y="49"/>
                        </a:lnTo>
                        <a:lnTo>
                          <a:pt x="212" y="51"/>
                        </a:lnTo>
                        <a:lnTo>
                          <a:pt x="180" y="54"/>
                        </a:lnTo>
                        <a:lnTo>
                          <a:pt x="150" y="58"/>
                        </a:lnTo>
                        <a:lnTo>
                          <a:pt x="126" y="66"/>
                        </a:lnTo>
                        <a:lnTo>
                          <a:pt x="104" y="76"/>
                        </a:lnTo>
                        <a:lnTo>
                          <a:pt x="86" y="89"/>
                        </a:lnTo>
                        <a:lnTo>
                          <a:pt x="72" y="104"/>
                        </a:lnTo>
                        <a:lnTo>
                          <a:pt x="61" y="123"/>
                        </a:lnTo>
                        <a:lnTo>
                          <a:pt x="54" y="145"/>
                        </a:lnTo>
                        <a:lnTo>
                          <a:pt x="49" y="171"/>
                        </a:lnTo>
                        <a:lnTo>
                          <a:pt x="47" y="202"/>
                        </a:lnTo>
                        <a:lnTo>
                          <a:pt x="47" y="639"/>
                        </a:lnTo>
                        <a:lnTo>
                          <a:pt x="49" y="671"/>
                        </a:lnTo>
                        <a:lnTo>
                          <a:pt x="55" y="699"/>
                        </a:lnTo>
                        <a:lnTo>
                          <a:pt x="62" y="723"/>
                        </a:lnTo>
                        <a:lnTo>
                          <a:pt x="74" y="745"/>
                        </a:lnTo>
                        <a:lnTo>
                          <a:pt x="89" y="762"/>
                        </a:lnTo>
                        <a:lnTo>
                          <a:pt x="106" y="777"/>
                        </a:lnTo>
                        <a:lnTo>
                          <a:pt x="127" y="789"/>
                        </a:lnTo>
                        <a:lnTo>
                          <a:pt x="149" y="799"/>
                        </a:lnTo>
                        <a:lnTo>
                          <a:pt x="175" y="807"/>
                        </a:lnTo>
                        <a:lnTo>
                          <a:pt x="204" y="813"/>
                        </a:lnTo>
                        <a:lnTo>
                          <a:pt x="234" y="817"/>
                        </a:lnTo>
                        <a:lnTo>
                          <a:pt x="268" y="819"/>
                        </a:lnTo>
                        <a:lnTo>
                          <a:pt x="302" y="821"/>
                        </a:lnTo>
                        <a:lnTo>
                          <a:pt x="340" y="822"/>
                        </a:lnTo>
                        <a:lnTo>
                          <a:pt x="379" y="822"/>
                        </a:lnTo>
                        <a:lnTo>
                          <a:pt x="2789" y="822"/>
                        </a:lnTo>
                        <a:lnTo>
                          <a:pt x="2827" y="822"/>
                        </a:lnTo>
                        <a:lnTo>
                          <a:pt x="2865" y="821"/>
                        </a:lnTo>
                        <a:lnTo>
                          <a:pt x="2901" y="819"/>
                        </a:lnTo>
                        <a:lnTo>
                          <a:pt x="2933" y="817"/>
                        </a:lnTo>
                        <a:lnTo>
                          <a:pt x="2964" y="813"/>
                        </a:lnTo>
                        <a:lnTo>
                          <a:pt x="2992" y="807"/>
                        </a:lnTo>
                        <a:lnTo>
                          <a:pt x="3018" y="799"/>
                        </a:lnTo>
                        <a:lnTo>
                          <a:pt x="3040" y="789"/>
                        </a:lnTo>
                        <a:lnTo>
                          <a:pt x="3061" y="777"/>
                        </a:lnTo>
                        <a:lnTo>
                          <a:pt x="3079" y="762"/>
                        </a:lnTo>
                        <a:lnTo>
                          <a:pt x="3093" y="745"/>
                        </a:lnTo>
                        <a:lnTo>
                          <a:pt x="3105" y="723"/>
                        </a:lnTo>
                        <a:lnTo>
                          <a:pt x="3114" y="699"/>
                        </a:lnTo>
                        <a:lnTo>
                          <a:pt x="3119" y="671"/>
                        </a:lnTo>
                        <a:lnTo>
                          <a:pt x="3120" y="639"/>
                        </a:lnTo>
                        <a:lnTo>
                          <a:pt x="3120" y="202"/>
                        </a:lnTo>
                        <a:lnTo>
                          <a:pt x="3119" y="171"/>
                        </a:lnTo>
                        <a:lnTo>
                          <a:pt x="3115" y="145"/>
                        </a:lnTo>
                        <a:lnTo>
                          <a:pt x="3106" y="123"/>
                        </a:lnTo>
                        <a:lnTo>
                          <a:pt x="3095" y="104"/>
                        </a:lnTo>
                        <a:lnTo>
                          <a:pt x="3081" y="89"/>
                        </a:lnTo>
                        <a:lnTo>
                          <a:pt x="3063" y="76"/>
                        </a:lnTo>
                        <a:lnTo>
                          <a:pt x="3043" y="66"/>
                        </a:lnTo>
                        <a:lnTo>
                          <a:pt x="3017" y="58"/>
                        </a:lnTo>
                        <a:lnTo>
                          <a:pt x="2989" y="54"/>
                        </a:lnTo>
                        <a:lnTo>
                          <a:pt x="2957" y="51"/>
                        </a:lnTo>
                        <a:lnTo>
                          <a:pt x="2920" y="49"/>
                        </a:lnTo>
                        <a:lnTo>
                          <a:pt x="2879" y="49"/>
                        </a:lnTo>
                        <a:lnTo>
                          <a:pt x="2836" y="49"/>
                        </a:lnTo>
                        <a:lnTo>
                          <a:pt x="2789" y="49"/>
                        </a:lnTo>
                        <a:lnTo>
                          <a:pt x="379" y="49"/>
                        </a:lnTo>
                        <a:lnTo>
                          <a:pt x="331" y="49"/>
                        </a:lnTo>
                        <a:lnTo>
                          <a:pt x="288" y="49"/>
                        </a:lnTo>
                        <a:close/>
                        <a:moveTo>
                          <a:pt x="288" y="0"/>
                        </a:moveTo>
                        <a:lnTo>
                          <a:pt x="332" y="0"/>
                        </a:lnTo>
                        <a:lnTo>
                          <a:pt x="379" y="2"/>
                        </a:lnTo>
                        <a:lnTo>
                          <a:pt x="2789" y="2"/>
                        </a:lnTo>
                        <a:lnTo>
                          <a:pt x="2836" y="0"/>
                        </a:lnTo>
                        <a:lnTo>
                          <a:pt x="2879" y="0"/>
                        </a:lnTo>
                        <a:lnTo>
                          <a:pt x="2901" y="0"/>
                        </a:lnTo>
                        <a:lnTo>
                          <a:pt x="2924" y="0"/>
                        </a:lnTo>
                        <a:lnTo>
                          <a:pt x="2947" y="2"/>
                        </a:lnTo>
                        <a:lnTo>
                          <a:pt x="2971" y="4"/>
                        </a:lnTo>
                        <a:lnTo>
                          <a:pt x="2993" y="6"/>
                        </a:lnTo>
                        <a:lnTo>
                          <a:pt x="3016" y="9"/>
                        </a:lnTo>
                        <a:lnTo>
                          <a:pt x="3038" y="14"/>
                        </a:lnTo>
                        <a:lnTo>
                          <a:pt x="3059" y="22"/>
                        </a:lnTo>
                        <a:lnTo>
                          <a:pt x="3079" y="31"/>
                        </a:lnTo>
                        <a:lnTo>
                          <a:pt x="3099" y="41"/>
                        </a:lnTo>
                        <a:lnTo>
                          <a:pt x="3115" y="55"/>
                        </a:lnTo>
                        <a:lnTo>
                          <a:pt x="3131" y="71"/>
                        </a:lnTo>
                        <a:lnTo>
                          <a:pt x="3144" y="91"/>
                        </a:lnTo>
                        <a:lnTo>
                          <a:pt x="3154" y="113"/>
                        </a:lnTo>
                        <a:lnTo>
                          <a:pt x="3162" y="139"/>
                        </a:lnTo>
                        <a:lnTo>
                          <a:pt x="3166" y="169"/>
                        </a:lnTo>
                        <a:lnTo>
                          <a:pt x="3169" y="202"/>
                        </a:lnTo>
                        <a:lnTo>
                          <a:pt x="3169" y="639"/>
                        </a:lnTo>
                        <a:lnTo>
                          <a:pt x="3166" y="675"/>
                        </a:lnTo>
                        <a:lnTo>
                          <a:pt x="3161" y="707"/>
                        </a:lnTo>
                        <a:lnTo>
                          <a:pt x="3152" y="736"/>
                        </a:lnTo>
                        <a:lnTo>
                          <a:pt x="3140" y="761"/>
                        </a:lnTo>
                        <a:lnTo>
                          <a:pt x="3126" y="783"/>
                        </a:lnTo>
                        <a:lnTo>
                          <a:pt x="3107" y="802"/>
                        </a:lnTo>
                        <a:lnTo>
                          <a:pt x="3088" y="817"/>
                        </a:lnTo>
                        <a:lnTo>
                          <a:pt x="3065" y="831"/>
                        </a:lnTo>
                        <a:lnTo>
                          <a:pt x="3042" y="842"/>
                        </a:lnTo>
                        <a:lnTo>
                          <a:pt x="3017" y="850"/>
                        </a:lnTo>
                        <a:lnTo>
                          <a:pt x="2990" y="857"/>
                        </a:lnTo>
                        <a:lnTo>
                          <a:pt x="2962" y="861"/>
                        </a:lnTo>
                        <a:lnTo>
                          <a:pt x="2934" y="865"/>
                        </a:lnTo>
                        <a:lnTo>
                          <a:pt x="2905" y="867"/>
                        </a:lnTo>
                        <a:lnTo>
                          <a:pt x="2876" y="868"/>
                        </a:lnTo>
                        <a:lnTo>
                          <a:pt x="2847" y="870"/>
                        </a:lnTo>
                        <a:lnTo>
                          <a:pt x="2818" y="870"/>
                        </a:lnTo>
                        <a:lnTo>
                          <a:pt x="2789" y="870"/>
                        </a:lnTo>
                        <a:lnTo>
                          <a:pt x="379" y="870"/>
                        </a:lnTo>
                        <a:lnTo>
                          <a:pt x="351" y="870"/>
                        </a:lnTo>
                        <a:lnTo>
                          <a:pt x="322" y="870"/>
                        </a:lnTo>
                        <a:lnTo>
                          <a:pt x="293" y="868"/>
                        </a:lnTo>
                        <a:lnTo>
                          <a:pt x="262" y="867"/>
                        </a:lnTo>
                        <a:lnTo>
                          <a:pt x="233" y="865"/>
                        </a:lnTo>
                        <a:lnTo>
                          <a:pt x="205" y="861"/>
                        </a:lnTo>
                        <a:lnTo>
                          <a:pt x="177" y="857"/>
                        </a:lnTo>
                        <a:lnTo>
                          <a:pt x="152" y="850"/>
                        </a:lnTo>
                        <a:lnTo>
                          <a:pt x="126" y="842"/>
                        </a:lnTo>
                        <a:lnTo>
                          <a:pt x="102" y="831"/>
                        </a:lnTo>
                        <a:lnTo>
                          <a:pt x="80" y="817"/>
                        </a:lnTo>
                        <a:lnTo>
                          <a:pt x="60" y="802"/>
                        </a:lnTo>
                        <a:lnTo>
                          <a:pt x="43" y="783"/>
                        </a:lnTo>
                        <a:lnTo>
                          <a:pt x="28" y="761"/>
                        </a:lnTo>
                        <a:lnTo>
                          <a:pt x="16" y="736"/>
                        </a:lnTo>
                        <a:lnTo>
                          <a:pt x="6" y="707"/>
                        </a:lnTo>
                        <a:lnTo>
                          <a:pt x="1" y="675"/>
                        </a:lnTo>
                        <a:lnTo>
                          <a:pt x="0" y="639"/>
                        </a:lnTo>
                        <a:lnTo>
                          <a:pt x="0" y="202"/>
                        </a:lnTo>
                        <a:lnTo>
                          <a:pt x="1" y="169"/>
                        </a:lnTo>
                        <a:lnTo>
                          <a:pt x="6" y="139"/>
                        </a:lnTo>
                        <a:lnTo>
                          <a:pt x="14" y="113"/>
                        </a:lnTo>
                        <a:lnTo>
                          <a:pt x="25" y="91"/>
                        </a:lnTo>
                        <a:lnTo>
                          <a:pt x="37" y="71"/>
                        </a:lnTo>
                        <a:lnTo>
                          <a:pt x="53" y="55"/>
                        </a:lnTo>
                        <a:lnTo>
                          <a:pt x="70" y="41"/>
                        </a:lnTo>
                        <a:lnTo>
                          <a:pt x="88" y="31"/>
                        </a:lnTo>
                        <a:lnTo>
                          <a:pt x="108" y="22"/>
                        </a:lnTo>
                        <a:lnTo>
                          <a:pt x="130" y="14"/>
                        </a:lnTo>
                        <a:lnTo>
                          <a:pt x="152" y="9"/>
                        </a:lnTo>
                        <a:lnTo>
                          <a:pt x="174" y="6"/>
                        </a:lnTo>
                        <a:lnTo>
                          <a:pt x="198" y="4"/>
                        </a:lnTo>
                        <a:lnTo>
                          <a:pt x="220" y="2"/>
                        </a:lnTo>
                        <a:lnTo>
                          <a:pt x="244" y="0"/>
                        </a:lnTo>
                        <a:lnTo>
                          <a:pt x="267" y="0"/>
                        </a:lnTo>
                        <a:lnTo>
                          <a:pt x="2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51" name="Rounded Rectangle 650"/>
                  <p:cNvSpPr/>
                  <p:nvPr/>
                </p:nvSpPr>
                <p:spPr bwMode="auto">
                  <a:xfrm>
                    <a:off x="10580475" y="2249664"/>
                    <a:ext cx="1103494" cy="674966"/>
                  </a:xfrm>
                  <a:prstGeom prst="roundRect">
                    <a:avLst/>
                  </a:prstGeom>
                  <a:noFill/>
                  <a:ln w="22225">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grpSp>
            <p:nvGrpSpPr>
              <p:cNvPr id="654" name="Group 653"/>
              <p:cNvGrpSpPr/>
              <p:nvPr/>
            </p:nvGrpSpPr>
            <p:grpSpPr>
              <a:xfrm>
                <a:off x="6018994" y="5270222"/>
                <a:ext cx="1122137" cy="674966"/>
                <a:chOff x="5847387" y="6207074"/>
                <a:chExt cx="1122137" cy="674966"/>
              </a:xfrm>
            </p:grpSpPr>
            <p:sp>
              <p:nvSpPr>
                <p:cNvPr id="655" name="Rounded Rectangle 654"/>
                <p:cNvSpPr/>
                <p:nvPr/>
              </p:nvSpPr>
              <p:spPr bwMode="auto">
                <a:xfrm>
                  <a:off x="5847387" y="6207074"/>
                  <a:ext cx="1122137" cy="674966"/>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nvGrpSpPr>
                <p:cNvPr id="656" name="Group 655"/>
                <p:cNvGrpSpPr/>
                <p:nvPr/>
              </p:nvGrpSpPr>
              <p:grpSpPr>
                <a:xfrm>
                  <a:off x="5866030" y="6207074"/>
                  <a:ext cx="1103494" cy="674966"/>
                  <a:chOff x="10580475" y="2249664"/>
                  <a:chExt cx="1103494" cy="674966"/>
                </a:xfrm>
              </p:grpSpPr>
              <p:sp>
                <p:nvSpPr>
                  <p:cNvPr id="657" name="Freeform 6"/>
                  <p:cNvSpPr>
                    <a:spLocks noEditPoints="1"/>
                  </p:cNvSpPr>
                  <p:nvPr/>
                </p:nvSpPr>
                <p:spPr bwMode="auto">
                  <a:xfrm>
                    <a:off x="10659795" y="2318928"/>
                    <a:ext cx="970092" cy="538941"/>
                  </a:xfrm>
                  <a:custGeom>
                    <a:avLst/>
                    <a:gdLst>
                      <a:gd name="T0" fmla="*/ 2214 w 3169"/>
                      <a:gd name="T1" fmla="*/ 1274 h 1760"/>
                      <a:gd name="T2" fmla="*/ 290 w 3169"/>
                      <a:gd name="T3" fmla="*/ 1050 h 1760"/>
                      <a:gd name="T4" fmla="*/ 2982 w 3169"/>
                      <a:gd name="T5" fmla="*/ 1601 h 1760"/>
                      <a:gd name="T6" fmla="*/ 180 w 3169"/>
                      <a:gd name="T7" fmla="*/ 945 h 1760"/>
                      <a:gd name="T8" fmla="*/ 61 w 3169"/>
                      <a:gd name="T9" fmla="*/ 1012 h 1760"/>
                      <a:gd name="T10" fmla="*/ 55 w 3169"/>
                      <a:gd name="T11" fmla="*/ 1589 h 1760"/>
                      <a:gd name="T12" fmla="*/ 149 w 3169"/>
                      <a:gd name="T13" fmla="*/ 1689 h 1760"/>
                      <a:gd name="T14" fmla="*/ 340 w 3169"/>
                      <a:gd name="T15" fmla="*/ 1712 h 1760"/>
                      <a:gd name="T16" fmla="*/ 2933 w 3169"/>
                      <a:gd name="T17" fmla="*/ 1708 h 1760"/>
                      <a:gd name="T18" fmla="*/ 3079 w 3169"/>
                      <a:gd name="T19" fmla="*/ 1653 h 1760"/>
                      <a:gd name="T20" fmla="*/ 3120 w 3169"/>
                      <a:gd name="T21" fmla="*/ 1093 h 1760"/>
                      <a:gd name="T22" fmla="*/ 3063 w 3169"/>
                      <a:gd name="T23" fmla="*/ 966 h 1760"/>
                      <a:gd name="T24" fmla="*/ 2879 w 3169"/>
                      <a:gd name="T25" fmla="*/ 938 h 1760"/>
                      <a:gd name="T26" fmla="*/ 288 w 3169"/>
                      <a:gd name="T27" fmla="*/ 891 h 1760"/>
                      <a:gd name="T28" fmla="*/ 2901 w 3169"/>
                      <a:gd name="T29" fmla="*/ 891 h 1760"/>
                      <a:gd name="T30" fmla="*/ 3038 w 3169"/>
                      <a:gd name="T31" fmla="*/ 905 h 1760"/>
                      <a:gd name="T32" fmla="*/ 3144 w 3169"/>
                      <a:gd name="T33" fmla="*/ 981 h 1760"/>
                      <a:gd name="T34" fmla="*/ 3166 w 3169"/>
                      <a:gd name="T35" fmla="*/ 1566 h 1760"/>
                      <a:gd name="T36" fmla="*/ 3088 w 3169"/>
                      <a:gd name="T37" fmla="*/ 1708 h 1760"/>
                      <a:gd name="T38" fmla="*/ 2934 w 3169"/>
                      <a:gd name="T39" fmla="*/ 1756 h 1760"/>
                      <a:gd name="T40" fmla="*/ 379 w 3169"/>
                      <a:gd name="T41" fmla="*/ 1760 h 1760"/>
                      <a:gd name="T42" fmla="*/ 205 w 3169"/>
                      <a:gd name="T43" fmla="*/ 1752 h 1760"/>
                      <a:gd name="T44" fmla="*/ 60 w 3169"/>
                      <a:gd name="T45" fmla="*/ 1693 h 1760"/>
                      <a:gd name="T46" fmla="*/ 0 w 3169"/>
                      <a:gd name="T47" fmla="*/ 1529 h 1760"/>
                      <a:gd name="T48" fmla="*/ 37 w 3169"/>
                      <a:gd name="T49" fmla="*/ 962 h 1760"/>
                      <a:gd name="T50" fmla="*/ 152 w 3169"/>
                      <a:gd name="T51" fmla="*/ 900 h 1760"/>
                      <a:gd name="T52" fmla="*/ 288 w 3169"/>
                      <a:gd name="T53" fmla="*/ 891 h 1760"/>
                      <a:gd name="T54" fmla="*/ 2165 w 3169"/>
                      <a:gd name="T55" fmla="*/ 303 h 1760"/>
                      <a:gd name="T56" fmla="*/ 289 w 3169"/>
                      <a:gd name="T57" fmla="*/ 149 h 1760"/>
                      <a:gd name="T58" fmla="*/ 2980 w 3169"/>
                      <a:gd name="T59" fmla="*/ 700 h 1760"/>
                      <a:gd name="T60" fmla="*/ 180 w 3169"/>
                      <a:gd name="T61" fmla="*/ 54 h 1760"/>
                      <a:gd name="T62" fmla="*/ 61 w 3169"/>
                      <a:gd name="T63" fmla="*/ 123 h 1760"/>
                      <a:gd name="T64" fmla="*/ 55 w 3169"/>
                      <a:gd name="T65" fmla="*/ 699 h 1760"/>
                      <a:gd name="T66" fmla="*/ 149 w 3169"/>
                      <a:gd name="T67" fmla="*/ 799 h 1760"/>
                      <a:gd name="T68" fmla="*/ 340 w 3169"/>
                      <a:gd name="T69" fmla="*/ 822 h 1760"/>
                      <a:gd name="T70" fmla="*/ 2933 w 3169"/>
                      <a:gd name="T71" fmla="*/ 817 h 1760"/>
                      <a:gd name="T72" fmla="*/ 3079 w 3169"/>
                      <a:gd name="T73" fmla="*/ 762 h 1760"/>
                      <a:gd name="T74" fmla="*/ 3120 w 3169"/>
                      <a:gd name="T75" fmla="*/ 202 h 1760"/>
                      <a:gd name="T76" fmla="*/ 3063 w 3169"/>
                      <a:gd name="T77" fmla="*/ 76 h 1760"/>
                      <a:gd name="T78" fmla="*/ 2879 w 3169"/>
                      <a:gd name="T79" fmla="*/ 49 h 1760"/>
                      <a:gd name="T80" fmla="*/ 288 w 3169"/>
                      <a:gd name="T81" fmla="*/ 0 h 1760"/>
                      <a:gd name="T82" fmla="*/ 2901 w 3169"/>
                      <a:gd name="T83" fmla="*/ 0 h 1760"/>
                      <a:gd name="T84" fmla="*/ 3038 w 3169"/>
                      <a:gd name="T85" fmla="*/ 14 h 1760"/>
                      <a:gd name="T86" fmla="*/ 3144 w 3169"/>
                      <a:gd name="T87" fmla="*/ 91 h 1760"/>
                      <a:gd name="T88" fmla="*/ 3166 w 3169"/>
                      <a:gd name="T89" fmla="*/ 675 h 1760"/>
                      <a:gd name="T90" fmla="*/ 3088 w 3169"/>
                      <a:gd name="T91" fmla="*/ 817 h 1760"/>
                      <a:gd name="T92" fmla="*/ 2934 w 3169"/>
                      <a:gd name="T93" fmla="*/ 865 h 1760"/>
                      <a:gd name="T94" fmla="*/ 379 w 3169"/>
                      <a:gd name="T95" fmla="*/ 870 h 1760"/>
                      <a:gd name="T96" fmla="*/ 205 w 3169"/>
                      <a:gd name="T97" fmla="*/ 861 h 1760"/>
                      <a:gd name="T98" fmla="*/ 60 w 3169"/>
                      <a:gd name="T99" fmla="*/ 802 h 1760"/>
                      <a:gd name="T100" fmla="*/ 0 w 3169"/>
                      <a:gd name="T101" fmla="*/ 639 h 1760"/>
                      <a:gd name="T102" fmla="*/ 37 w 3169"/>
                      <a:gd name="T103" fmla="*/ 71 h 1760"/>
                      <a:gd name="T104" fmla="*/ 152 w 3169"/>
                      <a:gd name="T105" fmla="*/ 9 h 1760"/>
                      <a:gd name="T106" fmla="*/ 288 w 3169"/>
                      <a:gd name="T10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69" h="1760">
                        <a:moveTo>
                          <a:pt x="2214" y="1484"/>
                        </a:moveTo>
                        <a:lnTo>
                          <a:pt x="2795" y="1484"/>
                        </a:lnTo>
                        <a:lnTo>
                          <a:pt x="2795" y="1569"/>
                        </a:lnTo>
                        <a:lnTo>
                          <a:pt x="2214" y="1569"/>
                        </a:lnTo>
                        <a:lnTo>
                          <a:pt x="2214" y="1484"/>
                        </a:lnTo>
                        <a:close/>
                        <a:moveTo>
                          <a:pt x="2214" y="1274"/>
                        </a:moveTo>
                        <a:lnTo>
                          <a:pt x="2795" y="1274"/>
                        </a:lnTo>
                        <a:lnTo>
                          <a:pt x="2795" y="1366"/>
                        </a:lnTo>
                        <a:lnTo>
                          <a:pt x="2214" y="1366"/>
                        </a:lnTo>
                        <a:lnTo>
                          <a:pt x="2214" y="1274"/>
                        </a:lnTo>
                        <a:close/>
                        <a:moveTo>
                          <a:pt x="198" y="1050"/>
                        </a:moveTo>
                        <a:lnTo>
                          <a:pt x="290" y="1050"/>
                        </a:lnTo>
                        <a:lnTo>
                          <a:pt x="290" y="1631"/>
                        </a:lnTo>
                        <a:lnTo>
                          <a:pt x="198" y="1631"/>
                        </a:lnTo>
                        <a:lnTo>
                          <a:pt x="198" y="1050"/>
                        </a:lnTo>
                        <a:close/>
                        <a:moveTo>
                          <a:pt x="2889" y="1020"/>
                        </a:moveTo>
                        <a:lnTo>
                          <a:pt x="2982" y="1020"/>
                        </a:lnTo>
                        <a:lnTo>
                          <a:pt x="2982" y="1601"/>
                        </a:lnTo>
                        <a:lnTo>
                          <a:pt x="2889" y="1601"/>
                        </a:lnTo>
                        <a:lnTo>
                          <a:pt x="2889" y="1020"/>
                        </a:lnTo>
                        <a:close/>
                        <a:moveTo>
                          <a:pt x="288" y="938"/>
                        </a:moveTo>
                        <a:lnTo>
                          <a:pt x="248" y="939"/>
                        </a:lnTo>
                        <a:lnTo>
                          <a:pt x="212" y="942"/>
                        </a:lnTo>
                        <a:lnTo>
                          <a:pt x="180" y="945"/>
                        </a:lnTo>
                        <a:lnTo>
                          <a:pt x="150" y="949"/>
                        </a:lnTo>
                        <a:lnTo>
                          <a:pt x="126" y="957"/>
                        </a:lnTo>
                        <a:lnTo>
                          <a:pt x="104" y="966"/>
                        </a:lnTo>
                        <a:lnTo>
                          <a:pt x="86" y="978"/>
                        </a:lnTo>
                        <a:lnTo>
                          <a:pt x="72" y="994"/>
                        </a:lnTo>
                        <a:lnTo>
                          <a:pt x="61" y="1012"/>
                        </a:lnTo>
                        <a:lnTo>
                          <a:pt x="54" y="1035"/>
                        </a:lnTo>
                        <a:lnTo>
                          <a:pt x="49" y="1062"/>
                        </a:lnTo>
                        <a:lnTo>
                          <a:pt x="47" y="1093"/>
                        </a:lnTo>
                        <a:lnTo>
                          <a:pt x="47" y="1529"/>
                        </a:lnTo>
                        <a:lnTo>
                          <a:pt x="49" y="1561"/>
                        </a:lnTo>
                        <a:lnTo>
                          <a:pt x="55" y="1589"/>
                        </a:lnTo>
                        <a:lnTo>
                          <a:pt x="62" y="1614"/>
                        </a:lnTo>
                        <a:lnTo>
                          <a:pt x="74" y="1634"/>
                        </a:lnTo>
                        <a:lnTo>
                          <a:pt x="89" y="1653"/>
                        </a:lnTo>
                        <a:lnTo>
                          <a:pt x="106" y="1668"/>
                        </a:lnTo>
                        <a:lnTo>
                          <a:pt x="127" y="1680"/>
                        </a:lnTo>
                        <a:lnTo>
                          <a:pt x="149" y="1689"/>
                        </a:lnTo>
                        <a:lnTo>
                          <a:pt x="175" y="1697"/>
                        </a:lnTo>
                        <a:lnTo>
                          <a:pt x="204" y="1703"/>
                        </a:lnTo>
                        <a:lnTo>
                          <a:pt x="234" y="1708"/>
                        </a:lnTo>
                        <a:lnTo>
                          <a:pt x="268" y="1710"/>
                        </a:lnTo>
                        <a:lnTo>
                          <a:pt x="302" y="1712"/>
                        </a:lnTo>
                        <a:lnTo>
                          <a:pt x="340" y="1712"/>
                        </a:lnTo>
                        <a:lnTo>
                          <a:pt x="379" y="1713"/>
                        </a:lnTo>
                        <a:lnTo>
                          <a:pt x="2789" y="1713"/>
                        </a:lnTo>
                        <a:lnTo>
                          <a:pt x="2827" y="1712"/>
                        </a:lnTo>
                        <a:lnTo>
                          <a:pt x="2865" y="1712"/>
                        </a:lnTo>
                        <a:lnTo>
                          <a:pt x="2901" y="1710"/>
                        </a:lnTo>
                        <a:lnTo>
                          <a:pt x="2933" y="1708"/>
                        </a:lnTo>
                        <a:lnTo>
                          <a:pt x="2964" y="1703"/>
                        </a:lnTo>
                        <a:lnTo>
                          <a:pt x="2992" y="1697"/>
                        </a:lnTo>
                        <a:lnTo>
                          <a:pt x="3018" y="1689"/>
                        </a:lnTo>
                        <a:lnTo>
                          <a:pt x="3040" y="1680"/>
                        </a:lnTo>
                        <a:lnTo>
                          <a:pt x="3061" y="1668"/>
                        </a:lnTo>
                        <a:lnTo>
                          <a:pt x="3079" y="1653"/>
                        </a:lnTo>
                        <a:lnTo>
                          <a:pt x="3093" y="1634"/>
                        </a:lnTo>
                        <a:lnTo>
                          <a:pt x="3105" y="1614"/>
                        </a:lnTo>
                        <a:lnTo>
                          <a:pt x="3114" y="1589"/>
                        </a:lnTo>
                        <a:lnTo>
                          <a:pt x="3119" y="1561"/>
                        </a:lnTo>
                        <a:lnTo>
                          <a:pt x="3120" y="1529"/>
                        </a:lnTo>
                        <a:lnTo>
                          <a:pt x="3120" y="1093"/>
                        </a:lnTo>
                        <a:lnTo>
                          <a:pt x="3119" y="1062"/>
                        </a:lnTo>
                        <a:lnTo>
                          <a:pt x="3115" y="1035"/>
                        </a:lnTo>
                        <a:lnTo>
                          <a:pt x="3106" y="1012"/>
                        </a:lnTo>
                        <a:lnTo>
                          <a:pt x="3095" y="994"/>
                        </a:lnTo>
                        <a:lnTo>
                          <a:pt x="3081" y="978"/>
                        </a:lnTo>
                        <a:lnTo>
                          <a:pt x="3063" y="966"/>
                        </a:lnTo>
                        <a:lnTo>
                          <a:pt x="3043" y="957"/>
                        </a:lnTo>
                        <a:lnTo>
                          <a:pt x="3017" y="949"/>
                        </a:lnTo>
                        <a:lnTo>
                          <a:pt x="2989" y="945"/>
                        </a:lnTo>
                        <a:lnTo>
                          <a:pt x="2957" y="942"/>
                        </a:lnTo>
                        <a:lnTo>
                          <a:pt x="2920" y="939"/>
                        </a:lnTo>
                        <a:lnTo>
                          <a:pt x="2879" y="938"/>
                        </a:lnTo>
                        <a:lnTo>
                          <a:pt x="2836" y="939"/>
                        </a:lnTo>
                        <a:lnTo>
                          <a:pt x="2789" y="939"/>
                        </a:lnTo>
                        <a:lnTo>
                          <a:pt x="379" y="939"/>
                        </a:lnTo>
                        <a:lnTo>
                          <a:pt x="331" y="939"/>
                        </a:lnTo>
                        <a:lnTo>
                          <a:pt x="288" y="938"/>
                        </a:lnTo>
                        <a:close/>
                        <a:moveTo>
                          <a:pt x="288" y="891"/>
                        </a:moveTo>
                        <a:lnTo>
                          <a:pt x="332" y="891"/>
                        </a:lnTo>
                        <a:lnTo>
                          <a:pt x="379" y="891"/>
                        </a:lnTo>
                        <a:lnTo>
                          <a:pt x="2789" y="891"/>
                        </a:lnTo>
                        <a:lnTo>
                          <a:pt x="2836" y="891"/>
                        </a:lnTo>
                        <a:lnTo>
                          <a:pt x="2879" y="891"/>
                        </a:lnTo>
                        <a:lnTo>
                          <a:pt x="2901" y="891"/>
                        </a:lnTo>
                        <a:lnTo>
                          <a:pt x="2923" y="891"/>
                        </a:lnTo>
                        <a:lnTo>
                          <a:pt x="2947" y="892"/>
                        </a:lnTo>
                        <a:lnTo>
                          <a:pt x="2969" y="893"/>
                        </a:lnTo>
                        <a:lnTo>
                          <a:pt x="2993" y="896"/>
                        </a:lnTo>
                        <a:lnTo>
                          <a:pt x="3016" y="900"/>
                        </a:lnTo>
                        <a:lnTo>
                          <a:pt x="3038" y="905"/>
                        </a:lnTo>
                        <a:lnTo>
                          <a:pt x="3059" y="911"/>
                        </a:lnTo>
                        <a:lnTo>
                          <a:pt x="3079" y="921"/>
                        </a:lnTo>
                        <a:lnTo>
                          <a:pt x="3099" y="932"/>
                        </a:lnTo>
                        <a:lnTo>
                          <a:pt x="3115" y="946"/>
                        </a:lnTo>
                        <a:lnTo>
                          <a:pt x="3131" y="962"/>
                        </a:lnTo>
                        <a:lnTo>
                          <a:pt x="3144" y="981"/>
                        </a:lnTo>
                        <a:lnTo>
                          <a:pt x="3154" y="1004"/>
                        </a:lnTo>
                        <a:lnTo>
                          <a:pt x="3162" y="1030"/>
                        </a:lnTo>
                        <a:lnTo>
                          <a:pt x="3166" y="1060"/>
                        </a:lnTo>
                        <a:lnTo>
                          <a:pt x="3169" y="1093"/>
                        </a:lnTo>
                        <a:lnTo>
                          <a:pt x="3169" y="1529"/>
                        </a:lnTo>
                        <a:lnTo>
                          <a:pt x="3166" y="1566"/>
                        </a:lnTo>
                        <a:lnTo>
                          <a:pt x="3161" y="1598"/>
                        </a:lnTo>
                        <a:lnTo>
                          <a:pt x="3152" y="1627"/>
                        </a:lnTo>
                        <a:lnTo>
                          <a:pt x="3140" y="1652"/>
                        </a:lnTo>
                        <a:lnTo>
                          <a:pt x="3126" y="1673"/>
                        </a:lnTo>
                        <a:lnTo>
                          <a:pt x="3107" y="1693"/>
                        </a:lnTo>
                        <a:lnTo>
                          <a:pt x="3088" y="1708"/>
                        </a:lnTo>
                        <a:lnTo>
                          <a:pt x="3065" y="1720"/>
                        </a:lnTo>
                        <a:lnTo>
                          <a:pt x="3042" y="1731"/>
                        </a:lnTo>
                        <a:lnTo>
                          <a:pt x="3017" y="1740"/>
                        </a:lnTo>
                        <a:lnTo>
                          <a:pt x="2990" y="1747"/>
                        </a:lnTo>
                        <a:lnTo>
                          <a:pt x="2962" y="1752"/>
                        </a:lnTo>
                        <a:lnTo>
                          <a:pt x="2934" y="1756"/>
                        </a:lnTo>
                        <a:lnTo>
                          <a:pt x="2905" y="1758"/>
                        </a:lnTo>
                        <a:lnTo>
                          <a:pt x="2876" y="1759"/>
                        </a:lnTo>
                        <a:lnTo>
                          <a:pt x="2847" y="1760"/>
                        </a:lnTo>
                        <a:lnTo>
                          <a:pt x="2818" y="1760"/>
                        </a:lnTo>
                        <a:lnTo>
                          <a:pt x="2789" y="1760"/>
                        </a:lnTo>
                        <a:lnTo>
                          <a:pt x="379" y="1760"/>
                        </a:lnTo>
                        <a:lnTo>
                          <a:pt x="351" y="1760"/>
                        </a:lnTo>
                        <a:lnTo>
                          <a:pt x="322" y="1760"/>
                        </a:lnTo>
                        <a:lnTo>
                          <a:pt x="293" y="1759"/>
                        </a:lnTo>
                        <a:lnTo>
                          <a:pt x="262" y="1758"/>
                        </a:lnTo>
                        <a:lnTo>
                          <a:pt x="233" y="1756"/>
                        </a:lnTo>
                        <a:lnTo>
                          <a:pt x="205" y="1752"/>
                        </a:lnTo>
                        <a:lnTo>
                          <a:pt x="177" y="1747"/>
                        </a:lnTo>
                        <a:lnTo>
                          <a:pt x="152" y="1740"/>
                        </a:lnTo>
                        <a:lnTo>
                          <a:pt x="126" y="1731"/>
                        </a:lnTo>
                        <a:lnTo>
                          <a:pt x="102" y="1720"/>
                        </a:lnTo>
                        <a:lnTo>
                          <a:pt x="80" y="1708"/>
                        </a:lnTo>
                        <a:lnTo>
                          <a:pt x="60" y="1693"/>
                        </a:lnTo>
                        <a:lnTo>
                          <a:pt x="43" y="1673"/>
                        </a:lnTo>
                        <a:lnTo>
                          <a:pt x="28" y="1652"/>
                        </a:lnTo>
                        <a:lnTo>
                          <a:pt x="16" y="1627"/>
                        </a:lnTo>
                        <a:lnTo>
                          <a:pt x="6" y="1598"/>
                        </a:lnTo>
                        <a:lnTo>
                          <a:pt x="1" y="1566"/>
                        </a:lnTo>
                        <a:lnTo>
                          <a:pt x="0" y="1529"/>
                        </a:lnTo>
                        <a:lnTo>
                          <a:pt x="0" y="1093"/>
                        </a:lnTo>
                        <a:lnTo>
                          <a:pt x="1" y="1060"/>
                        </a:lnTo>
                        <a:lnTo>
                          <a:pt x="6" y="1030"/>
                        </a:lnTo>
                        <a:lnTo>
                          <a:pt x="14" y="1004"/>
                        </a:lnTo>
                        <a:lnTo>
                          <a:pt x="25" y="981"/>
                        </a:lnTo>
                        <a:lnTo>
                          <a:pt x="37" y="962"/>
                        </a:lnTo>
                        <a:lnTo>
                          <a:pt x="53" y="946"/>
                        </a:lnTo>
                        <a:lnTo>
                          <a:pt x="70" y="932"/>
                        </a:lnTo>
                        <a:lnTo>
                          <a:pt x="88" y="921"/>
                        </a:lnTo>
                        <a:lnTo>
                          <a:pt x="108" y="911"/>
                        </a:lnTo>
                        <a:lnTo>
                          <a:pt x="130" y="905"/>
                        </a:lnTo>
                        <a:lnTo>
                          <a:pt x="152" y="900"/>
                        </a:lnTo>
                        <a:lnTo>
                          <a:pt x="174" y="896"/>
                        </a:lnTo>
                        <a:lnTo>
                          <a:pt x="198" y="893"/>
                        </a:lnTo>
                        <a:lnTo>
                          <a:pt x="220" y="892"/>
                        </a:lnTo>
                        <a:lnTo>
                          <a:pt x="244" y="891"/>
                        </a:lnTo>
                        <a:lnTo>
                          <a:pt x="267" y="891"/>
                        </a:lnTo>
                        <a:lnTo>
                          <a:pt x="288" y="891"/>
                        </a:lnTo>
                        <a:close/>
                        <a:moveTo>
                          <a:pt x="2165" y="515"/>
                        </a:moveTo>
                        <a:lnTo>
                          <a:pt x="2748" y="515"/>
                        </a:lnTo>
                        <a:lnTo>
                          <a:pt x="2748" y="600"/>
                        </a:lnTo>
                        <a:lnTo>
                          <a:pt x="2165" y="600"/>
                        </a:lnTo>
                        <a:lnTo>
                          <a:pt x="2165" y="515"/>
                        </a:lnTo>
                        <a:close/>
                        <a:moveTo>
                          <a:pt x="2165" y="303"/>
                        </a:moveTo>
                        <a:lnTo>
                          <a:pt x="2748" y="303"/>
                        </a:lnTo>
                        <a:lnTo>
                          <a:pt x="2748" y="397"/>
                        </a:lnTo>
                        <a:lnTo>
                          <a:pt x="2165" y="397"/>
                        </a:lnTo>
                        <a:lnTo>
                          <a:pt x="2165" y="303"/>
                        </a:lnTo>
                        <a:close/>
                        <a:moveTo>
                          <a:pt x="197" y="149"/>
                        </a:moveTo>
                        <a:lnTo>
                          <a:pt x="289" y="149"/>
                        </a:lnTo>
                        <a:lnTo>
                          <a:pt x="289" y="730"/>
                        </a:lnTo>
                        <a:lnTo>
                          <a:pt x="197" y="730"/>
                        </a:lnTo>
                        <a:lnTo>
                          <a:pt x="197" y="149"/>
                        </a:lnTo>
                        <a:close/>
                        <a:moveTo>
                          <a:pt x="2888" y="119"/>
                        </a:moveTo>
                        <a:lnTo>
                          <a:pt x="2980" y="119"/>
                        </a:lnTo>
                        <a:lnTo>
                          <a:pt x="2980" y="700"/>
                        </a:lnTo>
                        <a:lnTo>
                          <a:pt x="2888" y="700"/>
                        </a:lnTo>
                        <a:lnTo>
                          <a:pt x="2888" y="119"/>
                        </a:lnTo>
                        <a:close/>
                        <a:moveTo>
                          <a:pt x="288" y="49"/>
                        </a:moveTo>
                        <a:lnTo>
                          <a:pt x="248" y="49"/>
                        </a:lnTo>
                        <a:lnTo>
                          <a:pt x="212" y="51"/>
                        </a:lnTo>
                        <a:lnTo>
                          <a:pt x="180" y="54"/>
                        </a:lnTo>
                        <a:lnTo>
                          <a:pt x="150" y="58"/>
                        </a:lnTo>
                        <a:lnTo>
                          <a:pt x="126" y="66"/>
                        </a:lnTo>
                        <a:lnTo>
                          <a:pt x="104" y="76"/>
                        </a:lnTo>
                        <a:lnTo>
                          <a:pt x="86" y="89"/>
                        </a:lnTo>
                        <a:lnTo>
                          <a:pt x="72" y="104"/>
                        </a:lnTo>
                        <a:lnTo>
                          <a:pt x="61" y="123"/>
                        </a:lnTo>
                        <a:lnTo>
                          <a:pt x="54" y="145"/>
                        </a:lnTo>
                        <a:lnTo>
                          <a:pt x="49" y="171"/>
                        </a:lnTo>
                        <a:lnTo>
                          <a:pt x="47" y="202"/>
                        </a:lnTo>
                        <a:lnTo>
                          <a:pt x="47" y="639"/>
                        </a:lnTo>
                        <a:lnTo>
                          <a:pt x="49" y="671"/>
                        </a:lnTo>
                        <a:lnTo>
                          <a:pt x="55" y="699"/>
                        </a:lnTo>
                        <a:lnTo>
                          <a:pt x="62" y="723"/>
                        </a:lnTo>
                        <a:lnTo>
                          <a:pt x="74" y="745"/>
                        </a:lnTo>
                        <a:lnTo>
                          <a:pt x="89" y="762"/>
                        </a:lnTo>
                        <a:lnTo>
                          <a:pt x="106" y="777"/>
                        </a:lnTo>
                        <a:lnTo>
                          <a:pt x="127" y="789"/>
                        </a:lnTo>
                        <a:lnTo>
                          <a:pt x="149" y="799"/>
                        </a:lnTo>
                        <a:lnTo>
                          <a:pt x="175" y="807"/>
                        </a:lnTo>
                        <a:lnTo>
                          <a:pt x="204" y="813"/>
                        </a:lnTo>
                        <a:lnTo>
                          <a:pt x="234" y="817"/>
                        </a:lnTo>
                        <a:lnTo>
                          <a:pt x="268" y="819"/>
                        </a:lnTo>
                        <a:lnTo>
                          <a:pt x="302" y="821"/>
                        </a:lnTo>
                        <a:lnTo>
                          <a:pt x="340" y="822"/>
                        </a:lnTo>
                        <a:lnTo>
                          <a:pt x="379" y="822"/>
                        </a:lnTo>
                        <a:lnTo>
                          <a:pt x="2789" y="822"/>
                        </a:lnTo>
                        <a:lnTo>
                          <a:pt x="2827" y="822"/>
                        </a:lnTo>
                        <a:lnTo>
                          <a:pt x="2865" y="821"/>
                        </a:lnTo>
                        <a:lnTo>
                          <a:pt x="2901" y="819"/>
                        </a:lnTo>
                        <a:lnTo>
                          <a:pt x="2933" y="817"/>
                        </a:lnTo>
                        <a:lnTo>
                          <a:pt x="2964" y="813"/>
                        </a:lnTo>
                        <a:lnTo>
                          <a:pt x="2992" y="807"/>
                        </a:lnTo>
                        <a:lnTo>
                          <a:pt x="3018" y="799"/>
                        </a:lnTo>
                        <a:lnTo>
                          <a:pt x="3040" y="789"/>
                        </a:lnTo>
                        <a:lnTo>
                          <a:pt x="3061" y="777"/>
                        </a:lnTo>
                        <a:lnTo>
                          <a:pt x="3079" y="762"/>
                        </a:lnTo>
                        <a:lnTo>
                          <a:pt x="3093" y="745"/>
                        </a:lnTo>
                        <a:lnTo>
                          <a:pt x="3105" y="723"/>
                        </a:lnTo>
                        <a:lnTo>
                          <a:pt x="3114" y="699"/>
                        </a:lnTo>
                        <a:lnTo>
                          <a:pt x="3119" y="671"/>
                        </a:lnTo>
                        <a:lnTo>
                          <a:pt x="3120" y="639"/>
                        </a:lnTo>
                        <a:lnTo>
                          <a:pt x="3120" y="202"/>
                        </a:lnTo>
                        <a:lnTo>
                          <a:pt x="3119" y="171"/>
                        </a:lnTo>
                        <a:lnTo>
                          <a:pt x="3115" y="145"/>
                        </a:lnTo>
                        <a:lnTo>
                          <a:pt x="3106" y="123"/>
                        </a:lnTo>
                        <a:lnTo>
                          <a:pt x="3095" y="104"/>
                        </a:lnTo>
                        <a:lnTo>
                          <a:pt x="3081" y="89"/>
                        </a:lnTo>
                        <a:lnTo>
                          <a:pt x="3063" y="76"/>
                        </a:lnTo>
                        <a:lnTo>
                          <a:pt x="3043" y="66"/>
                        </a:lnTo>
                        <a:lnTo>
                          <a:pt x="3017" y="58"/>
                        </a:lnTo>
                        <a:lnTo>
                          <a:pt x="2989" y="54"/>
                        </a:lnTo>
                        <a:lnTo>
                          <a:pt x="2957" y="51"/>
                        </a:lnTo>
                        <a:lnTo>
                          <a:pt x="2920" y="49"/>
                        </a:lnTo>
                        <a:lnTo>
                          <a:pt x="2879" y="49"/>
                        </a:lnTo>
                        <a:lnTo>
                          <a:pt x="2836" y="49"/>
                        </a:lnTo>
                        <a:lnTo>
                          <a:pt x="2789" y="49"/>
                        </a:lnTo>
                        <a:lnTo>
                          <a:pt x="379" y="49"/>
                        </a:lnTo>
                        <a:lnTo>
                          <a:pt x="331" y="49"/>
                        </a:lnTo>
                        <a:lnTo>
                          <a:pt x="288" y="49"/>
                        </a:lnTo>
                        <a:close/>
                        <a:moveTo>
                          <a:pt x="288" y="0"/>
                        </a:moveTo>
                        <a:lnTo>
                          <a:pt x="332" y="0"/>
                        </a:lnTo>
                        <a:lnTo>
                          <a:pt x="379" y="2"/>
                        </a:lnTo>
                        <a:lnTo>
                          <a:pt x="2789" y="2"/>
                        </a:lnTo>
                        <a:lnTo>
                          <a:pt x="2836" y="0"/>
                        </a:lnTo>
                        <a:lnTo>
                          <a:pt x="2879" y="0"/>
                        </a:lnTo>
                        <a:lnTo>
                          <a:pt x="2901" y="0"/>
                        </a:lnTo>
                        <a:lnTo>
                          <a:pt x="2924" y="0"/>
                        </a:lnTo>
                        <a:lnTo>
                          <a:pt x="2947" y="2"/>
                        </a:lnTo>
                        <a:lnTo>
                          <a:pt x="2971" y="4"/>
                        </a:lnTo>
                        <a:lnTo>
                          <a:pt x="2993" y="6"/>
                        </a:lnTo>
                        <a:lnTo>
                          <a:pt x="3016" y="9"/>
                        </a:lnTo>
                        <a:lnTo>
                          <a:pt x="3038" y="14"/>
                        </a:lnTo>
                        <a:lnTo>
                          <a:pt x="3059" y="22"/>
                        </a:lnTo>
                        <a:lnTo>
                          <a:pt x="3079" y="31"/>
                        </a:lnTo>
                        <a:lnTo>
                          <a:pt x="3099" y="41"/>
                        </a:lnTo>
                        <a:lnTo>
                          <a:pt x="3115" y="55"/>
                        </a:lnTo>
                        <a:lnTo>
                          <a:pt x="3131" y="71"/>
                        </a:lnTo>
                        <a:lnTo>
                          <a:pt x="3144" y="91"/>
                        </a:lnTo>
                        <a:lnTo>
                          <a:pt x="3154" y="113"/>
                        </a:lnTo>
                        <a:lnTo>
                          <a:pt x="3162" y="139"/>
                        </a:lnTo>
                        <a:lnTo>
                          <a:pt x="3166" y="169"/>
                        </a:lnTo>
                        <a:lnTo>
                          <a:pt x="3169" y="202"/>
                        </a:lnTo>
                        <a:lnTo>
                          <a:pt x="3169" y="639"/>
                        </a:lnTo>
                        <a:lnTo>
                          <a:pt x="3166" y="675"/>
                        </a:lnTo>
                        <a:lnTo>
                          <a:pt x="3161" y="707"/>
                        </a:lnTo>
                        <a:lnTo>
                          <a:pt x="3152" y="736"/>
                        </a:lnTo>
                        <a:lnTo>
                          <a:pt x="3140" y="761"/>
                        </a:lnTo>
                        <a:lnTo>
                          <a:pt x="3126" y="783"/>
                        </a:lnTo>
                        <a:lnTo>
                          <a:pt x="3107" y="802"/>
                        </a:lnTo>
                        <a:lnTo>
                          <a:pt x="3088" y="817"/>
                        </a:lnTo>
                        <a:lnTo>
                          <a:pt x="3065" y="831"/>
                        </a:lnTo>
                        <a:lnTo>
                          <a:pt x="3042" y="842"/>
                        </a:lnTo>
                        <a:lnTo>
                          <a:pt x="3017" y="850"/>
                        </a:lnTo>
                        <a:lnTo>
                          <a:pt x="2990" y="857"/>
                        </a:lnTo>
                        <a:lnTo>
                          <a:pt x="2962" y="861"/>
                        </a:lnTo>
                        <a:lnTo>
                          <a:pt x="2934" y="865"/>
                        </a:lnTo>
                        <a:lnTo>
                          <a:pt x="2905" y="867"/>
                        </a:lnTo>
                        <a:lnTo>
                          <a:pt x="2876" y="868"/>
                        </a:lnTo>
                        <a:lnTo>
                          <a:pt x="2847" y="870"/>
                        </a:lnTo>
                        <a:lnTo>
                          <a:pt x="2818" y="870"/>
                        </a:lnTo>
                        <a:lnTo>
                          <a:pt x="2789" y="870"/>
                        </a:lnTo>
                        <a:lnTo>
                          <a:pt x="379" y="870"/>
                        </a:lnTo>
                        <a:lnTo>
                          <a:pt x="351" y="870"/>
                        </a:lnTo>
                        <a:lnTo>
                          <a:pt x="322" y="870"/>
                        </a:lnTo>
                        <a:lnTo>
                          <a:pt x="293" y="868"/>
                        </a:lnTo>
                        <a:lnTo>
                          <a:pt x="262" y="867"/>
                        </a:lnTo>
                        <a:lnTo>
                          <a:pt x="233" y="865"/>
                        </a:lnTo>
                        <a:lnTo>
                          <a:pt x="205" y="861"/>
                        </a:lnTo>
                        <a:lnTo>
                          <a:pt x="177" y="857"/>
                        </a:lnTo>
                        <a:lnTo>
                          <a:pt x="152" y="850"/>
                        </a:lnTo>
                        <a:lnTo>
                          <a:pt x="126" y="842"/>
                        </a:lnTo>
                        <a:lnTo>
                          <a:pt x="102" y="831"/>
                        </a:lnTo>
                        <a:lnTo>
                          <a:pt x="80" y="817"/>
                        </a:lnTo>
                        <a:lnTo>
                          <a:pt x="60" y="802"/>
                        </a:lnTo>
                        <a:lnTo>
                          <a:pt x="43" y="783"/>
                        </a:lnTo>
                        <a:lnTo>
                          <a:pt x="28" y="761"/>
                        </a:lnTo>
                        <a:lnTo>
                          <a:pt x="16" y="736"/>
                        </a:lnTo>
                        <a:lnTo>
                          <a:pt x="6" y="707"/>
                        </a:lnTo>
                        <a:lnTo>
                          <a:pt x="1" y="675"/>
                        </a:lnTo>
                        <a:lnTo>
                          <a:pt x="0" y="639"/>
                        </a:lnTo>
                        <a:lnTo>
                          <a:pt x="0" y="202"/>
                        </a:lnTo>
                        <a:lnTo>
                          <a:pt x="1" y="169"/>
                        </a:lnTo>
                        <a:lnTo>
                          <a:pt x="6" y="139"/>
                        </a:lnTo>
                        <a:lnTo>
                          <a:pt x="14" y="113"/>
                        </a:lnTo>
                        <a:lnTo>
                          <a:pt x="25" y="91"/>
                        </a:lnTo>
                        <a:lnTo>
                          <a:pt x="37" y="71"/>
                        </a:lnTo>
                        <a:lnTo>
                          <a:pt x="53" y="55"/>
                        </a:lnTo>
                        <a:lnTo>
                          <a:pt x="70" y="41"/>
                        </a:lnTo>
                        <a:lnTo>
                          <a:pt x="88" y="31"/>
                        </a:lnTo>
                        <a:lnTo>
                          <a:pt x="108" y="22"/>
                        </a:lnTo>
                        <a:lnTo>
                          <a:pt x="130" y="14"/>
                        </a:lnTo>
                        <a:lnTo>
                          <a:pt x="152" y="9"/>
                        </a:lnTo>
                        <a:lnTo>
                          <a:pt x="174" y="6"/>
                        </a:lnTo>
                        <a:lnTo>
                          <a:pt x="198" y="4"/>
                        </a:lnTo>
                        <a:lnTo>
                          <a:pt x="220" y="2"/>
                        </a:lnTo>
                        <a:lnTo>
                          <a:pt x="244" y="0"/>
                        </a:lnTo>
                        <a:lnTo>
                          <a:pt x="267" y="0"/>
                        </a:lnTo>
                        <a:lnTo>
                          <a:pt x="2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58" name="Rounded Rectangle 657"/>
                  <p:cNvSpPr/>
                  <p:nvPr/>
                </p:nvSpPr>
                <p:spPr bwMode="auto">
                  <a:xfrm>
                    <a:off x="10580475" y="2249664"/>
                    <a:ext cx="1103494" cy="674966"/>
                  </a:xfrm>
                  <a:prstGeom prst="roundRect">
                    <a:avLst/>
                  </a:prstGeom>
                  <a:noFill/>
                  <a:ln w="22225">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grpSp>
            <p:nvGrpSpPr>
              <p:cNvPr id="659" name="Group 658"/>
              <p:cNvGrpSpPr/>
              <p:nvPr/>
            </p:nvGrpSpPr>
            <p:grpSpPr>
              <a:xfrm>
                <a:off x="6225206" y="5419443"/>
                <a:ext cx="1103494" cy="674966"/>
                <a:chOff x="5866030" y="6207074"/>
                <a:chExt cx="1103494" cy="674966"/>
              </a:xfrm>
            </p:grpSpPr>
            <p:sp>
              <p:nvSpPr>
                <p:cNvPr id="660" name="Rounded Rectangle 659"/>
                <p:cNvSpPr/>
                <p:nvPr/>
              </p:nvSpPr>
              <p:spPr bwMode="auto">
                <a:xfrm>
                  <a:off x="5876310" y="6210300"/>
                  <a:ext cx="1093213" cy="67174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nvGrpSpPr>
                <p:cNvPr id="661" name="Group 660"/>
                <p:cNvGrpSpPr/>
                <p:nvPr/>
              </p:nvGrpSpPr>
              <p:grpSpPr>
                <a:xfrm>
                  <a:off x="5866030" y="6207074"/>
                  <a:ext cx="1103494" cy="674966"/>
                  <a:chOff x="10580475" y="2249664"/>
                  <a:chExt cx="1103494" cy="674966"/>
                </a:xfrm>
              </p:grpSpPr>
              <p:sp>
                <p:nvSpPr>
                  <p:cNvPr id="662" name="Freeform 6"/>
                  <p:cNvSpPr>
                    <a:spLocks noEditPoints="1"/>
                  </p:cNvSpPr>
                  <p:nvPr/>
                </p:nvSpPr>
                <p:spPr bwMode="auto">
                  <a:xfrm>
                    <a:off x="10659795" y="2318928"/>
                    <a:ext cx="970092" cy="538941"/>
                  </a:xfrm>
                  <a:custGeom>
                    <a:avLst/>
                    <a:gdLst>
                      <a:gd name="T0" fmla="*/ 2214 w 3169"/>
                      <a:gd name="T1" fmla="*/ 1274 h 1760"/>
                      <a:gd name="T2" fmla="*/ 290 w 3169"/>
                      <a:gd name="T3" fmla="*/ 1050 h 1760"/>
                      <a:gd name="T4" fmla="*/ 2982 w 3169"/>
                      <a:gd name="T5" fmla="*/ 1601 h 1760"/>
                      <a:gd name="T6" fmla="*/ 180 w 3169"/>
                      <a:gd name="T7" fmla="*/ 945 h 1760"/>
                      <a:gd name="T8" fmla="*/ 61 w 3169"/>
                      <a:gd name="T9" fmla="*/ 1012 h 1760"/>
                      <a:gd name="T10" fmla="*/ 55 w 3169"/>
                      <a:gd name="T11" fmla="*/ 1589 h 1760"/>
                      <a:gd name="T12" fmla="*/ 149 w 3169"/>
                      <a:gd name="T13" fmla="*/ 1689 h 1760"/>
                      <a:gd name="T14" fmla="*/ 340 w 3169"/>
                      <a:gd name="T15" fmla="*/ 1712 h 1760"/>
                      <a:gd name="T16" fmla="*/ 2933 w 3169"/>
                      <a:gd name="T17" fmla="*/ 1708 h 1760"/>
                      <a:gd name="T18" fmla="*/ 3079 w 3169"/>
                      <a:gd name="T19" fmla="*/ 1653 h 1760"/>
                      <a:gd name="T20" fmla="*/ 3120 w 3169"/>
                      <a:gd name="T21" fmla="*/ 1093 h 1760"/>
                      <a:gd name="T22" fmla="*/ 3063 w 3169"/>
                      <a:gd name="T23" fmla="*/ 966 h 1760"/>
                      <a:gd name="T24" fmla="*/ 2879 w 3169"/>
                      <a:gd name="T25" fmla="*/ 938 h 1760"/>
                      <a:gd name="T26" fmla="*/ 288 w 3169"/>
                      <a:gd name="T27" fmla="*/ 891 h 1760"/>
                      <a:gd name="T28" fmla="*/ 2901 w 3169"/>
                      <a:gd name="T29" fmla="*/ 891 h 1760"/>
                      <a:gd name="T30" fmla="*/ 3038 w 3169"/>
                      <a:gd name="T31" fmla="*/ 905 h 1760"/>
                      <a:gd name="T32" fmla="*/ 3144 w 3169"/>
                      <a:gd name="T33" fmla="*/ 981 h 1760"/>
                      <a:gd name="T34" fmla="*/ 3166 w 3169"/>
                      <a:gd name="T35" fmla="*/ 1566 h 1760"/>
                      <a:gd name="T36" fmla="*/ 3088 w 3169"/>
                      <a:gd name="T37" fmla="*/ 1708 h 1760"/>
                      <a:gd name="T38" fmla="*/ 2934 w 3169"/>
                      <a:gd name="T39" fmla="*/ 1756 h 1760"/>
                      <a:gd name="T40" fmla="*/ 379 w 3169"/>
                      <a:gd name="T41" fmla="*/ 1760 h 1760"/>
                      <a:gd name="T42" fmla="*/ 205 w 3169"/>
                      <a:gd name="T43" fmla="*/ 1752 h 1760"/>
                      <a:gd name="T44" fmla="*/ 60 w 3169"/>
                      <a:gd name="T45" fmla="*/ 1693 h 1760"/>
                      <a:gd name="T46" fmla="*/ 0 w 3169"/>
                      <a:gd name="T47" fmla="*/ 1529 h 1760"/>
                      <a:gd name="T48" fmla="*/ 37 w 3169"/>
                      <a:gd name="T49" fmla="*/ 962 h 1760"/>
                      <a:gd name="T50" fmla="*/ 152 w 3169"/>
                      <a:gd name="T51" fmla="*/ 900 h 1760"/>
                      <a:gd name="T52" fmla="*/ 288 w 3169"/>
                      <a:gd name="T53" fmla="*/ 891 h 1760"/>
                      <a:gd name="T54" fmla="*/ 2165 w 3169"/>
                      <a:gd name="T55" fmla="*/ 303 h 1760"/>
                      <a:gd name="T56" fmla="*/ 289 w 3169"/>
                      <a:gd name="T57" fmla="*/ 149 h 1760"/>
                      <a:gd name="T58" fmla="*/ 2980 w 3169"/>
                      <a:gd name="T59" fmla="*/ 700 h 1760"/>
                      <a:gd name="T60" fmla="*/ 180 w 3169"/>
                      <a:gd name="T61" fmla="*/ 54 h 1760"/>
                      <a:gd name="T62" fmla="*/ 61 w 3169"/>
                      <a:gd name="T63" fmla="*/ 123 h 1760"/>
                      <a:gd name="T64" fmla="*/ 55 w 3169"/>
                      <a:gd name="T65" fmla="*/ 699 h 1760"/>
                      <a:gd name="T66" fmla="*/ 149 w 3169"/>
                      <a:gd name="T67" fmla="*/ 799 h 1760"/>
                      <a:gd name="T68" fmla="*/ 340 w 3169"/>
                      <a:gd name="T69" fmla="*/ 822 h 1760"/>
                      <a:gd name="T70" fmla="*/ 2933 w 3169"/>
                      <a:gd name="T71" fmla="*/ 817 h 1760"/>
                      <a:gd name="T72" fmla="*/ 3079 w 3169"/>
                      <a:gd name="T73" fmla="*/ 762 h 1760"/>
                      <a:gd name="T74" fmla="*/ 3120 w 3169"/>
                      <a:gd name="T75" fmla="*/ 202 h 1760"/>
                      <a:gd name="T76" fmla="*/ 3063 w 3169"/>
                      <a:gd name="T77" fmla="*/ 76 h 1760"/>
                      <a:gd name="T78" fmla="*/ 2879 w 3169"/>
                      <a:gd name="T79" fmla="*/ 49 h 1760"/>
                      <a:gd name="T80" fmla="*/ 288 w 3169"/>
                      <a:gd name="T81" fmla="*/ 0 h 1760"/>
                      <a:gd name="T82" fmla="*/ 2901 w 3169"/>
                      <a:gd name="T83" fmla="*/ 0 h 1760"/>
                      <a:gd name="T84" fmla="*/ 3038 w 3169"/>
                      <a:gd name="T85" fmla="*/ 14 h 1760"/>
                      <a:gd name="T86" fmla="*/ 3144 w 3169"/>
                      <a:gd name="T87" fmla="*/ 91 h 1760"/>
                      <a:gd name="T88" fmla="*/ 3166 w 3169"/>
                      <a:gd name="T89" fmla="*/ 675 h 1760"/>
                      <a:gd name="T90" fmla="*/ 3088 w 3169"/>
                      <a:gd name="T91" fmla="*/ 817 h 1760"/>
                      <a:gd name="T92" fmla="*/ 2934 w 3169"/>
                      <a:gd name="T93" fmla="*/ 865 h 1760"/>
                      <a:gd name="T94" fmla="*/ 379 w 3169"/>
                      <a:gd name="T95" fmla="*/ 870 h 1760"/>
                      <a:gd name="T96" fmla="*/ 205 w 3169"/>
                      <a:gd name="T97" fmla="*/ 861 h 1760"/>
                      <a:gd name="T98" fmla="*/ 60 w 3169"/>
                      <a:gd name="T99" fmla="*/ 802 h 1760"/>
                      <a:gd name="T100" fmla="*/ 0 w 3169"/>
                      <a:gd name="T101" fmla="*/ 639 h 1760"/>
                      <a:gd name="T102" fmla="*/ 37 w 3169"/>
                      <a:gd name="T103" fmla="*/ 71 h 1760"/>
                      <a:gd name="T104" fmla="*/ 152 w 3169"/>
                      <a:gd name="T105" fmla="*/ 9 h 1760"/>
                      <a:gd name="T106" fmla="*/ 288 w 3169"/>
                      <a:gd name="T107"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69" h="1760">
                        <a:moveTo>
                          <a:pt x="2214" y="1484"/>
                        </a:moveTo>
                        <a:lnTo>
                          <a:pt x="2795" y="1484"/>
                        </a:lnTo>
                        <a:lnTo>
                          <a:pt x="2795" y="1569"/>
                        </a:lnTo>
                        <a:lnTo>
                          <a:pt x="2214" y="1569"/>
                        </a:lnTo>
                        <a:lnTo>
                          <a:pt x="2214" y="1484"/>
                        </a:lnTo>
                        <a:close/>
                        <a:moveTo>
                          <a:pt x="2214" y="1274"/>
                        </a:moveTo>
                        <a:lnTo>
                          <a:pt x="2795" y="1274"/>
                        </a:lnTo>
                        <a:lnTo>
                          <a:pt x="2795" y="1366"/>
                        </a:lnTo>
                        <a:lnTo>
                          <a:pt x="2214" y="1366"/>
                        </a:lnTo>
                        <a:lnTo>
                          <a:pt x="2214" y="1274"/>
                        </a:lnTo>
                        <a:close/>
                        <a:moveTo>
                          <a:pt x="198" y="1050"/>
                        </a:moveTo>
                        <a:lnTo>
                          <a:pt x="290" y="1050"/>
                        </a:lnTo>
                        <a:lnTo>
                          <a:pt x="290" y="1631"/>
                        </a:lnTo>
                        <a:lnTo>
                          <a:pt x="198" y="1631"/>
                        </a:lnTo>
                        <a:lnTo>
                          <a:pt x="198" y="1050"/>
                        </a:lnTo>
                        <a:close/>
                        <a:moveTo>
                          <a:pt x="2889" y="1020"/>
                        </a:moveTo>
                        <a:lnTo>
                          <a:pt x="2982" y="1020"/>
                        </a:lnTo>
                        <a:lnTo>
                          <a:pt x="2982" y="1601"/>
                        </a:lnTo>
                        <a:lnTo>
                          <a:pt x="2889" y="1601"/>
                        </a:lnTo>
                        <a:lnTo>
                          <a:pt x="2889" y="1020"/>
                        </a:lnTo>
                        <a:close/>
                        <a:moveTo>
                          <a:pt x="288" y="938"/>
                        </a:moveTo>
                        <a:lnTo>
                          <a:pt x="248" y="939"/>
                        </a:lnTo>
                        <a:lnTo>
                          <a:pt x="212" y="942"/>
                        </a:lnTo>
                        <a:lnTo>
                          <a:pt x="180" y="945"/>
                        </a:lnTo>
                        <a:lnTo>
                          <a:pt x="150" y="949"/>
                        </a:lnTo>
                        <a:lnTo>
                          <a:pt x="126" y="957"/>
                        </a:lnTo>
                        <a:lnTo>
                          <a:pt x="104" y="966"/>
                        </a:lnTo>
                        <a:lnTo>
                          <a:pt x="86" y="978"/>
                        </a:lnTo>
                        <a:lnTo>
                          <a:pt x="72" y="994"/>
                        </a:lnTo>
                        <a:lnTo>
                          <a:pt x="61" y="1012"/>
                        </a:lnTo>
                        <a:lnTo>
                          <a:pt x="54" y="1035"/>
                        </a:lnTo>
                        <a:lnTo>
                          <a:pt x="49" y="1062"/>
                        </a:lnTo>
                        <a:lnTo>
                          <a:pt x="47" y="1093"/>
                        </a:lnTo>
                        <a:lnTo>
                          <a:pt x="47" y="1529"/>
                        </a:lnTo>
                        <a:lnTo>
                          <a:pt x="49" y="1561"/>
                        </a:lnTo>
                        <a:lnTo>
                          <a:pt x="55" y="1589"/>
                        </a:lnTo>
                        <a:lnTo>
                          <a:pt x="62" y="1614"/>
                        </a:lnTo>
                        <a:lnTo>
                          <a:pt x="74" y="1634"/>
                        </a:lnTo>
                        <a:lnTo>
                          <a:pt x="89" y="1653"/>
                        </a:lnTo>
                        <a:lnTo>
                          <a:pt x="106" y="1668"/>
                        </a:lnTo>
                        <a:lnTo>
                          <a:pt x="127" y="1680"/>
                        </a:lnTo>
                        <a:lnTo>
                          <a:pt x="149" y="1689"/>
                        </a:lnTo>
                        <a:lnTo>
                          <a:pt x="175" y="1697"/>
                        </a:lnTo>
                        <a:lnTo>
                          <a:pt x="204" y="1703"/>
                        </a:lnTo>
                        <a:lnTo>
                          <a:pt x="234" y="1708"/>
                        </a:lnTo>
                        <a:lnTo>
                          <a:pt x="268" y="1710"/>
                        </a:lnTo>
                        <a:lnTo>
                          <a:pt x="302" y="1712"/>
                        </a:lnTo>
                        <a:lnTo>
                          <a:pt x="340" y="1712"/>
                        </a:lnTo>
                        <a:lnTo>
                          <a:pt x="379" y="1713"/>
                        </a:lnTo>
                        <a:lnTo>
                          <a:pt x="2789" y="1713"/>
                        </a:lnTo>
                        <a:lnTo>
                          <a:pt x="2827" y="1712"/>
                        </a:lnTo>
                        <a:lnTo>
                          <a:pt x="2865" y="1712"/>
                        </a:lnTo>
                        <a:lnTo>
                          <a:pt x="2901" y="1710"/>
                        </a:lnTo>
                        <a:lnTo>
                          <a:pt x="2933" y="1708"/>
                        </a:lnTo>
                        <a:lnTo>
                          <a:pt x="2964" y="1703"/>
                        </a:lnTo>
                        <a:lnTo>
                          <a:pt x="2992" y="1697"/>
                        </a:lnTo>
                        <a:lnTo>
                          <a:pt x="3018" y="1689"/>
                        </a:lnTo>
                        <a:lnTo>
                          <a:pt x="3040" y="1680"/>
                        </a:lnTo>
                        <a:lnTo>
                          <a:pt x="3061" y="1668"/>
                        </a:lnTo>
                        <a:lnTo>
                          <a:pt x="3079" y="1653"/>
                        </a:lnTo>
                        <a:lnTo>
                          <a:pt x="3093" y="1634"/>
                        </a:lnTo>
                        <a:lnTo>
                          <a:pt x="3105" y="1614"/>
                        </a:lnTo>
                        <a:lnTo>
                          <a:pt x="3114" y="1589"/>
                        </a:lnTo>
                        <a:lnTo>
                          <a:pt x="3119" y="1561"/>
                        </a:lnTo>
                        <a:lnTo>
                          <a:pt x="3120" y="1529"/>
                        </a:lnTo>
                        <a:lnTo>
                          <a:pt x="3120" y="1093"/>
                        </a:lnTo>
                        <a:lnTo>
                          <a:pt x="3119" y="1062"/>
                        </a:lnTo>
                        <a:lnTo>
                          <a:pt x="3115" y="1035"/>
                        </a:lnTo>
                        <a:lnTo>
                          <a:pt x="3106" y="1012"/>
                        </a:lnTo>
                        <a:lnTo>
                          <a:pt x="3095" y="994"/>
                        </a:lnTo>
                        <a:lnTo>
                          <a:pt x="3081" y="978"/>
                        </a:lnTo>
                        <a:lnTo>
                          <a:pt x="3063" y="966"/>
                        </a:lnTo>
                        <a:lnTo>
                          <a:pt x="3043" y="957"/>
                        </a:lnTo>
                        <a:lnTo>
                          <a:pt x="3017" y="949"/>
                        </a:lnTo>
                        <a:lnTo>
                          <a:pt x="2989" y="945"/>
                        </a:lnTo>
                        <a:lnTo>
                          <a:pt x="2957" y="942"/>
                        </a:lnTo>
                        <a:lnTo>
                          <a:pt x="2920" y="939"/>
                        </a:lnTo>
                        <a:lnTo>
                          <a:pt x="2879" y="938"/>
                        </a:lnTo>
                        <a:lnTo>
                          <a:pt x="2836" y="939"/>
                        </a:lnTo>
                        <a:lnTo>
                          <a:pt x="2789" y="939"/>
                        </a:lnTo>
                        <a:lnTo>
                          <a:pt x="379" y="939"/>
                        </a:lnTo>
                        <a:lnTo>
                          <a:pt x="331" y="939"/>
                        </a:lnTo>
                        <a:lnTo>
                          <a:pt x="288" y="938"/>
                        </a:lnTo>
                        <a:close/>
                        <a:moveTo>
                          <a:pt x="288" y="891"/>
                        </a:moveTo>
                        <a:lnTo>
                          <a:pt x="332" y="891"/>
                        </a:lnTo>
                        <a:lnTo>
                          <a:pt x="379" y="891"/>
                        </a:lnTo>
                        <a:lnTo>
                          <a:pt x="2789" y="891"/>
                        </a:lnTo>
                        <a:lnTo>
                          <a:pt x="2836" y="891"/>
                        </a:lnTo>
                        <a:lnTo>
                          <a:pt x="2879" y="891"/>
                        </a:lnTo>
                        <a:lnTo>
                          <a:pt x="2901" y="891"/>
                        </a:lnTo>
                        <a:lnTo>
                          <a:pt x="2923" y="891"/>
                        </a:lnTo>
                        <a:lnTo>
                          <a:pt x="2947" y="892"/>
                        </a:lnTo>
                        <a:lnTo>
                          <a:pt x="2969" y="893"/>
                        </a:lnTo>
                        <a:lnTo>
                          <a:pt x="2993" y="896"/>
                        </a:lnTo>
                        <a:lnTo>
                          <a:pt x="3016" y="900"/>
                        </a:lnTo>
                        <a:lnTo>
                          <a:pt x="3038" y="905"/>
                        </a:lnTo>
                        <a:lnTo>
                          <a:pt x="3059" y="911"/>
                        </a:lnTo>
                        <a:lnTo>
                          <a:pt x="3079" y="921"/>
                        </a:lnTo>
                        <a:lnTo>
                          <a:pt x="3099" y="932"/>
                        </a:lnTo>
                        <a:lnTo>
                          <a:pt x="3115" y="946"/>
                        </a:lnTo>
                        <a:lnTo>
                          <a:pt x="3131" y="962"/>
                        </a:lnTo>
                        <a:lnTo>
                          <a:pt x="3144" y="981"/>
                        </a:lnTo>
                        <a:lnTo>
                          <a:pt x="3154" y="1004"/>
                        </a:lnTo>
                        <a:lnTo>
                          <a:pt x="3162" y="1030"/>
                        </a:lnTo>
                        <a:lnTo>
                          <a:pt x="3166" y="1060"/>
                        </a:lnTo>
                        <a:lnTo>
                          <a:pt x="3169" y="1093"/>
                        </a:lnTo>
                        <a:lnTo>
                          <a:pt x="3169" y="1529"/>
                        </a:lnTo>
                        <a:lnTo>
                          <a:pt x="3166" y="1566"/>
                        </a:lnTo>
                        <a:lnTo>
                          <a:pt x="3161" y="1598"/>
                        </a:lnTo>
                        <a:lnTo>
                          <a:pt x="3152" y="1627"/>
                        </a:lnTo>
                        <a:lnTo>
                          <a:pt x="3140" y="1652"/>
                        </a:lnTo>
                        <a:lnTo>
                          <a:pt x="3126" y="1673"/>
                        </a:lnTo>
                        <a:lnTo>
                          <a:pt x="3107" y="1693"/>
                        </a:lnTo>
                        <a:lnTo>
                          <a:pt x="3088" y="1708"/>
                        </a:lnTo>
                        <a:lnTo>
                          <a:pt x="3065" y="1720"/>
                        </a:lnTo>
                        <a:lnTo>
                          <a:pt x="3042" y="1731"/>
                        </a:lnTo>
                        <a:lnTo>
                          <a:pt x="3017" y="1740"/>
                        </a:lnTo>
                        <a:lnTo>
                          <a:pt x="2990" y="1747"/>
                        </a:lnTo>
                        <a:lnTo>
                          <a:pt x="2962" y="1752"/>
                        </a:lnTo>
                        <a:lnTo>
                          <a:pt x="2934" y="1756"/>
                        </a:lnTo>
                        <a:lnTo>
                          <a:pt x="2905" y="1758"/>
                        </a:lnTo>
                        <a:lnTo>
                          <a:pt x="2876" y="1759"/>
                        </a:lnTo>
                        <a:lnTo>
                          <a:pt x="2847" y="1760"/>
                        </a:lnTo>
                        <a:lnTo>
                          <a:pt x="2818" y="1760"/>
                        </a:lnTo>
                        <a:lnTo>
                          <a:pt x="2789" y="1760"/>
                        </a:lnTo>
                        <a:lnTo>
                          <a:pt x="379" y="1760"/>
                        </a:lnTo>
                        <a:lnTo>
                          <a:pt x="351" y="1760"/>
                        </a:lnTo>
                        <a:lnTo>
                          <a:pt x="322" y="1760"/>
                        </a:lnTo>
                        <a:lnTo>
                          <a:pt x="293" y="1759"/>
                        </a:lnTo>
                        <a:lnTo>
                          <a:pt x="262" y="1758"/>
                        </a:lnTo>
                        <a:lnTo>
                          <a:pt x="233" y="1756"/>
                        </a:lnTo>
                        <a:lnTo>
                          <a:pt x="205" y="1752"/>
                        </a:lnTo>
                        <a:lnTo>
                          <a:pt x="177" y="1747"/>
                        </a:lnTo>
                        <a:lnTo>
                          <a:pt x="152" y="1740"/>
                        </a:lnTo>
                        <a:lnTo>
                          <a:pt x="126" y="1731"/>
                        </a:lnTo>
                        <a:lnTo>
                          <a:pt x="102" y="1720"/>
                        </a:lnTo>
                        <a:lnTo>
                          <a:pt x="80" y="1708"/>
                        </a:lnTo>
                        <a:lnTo>
                          <a:pt x="60" y="1693"/>
                        </a:lnTo>
                        <a:lnTo>
                          <a:pt x="43" y="1673"/>
                        </a:lnTo>
                        <a:lnTo>
                          <a:pt x="28" y="1652"/>
                        </a:lnTo>
                        <a:lnTo>
                          <a:pt x="16" y="1627"/>
                        </a:lnTo>
                        <a:lnTo>
                          <a:pt x="6" y="1598"/>
                        </a:lnTo>
                        <a:lnTo>
                          <a:pt x="1" y="1566"/>
                        </a:lnTo>
                        <a:lnTo>
                          <a:pt x="0" y="1529"/>
                        </a:lnTo>
                        <a:lnTo>
                          <a:pt x="0" y="1093"/>
                        </a:lnTo>
                        <a:lnTo>
                          <a:pt x="1" y="1060"/>
                        </a:lnTo>
                        <a:lnTo>
                          <a:pt x="6" y="1030"/>
                        </a:lnTo>
                        <a:lnTo>
                          <a:pt x="14" y="1004"/>
                        </a:lnTo>
                        <a:lnTo>
                          <a:pt x="25" y="981"/>
                        </a:lnTo>
                        <a:lnTo>
                          <a:pt x="37" y="962"/>
                        </a:lnTo>
                        <a:lnTo>
                          <a:pt x="53" y="946"/>
                        </a:lnTo>
                        <a:lnTo>
                          <a:pt x="70" y="932"/>
                        </a:lnTo>
                        <a:lnTo>
                          <a:pt x="88" y="921"/>
                        </a:lnTo>
                        <a:lnTo>
                          <a:pt x="108" y="911"/>
                        </a:lnTo>
                        <a:lnTo>
                          <a:pt x="130" y="905"/>
                        </a:lnTo>
                        <a:lnTo>
                          <a:pt x="152" y="900"/>
                        </a:lnTo>
                        <a:lnTo>
                          <a:pt x="174" y="896"/>
                        </a:lnTo>
                        <a:lnTo>
                          <a:pt x="198" y="893"/>
                        </a:lnTo>
                        <a:lnTo>
                          <a:pt x="220" y="892"/>
                        </a:lnTo>
                        <a:lnTo>
                          <a:pt x="244" y="891"/>
                        </a:lnTo>
                        <a:lnTo>
                          <a:pt x="267" y="891"/>
                        </a:lnTo>
                        <a:lnTo>
                          <a:pt x="288" y="891"/>
                        </a:lnTo>
                        <a:close/>
                        <a:moveTo>
                          <a:pt x="2165" y="515"/>
                        </a:moveTo>
                        <a:lnTo>
                          <a:pt x="2748" y="515"/>
                        </a:lnTo>
                        <a:lnTo>
                          <a:pt x="2748" y="600"/>
                        </a:lnTo>
                        <a:lnTo>
                          <a:pt x="2165" y="600"/>
                        </a:lnTo>
                        <a:lnTo>
                          <a:pt x="2165" y="515"/>
                        </a:lnTo>
                        <a:close/>
                        <a:moveTo>
                          <a:pt x="2165" y="303"/>
                        </a:moveTo>
                        <a:lnTo>
                          <a:pt x="2748" y="303"/>
                        </a:lnTo>
                        <a:lnTo>
                          <a:pt x="2748" y="397"/>
                        </a:lnTo>
                        <a:lnTo>
                          <a:pt x="2165" y="397"/>
                        </a:lnTo>
                        <a:lnTo>
                          <a:pt x="2165" y="303"/>
                        </a:lnTo>
                        <a:close/>
                        <a:moveTo>
                          <a:pt x="197" y="149"/>
                        </a:moveTo>
                        <a:lnTo>
                          <a:pt x="289" y="149"/>
                        </a:lnTo>
                        <a:lnTo>
                          <a:pt x="289" y="730"/>
                        </a:lnTo>
                        <a:lnTo>
                          <a:pt x="197" y="730"/>
                        </a:lnTo>
                        <a:lnTo>
                          <a:pt x="197" y="149"/>
                        </a:lnTo>
                        <a:close/>
                        <a:moveTo>
                          <a:pt x="2888" y="119"/>
                        </a:moveTo>
                        <a:lnTo>
                          <a:pt x="2980" y="119"/>
                        </a:lnTo>
                        <a:lnTo>
                          <a:pt x="2980" y="700"/>
                        </a:lnTo>
                        <a:lnTo>
                          <a:pt x="2888" y="700"/>
                        </a:lnTo>
                        <a:lnTo>
                          <a:pt x="2888" y="119"/>
                        </a:lnTo>
                        <a:close/>
                        <a:moveTo>
                          <a:pt x="288" y="49"/>
                        </a:moveTo>
                        <a:lnTo>
                          <a:pt x="248" y="49"/>
                        </a:lnTo>
                        <a:lnTo>
                          <a:pt x="212" y="51"/>
                        </a:lnTo>
                        <a:lnTo>
                          <a:pt x="180" y="54"/>
                        </a:lnTo>
                        <a:lnTo>
                          <a:pt x="150" y="58"/>
                        </a:lnTo>
                        <a:lnTo>
                          <a:pt x="126" y="66"/>
                        </a:lnTo>
                        <a:lnTo>
                          <a:pt x="104" y="76"/>
                        </a:lnTo>
                        <a:lnTo>
                          <a:pt x="86" y="89"/>
                        </a:lnTo>
                        <a:lnTo>
                          <a:pt x="72" y="104"/>
                        </a:lnTo>
                        <a:lnTo>
                          <a:pt x="61" y="123"/>
                        </a:lnTo>
                        <a:lnTo>
                          <a:pt x="54" y="145"/>
                        </a:lnTo>
                        <a:lnTo>
                          <a:pt x="49" y="171"/>
                        </a:lnTo>
                        <a:lnTo>
                          <a:pt x="47" y="202"/>
                        </a:lnTo>
                        <a:lnTo>
                          <a:pt x="47" y="639"/>
                        </a:lnTo>
                        <a:lnTo>
                          <a:pt x="49" y="671"/>
                        </a:lnTo>
                        <a:lnTo>
                          <a:pt x="55" y="699"/>
                        </a:lnTo>
                        <a:lnTo>
                          <a:pt x="62" y="723"/>
                        </a:lnTo>
                        <a:lnTo>
                          <a:pt x="74" y="745"/>
                        </a:lnTo>
                        <a:lnTo>
                          <a:pt x="89" y="762"/>
                        </a:lnTo>
                        <a:lnTo>
                          <a:pt x="106" y="777"/>
                        </a:lnTo>
                        <a:lnTo>
                          <a:pt x="127" y="789"/>
                        </a:lnTo>
                        <a:lnTo>
                          <a:pt x="149" y="799"/>
                        </a:lnTo>
                        <a:lnTo>
                          <a:pt x="175" y="807"/>
                        </a:lnTo>
                        <a:lnTo>
                          <a:pt x="204" y="813"/>
                        </a:lnTo>
                        <a:lnTo>
                          <a:pt x="234" y="817"/>
                        </a:lnTo>
                        <a:lnTo>
                          <a:pt x="268" y="819"/>
                        </a:lnTo>
                        <a:lnTo>
                          <a:pt x="302" y="821"/>
                        </a:lnTo>
                        <a:lnTo>
                          <a:pt x="340" y="822"/>
                        </a:lnTo>
                        <a:lnTo>
                          <a:pt x="379" y="822"/>
                        </a:lnTo>
                        <a:lnTo>
                          <a:pt x="2789" y="822"/>
                        </a:lnTo>
                        <a:lnTo>
                          <a:pt x="2827" y="822"/>
                        </a:lnTo>
                        <a:lnTo>
                          <a:pt x="2865" y="821"/>
                        </a:lnTo>
                        <a:lnTo>
                          <a:pt x="2901" y="819"/>
                        </a:lnTo>
                        <a:lnTo>
                          <a:pt x="2933" y="817"/>
                        </a:lnTo>
                        <a:lnTo>
                          <a:pt x="2964" y="813"/>
                        </a:lnTo>
                        <a:lnTo>
                          <a:pt x="2992" y="807"/>
                        </a:lnTo>
                        <a:lnTo>
                          <a:pt x="3018" y="799"/>
                        </a:lnTo>
                        <a:lnTo>
                          <a:pt x="3040" y="789"/>
                        </a:lnTo>
                        <a:lnTo>
                          <a:pt x="3061" y="777"/>
                        </a:lnTo>
                        <a:lnTo>
                          <a:pt x="3079" y="762"/>
                        </a:lnTo>
                        <a:lnTo>
                          <a:pt x="3093" y="745"/>
                        </a:lnTo>
                        <a:lnTo>
                          <a:pt x="3105" y="723"/>
                        </a:lnTo>
                        <a:lnTo>
                          <a:pt x="3114" y="699"/>
                        </a:lnTo>
                        <a:lnTo>
                          <a:pt x="3119" y="671"/>
                        </a:lnTo>
                        <a:lnTo>
                          <a:pt x="3120" y="639"/>
                        </a:lnTo>
                        <a:lnTo>
                          <a:pt x="3120" y="202"/>
                        </a:lnTo>
                        <a:lnTo>
                          <a:pt x="3119" y="171"/>
                        </a:lnTo>
                        <a:lnTo>
                          <a:pt x="3115" y="145"/>
                        </a:lnTo>
                        <a:lnTo>
                          <a:pt x="3106" y="123"/>
                        </a:lnTo>
                        <a:lnTo>
                          <a:pt x="3095" y="104"/>
                        </a:lnTo>
                        <a:lnTo>
                          <a:pt x="3081" y="89"/>
                        </a:lnTo>
                        <a:lnTo>
                          <a:pt x="3063" y="76"/>
                        </a:lnTo>
                        <a:lnTo>
                          <a:pt x="3043" y="66"/>
                        </a:lnTo>
                        <a:lnTo>
                          <a:pt x="3017" y="58"/>
                        </a:lnTo>
                        <a:lnTo>
                          <a:pt x="2989" y="54"/>
                        </a:lnTo>
                        <a:lnTo>
                          <a:pt x="2957" y="51"/>
                        </a:lnTo>
                        <a:lnTo>
                          <a:pt x="2920" y="49"/>
                        </a:lnTo>
                        <a:lnTo>
                          <a:pt x="2879" y="49"/>
                        </a:lnTo>
                        <a:lnTo>
                          <a:pt x="2836" y="49"/>
                        </a:lnTo>
                        <a:lnTo>
                          <a:pt x="2789" y="49"/>
                        </a:lnTo>
                        <a:lnTo>
                          <a:pt x="379" y="49"/>
                        </a:lnTo>
                        <a:lnTo>
                          <a:pt x="331" y="49"/>
                        </a:lnTo>
                        <a:lnTo>
                          <a:pt x="288" y="49"/>
                        </a:lnTo>
                        <a:close/>
                        <a:moveTo>
                          <a:pt x="288" y="0"/>
                        </a:moveTo>
                        <a:lnTo>
                          <a:pt x="332" y="0"/>
                        </a:lnTo>
                        <a:lnTo>
                          <a:pt x="379" y="2"/>
                        </a:lnTo>
                        <a:lnTo>
                          <a:pt x="2789" y="2"/>
                        </a:lnTo>
                        <a:lnTo>
                          <a:pt x="2836" y="0"/>
                        </a:lnTo>
                        <a:lnTo>
                          <a:pt x="2879" y="0"/>
                        </a:lnTo>
                        <a:lnTo>
                          <a:pt x="2901" y="0"/>
                        </a:lnTo>
                        <a:lnTo>
                          <a:pt x="2924" y="0"/>
                        </a:lnTo>
                        <a:lnTo>
                          <a:pt x="2947" y="2"/>
                        </a:lnTo>
                        <a:lnTo>
                          <a:pt x="2971" y="4"/>
                        </a:lnTo>
                        <a:lnTo>
                          <a:pt x="2993" y="6"/>
                        </a:lnTo>
                        <a:lnTo>
                          <a:pt x="3016" y="9"/>
                        </a:lnTo>
                        <a:lnTo>
                          <a:pt x="3038" y="14"/>
                        </a:lnTo>
                        <a:lnTo>
                          <a:pt x="3059" y="22"/>
                        </a:lnTo>
                        <a:lnTo>
                          <a:pt x="3079" y="31"/>
                        </a:lnTo>
                        <a:lnTo>
                          <a:pt x="3099" y="41"/>
                        </a:lnTo>
                        <a:lnTo>
                          <a:pt x="3115" y="55"/>
                        </a:lnTo>
                        <a:lnTo>
                          <a:pt x="3131" y="71"/>
                        </a:lnTo>
                        <a:lnTo>
                          <a:pt x="3144" y="91"/>
                        </a:lnTo>
                        <a:lnTo>
                          <a:pt x="3154" y="113"/>
                        </a:lnTo>
                        <a:lnTo>
                          <a:pt x="3162" y="139"/>
                        </a:lnTo>
                        <a:lnTo>
                          <a:pt x="3166" y="169"/>
                        </a:lnTo>
                        <a:lnTo>
                          <a:pt x="3169" y="202"/>
                        </a:lnTo>
                        <a:lnTo>
                          <a:pt x="3169" y="639"/>
                        </a:lnTo>
                        <a:lnTo>
                          <a:pt x="3166" y="675"/>
                        </a:lnTo>
                        <a:lnTo>
                          <a:pt x="3161" y="707"/>
                        </a:lnTo>
                        <a:lnTo>
                          <a:pt x="3152" y="736"/>
                        </a:lnTo>
                        <a:lnTo>
                          <a:pt x="3140" y="761"/>
                        </a:lnTo>
                        <a:lnTo>
                          <a:pt x="3126" y="783"/>
                        </a:lnTo>
                        <a:lnTo>
                          <a:pt x="3107" y="802"/>
                        </a:lnTo>
                        <a:lnTo>
                          <a:pt x="3088" y="817"/>
                        </a:lnTo>
                        <a:lnTo>
                          <a:pt x="3065" y="831"/>
                        </a:lnTo>
                        <a:lnTo>
                          <a:pt x="3042" y="842"/>
                        </a:lnTo>
                        <a:lnTo>
                          <a:pt x="3017" y="850"/>
                        </a:lnTo>
                        <a:lnTo>
                          <a:pt x="2990" y="857"/>
                        </a:lnTo>
                        <a:lnTo>
                          <a:pt x="2962" y="861"/>
                        </a:lnTo>
                        <a:lnTo>
                          <a:pt x="2934" y="865"/>
                        </a:lnTo>
                        <a:lnTo>
                          <a:pt x="2905" y="867"/>
                        </a:lnTo>
                        <a:lnTo>
                          <a:pt x="2876" y="868"/>
                        </a:lnTo>
                        <a:lnTo>
                          <a:pt x="2847" y="870"/>
                        </a:lnTo>
                        <a:lnTo>
                          <a:pt x="2818" y="870"/>
                        </a:lnTo>
                        <a:lnTo>
                          <a:pt x="2789" y="870"/>
                        </a:lnTo>
                        <a:lnTo>
                          <a:pt x="379" y="870"/>
                        </a:lnTo>
                        <a:lnTo>
                          <a:pt x="351" y="870"/>
                        </a:lnTo>
                        <a:lnTo>
                          <a:pt x="322" y="870"/>
                        </a:lnTo>
                        <a:lnTo>
                          <a:pt x="293" y="868"/>
                        </a:lnTo>
                        <a:lnTo>
                          <a:pt x="262" y="867"/>
                        </a:lnTo>
                        <a:lnTo>
                          <a:pt x="233" y="865"/>
                        </a:lnTo>
                        <a:lnTo>
                          <a:pt x="205" y="861"/>
                        </a:lnTo>
                        <a:lnTo>
                          <a:pt x="177" y="857"/>
                        </a:lnTo>
                        <a:lnTo>
                          <a:pt x="152" y="850"/>
                        </a:lnTo>
                        <a:lnTo>
                          <a:pt x="126" y="842"/>
                        </a:lnTo>
                        <a:lnTo>
                          <a:pt x="102" y="831"/>
                        </a:lnTo>
                        <a:lnTo>
                          <a:pt x="80" y="817"/>
                        </a:lnTo>
                        <a:lnTo>
                          <a:pt x="60" y="802"/>
                        </a:lnTo>
                        <a:lnTo>
                          <a:pt x="43" y="783"/>
                        </a:lnTo>
                        <a:lnTo>
                          <a:pt x="28" y="761"/>
                        </a:lnTo>
                        <a:lnTo>
                          <a:pt x="16" y="736"/>
                        </a:lnTo>
                        <a:lnTo>
                          <a:pt x="6" y="707"/>
                        </a:lnTo>
                        <a:lnTo>
                          <a:pt x="1" y="675"/>
                        </a:lnTo>
                        <a:lnTo>
                          <a:pt x="0" y="639"/>
                        </a:lnTo>
                        <a:lnTo>
                          <a:pt x="0" y="202"/>
                        </a:lnTo>
                        <a:lnTo>
                          <a:pt x="1" y="169"/>
                        </a:lnTo>
                        <a:lnTo>
                          <a:pt x="6" y="139"/>
                        </a:lnTo>
                        <a:lnTo>
                          <a:pt x="14" y="113"/>
                        </a:lnTo>
                        <a:lnTo>
                          <a:pt x="25" y="91"/>
                        </a:lnTo>
                        <a:lnTo>
                          <a:pt x="37" y="71"/>
                        </a:lnTo>
                        <a:lnTo>
                          <a:pt x="53" y="55"/>
                        </a:lnTo>
                        <a:lnTo>
                          <a:pt x="70" y="41"/>
                        </a:lnTo>
                        <a:lnTo>
                          <a:pt x="88" y="31"/>
                        </a:lnTo>
                        <a:lnTo>
                          <a:pt x="108" y="22"/>
                        </a:lnTo>
                        <a:lnTo>
                          <a:pt x="130" y="14"/>
                        </a:lnTo>
                        <a:lnTo>
                          <a:pt x="152" y="9"/>
                        </a:lnTo>
                        <a:lnTo>
                          <a:pt x="174" y="6"/>
                        </a:lnTo>
                        <a:lnTo>
                          <a:pt x="198" y="4"/>
                        </a:lnTo>
                        <a:lnTo>
                          <a:pt x="220" y="2"/>
                        </a:lnTo>
                        <a:lnTo>
                          <a:pt x="244" y="0"/>
                        </a:lnTo>
                        <a:lnTo>
                          <a:pt x="267" y="0"/>
                        </a:lnTo>
                        <a:lnTo>
                          <a:pt x="2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63" name="Rounded Rectangle 662"/>
                  <p:cNvSpPr/>
                  <p:nvPr/>
                </p:nvSpPr>
                <p:spPr bwMode="auto">
                  <a:xfrm>
                    <a:off x="10580475" y="2249664"/>
                    <a:ext cx="1103494" cy="674966"/>
                  </a:xfrm>
                  <a:prstGeom prst="roundRect">
                    <a:avLst/>
                  </a:prstGeom>
                  <a:noFill/>
                  <a:ln w="22225">
                    <a:solidFill>
                      <a:schemeClr val="accent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grpSp>
      </p:grpSp>
      <p:grpSp>
        <p:nvGrpSpPr>
          <p:cNvPr id="698" name="Group 697"/>
          <p:cNvGrpSpPr/>
          <p:nvPr/>
        </p:nvGrpSpPr>
        <p:grpSpPr>
          <a:xfrm>
            <a:off x="10349119" y="3415785"/>
            <a:ext cx="1554007" cy="1475489"/>
            <a:chOff x="9727192" y="5437384"/>
            <a:chExt cx="1554007" cy="1475489"/>
          </a:xfrm>
        </p:grpSpPr>
        <p:sp>
          <p:nvSpPr>
            <p:cNvPr id="672" name="TextBox 671"/>
            <p:cNvSpPr txBox="1"/>
            <p:nvPr/>
          </p:nvSpPr>
          <p:spPr>
            <a:xfrm>
              <a:off x="9850469" y="5437384"/>
              <a:ext cx="1430730" cy="352226"/>
            </a:xfrm>
            <a:prstGeom prst="rect">
              <a:avLst/>
            </a:prstGeom>
            <a:noFill/>
          </p:spPr>
          <p:txBody>
            <a:bodyPr wrap="square" lIns="0" tIns="0" rIns="0" bIns="0" rtlCol="0">
              <a:spAutoFit/>
            </a:bodyPr>
            <a:lstStyle/>
            <a:p>
              <a:pPr algn="ctr"/>
              <a:r>
                <a:rPr lang="en-US" sz="1122" b="1" dirty="0">
                  <a:latin typeface="Segoe UI Light" pitchFamily="34" charset="0"/>
                </a:rPr>
                <a:t>Remote Desktop  Session Host</a:t>
              </a:r>
            </a:p>
          </p:txBody>
        </p:sp>
        <p:grpSp>
          <p:nvGrpSpPr>
            <p:cNvPr id="697" name="Group 696"/>
            <p:cNvGrpSpPr/>
            <p:nvPr/>
          </p:nvGrpSpPr>
          <p:grpSpPr>
            <a:xfrm>
              <a:off x="9727192" y="5837076"/>
              <a:ext cx="1490571" cy="1075797"/>
              <a:chOff x="5440404" y="5447669"/>
              <a:chExt cx="1490571" cy="1075797"/>
            </a:xfrm>
          </p:grpSpPr>
          <p:grpSp>
            <p:nvGrpSpPr>
              <p:cNvPr id="673" name="Group 672"/>
              <p:cNvGrpSpPr/>
              <p:nvPr/>
            </p:nvGrpSpPr>
            <p:grpSpPr>
              <a:xfrm>
                <a:off x="5440404" y="5453456"/>
                <a:ext cx="760860" cy="990532"/>
                <a:chOff x="9230239" y="2919416"/>
                <a:chExt cx="1080574" cy="1406754"/>
              </a:xfrm>
            </p:grpSpPr>
            <p:sp>
              <p:nvSpPr>
                <p:cNvPr id="678" name="Freeform 24"/>
                <p:cNvSpPr>
                  <a:spLocks noEditPoints="1"/>
                </p:cNvSpPr>
                <p:nvPr/>
              </p:nvSpPr>
              <p:spPr bwMode="auto">
                <a:xfrm>
                  <a:off x="9596903" y="2919416"/>
                  <a:ext cx="713910" cy="1406754"/>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9" name="Freeform 25"/>
                <p:cNvSpPr>
                  <a:spLocks noEditPoints="1"/>
                </p:cNvSpPr>
                <p:nvPr/>
              </p:nvSpPr>
              <p:spPr bwMode="auto">
                <a:xfrm>
                  <a:off x="9252622" y="3073299"/>
                  <a:ext cx="883714" cy="754814"/>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0" name="Freeform 26"/>
                <p:cNvSpPr>
                  <a:spLocks noEditPoints="1"/>
                </p:cNvSpPr>
                <p:nvPr/>
              </p:nvSpPr>
              <p:spPr bwMode="auto">
                <a:xfrm>
                  <a:off x="9230239" y="3044792"/>
                  <a:ext cx="902305" cy="783319"/>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74" name="Group 673"/>
              <p:cNvGrpSpPr/>
              <p:nvPr/>
            </p:nvGrpSpPr>
            <p:grpSpPr>
              <a:xfrm>
                <a:off x="6014295" y="5447669"/>
                <a:ext cx="760860" cy="990532"/>
                <a:chOff x="10192450" y="2913629"/>
                <a:chExt cx="1080574" cy="1406754"/>
              </a:xfrm>
            </p:grpSpPr>
            <p:sp>
              <p:nvSpPr>
                <p:cNvPr id="675" name="Freeform 24"/>
                <p:cNvSpPr>
                  <a:spLocks noEditPoints="1"/>
                </p:cNvSpPr>
                <p:nvPr/>
              </p:nvSpPr>
              <p:spPr bwMode="auto">
                <a:xfrm>
                  <a:off x="10559114" y="2913629"/>
                  <a:ext cx="713910" cy="1406754"/>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6" name="Freeform 25"/>
                <p:cNvSpPr>
                  <a:spLocks noEditPoints="1"/>
                </p:cNvSpPr>
                <p:nvPr/>
              </p:nvSpPr>
              <p:spPr bwMode="auto">
                <a:xfrm>
                  <a:off x="10214833" y="3067512"/>
                  <a:ext cx="883714" cy="754814"/>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7" name="Freeform 26"/>
                <p:cNvSpPr>
                  <a:spLocks noEditPoints="1"/>
                </p:cNvSpPr>
                <p:nvPr/>
              </p:nvSpPr>
              <p:spPr bwMode="auto">
                <a:xfrm>
                  <a:off x="10192450" y="3039005"/>
                  <a:ext cx="902305" cy="783319"/>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1" name="Group 680"/>
              <p:cNvGrpSpPr/>
              <p:nvPr/>
            </p:nvGrpSpPr>
            <p:grpSpPr>
              <a:xfrm>
                <a:off x="5596224" y="5532934"/>
                <a:ext cx="760860" cy="990532"/>
                <a:chOff x="9230239" y="2919416"/>
                <a:chExt cx="1080574" cy="1406754"/>
              </a:xfrm>
            </p:grpSpPr>
            <p:sp>
              <p:nvSpPr>
                <p:cNvPr id="682" name="Freeform 24"/>
                <p:cNvSpPr>
                  <a:spLocks noEditPoints="1"/>
                </p:cNvSpPr>
                <p:nvPr/>
              </p:nvSpPr>
              <p:spPr bwMode="auto">
                <a:xfrm>
                  <a:off x="9596903" y="2919416"/>
                  <a:ext cx="713910" cy="1406754"/>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3" name="Freeform 25"/>
                <p:cNvSpPr>
                  <a:spLocks noEditPoints="1"/>
                </p:cNvSpPr>
                <p:nvPr/>
              </p:nvSpPr>
              <p:spPr bwMode="auto">
                <a:xfrm>
                  <a:off x="9252622" y="3073299"/>
                  <a:ext cx="883714" cy="754814"/>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4" name="Freeform 26"/>
                <p:cNvSpPr>
                  <a:spLocks noEditPoints="1"/>
                </p:cNvSpPr>
                <p:nvPr/>
              </p:nvSpPr>
              <p:spPr bwMode="auto">
                <a:xfrm>
                  <a:off x="9230239" y="3044792"/>
                  <a:ext cx="902305" cy="783319"/>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85" name="Group 684"/>
              <p:cNvGrpSpPr/>
              <p:nvPr/>
            </p:nvGrpSpPr>
            <p:grpSpPr>
              <a:xfrm>
                <a:off x="6170115" y="5527147"/>
                <a:ext cx="760860" cy="990532"/>
                <a:chOff x="10192450" y="2913629"/>
                <a:chExt cx="1080574" cy="1406754"/>
              </a:xfrm>
            </p:grpSpPr>
            <p:sp>
              <p:nvSpPr>
                <p:cNvPr id="686" name="Freeform 24"/>
                <p:cNvSpPr>
                  <a:spLocks noEditPoints="1"/>
                </p:cNvSpPr>
                <p:nvPr/>
              </p:nvSpPr>
              <p:spPr bwMode="auto">
                <a:xfrm>
                  <a:off x="10559114" y="2913629"/>
                  <a:ext cx="713910" cy="1406754"/>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222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7" name="Freeform 25"/>
                <p:cNvSpPr>
                  <a:spLocks noEditPoints="1"/>
                </p:cNvSpPr>
                <p:nvPr/>
              </p:nvSpPr>
              <p:spPr bwMode="auto">
                <a:xfrm>
                  <a:off x="10214833" y="3067512"/>
                  <a:ext cx="883714" cy="754814"/>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8" name="Freeform 26"/>
                <p:cNvSpPr>
                  <a:spLocks noEditPoints="1"/>
                </p:cNvSpPr>
                <p:nvPr/>
              </p:nvSpPr>
              <p:spPr bwMode="auto">
                <a:xfrm>
                  <a:off x="10192450" y="3039005"/>
                  <a:ext cx="902305" cy="783319"/>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grpSp>
        <p:nvGrpSpPr>
          <p:cNvPr id="716" name="Group 715"/>
          <p:cNvGrpSpPr/>
          <p:nvPr/>
        </p:nvGrpSpPr>
        <p:grpSpPr>
          <a:xfrm>
            <a:off x="7470982" y="4588194"/>
            <a:ext cx="2121769" cy="1223519"/>
            <a:chOff x="5321383" y="5646099"/>
            <a:chExt cx="2121769" cy="1223519"/>
          </a:xfrm>
        </p:grpSpPr>
        <p:sp>
          <p:nvSpPr>
            <p:cNvPr id="700" name="TextBox 699"/>
            <p:cNvSpPr txBox="1"/>
            <p:nvPr/>
          </p:nvSpPr>
          <p:spPr>
            <a:xfrm>
              <a:off x="6380739" y="6062762"/>
              <a:ext cx="1062413" cy="352226"/>
            </a:xfrm>
            <a:prstGeom prst="rect">
              <a:avLst/>
            </a:prstGeom>
            <a:noFill/>
          </p:spPr>
          <p:txBody>
            <a:bodyPr wrap="square" lIns="0" tIns="0" rIns="0" bIns="0" rtlCol="0">
              <a:spAutoFit/>
            </a:bodyPr>
            <a:lstStyle/>
            <a:p>
              <a:pPr algn="ctr"/>
              <a:r>
                <a:rPr lang="en-US" sz="1122" b="1" dirty="0">
                  <a:latin typeface="Segoe UI Light" pitchFamily="34" charset="0"/>
                </a:rPr>
                <a:t>Remote Desktop Licensing</a:t>
              </a:r>
            </a:p>
          </p:txBody>
        </p:sp>
        <p:grpSp>
          <p:nvGrpSpPr>
            <p:cNvPr id="701" name="Group 29"/>
            <p:cNvGrpSpPr>
              <a:grpSpLocks noChangeAspect="1"/>
            </p:cNvGrpSpPr>
            <p:nvPr/>
          </p:nvGrpSpPr>
          <p:grpSpPr bwMode="auto">
            <a:xfrm>
              <a:off x="5321383" y="5646099"/>
              <a:ext cx="705231" cy="918719"/>
              <a:chOff x="5121" y="2489"/>
              <a:chExt cx="882" cy="1149"/>
            </a:xfrm>
          </p:grpSpPr>
          <p:sp>
            <p:nvSpPr>
              <p:cNvPr id="702"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3"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4"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5"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06" name="Group 29"/>
            <p:cNvGrpSpPr>
              <a:grpSpLocks noChangeAspect="1"/>
            </p:cNvGrpSpPr>
            <p:nvPr/>
          </p:nvGrpSpPr>
          <p:grpSpPr bwMode="auto">
            <a:xfrm>
              <a:off x="5473783" y="5798499"/>
              <a:ext cx="705231" cy="918719"/>
              <a:chOff x="5121" y="2489"/>
              <a:chExt cx="882" cy="1149"/>
            </a:xfrm>
          </p:grpSpPr>
          <p:sp>
            <p:nvSpPr>
              <p:cNvPr id="707"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8"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9"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0"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11" name="Group 29"/>
            <p:cNvGrpSpPr>
              <a:grpSpLocks noChangeAspect="1"/>
            </p:cNvGrpSpPr>
            <p:nvPr/>
          </p:nvGrpSpPr>
          <p:grpSpPr bwMode="auto">
            <a:xfrm>
              <a:off x="5626183" y="5950899"/>
              <a:ext cx="705231" cy="918719"/>
              <a:chOff x="5121" y="2489"/>
              <a:chExt cx="882" cy="1149"/>
            </a:xfrm>
          </p:grpSpPr>
          <p:sp>
            <p:nvSpPr>
              <p:cNvPr id="712"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3"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4"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5"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44" name="Group 743"/>
          <p:cNvGrpSpPr/>
          <p:nvPr/>
        </p:nvGrpSpPr>
        <p:grpSpPr>
          <a:xfrm>
            <a:off x="7661012" y="3184971"/>
            <a:ext cx="1765143" cy="1007943"/>
            <a:chOff x="2596091" y="5472457"/>
            <a:chExt cx="1765143" cy="1007943"/>
          </a:xfrm>
        </p:grpSpPr>
        <p:sp>
          <p:nvSpPr>
            <p:cNvPr id="55" name="TextBox 54"/>
            <p:cNvSpPr txBox="1"/>
            <p:nvPr/>
          </p:nvSpPr>
          <p:spPr>
            <a:xfrm>
              <a:off x="2596091" y="5472457"/>
              <a:ext cx="1765143" cy="176113"/>
            </a:xfrm>
            <a:prstGeom prst="rect">
              <a:avLst/>
            </a:prstGeom>
            <a:noFill/>
          </p:spPr>
          <p:txBody>
            <a:bodyPr wrap="square" lIns="0" tIns="0" rIns="0" bIns="0" rtlCol="0">
              <a:spAutoFit/>
            </a:bodyPr>
            <a:lstStyle/>
            <a:p>
              <a:pPr algn="ctr"/>
              <a:r>
                <a:rPr lang="en-US" sz="1122" b="1" dirty="0">
                  <a:latin typeface="Segoe UI Light" pitchFamily="34" charset="0"/>
                </a:rPr>
                <a:t>SQL Server Clustering</a:t>
              </a:r>
            </a:p>
          </p:txBody>
        </p:sp>
        <p:grpSp>
          <p:nvGrpSpPr>
            <p:cNvPr id="743" name="Group 742"/>
            <p:cNvGrpSpPr/>
            <p:nvPr/>
          </p:nvGrpSpPr>
          <p:grpSpPr>
            <a:xfrm>
              <a:off x="2598472" y="5819261"/>
              <a:ext cx="1696245" cy="661139"/>
              <a:chOff x="2598472" y="5819261"/>
              <a:chExt cx="1696245" cy="661139"/>
            </a:xfrm>
          </p:grpSpPr>
          <p:grpSp>
            <p:nvGrpSpPr>
              <p:cNvPr id="733" name="Group 732"/>
              <p:cNvGrpSpPr/>
              <p:nvPr/>
            </p:nvGrpSpPr>
            <p:grpSpPr>
              <a:xfrm>
                <a:off x="2846386" y="5819261"/>
                <a:ext cx="1246983" cy="438763"/>
                <a:chOff x="2827338" y="5819261"/>
                <a:chExt cx="1246983" cy="438763"/>
              </a:xfrm>
            </p:grpSpPr>
            <p:sp>
              <p:nvSpPr>
                <p:cNvPr id="730" name="Freeform 25"/>
                <p:cNvSpPr>
                  <a:spLocks noEditPoints="1"/>
                </p:cNvSpPr>
                <p:nvPr/>
              </p:nvSpPr>
              <p:spPr bwMode="auto">
                <a:xfrm>
                  <a:off x="2827338" y="5819775"/>
                  <a:ext cx="296862" cy="43815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AEE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31" name="Freeform 25"/>
                <p:cNvSpPr>
                  <a:spLocks noEditPoints="1"/>
                </p:cNvSpPr>
                <p:nvPr/>
              </p:nvSpPr>
              <p:spPr bwMode="auto">
                <a:xfrm>
                  <a:off x="3303588" y="5819874"/>
                  <a:ext cx="296862" cy="43815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AEE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32" name="Freeform 25"/>
                <p:cNvSpPr>
                  <a:spLocks noEditPoints="1"/>
                </p:cNvSpPr>
                <p:nvPr/>
              </p:nvSpPr>
              <p:spPr bwMode="auto">
                <a:xfrm>
                  <a:off x="3777459" y="5819261"/>
                  <a:ext cx="296862" cy="43815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AEE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42" name="Freeform 25"/>
              <p:cNvSpPr>
                <a:spLocks noEditPoints="1"/>
              </p:cNvSpPr>
              <p:nvPr/>
            </p:nvSpPr>
            <p:spPr bwMode="auto">
              <a:xfrm>
                <a:off x="3997855" y="5916894"/>
                <a:ext cx="296862" cy="43815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AEE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734" name="Group 733"/>
              <p:cNvGrpSpPr/>
              <p:nvPr/>
            </p:nvGrpSpPr>
            <p:grpSpPr>
              <a:xfrm>
                <a:off x="2598472" y="5916894"/>
                <a:ext cx="1246983" cy="438763"/>
                <a:chOff x="2827338" y="5819261"/>
                <a:chExt cx="1246983" cy="438763"/>
              </a:xfrm>
            </p:grpSpPr>
            <p:sp>
              <p:nvSpPr>
                <p:cNvPr id="735" name="Freeform 25"/>
                <p:cNvSpPr>
                  <a:spLocks noEditPoints="1"/>
                </p:cNvSpPr>
                <p:nvPr/>
              </p:nvSpPr>
              <p:spPr bwMode="auto">
                <a:xfrm>
                  <a:off x="2827338" y="5819775"/>
                  <a:ext cx="296862" cy="43815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AEE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36" name="Freeform 25"/>
                <p:cNvSpPr>
                  <a:spLocks noEditPoints="1"/>
                </p:cNvSpPr>
                <p:nvPr/>
              </p:nvSpPr>
              <p:spPr bwMode="auto">
                <a:xfrm>
                  <a:off x="3303588" y="5819874"/>
                  <a:ext cx="296862" cy="43815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AEE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37" name="Freeform 25"/>
                <p:cNvSpPr>
                  <a:spLocks noEditPoints="1"/>
                </p:cNvSpPr>
                <p:nvPr/>
              </p:nvSpPr>
              <p:spPr bwMode="auto">
                <a:xfrm>
                  <a:off x="3777459" y="5819261"/>
                  <a:ext cx="296862" cy="43815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AEE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738" name="Group 737"/>
              <p:cNvGrpSpPr/>
              <p:nvPr/>
            </p:nvGrpSpPr>
            <p:grpSpPr>
              <a:xfrm>
                <a:off x="2819928" y="6041637"/>
                <a:ext cx="1246983" cy="438763"/>
                <a:chOff x="2827338" y="5819261"/>
                <a:chExt cx="1246983" cy="438763"/>
              </a:xfrm>
            </p:grpSpPr>
            <p:sp>
              <p:nvSpPr>
                <p:cNvPr id="739" name="Freeform 25"/>
                <p:cNvSpPr>
                  <a:spLocks noEditPoints="1"/>
                </p:cNvSpPr>
                <p:nvPr/>
              </p:nvSpPr>
              <p:spPr bwMode="auto">
                <a:xfrm>
                  <a:off x="2827338" y="5819775"/>
                  <a:ext cx="296862" cy="43815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AEE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40" name="Freeform 25"/>
                <p:cNvSpPr>
                  <a:spLocks noEditPoints="1"/>
                </p:cNvSpPr>
                <p:nvPr/>
              </p:nvSpPr>
              <p:spPr bwMode="auto">
                <a:xfrm>
                  <a:off x="3303588" y="5819874"/>
                  <a:ext cx="296862" cy="43815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AEE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41" name="Freeform 25"/>
                <p:cNvSpPr>
                  <a:spLocks noEditPoints="1"/>
                </p:cNvSpPr>
                <p:nvPr/>
              </p:nvSpPr>
              <p:spPr bwMode="auto">
                <a:xfrm>
                  <a:off x="3777459" y="5819261"/>
                  <a:ext cx="296862" cy="43815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AEEF"/>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a:p>
              </p:txBody>
            </p:sp>
          </p:grpSp>
        </p:grpSp>
      </p:grpSp>
      <p:cxnSp>
        <p:nvCxnSpPr>
          <p:cNvPr id="757" name="Straight Arrow Connector 756"/>
          <p:cNvCxnSpPr/>
          <p:nvPr/>
        </p:nvCxnSpPr>
        <p:spPr>
          <a:xfrm>
            <a:off x="9024944" y="2501539"/>
            <a:ext cx="1430520" cy="1315508"/>
          </a:xfrm>
          <a:prstGeom prst="straightConnector1">
            <a:avLst/>
          </a:prstGeom>
          <a:ln w="22225" cap="rnd">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9" name="Straight Arrow Connector 758"/>
          <p:cNvCxnSpPr/>
          <p:nvPr/>
        </p:nvCxnSpPr>
        <p:spPr>
          <a:xfrm flipH="1">
            <a:off x="6675438" y="2527881"/>
            <a:ext cx="1256902" cy="1064017"/>
          </a:xfrm>
          <a:prstGeom prst="straightConnector1">
            <a:avLst/>
          </a:prstGeom>
          <a:ln w="22225" cap="rnd">
            <a:solidFill>
              <a:srgbClr val="0070C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63" name="Straight Arrow Connector 762"/>
          <p:cNvCxnSpPr/>
          <p:nvPr/>
        </p:nvCxnSpPr>
        <p:spPr>
          <a:xfrm flipH="1">
            <a:off x="6675438" y="2207972"/>
            <a:ext cx="1212543" cy="1708"/>
          </a:xfrm>
          <a:prstGeom prst="straightConnector1">
            <a:avLst/>
          </a:prstGeom>
          <a:ln w="22225" cap="rnd">
            <a:solidFill>
              <a:srgbClr val="0070C0"/>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74" name="Straight Arrow Connector 773"/>
          <p:cNvCxnSpPr>
            <a:cxnSpLocks noChangeAspect="1"/>
          </p:cNvCxnSpPr>
          <p:nvPr/>
        </p:nvCxnSpPr>
        <p:spPr>
          <a:xfrm>
            <a:off x="9333635" y="2906407"/>
            <a:ext cx="901167" cy="0"/>
          </a:xfrm>
          <a:prstGeom prst="straightConnector1">
            <a:avLst/>
          </a:prstGeom>
          <a:ln w="19050" cap="rnd">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5" name="Straight Arrow Connector 774"/>
          <p:cNvCxnSpPr>
            <a:cxnSpLocks noChangeAspect="1"/>
          </p:cNvCxnSpPr>
          <p:nvPr/>
        </p:nvCxnSpPr>
        <p:spPr>
          <a:xfrm>
            <a:off x="9341255" y="3637927"/>
            <a:ext cx="901167" cy="0"/>
          </a:xfrm>
          <a:prstGeom prst="straightConnector1">
            <a:avLst/>
          </a:prstGeom>
          <a:ln w="19050" cap="rnd">
            <a:solidFill>
              <a:srgbClr val="0070C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52279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70"/>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93"/>
                                        </p:tgtEl>
                                        <p:attrNameLst>
                                          <p:attrName>style.visibility</p:attrName>
                                        </p:attrNameLst>
                                      </p:cBhvr>
                                      <p:to>
                                        <p:strVal val="hidden"/>
                                      </p:to>
                                    </p:set>
                                  </p:childTnLst>
                                </p:cTn>
                              </p:par>
                            </p:childTnLst>
                          </p:cTn>
                        </p:par>
                        <p:par>
                          <p:cTn id="9" fill="hold">
                            <p:stCondLst>
                              <p:cond delay="0"/>
                            </p:stCondLst>
                            <p:childTnLst>
                              <p:par>
                                <p:cTn id="10" presetID="1" presetClass="exit" presetSubtype="0" fill="hold" nodeType="afterEffect">
                                  <p:stCondLst>
                                    <p:cond delay="0"/>
                                  </p:stCondLst>
                                  <p:childTnLst>
                                    <p:set>
                                      <p:cBhvr>
                                        <p:cTn id="11" dur="1" fill="hold">
                                          <p:stCondLst>
                                            <p:cond delay="0"/>
                                          </p:stCondLst>
                                        </p:cTn>
                                        <p:tgtEl>
                                          <p:spTgt spid="640"/>
                                        </p:tgtEl>
                                        <p:attrNameLst>
                                          <p:attrName>style.visibility</p:attrName>
                                        </p:attrNameLst>
                                      </p:cBhvr>
                                      <p:to>
                                        <p:strVal val="hidden"/>
                                      </p:to>
                                    </p:set>
                                  </p:childTnLst>
                                </p:cTn>
                              </p:par>
                            </p:childTnLst>
                          </p:cTn>
                        </p:par>
                        <p:par>
                          <p:cTn id="12" fill="hold">
                            <p:stCondLst>
                              <p:cond delay="0"/>
                            </p:stCondLst>
                            <p:childTnLst>
                              <p:par>
                                <p:cTn id="13" presetID="1" presetClass="exit" presetSubtype="0" fill="hold" nodeType="afterEffect">
                                  <p:stCondLst>
                                    <p:cond delay="0"/>
                                  </p:stCondLst>
                                  <p:childTnLst>
                                    <p:set>
                                      <p:cBhvr>
                                        <p:cTn id="14" dur="1" fill="hold">
                                          <p:stCondLst>
                                            <p:cond delay="0"/>
                                          </p:stCondLst>
                                        </p:cTn>
                                        <p:tgtEl>
                                          <p:spTgt spid="47"/>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46"/>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67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3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9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1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nodeType="clickEffect">
                                  <p:stCondLst>
                                    <p:cond delay="0"/>
                                  </p:stCondLst>
                                  <p:childTnLst>
                                    <p:set>
                                      <p:cBhvr>
                                        <p:cTn id="40" dur="1" fill="hold">
                                          <p:stCondLst>
                                            <p:cond delay="0"/>
                                          </p:stCondLst>
                                        </p:cTn>
                                        <p:tgtEl>
                                          <p:spTgt spid="32"/>
                                        </p:tgtEl>
                                        <p:attrNameLst>
                                          <p:attrName>style.visibility</p:attrName>
                                        </p:attrNameLst>
                                      </p:cBhvr>
                                      <p:to>
                                        <p:strVal val="hidden"/>
                                      </p:to>
                                    </p:set>
                                  </p:childTnLst>
                                </p:cTn>
                              </p:par>
                              <p:par>
                                <p:cTn id="41" presetID="1" presetClass="exit" presetSubtype="0" fill="hold" nodeType="withEffect">
                                  <p:stCondLst>
                                    <p:cond delay="0"/>
                                  </p:stCondLst>
                                  <p:childTnLst>
                                    <p:set>
                                      <p:cBhvr>
                                        <p:cTn id="42" dur="1" fill="hold">
                                          <p:stCondLst>
                                            <p:cond delay="0"/>
                                          </p:stCondLst>
                                        </p:cTn>
                                        <p:tgtEl>
                                          <p:spTgt spid="33"/>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717"/>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32"/>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33"/>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774"/>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775"/>
                                        </p:tgtEl>
                                        <p:attrNameLst>
                                          <p:attrName>style.visibility</p:attrName>
                                        </p:attrNameLst>
                                      </p:cBhvr>
                                      <p:to>
                                        <p:strVal val="hidden"/>
                                      </p:to>
                                    </p:set>
                                  </p:childTnLst>
                                </p:cTn>
                              </p:par>
                              <p:par>
                                <p:cTn id="53" presetID="1" presetClass="entr" presetSubtype="0" fill="hold" nodeType="withEffect">
                                  <p:stCondLst>
                                    <p:cond delay="0"/>
                                  </p:stCondLst>
                                  <p:childTnLst>
                                    <p:set>
                                      <p:cBhvr>
                                        <p:cTn id="54" dur="1" fill="hold">
                                          <p:stCondLst>
                                            <p:cond delay="0"/>
                                          </p:stCondLst>
                                        </p:cTn>
                                        <p:tgtEl>
                                          <p:spTgt spid="12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44"/>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1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75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75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7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p:bldP spid="102" grpId="0"/>
      <p:bldP spid="103" grpId="0"/>
      <p:bldP spid="105" grpId="0"/>
      <p:bldP spid="2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192" y="296863"/>
            <a:ext cx="11370961" cy="762786"/>
          </a:xfrm>
        </p:spPr>
        <p:txBody>
          <a:bodyPr/>
          <a:lstStyle/>
          <a:p>
            <a:r>
              <a:rPr lang="en-US" dirty="0" smtClean="0"/>
              <a:t>Rich user experience with RemoteFX</a:t>
            </a:r>
            <a:endParaRPr lang="en-US" sz="4080" dirty="0"/>
          </a:p>
        </p:txBody>
      </p:sp>
      <p:grpSp>
        <p:nvGrpSpPr>
          <p:cNvPr id="7" name="Group 6"/>
          <p:cNvGrpSpPr/>
          <p:nvPr/>
        </p:nvGrpSpPr>
        <p:grpSpPr>
          <a:xfrm>
            <a:off x="280355" y="4613193"/>
            <a:ext cx="2719671" cy="1647907"/>
            <a:chOff x="280355" y="4613193"/>
            <a:chExt cx="2719671" cy="1647907"/>
          </a:xfrm>
        </p:grpSpPr>
        <p:sp>
          <p:nvSpPr>
            <p:cNvPr id="16" name="Rectangle 15"/>
            <p:cNvSpPr/>
            <p:nvPr/>
          </p:nvSpPr>
          <p:spPr bwMode="auto">
            <a:xfrm>
              <a:off x="280355" y="5290909"/>
              <a:ext cx="2719671" cy="9701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t" anchorCtr="0" forceAA="0" compatLnSpc="1">
              <a:prstTxWarp prst="textNoShape">
                <a:avLst/>
              </a:prstTxWarp>
              <a:noAutofit/>
            </a:bodyPr>
            <a:lstStyle/>
            <a:p>
              <a:pPr marL="0" lvl="1"/>
              <a:r>
                <a:rPr lang="en-US" sz="1600" dirty="0">
                  <a:solidFill>
                    <a:schemeClr val="tx1"/>
                  </a:solidFill>
                </a:rPr>
                <a:t>Dynamically detect network conditions and tune experience</a:t>
              </a:r>
            </a:p>
          </p:txBody>
        </p:sp>
        <p:sp>
          <p:nvSpPr>
            <p:cNvPr id="29" name="Rectangle 28"/>
            <p:cNvSpPr/>
            <p:nvPr/>
          </p:nvSpPr>
          <p:spPr bwMode="auto">
            <a:xfrm>
              <a:off x="288821" y="4613193"/>
              <a:ext cx="2711205" cy="6192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t" anchorCtr="0" forceAA="0" compatLnSpc="1">
              <a:prstTxWarp prst="textNoShape">
                <a:avLst/>
              </a:prstTxWarp>
              <a:noAutofit/>
            </a:bodyPr>
            <a:lstStyle/>
            <a:p>
              <a:r>
                <a:rPr lang="en-US" sz="2000" b="1" dirty="0">
                  <a:solidFill>
                    <a:schemeClr val="accent1"/>
                  </a:solidFill>
                </a:rPr>
                <a:t>RemoteFX for WAN</a:t>
              </a:r>
            </a:p>
          </p:txBody>
        </p:sp>
      </p:grpSp>
      <p:grpSp>
        <p:nvGrpSpPr>
          <p:cNvPr id="4" name="Group 3"/>
          <p:cNvGrpSpPr/>
          <p:nvPr/>
        </p:nvGrpSpPr>
        <p:grpSpPr>
          <a:xfrm>
            <a:off x="6190203" y="4618645"/>
            <a:ext cx="2861732" cy="1632779"/>
            <a:chOff x="6088599" y="4618645"/>
            <a:chExt cx="2861732" cy="1632779"/>
          </a:xfrm>
        </p:grpSpPr>
        <p:sp>
          <p:nvSpPr>
            <p:cNvPr id="17" name="Rectangle 16"/>
            <p:cNvSpPr/>
            <p:nvPr/>
          </p:nvSpPr>
          <p:spPr bwMode="auto">
            <a:xfrm>
              <a:off x="6088599" y="5281234"/>
              <a:ext cx="2861732" cy="970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t" anchorCtr="0" forceAA="0" compatLnSpc="1">
              <a:prstTxWarp prst="textNoShape">
                <a:avLst/>
              </a:prstTxWarp>
              <a:noAutofit/>
            </a:bodyPr>
            <a:lstStyle/>
            <a:p>
              <a:r>
                <a:rPr lang="en-US" sz="1600" dirty="0">
                  <a:solidFill>
                    <a:schemeClr val="tx1"/>
                  </a:solidFill>
                </a:rPr>
                <a:t>Enable access to locally attached devices in remote desktops</a:t>
              </a:r>
            </a:p>
          </p:txBody>
        </p:sp>
        <p:sp>
          <p:nvSpPr>
            <p:cNvPr id="30" name="Rectangle 29"/>
            <p:cNvSpPr/>
            <p:nvPr/>
          </p:nvSpPr>
          <p:spPr bwMode="auto">
            <a:xfrm>
              <a:off x="6092306" y="4618645"/>
              <a:ext cx="2743199" cy="4257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t" anchorCtr="0" forceAA="0" compatLnSpc="1">
              <a:prstTxWarp prst="textNoShape">
                <a:avLst/>
              </a:prstTxWarp>
              <a:noAutofit/>
            </a:bodyPr>
            <a:lstStyle/>
            <a:p>
              <a:r>
                <a:rPr lang="en-US" sz="2000" b="1" dirty="0">
                  <a:solidFill>
                    <a:schemeClr val="accent1"/>
                  </a:solidFill>
                </a:rPr>
                <a:t>USB redirection</a:t>
              </a:r>
            </a:p>
          </p:txBody>
        </p:sp>
      </p:grpSp>
      <p:grpSp>
        <p:nvGrpSpPr>
          <p:cNvPr id="8" name="Group 7"/>
          <p:cNvGrpSpPr/>
          <p:nvPr/>
        </p:nvGrpSpPr>
        <p:grpSpPr>
          <a:xfrm>
            <a:off x="9078292" y="4615945"/>
            <a:ext cx="3083546" cy="1643946"/>
            <a:chOff x="9078292" y="4615945"/>
            <a:chExt cx="3083546" cy="1643946"/>
          </a:xfrm>
        </p:grpSpPr>
        <p:sp>
          <p:nvSpPr>
            <p:cNvPr id="18" name="Rectangle 17"/>
            <p:cNvSpPr/>
            <p:nvPr/>
          </p:nvSpPr>
          <p:spPr bwMode="auto">
            <a:xfrm>
              <a:off x="9106531" y="5289701"/>
              <a:ext cx="3055307" cy="9701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t" anchorCtr="0" forceAA="0" compatLnSpc="1">
              <a:prstTxWarp prst="textNoShape">
                <a:avLst/>
              </a:prstTxWarp>
              <a:noAutofit/>
            </a:bodyPr>
            <a:lstStyle/>
            <a:p>
              <a:r>
                <a:rPr lang="en-US" sz="1600" dirty="0">
                  <a:solidFill>
                    <a:schemeClr val="tx1"/>
                  </a:solidFill>
                </a:rPr>
                <a:t>Support multitouch, </a:t>
              </a:r>
              <a:br>
                <a:rPr lang="en-US" sz="1600" dirty="0">
                  <a:solidFill>
                    <a:schemeClr val="tx1"/>
                  </a:solidFill>
                </a:rPr>
              </a:br>
              <a:r>
                <a:rPr lang="en-US" sz="1600" dirty="0">
                  <a:solidFill>
                    <a:schemeClr val="tx1"/>
                  </a:solidFill>
                </a:rPr>
                <a:t>new Windows Experience, and Start </a:t>
              </a:r>
              <a:r>
                <a:rPr lang="en-US" sz="1600" dirty="0" smtClean="0">
                  <a:solidFill>
                    <a:schemeClr val="tx1"/>
                  </a:solidFill>
                </a:rPr>
                <a:t>menu/screen </a:t>
              </a:r>
              <a:r>
                <a:rPr lang="en-US" sz="1600" dirty="0">
                  <a:solidFill>
                    <a:schemeClr val="tx1"/>
                  </a:solidFill>
                </a:rPr>
                <a:t>integration</a:t>
              </a:r>
            </a:p>
          </p:txBody>
        </p:sp>
        <p:sp>
          <p:nvSpPr>
            <p:cNvPr id="13" name="Rectangle 12"/>
            <p:cNvSpPr/>
            <p:nvPr/>
          </p:nvSpPr>
          <p:spPr bwMode="auto">
            <a:xfrm>
              <a:off x="9078292" y="4615945"/>
              <a:ext cx="2875582" cy="6749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t" anchorCtr="0" forceAA="0" compatLnSpc="1">
              <a:prstTxWarp prst="textNoShape">
                <a:avLst/>
              </a:prstTxWarp>
              <a:noAutofit/>
            </a:bodyPr>
            <a:lstStyle/>
            <a:p>
              <a:r>
                <a:rPr lang="en-US" sz="2000" b="1" dirty="0">
                  <a:solidFill>
                    <a:schemeClr val="accent1"/>
                  </a:solidFill>
                </a:rPr>
                <a:t>Seamless experience</a:t>
              </a:r>
            </a:p>
          </p:txBody>
        </p:sp>
      </p:grpSp>
      <p:grpSp>
        <p:nvGrpSpPr>
          <p:cNvPr id="6" name="Group 5"/>
          <p:cNvGrpSpPr/>
          <p:nvPr/>
        </p:nvGrpSpPr>
        <p:grpSpPr>
          <a:xfrm>
            <a:off x="3431844" y="4623036"/>
            <a:ext cx="2340853" cy="1636506"/>
            <a:chOff x="3431844" y="4623036"/>
            <a:chExt cx="2340853" cy="1636506"/>
          </a:xfrm>
        </p:grpSpPr>
        <p:sp>
          <p:nvSpPr>
            <p:cNvPr id="32" name="Rectangle 31"/>
            <p:cNvSpPr/>
            <p:nvPr/>
          </p:nvSpPr>
          <p:spPr bwMode="auto">
            <a:xfrm>
              <a:off x="3441188" y="4623036"/>
              <a:ext cx="2331509" cy="4213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t" anchorCtr="0" forceAA="0" compatLnSpc="1">
              <a:prstTxWarp prst="textNoShape">
                <a:avLst/>
              </a:prstTxWarp>
              <a:noAutofit/>
            </a:bodyPr>
            <a:lstStyle/>
            <a:p>
              <a:r>
                <a:rPr lang="en-US" sz="2000" b="1" dirty="0">
                  <a:solidFill>
                    <a:schemeClr val="accent1"/>
                  </a:solidFill>
                </a:rPr>
                <a:t>GPU support</a:t>
              </a:r>
            </a:p>
          </p:txBody>
        </p:sp>
        <p:sp>
          <p:nvSpPr>
            <p:cNvPr id="14" name="Rectangle 13"/>
            <p:cNvSpPr/>
            <p:nvPr/>
          </p:nvSpPr>
          <p:spPr bwMode="auto">
            <a:xfrm>
              <a:off x="3431844" y="5289351"/>
              <a:ext cx="2334477" cy="9701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t" anchorCtr="0" forceAA="0" compatLnSpc="1">
              <a:prstTxWarp prst="textNoShape">
                <a:avLst/>
              </a:prstTxWarp>
              <a:noAutofit/>
            </a:bodyPr>
            <a:lstStyle/>
            <a:p>
              <a:pPr marL="0" lvl="1"/>
              <a:r>
                <a:rPr lang="en-US" sz="1600" dirty="0">
                  <a:solidFill>
                    <a:schemeClr val="tx1"/>
                  </a:solidFill>
                </a:rPr>
                <a:t>Support both physical and software GPUs</a:t>
              </a:r>
            </a:p>
          </p:txBody>
        </p:sp>
      </p:grpSp>
      <p:grpSp>
        <p:nvGrpSpPr>
          <p:cNvPr id="11" name="Group 10"/>
          <p:cNvGrpSpPr/>
          <p:nvPr/>
        </p:nvGrpSpPr>
        <p:grpSpPr>
          <a:xfrm>
            <a:off x="3500457" y="1938397"/>
            <a:ext cx="2111568" cy="1903418"/>
            <a:chOff x="3500457" y="1938397"/>
            <a:chExt cx="2111568" cy="1903418"/>
          </a:xfrm>
        </p:grpSpPr>
        <p:grpSp>
          <p:nvGrpSpPr>
            <p:cNvPr id="9" name="Group 8"/>
            <p:cNvGrpSpPr/>
            <p:nvPr/>
          </p:nvGrpSpPr>
          <p:grpSpPr>
            <a:xfrm>
              <a:off x="4333488" y="2422116"/>
              <a:ext cx="1278537" cy="1278537"/>
              <a:chOff x="3998525" y="2683959"/>
              <a:chExt cx="839788" cy="839788"/>
            </a:xfrm>
          </p:grpSpPr>
          <p:sp>
            <p:nvSpPr>
              <p:cNvPr id="40" name="Freeform 10"/>
              <p:cNvSpPr>
                <a:spLocks/>
              </p:cNvSpPr>
              <p:nvPr/>
            </p:nvSpPr>
            <p:spPr bwMode="auto">
              <a:xfrm>
                <a:off x="4119175" y="2804609"/>
                <a:ext cx="596900" cy="598488"/>
              </a:xfrm>
              <a:custGeom>
                <a:avLst/>
                <a:gdLst>
                  <a:gd name="T0" fmla="*/ 99 w 2637"/>
                  <a:gd name="T1" fmla="*/ 0 h 2637"/>
                  <a:gd name="T2" fmla="*/ 2537 w 2637"/>
                  <a:gd name="T3" fmla="*/ 0 h 2637"/>
                  <a:gd name="T4" fmla="*/ 2559 w 2637"/>
                  <a:gd name="T5" fmla="*/ 2 h 2637"/>
                  <a:gd name="T6" fmla="*/ 2580 w 2637"/>
                  <a:gd name="T7" fmla="*/ 10 h 2637"/>
                  <a:gd name="T8" fmla="*/ 2599 w 2637"/>
                  <a:gd name="T9" fmla="*/ 22 h 2637"/>
                  <a:gd name="T10" fmla="*/ 2614 w 2637"/>
                  <a:gd name="T11" fmla="*/ 38 h 2637"/>
                  <a:gd name="T12" fmla="*/ 2626 w 2637"/>
                  <a:gd name="T13" fmla="*/ 56 h 2637"/>
                  <a:gd name="T14" fmla="*/ 2634 w 2637"/>
                  <a:gd name="T15" fmla="*/ 77 h 2637"/>
                  <a:gd name="T16" fmla="*/ 2637 w 2637"/>
                  <a:gd name="T17" fmla="*/ 101 h 2637"/>
                  <a:gd name="T18" fmla="*/ 2637 w 2637"/>
                  <a:gd name="T19" fmla="*/ 2537 h 2637"/>
                  <a:gd name="T20" fmla="*/ 2634 w 2637"/>
                  <a:gd name="T21" fmla="*/ 2559 h 2637"/>
                  <a:gd name="T22" fmla="*/ 2626 w 2637"/>
                  <a:gd name="T23" fmla="*/ 2581 h 2637"/>
                  <a:gd name="T24" fmla="*/ 2614 w 2637"/>
                  <a:gd name="T25" fmla="*/ 2600 h 2637"/>
                  <a:gd name="T26" fmla="*/ 2599 w 2637"/>
                  <a:gd name="T27" fmla="*/ 2616 h 2637"/>
                  <a:gd name="T28" fmla="*/ 2580 w 2637"/>
                  <a:gd name="T29" fmla="*/ 2627 h 2637"/>
                  <a:gd name="T30" fmla="*/ 2559 w 2637"/>
                  <a:gd name="T31" fmla="*/ 2635 h 2637"/>
                  <a:gd name="T32" fmla="*/ 2537 w 2637"/>
                  <a:gd name="T33" fmla="*/ 2637 h 2637"/>
                  <a:gd name="T34" fmla="*/ 99 w 2637"/>
                  <a:gd name="T35" fmla="*/ 2637 h 2637"/>
                  <a:gd name="T36" fmla="*/ 77 w 2637"/>
                  <a:gd name="T37" fmla="*/ 2635 h 2637"/>
                  <a:gd name="T38" fmla="*/ 56 w 2637"/>
                  <a:gd name="T39" fmla="*/ 2627 h 2637"/>
                  <a:gd name="T40" fmla="*/ 37 w 2637"/>
                  <a:gd name="T41" fmla="*/ 2616 h 2637"/>
                  <a:gd name="T42" fmla="*/ 22 w 2637"/>
                  <a:gd name="T43" fmla="*/ 2600 h 2637"/>
                  <a:gd name="T44" fmla="*/ 10 w 2637"/>
                  <a:gd name="T45" fmla="*/ 2581 h 2637"/>
                  <a:gd name="T46" fmla="*/ 2 w 2637"/>
                  <a:gd name="T47" fmla="*/ 2559 h 2637"/>
                  <a:gd name="T48" fmla="*/ 0 w 2637"/>
                  <a:gd name="T49" fmla="*/ 2537 h 2637"/>
                  <a:gd name="T50" fmla="*/ 0 w 2637"/>
                  <a:gd name="T51" fmla="*/ 101 h 2637"/>
                  <a:gd name="T52" fmla="*/ 2 w 2637"/>
                  <a:gd name="T53" fmla="*/ 77 h 2637"/>
                  <a:gd name="T54" fmla="*/ 10 w 2637"/>
                  <a:gd name="T55" fmla="*/ 56 h 2637"/>
                  <a:gd name="T56" fmla="*/ 22 w 2637"/>
                  <a:gd name="T57" fmla="*/ 38 h 2637"/>
                  <a:gd name="T58" fmla="*/ 37 w 2637"/>
                  <a:gd name="T59" fmla="*/ 22 h 2637"/>
                  <a:gd name="T60" fmla="*/ 56 w 2637"/>
                  <a:gd name="T61" fmla="*/ 10 h 2637"/>
                  <a:gd name="T62" fmla="*/ 77 w 2637"/>
                  <a:gd name="T63" fmla="*/ 2 h 2637"/>
                  <a:gd name="T64" fmla="*/ 99 w 2637"/>
                  <a:gd name="T65" fmla="*/ 0 h 2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37" h="2637">
                    <a:moveTo>
                      <a:pt x="99" y="0"/>
                    </a:moveTo>
                    <a:lnTo>
                      <a:pt x="2537" y="0"/>
                    </a:lnTo>
                    <a:lnTo>
                      <a:pt x="2559" y="2"/>
                    </a:lnTo>
                    <a:lnTo>
                      <a:pt x="2580" y="10"/>
                    </a:lnTo>
                    <a:lnTo>
                      <a:pt x="2599" y="22"/>
                    </a:lnTo>
                    <a:lnTo>
                      <a:pt x="2614" y="38"/>
                    </a:lnTo>
                    <a:lnTo>
                      <a:pt x="2626" y="56"/>
                    </a:lnTo>
                    <a:lnTo>
                      <a:pt x="2634" y="77"/>
                    </a:lnTo>
                    <a:lnTo>
                      <a:pt x="2637" y="101"/>
                    </a:lnTo>
                    <a:lnTo>
                      <a:pt x="2637" y="2537"/>
                    </a:lnTo>
                    <a:lnTo>
                      <a:pt x="2634" y="2559"/>
                    </a:lnTo>
                    <a:lnTo>
                      <a:pt x="2626" y="2581"/>
                    </a:lnTo>
                    <a:lnTo>
                      <a:pt x="2614" y="2600"/>
                    </a:lnTo>
                    <a:lnTo>
                      <a:pt x="2599" y="2616"/>
                    </a:lnTo>
                    <a:lnTo>
                      <a:pt x="2580" y="2627"/>
                    </a:lnTo>
                    <a:lnTo>
                      <a:pt x="2559" y="2635"/>
                    </a:lnTo>
                    <a:lnTo>
                      <a:pt x="2537" y="2637"/>
                    </a:lnTo>
                    <a:lnTo>
                      <a:pt x="99" y="2637"/>
                    </a:lnTo>
                    <a:lnTo>
                      <a:pt x="77" y="2635"/>
                    </a:lnTo>
                    <a:lnTo>
                      <a:pt x="56" y="2627"/>
                    </a:lnTo>
                    <a:lnTo>
                      <a:pt x="37" y="2616"/>
                    </a:lnTo>
                    <a:lnTo>
                      <a:pt x="22" y="2600"/>
                    </a:lnTo>
                    <a:lnTo>
                      <a:pt x="10" y="2581"/>
                    </a:lnTo>
                    <a:lnTo>
                      <a:pt x="2" y="2559"/>
                    </a:lnTo>
                    <a:lnTo>
                      <a:pt x="0" y="2537"/>
                    </a:lnTo>
                    <a:lnTo>
                      <a:pt x="0" y="101"/>
                    </a:lnTo>
                    <a:lnTo>
                      <a:pt x="2" y="77"/>
                    </a:lnTo>
                    <a:lnTo>
                      <a:pt x="10" y="56"/>
                    </a:lnTo>
                    <a:lnTo>
                      <a:pt x="22" y="38"/>
                    </a:lnTo>
                    <a:lnTo>
                      <a:pt x="37" y="22"/>
                    </a:lnTo>
                    <a:lnTo>
                      <a:pt x="56" y="10"/>
                    </a:lnTo>
                    <a:lnTo>
                      <a:pt x="77" y="2"/>
                    </a:lnTo>
                    <a:lnTo>
                      <a:pt x="99"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1"/>
              <p:cNvSpPr>
                <a:spLocks noEditPoints="1"/>
              </p:cNvSpPr>
              <p:nvPr/>
            </p:nvSpPr>
            <p:spPr bwMode="auto">
              <a:xfrm>
                <a:off x="4203313" y="2683959"/>
                <a:ext cx="425450" cy="839788"/>
              </a:xfrm>
              <a:custGeom>
                <a:avLst/>
                <a:gdLst>
                  <a:gd name="T0" fmla="*/ 1870 w 1873"/>
                  <a:gd name="T1" fmla="*/ 3636 h 3702"/>
                  <a:gd name="T2" fmla="*/ 1806 w 1873"/>
                  <a:gd name="T3" fmla="*/ 3699 h 3702"/>
                  <a:gd name="T4" fmla="*/ 1719 w 1873"/>
                  <a:gd name="T5" fmla="*/ 3675 h 3702"/>
                  <a:gd name="T6" fmla="*/ 1692 w 1873"/>
                  <a:gd name="T7" fmla="*/ 3169 h 3702"/>
                  <a:gd name="T8" fmla="*/ 1529 w 1873"/>
                  <a:gd name="T9" fmla="*/ 3636 h 3702"/>
                  <a:gd name="T10" fmla="*/ 1465 w 1873"/>
                  <a:gd name="T11" fmla="*/ 3699 h 3702"/>
                  <a:gd name="T12" fmla="*/ 1378 w 1873"/>
                  <a:gd name="T13" fmla="*/ 3675 h 3702"/>
                  <a:gd name="T14" fmla="*/ 1351 w 1873"/>
                  <a:gd name="T15" fmla="*/ 3169 h 3702"/>
                  <a:gd name="T16" fmla="*/ 1186 w 1873"/>
                  <a:gd name="T17" fmla="*/ 3636 h 3702"/>
                  <a:gd name="T18" fmla="*/ 1123 w 1873"/>
                  <a:gd name="T19" fmla="*/ 3699 h 3702"/>
                  <a:gd name="T20" fmla="*/ 1034 w 1873"/>
                  <a:gd name="T21" fmla="*/ 3675 h 3702"/>
                  <a:gd name="T22" fmla="*/ 1008 w 1873"/>
                  <a:gd name="T23" fmla="*/ 3169 h 3702"/>
                  <a:gd name="T24" fmla="*/ 855 w 1873"/>
                  <a:gd name="T25" fmla="*/ 3636 h 3702"/>
                  <a:gd name="T26" fmla="*/ 791 w 1873"/>
                  <a:gd name="T27" fmla="*/ 3699 h 3702"/>
                  <a:gd name="T28" fmla="*/ 703 w 1873"/>
                  <a:gd name="T29" fmla="*/ 3675 h 3702"/>
                  <a:gd name="T30" fmla="*/ 676 w 1873"/>
                  <a:gd name="T31" fmla="*/ 3169 h 3702"/>
                  <a:gd name="T32" fmla="*/ 518 w 1873"/>
                  <a:gd name="T33" fmla="*/ 3636 h 3702"/>
                  <a:gd name="T34" fmla="*/ 455 w 1873"/>
                  <a:gd name="T35" fmla="*/ 3699 h 3702"/>
                  <a:gd name="T36" fmla="*/ 368 w 1873"/>
                  <a:gd name="T37" fmla="*/ 3675 h 3702"/>
                  <a:gd name="T38" fmla="*/ 341 w 1873"/>
                  <a:gd name="T39" fmla="*/ 3169 h 3702"/>
                  <a:gd name="T40" fmla="*/ 177 w 1873"/>
                  <a:gd name="T41" fmla="*/ 3636 h 3702"/>
                  <a:gd name="T42" fmla="*/ 114 w 1873"/>
                  <a:gd name="T43" fmla="*/ 3699 h 3702"/>
                  <a:gd name="T44" fmla="*/ 26 w 1873"/>
                  <a:gd name="T45" fmla="*/ 3675 h 3702"/>
                  <a:gd name="T46" fmla="*/ 0 w 1873"/>
                  <a:gd name="T47" fmla="*/ 3169 h 3702"/>
                  <a:gd name="T48" fmla="*/ 1847 w 1873"/>
                  <a:gd name="T49" fmla="*/ 27 h 3702"/>
                  <a:gd name="T50" fmla="*/ 1873 w 1873"/>
                  <a:gd name="T51" fmla="*/ 533 h 3702"/>
                  <a:gd name="T52" fmla="*/ 1704 w 1873"/>
                  <a:gd name="T53" fmla="*/ 45 h 3702"/>
                  <a:gd name="T54" fmla="*/ 1783 w 1873"/>
                  <a:gd name="T55" fmla="*/ 0 h 3702"/>
                  <a:gd name="T56" fmla="*/ 1505 w 1873"/>
                  <a:gd name="T57" fmla="*/ 27 h 3702"/>
                  <a:gd name="T58" fmla="*/ 1532 w 1873"/>
                  <a:gd name="T59" fmla="*/ 533 h 3702"/>
                  <a:gd name="T60" fmla="*/ 1363 w 1873"/>
                  <a:gd name="T61" fmla="*/ 45 h 3702"/>
                  <a:gd name="T62" fmla="*/ 1441 w 1873"/>
                  <a:gd name="T63" fmla="*/ 0 h 3702"/>
                  <a:gd name="T64" fmla="*/ 1162 w 1873"/>
                  <a:gd name="T65" fmla="*/ 27 h 3702"/>
                  <a:gd name="T66" fmla="*/ 1189 w 1873"/>
                  <a:gd name="T67" fmla="*/ 533 h 3702"/>
                  <a:gd name="T68" fmla="*/ 1021 w 1873"/>
                  <a:gd name="T69" fmla="*/ 45 h 3702"/>
                  <a:gd name="T70" fmla="*/ 1098 w 1873"/>
                  <a:gd name="T71" fmla="*/ 0 h 3702"/>
                  <a:gd name="T72" fmla="*/ 831 w 1873"/>
                  <a:gd name="T73" fmla="*/ 27 h 3702"/>
                  <a:gd name="T74" fmla="*/ 858 w 1873"/>
                  <a:gd name="T75" fmla="*/ 533 h 3702"/>
                  <a:gd name="T76" fmla="*/ 689 w 1873"/>
                  <a:gd name="T77" fmla="*/ 45 h 3702"/>
                  <a:gd name="T78" fmla="*/ 767 w 1873"/>
                  <a:gd name="T79" fmla="*/ 0 h 3702"/>
                  <a:gd name="T80" fmla="*/ 496 w 1873"/>
                  <a:gd name="T81" fmla="*/ 27 h 3702"/>
                  <a:gd name="T82" fmla="*/ 521 w 1873"/>
                  <a:gd name="T83" fmla="*/ 533 h 3702"/>
                  <a:gd name="T84" fmla="*/ 353 w 1873"/>
                  <a:gd name="T85" fmla="*/ 45 h 3702"/>
                  <a:gd name="T86" fmla="*/ 432 w 1873"/>
                  <a:gd name="T87" fmla="*/ 0 h 3702"/>
                  <a:gd name="T88" fmla="*/ 154 w 1873"/>
                  <a:gd name="T89" fmla="*/ 27 h 3702"/>
                  <a:gd name="T90" fmla="*/ 180 w 1873"/>
                  <a:gd name="T91" fmla="*/ 533 h 3702"/>
                  <a:gd name="T92" fmla="*/ 12 w 1873"/>
                  <a:gd name="T93" fmla="*/ 45 h 3702"/>
                  <a:gd name="T94" fmla="*/ 90 w 1873"/>
                  <a:gd name="T95" fmla="*/ 0 h 3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73" h="3702">
                    <a:moveTo>
                      <a:pt x="1692" y="3169"/>
                    </a:moveTo>
                    <a:lnTo>
                      <a:pt x="1873" y="3169"/>
                    </a:lnTo>
                    <a:lnTo>
                      <a:pt x="1873" y="3611"/>
                    </a:lnTo>
                    <a:lnTo>
                      <a:pt x="1870" y="3636"/>
                    </a:lnTo>
                    <a:lnTo>
                      <a:pt x="1861" y="3657"/>
                    </a:lnTo>
                    <a:lnTo>
                      <a:pt x="1847" y="3675"/>
                    </a:lnTo>
                    <a:lnTo>
                      <a:pt x="1829" y="3690"/>
                    </a:lnTo>
                    <a:lnTo>
                      <a:pt x="1806" y="3699"/>
                    </a:lnTo>
                    <a:lnTo>
                      <a:pt x="1783" y="3702"/>
                    </a:lnTo>
                    <a:lnTo>
                      <a:pt x="1759" y="3699"/>
                    </a:lnTo>
                    <a:lnTo>
                      <a:pt x="1737" y="3690"/>
                    </a:lnTo>
                    <a:lnTo>
                      <a:pt x="1719" y="3675"/>
                    </a:lnTo>
                    <a:lnTo>
                      <a:pt x="1704" y="3657"/>
                    </a:lnTo>
                    <a:lnTo>
                      <a:pt x="1695" y="3636"/>
                    </a:lnTo>
                    <a:lnTo>
                      <a:pt x="1692" y="3611"/>
                    </a:lnTo>
                    <a:lnTo>
                      <a:pt x="1692" y="3169"/>
                    </a:lnTo>
                    <a:close/>
                    <a:moveTo>
                      <a:pt x="1351" y="3169"/>
                    </a:moveTo>
                    <a:lnTo>
                      <a:pt x="1532" y="3169"/>
                    </a:lnTo>
                    <a:lnTo>
                      <a:pt x="1532" y="3611"/>
                    </a:lnTo>
                    <a:lnTo>
                      <a:pt x="1529" y="3636"/>
                    </a:lnTo>
                    <a:lnTo>
                      <a:pt x="1520" y="3657"/>
                    </a:lnTo>
                    <a:lnTo>
                      <a:pt x="1505" y="3675"/>
                    </a:lnTo>
                    <a:lnTo>
                      <a:pt x="1487" y="3690"/>
                    </a:lnTo>
                    <a:lnTo>
                      <a:pt x="1465" y="3699"/>
                    </a:lnTo>
                    <a:lnTo>
                      <a:pt x="1441" y="3702"/>
                    </a:lnTo>
                    <a:lnTo>
                      <a:pt x="1418" y="3699"/>
                    </a:lnTo>
                    <a:lnTo>
                      <a:pt x="1395" y="3690"/>
                    </a:lnTo>
                    <a:lnTo>
                      <a:pt x="1378" y="3675"/>
                    </a:lnTo>
                    <a:lnTo>
                      <a:pt x="1363" y="3657"/>
                    </a:lnTo>
                    <a:lnTo>
                      <a:pt x="1354" y="3636"/>
                    </a:lnTo>
                    <a:lnTo>
                      <a:pt x="1351" y="3611"/>
                    </a:lnTo>
                    <a:lnTo>
                      <a:pt x="1351" y="3169"/>
                    </a:lnTo>
                    <a:close/>
                    <a:moveTo>
                      <a:pt x="1008" y="3169"/>
                    </a:moveTo>
                    <a:lnTo>
                      <a:pt x="1189" y="3169"/>
                    </a:lnTo>
                    <a:lnTo>
                      <a:pt x="1189" y="3611"/>
                    </a:lnTo>
                    <a:lnTo>
                      <a:pt x="1186" y="3636"/>
                    </a:lnTo>
                    <a:lnTo>
                      <a:pt x="1177" y="3657"/>
                    </a:lnTo>
                    <a:lnTo>
                      <a:pt x="1162" y="3675"/>
                    </a:lnTo>
                    <a:lnTo>
                      <a:pt x="1144" y="3690"/>
                    </a:lnTo>
                    <a:lnTo>
                      <a:pt x="1123" y="3699"/>
                    </a:lnTo>
                    <a:lnTo>
                      <a:pt x="1098" y="3702"/>
                    </a:lnTo>
                    <a:lnTo>
                      <a:pt x="1075" y="3699"/>
                    </a:lnTo>
                    <a:lnTo>
                      <a:pt x="1053" y="3690"/>
                    </a:lnTo>
                    <a:lnTo>
                      <a:pt x="1034" y="3675"/>
                    </a:lnTo>
                    <a:lnTo>
                      <a:pt x="1021" y="3657"/>
                    </a:lnTo>
                    <a:lnTo>
                      <a:pt x="1012" y="3636"/>
                    </a:lnTo>
                    <a:lnTo>
                      <a:pt x="1008" y="3611"/>
                    </a:lnTo>
                    <a:lnTo>
                      <a:pt x="1008" y="3169"/>
                    </a:lnTo>
                    <a:close/>
                    <a:moveTo>
                      <a:pt x="676" y="3169"/>
                    </a:moveTo>
                    <a:lnTo>
                      <a:pt x="858" y="3169"/>
                    </a:lnTo>
                    <a:lnTo>
                      <a:pt x="858" y="3611"/>
                    </a:lnTo>
                    <a:lnTo>
                      <a:pt x="855" y="3636"/>
                    </a:lnTo>
                    <a:lnTo>
                      <a:pt x="846" y="3657"/>
                    </a:lnTo>
                    <a:lnTo>
                      <a:pt x="831" y="3675"/>
                    </a:lnTo>
                    <a:lnTo>
                      <a:pt x="813" y="3690"/>
                    </a:lnTo>
                    <a:lnTo>
                      <a:pt x="791" y="3699"/>
                    </a:lnTo>
                    <a:lnTo>
                      <a:pt x="767" y="3702"/>
                    </a:lnTo>
                    <a:lnTo>
                      <a:pt x="744" y="3699"/>
                    </a:lnTo>
                    <a:lnTo>
                      <a:pt x="721" y="3690"/>
                    </a:lnTo>
                    <a:lnTo>
                      <a:pt x="703" y="3675"/>
                    </a:lnTo>
                    <a:lnTo>
                      <a:pt x="689" y="3657"/>
                    </a:lnTo>
                    <a:lnTo>
                      <a:pt x="680" y="3636"/>
                    </a:lnTo>
                    <a:lnTo>
                      <a:pt x="676" y="3611"/>
                    </a:lnTo>
                    <a:lnTo>
                      <a:pt x="676" y="3169"/>
                    </a:lnTo>
                    <a:close/>
                    <a:moveTo>
                      <a:pt x="341" y="3169"/>
                    </a:moveTo>
                    <a:lnTo>
                      <a:pt x="521" y="3169"/>
                    </a:lnTo>
                    <a:lnTo>
                      <a:pt x="521" y="3611"/>
                    </a:lnTo>
                    <a:lnTo>
                      <a:pt x="518" y="3636"/>
                    </a:lnTo>
                    <a:lnTo>
                      <a:pt x="509" y="3657"/>
                    </a:lnTo>
                    <a:lnTo>
                      <a:pt x="496" y="3675"/>
                    </a:lnTo>
                    <a:lnTo>
                      <a:pt x="476" y="3690"/>
                    </a:lnTo>
                    <a:lnTo>
                      <a:pt x="455" y="3699"/>
                    </a:lnTo>
                    <a:lnTo>
                      <a:pt x="432" y="3702"/>
                    </a:lnTo>
                    <a:lnTo>
                      <a:pt x="407" y="3699"/>
                    </a:lnTo>
                    <a:lnTo>
                      <a:pt x="386" y="3690"/>
                    </a:lnTo>
                    <a:lnTo>
                      <a:pt x="368" y="3675"/>
                    </a:lnTo>
                    <a:lnTo>
                      <a:pt x="353" y="3657"/>
                    </a:lnTo>
                    <a:lnTo>
                      <a:pt x="344" y="3636"/>
                    </a:lnTo>
                    <a:lnTo>
                      <a:pt x="341" y="3611"/>
                    </a:lnTo>
                    <a:lnTo>
                      <a:pt x="341" y="3169"/>
                    </a:lnTo>
                    <a:close/>
                    <a:moveTo>
                      <a:pt x="0" y="3169"/>
                    </a:moveTo>
                    <a:lnTo>
                      <a:pt x="180" y="3169"/>
                    </a:lnTo>
                    <a:lnTo>
                      <a:pt x="180" y="3611"/>
                    </a:lnTo>
                    <a:lnTo>
                      <a:pt x="177" y="3636"/>
                    </a:lnTo>
                    <a:lnTo>
                      <a:pt x="168" y="3657"/>
                    </a:lnTo>
                    <a:lnTo>
                      <a:pt x="154" y="3675"/>
                    </a:lnTo>
                    <a:lnTo>
                      <a:pt x="135" y="3690"/>
                    </a:lnTo>
                    <a:lnTo>
                      <a:pt x="114" y="3699"/>
                    </a:lnTo>
                    <a:lnTo>
                      <a:pt x="90" y="3702"/>
                    </a:lnTo>
                    <a:lnTo>
                      <a:pt x="66" y="3699"/>
                    </a:lnTo>
                    <a:lnTo>
                      <a:pt x="44" y="3690"/>
                    </a:lnTo>
                    <a:lnTo>
                      <a:pt x="26" y="3675"/>
                    </a:lnTo>
                    <a:lnTo>
                      <a:pt x="12" y="3657"/>
                    </a:lnTo>
                    <a:lnTo>
                      <a:pt x="3" y="3636"/>
                    </a:lnTo>
                    <a:lnTo>
                      <a:pt x="0" y="3611"/>
                    </a:lnTo>
                    <a:lnTo>
                      <a:pt x="0" y="3169"/>
                    </a:lnTo>
                    <a:close/>
                    <a:moveTo>
                      <a:pt x="1783" y="0"/>
                    </a:moveTo>
                    <a:lnTo>
                      <a:pt x="1806" y="3"/>
                    </a:lnTo>
                    <a:lnTo>
                      <a:pt x="1829" y="12"/>
                    </a:lnTo>
                    <a:lnTo>
                      <a:pt x="1847" y="27"/>
                    </a:lnTo>
                    <a:lnTo>
                      <a:pt x="1861" y="45"/>
                    </a:lnTo>
                    <a:lnTo>
                      <a:pt x="1870" y="67"/>
                    </a:lnTo>
                    <a:lnTo>
                      <a:pt x="1873" y="91"/>
                    </a:lnTo>
                    <a:lnTo>
                      <a:pt x="1873" y="533"/>
                    </a:lnTo>
                    <a:lnTo>
                      <a:pt x="1692" y="533"/>
                    </a:lnTo>
                    <a:lnTo>
                      <a:pt x="1692" y="91"/>
                    </a:lnTo>
                    <a:lnTo>
                      <a:pt x="1695" y="67"/>
                    </a:lnTo>
                    <a:lnTo>
                      <a:pt x="1704" y="45"/>
                    </a:lnTo>
                    <a:lnTo>
                      <a:pt x="1719" y="27"/>
                    </a:lnTo>
                    <a:lnTo>
                      <a:pt x="1737" y="12"/>
                    </a:lnTo>
                    <a:lnTo>
                      <a:pt x="1759" y="3"/>
                    </a:lnTo>
                    <a:lnTo>
                      <a:pt x="1783" y="0"/>
                    </a:lnTo>
                    <a:close/>
                    <a:moveTo>
                      <a:pt x="1441" y="0"/>
                    </a:moveTo>
                    <a:lnTo>
                      <a:pt x="1465" y="3"/>
                    </a:lnTo>
                    <a:lnTo>
                      <a:pt x="1487" y="12"/>
                    </a:lnTo>
                    <a:lnTo>
                      <a:pt x="1505" y="27"/>
                    </a:lnTo>
                    <a:lnTo>
                      <a:pt x="1520" y="45"/>
                    </a:lnTo>
                    <a:lnTo>
                      <a:pt x="1529" y="67"/>
                    </a:lnTo>
                    <a:lnTo>
                      <a:pt x="1532" y="91"/>
                    </a:lnTo>
                    <a:lnTo>
                      <a:pt x="1532" y="533"/>
                    </a:lnTo>
                    <a:lnTo>
                      <a:pt x="1351" y="533"/>
                    </a:lnTo>
                    <a:lnTo>
                      <a:pt x="1351" y="91"/>
                    </a:lnTo>
                    <a:lnTo>
                      <a:pt x="1354" y="67"/>
                    </a:lnTo>
                    <a:lnTo>
                      <a:pt x="1363" y="45"/>
                    </a:lnTo>
                    <a:lnTo>
                      <a:pt x="1378" y="27"/>
                    </a:lnTo>
                    <a:lnTo>
                      <a:pt x="1395" y="12"/>
                    </a:lnTo>
                    <a:lnTo>
                      <a:pt x="1418" y="3"/>
                    </a:lnTo>
                    <a:lnTo>
                      <a:pt x="1441" y="0"/>
                    </a:lnTo>
                    <a:close/>
                    <a:moveTo>
                      <a:pt x="1098" y="0"/>
                    </a:moveTo>
                    <a:lnTo>
                      <a:pt x="1123" y="3"/>
                    </a:lnTo>
                    <a:lnTo>
                      <a:pt x="1144" y="12"/>
                    </a:lnTo>
                    <a:lnTo>
                      <a:pt x="1162" y="27"/>
                    </a:lnTo>
                    <a:lnTo>
                      <a:pt x="1177" y="45"/>
                    </a:lnTo>
                    <a:lnTo>
                      <a:pt x="1186" y="67"/>
                    </a:lnTo>
                    <a:lnTo>
                      <a:pt x="1189" y="91"/>
                    </a:lnTo>
                    <a:lnTo>
                      <a:pt x="1189" y="533"/>
                    </a:lnTo>
                    <a:lnTo>
                      <a:pt x="1008" y="533"/>
                    </a:lnTo>
                    <a:lnTo>
                      <a:pt x="1008" y="91"/>
                    </a:lnTo>
                    <a:lnTo>
                      <a:pt x="1012" y="67"/>
                    </a:lnTo>
                    <a:lnTo>
                      <a:pt x="1021" y="45"/>
                    </a:lnTo>
                    <a:lnTo>
                      <a:pt x="1034" y="27"/>
                    </a:lnTo>
                    <a:lnTo>
                      <a:pt x="1053" y="12"/>
                    </a:lnTo>
                    <a:lnTo>
                      <a:pt x="1075" y="3"/>
                    </a:lnTo>
                    <a:lnTo>
                      <a:pt x="1098" y="0"/>
                    </a:lnTo>
                    <a:close/>
                    <a:moveTo>
                      <a:pt x="767" y="0"/>
                    </a:moveTo>
                    <a:lnTo>
                      <a:pt x="791" y="3"/>
                    </a:lnTo>
                    <a:lnTo>
                      <a:pt x="813" y="12"/>
                    </a:lnTo>
                    <a:lnTo>
                      <a:pt x="831" y="27"/>
                    </a:lnTo>
                    <a:lnTo>
                      <a:pt x="846" y="45"/>
                    </a:lnTo>
                    <a:lnTo>
                      <a:pt x="855" y="67"/>
                    </a:lnTo>
                    <a:lnTo>
                      <a:pt x="858" y="91"/>
                    </a:lnTo>
                    <a:lnTo>
                      <a:pt x="858" y="533"/>
                    </a:lnTo>
                    <a:lnTo>
                      <a:pt x="676" y="533"/>
                    </a:lnTo>
                    <a:lnTo>
                      <a:pt x="676" y="91"/>
                    </a:lnTo>
                    <a:lnTo>
                      <a:pt x="680" y="67"/>
                    </a:lnTo>
                    <a:lnTo>
                      <a:pt x="689" y="45"/>
                    </a:lnTo>
                    <a:lnTo>
                      <a:pt x="703" y="27"/>
                    </a:lnTo>
                    <a:lnTo>
                      <a:pt x="721" y="12"/>
                    </a:lnTo>
                    <a:lnTo>
                      <a:pt x="744" y="3"/>
                    </a:lnTo>
                    <a:lnTo>
                      <a:pt x="767" y="0"/>
                    </a:lnTo>
                    <a:close/>
                    <a:moveTo>
                      <a:pt x="432" y="0"/>
                    </a:moveTo>
                    <a:lnTo>
                      <a:pt x="455" y="3"/>
                    </a:lnTo>
                    <a:lnTo>
                      <a:pt x="476" y="12"/>
                    </a:lnTo>
                    <a:lnTo>
                      <a:pt x="496" y="27"/>
                    </a:lnTo>
                    <a:lnTo>
                      <a:pt x="509" y="45"/>
                    </a:lnTo>
                    <a:lnTo>
                      <a:pt x="518" y="67"/>
                    </a:lnTo>
                    <a:lnTo>
                      <a:pt x="521" y="91"/>
                    </a:lnTo>
                    <a:lnTo>
                      <a:pt x="521" y="533"/>
                    </a:lnTo>
                    <a:lnTo>
                      <a:pt x="341" y="533"/>
                    </a:lnTo>
                    <a:lnTo>
                      <a:pt x="341" y="91"/>
                    </a:lnTo>
                    <a:lnTo>
                      <a:pt x="344" y="67"/>
                    </a:lnTo>
                    <a:lnTo>
                      <a:pt x="353" y="45"/>
                    </a:lnTo>
                    <a:lnTo>
                      <a:pt x="368" y="27"/>
                    </a:lnTo>
                    <a:lnTo>
                      <a:pt x="386" y="12"/>
                    </a:lnTo>
                    <a:lnTo>
                      <a:pt x="407" y="3"/>
                    </a:lnTo>
                    <a:lnTo>
                      <a:pt x="432" y="0"/>
                    </a:lnTo>
                    <a:close/>
                    <a:moveTo>
                      <a:pt x="90" y="0"/>
                    </a:moveTo>
                    <a:lnTo>
                      <a:pt x="114" y="3"/>
                    </a:lnTo>
                    <a:lnTo>
                      <a:pt x="135" y="12"/>
                    </a:lnTo>
                    <a:lnTo>
                      <a:pt x="154" y="27"/>
                    </a:lnTo>
                    <a:lnTo>
                      <a:pt x="168" y="45"/>
                    </a:lnTo>
                    <a:lnTo>
                      <a:pt x="177" y="67"/>
                    </a:lnTo>
                    <a:lnTo>
                      <a:pt x="180" y="91"/>
                    </a:lnTo>
                    <a:lnTo>
                      <a:pt x="180" y="533"/>
                    </a:lnTo>
                    <a:lnTo>
                      <a:pt x="0" y="533"/>
                    </a:lnTo>
                    <a:lnTo>
                      <a:pt x="0" y="91"/>
                    </a:lnTo>
                    <a:lnTo>
                      <a:pt x="3" y="67"/>
                    </a:lnTo>
                    <a:lnTo>
                      <a:pt x="12" y="45"/>
                    </a:lnTo>
                    <a:lnTo>
                      <a:pt x="26" y="27"/>
                    </a:lnTo>
                    <a:lnTo>
                      <a:pt x="44" y="12"/>
                    </a:lnTo>
                    <a:lnTo>
                      <a:pt x="66" y="3"/>
                    </a:lnTo>
                    <a:lnTo>
                      <a:pt x="9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12"/>
              <p:cNvSpPr>
                <a:spLocks noEditPoints="1"/>
              </p:cNvSpPr>
              <p:nvPr/>
            </p:nvSpPr>
            <p:spPr bwMode="auto">
              <a:xfrm>
                <a:off x="3998525" y="2882397"/>
                <a:ext cx="839788" cy="423863"/>
              </a:xfrm>
              <a:custGeom>
                <a:avLst/>
                <a:gdLst>
                  <a:gd name="T0" fmla="*/ 3657 w 3702"/>
                  <a:gd name="T1" fmla="*/ 1705 h 1873"/>
                  <a:gd name="T2" fmla="*/ 3702 w 3702"/>
                  <a:gd name="T3" fmla="*/ 1783 h 1873"/>
                  <a:gd name="T4" fmla="*/ 3657 w 3702"/>
                  <a:gd name="T5" fmla="*/ 1861 h 1873"/>
                  <a:gd name="T6" fmla="*/ 3169 w 3702"/>
                  <a:gd name="T7" fmla="*/ 1692 h 1873"/>
                  <a:gd name="T8" fmla="*/ 91 w 3702"/>
                  <a:gd name="T9" fmla="*/ 1873 h 1873"/>
                  <a:gd name="T10" fmla="*/ 12 w 3702"/>
                  <a:gd name="T11" fmla="*/ 1828 h 1873"/>
                  <a:gd name="T12" fmla="*/ 12 w 3702"/>
                  <a:gd name="T13" fmla="*/ 1737 h 1873"/>
                  <a:gd name="T14" fmla="*/ 91 w 3702"/>
                  <a:gd name="T15" fmla="*/ 1692 h 1873"/>
                  <a:gd name="T16" fmla="*/ 3657 w 3702"/>
                  <a:gd name="T17" fmla="*/ 1364 h 1873"/>
                  <a:gd name="T18" fmla="*/ 3702 w 3702"/>
                  <a:gd name="T19" fmla="*/ 1442 h 1873"/>
                  <a:gd name="T20" fmla="*/ 3657 w 3702"/>
                  <a:gd name="T21" fmla="*/ 1519 h 1873"/>
                  <a:gd name="T22" fmla="*/ 3169 w 3702"/>
                  <a:gd name="T23" fmla="*/ 1351 h 1873"/>
                  <a:gd name="T24" fmla="*/ 91 w 3702"/>
                  <a:gd name="T25" fmla="*/ 1532 h 1873"/>
                  <a:gd name="T26" fmla="*/ 12 w 3702"/>
                  <a:gd name="T27" fmla="*/ 1487 h 1873"/>
                  <a:gd name="T28" fmla="*/ 12 w 3702"/>
                  <a:gd name="T29" fmla="*/ 1396 h 1873"/>
                  <a:gd name="T30" fmla="*/ 91 w 3702"/>
                  <a:gd name="T31" fmla="*/ 1351 h 1873"/>
                  <a:gd name="T32" fmla="*/ 3657 w 3702"/>
                  <a:gd name="T33" fmla="*/ 1028 h 1873"/>
                  <a:gd name="T34" fmla="*/ 3702 w 3702"/>
                  <a:gd name="T35" fmla="*/ 1105 h 1873"/>
                  <a:gd name="T36" fmla="*/ 3657 w 3702"/>
                  <a:gd name="T37" fmla="*/ 1184 h 1873"/>
                  <a:gd name="T38" fmla="*/ 3169 w 3702"/>
                  <a:gd name="T39" fmla="*/ 1016 h 1873"/>
                  <a:gd name="T40" fmla="*/ 91 w 3702"/>
                  <a:gd name="T41" fmla="*/ 1196 h 1873"/>
                  <a:gd name="T42" fmla="*/ 12 w 3702"/>
                  <a:gd name="T43" fmla="*/ 1151 h 1873"/>
                  <a:gd name="T44" fmla="*/ 12 w 3702"/>
                  <a:gd name="T45" fmla="*/ 1061 h 1873"/>
                  <a:gd name="T46" fmla="*/ 91 w 3702"/>
                  <a:gd name="T47" fmla="*/ 1016 h 1873"/>
                  <a:gd name="T48" fmla="*/ 3657 w 3702"/>
                  <a:gd name="T49" fmla="*/ 696 h 1873"/>
                  <a:gd name="T50" fmla="*/ 3702 w 3702"/>
                  <a:gd name="T51" fmla="*/ 774 h 1873"/>
                  <a:gd name="T52" fmla="*/ 3657 w 3702"/>
                  <a:gd name="T53" fmla="*/ 853 h 1873"/>
                  <a:gd name="T54" fmla="*/ 3169 w 3702"/>
                  <a:gd name="T55" fmla="*/ 684 h 1873"/>
                  <a:gd name="T56" fmla="*/ 91 w 3702"/>
                  <a:gd name="T57" fmla="*/ 865 h 1873"/>
                  <a:gd name="T58" fmla="*/ 12 w 3702"/>
                  <a:gd name="T59" fmla="*/ 820 h 1873"/>
                  <a:gd name="T60" fmla="*/ 12 w 3702"/>
                  <a:gd name="T61" fmla="*/ 728 h 1873"/>
                  <a:gd name="T62" fmla="*/ 91 w 3702"/>
                  <a:gd name="T63" fmla="*/ 684 h 1873"/>
                  <a:gd name="T64" fmla="*/ 3657 w 3702"/>
                  <a:gd name="T65" fmla="*/ 354 h 1873"/>
                  <a:gd name="T66" fmla="*/ 3702 w 3702"/>
                  <a:gd name="T67" fmla="*/ 431 h 1873"/>
                  <a:gd name="T68" fmla="*/ 3657 w 3702"/>
                  <a:gd name="T69" fmla="*/ 510 h 1873"/>
                  <a:gd name="T70" fmla="*/ 3169 w 3702"/>
                  <a:gd name="T71" fmla="*/ 341 h 1873"/>
                  <a:gd name="T72" fmla="*/ 91 w 3702"/>
                  <a:gd name="T73" fmla="*/ 522 h 1873"/>
                  <a:gd name="T74" fmla="*/ 12 w 3702"/>
                  <a:gd name="T75" fmla="*/ 477 h 1873"/>
                  <a:gd name="T76" fmla="*/ 12 w 3702"/>
                  <a:gd name="T77" fmla="*/ 386 h 1873"/>
                  <a:gd name="T78" fmla="*/ 91 w 3702"/>
                  <a:gd name="T79" fmla="*/ 341 h 1873"/>
                  <a:gd name="T80" fmla="*/ 3657 w 3702"/>
                  <a:gd name="T81" fmla="*/ 12 h 1873"/>
                  <a:gd name="T82" fmla="*/ 3702 w 3702"/>
                  <a:gd name="T83" fmla="*/ 90 h 1873"/>
                  <a:gd name="T84" fmla="*/ 3657 w 3702"/>
                  <a:gd name="T85" fmla="*/ 168 h 1873"/>
                  <a:gd name="T86" fmla="*/ 3169 w 3702"/>
                  <a:gd name="T87" fmla="*/ 0 h 1873"/>
                  <a:gd name="T88" fmla="*/ 91 w 3702"/>
                  <a:gd name="T89" fmla="*/ 181 h 1873"/>
                  <a:gd name="T90" fmla="*/ 12 w 3702"/>
                  <a:gd name="T91" fmla="*/ 136 h 1873"/>
                  <a:gd name="T92" fmla="*/ 12 w 3702"/>
                  <a:gd name="T93" fmla="*/ 45 h 1873"/>
                  <a:gd name="T94" fmla="*/ 91 w 3702"/>
                  <a:gd name="T95" fmla="*/ 0 h 1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02" h="1873">
                    <a:moveTo>
                      <a:pt x="3169" y="1692"/>
                    </a:moveTo>
                    <a:lnTo>
                      <a:pt x="3611" y="1692"/>
                    </a:lnTo>
                    <a:lnTo>
                      <a:pt x="3635" y="1696"/>
                    </a:lnTo>
                    <a:lnTo>
                      <a:pt x="3657" y="1705"/>
                    </a:lnTo>
                    <a:lnTo>
                      <a:pt x="3675" y="1719"/>
                    </a:lnTo>
                    <a:lnTo>
                      <a:pt x="3690" y="1737"/>
                    </a:lnTo>
                    <a:lnTo>
                      <a:pt x="3699" y="1758"/>
                    </a:lnTo>
                    <a:lnTo>
                      <a:pt x="3702" y="1783"/>
                    </a:lnTo>
                    <a:lnTo>
                      <a:pt x="3699" y="1807"/>
                    </a:lnTo>
                    <a:lnTo>
                      <a:pt x="3690" y="1828"/>
                    </a:lnTo>
                    <a:lnTo>
                      <a:pt x="3675" y="1847"/>
                    </a:lnTo>
                    <a:lnTo>
                      <a:pt x="3657" y="1861"/>
                    </a:lnTo>
                    <a:lnTo>
                      <a:pt x="3635" y="1870"/>
                    </a:lnTo>
                    <a:lnTo>
                      <a:pt x="3611" y="1873"/>
                    </a:lnTo>
                    <a:lnTo>
                      <a:pt x="3169" y="1873"/>
                    </a:lnTo>
                    <a:lnTo>
                      <a:pt x="3169" y="1692"/>
                    </a:lnTo>
                    <a:close/>
                    <a:moveTo>
                      <a:pt x="91" y="1692"/>
                    </a:moveTo>
                    <a:lnTo>
                      <a:pt x="533" y="1692"/>
                    </a:lnTo>
                    <a:lnTo>
                      <a:pt x="533" y="1873"/>
                    </a:lnTo>
                    <a:lnTo>
                      <a:pt x="91" y="1873"/>
                    </a:lnTo>
                    <a:lnTo>
                      <a:pt x="66" y="1870"/>
                    </a:lnTo>
                    <a:lnTo>
                      <a:pt x="45" y="1861"/>
                    </a:lnTo>
                    <a:lnTo>
                      <a:pt x="27" y="1847"/>
                    </a:lnTo>
                    <a:lnTo>
                      <a:pt x="12" y="1828"/>
                    </a:lnTo>
                    <a:lnTo>
                      <a:pt x="3" y="1807"/>
                    </a:lnTo>
                    <a:lnTo>
                      <a:pt x="0" y="1783"/>
                    </a:lnTo>
                    <a:lnTo>
                      <a:pt x="3" y="1758"/>
                    </a:lnTo>
                    <a:lnTo>
                      <a:pt x="12" y="1737"/>
                    </a:lnTo>
                    <a:lnTo>
                      <a:pt x="27" y="1719"/>
                    </a:lnTo>
                    <a:lnTo>
                      <a:pt x="45" y="1705"/>
                    </a:lnTo>
                    <a:lnTo>
                      <a:pt x="66" y="1696"/>
                    </a:lnTo>
                    <a:lnTo>
                      <a:pt x="91" y="1692"/>
                    </a:lnTo>
                    <a:close/>
                    <a:moveTo>
                      <a:pt x="3169" y="1351"/>
                    </a:moveTo>
                    <a:lnTo>
                      <a:pt x="3611" y="1351"/>
                    </a:lnTo>
                    <a:lnTo>
                      <a:pt x="3635" y="1355"/>
                    </a:lnTo>
                    <a:lnTo>
                      <a:pt x="3657" y="1364"/>
                    </a:lnTo>
                    <a:lnTo>
                      <a:pt x="3675" y="1378"/>
                    </a:lnTo>
                    <a:lnTo>
                      <a:pt x="3690" y="1396"/>
                    </a:lnTo>
                    <a:lnTo>
                      <a:pt x="3699" y="1417"/>
                    </a:lnTo>
                    <a:lnTo>
                      <a:pt x="3702" y="1442"/>
                    </a:lnTo>
                    <a:lnTo>
                      <a:pt x="3699" y="1466"/>
                    </a:lnTo>
                    <a:lnTo>
                      <a:pt x="3690" y="1487"/>
                    </a:lnTo>
                    <a:lnTo>
                      <a:pt x="3675" y="1506"/>
                    </a:lnTo>
                    <a:lnTo>
                      <a:pt x="3657" y="1519"/>
                    </a:lnTo>
                    <a:lnTo>
                      <a:pt x="3635" y="1528"/>
                    </a:lnTo>
                    <a:lnTo>
                      <a:pt x="3611" y="1532"/>
                    </a:lnTo>
                    <a:lnTo>
                      <a:pt x="3169" y="1532"/>
                    </a:lnTo>
                    <a:lnTo>
                      <a:pt x="3169" y="1351"/>
                    </a:lnTo>
                    <a:close/>
                    <a:moveTo>
                      <a:pt x="91" y="1351"/>
                    </a:moveTo>
                    <a:lnTo>
                      <a:pt x="533" y="1351"/>
                    </a:lnTo>
                    <a:lnTo>
                      <a:pt x="533" y="1532"/>
                    </a:lnTo>
                    <a:lnTo>
                      <a:pt x="91" y="1532"/>
                    </a:lnTo>
                    <a:lnTo>
                      <a:pt x="66" y="1528"/>
                    </a:lnTo>
                    <a:lnTo>
                      <a:pt x="45" y="1519"/>
                    </a:lnTo>
                    <a:lnTo>
                      <a:pt x="27" y="1506"/>
                    </a:lnTo>
                    <a:lnTo>
                      <a:pt x="12" y="1487"/>
                    </a:lnTo>
                    <a:lnTo>
                      <a:pt x="3" y="1466"/>
                    </a:lnTo>
                    <a:lnTo>
                      <a:pt x="0" y="1442"/>
                    </a:lnTo>
                    <a:lnTo>
                      <a:pt x="3" y="1417"/>
                    </a:lnTo>
                    <a:lnTo>
                      <a:pt x="12" y="1396"/>
                    </a:lnTo>
                    <a:lnTo>
                      <a:pt x="27" y="1378"/>
                    </a:lnTo>
                    <a:lnTo>
                      <a:pt x="45" y="1364"/>
                    </a:lnTo>
                    <a:lnTo>
                      <a:pt x="66" y="1355"/>
                    </a:lnTo>
                    <a:lnTo>
                      <a:pt x="91" y="1351"/>
                    </a:lnTo>
                    <a:close/>
                    <a:moveTo>
                      <a:pt x="3169" y="1016"/>
                    </a:moveTo>
                    <a:lnTo>
                      <a:pt x="3611" y="1016"/>
                    </a:lnTo>
                    <a:lnTo>
                      <a:pt x="3635" y="1019"/>
                    </a:lnTo>
                    <a:lnTo>
                      <a:pt x="3657" y="1028"/>
                    </a:lnTo>
                    <a:lnTo>
                      <a:pt x="3675" y="1041"/>
                    </a:lnTo>
                    <a:lnTo>
                      <a:pt x="3690" y="1061"/>
                    </a:lnTo>
                    <a:lnTo>
                      <a:pt x="3699" y="1082"/>
                    </a:lnTo>
                    <a:lnTo>
                      <a:pt x="3702" y="1105"/>
                    </a:lnTo>
                    <a:lnTo>
                      <a:pt x="3699" y="1130"/>
                    </a:lnTo>
                    <a:lnTo>
                      <a:pt x="3690" y="1151"/>
                    </a:lnTo>
                    <a:lnTo>
                      <a:pt x="3675" y="1169"/>
                    </a:lnTo>
                    <a:lnTo>
                      <a:pt x="3657" y="1184"/>
                    </a:lnTo>
                    <a:lnTo>
                      <a:pt x="3635" y="1193"/>
                    </a:lnTo>
                    <a:lnTo>
                      <a:pt x="3611" y="1196"/>
                    </a:lnTo>
                    <a:lnTo>
                      <a:pt x="3169" y="1196"/>
                    </a:lnTo>
                    <a:lnTo>
                      <a:pt x="3169" y="1016"/>
                    </a:lnTo>
                    <a:close/>
                    <a:moveTo>
                      <a:pt x="91" y="1016"/>
                    </a:moveTo>
                    <a:lnTo>
                      <a:pt x="533" y="1016"/>
                    </a:lnTo>
                    <a:lnTo>
                      <a:pt x="533" y="1196"/>
                    </a:lnTo>
                    <a:lnTo>
                      <a:pt x="91" y="1196"/>
                    </a:lnTo>
                    <a:lnTo>
                      <a:pt x="66" y="1193"/>
                    </a:lnTo>
                    <a:lnTo>
                      <a:pt x="45" y="1184"/>
                    </a:lnTo>
                    <a:lnTo>
                      <a:pt x="27" y="1169"/>
                    </a:lnTo>
                    <a:lnTo>
                      <a:pt x="12" y="1151"/>
                    </a:lnTo>
                    <a:lnTo>
                      <a:pt x="3" y="1130"/>
                    </a:lnTo>
                    <a:lnTo>
                      <a:pt x="0" y="1105"/>
                    </a:lnTo>
                    <a:lnTo>
                      <a:pt x="3" y="1082"/>
                    </a:lnTo>
                    <a:lnTo>
                      <a:pt x="12" y="1061"/>
                    </a:lnTo>
                    <a:lnTo>
                      <a:pt x="27" y="1041"/>
                    </a:lnTo>
                    <a:lnTo>
                      <a:pt x="45" y="1028"/>
                    </a:lnTo>
                    <a:lnTo>
                      <a:pt x="66" y="1019"/>
                    </a:lnTo>
                    <a:lnTo>
                      <a:pt x="91" y="1016"/>
                    </a:lnTo>
                    <a:close/>
                    <a:moveTo>
                      <a:pt x="3169" y="684"/>
                    </a:moveTo>
                    <a:lnTo>
                      <a:pt x="3611" y="684"/>
                    </a:lnTo>
                    <a:lnTo>
                      <a:pt x="3635" y="687"/>
                    </a:lnTo>
                    <a:lnTo>
                      <a:pt x="3657" y="696"/>
                    </a:lnTo>
                    <a:lnTo>
                      <a:pt x="3675" y="710"/>
                    </a:lnTo>
                    <a:lnTo>
                      <a:pt x="3690" y="728"/>
                    </a:lnTo>
                    <a:lnTo>
                      <a:pt x="3699" y="751"/>
                    </a:lnTo>
                    <a:lnTo>
                      <a:pt x="3702" y="774"/>
                    </a:lnTo>
                    <a:lnTo>
                      <a:pt x="3699" y="798"/>
                    </a:lnTo>
                    <a:lnTo>
                      <a:pt x="3690" y="820"/>
                    </a:lnTo>
                    <a:lnTo>
                      <a:pt x="3675" y="838"/>
                    </a:lnTo>
                    <a:lnTo>
                      <a:pt x="3657" y="853"/>
                    </a:lnTo>
                    <a:lnTo>
                      <a:pt x="3635" y="862"/>
                    </a:lnTo>
                    <a:lnTo>
                      <a:pt x="3611" y="865"/>
                    </a:lnTo>
                    <a:lnTo>
                      <a:pt x="3169" y="865"/>
                    </a:lnTo>
                    <a:lnTo>
                      <a:pt x="3169" y="684"/>
                    </a:lnTo>
                    <a:close/>
                    <a:moveTo>
                      <a:pt x="91" y="684"/>
                    </a:moveTo>
                    <a:lnTo>
                      <a:pt x="533" y="684"/>
                    </a:lnTo>
                    <a:lnTo>
                      <a:pt x="533" y="865"/>
                    </a:lnTo>
                    <a:lnTo>
                      <a:pt x="91" y="865"/>
                    </a:lnTo>
                    <a:lnTo>
                      <a:pt x="66" y="862"/>
                    </a:lnTo>
                    <a:lnTo>
                      <a:pt x="45" y="853"/>
                    </a:lnTo>
                    <a:lnTo>
                      <a:pt x="27" y="838"/>
                    </a:lnTo>
                    <a:lnTo>
                      <a:pt x="12" y="820"/>
                    </a:lnTo>
                    <a:lnTo>
                      <a:pt x="3" y="798"/>
                    </a:lnTo>
                    <a:lnTo>
                      <a:pt x="0" y="774"/>
                    </a:lnTo>
                    <a:lnTo>
                      <a:pt x="3" y="751"/>
                    </a:lnTo>
                    <a:lnTo>
                      <a:pt x="12" y="728"/>
                    </a:lnTo>
                    <a:lnTo>
                      <a:pt x="27" y="710"/>
                    </a:lnTo>
                    <a:lnTo>
                      <a:pt x="45" y="696"/>
                    </a:lnTo>
                    <a:lnTo>
                      <a:pt x="66" y="687"/>
                    </a:lnTo>
                    <a:lnTo>
                      <a:pt x="91" y="684"/>
                    </a:lnTo>
                    <a:close/>
                    <a:moveTo>
                      <a:pt x="3169" y="341"/>
                    </a:moveTo>
                    <a:lnTo>
                      <a:pt x="3611" y="341"/>
                    </a:lnTo>
                    <a:lnTo>
                      <a:pt x="3635" y="345"/>
                    </a:lnTo>
                    <a:lnTo>
                      <a:pt x="3657" y="354"/>
                    </a:lnTo>
                    <a:lnTo>
                      <a:pt x="3675" y="367"/>
                    </a:lnTo>
                    <a:lnTo>
                      <a:pt x="3690" y="386"/>
                    </a:lnTo>
                    <a:lnTo>
                      <a:pt x="3699" y="407"/>
                    </a:lnTo>
                    <a:lnTo>
                      <a:pt x="3702" y="431"/>
                    </a:lnTo>
                    <a:lnTo>
                      <a:pt x="3699" y="456"/>
                    </a:lnTo>
                    <a:lnTo>
                      <a:pt x="3690" y="477"/>
                    </a:lnTo>
                    <a:lnTo>
                      <a:pt x="3675" y="495"/>
                    </a:lnTo>
                    <a:lnTo>
                      <a:pt x="3657" y="510"/>
                    </a:lnTo>
                    <a:lnTo>
                      <a:pt x="3635" y="519"/>
                    </a:lnTo>
                    <a:lnTo>
                      <a:pt x="3611" y="522"/>
                    </a:lnTo>
                    <a:lnTo>
                      <a:pt x="3169" y="522"/>
                    </a:lnTo>
                    <a:lnTo>
                      <a:pt x="3169" y="341"/>
                    </a:lnTo>
                    <a:close/>
                    <a:moveTo>
                      <a:pt x="91" y="341"/>
                    </a:moveTo>
                    <a:lnTo>
                      <a:pt x="533" y="341"/>
                    </a:lnTo>
                    <a:lnTo>
                      <a:pt x="533" y="522"/>
                    </a:lnTo>
                    <a:lnTo>
                      <a:pt x="91" y="522"/>
                    </a:lnTo>
                    <a:lnTo>
                      <a:pt x="66" y="519"/>
                    </a:lnTo>
                    <a:lnTo>
                      <a:pt x="45" y="510"/>
                    </a:lnTo>
                    <a:lnTo>
                      <a:pt x="27" y="495"/>
                    </a:lnTo>
                    <a:lnTo>
                      <a:pt x="12" y="477"/>
                    </a:lnTo>
                    <a:lnTo>
                      <a:pt x="3" y="456"/>
                    </a:lnTo>
                    <a:lnTo>
                      <a:pt x="0" y="431"/>
                    </a:lnTo>
                    <a:lnTo>
                      <a:pt x="3" y="407"/>
                    </a:lnTo>
                    <a:lnTo>
                      <a:pt x="12" y="386"/>
                    </a:lnTo>
                    <a:lnTo>
                      <a:pt x="27" y="367"/>
                    </a:lnTo>
                    <a:lnTo>
                      <a:pt x="45" y="354"/>
                    </a:lnTo>
                    <a:lnTo>
                      <a:pt x="66" y="345"/>
                    </a:lnTo>
                    <a:lnTo>
                      <a:pt x="91" y="341"/>
                    </a:lnTo>
                    <a:close/>
                    <a:moveTo>
                      <a:pt x="3169" y="0"/>
                    </a:moveTo>
                    <a:lnTo>
                      <a:pt x="3611" y="0"/>
                    </a:lnTo>
                    <a:lnTo>
                      <a:pt x="3635" y="3"/>
                    </a:lnTo>
                    <a:lnTo>
                      <a:pt x="3657" y="12"/>
                    </a:lnTo>
                    <a:lnTo>
                      <a:pt x="3675" y="26"/>
                    </a:lnTo>
                    <a:lnTo>
                      <a:pt x="3690" y="45"/>
                    </a:lnTo>
                    <a:lnTo>
                      <a:pt x="3699" y="66"/>
                    </a:lnTo>
                    <a:lnTo>
                      <a:pt x="3702" y="90"/>
                    </a:lnTo>
                    <a:lnTo>
                      <a:pt x="3699" y="115"/>
                    </a:lnTo>
                    <a:lnTo>
                      <a:pt x="3690" y="136"/>
                    </a:lnTo>
                    <a:lnTo>
                      <a:pt x="3675" y="154"/>
                    </a:lnTo>
                    <a:lnTo>
                      <a:pt x="3657" y="168"/>
                    </a:lnTo>
                    <a:lnTo>
                      <a:pt x="3635" y="177"/>
                    </a:lnTo>
                    <a:lnTo>
                      <a:pt x="3611" y="181"/>
                    </a:lnTo>
                    <a:lnTo>
                      <a:pt x="3169" y="181"/>
                    </a:lnTo>
                    <a:lnTo>
                      <a:pt x="3169" y="0"/>
                    </a:lnTo>
                    <a:close/>
                    <a:moveTo>
                      <a:pt x="91" y="0"/>
                    </a:moveTo>
                    <a:lnTo>
                      <a:pt x="533" y="0"/>
                    </a:lnTo>
                    <a:lnTo>
                      <a:pt x="533" y="181"/>
                    </a:lnTo>
                    <a:lnTo>
                      <a:pt x="91" y="181"/>
                    </a:lnTo>
                    <a:lnTo>
                      <a:pt x="66" y="177"/>
                    </a:lnTo>
                    <a:lnTo>
                      <a:pt x="45" y="168"/>
                    </a:lnTo>
                    <a:lnTo>
                      <a:pt x="27" y="154"/>
                    </a:lnTo>
                    <a:lnTo>
                      <a:pt x="12" y="136"/>
                    </a:lnTo>
                    <a:lnTo>
                      <a:pt x="3" y="115"/>
                    </a:lnTo>
                    <a:lnTo>
                      <a:pt x="0" y="90"/>
                    </a:lnTo>
                    <a:lnTo>
                      <a:pt x="3" y="66"/>
                    </a:lnTo>
                    <a:lnTo>
                      <a:pt x="12" y="45"/>
                    </a:lnTo>
                    <a:lnTo>
                      <a:pt x="27" y="26"/>
                    </a:lnTo>
                    <a:lnTo>
                      <a:pt x="45" y="12"/>
                    </a:lnTo>
                    <a:lnTo>
                      <a:pt x="66" y="3"/>
                    </a:lnTo>
                    <a:lnTo>
                      <a:pt x="91"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0" name="Group 9"/>
            <p:cNvGrpSpPr/>
            <p:nvPr/>
          </p:nvGrpSpPr>
          <p:grpSpPr>
            <a:xfrm>
              <a:off x="3500457" y="1938397"/>
              <a:ext cx="1259483" cy="1903418"/>
              <a:chOff x="4371778" y="2491242"/>
              <a:chExt cx="741689" cy="1120892"/>
            </a:xfrm>
          </p:grpSpPr>
          <p:sp>
            <p:nvSpPr>
              <p:cNvPr id="43" name="Freeform 6"/>
              <p:cNvSpPr>
                <a:spLocks/>
              </p:cNvSpPr>
              <p:nvPr/>
            </p:nvSpPr>
            <p:spPr bwMode="auto">
              <a:xfrm>
                <a:off x="4524784" y="2491242"/>
                <a:ext cx="432796" cy="432797"/>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7"/>
              <p:cNvSpPr>
                <a:spLocks/>
              </p:cNvSpPr>
              <p:nvPr/>
            </p:nvSpPr>
            <p:spPr bwMode="auto">
              <a:xfrm>
                <a:off x="4371778" y="2875918"/>
                <a:ext cx="741689" cy="736216"/>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15" name="Group 4"/>
          <p:cNvGrpSpPr>
            <a:grpSpLocks noChangeAspect="1"/>
          </p:cNvGrpSpPr>
          <p:nvPr/>
        </p:nvGrpSpPr>
        <p:grpSpPr bwMode="auto">
          <a:xfrm>
            <a:off x="450975" y="2040467"/>
            <a:ext cx="2232903" cy="1866806"/>
            <a:chOff x="526" y="1452"/>
            <a:chExt cx="799" cy="668"/>
          </a:xfrm>
          <a:solidFill>
            <a:srgbClr val="0072C6"/>
          </a:solidFill>
        </p:grpSpPr>
        <p:sp>
          <p:nvSpPr>
            <p:cNvPr id="22" name="Freeform 5"/>
            <p:cNvSpPr>
              <a:spLocks noEditPoints="1"/>
            </p:cNvSpPr>
            <p:nvPr/>
          </p:nvSpPr>
          <p:spPr bwMode="auto">
            <a:xfrm>
              <a:off x="861" y="1752"/>
              <a:ext cx="185" cy="244"/>
            </a:xfrm>
            <a:custGeom>
              <a:avLst/>
              <a:gdLst>
                <a:gd name="T0" fmla="*/ 260 w 268"/>
                <a:gd name="T1" fmla="*/ 17 h 354"/>
                <a:gd name="T2" fmla="*/ 243 w 268"/>
                <a:gd name="T3" fmla="*/ 9 h 354"/>
                <a:gd name="T4" fmla="*/ 27 w 268"/>
                <a:gd name="T5" fmla="*/ 0 h 354"/>
                <a:gd name="T6" fmla="*/ 11 w 268"/>
                <a:gd name="T7" fmla="*/ 6 h 354"/>
                <a:gd name="T8" fmla="*/ 5 w 268"/>
                <a:gd name="T9" fmla="*/ 22 h 354"/>
                <a:gd name="T10" fmla="*/ 0 w 268"/>
                <a:gd name="T11" fmla="*/ 317 h 354"/>
                <a:gd name="T12" fmla="*/ 6 w 268"/>
                <a:gd name="T13" fmla="*/ 333 h 354"/>
                <a:gd name="T14" fmla="*/ 22 w 268"/>
                <a:gd name="T15" fmla="*/ 341 h 354"/>
                <a:gd name="T16" fmla="*/ 225 w 268"/>
                <a:gd name="T17" fmla="*/ 353 h 354"/>
                <a:gd name="T18" fmla="*/ 249 w 268"/>
                <a:gd name="T19" fmla="*/ 345 h 354"/>
                <a:gd name="T20" fmla="*/ 260 w 268"/>
                <a:gd name="T21" fmla="*/ 322 h 354"/>
                <a:gd name="T22" fmla="*/ 267 w 268"/>
                <a:gd name="T23" fmla="*/ 36 h 354"/>
                <a:gd name="T24" fmla="*/ 260 w 268"/>
                <a:gd name="T25" fmla="*/ 17 h 354"/>
                <a:gd name="T26" fmla="*/ 207 w 268"/>
                <a:gd name="T27" fmla="*/ 261 h 354"/>
                <a:gd name="T28" fmla="*/ 201 w 268"/>
                <a:gd name="T29" fmla="*/ 274 h 354"/>
                <a:gd name="T30" fmla="*/ 187 w 268"/>
                <a:gd name="T31" fmla="*/ 279 h 354"/>
                <a:gd name="T32" fmla="*/ 69 w 268"/>
                <a:gd name="T33" fmla="*/ 272 h 354"/>
                <a:gd name="T34" fmla="*/ 60 w 268"/>
                <a:gd name="T35" fmla="*/ 267 h 354"/>
                <a:gd name="T36" fmla="*/ 56 w 268"/>
                <a:gd name="T37" fmla="*/ 258 h 354"/>
                <a:gd name="T38" fmla="*/ 59 w 268"/>
                <a:gd name="T39" fmla="*/ 87 h 354"/>
                <a:gd name="T40" fmla="*/ 63 w 268"/>
                <a:gd name="T41" fmla="*/ 78 h 354"/>
                <a:gd name="T42" fmla="*/ 72 w 268"/>
                <a:gd name="T43" fmla="*/ 75 h 354"/>
                <a:gd name="T44" fmla="*/ 197 w 268"/>
                <a:gd name="T45" fmla="*/ 80 h 354"/>
                <a:gd name="T46" fmla="*/ 207 w 268"/>
                <a:gd name="T47" fmla="*/ 85 h 354"/>
                <a:gd name="T48" fmla="*/ 211 w 268"/>
                <a:gd name="T49" fmla="*/ 95 h 354"/>
                <a:gd name="T50" fmla="*/ 207 w 268"/>
                <a:gd name="T51" fmla="*/ 261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8" h="354">
                  <a:moveTo>
                    <a:pt x="260" y="17"/>
                  </a:moveTo>
                  <a:cubicBezTo>
                    <a:pt x="256" y="12"/>
                    <a:pt x="249" y="10"/>
                    <a:pt x="243" y="9"/>
                  </a:cubicBezTo>
                  <a:cubicBezTo>
                    <a:pt x="27" y="0"/>
                    <a:pt x="27" y="0"/>
                    <a:pt x="27" y="0"/>
                  </a:cubicBezTo>
                  <a:cubicBezTo>
                    <a:pt x="21" y="0"/>
                    <a:pt x="16" y="2"/>
                    <a:pt x="11" y="6"/>
                  </a:cubicBezTo>
                  <a:cubicBezTo>
                    <a:pt x="7" y="10"/>
                    <a:pt x="5" y="16"/>
                    <a:pt x="5" y="22"/>
                  </a:cubicBezTo>
                  <a:cubicBezTo>
                    <a:pt x="0" y="317"/>
                    <a:pt x="0" y="317"/>
                    <a:pt x="0" y="317"/>
                  </a:cubicBezTo>
                  <a:cubicBezTo>
                    <a:pt x="0" y="322"/>
                    <a:pt x="2" y="328"/>
                    <a:pt x="6" y="333"/>
                  </a:cubicBezTo>
                  <a:cubicBezTo>
                    <a:pt x="10" y="338"/>
                    <a:pt x="16" y="340"/>
                    <a:pt x="22" y="341"/>
                  </a:cubicBezTo>
                  <a:cubicBezTo>
                    <a:pt x="225" y="353"/>
                    <a:pt x="225" y="353"/>
                    <a:pt x="225" y="353"/>
                  </a:cubicBezTo>
                  <a:cubicBezTo>
                    <a:pt x="234" y="354"/>
                    <a:pt x="242" y="351"/>
                    <a:pt x="249" y="345"/>
                  </a:cubicBezTo>
                  <a:cubicBezTo>
                    <a:pt x="256" y="339"/>
                    <a:pt x="260" y="330"/>
                    <a:pt x="260" y="322"/>
                  </a:cubicBezTo>
                  <a:cubicBezTo>
                    <a:pt x="267" y="36"/>
                    <a:pt x="267" y="36"/>
                    <a:pt x="267" y="36"/>
                  </a:cubicBezTo>
                  <a:cubicBezTo>
                    <a:pt x="268" y="29"/>
                    <a:pt x="265" y="23"/>
                    <a:pt x="260" y="17"/>
                  </a:cubicBezTo>
                  <a:close/>
                  <a:moveTo>
                    <a:pt x="207" y="261"/>
                  </a:moveTo>
                  <a:cubicBezTo>
                    <a:pt x="207" y="266"/>
                    <a:pt x="205" y="270"/>
                    <a:pt x="201" y="274"/>
                  </a:cubicBezTo>
                  <a:cubicBezTo>
                    <a:pt x="197" y="278"/>
                    <a:pt x="192" y="279"/>
                    <a:pt x="187" y="279"/>
                  </a:cubicBezTo>
                  <a:cubicBezTo>
                    <a:pt x="69" y="272"/>
                    <a:pt x="69" y="272"/>
                    <a:pt x="69" y="272"/>
                  </a:cubicBezTo>
                  <a:cubicBezTo>
                    <a:pt x="65" y="271"/>
                    <a:pt x="62" y="270"/>
                    <a:pt x="60" y="267"/>
                  </a:cubicBezTo>
                  <a:cubicBezTo>
                    <a:pt x="57" y="264"/>
                    <a:pt x="56" y="261"/>
                    <a:pt x="56" y="258"/>
                  </a:cubicBezTo>
                  <a:cubicBezTo>
                    <a:pt x="59" y="87"/>
                    <a:pt x="59" y="87"/>
                    <a:pt x="59" y="87"/>
                  </a:cubicBezTo>
                  <a:cubicBezTo>
                    <a:pt x="59" y="84"/>
                    <a:pt x="60" y="80"/>
                    <a:pt x="63" y="78"/>
                  </a:cubicBezTo>
                  <a:cubicBezTo>
                    <a:pt x="65" y="76"/>
                    <a:pt x="69" y="74"/>
                    <a:pt x="72" y="75"/>
                  </a:cubicBezTo>
                  <a:cubicBezTo>
                    <a:pt x="197" y="80"/>
                    <a:pt x="197" y="80"/>
                    <a:pt x="197" y="80"/>
                  </a:cubicBezTo>
                  <a:cubicBezTo>
                    <a:pt x="200" y="80"/>
                    <a:pt x="204" y="81"/>
                    <a:pt x="207" y="85"/>
                  </a:cubicBezTo>
                  <a:cubicBezTo>
                    <a:pt x="210" y="88"/>
                    <a:pt x="211" y="91"/>
                    <a:pt x="211" y="95"/>
                  </a:cubicBezTo>
                  <a:lnTo>
                    <a:pt x="207"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p:nvSpPr>
          <p:spPr bwMode="auto">
            <a:xfrm>
              <a:off x="526" y="1866"/>
              <a:ext cx="436" cy="254"/>
            </a:xfrm>
            <a:custGeom>
              <a:avLst/>
              <a:gdLst>
                <a:gd name="T0" fmla="*/ 616 w 632"/>
                <a:gd name="T1" fmla="*/ 16 h 369"/>
                <a:gd name="T2" fmla="*/ 587 w 632"/>
                <a:gd name="T3" fmla="*/ 27 h 369"/>
                <a:gd name="T4" fmla="*/ 434 w 632"/>
                <a:gd name="T5" fmla="*/ 229 h 369"/>
                <a:gd name="T6" fmla="*/ 172 w 632"/>
                <a:gd name="T7" fmla="*/ 316 h 369"/>
                <a:gd name="T8" fmla="*/ 45 w 632"/>
                <a:gd name="T9" fmla="*/ 202 h 369"/>
                <a:gd name="T10" fmla="*/ 231 w 632"/>
                <a:gd name="T11" fmla="*/ 41 h 369"/>
                <a:gd name="T12" fmla="*/ 210 w 632"/>
                <a:gd name="T13" fmla="*/ 0 h 369"/>
                <a:gd name="T14" fmla="*/ 1 w 632"/>
                <a:gd name="T15" fmla="*/ 201 h 369"/>
                <a:gd name="T16" fmla="*/ 168 w 632"/>
                <a:gd name="T17" fmla="*/ 360 h 369"/>
                <a:gd name="T18" fmla="*/ 475 w 632"/>
                <a:gd name="T19" fmla="*/ 252 h 369"/>
                <a:gd name="T20" fmla="*/ 516 w 632"/>
                <a:gd name="T21" fmla="*/ 211 h 369"/>
                <a:gd name="T22" fmla="*/ 627 w 632"/>
                <a:gd name="T23" fmla="*/ 44 h 369"/>
                <a:gd name="T24" fmla="*/ 616 w 632"/>
                <a:gd name="T25" fmla="*/ 1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2" h="369">
                  <a:moveTo>
                    <a:pt x="616" y="16"/>
                  </a:moveTo>
                  <a:cubicBezTo>
                    <a:pt x="605" y="11"/>
                    <a:pt x="592" y="16"/>
                    <a:pt x="587" y="27"/>
                  </a:cubicBezTo>
                  <a:cubicBezTo>
                    <a:pt x="586" y="29"/>
                    <a:pt x="536" y="144"/>
                    <a:pt x="434" y="229"/>
                  </a:cubicBezTo>
                  <a:cubicBezTo>
                    <a:pt x="368" y="284"/>
                    <a:pt x="281" y="325"/>
                    <a:pt x="172" y="316"/>
                  </a:cubicBezTo>
                  <a:cubicBezTo>
                    <a:pt x="83" y="308"/>
                    <a:pt x="44" y="253"/>
                    <a:pt x="45" y="202"/>
                  </a:cubicBezTo>
                  <a:cubicBezTo>
                    <a:pt x="46" y="137"/>
                    <a:pt x="103" y="66"/>
                    <a:pt x="231" y="41"/>
                  </a:cubicBezTo>
                  <a:cubicBezTo>
                    <a:pt x="223" y="26"/>
                    <a:pt x="218" y="14"/>
                    <a:pt x="210" y="0"/>
                  </a:cubicBezTo>
                  <a:cubicBezTo>
                    <a:pt x="69" y="33"/>
                    <a:pt x="2" y="122"/>
                    <a:pt x="1" y="201"/>
                  </a:cubicBezTo>
                  <a:cubicBezTo>
                    <a:pt x="0" y="286"/>
                    <a:pt x="68" y="351"/>
                    <a:pt x="168" y="360"/>
                  </a:cubicBezTo>
                  <a:cubicBezTo>
                    <a:pt x="279" y="369"/>
                    <a:pt x="385" y="332"/>
                    <a:pt x="475" y="252"/>
                  </a:cubicBezTo>
                  <a:cubicBezTo>
                    <a:pt x="489" y="239"/>
                    <a:pt x="503" y="226"/>
                    <a:pt x="516" y="211"/>
                  </a:cubicBezTo>
                  <a:cubicBezTo>
                    <a:pt x="590" y="131"/>
                    <a:pt x="626" y="48"/>
                    <a:pt x="627" y="44"/>
                  </a:cubicBezTo>
                  <a:cubicBezTo>
                    <a:pt x="632" y="33"/>
                    <a:pt x="627" y="20"/>
                    <a:pt x="61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noEditPoints="1"/>
            </p:cNvSpPr>
            <p:nvPr/>
          </p:nvSpPr>
          <p:spPr bwMode="auto">
            <a:xfrm>
              <a:off x="681" y="1452"/>
              <a:ext cx="644" cy="643"/>
            </a:xfrm>
            <a:custGeom>
              <a:avLst/>
              <a:gdLst>
                <a:gd name="T0" fmla="*/ 322 w 934"/>
                <a:gd name="T1" fmla="*/ 142 h 935"/>
                <a:gd name="T2" fmla="*/ 314 w 934"/>
                <a:gd name="T3" fmla="*/ 141 h 935"/>
                <a:gd name="T4" fmla="*/ 277 w 934"/>
                <a:gd name="T5" fmla="*/ 148 h 935"/>
                <a:gd name="T6" fmla="*/ 505 w 934"/>
                <a:gd name="T7" fmla="*/ 180 h 935"/>
                <a:gd name="T8" fmla="*/ 498 w 934"/>
                <a:gd name="T9" fmla="*/ 182 h 935"/>
                <a:gd name="T10" fmla="*/ 525 w 934"/>
                <a:gd name="T11" fmla="*/ 234 h 935"/>
                <a:gd name="T12" fmla="*/ 517 w 934"/>
                <a:gd name="T13" fmla="*/ 248 h 935"/>
                <a:gd name="T14" fmla="*/ 528 w 934"/>
                <a:gd name="T15" fmla="*/ 233 h 935"/>
                <a:gd name="T16" fmla="*/ 543 w 934"/>
                <a:gd name="T17" fmla="*/ 242 h 935"/>
                <a:gd name="T18" fmla="*/ 559 w 934"/>
                <a:gd name="T19" fmla="*/ 253 h 935"/>
                <a:gd name="T20" fmla="*/ 558 w 934"/>
                <a:gd name="T21" fmla="*/ 224 h 935"/>
                <a:gd name="T22" fmla="*/ 496 w 934"/>
                <a:gd name="T23" fmla="*/ 167 h 935"/>
                <a:gd name="T24" fmla="*/ 467 w 934"/>
                <a:gd name="T25" fmla="*/ 138 h 935"/>
                <a:gd name="T26" fmla="*/ 395 w 934"/>
                <a:gd name="T27" fmla="*/ 171 h 935"/>
                <a:gd name="T28" fmla="*/ 348 w 934"/>
                <a:gd name="T29" fmla="*/ 249 h 935"/>
                <a:gd name="T30" fmla="*/ 341 w 934"/>
                <a:gd name="T31" fmla="*/ 259 h 935"/>
                <a:gd name="T32" fmla="*/ 348 w 934"/>
                <a:gd name="T33" fmla="*/ 170 h 935"/>
                <a:gd name="T34" fmla="*/ 311 w 934"/>
                <a:gd name="T35" fmla="*/ 168 h 935"/>
                <a:gd name="T36" fmla="*/ 330 w 934"/>
                <a:gd name="T37" fmla="*/ 189 h 935"/>
                <a:gd name="T38" fmla="*/ 600 w 934"/>
                <a:gd name="T39" fmla="*/ 303 h 935"/>
                <a:gd name="T40" fmla="*/ 824 w 934"/>
                <a:gd name="T41" fmla="*/ 388 h 935"/>
                <a:gd name="T42" fmla="*/ 700 w 934"/>
                <a:gd name="T43" fmla="*/ 195 h 935"/>
                <a:gd name="T44" fmla="*/ 596 w 934"/>
                <a:gd name="T45" fmla="*/ 201 h 935"/>
                <a:gd name="T46" fmla="*/ 606 w 934"/>
                <a:gd name="T47" fmla="*/ 230 h 935"/>
                <a:gd name="T48" fmla="*/ 636 w 934"/>
                <a:gd name="T49" fmla="*/ 207 h 935"/>
                <a:gd name="T50" fmla="*/ 640 w 934"/>
                <a:gd name="T51" fmla="*/ 238 h 935"/>
                <a:gd name="T52" fmla="*/ 595 w 934"/>
                <a:gd name="T53" fmla="*/ 229 h 935"/>
                <a:gd name="T54" fmla="*/ 579 w 934"/>
                <a:gd name="T55" fmla="*/ 246 h 935"/>
                <a:gd name="T56" fmla="*/ 544 w 934"/>
                <a:gd name="T57" fmla="*/ 269 h 935"/>
                <a:gd name="T58" fmla="*/ 515 w 934"/>
                <a:gd name="T59" fmla="*/ 315 h 935"/>
                <a:gd name="T60" fmla="*/ 571 w 934"/>
                <a:gd name="T61" fmla="*/ 300 h 935"/>
                <a:gd name="T62" fmla="*/ 635 w 934"/>
                <a:gd name="T63" fmla="*/ 310 h 935"/>
                <a:gd name="T64" fmla="*/ 646 w 934"/>
                <a:gd name="T65" fmla="*/ 306 h 935"/>
                <a:gd name="T66" fmla="*/ 664 w 934"/>
                <a:gd name="T67" fmla="*/ 318 h 935"/>
                <a:gd name="T68" fmla="*/ 686 w 934"/>
                <a:gd name="T69" fmla="*/ 290 h 935"/>
                <a:gd name="T70" fmla="*/ 725 w 934"/>
                <a:gd name="T71" fmla="*/ 280 h 935"/>
                <a:gd name="T72" fmla="*/ 727 w 934"/>
                <a:gd name="T73" fmla="*/ 335 h 935"/>
                <a:gd name="T74" fmla="*/ 596 w 934"/>
                <a:gd name="T75" fmla="*/ 325 h 935"/>
                <a:gd name="T76" fmla="*/ 481 w 934"/>
                <a:gd name="T77" fmla="*/ 466 h 935"/>
                <a:gd name="T78" fmla="*/ 538 w 934"/>
                <a:gd name="T79" fmla="*/ 517 h 935"/>
                <a:gd name="T80" fmla="*/ 604 w 934"/>
                <a:gd name="T81" fmla="*/ 560 h 935"/>
                <a:gd name="T82" fmla="*/ 728 w 934"/>
                <a:gd name="T83" fmla="*/ 697 h 935"/>
                <a:gd name="T84" fmla="*/ 758 w 934"/>
                <a:gd name="T85" fmla="*/ 449 h 935"/>
                <a:gd name="T86" fmla="*/ 832 w 934"/>
                <a:gd name="T87" fmla="*/ 447 h 935"/>
                <a:gd name="T88" fmla="*/ 618 w 934"/>
                <a:gd name="T89" fmla="*/ 319 h 935"/>
                <a:gd name="T90" fmla="*/ 173 w 934"/>
                <a:gd name="T91" fmla="*/ 403 h 935"/>
                <a:gd name="T92" fmla="*/ 305 w 934"/>
                <a:gd name="T93" fmla="*/ 266 h 935"/>
                <a:gd name="T94" fmla="*/ 263 w 934"/>
                <a:gd name="T95" fmla="*/ 469 h 935"/>
                <a:gd name="T96" fmla="*/ 176 w 934"/>
                <a:gd name="T97" fmla="*/ 478 h 935"/>
                <a:gd name="T98" fmla="*/ 125 w 934"/>
                <a:gd name="T99" fmla="*/ 420 h 935"/>
                <a:gd name="T100" fmla="*/ 181 w 934"/>
                <a:gd name="T101" fmla="*/ 367 h 935"/>
                <a:gd name="T102" fmla="*/ 235 w 934"/>
                <a:gd name="T103" fmla="*/ 306 h 935"/>
                <a:gd name="T104" fmla="*/ 301 w 934"/>
                <a:gd name="T105" fmla="*/ 256 h 935"/>
                <a:gd name="T106" fmla="*/ 303 w 934"/>
                <a:gd name="T107" fmla="*/ 213 h 935"/>
                <a:gd name="T108" fmla="*/ 211 w 934"/>
                <a:gd name="T109" fmla="*/ 213 h 935"/>
                <a:gd name="T110" fmla="*/ 250 w 934"/>
                <a:gd name="T111" fmla="*/ 173 h 935"/>
                <a:gd name="T112" fmla="*/ 157 w 934"/>
                <a:gd name="T113" fmla="*/ 482 h 935"/>
                <a:gd name="T114" fmla="*/ 172 w 934"/>
                <a:gd name="T115" fmla="*/ 550 h 935"/>
                <a:gd name="T116" fmla="*/ 251 w 934"/>
                <a:gd name="T117" fmla="*/ 757 h 935"/>
                <a:gd name="T118" fmla="*/ 321 w 934"/>
                <a:gd name="T119" fmla="*/ 703 h 935"/>
                <a:gd name="T120" fmla="*/ 196 w 934"/>
                <a:gd name="T121" fmla="*/ 401 h 935"/>
                <a:gd name="T122" fmla="*/ 199 w 934"/>
                <a:gd name="T123" fmla="*/ 411 h 935"/>
                <a:gd name="T124" fmla="*/ 227 w 934"/>
                <a:gd name="T125" fmla="*/ 423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4" h="935">
                  <a:moveTo>
                    <a:pt x="277" y="153"/>
                  </a:moveTo>
                  <a:cubicBezTo>
                    <a:pt x="276" y="154"/>
                    <a:pt x="280" y="154"/>
                    <a:pt x="281" y="153"/>
                  </a:cubicBezTo>
                  <a:cubicBezTo>
                    <a:pt x="282" y="154"/>
                    <a:pt x="282" y="155"/>
                    <a:pt x="281" y="155"/>
                  </a:cubicBezTo>
                  <a:cubicBezTo>
                    <a:pt x="279" y="156"/>
                    <a:pt x="279" y="158"/>
                    <a:pt x="283" y="157"/>
                  </a:cubicBezTo>
                  <a:cubicBezTo>
                    <a:pt x="286" y="157"/>
                    <a:pt x="287" y="156"/>
                    <a:pt x="287" y="156"/>
                  </a:cubicBezTo>
                  <a:cubicBezTo>
                    <a:pt x="288" y="157"/>
                    <a:pt x="288" y="157"/>
                    <a:pt x="290" y="157"/>
                  </a:cubicBezTo>
                  <a:cubicBezTo>
                    <a:pt x="293" y="157"/>
                    <a:pt x="294" y="156"/>
                    <a:pt x="295" y="156"/>
                  </a:cubicBezTo>
                  <a:cubicBezTo>
                    <a:pt x="297" y="156"/>
                    <a:pt x="293" y="157"/>
                    <a:pt x="296" y="157"/>
                  </a:cubicBezTo>
                  <a:cubicBezTo>
                    <a:pt x="300" y="157"/>
                    <a:pt x="299" y="156"/>
                    <a:pt x="301" y="156"/>
                  </a:cubicBezTo>
                  <a:cubicBezTo>
                    <a:pt x="303" y="156"/>
                    <a:pt x="305" y="156"/>
                    <a:pt x="307" y="156"/>
                  </a:cubicBezTo>
                  <a:cubicBezTo>
                    <a:pt x="309" y="155"/>
                    <a:pt x="309" y="156"/>
                    <a:pt x="311" y="156"/>
                  </a:cubicBezTo>
                  <a:cubicBezTo>
                    <a:pt x="313" y="156"/>
                    <a:pt x="310" y="153"/>
                    <a:pt x="312" y="155"/>
                  </a:cubicBezTo>
                  <a:cubicBezTo>
                    <a:pt x="315" y="156"/>
                    <a:pt x="314" y="156"/>
                    <a:pt x="316" y="155"/>
                  </a:cubicBezTo>
                  <a:cubicBezTo>
                    <a:pt x="319" y="155"/>
                    <a:pt x="322" y="155"/>
                    <a:pt x="320" y="154"/>
                  </a:cubicBezTo>
                  <a:cubicBezTo>
                    <a:pt x="317" y="153"/>
                    <a:pt x="318" y="151"/>
                    <a:pt x="315" y="152"/>
                  </a:cubicBezTo>
                  <a:cubicBezTo>
                    <a:pt x="312" y="152"/>
                    <a:pt x="313" y="153"/>
                    <a:pt x="312" y="152"/>
                  </a:cubicBezTo>
                  <a:cubicBezTo>
                    <a:pt x="311" y="152"/>
                    <a:pt x="308" y="153"/>
                    <a:pt x="306" y="153"/>
                  </a:cubicBezTo>
                  <a:cubicBezTo>
                    <a:pt x="305" y="152"/>
                    <a:pt x="303" y="154"/>
                    <a:pt x="301" y="153"/>
                  </a:cubicBezTo>
                  <a:cubicBezTo>
                    <a:pt x="299" y="152"/>
                    <a:pt x="295" y="154"/>
                    <a:pt x="294" y="153"/>
                  </a:cubicBezTo>
                  <a:cubicBezTo>
                    <a:pt x="293" y="153"/>
                    <a:pt x="290" y="154"/>
                    <a:pt x="290" y="154"/>
                  </a:cubicBezTo>
                  <a:cubicBezTo>
                    <a:pt x="289" y="153"/>
                    <a:pt x="287" y="154"/>
                    <a:pt x="287" y="154"/>
                  </a:cubicBezTo>
                  <a:cubicBezTo>
                    <a:pt x="287" y="153"/>
                    <a:pt x="282" y="153"/>
                    <a:pt x="284" y="153"/>
                  </a:cubicBezTo>
                  <a:cubicBezTo>
                    <a:pt x="286" y="153"/>
                    <a:pt x="289" y="151"/>
                    <a:pt x="286" y="151"/>
                  </a:cubicBezTo>
                  <a:cubicBezTo>
                    <a:pt x="283" y="151"/>
                    <a:pt x="284" y="150"/>
                    <a:pt x="282" y="150"/>
                  </a:cubicBezTo>
                  <a:cubicBezTo>
                    <a:pt x="279" y="151"/>
                    <a:pt x="278" y="150"/>
                    <a:pt x="276" y="151"/>
                  </a:cubicBezTo>
                  <a:cubicBezTo>
                    <a:pt x="274" y="152"/>
                    <a:pt x="278" y="153"/>
                    <a:pt x="277" y="153"/>
                  </a:cubicBezTo>
                  <a:close/>
                  <a:moveTo>
                    <a:pt x="376" y="140"/>
                  </a:moveTo>
                  <a:cubicBezTo>
                    <a:pt x="380" y="139"/>
                    <a:pt x="383" y="139"/>
                    <a:pt x="385" y="138"/>
                  </a:cubicBezTo>
                  <a:cubicBezTo>
                    <a:pt x="388" y="137"/>
                    <a:pt x="394" y="135"/>
                    <a:pt x="387" y="135"/>
                  </a:cubicBezTo>
                  <a:cubicBezTo>
                    <a:pt x="379" y="136"/>
                    <a:pt x="382" y="134"/>
                    <a:pt x="376" y="134"/>
                  </a:cubicBezTo>
                  <a:cubicBezTo>
                    <a:pt x="371" y="135"/>
                    <a:pt x="369" y="137"/>
                    <a:pt x="364" y="136"/>
                  </a:cubicBezTo>
                  <a:cubicBezTo>
                    <a:pt x="361" y="135"/>
                    <a:pt x="360" y="136"/>
                    <a:pt x="358" y="136"/>
                  </a:cubicBezTo>
                  <a:cubicBezTo>
                    <a:pt x="356" y="137"/>
                    <a:pt x="355" y="136"/>
                    <a:pt x="352" y="136"/>
                  </a:cubicBezTo>
                  <a:cubicBezTo>
                    <a:pt x="350" y="136"/>
                    <a:pt x="348" y="136"/>
                    <a:pt x="345" y="136"/>
                  </a:cubicBezTo>
                  <a:cubicBezTo>
                    <a:pt x="341" y="137"/>
                    <a:pt x="340" y="136"/>
                    <a:pt x="338" y="137"/>
                  </a:cubicBezTo>
                  <a:cubicBezTo>
                    <a:pt x="337" y="137"/>
                    <a:pt x="335" y="137"/>
                    <a:pt x="333" y="137"/>
                  </a:cubicBezTo>
                  <a:cubicBezTo>
                    <a:pt x="331" y="138"/>
                    <a:pt x="330" y="137"/>
                    <a:pt x="329" y="137"/>
                  </a:cubicBezTo>
                  <a:cubicBezTo>
                    <a:pt x="328" y="137"/>
                    <a:pt x="325" y="137"/>
                    <a:pt x="324" y="138"/>
                  </a:cubicBezTo>
                  <a:cubicBezTo>
                    <a:pt x="324" y="138"/>
                    <a:pt x="318" y="139"/>
                    <a:pt x="317" y="140"/>
                  </a:cubicBezTo>
                  <a:cubicBezTo>
                    <a:pt x="316" y="141"/>
                    <a:pt x="321" y="139"/>
                    <a:pt x="323" y="139"/>
                  </a:cubicBezTo>
                  <a:cubicBezTo>
                    <a:pt x="324" y="140"/>
                    <a:pt x="325" y="139"/>
                    <a:pt x="326" y="139"/>
                  </a:cubicBezTo>
                  <a:cubicBezTo>
                    <a:pt x="328" y="139"/>
                    <a:pt x="328" y="139"/>
                    <a:pt x="329" y="139"/>
                  </a:cubicBezTo>
                  <a:cubicBezTo>
                    <a:pt x="330" y="138"/>
                    <a:pt x="330" y="138"/>
                    <a:pt x="332" y="139"/>
                  </a:cubicBezTo>
                  <a:cubicBezTo>
                    <a:pt x="334" y="139"/>
                    <a:pt x="337" y="138"/>
                    <a:pt x="336" y="139"/>
                  </a:cubicBezTo>
                  <a:cubicBezTo>
                    <a:pt x="335" y="140"/>
                    <a:pt x="333" y="140"/>
                    <a:pt x="331" y="139"/>
                  </a:cubicBezTo>
                  <a:cubicBezTo>
                    <a:pt x="329" y="139"/>
                    <a:pt x="328" y="141"/>
                    <a:pt x="326" y="141"/>
                  </a:cubicBezTo>
                  <a:cubicBezTo>
                    <a:pt x="323" y="141"/>
                    <a:pt x="325" y="144"/>
                    <a:pt x="324" y="143"/>
                  </a:cubicBezTo>
                  <a:cubicBezTo>
                    <a:pt x="323" y="143"/>
                    <a:pt x="322" y="143"/>
                    <a:pt x="322" y="142"/>
                  </a:cubicBezTo>
                  <a:cubicBezTo>
                    <a:pt x="322" y="141"/>
                    <a:pt x="319" y="142"/>
                    <a:pt x="317" y="143"/>
                  </a:cubicBezTo>
                  <a:cubicBezTo>
                    <a:pt x="312" y="143"/>
                    <a:pt x="321" y="143"/>
                    <a:pt x="311" y="144"/>
                  </a:cubicBezTo>
                  <a:cubicBezTo>
                    <a:pt x="308" y="144"/>
                    <a:pt x="307" y="145"/>
                    <a:pt x="308" y="146"/>
                  </a:cubicBezTo>
                  <a:cubicBezTo>
                    <a:pt x="309" y="147"/>
                    <a:pt x="312" y="145"/>
                    <a:pt x="314" y="146"/>
                  </a:cubicBezTo>
                  <a:cubicBezTo>
                    <a:pt x="316" y="146"/>
                    <a:pt x="312" y="146"/>
                    <a:pt x="309" y="146"/>
                  </a:cubicBezTo>
                  <a:cubicBezTo>
                    <a:pt x="307" y="147"/>
                    <a:pt x="315" y="147"/>
                    <a:pt x="313" y="147"/>
                  </a:cubicBezTo>
                  <a:cubicBezTo>
                    <a:pt x="311" y="148"/>
                    <a:pt x="310" y="147"/>
                    <a:pt x="308" y="147"/>
                  </a:cubicBezTo>
                  <a:cubicBezTo>
                    <a:pt x="305" y="146"/>
                    <a:pt x="304" y="146"/>
                    <a:pt x="302" y="147"/>
                  </a:cubicBezTo>
                  <a:cubicBezTo>
                    <a:pt x="300" y="148"/>
                    <a:pt x="301" y="148"/>
                    <a:pt x="300" y="148"/>
                  </a:cubicBezTo>
                  <a:cubicBezTo>
                    <a:pt x="299" y="149"/>
                    <a:pt x="296" y="149"/>
                    <a:pt x="295" y="149"/>
                  </a:cubicBezTo>
                  <a:cubicBezTo>
                    <a:pt x="293" y="150"/>
                    <a:pt x="293" y="151"/>
                    <a:pt x="295" y="151"/>
                  </a:cubicBezTo>
                  <a:cubicBezTo>
                    <a:pt x="299" y="151"/>
                    <a:pt x="298" y="150"/>
                    <a:pt x="301" y="150"/>
                  </a:cubicBezTo>
                  <a:cubicBezTo>
                    <a:pt x="304" y="151"/>
                    <a:pt x="305" y="152"/>
                    <a:pt x="308" y="151"/>
                  </a:cubicBezTo>
                  <a:cubicBezTo>
                    <a:pt x="310" y="151"/>
                    <a:pt x="310" y="149"/>
                    <a:pt x="312" y="150"/>
                  </a:cubicBezTo>
                  <a:cubicBezTo>
                    <a:pt x="313" y="150"/>
                    <a:pt x="316" y="151"/>
                    <a:pt x="317" y="150"/>
                  </a:cubicBezTo>
                  <a:cubicBezTo>
                    <a:pt x="318" y="150"/>
                    <a:pt x="319" y="151"/>
                    <a:pt x="321" y="151"/>
                  </a:cubicBezTo>
                  <a:cubicBezTo>
                    <a:pt x="324" y="151"/>
                    <a:pt x="324" y="149"/>
                    <a:pt x="326" y="149"/>
                  </a:cubicBezTo>
                  <a:cubicBezTo>
                    <a:pt x="327" y="149"/>
                    <a:pt x="331" y="149"/>
                    <a:pt x="330" y="148"/>
                  </a:cubicBezTo>
                  <a:cubicBezTo>
                    <a:pt x="328" y="147"/>
                    <a:pt x="327" y="146"/>
                    <a:pt x="330" y="147"/>
                  </a:cubicBezTo>
                  <a:cubicBezTo>
                    <a:pt x="333" y="147"/>
                    <a:pt x="335" y="147"/>
                    <a:pt x="334" y="146"/>
                  </a:cubicBezTo>
                  <a:cubicBezTo>
                    <a:pt x="333" y="144"/>
                    <a:pt x="333" y="145"/>
                    <a:pt x="335" y="145"/>
                  </a:cubicBezTo>
                  <a:cubicBezTo>
                    <a:pt x="337" y="146"/>
                    <a:pt x="338" y="145"/>
                    <a:pt x="339" y="145"/>
                  </a:cubicBezTo>
                  <a:cubicBezTo>
                    <a:pt x="340" y="145"/>
                    <a:pt x="345" y="146"/>
                    <a:pt x="347" y="145"/>
                  </a:cubicBezTo>
                  <a:cubicBezTo>
                    <a:pt x="348" y="143"/>
                    <a:pt x="349" y="144"/>
                    <a:pt x="351" y="144"/>
                  </a:cubicBezTo>
                  <a:cubicBezTo>
                    <a:pt x="352" y="145"/>
                    <a:pt x="353" y="145"/>
                    <a:pt x="355" y="144"/>
                  </a:cubicBezTo>
                  <a:cubicBezTo>
                    <a:pt x="359" y="142"/>
                    <a:pt x="359" y="145"/>
                    <a:pt x="365" y="143"/>
                  </a:cubicBezTo>
                  <a:cubicBezTo>
                    <a:pt x="370" y="142"/>
                    <a:pt x="372" y="142"/>
                    <a:pt x="376" y="140"/>
                  </a:cubicBezTo>
                  <a:close/>
                  <a:moveTo>
                    <a:pt x="225" y="174"/>
                  </a:moveTo>
                  <a:cubicBezTo>
                    <a:pt x="225" y="174"/>
                    <a:pt x="224" y="174"/>
                    <a:pt x="224" y="175"/>
                  </a:cubicBezTo>
                  <a:cubicBezTo>
                    <a:pt x="225" y="175"/>
                    <a:pt x="225" y="174"/>
                    <a:pt x="225" y="174"/>
                  </a:cubicBezTo>
                  <a:cubicBezTo>
                    <a:pt x="225" y="174"/>
                    <a:pt x="225" y="174"/>
                    <a:pt x="225" y="174"/>
                  </a:cubicBezTo>
                  <a:close/>
                  <a:moveTo>
                    <a:pt x="393" y="169"/>
                  </a:moveTo>
                  <a:cubicBezTo>
                    <a:pt x="394" y="170"/>
                    <a:pt x="394" y="170"/>
                    <a:pt x="396" y="170"/>
                  </a:cubicBezTo>
                  <a:cubicBezTo>
                    <a:pt x="397" y="169"/>
                    <a:pt x="397" y="168"/>
                    <a:pt x="396" y="168"/>
                  </a:cubicBezTo>
                  <a:cubicBezTo>
                    <a:pt x="395" y="167"/>
                    <a:pt x="395" y="167"/>
                    <a:pt x="394" y="167"/>
                  </a:cubicBezTo>
                  <a:cubicBezTo>
                    <a:pt x="393" y="167"/>
                    <a:pt x="392" y="167"/>
                    <a:pt x="392" y="167"/>
                  </a:cubicBezTo>
                  <a:cubicBezTo>
                    <a:pt x="391" y="167"/>
                    <a:pt x="391" y="167"/>
                    <a:pt x="390" y="167"/>
                  </a:cubicBezTo>
                  <a:cubicBezTo>
                    <a:pt x="389" y="167"/>
                    <a:pt x="389" y="167"/>
                    <a:pt x="389" y="167"/>
                  </a:cubicBezTo>
                  <a:cubicBezTo>
                    <a:pt x="388" y="167"/>
                    <a:pt x="388" y="168"/>
                    <a:pt x="389" y="168"/>
                  </a:cubicBezTo>
                  <a:cubicBezTo>
                    <a:pt x="390" y="168"/>
                    <a:pt x="390" y="168"/>
                    <a:pt x="391" y="169"/>
                  </a:cubicBezTo>
                  <a:cubicBezTo>
                    <a:pt x="391" y="169"/>
                    <a:pt x="391" y="169"/>
                    <a:pt x="393" y="169"/>
                  </a:cubicBezTo>
                  <a:close/>
                  <a:moveTo>
                    <a:pt x="292" y="148"/>
                  </a:moveTo>
                  <a:cubicBezTo>
                    <a:pt x="294" y="148"/>
                    <a:pt x="293" y="147"/>
                    <a:pt x="295" y="147"/>
                  </a:cubicBezTo>
                  <a:cubicBezTo>
                    <a:pt x="297" y="147"/>
                    <a:pt x="298" y="147"/>
                    <a:pt x="298" y="146"/>
                  </a:cubicBezTo>
                  <a:cubicBezTo>
                    <a:pt x="297" y="145"/>
                    <a:pt x="301" y="146"/>
                    <a:pt x="303" y="146"/>
                  </a:cubicBezTo>
                  <a:cubicBezTo>
                    <a:pt x="305" y="146"/>
                    <a:pt x="308" y="144"/>
                    <a:pt x="310" y="143"/>
                  </a:cubicBezTo>
                  <a:cubicBezTo>
                    <a:pt x="312" y="143"/>
                    <a:pt x="314" y="143"/>
                    <a:pt x="313" y="143"/>
                  </a:cubicBezTo>
                  <a:cubicBezTo>
                    <a:pt x="311" y="142"/>
                    <a:pt x="313" y="143"/>
                    <a:pt x="314" y="141"/>
                  </a:cubicBezTo>
                  <a:cubicBezTo>
                    <a:pt x="315" y="138"/>
                    <a:pt x="306" y="142"/>
                    <a:pt x="309" y="140"/>
                  </a:cubicBezTo>
                  <a:cubicBezTo>
                    <a:pt x="311" y="138"/>
                    <a:pt x="308" y="139"/>
                    <a:pt x="306" y="140"/>
                  </a:cubicBezTo>
                  <a:cubicBezTo>
                    <a:pt x="304" y="140"/>
                    <a:pt x="302" y="140"/>
                    <a:pt x="301" y="141"/>
                  </a:cubicBezTo>
                  <a:cubicBezTo>
                    <a:pt x="300" y="142"/>
                    <a:pt x="297" y="142"/>
                    <a:pt x="295" y="143"/>
                  </a:cubicBezTo>
                  <a:cubicBezTo>
                    <a:pt x="292" y="144"/>
                    <a:pt x="296" y="145"/>
                    <a:pt x="293" y="146"/>
                  </a:cubicBezTo>
                  <a:cubicBezTo>
                    <a:pt x="290" y="146"/>
                    <a:pt x="292" y="146"/>
                    <a:pt x="290" y="147"/>
                  </a:cubicBezTo>
                  <a:cubicBezTo>
                    <a:pt x="288" y="147"/>
                    <a:pt x="289" y="148"/>
                    <a:pt x="292" y="148"/>
                  </a:cubicBezTo>
                  <a:close/>
                  <a:moveTo>
                    <a:pt x="244" y="165"/>
                  </a:moveTo>
                  <a:cubicBezTo>
                    <a:pt x="245" y="165"/>
                    <a:pt x="247" y="164"/>
                    <a:pt x="247" y="165"/>
                  </a:cubicBezTo>
                  <a:cubicBezTo>
                    <a:pt x="250" y="166"/>
                    <a:pt x="250" y="165"/>
                    <a:pt x="251" y="164"/>
                  </a:cubicBezTo>
                  <a:cubicBezTo>
                    <a:pt x="251" y="165"/>
                    <a:pt x="252" y="165"/>
                    <a:pt x="253" y="164"/>
                  </a:cubicBezTo>
                  <a:cubicBezTo>
                    <a:pt x="255" y="163"/>
                    <a:pt x="254" y="163"/>
                    <a:pt x="255" y="163"/>
                  </a:cubicBezTo>
                  <a:cubicBezTo>
                    <a:pt x="258" y="162"/>
                    <a:pt x="255" y="162"/>
                    <a:pt x="255" y="161"/>
                  </a:cubicBezTo>
                  <a:cubicBezTo>
                    <a:pt x="256" y="161"/>
                    <a:pt x="258" y="161"/>
                    <a:pt x="259" y="160"/>
                  </a:cubicBezTo>
                  <a:cubicBezTo>
                    <a:pt x="261" y="158"/>
                    <a:pt x="257" y="159"/>
                    <a:pt x="257" y="159"/>
                  </a:cubicBezTo>
                  <a:cubicBezTo>
                    <a:pt x="258" y="159"/>
                    <a:pt x="260" y="158"/>
                    <a:pt x="259" y="158"/>
                  </a:cubicBezTo>
                  <a:cubicBezTo>
                    <a:pt x="259" y="157"/>
                    <a:pt x="255" y="158"/>
                    <a:pt x="254" y="158"/>
                  </a:cubicBezTo>
                  <a:cubicBezTo>
                    <a:pt x="253" y="158"/>
                    <a:pt x="252" y="159"/>
                    <a:pt x="251" y="159"/>
                  </a:cubicBezTo>
                  <a:cubicBezTo>
                    <a:pt x="250" y="158"/>
                    <a:pt x="249" y="159"/>
                    <a:pt x="248" y="159"/>
                  </a:cubicBezTo>
                  <a:cubicBezTo>
                    <a:pt x="247" y="158"/>
                    <a:pt x="245" y="159"/>
                    <a:pt x="246" y="160"/>
                  </a:cubicBezTo>
                  <a:cubicBezTo>
                    <a:pt x="247" y="160"/>
                    <a:pt x="248" y="161"/>
                    <a:pt x="248" y="161"/>
                  </a:cubicBezTo>
                  <a:cubicBezTo>
                    <a:pt x="248" y="161"/>
                    <a:pt x="248" y="161"/>
                    <a:pt x="246" y="161"/>
                  </a:cubicBezTo>
                  <a:cubicBezTo>
                    <a:pt x="245" y="161"/>
                    <a:pt x="243" y="161"/>
                    <a:pt x="242" y="161"/>
                  </a:cubicBezTo>
                  <a:cubicBezTo>
                    <a:pt x="241" y="162"/>
                    <a:pt x="240" y="162"/>
                    <a:pt x="239" y="163"/>
                  </a:cubicBezTo>
                  <a:cubicBezTo>
                    <a:pt x="240" y="163"/>
                    <a:pt x="241" y="164"/>
                    <a:pt x="241" y="164"/>
                  </a:cubicBezTo>
                  <a:cubicBezTo>
                    <a:pt x="242" y="163"/>
                    <a:pt x="243" y="164"/>
                    <a:pt x="244" y="165"/>
                  </a:cubicBezTo>
                  <a:close/>
                  <a:moveTo>
                    <a:pt x="257" y="155"/>
                  </a:moveTo>
                  <a:cubicBezTo>
                    <a:pt x="257" y="156"/>
                    <a:pt x="258" y="156"/>
                    <a:pt x="260" y="155"/>
                  </a:cubicBezTo>
                  <a:cubicBezTo>
                    <a:pt x="262" y="154"/>
                    <a:pt x="262" y="156"/>
                    <a:pt x="264" y="155"/>
                  </a:cubicBezTo>
                  <a:cubicBezTo>
                    <a:pt x="266" y="154"/>
                    <a:pt x="266" y="154"/>
                    <a:pt x="267" y="152"/>
                  </a:cubicBezTo>
                  <a:cubicBezTo>
                    <a:pt x="268" y="150"/>
                    <a:pt x="270" y="152"/>
                    <a:pt x="272" y="150"/>
                  </a:cubicBezTo>
                  <a:cubicBezTo>
                    <a:pt x="274" y="148"/>
                    <a:pt x="268" y="149"/>
                    <a:pt x="265" y="149"/>
                  </a:cubicBezTo>
                  <a:cubicBezTo>
                    <a:pt x="263" y="150"/>
                    <a:pt x="262" y="151"/>
                    <a:pt x="261" y="152"/>
                  </a:cubicBezTo>
                  <a:cubicBezTo>
                    <a:pt x="260" y="153"/>
                    <a:pt x="261" y="150"/>
                    <a:pt x="262" y="149"/>
                  </a:cubicBezTo>
                  <a:cubicBezTo>
                    <a:pt x="263" y="148"/>
                    <a:pt x="261" y="148"/>
                    <a:pt x="259" y="149"/>
                  </a:cubicBezTo>
                  <a:cubicBezTo>
                    <a:pt x="258" y="150"/>
                    <a:pt x="257" y="150"/>
                    <a:pt x="256" y="151"/>
                  </a:cubicBezTo>
                  <a:cubicBezTo>
                    <a:pt x="256" y="152"/>
                    <a:pt x="256" y="152"/>
                    <a:pt x="256" y="152"/>
                  </a:cubicBezTo>
                  <a:cubicBezTo>
                    <a:pt x="256" y="153"/>
                    <a:pt x="256" y="152"/>
                    <a:pt x="255" y="152"/>
                  </a:cubicBezTo>
                  <a:cubicBezTo>
                    <a:pt x="254" y="152"/>
                    <a:pt x="252" y="153"/>
                    <a:pt x="251" y="154"/>
                  </a:cubicBezTo>
                  <a:cubicBezTo>
                    <a:pt x="253" y="156"/>
                    <a:pt x="257" y="153"/>
                    <a:pt x="257" y="155"/>
                  </a:cubicBezTo>
                  <a:close/>
                  <a:moveTo>
                    <a:pt x="270" y="147"/>
                  </a:moveTo>
                  <a:cubicBezTo>
                    <a:pt x="268" y="147"/>
                    <a:pt x="267" y="148"/>
                    <a:pt x="269" y="148"/>
                  </a:cubicBezTo>
                  <a:cubicBezTo>
                    <a:pt x="271" y="149"/>
                    <a:pt x="273" y="147"/>
                    <a:pt x="274" y="146"/>
                  </a:cubicBezTo>
                  <a:cubicBezTo>
                    <a:pt x="275" y="146"/>
                    <a:pt x="278" y="146"/>
                    <a:pt x="278" y="145"/>
                  </a:cubicBezTo>
                  <a:cubicBezTo>
                    <a:pt x="277" y="144"/>
                    <a:pt x="279" y="143"/>
                    <a:pt x="275" y="144"/>
                  </a:cubicBezTo>
                  <a:cubicBezTo>
                    <a:pt x="271" y="145"/>
                    <a:pt x="267" y="145"/>
                    <a:pt x="268" y="146"/>
                  </a:cubicBezTo>
                  <a:cubicBezTo>
                    <a:pt x="269" y="147"/>
                    <a:pt x="271" y="146"/>
                    <a:pt x="270" y="147"/>
                  </a:cubicBezTo>
                  <a:close/>
                  <a:moveTo>
                    <a:pt x="277" y="148"/>
                  </a:moveTo>
                  <a:cubicBezTo>
                    <a:pt x="280" y="147"/>
                    <a:pt x="280" y="148"/>
                    <a:pt x="281" y="147"/>
                  </a:cubicBezTo>
                  <a:cubicBezTo>
                    <a:pt x="282" y="147"/>
                    <a:pt x="281" y="146"/>
                    <a:pt x="281" y="145"/>
                  </a:cubicBezTo>
                  <a:cubicBezTo>
                    <a:pt x="281" y="144"/>
                    <a:pt x="277" y="146"/>
                    <a:pt x="275" y="148"/>
                  </a:cubicBezTo>
                  <a:cubicBezTo>
                    <a:pt x="273" y="149"/>
                    <a:pt x="275" y="148"/>
                    <a:pt x="277" y="148"/>
                  </a:cubicBezTo>
                  <a:close/>
                  <a:moveTo>
                    <a:pt x="351" y="258"/>
                  </a:moveTo>
                  <a:cubicBezTo>
                    <a:pt x="350" y="258"/>
                    <a:pt x="351" y="257"/>
                    <a:pt x="352" y="256"/>
                  </a:cubicBezTo>
                  <a:cubicBezTo>
                    <a:pt x="353" y="256"/>
                    <a:pt x="352" y="256"/>
                    <a:pt x="351" y="256"/>
                  </a:cubicBezTo>
                  <a:cubicBezTo>
                    <a:pt x="351" y="256"/>
                    <a:pt x="350" y="257"/>
                    <a:pt x="349" y="257"/>
                  </a:cubicBezTo>
                  <a:cubicBezTo>
                    <a:pt x="348" y="258"/>
                    <a:pt x="348" y="257"/>
                    <a:pt x="347" y="258"/>
                  </a:cubicBezTo>
                  <a:cubicBezTo>
                    <a:pt x="347" y="258"/>
                    <a:pt x="347" y="259"/>
                    <a:pt x="347" y="259"/>
                  </a:cubicBezTo>
                  <a:cubicBezTo>
                    <a:pt x="346" y="260"/>
                    <a:pt x="346" y="261"/>
                    <a:pt x="346" y="262"/>
                  </a:cubicBezTo>
                  <a:cubicBezTo>
                    <a:pt x="346" y="263"/>
                    <a:pt x="347" y="262"/>
                    <a:pt x="348" y="261"/>
                  </a:cubicBezTo>
                  <a:cubicBezTo>
                    <a:pt x="348" y="260"/>
                    <a:pt x="349" y="259"/>
                    <a:pt x="349" y="260"/>
                  </a:cubicBezTo>
                  <a:cubicBezTo>
                    <a:pt x="348" y="261"/>
                    <a:pt x="348" y="261"/>
                    <a:pt x="348" y="262"/>
                  </a:cubicBezTo>
                  <a:cubicBezTo>
                    <a:pt x="349" y="263"/>
                    <a:pt x="350" y="262"/>
                    <a:pt x="350" y="262"/>
                  </a:cubicBezTo>
                  <a:cubicBezTo>
                    <a:pt x="350" y="263"/>
                    <a:pt x="351" y="262"/>
                    <a:pt x="351" y="261"/>
                  </a:cubicBezTo>
                  <a:cubicBezTo>
                    <a:pt x="351" y="261"/>
                    <a:pt x="351" y="260"/>
                    <a:pt x="352" y="259"/>
                  </a:cubicBezTo>
                  <a:cubicBezTo>
                    <a:pt x="352" y="259"/>
                    <a:pt x="352" y="258"/>
                    <a:pt x="352" y="257"/>
                  </a:cubicBezTo>
                  <a:cubicBezTo>
                    <a:pt x="352" y="256"/>
                    <a:pt x="351" y="257"/>
                    <a:pt x="351" y="258"/>
                  </a:cubicBezTo>
                  <a:close/>
                  <a:moveTo>
                    <a:pt x="523" y="180"/>
                  </a:moveTo>
                  <a:cubicBezTo>
                    <a:pt x="523" y="180"/>
                    <a:pt x="522" y="180"/>
                    <a:pt x="522" y="180"/>
                  </a:cubicBezTo>
                  <a:cubicBezTo>
                    <a:pt x="522" y="180"/>
                    <a:pt x="523" y="180"/>
                    <a:pt x="522" y="179"/>
                  </a:cubicBezTo>
                  <a:cubicBezTo>
                    <a:pt x="522" y="179"/>
                    <a:pt x="522" y="179"/>
                    <a:pt x="522" y="179"/>
                  </a:cubicBezTo>
                  <a:cubicBezTo>
                    <a:pt x="521" y="179"/>
                    <a:pt x="522" y="179"/>
                    <a:pt x="523" y="178"/>
                  </a:cubicBezTo>
                  <a:cubicBezTo>
                    <a:pt x="523" y="178"/>
                    <a:pt x="522" y="178"/>
                    <a:pt x="522" y="178"/>
                  </a:cubicBezTo>
                  <a:cubicBezTo>
                    <a:pt x="523" y="178"/>
                    <a:pt x="523" y="178"/>
                    <a:pt x="523" y="178"/>
                  </a:cubicBezTo>
                  <a:cubicBezTo>
                    <a:pt x="522" y="178"/>
                    <a:pt x="521" y="178"/>
                    <a:pt x="520" y="179"/>
                  </a:cubicBezTo>
                  <a:cubicBezTo>
                    <a:pt x="520" y="179"/>
                    <a:pt x="520" y="179"/>
                    <a:pt x="519" y="179"/>
                  </a:cubicBezTo>
                  <a:cubicBezTo>
                    <a:pt x="519" y="179"/>
                    <a:pt x="519" y="179"/>
                    <a:pt x="519" y="179"/>
                  </a:cubicBezTo>
                  <a:cubicBezTo>
                    <a:pt x="519" y="179"/>
                    <a:pt x="519" y="178"/>
                    <a:pt x="519" y="178"/>
                  </a:cubicBezTo>
                  <a:cubicBezTo>
                    <a:pt x="518" y="178"/>
                    <a:pt x="518" y="178"/>
                    <a:pt x="518" y="178"/>
                  </a:cubicBezTo>
                  <a:cubicBezTo>
                    <a:pt x="518" y="178"/>
                    <a:pt x="518" y="178"/>
                    <a:pt x="518" y="178"/>
                  </a:cubicBezTo>
                  <a:cubicBezTo>
                    <a:pt x="517" y="178"/>
                    <a:pt x="517" y="178"/>
                    <a:pt x="516" y="178"/>
                  </a:cubicBezTo>
                  <a:cubicBezTo>
                    <a:pt x="516" y="178"/>
                    <a:pt x="516" y="178"/>
                    <a:pt x="516" y="178"/>
                  </a:cubicBezTo>
                  <a:cubicBezTo>
                    <a:pt x="516" y="178"/>
                    <a:pt x="516" y="179"/>
                    <a:pt x="516" y="179"/>
                  </a:cubicBezTo>
                  <a:cubicBezTo>
                    <a:pt x="516" y="179"/>
                    <a:pt x="516" y="179"/>
                    <a:pt x="516" y="179"/>
                  </a:cubicBezTo>
                  <a:cubicBezTo>
                    <a:pt x="516" y="179"/>
                    <a:pt x="515" y="179"/>
                    <a:pt x="514" y="179"/>
                  </a:cubicBezTo>
                  <a:cubicBezTo>
                    <a:pt x="514" y="179"/>
                    <a:pt x="514" y="180"/>
                    <a:pt x="513" y="180"/>
                  </a:cubicBezTo>
                  <a:cubicBezTo>
                    <a:pt x="512" y="180"/>
                    <a:pt x="511" y="179"/>
                    <a:pt x="510" y="180"/>
                  </a:cubicBezTo>
                  <a:cubicBezTo>
                    <a:pt x="511" y="180"/>
                    <a:pt x="512" y="181"/>
                    <a:pt x="511" y="181"/>
                  </a:cubicBezTo>
                  <a:cubicBezTo>
                    <a:pt x="510" y="181"/>
                    <a:pt x="510" y="180"/>
                    <a:pt x="510" y="180"/>
                  </a:cubicBezTo>
                  <a:cubicBezTo>
                    <a:pt x="509" y="180"/>
                    <a:pt x="509" y="180"/>
                    <a:pt x="509" y="179"/>
                  </a:cubicBezTo>
                  <a:cubicBezTo>
                    <a:pt x="509" y="179"/>
                    <a:pt x="509" y="179"/>
                    <a:pt x="508" y="179"/>
                  </a:cubicBezTo>
                  <a:cubicBezTo>
                    <a:pt x="508" y="179"/>
                    <a:pt x="507" y="180"/>
                    <a:pt x="506" y="180"/>
                  </a:cubicBezTo>
                  <a:cubicBezTo>
                    <a:pt x="506" y="180"/>
                    <a:pt x="507" y="180"/>
                    <a:pt x="506" y="181"/>
                  </a:cubicBezTo>
                  <a:cubicBezTo>
                    <a:pt x="506" y="181"/>
                    <a:pt x="506" y="181"/>
                    <a:pt x="506" y="181"/>
                  </a:cubicBezTo>
                  <a:cubicBezTo>
                    <a:pt x="505" y="181"/>
                    <a:pt x="505" y="180"/>
                    <a:pt x="505" y="180"/>
                  </a:cubicBezTo>
                  <a:cubicBezTo>
                    <a:pt x="505" y="180"/>
                    <a:pt x="505" y="180"/>
                    <a:pt x="505" y="180"/>
                  </a:cubicBezTo>
                  <a:cubicBezTo>
                    <a:pt x="505" y="179"/>
                    <a:pt x="504" y="179"/>
                    <a:pt x="503" y="180"/>
                  </a:cubicBezTo>
                  <a:cubicBezTo>
                    <a:pt x="503" y="180"/>
                    <a:pt x="503" y="180"/>
                    <a:pt x="503" y="180"/>
                  </a:cubicBezTo>
                  <a:cubicBezTo>
                    <a:pt x="503" y="181"/>
                    <a:pt x="503" y="181"/>
                    <a:pt x="503" y="181"/>
                  </a:cubicBezTo>
                  <a:cubicBezTo>
                    <a:pt x="503" y="181"/>
                    <a:pt x="503" y="181"/>
                    <a:pt x="503" y="181"/>
                  </a:cubicBezTo>
                  <a:cubicBezTo>
                    <a:pt x="503" y="182"/>
                    <a:pt x="503" y="182"/>
                    <a:pt x="502" y="182"/>
                  </a:cubicBezTo>
                  <a:cubicBezTo>
                    <a:pt x="502" y="181"/>
                    <a:pt x="502" y="181"/>
                    <a:pt x="502" y="181"/>
                  </a:cubicBezTo>
                  <a:cubicBezTo>
                    <a:pt x="501" y="181"/>
                    <a:pt x="501" y="182"/>
                    <a:pt x="501" y="182"/>
                  </a:cubicBezTo>
                  <a:cubicBezTo>
                    <a:pt x="500" y="182"/>
                    <a:pt x="501" y="182"/>
                    <a:pt x="500" y="183"/>
                  </a:cubicBezTo>
                  <a:cubicBezTo>
                    <a:pt x="500" y="183"/>
                    <a:pt x="500" y="183"/>
                    <a:pt x="500" y="183"/>
                  </a:cubicBezTo>
                  <a:cubicBezTo>
                    <a:pt x="500" y="183"/>
                    <a:pt x="500" y="183"/>
                    <a:pt x="500" y="183"/>
                  </a:cubicBezTo>
                  <a:cubicBezTo>
                    <a:pt x="499" y="183"/>
                    <a:pt x="500" y="182"/>
                    <a:pt x="500" y="182"/>
                  </a:cubicBezTo>
                  <a:cubicBezTo>
                    <a:pt x="499" y="182"/>
                    <a:pt x="499" y="181"/>
                    <a:pt x="498" y="181"/>
                  </a:cubicBezTo>
                  <a:cubicBezTo>
                    <a:pt x="499" y="181"/>
                    <a:pt x="499" y="181"/>
                    <a:pt x="499" y="181"/>
                  </a:cubicBezTo>
                  <a:cubicBezTo>
                    <a:pt x="499" y="181"/>
                    <a:pt x="499" y="181"/>
                    <a:pt x="500" y="181"/>
                  </a:cubicBezTo>
                  <a:cubicBezTo>
                    <a:pt x="500" y="181"/>
                    <a:pt x="500" y="181"/>
                    <a:pt x="500" y="180"/>
                  </a:cubicBezTo>
                  <a:cubicBezTo>
                    <a:pt x="500" y="180"/>
                    <a:pt x="500" y="180"/>
                    <a:pt x="500" y="180"/>
                  </a:cubicBezTo>
                  <a:cubicBezTo>
                    <a:pt x="499" y="180"/>
                    <a:pt x="499" y="180"/>
                    <a:pt x="499" y="179"/>
                  </a:cubicBezTo>
                  <a:cubicBezTo>
                    <a:pt x="499" y="179"/>
                    <a:pt x="498" y="179"/>
                    <a:pt x="498" y="179"/>
                  </a:cubicBezTo>
                  <a:cubicBezTo>
                    <a:pt x="497" y="179"/>
                    <a:pt x="498" y="178"/>
                    <a:pt x="497" y="178"/>
                  </a:cubicBezTo>
                  <a:cubicBezTo>
                    <a:pt x="496" y="178"/>
                    <a:pt x="495" y="178"/>
                    <a:pt x="495" y="179"/>
                  </a:cubicBezTo>
                  <a:cubicBezTo>
                    <a:pt x="495" y="179"/>
                    <a:pt x="495" y="179"/>
                    <a:pt x="495" y="179"/>
                  </a:cubicBezTo>
                  <a:cubicBezTo>
                    <a:pt x="495" y="179"/>
                    <a:pt x="496" y="179"/>
                    <a:pt x="496" y="179"/>
                  </a:cubicBezTo>
                  <a:cubicBezTo>
                    <a:pt x="496" y="179"/>
                    <a:pt x="496" y="179"/>
                    <a:pt x="496" y="179"/>
                  </a:cubicBezTo>
                  <a:cubicBezTo>
                    <a:pt x="496" y="179"/>
                    <a:pt x="496" y="179"/>
                    <a:pt x="496" y="179"/>
                  </a:cubicBezTo>
                  <a:cubicBezTo>
                    <a:pt x="496" y="179"/>
                    <a:pt x="496" y="179"/>
                    <a:pt x="496" y="180"/>
                  </a:cubicBezTo>
                  <a:cubicBezTo>
                    <a:pt x="497" y="180"/>
                    <a:pt x="497" y="180"/>
                    <a:pt x="496" y="181"/>
                  </a:cubicBezTo>
                  <a:cubicBezTo>
                    <a:pt x="496" y="180"/>
                    <a:pt x="495" y="180"/>
                    <a:pt x="494" y="179"/>
                  </a:cubicBezTo>
                  <a:cubicBezTo>
                    <a:pt x="494" y="179"/>
                    <a:pt x="493" y="179"/>
                    <a:pt x="493" y="180"/>
                  </a:cubicBezTo>
                  <a:cubicBezTo>
                    <a:pt x="493" y="180"/>
                    <a:pt x="494" y="180"/>
                    <a:pt x="493" y="180"/>
                  </a:cubicBezTo>
                  <a:cubicBezTo>
                    <a:pt x="493" y="180"/>
                    <a:pt x="492" y="180"/>
                    <a:pt x="492" y="180"/>
                  </a:cubicBezTo>
                  <a:cubicBezTo>
                    <a:pt x="492" y="180"/>
                    <a:pt x="493" y="180"/>
                    <a:pt x="493" y="180"/>
                  </a:cubicBezTo>
                  <a:cubicBezTo>
                    <a:pt x="492" y="180"/>
                    <a:pt x="492" y="180"/>
                    <a:pt x="492" y="180"/>
                  </a:cubicBezTo>
                  <a:cubicBezTo>
                    <a:pt x="492" y="181"/>
                    <a:pt x="492" y="181"/>
                    <a:pt x="493" y="181"/>
                  </a:cubicBezTo>
                  <a:cubicBezTo>
                    <a:pt x="493" y="181"/>
                    <a:pt x="493" y="181"/>
                    <a:pt x="493" y="181"/>
                  </a:cubicBezTo>
                  <a:cubicBezTo>
                    <a:pt x="493" y="181"/>
                    <a:pt x="493" y="181"/>
                    <a:pt x="492" y="181"/>
                  </a:cubicBezTo>
                  <a:cubicBezTo>
                    <a:pt x="492" y="181"/>
                    <a:pt x="492" y="181"/>
                    <a:pt x="491" y="181"/>
                  </a:cubicBezTo>
                  <a:cubicBezTo>
                    <a:pt x="491" y="181"/>
                    <a:pt x="491" y="181"/>
                    <a:pt x="491" y="181"/>
                  </a:cubicBezTo>
                  <a:cubicBezTo>
                    <a:pt x="491" y="181"/>
                    <a:pt x="491" y="181"/>
                    <a:pt x="491" y="181"/>
                  </a:cubicBezTo>
                  <a:cubicBezTo>
                    <a:pt x="491" y="181"/>
                    <a:pt x="491" y="182"/>
                    <a:pt x="491" y="182"/>
                  </a:cubicBezTo>
                  <a:cubicBezTo>
                    <a:pt x="490" y="181"/>
                    <a:pt x="490" y="181"/>
                    <a:pt x="489" y="182"/>
                  </a:cubicBezTo>
                  <a:cubicBezTo>
                    <a:pt x="489" y="182"/>
                    <a:pt x="489" y="182"/>
                    <a:pt x="489" y="182"/>
                  </a:cubicBezTo>
                  <a:cubicBezTo>
                    <a:pt x="489" y="182"/>
                    <a:pt x="489" y="182"/>
                    <a:pt x="490" y="182"/>
                  </a:cubicBezTo>
                  <a:cubicBezTo>
                    <a:pt x="490" y="182"/>
                    <a:pt x="491" y="182"/>
                    <a:pt x="492" y="182"/>
                  </a:cubicBezTo>
                  <a:cubicBezTo>
                    <a:pt x="493" y="182"/>
                    <a:pt x="493" y="182"/>
                    <a:pt x="494" y="182"/>
                  </a:cubicBezTo>
                  <a:cubicBezTo>
                    <a:pt x="494" y="182"/>
                    <a:pt x="494" y="182"/>
                    <a:pt x="494" y="182"/>
                  </a:cubicBezTo>
                  <a:cubicBezTo>
                    <a:pt x="495" y="182"/>
                    <a:pt x="495" y="182"/>
                    <a:pt x="495" y="182"/>
                  </a:cubicBezTo>
                  <a:cubicBezTo>
                    <a:pt x="496" y="182"/>
                    <a:pt x="497" y="182"/>
                    <a:pt x="498" y="182"/>
                  </a:cubicBezTo>
                  <a:cubicBezTo>
                    <a:pt x="498" y="182"/>
                    <a:pt x="498" y="182"/>
                    <a:pt x="498" y="182"/>
                  </a:cubicBezTo>
                  <a:cubicBezTo>
                    <a:pt x="497" y="182"/>
                    <a:pt x="495" y="183"/>
                    <a:pt x="495" y="183"/>
                  </a:cubicBezTo>
                  <a:cubicBezTo>
                    <a:pt x="495" y="183"/>
                    <a:pt x="496" y="183"/>
                    <a:pt x="496" y="183"/>
                  </a:cubicBezTo>
                  <a:cubicBezTo>
                    <a:pt x="496" y="183"/>
                    <a:pt x="496" y="183"/>
                    <a:pt x="496" y="183"/>
                  </a:cubicBezTo>
                  <a:cubicBezTo>
                    <a:pt x="496" y="184"/>
                    <a:pt x="498" y="183"/>
                    <a:pt x="497" y="183"/>
                  </a:cubicBezTo>
                  <a:cubicBezTo>
                    <a:pt x="497" y="184"/>
                    <a:pt x="495" y="184"/>
                    <a:pt x="494" y="184"/>
                  </a:cubicBezTo>
                  <a:cubicBezTo>
                    <a:pt x="492" y="184"/>
                    <a:pt x="491" y="184"/>
                    <a:pt x="490" y="184"/>
                  </a:cubicBezTo>
                  <a:cubicBezTo>
                    <a:pt x="490" y="185"/>
                    <a:pt x="490" y="185"/>
                    <a:pt x="490" y="185"/>
                  </a:cubicBezTo>
                  <a:cubicBezTo>
                    <a:pt x="490" y="185"/>
                    <a:pt x="490" y="185"/>
                    <a:pt x="490" y="185"/>
                  </a:cubicBezTo>
                  <a:cubicBezTo>
                    <a:pt x="491" y="185"/>
                    <a:pt x="491" y="185"/>
                    <a:pt x="491" y="185"/>
                  </a:cubicBezTo>
                  <a:cubicBezTo>
                    <a:pt x="492" y="185"/>
                    <a:pt x="494" y="184"/>
                    <a:pt x="495" y="185"/>
                  </a:cubicBezTo>
                  <a:cubicBezTo>
                    <a:pt x="495" y="185"/>
                    <a:pt x="494" y="185"/>
                    <a:pt x="495" y="185"/>
                  </a:cubicBezTo>
                  <a:cubicBezTo>
                    <a:pt x="495" y="185"/>
                    <a:pt x="495" y="185"/>
                    <a:pt x="495" y="185"/>
                  </a:cubicBezTo>
                  <a:cubicBezTo>
                    <a:pt x="495" y="186"/>
                    <a:pt x="496" y="185"/>
                    <a:pt x="496" y="186"/>
                  </a:cubicBezTo>
                  <a:cubicBezTo>
                    <a:pt x="497" y="186"/>
                    <a:pt x="496" y="186"/>
                    <a:pt x="496" y="186"/>
                  </a:cubicBezTo>
                  <a:cubicBezTo>
                    <a:pt x="496" y="186"/>
                    <a:pt x="497" y="186"/>
                    <a:pt x="497" y="186"/>
                  </a:cubicBezTo>
                  <a:cubicBezTo>
                    <a:pt x="497" y="186"/>
                    <a:pt x="497" y="186"/>
                    <a:pt x="497" y="186"/>
                  </a:cubicBezTo>
                  <a:cubicBezTo>
                    <a:pt x="497" y="186"/>
                    <a:pt x="496" y="186"/>
                    <a:pt x="496" y="186"/>
                  </a:cubicBezTo>
                  <a:cubicBezTo>
                    <a:pt x="496" y="187"/>
                    <a:pt x="494" y="187"/>
                    <a:pt x="493" y="188"/>
                  </a:cubicBezTo>
                  <a:cubicBezTo>
                    <a:pt x="493" y="188"/>
                    <a:pt x="493" y="188"/>
                    <a:pt x="493" y="188"/>
                  </a:cubicBezTo>
                  <a:cubicBezTo>
                    <a:pt x="492" y="188"/>
                    <a:pt x="492" y="188"/>
                    <a:pt x="493" y="188"/>
                  </a:cubicBezTo>
                  <a:cubicBezTo>
                    <a:pt x="493" y="188"/>
                    <a:pt x="494" y="188"/>
                    <a:pt x="494" y="188"/>
                  </a:cubicBezTo>
                  <a:cubicBezTo>
                    <a:pt x="495" y="188"/>
                    <a:pt x="496" y="188"/>
                    <a:pt x="497" y="188"/>
                  </a:cubicBezTo>
                  <a:cubicBezTo>
                    <a:pt x="497" y="188"/>
                    <a:pt x="497" y="188"/>
                    <a:pt x="497" y="188"/>
                  </a:cubicBezTo>
                  <a:cubicBezTo>
                    <a:pt x="500" y="188"/>
                    <a:pt x="500" y="189"/>
                    <a:pt x="502" y="189"/>
                  </a:cubicBezTo>
                  <a:cubicBezTo>
                    <a:pt x="502" y="189"/>
                    <a:pt x="502" y="189"/>
                    <a:pt x="502" y="189"/>
                  </a:cubicBezTo>
                  <a:cubicBezTo>
                    <a:pt x="504" y="189"/>
                    <a:pt x="505" y="190"/>
                    <a:pt x="506" y="190"/>
                  </a:cubicBezTo>
                  <a:cubicBezTo>
                    <a:pt x="507" y="189"/>
                    <a:pt x="508" y="189"/>
                    <a:pt x="509" y="189"/>
                  </a:cubicBezTo>
                  <a:cubicBezTo>
                    <a:pt x="510" y="189"/>
                    <a:pt x="510" y="188"/>
                    <a:pt x="511" y="188"/>
                  </a:cubicBezTo>
                  <a:cubicBezTo>
                    <a:pt x="512" y="188"/>
                    <a:pt x="513" y="188"/>
                    <a:pt x="514" y="188"/>
                  </a:cubicBezTo>
                  <a:cubicBezTo>
                    <a:pt x="514" y="188"/>
                    <a:pt x="515" y="188"/>
                    <a:pt x="515" y="187"/>
                  </a:cubicBezTo>
                  <a:cubicBezTo>
                    <a:pt x="515" y="187"/>
                    <a:pt x="516" y="187"/>
                    <a:pt x="516" y="187"/>
                  </a:cubicBezTo>
                  <a:cubicBezTo>
                    <a:pt x="516" y="187"/>
                    <a:pt x="517" y="187"/>
                    <a:pt x="518" y="186"/>
                  </a:cubicBezTo>
                  <a:cubicBezTo>
                    <a:pt x="519" y="186"/>
                    <a:pt x="519" y="186"/>
                    <a:pt x="520" y="186"/>
                  </a:cubicBezTo>
                  <a:cubicBezTo>
                    <a:pt x="521" y="186"/>
                    <a:pt x="521" y="186"/>
                    <a:pt x="521" y="186"/>
                  </a:cubicBezTo>
                  <a:cubicBezTo>
                    <a:pt x="521" y="185"/>
                    <a:pt x="522" y="185"/>
                    <a:pt x="522" y="185"/>
                  </a:cubicBezTo>
                  <a:cubicBezTo>
                    <a:pt x="523" y="185"/>
                    <a:pt x="523" y="185"/>
                    <a:pt x="523" y="185"/>
                  </a:cubicBezTo>
                  <a:cubicBezTo>
                    <a:pt x="522" y="185"/>
                    <a:pt x="523" y="184"/>
                    <a:pt x="523" y="184"/>
                  </a:cubicBezTo>
                  <a:cubicBezTo>
                    <a:pt x="523" y="184"/>
                    <a:pt x="524" y="184"/>
                    <a:pt x="524" y="184"/>
                  </a:cubicBezTo>
                  <a:cubicBezTo>
                    <a:pt x="524" y="184"/>
                    <a:pt x="524" y="184"/>
                    <a:pt x="524" y="184"/>
                  </a:cubicBezTo>
                  <a:cubicBezTo>
                    <a:pt x="525" y="183"/>
                    <a:pt x="525" y="183"/>
                    <a:pt x="525" y="183"/>
                  </a:cubicBezTo>
                  <a:cubicBezTo>
                    <a:pt x="525" y="183"/>
                    <a:pt x="525" y="183"/>
                    <a:pt x="526" y="183"/>
                  </a:cubicBezTo>
                  <a:cubicBezTo>
                    <a:pt x="526" y="183"/>
                    <a:pt x="526" y="182"/>
                    <a:pt x="526" y="182"/>
                  </a:cubicBezTo>
                  <a:cubicBezTo>
                    <a:pt x="526" y="182"/>
                    <a:pt x="525" y="182"/>
                    <a:pt x="524" y="182"/>
                  </a:cubicBezTo>
                  <a:cubicBezTo>
                    <a:pt x="525" y="182"/>
                    <a:pt x="526" y="181"/>
                    <a:pt x="525" y="181"/>
                  </a:cubicBezTo>
                  <a:cubicBezTo>
                    <a:pt x="525" y="181"/>
                    <a:pt x="525" y="181"/>
                    <a:pt x="524" y="181"/>
                  </a:cubicBezTo>
                  <a:cubicBezTo>
                    <a:pt x="524" y="181"/>
                    <a:pt x="524" y="181"/>
                    <a:pt x="524" y="181"/>
                  </a:cubicBezTo>
                  <a:cubicBezTo>
                    <a:pt x="523" y="181"/>
                    <a:pt x="523" y="180"/>
                    <a:pt x="523" y="180"/>
                  </a:cubicBezTo>
                  <a:close/>
                  <a:moveTo>
                    <a:pt x="525" y="234"/>
                  </a:moveTo>
                  <a:cubicBezTo>
                    <a:pt x="524" y="234"/>
                    <a:pt x="525" y="234"/>
                    <a:pt x="524" y="234"/>
                  </a:cubicBezTo>
                  <a:cubicBezTo>
                    <a:pt x="524" y="235"/>
                    <a:pt x="524" y="235"/>
                    <a:pt x="523" y="235"/>
                  </a:cubicBezTo>
                  <a:cubicBezTo>
                    <a:pt x="523" y="235"/>
                    <a:pt x="523" y="235"/>
                    <a:pt x="523" y="235"/>
                  </a:cubicBezTo>
                  <a:cubicBezTo>
                    <a:pt x="524" y="236"/>
                    <a:pt x="524" y="236"/>
                    <a:pt x="525" y="236"/>
                  </a:cubicBezTo>
                  <a:cubicBezTo>
                    <a:pt x="526" y="235"/>
                    <a:pt x="525" y="236"/>
                    <a:pt x="525" y="236"/>
                  </a:cubicBezTo>
                  <a:cubicBezTo>
                    <a:pt x="525" y="236"/>
                    <a:pt x="524" y="236"/>
                    <a:pt x="524" y="237"/>
                  </a:cubicBezTo>
                  <a:cubicBezTo>
                    <a:pt x="523" y="237"/>
                    <a:pt x="524" y="238"/>
                    <a:pt x="524" y="237"/>
                  </a:cubicBezTo>
                  <a:cubicBezTo>
                    <a:pt x="523" y="237"/>
                    <a:pt x="524" y="237"/>
                    <a:pt x="522" y="237"/>
                  </a:cubicBezTo>
                  <a:cubicBezTo>
                    <a:pt x="522" y="237"/>
                    <a:pt x="522" y="237"/>
                    <a:pt x="521" y="237"/>
                  </a:cubicBezTo>
                  <a:cubicBezTo>
                    <a:pt x="521" y="237"/>
                    <a:pt x="520" y="236"/>
                    <a:pt x="519" y="236"/>
                  </a:cubicBezTo>
                  <a:cubicBezTo>
                    <a:pt x="519" y="237"/>
                    <a:pt x="519" y="236"/>
                    <a:pt x="518" y="237"/>
                  </a:cubicBezTo>
                  <a:cubicBezTo>
                    <a:pt x="518" y="237"/>
                    <a:pt x="518" y="237"/>
                    <a:pt x="518" y="237"/>
                  </a:cubicBezTo>
                  <a:cubicBezTo>
                    <a:pt x="519" y="237"/>
                    <a:pt x="519" y="238"/>
                    <a:pt x="519" y="238"/>
                  </a:cubicBezTo>
                  <a:cubicBezTo>
                    <a:pt x="518" y="238"/>
                    <a:pt x="518" y="238"/>
                    <a:pt x="517" y="238"/>
                  </a:cubicBezTo>
                  <a:cubicBezTo>
                    <a:pt x="517" y="238"/>
                    <a:pt x="518" y="238"/>
                    <a:pt x="518" y="238"/>
                  </a:cubicBezTo>
                  <a:cubicBezTo>
                    <a:pt x="518" y="238"/>
                    <a:pt x="519" y="238"/>
                    <a:pt x="519" y="238"/>
                  </a:cubicBezTo>
                  <a:cubicBezTo>
                    <a:pt x="520" y="239"/>
                    <a:pt x="520" y="239"/>
                    <a:pt x="519" y="239"/>
                  </a:cubicBezTo>
                  <a:cubicBezTo>
                    <a:pt x="518" y="239"/>
                    <a:pt x="518" y="239"/>
                    <a:pt x="519" y="240"/>
                  </a:cubicBezTo>
                  <a:cubicBezTo>
                    <a:pt x="519" y="240"/>
                    <a:pt x="518" y="240"/>
                    <a:pt x="518" y="240"/>
                  </a:cubicBezTo>
                  <a:cubicBezTo>
                    <a:pt x="517" y="240"/>
                    <a:pt x="518" y="240"/>
                    <a:pt x="517" y="240"/>
                  </a:cubicBezTo>
                  <a:cubicBezTo>
                    <a:pt x="517" y="240"/>
                    <a:pt x="518" y="241"/>
                    <a:pt x="518" y="240"/>
                  </a:cubicBezTo>
                  <a:cubicBezTo>
                    <a:pt x="519" y="240"/>
                    <a:pt x="519" y="241"/>
                    <a:pt x="518" y="241"/>
                  </a:cubicBezTo>
                  <a:cubicBezTo>
                    <a:pt x="518" y="241"/>
                    <a:pt x="519" y="241"/>
                    <a:pt x="519" y="241"/>
                  </a:cubicBezTo>
                  <a:cubicBezTo>
                    <a:pt x="519" y="241"/>
                    <a:pt x="520" y="241"/>
                    <a:pt x="519" y="241"/>
                  </a:cubicBezTo>
                  <a:cubicBezTo>
                    <a:pt x="519" y="242"/>
                    <a:pt x="521" y="241"/>
                    <a:pt x="521" y="241"/>
                  </a:cubicBezTo>
                  <a:cubicBezTo>
                    <a:pt x="522" y="241"/>
                    <a:pt x="522" y="242"/>
                    <a:pt x="521" y="242"/>
                  </a:cubicBezTo>
                  <a:cubicBezTo>
                    <a:pt x="520" y="242"/>
                    <a:pt x="520" y="242"/>
                    <a:pt x="520" y="243"/>
                  </a:cubicBezTo>
                  <a:cubicBezTo>
                    <a:pt x="519" y="243"/>
                    <a:pt x="520" y="243"/>
                    <a:pt x="520" y="243"/>
                  </a:cubicBezTo>
                  <a:cubicBezTo>
                    <a:pt x="520" y="243"/>
                    <a:pt x="520" y="244"/>
                    <a:pt x="519" y="244"/>
                  </a:cubicBezTo>
                  <a:cubicBezTo>
                    <a:pt x="519" y="243"/>
                    <a:pt x="519" y="244"/>
                    <a:pt x="518" y="244"/>
                  </a:cubicBezTo>
                  <a:cubicBezTo>
                    <a:pt x="518" y="244"/>
                    <a:pt x="518" y="244"/>
                    <a:pt x="518" y="244"/>
                  </a:cubicBezTo>
                  <a:cubicBezTo>
                    <a:pt x="519" y="244"/>
                    <a:pt x="519" y="244"/>
                    <a:pt x="520" y="244"/>
                  </a:cubicBezTo>
                  <a:cubicBezTo>
                    <a:pt x="520" y="245"/>
                    <a:pt x="521" y="244"/>
                    <a:pt x="521" y="244"/>
                  </a:cubicBezTo>
                  <a:cubicBezTo>
                    <a:pt x="522" y="243"/>
                    <a:pt x="522" y="243"/>
                    <a:pt x="522" y="244"/>
                  </a:cubicBezTo>
                  <a:cubicBezTo>
                    <a:pt x="521" y="244"/>
                    <a:pt x="522" y="244"/>
                    <a:pt x="523" y="244"/>
                  </a:cubicBezTo>
                  <a:cubicBezTo>
                    <a:pt x="522" y="244"/>
                    <a:pt x="520" y="244"/>
                    <a:pt x="519" y="244"/>
                  </a:cubicBezTo>
                  <a:cubicBezTo>
                    <a:pt x="518" y="244"/>
                    <a:pt x="519" y="245"/>
                    <a:pt x="518" y="245"/>
                  </a:cubicBezTo>
                  <a:cubicBezTo>
                    <a:pt x="517" y="245"/>
                    <a:pt x="518" y="245"/>
                    <a:pt x="518" y="245"/>
                  </a:cubicBezTo>
                  <a:cubicBezTo>
                    <a:pt x="518" y="246"/>
                    <a:pt x="518" y="246"/>
                    <a:pt x="518" y="246"/>
                  </a:cubicBezTo>
                  <a:cubicBezTo>
                    <a:pt x="518" y="246"/>
                    <a:pt x="517" y="245"/>
                    <a:pt x="517" y="246"/>
                  </a:cubicBezTo>
                  <a:cubicBezTo>
                    <a:pt x="517" y="246"/>
                    <a:pt x="517" y="246"/>
                    <a:pt x="516" y="246"/>
                  </a:cubicBezTo>
                  <a:cubicBezTo>
                    <a:pt x="515" y="246"/>
                    <a:pt x="515" y="247"/>
                    <a:pt x="515" y="246"/>
                  </a:cubicBezTo>
                  <a:cubicBezTo>
                    <a:pt x="516" y="246"/>
                    <a:pt x="516" y="247"/>
                    <a:pt x="516" y="246"/>
                  </a:cubicBezTo>
                  <a:cubicBezTo>
                    <a:pt x="517" y="246"/>
                    <a:pt x="518" y="246"/>
                    <a:pt x="518" y="246"/>
                  </a:cubicBezTo>
                  <a:cubicBezTo>
                    <a:pt x="518" y="246"/>
                    <a:pt x="518" y="246"/>
                    <a:pt x="517" y="247"/>
                  </a:cubicBezTo>
                  <a:cubicBezTo>
                    <a:pt x="517" y="247"/>
                    <a:pt x="516" y="247"/>
                    <a:pt x="515" y="247"/>
                  </a:cubicBezTo>
                  <a:cubicBezTo>
                    <a:pt x="515" y="248"/>
                    <a:pt x="515" y="248"/>
                    <a:pt x="516" y="248"/>
                  </a:cubicBezTo>
                  <a:cubicBezTo>
                    <a:pt x="516" y="247"/>
                    <a:pt x="516" y="248"/>
                    <a:pt x="517" y="248"/>
                  </a:cubicBezTo>
                  <a:cubicBezTo>
                    <a:pt x="518" y="248"/>
                    <a:pt x="519" y="248"/>
                    <a:pt x="519" y="248"/>
                  </a:cubicBezTo>
                  <a:cubicBezTo>
                    <a:pt x="519" y="248"/>
                    <a:pt x="517" y="248"/>
                    <a:pt x="517" y="248"/>
                  </a:cubicBezTo>
                  <a:cubicBezTo>
                    <a:pt x="516" y="249"/>
                    <a:pt x="516" y="249"/>
                    <a:pt x="517" y="249"/>
                  </a:cubicBezTo>
                  <a:cubicBezTo>
                    <a:pt x="518" y="248"/>
                    <a:pt x="518" y="249"/>
                    <a:pt x="519" y="248"/>
                  </a:cubicBezTo>
                  <a:cubicBezTo>
                    <a:pt x="520" y="248"/>
                    <a:pt x="517" y="249"/>
                    <a:pt x="518" y="249"/>
                  </a:cubicBezTo>
                  <a:cubicBezTo>
                    <a:pt x="518" y="249"/>
                    <a:pt x="517" y="250"/>
                    <a:pt x="518" y="249"/>
                  </a:cubicBezTo>
                  <a:cubicBezTo>
                    <a:pt x="518" y="249"/>
                    <a:pt x="519" y="249"/>
                    <a:pt x="519" y="249"/>
                  </a:cubicBezTo>
                  <a:cubicBezTo>
                    <a:pt x="520" y="250"/>
                    <a:pt x="520" y="249"/>
                    <a:pt x="521" y="249"/>
                  </a:cubicBezTo>
                  <a:cubicBezTo>
                    <a:pt x="522" y="249"/>
                    <a:pt x="522" y="249"/>
                    <a:pt x="523" y="249"/>
                  </a:cubicBezTo>
                  <a:cubicBezTo>
                    <a:pt x="523" y="249"/>
                    <a:pt x="523" y="248"/>
                    <a:pt x="524" y="248"/>
                  </a:cubicBezTo>
                  <a:cubicBezTo>
                    <a:pt x="525" y="248"/>
                    <a:pt x="525" y="248"/>
                    <a:pt x="525" y="248"/>
                  </a:cubicBezTo>
                  <a:cubicBezTo>
                    <a:pt x="526" y="248"/>
                    <a:pt x="526" y="247"/>
                    <a:pt x="526" y="247"/>
                  </a:cubicBezTo>
                  <a:cubicBezTo>
                    <a:pt x="527" y="247"/>
                    <a:pt x="527" y="247"/>
                    <a:pt x="527" y="247"/>
                  </a:cubicBezTo>
                  <a:cubicBezTo>
                    <a:pt x="528" y="247"/>
                    <a:pt x="529" y="247"/>
                    <a:pt x="529" y="247"/>
                  </a:cubicBezTo>
                  <a:cubicBezTo>
                    <a:pt x="529" y="247"/>
                    <a:pt x="529" y="246"/>
                    <a:pt x="529" y="246"/>
                  </a:cubicBezTo>
                  <a:cubicBezTo>
                    <a:pt x="529" y="246"/>
                    <a:pt x="529" y="247"/>
                    <a:pt x="529" y="247"/>
                  </a:cubicBezTo>
                  <a:cubicBezTo>
                    <a:pt x="529" y="247"/>
                    <a:pt x="530" y="246"/>
                    <a:pt x="530" y="247"/>
                  </a:cubicBezTo>
                  <a:cubicBezTo>
                    <a:pt x="531" y="247"/>
                    <a:pt x="531" y="247"/>
                    <a:pt x="532" y="247"/>
                  </a:cubicBezTo>
                  <a:cubicBezTo>
                    <a:pt x="532" y="247"/>
                    <a:pt x="531" y="246"/>
                    <a:pt x="532" y="246"/>
                  </a:cubicBezTo>
                  <a:cubicBezTo>
                    <a:pt x="532" y="246"/>
                    <a:pt x="532" y="246"/>
                    <a:pt x="532" y="245"/>
                  </a:cubicBezTo>
                  <a:cubicBezTo>
                    <a:pt x="533" y="245"/>
                    <a:pt x="532" y="245"/>
                    <a:pt x="533" y="244"/>
                  </a:cubicBezTo>
                  <a:cubicBezTo>
                    <a:pt x="533" y="244"/>
                    <a:pt x="533" y="244"/>
                    <a:pt x="533" y="244"/>
                  </a:cubicBezTo>
                  <a:cubicBezTo>
                    <a:pt x="533" y="243"/>
                    <a:pt x="533" y="243"/>
                    <a:pt x="533" y="242"/>
                  </a:cubicBezTo>
                  <a:cubicBezTo>
                    <a:pt x="533" y="242"/>
                    <a:pt x="532" y="242"/>
                    <a:pt x="533" y="242"/>
                  </a:cubicBezTo>
                  <a:cubicBezTo>
                    <a:pt x="533" y="241"/>
                    <a:pt x="532" y="241"/>
                    <a:pt x="533" y="241"/>
                  </a:cubicBezTo>
                  <a:cubicBezTo>
                    <a:pt x="533" y="241"/>
                    <a:pt x="532" y="240"/>
                    <a:pt x="532" y="240"/>
                  </a:cubicBezTo>
                  <a:cubicBezTo>
                    <a:pt x="532" y="240"/>
                    <a:pt x="532" y="239"/>
                    <a:pt x="532" y="239"/>
                  </a:cubicBezTo>
                  <a:cubicBezTo>
                    <a:pt x="532" y="239"/>
                    <a:pt x="532" y="239"/>
                    <a:pt x="532" y="239"/>
                  </a:cubicBezTo>
                  <a:cubicBezTo>
                    <a:pt x="533" y="239"/>
                    <a:pt x="533" y="238"/>
                    <a:pt x="533" y="239"/>
                  </a:cubicBezTo>
                  <a:cubicBezTo>
                    <a:pt x="533" y="239"/>
                    <a:pt x="534" y="238"/>
                    <a:pt x="534" y="238"/>
                  </a:cubicBezTo>
                  <a:cubicBezTo>
                    <a:pt x="534" y="238"/>
                    <a:pt x="534" y="238"/>
                    <a:pt x="534" y="238"/>
                  </a:cubicBezTo>
                  <a:cubicBezTo>
                    <a:pt x="535" y="238"/>
                    <a:pt x="535" y="238"/>
                    <a:pt x="535" y="237"/>
                  </a:cubicBezTo>
                  <a:cubicBezTo>
                    <a:pt x="536" y="237"/>
                    <a:pt x="535" y="237"/>
                    <a:pt x="535" y="236"/>
                  </a:cubicBezTo>
                  <a:cubicBezTo>
                    <a:pt x="535" y="236"/>
                    <a:pt x="535" y="236"/>
                    <a:pt x="534" y="236"/>
                  </a:cubicBezTo>
                  <a:cubicBezTo>
                    <a:pt x="534" y="236"/>
                    <a:pt x="534" y="236"/>
                    <a:pt x="534" y="236"/>
                  </a:cubicBezTo>
                  <a:cubicBezTo>
                    <a:pt x="534" y="236"/>
                    <a:pt x="534" y="236"/>
                    <a:pt x="534" y="236"/>
                  </a:cubicBezTo>
                  <a:cubicBezTo>
                    <a:pt x="535" y="235"/>
                    <a:pt x="535" y="235"/>
                    <a:pt x="535" y="235"/>
                  </a:cubicBezTo>
                  <a:cubicBezTo>
                    <a:pt x="534" y="235"/>
                    <a:pt x="534" y="235"/>
                    <a:pt x="534" y="234"/>
                  </a:cubicBezTo>
                  <a:cubicBezTo>
                    <a:pt x="534" y="234"/>
                    <a:pt x="534" y="234"/>
                    <a:pt x="534" y="234"/>
                  </a:cubicBezTo>
                  <a:cubicBezTo>
                    <a:pt x="533" y="234"/>
                    <a:pt x="534" y="233"/>
                    <a:pt x="533" y="233"/>
                  </a:cubicBezTo>
                  <a:cubicBezTo>
                    <a:pt x="533" y="233"/>
                    <a:pt x="532" y="233"/>
                    <a:pt x="532" y="233"/>
                  </a:cubicBezTo>
                  <a:cubicBezTo>
                    <a:pt x="531" y="233"/>
                    <a:pt x="531" y="233"/>
                    <a:pt x="530" y="233"/>
                  </a:cubicBezTo>
                  <a:cubicBezTo>
                    <a:pt x="530" y="234"/>
                    <a:pt x="529" y="234"/>
                    <a:pt x="529" y="234"/>
                  </a:cubicBezTo>
                  <a:cubicBezTo>
                    <a:pt x="529" y="234"/>
                    <a:pt x="529" y="233"/>
                    <a:pt x="530" y="233"/>
                  </a:cubicBezTo>
                  <a:cubicBezTo>
                    <a:pt x="531" y="233"/>
                    <a:pt x="530" y="233"/>
                    <a:pt x="529" y="233"/>
                  </a:cubicBezTo>
                  <a:cubicBezTo>
                    <a:pt x="529" y="232"/>
                    <a:pt x="529" y="233"/>
                    <a:pt x="528" y="233"/>
                  </a:cubicBezTo>
                  <a:cubicBezTo>
                    <a:pt x="528" y="233"/>
                    <a:pt x="529" y="233"/>
                    <a:pt x="528" y="234"/>
                  </a:cubicBezTo>
                  <a:cubicBezTo>
                    <a:pt x="528" y="233"/>
                    <a:pt x="528" y="233"/>
                    <a:pt x="528" y="233"/>
                  </a:cubicBezTo>
                  <a:cubicBezTo>
                    <a:pt x="527" y="232"/>
                    <a:pt x="527" y="233"/>
                    <a:pt x="527" y="233"/>
                  </a:cubicBezTo>
                  <a:cubicBezTo>
                    <a:pt x="526" y="233"/>
                    <a:pt x="526" y="233"/>
                    <a:pt x="525" y="233"/>
                  </a:cubicBezTo>
                  <a:cubicBezTo>
                    <a:pt x="525" y="233"/>
                    <a:pt x="525" y="233"/>
                    <a:pt x="525" y="234"/>
                  </a:cubicBezTo>
                  <a:close/>
                  <a:moveTo>
                    <a:pt x="535" y="227"/>
                  </a:moveTo>
                  <a:cubicBezTo>
                    <a:pt x="535" y="228"/>
                    <a:pt x="537" y="227"/>
                    <a:pt x="536" y="228"/>
                  </a:cubicBezTo>
                  <a:cubicBezTo>
                    <a:pt x="536" y="228"/>
                    <a:pt x="536" y="228"/>
                    <a:pt x="536" y="228"/>
                  </a:cubicBezTo>
                  <a:cubicBezTo>
                    <a:pt x="535" y="228"/>
                    <a:pt x="536" y="229"/>
                    <a:pt x="536" y="230"/>
                  </a:cubicBezTo>
                  <a:cubicBezTo>
                    <a:pt x="536" y="230"/>
                    <a:pt x="535" y="230"/>
                    <a:pt x="535" y="230"/>
                  </a:cubicBezTo>
                  <a:cubicBezTo>
                    <a:pt x="536" y="231"/>
                    <a:pt x="535" y="231"/>
                    <a:pt x="535" y="232"/>
                  </a:cubicBezTo>
                  <a:cubicBezTo>
                    <a:pt x="534" y="233"/>
                    <a:pt x="535" y="233"/>
                    <a:pt x="535" y="233"/>
                  </a:cubicBezTo>
                  <a:cubicBezTo>
                    <a:pt x="535" y="232"/>
                    <a:pt x="536" y="231"/>
                    <a:pt x="536" y="231"/>
                  </a:cubicBezTo>
                  <a:cubicBezTo>
                    <a:pt x="536" y="231"/>
                    <a:pt x="536" y="230"/>
                    <a:pt x="536" y="230"/>
                  </a:cubicBezTo>
                  <a:cubicBezTo>
                    <a:pt x="537" y="232"/>
                    <a:pt x="538" y="230"/>
                    <a:pt x="538" y="229"/>
                  </a:cubicBezTo>
                  <a:cubicBezTo>
                    <a:pt x="538" y="231"/>
                    <a:pt x="539" y="231"/>
                    <a:pt x="539" y="231"/>
                  </a:cubicBezTo>
                  <a:cubicBezTo>
                    <a:pt x="539" y="231"/>
                    <a:pt x="538" y="230"/>
                    <a:pt x="538" y="231"/>
                  </a:cubicBezTo>
                  <a:cubicBezTo>
                    <a:pt x="537" y="232"/>
                    <a:pt x="539" y="232"/>
                    <a:pt x="539" y="233"/>
                  </a:cubicBezTo>
                  <a:cubicBezTo>
                    <a:pt x="538" y="233"/>
                    <a:pt x="538" y="233"/>
                    <a:pt x="537" y="234"/>
                  </a:cubicBezTo>
                  <a:cubicBezTo>
                    <a:pt x="537" y="234"/>
                    <a:pt x="538" y="235"/>
                    <a:pt x="537" y="235"/>
                  </a:cubicBezTo>
                  <a:cubicBezTo>
                    <a:pt x="537" y="235"/>
                    <a:pt x="537" y="235"/>
                    <a:pt x="537" y="235"/>
                  </a:cubicBezTo>
                  <a:cubicBezTo>
                    <a:pt x="536" y="235"/>
                    <a:pt x="537" y="236"/>
                    <a:pt x="538" y="236"/>
                  </a:cubicBezTo>
                  <a:cubicBezTo>
                    <a:pt x="538" y="236"/>
                    <a:pt x="537" y="235"/>
                    <a:pt x="537" y="235"/>
                  </a:cubicBezTo>
                  <a:cubicBezTo>
                    <a:pt x="538" y="235"/>
                    <a:pt x="538" y="235"/>
                    <a:pt x="539" y="236"/>
                  </a:cubicBezTo>
                  <a:cubicBezTo>
                    <a:pt x="539" y="236"/>
                    <a:pt x="539" y="236"/>
                    <a:pt x="539" y="235"/>
                  </a:cubicBezTo>
                  <a:cubicBezTo>
                    <a:pt x="539" y="236"/>
                    <a:pt x="540" y="236"/>
                    <a:pt x="540" y="236"/>
                  </a:cubicBezTo>
                  <a:cubicBezTo>
                    <a:pt x="540" y="235"/>
                    <a:pt x="540" y="235"/>
                    <a:pt x="540" y="235"/>
                  </a:cubicBezTo>
                  <a:cubicBezTo>
                    <a:pt x="540" y="236"/>
                    <a:pt x="540" y="236"/>
                    <a:pt x="540" y="236"/>
                  </a:cubicBezTo>
                  <a:cubicBezTo>
                    <a:pt x="540" y="236"/>
                    <a:pt x="540" y="236"/>
                    <a:pt x="541" y="236"/>
                  </a:cubicBezTo>
                  <a:cubicBezTo>
                    <a:pt x="540" y="236"/>
                    <a:pt x="540" y="236"/>
                    <a:pt x="539" y="236"/>
                  </a:cubicBezTo>
                  <a:cubicBezTo>
                    <a:pt x="538" y="237"/>
                    <a:pt x="539" y="237"/>
                    <a:pt x="539" y="237"/>
                  </a:cubicBezTo>
                  <a:cubicBezTo>
                    <a:pt x="540" y="237"/>
                    <a:pt x="539" y="237"/>
                    <a:pt x="540" y="237"/>
                  </a:cubicBezTo>
                  <a:cubicBezTo>
                    <a:pt x="541" y="237"/>
                    <a:pt x="542" y="237"/>
                    <a:pt x="542" y="237"/>
                  </a:cubicBezTo>
                  <a:cubicBezTo>
                    <a:pt x="542" y="237"/>
                    <a:pt x="541" y="237"/>
                    <a:pt x="540" y="237"/>
                  </a:cubicBezTo>
                  <a:cubicBezTo>
                    <a:pt x="539" y="238"/>
                    <a:pt x="540" y="238"/>
                    <a:pt x="541" y="238"/>
                  </a:cubicBezTo>
                  <a:cubicBezTo>
                    <a:pt x="541" y="237"/>
                    <a:pt x="541" y="238"/>
                    <a:pt x="542" y="237"/>
                  </a:cubicBezTo>
                  <a:cubicBezTo>
                    <a:pt x="543" y="237"/>
                    <a:pt x="541" y="238"/>
                    <a:pt x="541" y="238"/>
                  </a:cubicBezTo>
                  <a:cubicBezTo>
                    <a:pt x="541" y="238"/>
                    <a:pt x="540" y="239"/>
                    <a:pt x="541" y="239"/>
                  </a:cubicBezTo>
                  <a:cubicBezTo>
                    <a:pt x="542" y="238"/>
                    <a:pt x="542" y="238"/>
                    <a:pt x="543" y="239"/>
                  </a:cubicBezTo>
                  <a:cubicBezTo>
                    <a:pt x="543" y="239"/>
                    <a:pt x="543" y="239"/>
                    <a:pt x="543" y="239"/>
                  </a:cubicBezTo>
                  <a:cubicBezTo>
                    <a:pt x="543" y="239"/>
                    <a:pt x="543" y="239"/>
                    <a:pt x="543" y="238"/>
                  </a:cubicBezTo>
                  <a:cubicBezTo>
                    <a:pt x="544" y="238"/>
                    <a:pt x="544" y="238"/>
                    <a:pt x="544" y="238"/>
                  </a:cubicBezTo>
                  <a:cubicBezTo>
                    <a:pt x="544" y="238"/>
                    <a:pt x="544" y="239"/>
                    <a:pt x="545" y="238"/>
                  </a:cubicBezTo>
                  <a:cubicBezTo>
                    <a:pt x="546" y="238"/>
                    <a:pt x="545" y="239"/>
                    <a:pt x="544" y="240"/>
                  </a:cubicBezTo>
                  <a:cubicBezTo>
                    <a:pt x="544" y="241"/>
                    <a:pt x="545" y="240"/>
                    <a:pt x="545" y="240"/>
                  </a:cubicBezTo>
                  <a:cubicBezTo>
                    <a:pt x="545" y="240"/>
                    <a:pt x="544" y="241"/>
                    <a:pt x="544" y="241"/>
                  </a:cubicBezTo>
                  <a:cubicBezTo>
                    <a:pt x="544" y="241"/>
                    <a:pt x="545" y="242"/>
                    <a:pt x="545" y="242"/>
                  </a:cubicBezTo>
                  <a:cubicBezTo>
                    <a:pt x="545" y="243"/>
                    <a:pt x="544" y="242"/>
                    <a:pt x="544" y="242"/>
                  </a:cubicBezTo>
                  <a:cubicBezTo>
                    <a:pt x="544" y="242"/>
                    <a:pt x="544" y="242"/>
                    <a:pt x="544" y="242"/>
                  </a:cubicBezTo>
                  <a:cubicBezTo>
                    <a:pt x="544" y="242"/>
                    <a:pt x="543" y="242"/>
                    <a:pt x="543" y="242"/>
                  </a:cubicBezTo>
                  <a:cubicBezTo>
                    <a:pt x="542" y="242"/>
                    <a:pt x="542" y="242"/>
                    <a:pt x="541" y="242"/>
                  </a:cubicBezTo>
                  <a:cubicBezTo>
                    <a:pt x="540" y="242"/>
                    <a:pt x="540" y="243"/>
                    <a:pt x="540" y="242"/>
                  </a:cubicBezTo>
                  <a:cubicBezTo>
                    <a:pt x="540" y="242"/>
                    <a:pt x="540" y="241"/>
                    <a:pt x="538" y="242"/>
                  </a:cubicBezTo>
                  <a:cubicBezTo>
                    <a:pt x="537" y="243"/>
                    <a:pt x="540" y="242"/>
                    <a:pt x="540" y="243"/>
                  </a:cubicBezTo>
                  <a:cubicBezTo>
                    <a:pt x="539" y="243"/>
                    <a:pt x="539" y="244"/>
                    <a:pt x="538" y="244"/>
                  </a:cubicBezTo>
                  <a:cubicBezTo>
                    <a:pt x="538" y="244"/>
                    <a:pt x="537" y="244"/>
                    <a:pt x="538" y="244"/>
                  </a:cubicBezTo>
                  <a:cubicBezTo>
                    <a:pt x="538" y="244"/>
                    <a:pt x="538" y="245"/>
                    <a:pt x="539" y="244"/>
                  </a:cubicBezTo>
                  <a:cubicBezTo>
                    <a:pt x="539" y="244"/>
                    <a:pt x="539" y="244"/>
                    <a:pt x="540" y="244"/>
                  </a:cubicBezTo>
                  <a:cubicBezTo>
                    <a:pt x="539" y="245"/>
                    <a:pt x="541" y="244"/>
                    <a:pt x="540" y="245"/>
                  </a:cubicBezTo>
                  <a:cubicBezTo>
                    <a:pt x="539" y="245"/>
                    <a:pt x="540" y="245"/>
                    <a:pt x="540" y="246"/>
                  </a:cubicBezTo>
                  <a:cubicBezTo>
                    <a:pt x="540" y="247"/>
                    <a:pt x="539" y="247"/>
                    <a:pt x="538" y="247"/>
                  </a:cubicBezTo>
                  <a:cubicBezTo>
                    <a:pt x="537" y="247"/>
                    <a:pt x="537" y="248"/>
                    <a:pt x="536" y="248"/>
                  </a:cubicBezTo>
                  <a:cubicBezTo>
                    <a:pt x="535" y="248"/>
                    <a:pt x="536" y="248"/>
                    <a:pt x="536" y="249"/>
                  </a:cubicBezTo>
                  <a:cubicBezTo>
                    <a:pt x="535" y="249"/>
                    <a:pt x="537" y="249"/>
                    <a:pt x="537" y="249"/>
                  </a:cubicBezTo>
                  <a:cubicBezTo>
                    <a:pt x="536" y="250"/>
                    <a:pt x="537" y="249"/>
                    <a:pt x="538" y="249"/>
                  </a:cubicBezTo>
                  <a:cubicBezTo>
                    <a:pt x="539" y="249"/>
                    <a:pt x="539" y="249"/>
                    <a:pt x="539" y="249"/>
                  </a:cubicBezTo>
                  <a:cubicBezTo>
                    <a:pt x="540" y="250"/>
                    <a:pt x="540" y="249"/>
                    <a:pt x="539" y="249"/>
                  </a:cubicBezTo>
                  <a:cubicBezTo>
                    <a:pt x="539" y="249"/>
                    <a:pt x="539" y="250"/>
                    <a:pt x="540" y="250"/>
                  </a:cubicBezTo>
                  <a:cubicBezTo>
                    <a:pt x="540" y="250"/>
                    <a:pt x="541" y="250"/>
                    <a:pt x="541" y="250"/>
                  </a:cubicBezTo>
                  <a:cubicBezTo>
                    <a:pt x="541" y="250"/>
                    <a:pt x="541" y="251"/>
                    <a:pt x="543" y="251"/>
                  </a:cubicBezTo>
                  <a:cubicBezTo>
                    <a:pt x="544" y="251"/>
                    <a:pt x="543" y="250"/>
                    <a:pt x="544" y="250"/>
                  </a:cubicBezTo>
                  <a:cubicBezTo>
                    <a:pt x="545" y="250"/>
                    <a:pt x="545" y="250"/>
                    <a:pt x="546" y="249"/>
                  </a:cubicBezTo>
                  <a:cubicBezTo>
                    <a:pt x="545" y="250"/>
                    <a:pt x="546" y="250"/>
                    <a:pt x="545" y="250"/>
                  </a:cubicBezTo>
                  <a:cubicBezTo>
                    <a:pt x="545" y="250"/>
                    <a:pt x="544" y="251"/>
                    <a:pt x="544" y="251"/>
                  </a:cubicBezTo>
                  <a:cubicBezTo>
                    <a:pt x="544" y="252"/>
                    <a:pt x="542" y="251"/>
                    <a:pt x="542" y="251"/>
                  </a:cubicBezTo>
                  <a:cubicBezTo>
                    <a:pt x="541" y="251"/>
                    <a:pt x="542" y="251"/>
                    <a:pt x="539" y="251"/>
                  </a:cubicBezTo>
                  <a:cubicBezTo>
                    <a:pt x="539" y="252"/>
                    <a:pt x="540" y="252"/>
                    <a:pt x="539" y="252"/>
                  </a:cubicBezTo>
                  <a:cubicBezTo>
                    <a:pt x="537" y="252"/>
                    <a:pt x="539" y="253"/>
                    <a:pt x="538" y="253"/>
                  </a:cubicBezTo>
                  <a:cubicBezTo>
                    <a:pt x="537" y="254"/>
                    <a:pt x="537" y="254"/>
                    <a:pt x="536" y="255"/>
                  </a:cubicBezTo>
                  <a:cubicBezTo>
                    <a:pt x="535" y="255"/>
                    <a:pt x="535" y="255"/>
                    <a:pt x="534" y="256"/>
                  </a:cubicBezTo>
                  <a:cubicBezTo>
                    <a:pt x="533" y="256"/>
                    <a:pt x="533" y="256"/>
                    <a:pt x="534" y="256"/>
                  </a:cubicBezTo>
                  <a:cubicBezTo>
                    <a:pt x="535" y="256"/>
                    <a:pt x="535" y="257"/>
                    <a:pt x="536" y="257"/>
                  </a:cubicBezTo>
                  <a:cubicBezTo>
                    <a:pt x="536" y="256"/>
                    <a:pt x="535" y="256"/>
                    <a:pt x="536" y="256"/>
                  </a:cubicBezTo>
                  <a:cubicBezTo>
                    <a:pt x="537" y="256"/>
                    <a:pt x="537" y="255"/>
                    <a:pt x="537" y="255"/>
                  </a:cubicBezTo>
                  <a:cubicBezTo>
                    <a:pt x="538" y="256"/>
                    <a:pt x="540" y="255"/>
                    <a:pt x="539" y="255"/>
                  </a:cubicBezTo>
                  <a:cubicBezTo>
                    <a:pt x="539" y="255"/>
                    <a:pt x="540" y="255"/>
                    <a:pt x="540" y="255"/>
                  </a:cubicBezTo>
                  <a:cubicBezTo>
                    <a:pt x="540" y="256"/>
                    <a:pt x="541" y="256"/>
                    <a:pt x="542" y="256"/>
                  </a:cubicBezTo>
                  <a:cubicBezTo>
                    <a:pt x="542" y="256"/>
                    <a:pt x="542" y="255"/>
                    <a:pt x="542" y="254"/>
                  </a:cubicBezTo>
                  <a:cubicBezTo>
                    <a:pt x="542" y="254"/>
                    <a:pt x="543" y="254"/>
                    <a:pt x="544" y="254"/>
                  </a:cubicBezTo>
                  <a:cubicBezTo>
                    <a:pt x="545" y="254"/>
                    <a:pt x="545" y="254"/>
                    <a:pt x="546" y="254"/>
                  </a:cubicBezTo>
                  <a:cubicBezTo>
                    <a:pt x="546" y="255"/>
                    <a:pt x="546" y="254"/>
                    <a:pt x="547" y="254"/>
                  </a:cubicBezTo>
                  <a:cubicBezTo>
                    <a:pt x="548" y="255"/>
                    <a:pt x="549" y="254"/>
                    <a:pt x="548" y="254"/>
                  </a:cubicBezTo>
                  <a:cubicBezTo>
                    <a:pt x="548" y="254"/>
                    <a:pt x="549" y="254"/>
                    <a:pt x="550" y="254"/>
                  </a:cubicBezTo>
                  <a:cubicBezTo>
                    <a:pt x="550" y="254"/>
                    <a:pt x="551" y="253"/>
                    <a:pt x="550" y="253"/>
                  </a:cubicBezTo>
                  <a:cubicBezTo>
                    <a:pt x="550" y="252"/>
                    <a:pt x="551" y="253"/>
                    <a:pt x="551" y="253"/>
                  </a:cubicBezTo>
                  <a:cubicBezTo>
                    <a:pt x="552" y="254"/>
                    <a:pt x="552" y="253"/>
                    <a:pt x="552" y="254"/>
                  </a:cubicBezTo>
                  <a:cubicBezTo>
                    <a:pt x="552" y="254"/>
                    <a:pt x="554" y="253"/>
                    <a:pt x="556" y="253"/>
                  </a:cubicBezTo>
                  <a:cubicBezTo>
                    <a:pt x="558" y="254"/>
                    <a:pt x="558" y="253"/>
                    <a:pt x="559" y="253"/>
                  </a:cubicBezTo>
                  <a:cubicBezTo>
                    <a:pt x="560" y="253"/>
                    <a:pt x="560" y="253"/>
                    <a:pt x="561" y="252"/>
                  </a:cubicBezTo>
                  <a:cubicBezTo>
                    <a:pt x="562" y="252"/>
                    <a:pt x="561" y="251"/>
                    <a:pt x="562" y="251"/>
                  </a:cubicBezTo>
                  <a:cubicBezTo>
                    <a:pt x="562" y="251"/>
                    <a:pt x="560" y="251"/>
                    <a:pt x="559" y="251"/>
                  </a:cubicBezTo>
                  <a:cubicBezTo>
                    <a:pt x="558" y="251"/>
                    <a:pt x="557" y="251"/>
                    <a:pt x="557" y="251"/>
                  </a:cubicBezTo>
                  <a:cubicBezTo>
                    <a:pt x="557" y="251"/>
                    <a:pt x="557" y="250"/>
                    <a:pt x="558" y="250"/>
                  </a:cubicBezTo>
                  <a:cubicBezTo>
                    <a:pt x="558" y="250"/>
                    <a:pt x="559" y="250"/>
                    <a:pt x="559" y="250"/>
                  </a:cubicBezTo>
                  <a:cubicBezTo>
                    <a:pt x="560" y="249"/>
                    <a:pt x="558" y="249"/>
                    <a:pt x="559" y="249"/>
                  </a:cubicBezTo>
                  <a:cubicBezTo>
                    <a:pt x="559" y="249"/>
                    <a:pt x="559" y="249"/>
                    <a:pt x="559" y="249"/>
                  </a:cubicBezTo>
                  <a:cubicBezTo>
                    <a:pt x="559" y="249"/>
                    <a:pt x="560" y="249"/>
                    <a:pt x="560" y="249"/>
                  </a:cubicBezTo>
                  <a:cubicBezTo>
                    <a:pt x="561" y="249"/>
                    <a:pt x="560" y="248"/>
                    <a:pt x="560" y="248"/>
                  </a:cubicBezTo>
                  <a:cubicBezTo>
                    <a:pt x="560" y="248"/>
                    <a:pt x="561" y="248"/>
                    <a:pt x="562" y="248"/>
                  </a:cubicBezTo>
                  <a:cubicBezTo>
                    <a:pt x="562" y="247"/>
                    <a:pt x="561" y="248"/>
                    <a:pt x="562" y="247"/>
                  </a:cubicBezTo>
                  <a:cubicBezTo>
                    <a:pt x="563" y="245"/>
                    <a:pt x="561" y="244"/>
                    <a:pt x="560" y="244"/>
                  </a:cubicBezTo>
                  <a:cubicBezTo>
                    <a:pt x="559" y="243"/>
                    <a:pt x="558" y="243"/>
                    <a:pt x="557" y="244"/>
                  </a:cubicBezTo>
                  <a:cubicBezTo>
                    <a:pt x="557" y="245"/>
                    <a:pt x="557" y="245"/>
                    <a:pt x="556" y="244"/>
                  </a:cubicBezTo>
                  <a:cubicBezTo>
                    <a:pt x="555" y="244"/>
                    <a:pt x="555" y="244"/>
                    <a:pt x="556" y="244"/>
                  </a:cubicBezTo>
                  <a:cubicBezTo>
                    <a:pt x="557" y="243"/>
                    <a:pt x="557" y="242"/>
                    <a:pt x="556" y="242"/>
                  </a:cubicBezTo>
                  <a:cubicBezTo>
                    <a:pt x="555" y="241"/>
                    <a:pt x="555" y="241"/>
                    <a:pt x="554" y="241"/>
                  </a:cubicBezTo>
                  <a:cubicBezTo>
                    <a:pt x="555" y="241"/>
                    <a:pt x="555" y="241"/>
                    <a:pt x="556" y="241"/>
                  </a:cubicBezTo>
                  <a:cubicBezTo>
                    <a:pt x="556" y="241"/>
                    <a:pt x="555" y="240"/>
                    <a:pt x="554" y="239"/>
                  </a:cubicBezTo>
                  <a:cubicBezTo>
                    <a:pt x="554" y="239"/>
                    <a:pt x="556" y="239"/>
                    <a:pt x="554" y="239"/>
                  </a:cubicBezTo>
                  <a:cubicBezTo>
                    <a:pt x="554" y="238"/>
                    <a:pt x="553" y="237"/>
                    <a:pt x="551" y="237"/>
                  </a:cubicBezTo>
                  <a:cubicBezTo>
                    <a:pt x="551" y="237"/>
                    <a:pt x="551" y="236"/>
                    <a:pt x="550" y="236"/>
                  </a:cubicBezTo>
                  <a:cubicBezTo>
                    <a:pt x="550" y="236"/>
                    <a:pt x="551" y="236"/>
                    <a:pt x="551" y="236"/>
                  </a:cubicBezTo>
                  <a:cubicBezTo>
                    <a:pt x="552" y="236"/>
                    <a:pt x="552" y="236"/>
                    <a:pt x="552" y="236"/>
                  </a:cubicBezTo>
                  <a:cubicBezTo>
                    <a:pt x="552" y="236"/>
                    <a:pt x="552" y="235"/>
                    <a:pt x="552" y="235"/>
                  </a:cubicBezTo>
                  <a:cubicBezTo>
                    <a:pt x="552" y="235"/>
                    <a:pt x="552" y="236"/>
                    <a:pt x="552" y="236"/>
                  </a:cubicBezTo>
                  <a:cubicBezTo>
                    <a:pt x="552" y="237"/>
                    <a:pt x="553" y="235"/>
                    <a:pt x="554" y="236"/>
                  </a:cubicBezTo>
                  <a:cubicBezTo>
                    <a:pt x="554" y="236"/>
                    <a:pt x="554" y="236"/>
                    <a:pt x="555" y="236"/>
                  </a:cubicBezTo>
                  <a:cubicBezTo>
                    <a:pt x="555" y="236"/>
                    <a:pt x="555" y="235"/>
                    <a:pt x="555" y="235"/>
                  </a:cubicBezTo>
                  <a:cubicBezTo>
                    <a:pt x="555" y="235"/>
                    <a:pt x="555" y="235"/>
                    <a:pt x="556" y="234"/>
                  </a:cubicBezTo>
                  <a:cubicBezTo>
                    <a:pt x="556" y="234"/>
                    <a:pt x="556" y="234"/>
                    <a:pt x="556" y="234"/>
                  </a:cubicBezTo>
                  <a:cubicBezTo>
                    <a:pt x="557" y="233"/>
                    <a:pt x="556" y="233"/>
                    <a:pt x="556" y="233"/>
                  </a:cubicBezTo>
                  <a:cubicBezTo>
                    <a:pt x="556" y="232"/>
                    <a:pt x="556" y="232"/>
                    <a:pt x="556" y="232"/>
                  </a:cubicBezTo>
                  <a:cubicBezTo>
                    <a:pt x="556" y="231"/>
                    <a:pt x="555" y="231"/>
                    <a:pt x="556" y="231"/>
                  </a:cubicBezTo>
                  <a:cubicBezTo>
                    <a:pt x="557" y="231"/>
                    <a:pt x="556" y="230"/>
                    <a:pt x="556" y="230"/>
                  </a:cubicBezTo>
                  <a:cubicBezTo>
                    <a:pt x="557" y="230"/>
                    <a:pt x="556" y="229"/>
                    <a:pt x="556" y="229"/>
                  </a:cubicBezTo>
                  <a:cubicBezTo>
                    <a:pt x="556" y="229"/>
                    <a:pt x="556" y="229"/>
                    <a:pt x="555" y="228"/>
                  </a:cubicBezTo>
                  <a:cubicBezTo>
                    <a:pt x="555" y="228"/>
                    <a:pt x="555" y="228"/>
                    <a:pt x="556" y="228"/>
                  </a:cubicBezTo>
                  <a:cubicBezTo>
                    <a:pt x="556" y="228"/>
                    <a:pt x="556" y="228"/>
                    <a:pt x="556" y="228"/>
                  </a:cubicBezTo>
                  <a:cubicBezTo>
                    <a:pt x="557" y="228"/>
                    <a:pt x="557" y="228"/>
                    <a:pt x="557" y="227"/>
                  </a:cubicBezTo>
                  <a:cubicBezTo>
                    <a:pt x="557" y="227"/>
                    <a:pt x="557" y="227"/>
                    <a:pt x="558" y="227"/>
                  </a:cubicBezTo>
                  <a:cubicBezTo>
                    <a:pt x="558" y="227"/>
                    <a:pt x="558" y="227"/>
                    <a:pt x="559" y="226"/>
                  </a:cubicBezTo>
                  <a:cubicBezTo>
                    <a:pt x="559" y="226"/>
                    <a:pt x="559" y="226"/>
                    <a:pt x="559" y="225"/>
                  </a:cubicBezTo>
                  <a:cubicBezTo>
                    <a:pt x="558" y="225"/>
                    <a:pt x="558" y="225"/>
                    <a:pt x="558" y="225"/>
                  </a:cubicBezTo>
                  <a:cubicBezTo>
                    <a:pt x="557" y="225"/>
                    <a:pt x="557" y="225"/>
                    <a:pt x="557" y="225"/>
                  </a:cubicBezTo>
                  <a:cubicBezTo>
                    <a:pt x="557" y="225"/>
                    <a:pt x="557" y="225"/>
                    <a:pt x="558" y="225"/>
                  </a:cubicBezTo>
                  <a:cubicBezTo>
                    <a:pt x="558" y="225"/>
                    <a:pt x="558" y="224"/>
                    <a:pt x="558" y="224"/>
                  </a:cubicBezTo>
                  <a:cubicBezTo>
                    <a:pt x="557" y="224"/>
                    <a:pt x="557" y="224"/>
                    <a:pt x="557" y="224"/>
                  </a:cubicBezTo>
                  <a:cubicBezTo>
                    <a:pt x="557" y="224"/>
                    <a:pt x="557" y="223"/>
                    <a:pt x="557" y="223"/>
                  </a:cubicBezTo>
                  <a:cubicBezTo>
                    <a:pt x="557" y="223"/>
                    <a:pt x="557" y="222"/>
                    <a:pt x="557" y="222"/>
                  </a:cubicBezTo>
                  <a:cubicBezTo>
                    <a:pt x="556" y="223"/>
                    <a:pt x="556" y="222"/>
                    <a:pt x="555" y="222"/>
                  </a:cubicBezTo>
                  <a:cubicBezTo>
                    <a:pt x="554" y="222"/>
                    <a:pt x="554" y="222"/>
                    <a:pt x="554" y="223"/>
                  </a:cubicBezTo>
                  <a:cubicBezTo>
                    <a:pt x="553" y="223"/>
                    <a:pt x="553" y="223"/>
                    <a:pt x="552" y="223"/>
                  </a:cubicBezTo>
                  <a:cubicBezTo>
                    <a:pt x="552" y="223"/>
                    <a:pt x="552" y="223"/>
                    <a:pt x="553" y="222"/>
                  </a:cubicBezTo>
                  <a:cubicBezTo>
                    <a:pt x="554" y="222"/>
                    <a:pt x="553" y="222"/>
                    <a:pt x="553" y="222"/>
                  </a:cubicBezTo>
                  <a:cubicBezTo>
                    <a:pt x="552" y="221"/>
                    <a:pt x="552" y="222"/>
                    <a:pt x="552" y="222"/>
                  </a:cubicBezTo>
                  <a:cubicBezTo>
                    <a:pt x="551" y="222"/>
                    <a:pt x="552" y="222"/>
                    <a:pt x="551" y="223"/>
                  </a:cubicBezTo>
                  <a:cubicBezTo>
                    <a:pt x="552" y="223"/>
                    <a:pt x="551" y="222"/>
                    <a:pt x="551" y="222"/>
                  </a:cubicBezTo>
                  <a:cubicBezTo>
                    <a:pt x="551" y="222"/>
                    <a:pt x="550" y="222"/>
                    <a:pt x="550" y="222"/>
                  </a:cubicBezTo>
                  <a:cubicBezTo>
                    <a:pt x="550" y="222"/>
                    <a:pt x="549" y="222"/>
                    <a:pt x="549" y="222"/>
                  </a:cubicBezTo>
                  <a:cubicBezTo>
                    <a:pt x="548" y="222"/>
                    <a:pt x="549" y="223"/>
                    <a:pt x="548" y="223"/>
                  </a:cubicBezTo>
                  <a:cubicBezTo>
                    <a:pt x="548" y="223"/>
                    <a:pt x="548" y="223"/>
                    <a:pt x="548" y="223"/>
                  </a:cubicBezTo>
                  <a:cubicBezTo>
                    <a:pt x="548" y="223"/>
                    <a:pt x="547" y="223"/>
                    <a:pt x="547" y="223"/>
                  </a:cubicBezTo>
                  <a:cubicBezTo>
                    <a:pt x="545" y="223"/>
                    <a:pt x="546" y="223"/>
                    <a:pt x="544" y="223"/>
                  </a:cubicBezTo>
                  <a:cubicBezTo>
                    <a:pt x="543" y="223"/>
                    <a:pt x="542" y="223"/>
                    <a:pt x="542" y="223"/>
                  </a:cubicBezTo>
                  <a:cubicBezTo>
                    <a:pt x="541" y="223"/>
                    <a:pt x="540" y="224"/>
                    <a:pt x="541" y="223"/>
                  </a:cubicBezTo>
                  <a:cubicBezTo>
                    <a:pt x="541" y="223"/>
                    <a:pt x="540" y="223"/>
                    <a:pt x="541" y="223"/>
                  </a:cubicBezTo>
                  <a:cubicBezTo>
                    <a:pt x="541" y="223"/>
                    <a:pt x="541" y="223"/>
                    <a:pt x="542" y="223"/>
                  </a:cubicBezTo>
                  <a:cubicBezTo>
                    <a:pt x="542" y="222"/>
                    <a:pt x="540" y="222"/>
                    <a:pt x="540" y="222"/>
                  </a:cubicBezTo>
                  <a:cubicBezTo>
                    <a:pt x="540" y="222"/>
                    <a:pt x="541" y="222"/>
                    <a:pt x="542" y="222"/>
                  </a:cubicBezTo>
                  <a:cubicBezTo>
                    <a:pt x="542" y="221"/>
                    <a:pt x="543" y="221"/>
                    <a:pt x="544" y="220"/>
                  </a:cubicBezTo>
                  <a:cubicBezTo>
                    <a:pt x="545" y="220"/>
                    <a:pt x="544" y="220"/>
                    <a:pt x="544" y="219"/>
                  </a:cubicBezTo>
                  <a:cubicBezTo>
                    <a:pt x="545" y="219"/>
                    <a:pt x="543" y="219"/>
                    <a:pt x="543" y="219"/>
                  </a:cubicBezTo>
                  <a:cubicBezTo>
                    <a:pt x="543" y="219"/>
                    <a:pt x="542" y="219"/>
                    <a:pt x="541" y="219"/>
                  </a:cubicBezTo>
                  <a:cubicBezTo>
                    <a:pt x="541" y="219"/>
                    <a:pt x="540" y="219"/>
                    <a:pt x="540" y="219"/>
                  </a:cubicBezTo>
                  <a:cubicBezTo>
                    <a:pt x="541" y="218"/>
                    <a:pt x="539" y="220"/>
                    <a:pt x="539" y="219"/>
                  </a:cubicBezTo>
                  <a:cubicBezTo>
                    <a:pt x="539" y="219"/>
                    <a:pt x="539" y="218"/>
                    <a:pt x="538" y="219"/>
                  </a:cubicBezTo>
                  <a:cubicBezTo>
                    <a:pt x="537" y="219"/>
                    <a:pt x="539" y="220"/>
                    <a:pt x="538" y="220"/>
                  </a:cubicBezTo>
                  <a:cubicBezTo>
                    <a:pt x="537" y="220"/>
                    <a:pt x="538" y="220"/>
                    <a:pt x="537" y="220"/>
                  </a:cubicBezTo>
                  <a:cubicBezTo>
                    <a:pt x="536" y="220"/>
                    <a:pt x="537" y="221"/>
                    <a:pt x="537" y="221"/>
                  </a:cubicBezTo>
                  <a:cubicBezTo>
                    <a:pt x="536" y="221"/>
                    <a:pt x="538" y="222"/>
                    <a:pt x="538" y="222"/>
                  </a:cubicBezTo>
                  <a:cubicBezTo>
                    <a:pt x="538" y="222"/>
                    <a:pt x="537" y="222"/>
                    <a:pt x="537" y="222"/>
                  </a:cubicBezTo>
                  <a:cubicBezTo>
                    <a:pt x="536" y="221"/>
                    <a:pt x="536" y="222"/>
                    <a:pt x="535" y="222"/>
                  </a:cubicBezTo>
                  <a:cubicBezTo>
                    <a:pt x="535" y="222"/>
                    <a:pt x="536" y="223"/>
                    <a:pt x="536" y="223"/>
                  </a:cubicBezTo>
                  <a:cubicBezTo>
                    <a:pt x="535" y="223"/>
                    <a:pt x="537" y="224"/>
                    <a:pt x="536" y="224"/>
                  </a:cubicBezTo>
                  <a:cubicBezTo>
                    <a:pt x="535" y="225"/>
                    <a:pt x="538" y="225"/>
                    <a:pt x="536" y="225"/>
                  </a:cubicBezTo>
                  <a:cubicBezTo>
                    <a:pt x="535" y="225"/>
                    <a:pt x="536" y="226"/>
                    <a:pt x="536" y="226"/>
                  </a:cubicBezTo>
                  <a:cubicBezTo>
                    <a:pt x="535" y="226"/>
                    <a:pt x="535" y="226"/>
                    <a:pt x="534" y="227"/>
                  </a:cubicBezTo>
                  <a:cubicBezTo>
                    <a:pt x="533" y="227"/>
                    <a:pt x="536" y="226"/>
                    <a:pt x="535" y="227"/>
                  </a:cubicBezTo>
                  <a:close/>
                  <a:moveTo>
                    <a:pt x="473" y="173"/>
                  </a:moveTo>
                  <a:cubicBezTo>
                    <a:pt x="475" y="171"/>
                    <a:pt x="474" y="173"/>
                    <a:pt x="477" y="172"/>
                  </a:cubicBezTo>
                  <a:cubicBezTo>
                    <a:pt x="480" y="171"/>
                    <a:pt x="483" y="172"/>
                    <a:pt x="483" y="171"/>
                  </a:cubicBezTo>
                  <a:cubicBezTo>
                    <a:pt x="482" y="170"/>
                    <a:pt x="488" y="171"/>
                    <a:pt x="487" y="170"/>
                  </a:cubicBezTo>
                  <a:cubicBezTo>
                    <a:pt x="486" y="169"/>
                    <a:pt x="493" y="170"/>
                    <a:pt x="492" y="169"/>
                  </a:cubicBezTo>
                  <a:cubicBezTo>
                    <a:pt x="491" y="168"/>
                    <a:pt x="497" y="168"/>
                    <a:pt x="496" y="167"/>
                  </a:cubicBezTo>
                  <a:cubicBezTo>
                    <a:pt x="495" y="167"/>
                    <a:pt x="500" y="166"/>
                    <a:pt x="499" y="166"/>
                  </a:cubicBezTo>
                  <a:cubicBezTo>
                    <a:pt x="498" y="165"/>
                    <a:pt x="499" y="166"/>
                    <a:pt x="496" y="166"/>
                  </a:cubicBezTo>
                  <a:cubicBezTo>
                    <a:pt x="493" y="166"/>
                    <a:pt x="490" y="164"/>
                    <a:pt x="489" y="165"/>
                  </a:cubicBezTo>
                  <a:cubicBezTo>
                    <a:pt x="488" y="165"/>
                    <a:pt x="486" y="166"/>
                    <a:pt x="485" y="166"/>
                  </a:cubicBezTo>
                  <a:cubicBezTo>
                    <a:pt x="484" y="166"/>
                    <a:pt x="488" y="165"/>
                    <a:pt x="485" y="165"/>
                  </a:cubicBezTo>
                  <a:cubicBezTo>
                    <a:pt x="481" y="165"/>
                    <a:pt x="484" y="164"/>
                    <a:pt x="486" y="163"/>
                  </a:cubicBezTo>
                  <a:cubicBezTo>
                    <a:pt x="488" y="162"/>
                    <a:pt x="491" y="163"/>
                    <a:pt x="489" y="161"/>
                  </a:cubicBezTo>
                  <a:cubicBezTo>
                    <a:pt x="487" y="160"/>
                    <a:pt x="482" y="161"/>
                    <a:pt x="485" y="160"/>
                  </a:cubicBezTo>
                  <a:cubicBezTo>
                    <a:pt x="488" y="160"/>
                    <a:pt x="489" y="161"/>
                    <a:pt x="491" y="161"/>
                  </a:cubicBezTo>
                  <a:cubicBezTo>
                    <a:pt x="492" y="162"/>
                    <a:pt x="495" y="161"/>
                    <a:pt x="496" y="163"/>
                  </a:cubicBezTo>
                  <a:cubicBezTo>
                    <a:pt x="497" y="164"/>
                    <a:pt x="501" y="166"/>
                    <a:pt x="502" y="164"/>
                  </a:cubicBezTo>
                  <a:cubicBezTo>
                    <a:pt x="502" y="163"/>
                    <a:pt x="504" y="164"/>
                    <a:pt x="504" y="162"/>
                  </a:cubicBezTo>
                  <a:cubicBezTo>
                    <a:pt x="504" y="160"/>
                    <a:pt x="503" y="159"/>
                    <a:pt x="502" y="160"/>
                  </a:cubicBezTo>
                  <a:cubicBezTo>
                    <a:pt x="502" y="161"/>
                    <a:pt x="501" y="158"/>
                    <a:pt x="500" y="159"/>
                  </a:cubicBezTo>
                  <a:cubicBezTo>
                    <a:pt x="499" y="160"/>
                    <a:pt x="499" y="160"/>
                    <a:pt x="498" y="160"/>
                  </a:cubicBezTo>
                  <a:cubicBezTo>
                    <a:pt x="496" y="160"/>
                    <a:pt x="497" y="158"/>
                    <a:pt x="495" y="159"/>
                  </a:cubicBezTo>
                  <a:cubicBezTo>
                    <a:pt x="494" y="159"/>
                    <a:pt x="495" y="157"/>
                    <a:pt x="493" y="158"/>
                  </a:cubicBezTo>
                  <a:cubicBezTo>
                    <a:pt x="491" y="158"/>
                    <a:pt x="491" y="157"/>
                    <a:pt x="493" y="156"/>
                  </a:cubicBezTo>
                  <a:cubicBezTo>
                    <a:pt x="496" y="156"/>
                    <a:pt x="495" y="155"/>
                    <a:pt x="498" y="156"/>
                  </a:cubicBezTo>
                  <a:cubicBezTo>
                    <a:pt x="501" y="157"/>
                    <a:pt x="501" y="155"/>
                    <a:pt x="504" y="156"/>
                  </a:cubicBezTo>
                  <a:cubicBezTo>
                    <a:pt x="506" y="157"/>
                    <a:pt x="511" y="156"/>
                    <a:pt x="510" y="155"/>
                  </a:cubicBezTo>
                  <a:cubicBezTo>
                    <a:pt x="508" y="153"/>
                    <a:pt x="511" y="156"/>
                    <a:pt x="512" y="155"/>
                  </a:cubicBezTo>
                  <a:cubicBezTo>
                    <a:pt x="514" y="153"/>
                    <a:pt x="514" y="154"/>
                    <a:pt x="512" y="153"/>
                  </a:cubicBezTo>
                  <a:cubicBezTo>
                    <a:pt x="510" y="151"/>
                    <a:pt x="515" y="152"/>
                    <a:pt x="513" y="150"/>
                  </a:cubicBezTo>
                  <a:cubicBezTo>
                    <a:pt x="511" y="149"/>
                    <a:pt x="511" y="148"/>
                    <a:pt x="513" y="148"/>
                  </a:cubicBezTo>
                  <a:cubicBezTo>
                    <a:pt x="515" y="147"/>
                    <a:pt x="513" y="149"/>
                    <a:pt x="516" y="148"/>
                  </a:cubicBezTo>
                  <a:cubicBezTo>
                    <a:pt x="519" y="147"/>
                    <a:pt x="523" y="146"/>
                    <a:pt x="520" y="146"/>
                  </a:cubicBezTo>
                  <a:cubicBezTo>
                    <a:pt x="517" y="146"/>
                    <a:pt x="517" y="145"/>
                    <a:pt x="515" y="146"/>
                  </a:cubicBezTo>
                  <a:cubicBezTo>
                    <a:pt x="513" y="147"/>
                    <a:pt x="514" y="146"/>
                    <a:pt x="516" y="145"/>
                  </a:cubicBezTo>
                  <a:cubicBezTo>
                    <a:pt x="519" y="143"/>
                    <a:pt x="518" y="146"/>
                    <a:pt x="520" y="144"/>
                  </a:cubicBezTo>
                  <a:cubicBezTo>
                    <a:pt x="523" y="143"/>
                    <a:pt x="519" y="143"/>
                    <a:pt x="521" y="142"/>
                  </a:cubicBezTo>
                  <a:cubicBezTo>
                    <a:pt x="523" y="141"/>
                    <a:pt x="520" y="141"/>
                    <a:pt x="522" y="140"/>
                  </a:cubicBezTo>
                  <a:cubicBezTo>
                    <a:pt x="525" y="138"/>
                    <a:pt x="523" y="138"/>
                    <a:pt x="520" y="139"/>
                  </a:cubicBezTo>
                  <a:cubicBezTo>
                    <a:pt x="518" y="139"/>
                    <a:pt x="516" y="137"/>
                    <a:pt x="514" y="139"/>
                  </a:cubicBezTo>
                  <a:cubicBezTo>
                    <a:pt x="512" y="141"/>
                    <a:pt x="514" y="141"/>
                    <a:pt x="512" y="143"/>
                  </a:cubicBezTo>
                  <a:cubicBezTo>
                    <a:pt x="510" y="144"/>
                    <a:pt x="507" y="146"/>
                    <a:pt x="509" y="144"/>
                  </a:cubicBezTo>
                  <a:cubicBezTo>
                    <a:pt x="511" y="142"/>
                    <a:pt x="513" y="141"/>
                    <a:pt x="511" y="141"/>
                  </a:cubicBezTo>
                  <a:cubicBezTo>
                    <a:pt x="509" y="140"/>
                    <a:pt x="507" y="142"/>
                    <a:pt x="507" y="142"/>
                  </a:cubicBezTo>
                  <a:cubicBezTo>
                    <a:pt x="507" y="142"/>
                    <a:pt x="507" y="140"/>
                    <a:pt x="510" y="140"/>
                  </a:cubicBezTo>
                  <a:cubicBezTo>
                    <a:pt x="512" y="139"/>
                    <a:pt x="510" y="139"/>
                    <a:pt x="509" y="138"/>
                  </a:cubicBezTo>
                  <a:cubicBezTo>
                    <a:pt x="508" y="138"/>
                    <a:pt x="506" y="138"/>
                    <a:pt x="506" y="138"/>
                  </a:cubicBezTo>
                  <a:cubicBezTo>
                    <a:pt x="505" y="138"/>
                    <a:pt x="505" y="140"/>
                    <a:pt x="504" y="140"/>
                  </a:cubicBezTo>
                  <a:cubicBezTo>
                    <a:pt x="504" y="139"/>
                    <a:pt x="503" y="138"/>
                    <a:pt x="500" y="139"/>
                  </a:cubicBezTo>
                  <a:cubicBezTo>
                    <a:pt x="498" y="139"/>
                    <a:pt x="496" y="137"/>
                    <a:pt x="493" y="139"/>
                  </a:cubicBezTo>
                  <a:cubicBezTo>
                    <a:pt x="490" y="140"/>
                    <a:pt x="491" y="137"/>
                    <a:pt x="487" y="138"/>
                  </a:cubicBezTo>
                  <a:cubicBezTo>
                    <a:pt x="483" y="139"/>
                    <a:pt x="483" y="137"/>
                    <a:pt x="479" y="138"/>
                  </a:cubicBezTo>
                  <a:cubicBezTo>
                    <a:pt x="476" y="138"/>
                    <a:pt x="477" y="135"/>
                    <a:pt x="471" y="137"/>
                  </a:cubicBezTo>
                  <a:cubicBezTo>
                    <a:pt x="466" y="139"/>
                    <a:pt x="466" y="139"/>
                    <a:pt x="467" y="138"/>
                  </a:cubicBezTo>
                  <a:cubicBezTo>
                    <a:pt x="469" y="136"/>
                    <a:pt x="465" y="137"/>
                    <a:pt x="460" y="138"/>
                  </a:cubicBezTo>
                  <a:cubicBezTo>
                    <a:pt x="455" y="139"/>
                    <a:pt x="457" y="137"/>
                    <a:pt x="454" y="138"/>
                  </a:cubicBezTo>
                  <a:cubicBezTo>
                    <a:pt x="452" y="139"/>
                    <a:pt x="452" y="137"/>
                    <a:pt x="450" y="138"/>
                  </a:cubicBezTo>
                  <a:cubicBezTo>
                    <a:pt x="447" y="139"/>
                    <a:pt x="446" y="137"/>
                    <a:pt x="444" y="137"/>
                  </a:cubicBezTo>
                  <a:cubicBezTo>
                    <a:pt x="441" y="138"/>
                    <a:pt x="440" y="139"/>
                    <a:pt x="437" y="138"/>
                  </a:cubicBezTo>
                  <a:cubicBezTo>
                    <a:pt x="433" y="137"/>
                    <a:pt x="431" y="137"/>
                    <a:pt x="432" y="139"/>
                  </a:cubicBezTo>
                  <a:cubicBezTo>
                    <a:pt x="432" y="140"/>
                    <a:pt x="428" y="138"/>
                    <a:pt x="424" y="139"/>
                  </a:cubicBezTo>
                  <a:cubicBezTo>
                    <a:pt x="420" y="140"/>
                    <a:pt x="421" y="137"/>
                    <a:pt x="418" y="139"/>
                  </a:cubicBezTo>
                  <a:cubicBezTo>
                    <a:pt x="416" y="140"/>
                    <a:pt x="415" y="137"/>
                    <a:pt x="412" y="138"/>
                  </a:cubicBezTo>
                  <a:cubicBezTo>
                    <a:pt x="409" y="139"/>
                    <a:pt x="408" y="138"/>
                    <a:pt x="406" y="139"/>
                  </a:cubicBezTo>
                  <a:cubicBezTo>
                    <a:pt x="404" y="140"/>
                    <a:pt x="403" y="139"/>
                    <a:pt x="400" y="140"/>
                  </a:cubicBezTo>
                  <a:cubicBezTo>
                    <a:pt x="397" y="141"/>
                    <a:pt x="397" y="139"/>
                    <a:pt x="394" y="140"/>
                  </a:cubicBezTo>
                  <a:cubicBezTo>
                    <a:pt x="390" y="141"/>
                    <a:pt x="389" y="140"/>
                    <a:pt x="384" y="140"/>
                  </a:cubicBezTo>
                  <a:cubicBezTo>
                    <a:pt x="379" y="141"/>
                    <a:pt x="384" y="142"/>
                    <a:pt x="380" y="142"/>
                  </a:cubicBezTo>
                  <a:cubicBezTo>
                    <a:pt x="376" y="143"/>
                    <a:pt x="379" y="144"/>
                    <a:pt x="376" y="144"/>
                  </a:cubicBezTo>
                  <a:cubicBezTo>
                    <a:pt x="374" y="145"/>
                    <a:pt x="375" y="145"/>
                    <a:pt x="372" y="145"/>
                  </a:cubicBezTo>
                  <a:cubicBezTo>
                    <a:pt x="368" y="145"/>
                    <a:pt x="368" y="144"/>
                    <a:pt x="364" y="146"/>
                  </a:cubicBezTo>
                  <a:cubicBezTo>
                    <a:pt x="360" y="147"/>
                    <a:pt x="364" y="146"/>
                    <a:pt x="365" y="147"/>
                  </a:cubicBezTo>
                  <a:cubicBezTo>
                    <a:pt x="367" y="148"/>
                    <a:pt x="370" y="148"/>
                    <a:pt x="373" y="147"/>
                  </a:cubicBezTo>
                  <a:cubicBezTo>
                    <a:pt x="376" y="147"/>
                    <a:pt x="371" y="148"/>
                    <a:pt x="375" y="148"/>
                  </a:cubicBezTo>
                  <a:cubicBezTo>
                    <a:pt x="379" y="148"/>
                    <a:pt x="378" y="148"/>
                    <a:pt x="373" y="149"/>
                  </a:cubicBezTo>
                  <a:cubicBezTo>
                    <a:pt x="368" y="149"/>
                    <a:pt x="370" y="149"/>
                    <a:pt x="367" y="150"/>
                  </a:cubicBezTo>
                  <a:cubicBezTo>
                    <a:pt x="363" y="152"/>
                    <a:pt x="363" y="151"/>
                    <a:pt x="366" y="152"/>
                  </a:cubicBezTo>
                  <a:cubicBezTo>
                    <a:pt x="369" y="153"/>
                    <a:pt x="368" y="152"/>
                    <a:pt x="370" y="151"/>
                  </a:cubicBezTo>
                  <a:cubicBezTo>
                    <a:pt x="372" y="150"/>
                    <a:pt x="372" y="151"/>
                    <a:pt x="374" y="151"/>
                  </a:cubicBezTo>
                  <a:cubicBezTo>
                    <a:pt x="377" y="150"/>
                    <a:pt x="376" y="151"/>
                    <a:pt x="379" y="151"/>
                  </a:cubicBezTo>
                  <a:cubicBezTo>
                    <a:pt x="383" y="150"/>
                    <a:pt x="385" y="152"/>
                    <a:pt x="387" y="152"/>
                  </a:cubicBezTo>
                  <a:cubicBezTo>
                    <a:pt x="389" y="151"/>
                    <a:pt x="388" y="152"/>
                    <a:pt x="390" y="152"/>
                  </a:cubicBezTo>
                  <a:cubicBezTo>
                    <a:pt x="392" y="152"/>
                    <a:pt x="394" y="153"/>
                    <a:pt x="393" y="153"/>
                  </a:cubicBezTo>
                  <a:cubicBezTo>
                    <a:pt x="391" y="154"/>
                    <a:pt x="396" y="154"/>
                    <a:pt x="394" y="155"/>
                  </a:cubicBezTo>
                  <a:cubicBezTo>
                    <a:pt x="393" y="156"/>
                    <a:pt x="397" y="156"/>
                    <a:pt x="396" y="157"/>
                  </a:cubicBezTo>
                  <a:cubicBezTo>
                    <a:pt x="394" y="157"/>
                    <a:pt x="397" y="158"/>
                    <a:pt x="395" y="159"/>
                  </a:cubicBezTo>
                  <a:cubicBezTo>
                    <a:pt x="393" y="159"/>
                    <a:pt x="394" y="160"/>
                    <a:pt x="392" y="161"/>
                  </a:cubicBezTo>
                  <a:cubicBezTo>
                    <a:pt x="391" y="161"/>
                    <a:pt x="391" y="161"/>
                    <a:pt x="391" y="162"/>
                  </a:cubicBezTo>
                  <a:cubicBezTo>
                    <a:pt x="391" y="163"/>
                    <a:pt x="391" y="163"/>
                    <a:pt x="394" y="163"/>
                  </a:cubicBezTo>
                  <a:cubicBezTo>
                    <a:pt x="395" y="163"/>
                    <a:pt x="396" y="163"/>
                    <a:pt x="396" y="162"/>
                  </a:cubicBezTo>
                  <a:cubicBezTo>
                    <a:pt x="396" y="163"/>
                    <a:pt x="397" y="163"/>
                    <a:pt x="399" y="163"/>
                  </a:cubicBezTo>
                  <a:cubicBezTo>
                    <a:pt x="400" y="162"/>
                    <a:pt x="402" y="161"/>
                    <a:pt x="400" y="163"/>
                  </a:cubicBezTo>
                  <a:cubicBezTo>
                    <a:pt x="398" y="164"/>
                    <a:pt x="404" y="163"/>
                    <a:pt x="402" y="163"/>
                  </a:cubicBezTo>
                  <a:cubicBezTo>
                    <a:pt x="401" y="164"/>
                    <a:pt x="405" y="164"/>
                    <a:pt x="403" y="165"/>
                  </a:cubicBezTo>
                  <a:cubicBezTo>
                    <a:pt x="402" y="165"/>
                    <a:pt x="399" y="164"/>
                    <a:pt x="397" y="164"/>
                  </a:cubicBezTo>
                  <a:cubicBezTo>
                    <a:pt x="396" y="165"/>
                    <a:pt x="396" y="164"/>
                    <a:pt x="394" y="165"/>
                  </a:cubicBezTo>
                  <a:cubicBezTo>
                    <a:pt x="392" y="165"/>
                    <a:pt x="393" y="166"/>
                    <a:pt x="394" y="166"/>
                  </a:cubicBezTo>
                  <a:cubicBezTo>
                    <a:pt x="395" y="166"/>
                    <a:pt x="397" y="167"/>
                    <a:pt x="398" y="167"/>
                  </a:cubicBezTo>
                  <a:cubicBezTo>
                    <a:pt x="399" y="167"/>
                    <a:pt x="401" y="166"/>
                    <a:pt x="402" y="167"/>
                  </a:cubicBezTo>
                  <a:cubicBezTo>
                    <a:pt x="403" y="168"/>
                    <a:pt x="401" y="168"/>
                    <a:pt x="402" y="169"/>
                  </a:cubicBezTo>
                  <a:cubicBezTo>
                    <a:pt x="403" y="169"/>
                    <a:pt x="399" y="169"/>
                    <a:pt x="400" y="170"/>
                  </a:cubicBezTo>
                  <a:cubicBezTo>
                    <a:pt x="400" y="171"/>
                    <a:pt x="397" y="170"/>
                    <a:pt x="395" y="171"/>
                  </a:cubicBezTo>
                  <a:cubicBezTo>
                    <a:pt x="394" y="172"/>
                    <a:pt x="399" y="172"/>
                    <a:pt x="397" y="173"/>
                  </a:cubicBezTo>
                  <a:cubicBezTo>
                    <a:pt x="395" y="174"/>
                    <a:pt x="395" y="171"/>
                    <a:pt x="393" y="172"/>
                  </a:cubicBezTo>
                  <a:cubicBezTo>
                    <a:pt x="390" y="173"/>
                    <a:pt x="388" y="173"/>
                    <a:pt x="390" y="174"/>
                  </a:cubicBezTo>
                  <a:cubicBezTo>
                    <a:pt x="391" y="175"/>
                    <a:pt x="385" y="175"/>
                    <a:pt x="387" y="176"/>
                  </a:cubicBezTo>
                  <a:cubicBezTo>
                    <a:pt x="389" y="177"/>
                    <a:pt x="385" y="177"/>
                    <a:pt x="387" y="178"/>
                  </a:cubicBezTo>
                  <a:cubicBezTo>
                    <a:pt x="389" y="180"/>
                    <a:pt x="389" y="180"/>
                    <a:pt x="387" y="180"/>
                  </a:cubicBezTo>
                  <a:cubicBezTo>
                    <a:pt x="385" y="180"/>
                    <a:pt x="384" y="180"/>
                    <a:pt x="386" y="182"/>
                  </a:cubicBezTo>
                  <a:cubicBezTo>
                    <a:pt x="388" y="184"/>
                    <a:pt x="385" y="187"/>
                    <a:pt x="387" y="187"/>
                  </a:cubicBezTo>
                  <a:cubicBezTo>
                    <a:pt x="390" y="186"/>
                    <a:pt x="391" y="184"/>
                    <a:pt x="392" y="185"/>
                  </a:cubicBezTo>
                  <a:cubicBezTo>
                    <a:pt x="390" y="185"/>
                    <a:pt x="390" y="186"/>
                    <a:pt x="390" y="187"/>
                  </a:cubicBezTo>
                  <a:cubicBezTo>
                    <a:pt x="389" y="188"/>
                    <a:pt x="387" y="187"/>
                    <a:pt x="388" y="188"/>
                  </a:cubicBezTo>
                  <a:cubicBezTo>
                    <a:pt x="388" y="190"/>
                    <a:pt x="387" y="191"/>
                    <a:pt x="389" y="192"/>
                  </a:cubicBezTo>
                  <a:cubicBezTo>
                    <a:pt x="391" y="193"/>
                    <a:pt x="389" y="194"/>
                    <a:pt x="391" y="194"/>
                  </a:cubicBezTo>
                  <a:cubicBezTo>
                    <a:pt x="394" y="194"/>
                    <a:pt x="391" y="197"/>
                    <a:pt x="393" y="197"/>
                  </a:cubicBezTo>
                  <a:cubicBezTo>
                    <a:pt x="396" y="197"/>
                    <a:pt x="394" y="199"/>
                    <a:pt x="396" y="199"/>
                  </a:cubicBezTo>
                  <a:cubicBezTo>
                    <a:pt x="399" y="200"/>
                    <a:pt x="398" y="201"/>
                    <a:pt x="399" y="200"/>
                  </a:cubicBezTo>
                  <a:cubicBezTo>
                    <a:pt x="401" y="200"/>
                    <a:pt x="401" y="199"/>
                    <a:pt x="403" y="199"/>
                  </a:cubicBezTo>
                  <a:cubicBezTo>
                    <a:pt x="404" y="198"/>
                    <a:pt x="401" y="200"/>
                    <a:pt x="404" y="200"/>
                  </a:cubicBezTo>
                  <a:cubicBezTo>
                    <a:pt x="407" y="201"/>
                    <a:pt x="404" y="201"/>
                    <a:pt x="406" y="202"/>
                  </a:cubicBezTo>
                  <a:cubicBezTo>
                    <a:pt x="408" y="202"/>
                    <a:pt x="405" y="203"/>
                    <a:pt x="408" y="203"/>
                  </a:cubicBezTo>
                  <a:cubicBezTo>
                    <a:pt x="411" y="203"/>
                    <a:pt x="413" y="204"/>
                    <a:pt x="412" y="201"/>
                  </a:cubicBezTo>
                  <a:cubicBezTo>
                    <a:pt x="411" y="199"/>
                    <a:pt x="417" y="199"/>
                    <a:pt x="415" y="199"/>
                  </a:cubicBezTo>
                  <a:cubicBezTo>
                    <a:pt x="413" y="198"/>
                    <a:pt x="419" y="197"/>
                    <a:pt x="417" y="197"/>
                  </a:cubicBezTo>
                  <a:cubicBezTo>
                    <a:pt x="416" y="196"/>
                    <a:pt x="421" y="195"/>
                    <a:pt x="419" y="194"/>
                  </a:cubicBezTo>
                  <a:cubicBezTo>
                    <a:pt x="416" y="192"/>
                    <a:pt x="422" y="192"/>
                    <a:pt x="421" y="191"/>
                  </a:cubicBezTo>
                  <a:cubicBezTo>
                    <a:pt x="420" y="190"/>
                    <a:pt x="425" y="190"/>
                    <a:pt x="424" y="189"/>
                  </a:cubicBezTo>
                  <a:cubicBezTo>
                    <a:pt x="424" y="189"/>
                    <a:pt x="428" y="188"/>
                    <a:pt x="427" y="187"/>
                  </a:cubicBezTo>
                  <a:cubicBezTo>
                    <a:pt x="426" y="186"/>
                    <a:pt x="431" y="187"/>
                    <a:pt x="430" y="185"/>
                  </a:cubicBezTo>
                  <a:cubicBezTo>
                    <a:pt x="428" y="184"/>
                    <a:pt x="427" y="182"/>
                    <a:pt x="430" y="183"/>
                  </a:cubicBezTo>
                  <a:cubicBezTo>
                    <a:pt x="432" y="184"/>
                    <a:pt x="435" y="183"/>
                    <a:pt x="434" y="183"/>
                  </a:cubicBezTo>
                  <a:cubicBezTo>
                    <a:pt x="432" y="182"/>
                    <a:pt x="434" y="180"/>
                    <a:pt x="436" y="180"/>
                  </a:cubicBezTo>
                  <a:cubicBezTo>
                    <a:pt x="438" y="180"/>
                    <a:pt x="442" y="181"/>
                    <a:pt x="441" y="179"/>
                  </a:cubicBezTo>
                  <a:cubicBezTo>
                    <a:pt x="440" y="178"/>
                    <a:pt x="444" y="178"/>
                    <a:pt x="445" y="179"/>
                  </a:cubicBezTo>
                  <a:cubicBezTo>
                    <a:pt x="445" y="180"/>
                    <a:pt x="445" y="180"/>
                    <a:pt x="445" y="180"/>
                  </a:cubicBezTo>
                  <a:cubicBezTo>
                    <a:pt x="445" y="180"/>
                    <a:pt x="450" y="180"/>
                    <a:pt x="449" y="179"/>
                  </a:cubicBezTo>
                  <a:cubicBezTo>
                    <a:pt x="448" y="177"/>
                    <a:pt x="451" y="177"/>
                    <a:pt x="453" y="177"/>
                  </a:cubicBezTo>
                  <a:cubicBezTo>
                    <a:pt x="455" y="178"/>
                    <a:pt x="456" y="175"/>
                    <a:pt x="458" y="176"/>
                  </a:cubicBezTo>
                  <a:cubicBezTo>
                    <a:pt x="460" y="177"/>
                    <a:pt x="459" y="172"/>
                    <a:pt x="462" y="173"/>
                  </a:cubicBezTo>
                  <a:cubicBezTo>
                    <a:pt x="465" y="173"/>
                    <a:pt x="463" y="170"/>
                    <a:pt x="464" y="171"/>
                  </a:cubicBezTo>
                  <a:cubicBezTo>
                    <a:pt x="466" y="171"/>
                    <a:pt x="466" y="174"/>
                    <a:pt x="468" y="173"/>
                  </a:cubicBezTo>
                  <a:cubicBezTo>
                    <a:pt x="470" y="172"/>
                    <a:pt x="471" y="174"/>
                    <a:pt x="473" y="173"/>
                  </a:cubicBezTo>
                  <a:close/>
                  <a:moveTo>
                    <a:pt x="351" y="252"/>
                  </a:moveTo>
                  <a:cubicBezTo>
                    <a:pt x="350" y="252"/>
                    <a:pt x="348" y="252"/>
                    <a:pt x="349" y="252"/>
                  </a:cubicBezTo>
                  <a:cubicBezTo>
                    <a:pt x="350" y="252"/>
                    <a:pt x="350" y="252"/>
                    <a:pt x="350" y="251"/>
                  </a:cubicBezTo>
                  <a:cubicBezTo>
                    <a:pt x="351" y="251"/>
                    <a:pt x="351" y="251"/>
                    <a:pt x="351" y="251"/>
                  </a:cubicBezTo>
                  <a:cubicBezTo>
                    <a:pt x="351" y="250"/>
                    <a:pt x="352" y="251"/>
                    <a:pt x="352" y="250"/>
                  </a:cubicBezTo>
                  <a:cubicBezTo>
                    <a:pt x="351" y="249"/>
                    <a:pt x="350" y="249"/>
                    <a:pt x="349" y="250"/>
                  </a:cubicBezTo>
                  <a:cubicBezTo>
                    <a:pt x="348" y="250"/>
                    <a:pt x="348" y="249"/>
                    <a:pt x="348" y="249"/>
                  </a:cubicBezTo>
                  <a:cubicBezTo>
                    <a:pt x="347" y="250"/>
                    <a:pt x="345" y="250"/>
                    <a:pt x="346" y="249"/>
                  </a:cubicBezTo>
                  <a:cubicBezTo>
                    <a:pt x="346" y="248"/>
                    <a:pt x="344" y="249"/>
                    <a:pt x="345" y="249"/>
                  </a:cubicBezTo>
                  <a:cubicBezTo>
                    <a:pt x="345" y="248"/>
                    <a:pt x="343" y="248"/>
                    <a:pt x="344" y="248"/>
                  </a:cubicBezTo>
                  <a:cubicBezTo>
                    <a:pt x="344" y="247"/>
                    <a:pt x="344" y="247"/>
                    <a:pt x="342" y="247"/>
                  </a:cubicBezTo>
                  <a:cubicBezTo>
                    <a:pt x="343" y="247"/>
                    <a:pt x="345" y="247"/>
                    <a:pt x="345" y="246"/>
                  </a:cubicBezTo>
                  <a:cubicBezTo>
                    <a:pt x="346" y="246"/>
                    <a:pt x="345" y="246"/>
                    <a:pt x="345" y="246"/>
                  </a:cubicBezTo>
                  <a:cubicBezTo>
                    <a:pt x="344" y="246"/>
                    <a:pt x="344" y="246"/>
                    <a:pt x="344" y="246"/>
                  </a:cubicBezTo>
                  <a:cubicBezTo>
                    <a:pt x="343" y="246"/>
                    <a:pt x="344" y="245"/>
                    <a:pt x="343" y="245"/>
                  </a:cubicBezTo>
                  <a:cubicBezTo>
                    <a:pt x="342" y="246"/>
                    <a:pt x="341" y="247"/>
                    <a:pt x="340" y="247"/>
                  </a:cubicBezTo>
                  <a:cubicBezTo>
                    <a:pt x="340" y="247"/>
                    <a:pt x="342" y="246"/>
                    <a:pt x="342" y="245"/>
                  </a:cubicBezTo>
                  <a:cubicBezTo>
                    <a:pt x="343" y="245"/>
                    <a:pt x="342" y="244"/>
                    <a:pt x="343" y="245"/>
                  </a:cubicBezTo>
                  <a:cubicBezTo>
                    <a:pt x="344" y="245"/>
                    <a:pt x="344" y="243"/>
                    <a:pt x="344" y="243"/>
                  </a:cubicBezTo>
                  <a:cubicBezTo>
                    <a:pt x="345" y="244"/>
                    <a:pt x="345" y="243"/>
                    <a:pt x="346" y="243"/>
                  </a:cubicBezTo>
                  <a:cubicBezTo>
                    <a:pt x="346" y="243"/>
                    <a:pt x="346" y="242"/>
                    <a:pt x="347" y="241"/>
                  </a:cubicBezTo>
                  <a:cubicBezTo>
                    <a:pt x="347" y="241"/>
                    <a:pt x="347" y="241"/>
                    <a:pt x="346" y="241"/>
                  </a:cubicBezTo>
                  <a:cubicBezTo>
                    <a:pt x="346" y="241"/>
                    <a:pt x="346" y="240"/>
                    <a:pt x="346" y="240"/>
                  </a:cubicBezTo>
                  <a:cubicBezTo>
                    <a:pt x="347" y="240"/>
                    <a:pt x="348" y="240"/>
                    <a:pt x="348" y="239"/>
                  </a:cubicBezTo>
                  <a:cubicBezTo>
                    <a:pt x="348" y="239"/>
                    <a:pt x="347" y="239"/>
                    <a:pt x="346" y="239"/>
                  </a:cubicBezTo>
                  <a:cubicBezTo>
                    <a:pt x="346" y="240"/>
                    <a:pt x="347" y="239"/>
                    <a:pt x="346" y="239"/>
                  </a:cubicBezTo>
                  <a:cubicBezTo>
                    <a:pt x="345" y="239"/>
                    <a:pt x="345" y="239"/>
                    <a:pt x="344" y="239"/>
                  </a:cubicBezTo>
                  <a:cubicBezTo>
                    <a:pt x="343" y="240"/>
                    <a:pt x="343" y="240"/>
                    <a:pt x="342" y="241"/>
                  </a:cubicBezTo>
                  <a:cubicBezTo>
                    <a:pt x="341" y="241"/>
                    <a:pt x="341" y="241"/>
                    <a:pt x="341" y="241"/>
                  </a:cubicBezTo>
                  <a:cubicBezTo>
                    <a:pt x="341" y="242"/>
                    <a:pt x="341" y="242"/>
                    <a:pt x="340" y="243"/>
                  </a:cubicBezTo>
                  <a:cubicBezTo>
                    <a:pt x="339" y="243"/>
                    <a:pt x="337" y="246"/>
                    <a:pt x="336" y="247"/>
                  </a:cubicBezTo>
                  <a:cubicBezTo>
                    <a:pt x="335" y="247"/>
                    <a:pt x="336" y="248"/>
                    <a:pt x="335" y="249"/>
                  </a:cubicBezTo>
                  <a:cubicBezTo>
                    <a:pt x="333" y="249"/>
                    <a:pt x="334" y="249"/>
                    <a:pt x="333" y="250"/>
                  </a:cubicBezTo>
                  <a:cubicBezTo>
                    <a:pt x="332" y="251"/>
                    <a:pt x="332" y="251"/>
                    <a:pt x="332" y="251"/>
                  </a:cubicBezTo>
                  <a:cubicBezTo>
                    <a:pt x="333" y="251"/>
                    <a:pt x="332" y="252"/>
                    <a:pt x="333" y="252"/>
                  </a:cubicBezTo>
                  <a:cubicBezTo>
                    <a:pt x="331" y="252"/>
                    <a:pt x="331" y="252"/>
                    <a:pt x="330" y="253"/>
                  </a:cubicBezTo>
                  <a:cubicBezTo>
                    <a:pt x="329" y="253"/>
                    <a:pt x="330" y="253"/>
                    <a:pt x="328" y="254"/>
                  </a:cubicBezTo>
                  <a:cubicBezTo>
                    <a:pt x="326" y="255"/>
                    <a:pt x="327" y="254"/>
                    <a:pt x="326" y="255"/>
                  </a:cubicBezTo>
                  <a:cubicBezTo>
                    <a:pt x="326" y="256"/>
                    <a:pt x="328" y="255"/>
                    <a:pt x="328" y="254"/>
                  </a:cubicBezTo>
                  <a:cubicBezTo>
                    <a:pt x="329" y="254"/>
                    <a:pt x="328" y="255"/>
                    <a:pt x="327" y="255"/>
                  </a:cubicBezTo>
                  <a:cubicBezTo>
                    <a:pt x="326" y="255"/>
                    <a:pt x="326" y="256"/>
                    <a:pt x="325" y="256"/>
                  </a:cubicBezTo>
                  <a:cubicBezTo>
                    <a:pt x="324" y="257"/>
                    <a:pt x="325" y="257"/>
                    <a:pt x="325" y="258"/>
                  </a:cubicBezTo>
                  <a:cubicBezTo>
                    <a:pt x="324" y="259"/>
                    <a:pt x="325" y="259"/>
                    <a:pt x="325" y="259"/>
                  </a:cubicBezTo>
                  <a:cubicBezTo>
                    <a:pt x="325" y="259"/>
                    <a:pt x="327" y="258"/>
                    <a:pt x="328" y="258"/>
                  </a:cubicBezTo>
                  <a:cubicBezTo>
                    <a:pt x="329" y="258"/>
                    <a:pt x="329" y="258"/>
                    <a:pt x="329" y="258"/>
                  </a:cubicBezTo>
                  <a:cubicBezTo>
                    <a:pt x="329" y="258"/>
                    <a:pt x="330" y="258"/>
                    <a:pt x="331" y="258"/>
                  </a:cubicBezTo>
                  <a:cubicBezTo>
                    <a:pt x="332" y="259"/>
                    <a:pt x="333" y="258"/>
                    <a:pt x="334" y="258"/>
                  </a:cubicBezTo>
                  <a:cubicBezTo>
                    <a:pt x="334" y="258"/>
                    <a:pt x="336" y="257"/>
                    <a:pt x="336" y="257"/>
                  </a:cubicBezTo>
                  <a:cubicBezTo>
                    <a:pt x="336" y="258"/>
                    <a:pt x="337" y="257"/>
                    <a:pt x="337" y="257"/>
                  </a:cubicBezTo>
                  <a:cubicBezTo>
                    <a:pt x="337" y="258"/>
                    <a:pt x="338" y="257"/>
                    <a:pt x="339" y="257"/>
                  </a:cubicBezTo>
                  <a:cubicBezTo>
                    <a:pt x="340" y="257"/>
                    <a:pt x="339" y="258"/>
                    <a:pt x="340" y="258"/>
                  </a:cubicBezTo>
                  <a:cubicBezTo>
                    <a:pt x="340" y="258"/>
                    <a:pt x="340" y="257"/>
                    <a:pt x="341" y="257"/>
                  </a:cubicBezTo>
                  <a:cubicBezTo>
                    <a:pt x="341" y="257"/>
                    <a:pt x="341" y="258"/>
                    <a:pt x="342" y="258"/>
                  </a:cubicBezTo>
                  <a:cubicBezTo>
                    <a:pt x="343" y="257"/>
                    <a:pt x="344" y="257"/>
                    <a:pt x="343" y="258"/>
                  </a:cubicBezTo>
                  <a:cubicBezTo>
                    <a:pt x="342" y="258"/>
                    <a:pt x="341" y="258"/>
                    <a:pt x="341" y="259"/>
                  </a:cubicBezTo>
                  <a:cubicBezTo>
                    <a:pt x="341" y="259"/>
                    <a:pt x="340" y="260"/>
                    <a:pt x="339" y="260"/>
                  </a:cubicBezTo>
                  <a:cubicBezTo>
                    <a:pt x="339" y="260"/>
                    <a:pt x="339" y="261"/>
                    <a:pt x="339" y="261"/>
                  </a:cubicBezTo>
                  <a:cubicBezTo>
                    <a:pt x="340" y="261"/>
                    <a:pt x="340" y="261"/>
                    <a:pt x="340" y="261"/>
                  </a:cubicBezTo>
                  <a:cubicBezTo>
                    <a:pt x="341" y="261"/>
                    <a:pt x="342" y="261"/>
                    <a:pt x="343" y="261"/>
                  </a:cubicBezTo>
                  <a:cubicBezTo>
                    <a:pt x="343" y="260"/>
                    <a:pt x="343" y="260"/>
                    <a:pt x="344" y="260"/>
                  </a:cubicBezTo>
                  <a:cubicBezTo>
                    <a:pt x="344" y="259"/>
                    <a:pt x="344" y="259"/>
                    <a:pt x="345" y="258"/>
                  </a:cubicBezTo>
                  <a:cubicBezTo>
                    <a:pt x="346" y="257"/>
                    <a:pt x="346" y="258"/>
                    <a:pt x="346" y="258"/>
                  </a:cubicBezTo>
                  <a:cubicBezTo>
                    <a:pt x="347" y="257"/>
                    <a:pt x="348" y="257"/>
                    <a:pt x="348" y="256"/>
                  </a:cubicBezTo>
                  <a:cubicBezTo>
                    <a:pt x="349" y="255"/>
                    <a:pt x="349" y="255"/>
                    <a:pt x="349" y="256"/>
                  </a:cubicBezTo>
                  <a:cubicBezTo>
                    <a:pt x="349" y="257"/>
                    <a:pt x="350" y="256"/>
                    <a:pt x="351" y="255"/>
                  </a:cubicBezTo>
                  <a:cubicBezTo>
                    <a:pt x="352" y="255"/>
                    <a:pt x="349" y="254"/>
                    <a:pt x="350" y="254"/>
                  </a:cubicBezTo>
                  <a:cubicBezTo>
                    <a:pt x="350" y="254"/>
                    <a:pt x="351" y="254"/>
                    <a:pt x="352" y="254"/>
                  </a:cubicBezTo>
                  <a:cubicBezTo>
                    <a:pt x="352" y="253"/>
                    <a:pt x="352" y="254"/>
                    <a:pt x="353" y="253"/>
                  </a:cubicBezTo>
                  <a:cubicBezTo>
                    <a:pt x="353" y="252"/>
                    <a:pt x="353" y="252"/>
                    <a:pt x="352" y="252"/>
                  </a:cubicBezTo>
                  <a:cubicBezTo>
                    <a:pt x="351" y="252"/>
                    <a:pt x="351" y="252"/>
                    <a:pt x="351" y="252"/>
                  </a:cubicBezTo>
                  <a:close/>
                  <a:moveTo>
                    <a:pt x="314" y="156"/>
                  </a:moveTo>
                  <a:cubicBezTo>
                    <a:pt x="312" y="157"/>
                    <a:pt x="312" y="157"/>
                    <a:pt x="313" y="158"/>
                  </a:cubicBezTo>
                  <a:cubicBezTo>
                    <a:pt x="313" y="159"/>
                    <a:pt x="313" y="159"/>
                    <a:pt x="314" y="160"/>
                  </a:cubicBezTo>
                  <a:cubicBezTo>
                    <a:pt x="315" y="160"/>
                    <a:pt x="317" y="159"/>
                    <a:pt x="318" y="159"/>
                  </a:cubicBezTo>
                  <a:cubicBezTo>
                    <a:pt x="319" y="158"/>
                    <a:pt x="320" y="158"/>
                    <a:pt x="322" y="158"/>
                  </a:cubicBezTo>
                  <a:cubicBezTo>
                    <a:pt x="324" y="157"/>
                    <a:pt x="320" y="157"/>
                    <a:pt x="319" y="156"/>
                  </a:cubicBezTo>
                  <a:cubicBezTo>
                    <a:pt x="317" y="155"/>
                    <a:pt x="316" y="156"/>
                    <a:pt x="314" y="156"/>
                  </a:cubicBezTo>
                  <a:close/>
                  <a:moveTo>
                    <a:pt x="271" y="157"/>
                  </a:moveTo>
                  <a:cubicBezTo>
                    <a:pt x="273" y="157"/>
                    <a:pt x="274" y="157"/>
                    <a:pt x="276" y="156"/>
                  </a:cubicBezTo>
                  <a:cubicBezTo>
                    <a:pt x="277" y="156"/>
                    <a:pt x="278" y="154"/>
                    <a:pt x="275" y="154"/>
                  </a:cubicBezTo>
                  <a:cubicBezTo>
                    <a:pt x="273" y="154"/>
                    <a:pt x="271" y="154"/>
                    <a:pt x="270" y="155"/>
                  </a:cubicBezTo>
                  <a:cubicBezTo>
                    <a:pt x="270" y="155"/>
                    <a:pt x="272" y="155"/>
                    <a:pt x="273" y="155"/>
                  </a:cubicBezTo>
                  <a:cubicBezTo>
                    <a:pt x="275" y="155"/>
                    <a:pt x="271" y="156"/>
                    <a:pt x="269" y="156"/>
                  </a:cubicBezTo>
                  <a:cubicBezTo>
                    <a:pt x="266" y="156"/>
                    <a:pt x="268" y="157"/>
                    <a:pt x="271" y="157"/>
                  </a:cubicBezTo>
                  <a:close/>
                  <a:moveTo>
                    <a:pt x="266" y="161"/>
                  </a:moveTo>
                  <a:cubicBezTo>
                    <a:pt x="269" y="161"/>
                    <a:pt x="271" y="162"/>
                    <a:pt x="272" y="161"/>
                  </a:cubicBezTo>
                  <a:cubicBezTo>
                    <a:pt x="273" y="160"/>
                    <a:pt x="275" y="159"/>
                    <a:pt x="277" y="158"/>
                  </a:cubicBezTo>
                  <a:cubicBezTo>
                    <a:pt x="279" y="158"/>
                    <a:pt x="276" y="158"/>
                    <a:pt x="274" y="158"/>
                  </a:cubicBezTo>
                  <a:cubicBezTo>
                    <a:pt x="272" y="158"/>
                    <a:pt x="268" y="157"/>
                    <a:pt x="266" y="158"/>
                  </a:cubicBezTo>
                  <a:cubicBezTo>
                    <a:pt x="265" y="159"/>
                    <a:pt x="263" y="158"/>
                    <a:pt x="263" y="160"/>
                  </a:cubicBezTo>
                  <a:cubicBezTo>
                    <a:pt x="263" y="161"/>
                    <a:pt x="261" y="162"/>
                    <a:pt x="262" y="162"/>
                  </a:cubicBezTo>
                  <a:cubicBezTo>
                    <a:pt x="262" y="163"/>
                    <a:pt x="263" y="163"/>
                    <a:pt x="264" y="163"/>
                  </a:cubicBezTo>
                  <a:cubicBezTo>
                    <a:pt x="264" y="163"/>
                    <a:pt x="266" y="162"/>
                    <a:pt x="265" y="162"/>
                  </a:cubicBezTo>
                  <a:cubicBezTo>
                    <a:pt x="265" y="161"/>
                    <a:pt x="263" y="160"/>
                    <a:pt x="266" y="161"/>
                  </a:cubicBezTo>
                  <a:close/>
                  <a:moveTo>
                    <a:pt x="360" y="175"/>
                  </a:moveTo>
                  <a:cubicBezTo>
                    <a:pt x="358" y="174"/>
                    <a:pt x="359" y="173"/>
                    <a:pt x="357" y="174"/>
                  </a:cubicBezTo>
                  <a:cubicBezTo>
                    <a:pt x="355" y="175"/>
                    <a:pt x="355" y="175"/>
                    <a:pt x="355" y="174"/>
                  </a:cubicBezTo>
                  <a:cubicBezTo>
                    <a:pt x="355" y="174"/>
                    <a:pt x="355" y="173"/>
                    <a:pt x="354" y="174"/>
                  </a:cubicBezTo>
                  <a:cubicBezTo>
                    <a:pt x="352" y="174"/>
                    <a:pt x="353" y="172"/>
                    <a:pt x="352" y="173"/>
                  </a:cubicBezTo>
                  <a:cubicBezTo>
                    <a:pt x="350" y="174"/>
                    <a:pt x="351" y="171"/>
                    <a:pt x="350" y="172"/>
                  </a:cubicBezTo>
                  <a:cubicBezTo>
                    <a:pt x="349" y="173"/>
                    <a:pt x="351" y="170"/>
                    <a:pt x="348" y="171"/>
                  </a:cubicBezTo>
                  <a:cubicBezTo>
                    <a:pt x="346" y="172"/>
                    <a:pt x="347" y="170"/>
                    <a:pt x="345" y="171"/>
                  </a:cubicBezTo>
                  <a:cubicBezTo>
                    <a:pt x="346" y="170"/>
                    <a:pt x="349" y="171"/>
                    <a:pt x="348" y="170"/>
                  </a:cubicBezTo>
                  <a:cubicBezTo>
                    <a:pt x="347" y="169"/>
                    <a:pt x="343" y="170"/>
                    <a:pt x="341" y="170"/>
                  </a:cubicBezTo>
                  <a:cubicBezTo>
                    <a:pt x="340" y="169"/>
                    <a:pt x="349" y="169"/>
                    <a:pt x="347" y="168"/>
                  </a:cubicBezTo>
                  <a:cubicBezTo>
                    <a:pt x="346" y="166"/>
                    <a:pt x="347" y="166"/>
                    <a:pt x="346" y="165"/>
                  </a:cubicBezTo>
                  <a:cubicBezTo>
                    <a:pt x="344" y="164"/>
                    <a:pt x="343" y="165"/>
                    <a:pt x="341" y="166"/>
                  </a:cubicBezTo>
                  <a:cubicBezTo>
                    <a:pt x="339" y="167"/>
                    <a:pt x="339" y="167"/>
                    <a:pt x="340" y="166"/>
                  </a:cubicBezTo>
                  <a:cubicBezTo>
                    <a:pt x="342" y="165"/>
                    <a:pt x="344" y="164"/>
                    <a:pt x="343" y="164"/>
                  </a:cubicBezTo>
                  <a:cubicBezTo>
                    <a:pt x="342" y="164"/>
                    <a:pt x="341" y="163"/>
                    <a:pt x="340" y="164"/>
                  </a:cubicBezTo>
                  <a:cubicBezTo>
                    <a:pt x="338" y="165"/>
                    <a:pt x="340" y="161"/>
                    <a:pt x="338" y="162"/>
                  </a:cubicBezTo>
                  <a:cubicBezTo>
                    <a:pt x="337" y="163"/>
                    <a:pt x="337" y="161"/>
                    <a:pt x="334" y="162"/>
                  </a:cubicBezTo>
                  <a:cubicBezTo>
                    <a:pt x="333" y="162"/>
                    <a:pt x="331" y="161"/>
                    <a:pt x="330" y="161"/>
                  </a:cubicBezTo>
                  <a:cubicBezTo>
                    <a:pt x="329" y="161"/>
                    <a:pt x="329" y="159"/>
                    <a:pt x="326" y="159"/>
                  </a:cubicBezTo>
                  <a:cubicBezTo>
                    <a:pt x="323" y="159"/>
                    <a:pt x="319" y="159"/>
                    <a:pt x="322" y="161"/>
                  </a:cubicBezTo>
                  <a:cubicBezTo>
                    <a:pt x="324" y="162"/>
                    <a:pt x="320" y="161"/>
                    <a:pt x="322" y="163"/>
                  </a:cubicBezTo>
                  <a:cubicBezTo>
                    <a:pt x="321" y="162"/>
                    <a:pt x="320" y="161"/>
                    <a:pt x="319" y="161"/>
                  </a:cubicBezTo>
                  <a:cubicBezTo>
                    <a:pt x="319" y="162"/>
                    <a:pt x="319" y="158"/>
                    <a:pt x="317" y="160"/>
                  </a:cubicBezTo>
                  <a:cubicBezTo>
                    <a:pt x="315" y="162"/>
                    <a:pt x="316" y="159"/>
                    <a:pt x="314" y="161"/>
                  </a:cubicBezTo>
                  <a:cubicBezTo>
                    <a:pt x="313" y="163"/>
                    <a:pt x="310" y="163"/>
                    <a:pt x="311" y="162"/>
                  </a:cubicBezTo>
                  <a:cubicBezTo>
                    <a:pt x="312" y="161"/>
                    <a:pt x="314" y="160"/>
                    <a:pt x="312" y="160"/>
                  </a:cubicBezTo>
                  <a:cubicBezTo>
                    <a:pt x="310" y="160"/>
                    <a:pt x="312" y="159"/>
                    <a:pt x="312" y="158"/>
                  </a:cubicBezTo>
                  <a:cubicBezTo>
                    <a:pt x="311" y="158"/>
                    <a:pt x="312" y="157"/>
                    <a:pt x="310" y="157"/>
                  </a:cubicBezTo>
                  <a:cubicBezTo>
                    <a:pt x="309" y="157"/>
                    <a:pt x="306" y="157"/>
                    <a:pt x="303" y="158"/>
                  </a:cubicBezTo>
                  <a:cubicBezTo>
                    <a:pt x="300" y="159"/>
                    <a:pt x="300" y="158"/>
                    <a:pt x="299" y="159"/>
                  </a:cubicBezTo>
                  <a:cubicBezTo>
                    <a:pt x="297" y="160"/>
                    <a:pt x="292" y="160"/>
                    <a:pt x="295" y="160"/>
                  </a:cubicBezTo>
                  <a:cubicBezTo>
                    <a:pt x="297" y="160"/>
                    <a:pt x="288" y="161"/>
                    <a:pt x="293" y="163"/>
                  </a:cubicBezTo>
                  <a:cubicBezTo>
                    <a:pt x="295" y="164"/>
                    <a:pt x="287" y="162"/>
                    <a:pt x="288" y="166"/>
                  </a:cubicBezTo>
                  <a:cubicBezTo>
                    <a:pt x="286" y="165"/>
                    <a:pt x="287" y="163"/>
                    <a:pt x="288" y="163"/>
                  </a:cubicBezTo>
                  <a:cubicBezTo>
                    <a:pt x="290" y="162"/>
                    <a:pt x="290" y="161"/>
                    <a:pt x="291" y="160"/>
                  </a:cubicBezTo>
                  <a:cubicBezTo>
                    <a:pt x="293" y="159"/>
                    <a:pt x="294" y="158"/>
                    <a:pt x="291" y="158"/>
                  </a:cubicBezTo>
                  <a:cubicBezTo>
                    <a:pt x="287" y="158"/>
                    <a:pt x="286" y="158"/>
                    <a:pt x="283" y="159"/>
                  </a:cubicBezTo>
                  <a:cubicBezTo>
                    <a:pt x="282" y="159"/>
                    <a:pt x="281" y="160"/>
                    <a:pt x="280" y="160"/>
                  </a:cubicBezTo>
                  <a:cubicBezTo>
                    <a:pt x="278" y="162"/>
                    <a:pt x="279" y="162"/>
                    <a:pt x="276" y="163"/>
                  </a:cubicBezTo>
                  <a:cubicBezTo>
                    <a:pt x="272" y="165"/>
                    <a:pt x="277" y="166"/>
                    <a:pt x="275" y="166"/>
                  </a:cubicBezTo>
                  <a:cubicBezTo>
                    <a:pt x="270" y="166"/>
                    <a:pt x="275" y="170"/>
                    <a:pt x="278" y="169"/>
                  </a:cubicBezTo>
                  <a:cubicBezTo>
                    <a:pt x="282" y="168"/>
                    <a:pt x="281" y="169"/>
                    <a:pt x="283" y="168"/>
                  </a:cubicBezTo>
                  <a:cubicBezTo>
                    <a:pt x="285" y="167"/>
                    <a:pt x="284" y="168"/>
                    <a:pt x="286" y="168"/>
                  </a:cubicBezTo>
                  <a:cubicBezTo>
                    <a:pt x="288" y="168"/>
                    <a:pt x="288" y="169"/>
                    <a:pt x="289" y="168"/>
                  </a:cubicBezTo>
                  <a:cubicBezTo>
                    <a:pt x="291" y="167"/>
                    <a:pt x="291" y="167"/>
                    <a:pt x="291" y="167"/>
                  </a:cubicBezTo>
                  <a:cubicBezTo>
                    <a:pt x="290" y="168"/>
                    <a:pt x="290" y="169"/>
                    <a:pt x="291" y="168"/>
                  </a:cubicBezTo>
                  <a:cubicBezTo>
                    <a:pt x="293" y="168"/>
                    <a:pt x="292" y="169"/>
                    <a:pt x="293" y="169"/>
                  </a:cubicBezTo>
                  <a:cubicBezTo>
                    <a:pt x="295" y="168"/>
                    <a:pt x="295" y="170"/>
                    <a:pt x="296" y="170"/>
                  </a:cubicBezTo>
                  <a:cubicBezTo>
                    <a:pt x="297" y="169"/>
                    <a:pt x="296" y="167"/>
                    <a:pt x="297" y="168"/>
                  </a:cubicBezTo>
                  <a:cubicBezTo>
                    <a:pt x="299" y="169"/>
                    <a:pt x="298" y="170"/>
                    <a:pt x="300" y="169"/>
                  </a:cubicBezTo>
                  <a:cubicBezTo>
                    <a:pt x="302" y="169"/>
                    <a:pt x="298" y="168"/>
                    <a:pt x="299" y="167"/>
                  </a:cubicBezTo>
                  <a:cubicBezTo>
                    <a:pt x="301" y="167"/>
                    <a:pt x="301" y="169"/>
                    <a:pt x="303" y="168"/>
                  </a:cubicBezTo>
                  <a:cubicBezTo>
                    <a:pt x="305" y="168"/>
                    <a:pt x="303" y="165"/>
                    <a:pt x="303" y="165"/>
                  </a:cubicBezTo>
                  <a:cubicBezTo>
                    <a:pt x="303" y="165"/>
                    <a:pt x="306" y="168"/>
                    <a:pt x="307" y="166"/>
                  </a:cubicBezTo>
                  <a:cubicBezTo>
                    <a:pt x="307" y="165"/>
                    <a:pt x="306" y="167"/>
                    <a:pt x="308" y="167"/>
                  </a:cubicBezTo>
                  <a:cubicBezTo>
                    <a:pt x="311" y="167"/>
                    <a:pt x="310" y="168"/>
                    <a:pt x="311" y="168"/>
                  </a:cubicBezTo>
                  <a:cubicBezTo>
                    <a:pt x="313" y="167"/>
                    <a:pt x="311" y="169"/>
                    <a:pt x="313" y="169"/>
                  </a:cubicBezTo>
                  <a:cubicBezTo>
                    <a:pt x="314" y="169"/>
                    <a:pt x="316" y="170"/>
                    <a:pt x="315" y="170"/>
                  </a:cubicBezTo>
                  <a:cubicBezTo>
                    <a:pt x="313" y="170"/>
                    <a:pt x="312" y="172"/>
                    <a:pt x="314" y="172"/>
                  </a:cubicBezTo>
                  <a:cubicBezTo>
                    <a:pt x="316" y="172"/>
                    <a:pt x="315" y="170"/>
                    <a:pt x="316" y="170"/>
                  </a:cubicBezTo>
                  <a:cubicBezTo>
                    <a:pt x="317" y="171"/>
                    <a:pt x="318" y="170"/>
                    <a:pt x="319" y="171"/>
                  </a:cubicBezTo>
                  <a:cubicBezTo>
                    <a:pt x="320" y="172"/>
                    <a:pt x="321" y="171"/>
                    <a:pt x="321" y="172"/>
                  </a:cubicBezTo>
                  <a:cubicBezTo>
                    <a:pt x="321" y="173"/>
                    <a:pt x="323" y="175"/>
                    <a:pt x="321" y="175"/>
                  </a:cubicBezTo>
                  <a:cubicBezTo>
                    <a:pt x="319" y="176"/>
                    <a:pt x="319" y="175"/>
                    <a:pt x="317" y="176"/>
                  </a:cubicBezTo>
                  <a:cubicBezTo>
                    <a:pt x="315" y="177"/>
                    <a:pt x="312" y="178"/>
                    <a:pt x="314" y="178"/>
                  </a:cubicBezTo>
                  <a:cubicBezTo>
                    <a:pt x="316" y="179"/>
                    <a:pt x="317" y="180"/>
                    <a:pt x="319" y="179"/>
                  </a:cubicBezTo>
                  <a:cubicBezTo>
                    <a:pt x="320" y="178"/>
                    <a:pt x="322" y="176"/>
                    <a:pt x="322" y="177"/>
                  </a:cubicBezTo>
                  <a:cubicBezTo>
                    <a:pt x="322" y="179"/>
                    <a:pt x="322" y="179"/>
                    <a:pt x="324" y="179"/>
                  </a:cubicBezTo>
                  <a:cubicBezTo>
                    <a:pt x="327" y="179"/>
                    <a:pt x="325" y="180"/>
                    <a:pt x="323" y="180"/>
                  </a:cubicBezTo>
                  <a:cubicBezTo>
                    <a:pt x="321" y="181"/>
                    <a:pt x="321" y="180"/>
                    <a:pt x="319" y="181"/>
                  </a:cubicBezTo>
                  <a:cubicBezTo>
                    <a:pt x="317" y="183"/>
                    <a:pt x="316" y="183"/>
                    <a:pt x="316" y="183"/>
                  </a:cubicBezTo>
                  <a:cubicBezTo>
                    <a:pt x="317" y="182"/>
                    <a:pt x="316" y="182"/>
                    <a:pt x="317" y="181"/>
                  </a:cubicBezTo>
                  <a:cubicBezTo>
                    <a:pt x="318" y="180"/>
                    <a:pt x="318" y="180"/>
                    <a:pt x="316" y="179"/>
                  </a:cubicBezTo>
                  <a:cubicBezTo>
                    <a:pt x="315" y="179"/>
                    <a:pt x="313" y="178"/>
                    <a:pt x="312" y="179"/>
                  </a:cubicBezTo>
                  <a:cubicBezTo>
                    <a:pt x="311" y="179"/>
                    <a:pt x="309" y="179"/>
                    <a:pt x="308" y="180"/>
                  </a:cubicBezTo>
                  <a:cubicBezTo>
                    <a:pt x="308" y="181"/>
                    <a:pt x="311" y="181"/>
                    <a:pt x="312" y="182"/>
                  </a:cubicBezTo>
                  <a:cubicBezTo>
                    <a:pt x="309" y="182"/>
                    <a:pt x="307" y="181"/>
                    <a:pt x="307" y="182"/>
                  </a:cubicBezTo>
                  <a:cubicBezTo>
                    <a:pt x="308" y="183"/>
                    <a:pt x="303" y="182"/>
                    <a:pt x="304" y="183"/>
                  </a:cubicBezTo>
                  <a:cubicBezTo>
                    <a:pt x="306" y="184"/>
                    <a:pt x="299" y="182"/>
                    <a:pt x="300" y="183"/>
                  </a:cubicBezTo>
                  <a:cubicBezTo>
                    <a:pt x="302" y="184"/>
                    <a:pt x="291" y="182"/>
                    <a:pt x="295" y="184"/>
                  </a:cubicBezTo>
                  <a:cubicBezTo>
                    <a:pt x="298" y="186"/>
                    <a:pt x="288" y="183"/>
                    <a:pt x="291" y="185"/>
                  </a:cubicBezTo>
                  <a:cubicBezTo>
                    <a:pt x="294" y="186"/>
                    <a:pt x="291" y="185"/>
                    <a:pt x="290" y="187"/>
                  </a:cubicBezTo>
                  <a:cubicBezTo>
                    <a:pt x="289" y="189"/>
                    <a:pt x="290" y="188"/>
                    <a:pt x="290" y="189"/>
                  </a:cubicBezTo>
                  <a:cubicBezTo>
                    <a:pt x="289" y="190"/>
                    <a:pt x="291" y="190"/>
                    <a:pt x="292" y="190"/>
                  </a:cubicBezTo>
                  <a:cubicBezTo>
                    <a:pt x="292" y="190"/>
                    <a:pt x="295" y="191"/>
                    <a:pt x="294" y="190"/>
                  </a:cubicBezTo>
                  <a:cubicBezTo>
                    <a:pt x="293" y="189"/>
                    <a:pt x="296" y="189"/>
                    <a:pt x="295" y="189"/>
                  </a:cubicBezTo>
                  <a:cubicBezTo>
                    <a:pt x="294" y="188"/>
                    <a:pt x="298" y="189"/>
                    <a:pt x="297" y="188"/>
                  </a:cubicBezTo>
                  <a:cubicBezTo>
                    <a:pt x="295" y="187"/>
                    <a:pt x="302" y="191"/>
                    <a:pt x="301" y="189"/>
                  </a:cubicBezTo>
                  <a:cubicBezTo>
                    <a:pt x="300" y="188"/>
                    <a:pt x="299" y="186"/>
                    <a:pt x="300" y="187"/>
                  </a:cubicBezTo>
                  <a:cubicBezTo>
                    <a:pt x="301" y="188"/>
                    <a:pt x="302" y="189"/>
                    <a:pt x="303" y="188"/>
                  </a:cubicBezTo>
                  <a:cubicBezTo>
                    <a:pt x="305" y="187"/>
                    <a:pt x="301" y="189"/>
                    <a:pt x="303" y="190"/>
                  </a:cubicBezTo>
                  <a:cubicBezTo>
                    <a:pt x="305" y="190"/>
                    <a:pt x="307" y="190"/>
                    <a:pt x="308" y="191"/>
                  </a:cubicBezTo>
                  <a:cubicBezTo>
                    <a:pt x="309" y="192"/>
                    <a:pt x="310" y="193"/>
                    <a:pt x="311" y="192"/>
                  </a:cubicBezTo>
                  <a:cubicBezTo>
                    <a:pt x="312" y="191"/>
                    <a:pt x="310" y="193"/>
                    <a:pt x="312" y="193"/>
                  </a:cubicBezTo>
                  <a:cubicBezTo>
                    <a:pt x="315" y="193"/>
                    <a:pt x="317" y="195"/>
                    <a:pt x="317" y="194"/>
                  </a:cubicBezTo>
                  <a:cubicBezTo>
                    <a:pt x="318" y="191"/>
                    <a:pt x="317" y="193"/>
                    <a:pt x="318" y="193"/>
                  </a:cubicBezTo>
                  <a:cubicBezTo>
                    <a:pt x="319" y="193"/>
                    <a:pt x="320" y="192"/>
                    <a:pt x="321" y="193"/>
                  </a:cubicBezTo>
                  <a:cubicBezTo>
                    <a:pt x="321" y="194"/>
                    <a:pt x="326" y="195"/>
                    <a:pt x="327" y="194"/>
                  </a:cubicBezTo>
                  <a:cubicBezTo>
                    <a:pt x="328" y="194"/>
                    <a:pt x="330" y="196"/>
                    <a:pt x="331" y="195"/>
                  </a:cubicBezTo>
                  <a:cubicBezTo>
                    <a:pt x="332" y="194"/>
                    <a:pt x="330" y="194"/>
                    <a:pt x="331" y="193"/>
                  </a:cubicBezTo>
                  <a:cubicBezTo>
                    <a:pt x="332" y="193"/>
                    <a:pt x="332" y="192"/>
                    <a:pt x="330" y="192"/>
                  </a:cubicBezTo>
                  <a:cubicBezTo>
                    <a:pt x="328" y="192"/>
                    <a:pt x="330" y="190"/>
                    <a:pt x="327" y="190"/>
                  </a:cubicBezTo>
                  <a:cubicBezTo>
                    <a:pt x="326" y="191"/>
                    <a:pt x="328" y="189"/>
                    <a:pt x="324" y="188"/>
                  </a:cubicBezTo>
                  <a:cubicBezTo>
                    <a:pt x="327" y="189"/>
                    <a:pt x="329" y="190"/>
                    <a:pt x="330" y="189"/>
                  </a:cubicBezTo>
                  <a:cubicBezTo>
                    <a:pt x="330" y="188"/>
                    <a:pt x="332" y="190"/>
                    <a:pt x="333" y="190"/>
                  </a:cubicBezTo>
                  <a:cubicBezTo>
                    <a:pt x="333" y="189"/>
                    <a:pt x="335" y="190"/>
                    <a:pt x="336" y="190"/>
                  </a:cubicBezTo>
                  <a:cubicBezTo>
                    <a:pt x="336" y="189"/>
                    <a:pt x="337" y="189"/>
                    <a:pt x="336" y="188"/>
                  </a:cubicBezTo>
                  <a:cubicBezTo>
                    <a:pt x="335" y="188"/>
                    <a:pt x="337" y="187"/>
                    <a:pt x="336" y="186"/>
                  </a:cubicBezTo>
                  <a:cubicBezTo>
                    <a:pt x="334" y="186"/>
                    <a:pt x="338" y="186"/>
                    <a:pt x="335" y="185"/>
                  </a:cubicBezTo>
                  <a:cubicBezTo>
                    <a:pt x="333" y="184"/>
                    <a:pt x="334" y="183"/>
                    <a:pt x="332" y="183"/>
                  </a:cubicBezTo>
                  <a:cubicBezTo>
                    <a:pt x="330" y="183"/>
                    <a:pt x="329" y="183"/>
                    <a:pt x="331" y="182"/>
                  </a:cubicBezTo>
                  <a:cubicBezTo>
                    <a:pt x="332" y="182"/>
                    <a:pt x="329" y="180"/>
                    <a:pt x="331" y="181"/>
                  </a:cubicBezTo>
                  <a:cubicBezTo>
                    <a:pt x="335" y="182"/>
                    <a:pt x="331" y="178"/>
                    <a:pt x="332" y="179"/>
                  </a:cubicBezTo>
                  <a:cubicBezTo>
                    <a:pt x="334" y="180"/>
                    <a:pt x="333" y="180"/>
                    <a:pt x="335" y="180"/>
                  </a:cubicBezTo>
                  <a:cubicBezTo>
                    <a:pt x="336" y="179"/>
                    <a:pt x="337" y="179"/>
                    <a:pt x="337" y="180"/>
                  </a:cubicBezTo>
                  <a:cubicBezTo>
                    <a:pt x="337" y="182"/>
                    <a:pt x="338" y="180"/>
                    <a:pt x="338" y="181"/>
                  </a:cubicBezTo>
                  <a:cubicBezTo>
                    <a:pt x="339" y="181"/>
                    <a:pt x="340" y="180"/>
                    <a:pt x="341" y="179"/>
                  </a:cubicBezTo>
                  <a:cubicBezTo>
                    <a:pt x="342" y="178"/>
                    <a:pt x="339" y="181"/>
                    <a:pt x="341" y="182"/>
                  </a:cubicBezTo>
                  <a:cubicBezTo>
                    <a:pt x="343" y="182"/>
                    <a:pt x="341" y="183"/>
                    <a:pt x="342" y="183"/>
                  </a:cubicBezTo>
                  <a:cubicBezTo>
                    <a:pt x="343" y="182"/>
                    <a:pt x="342" y="185"/>
                    <a:pt x="344" y="184"/>
                  </a:cubicBezTo>
                  <a:cubicBezTo>
                    <a:pt x="346" y="184"/>
                    <a:pt x="345" y="183"/>
                    <a:pt x="344" y="182"/>
                  </a:cubicBezTo>
                  <a:cubicBezTo>
                    <a:pt x="344" y="181"/>
                    <a:pt x="347" y="183"/>
                    <a:pt x="346" y="181"/>
                  </a:cubicBezTo>
                  <a:cubicBezTo>
                    <a:pt x="345" y="180"/>
                    <a:pt x="348" y="183"/>
                    <a:pt x="347" y="180"/>
                  </a:cubicBezTo>
                  <a:cubicBezTo>
                    <a:pt x="346" y="178"/>
                    <a:pt x="350" y="181"/>
                    <a:pt x="349" y="180"/>
                  </a:cubicBezTo>
                  <a:cubicBezTo>
                    <a:pt x="349" y="178"/>
                    <a:pt x="353" y="180"/>
                    <a:pt x="352" y="178"/>
                  </a:cubicBezTo>
                  <a:cubicBezTo>
                    <a:pt x="351" y="177"/>
                    <a:pt x="356" y="179"/>
                    <a:pt x="355" y="177"/>
                  </a:cubicBezTo>
                  <a:cubicBezTo>
                    <a:pt x="354" y="175"/>
                    <a:pt x="360" y="178"/>
                    <a:pt x="359" y="177"/>
                  </a:cubicBezTo>
                  <a:cubicBezTo>
                    <a:pt x="358" y="175"/>
                    <a:pt x="362" y="176"/>
                    <a:pt x="360" y="175"/>
                  </a:cubicBezTo>
                  <a:close/>
                  <a:moveTo>
                    <a:pt x="468" y="1"/>
                  </a:moveTo>
                  <a:cubicBezTo>
                    <a:pt x="210" y="0"/>
                    <a:pt x="1" y="209"/>
                    <a:pt x="0" y="467"/>
                  </a:cubicBezTo>
                  <a:cubicBezTo>
                    <a:pt x="0" y="725"/>
                    <a:pt x="209" y="934"/>
                    <a:pt x="466" y="934"/>
                  </a:cubicBezTo>
                  <a:cubicBezTo>
                    <a:pt x="724" y="935"/>
                    <a:pt x="934" y="726"/>
                    <a:pt x="934" y="468"/>
                  </a:cubicBezTo>
                  <a:cubicBezTo>
                    <a:pt x="934" y="211"/>
                    <a:pt x="726" y="1"/>
                    <a:pt x="468" y="1"/>
                  </a:cubicBezTo>
                  <a:close/>
                  <a:moveTo>
                    <a:pt x="467" y="884"/>
                  </a:moveTo>
                  <a:cubicBezTo>
                    <a:pt x="236" y="884"/>
                    <a:pt x="50" y="697"/>
                    <a:pt x="51" y="467"/>
                  </a:cubicBezTo>
                  <a:cubicBezTo>
                    <a:pt x="51" y="237"/>
                    <a:pt x="238" y="51"/>
                    <a:pt x="468" y="51"/>
                  </a:cubicBezTo>
                  <a:cubicBezTo>
                    <a:pt x="698" y="51"/>
                    <a:pt x="884" y="238"/>
                    <a:pt x="884" y="468"/>
                  </a:cubicBezTo>
                  <a:cubicBezTo>
                    <a:pt x="883" y="698"/>
                    <a:pt x="697" y="884"/>
                    <a:pt x="467" y="884"/>
                  </a:cubicBezTo>
                  <a:close/>
                  <a:moveTo>
                    <a:pt x="596" y="306"/>
                  </a:moveTo>
                  <a:cubicBezTo>
                    <a:pt x="596" y="306"/>
                    <a:pt x="597" y="308"/>
                    <a:pt x="596" y="308"/>
                  </a:cubicBezTo>
                  <a:cubicBezTo>
                    <a:pt x="596" y="309"/>
                    <a:pt x="597" y="309"/>
                    <a:pt x="596" y="310"/>
                  </a:cubicBezTo>
                  <a:cubicBezTo>
                    <a:pt x="596" y="310"/>
                    <a:pt x="596" y="311"/>
                    <a:pt x="596" y="313"/>
                  </a:cubicBezTo>
                  <a:cubicBezTo>
                    <a:pt x="596" y="314"/>
                    <a:pt x="598" y="314"/>
                    <a:pt x="597" y="314"/>
                  </a:cubicBezTo>
                  <a:cubicBezTo>
                    <a:pt x="597" y="315"/>
                    <a:pt x="598" y="314"/>
                    <a:pt x="599" y="314"/>
                  </a:cubicBezTo>
                  <a:cubicBezTo>
                    <a:pt x="600" y="315"/>
                    <a:pt x="598" y="313"/>
                    <a:pt x="599" y="313"/>
                  </a:cubicBezTo>
                  <a:cubicBezTo>
                    <a:pt x="599" y="313"/>
                    <a:pt x="600" y="314"/>
                    <a:pt x="600" y="314"/>
                  </a:cubicBezTo>
                  <a:cubicBezTo>
                    <a:pt x="601" y="313"/>
                    <a:pt x="600" y="312"/>
                    <a:pt x="601" y="311"/>
                  </a:cubicBezTo>
                  <a:cubicBezTo>
                    <a:pt x="601" y="311"/>
                    <a:pt x="600" y="311"/>
                    <a:pt x="601" y="310"/>
                  </a:cubicBezTo>
                  <a:cubicBezTo>
                    <a:pt x="601" y="309"/>
                    <a:pt x="601" y="309"/>
                    <a:pt x="601" y="308"/>
                  </a:cubicBezTo>
                  <a:cubicBezTo>
                    <a:pt x="600" y="308"/>
                    <a:pt x="602" y="308"/>
                    <a:pt x="601" y="307"/>
                  </a:cubicBezTo>
                  <a:cubicBezTo>
                    <a:pt x="600" y="306"/>
                    <a:pt x="601" y="305"/>
                    <a:pt x="600" y="305"/>
                  </a:cubicBezTo>
                  <a:cubicBezTo>
                    <a:pt x="600" y="304"/>
                    <a:pt x="600" y="304"/>
                    <a:pt x="600" y="303"/>
                  </a:cubicBezTo>
                  <a:cubicBezTo>
                    <a:pt x="599" y="303"/>
                    <a:pt x="599" y="303"/>
                    <a:pt x="598" y="303"/>
                  </a:cubicBezTo>
                  <a:cubicBezTo>
                    <a:pt x="597" y="303"/>
                    <a:pt x="598" y="304"/>
                    <a:pt x="597" y="304"/>
                  </a:cubicBezTo>
                  <a:cubicBezTo>
                    <a:pt x="596" y="305"/>
                    <a:pt x="595" y="304"/>
                    <a:pt x="595" y="304"/>
                  </a:cubicBezTo>
                  <a:cubicBezTo>
                    <a:pt x="595" y="304"/>
                    <a:pt x="595" y="305"/>
                    <a:pt x="595" y="305"/>
                  </a:cubicBezTo>
                  <a:cubicBezTo>
                    <a:pt x="595" y="305"/>
                    <a:pt x="595" y="306"/>
                    <a:pt x="596" y="306"/>
                  </a:cubicBezTo>
                  <a:close/>
                  <a:moveTo>
                    <a:pt x="846" y="435"/>
                  </a:moveTo>
                  <a:cubicBezTo>
                    <a:pt x="845" y="424"/>
                    <a:pt x="844" y="414"/>
                    <a:pt x="842" y="403"/>
                  </a:cubicBezTo>
                  <a:cubicBezTo>
                    <a:pt x="842" y="403"/>
                    <a:pt x="842" y="403"/>
                    <a:pt x="842" y="403"/>
                  </a:cubicBezTo>
                  <a:cubicBezTo>
                    <a:pt x="842" y="402"/>
                    <a:pt x="840" y="402"/>
                    <a:pt x="838" y="400"/>
                  </a:cubicBezTo>
                  <a:cubicBezTo>
                    <a:pt x="836" y="397"/>
                    <a:pt x="838" y="395"/>
                    <a:pt x="837" y="395"/>
                  </a:cubicBezTo>
                  <a:cubicBezTo>
                    <a:pt x="835" y="396"/>
                    <a:pt x="838" y="392"/>
                    <a:pt x="836" y="392"/>
                  </a:cubicBezTo>
                  <a:cubicBezTo>
                    <a:pt x="834" y="392"/>
                    <a:pt x="836" y="393"/>
                    <a:pt x="833" y="395"/>
                  </a:cubicBezTo>
                  <a:cubicBezTo>
                    <a:pt x="831" y="396"/>
                    <a:pt x="833" y="397"/>
                    <a:pt x="828" y="400"/>
                  </a:cubicBezTo>
                  <a:cubicBezTo>
                    <a:pt x="826" y="402"/>
                    <a:pt x="828" y="403"/>
                    <a:pt x="827" y="402"/>
                  </a:cubicBezTo>
                  <a:cubicBezTo>
                    <a:pt x="826" y="402"/>
                    <a:pt x="827" y="403"/>
                    <a:pt x="825" y="403"/>
                  </a:cubicBezTo>
                  <a:cubicBezTo>
                    <a:pt x="824" y="402"/>
                    <a:pt x="825" y="403"/>
                    <a:pt x="823" y="403"/>
                  </a:cubicBezTo>
                  <a:cubicBezTo>
                    <a:pt x="821" y="403"/>
                    <a:pt x="824" y="403"/>
                    <a:pt x="821" y="403"/>
                  </a:cubicBezTo>
                  <a:cubicBezTo>
                    <a:pt x="817" y="403"/>
                    <a:pt x="816" y="404"/>
                    <a:pt x="816" y="404"/>
                  </a:cubicBezTo>
                  <a:cubicBezTo>
                    <a:pt x="814" y="403"/>
                    <a:pt x="815" y="400"/>
                    <a:pt x="814" y="400"/>
                  </a:cubicBezTo>
                  <a:cubicBezTo>
                    <a:pt x="813" y="401"/>
                    <a:pt x="813" y="401"/>
                    <a:pt x="814" y="400"/>
                  </a:cubicBezTo>
                  <a:cubicBezTo>
                    <a:pt x="815" y="399"/>
                    <a:pt x="813" y="400"/>
                    <a:pt x="814" y="399"/>
                  </a:cubicBezTo>
                  <a:cubicBezTo>
                    <a:pt x="815" y="398"/>
                    <a:pt x="812" y="396"/>
                    <a:pt x="813" y="395"/>
                  </a:cubicBezTo>
                  <a:cubicBezTo>
                    <a:pt x="815" y="394"/>
                    <a:pt x="812" y="392"/>
                    <a:pt x="811" y="392"/>
                  </a:cubicBezTo>
                  <a:cubicBezTo>
                    <a:pt x="810" y="391"/>
                    <a:pt x="810" y="392"/>
                    <a:pt x="809" y="393"/>
                  </a:cubicBezTo>
                  <a:cubicBezTo>
                    <a:pt x="809" y="394"/>
                    <a:pt x="809" y="392"/>
                    <a:pt x="809" y="393"/>
                  </a:cubicBezTo>
                  <a:cubicBezTo>
                    <a:pt x="808" y="393"/>
                    <a:pt x="808" y="394"/>
                    <a:pt x="810" y="397"/>
                  </a:cubicBezTo>
                  <a:cubicBezTo>
                    <a:pt x="808" y="396"/>
                    <a:pt x="807" y="395"/>
                    <a:pt x="807" y="394"/>
                  </a:cubicBezTo>
                  <a:cubicBezTo>
                    <a:pt x="807" y="393"/>
                    <a:pt x="805" y="392"/>
                    <a:pt x="805" y="390"/>
                  </a:cubicBezTo>
                  <a:cubicBezTo>
                    <a:pt x="806" y="388"/>
                    <a:pt x="805" y="388"/>
                    <a:pt x="804" y="388"/>
                  </a:cubicBezTo>
                  <a:cubicBezTo>
                    <a:pt x="804" y="386"/>
                    <a:pt x="804" y="387"/>
                    <a:pt x="802" y="385"/>
                  </a:cubicBezTo>
                  <a:cubicBezTo>
                    <a:pt x="800" y="383"/>
                    <a:pt x="799" y="384"/>
                    <a:pt x="800" y="383"/>
                  </a:cubicBezTo>
                  <a:cubicBezTo>
                    <a:pt x="801" y="383"/>
                    <a:pt x="799" y="382"/>
                    <a:pt x="798" y="383"/>
                  </a:cubicBezTo>
                  <a:cubicBezTo>
                    <a:pt x="798" y="382"/>
                    <a:pt x="798" y="382"/>
                    <a:pt x="795" y="377"/>
                  </a:cubicBezTo>
                  <a:cubicBezTo>
                    <a:pt x="793" y="373"/>
                    <a:pt x="792" y="373"/>
                    <a:pt x="791" y="373"/>
                  </a:cubicBezTo>
                  <a:cubicBezTo>
                    <a:pt x="790" y="371"/>
                    <a:pt x="794" y="371"/>
                    <a:pt x="793" y="370"/>
                  </a:cubicBezTo>
                  <a:cubicBezTo>
                    <a:pt x="793" y="370"/>
                    <a:pt x="794" y="368"/>
                    <a:pt x="791" y="368"/>
                  </a:cubicBezTo>
                  <a:cubicBezTo>
                    <a:pt x="792" y="367"/>
                    <a:pt x="792" y="366"/>
                    <a:pt x="793" y="368"/>
                  </a:cubicBezTo>
                  <a:cubicBezTo>
                    <a:pt x="795" y="370"/>
                    <a:pt x="794" y="368"/>
                    <a:pt x="795" y="368"/>
                  </a:cubicBezTo>
                  <a:cubicBezTo>
                    <a:pt x="797" y="367"/>
                    <a:pt x="795" y="367"/>
                    <a:pt x="796" y="366"/>
                  </a:cubicBezTo>
                  <a:cubicBezTo>
                    <a:pt x="796" y="367"/>
                    <a:pt x="796" y="367"/>
                    <a:pt x="798" y="368"/>
                  </a:cubicBezTo>
                  <a:cubicBezTo>
                    <a:pt x="800" y="370"/>
                    <a:pt x="800" y="365"/>
                    <a:pt x="803" y="370"/>
                  </a:cubicBezTo>
                  <a:cubicBezTo>
                    <a:pt x="805" y="374"/>
                    <a:pt x="806" y="372"/>
                    <a:pt x="806" y="373"/>
                  </a:cubicBezTo>
                  <a:cubicBezTo>
                    <a:pt x="806" y="375"/>
                    <a:pt x="809" y="375"/>
                    <a:pt x="809" y="378"/>
                  </a:cubicBezTo>
                  <a:cubicBezTo>
                    <a:pt x="810" y="380"/>
                    <a:pt x="810" y="379"/>
                    <a:pt x="811" y="380"/>
                  </a:cubicBezTo>
                  <a:cubicBezTo>
                    <a:pt x="813" y="381"/>
                    <a:pt x="813" y="380"/>
                    <a:pt x="814" y="381"/>
                  </a:cubicBezTo>
                  <a:cubicBezTo>
                    <a:pt x="815" y="383"/>
                    <a:pt x="815" y="381"/>
                    <a:pt x="816" y="383"/>
                  </a:cubicBezTo>
                  <a:cubicBezTo>
                    <a:pt x="817" y="385"/>
                    <a:pt x="817" y="383"/>
                    <a:pt x="819" y="386"/>
                  </a:cubicBezTo>
                  <a:cubicBezTo>
                    <a:pt x="821" y="389"/>
                    <a:pt x="822" y="386"/>
                    <a:pt x="824" y="388"/>
                  </a:cubicBezTo>
                  <a:cubicBezTo>
                    <a:pt x="827" y="389"/>
                    <a:pt x="828" y="387"/>
                    <a:pt x="830" y="387"/>
                  </a:cubicBezTo>
                  <a:cubicBezTo>
                    <a:pt x="832" y="388"/>
                    <a:pt x="832" y="385"/>
                    <a:pt x="836" y="386"/>
                  </a:cubicBezTo>
                  <a:cubicBezTo>
                    <a:pt x="840" y="387"/>
                    <a:pt x="838" y="388"/>
                    <a:pt x="840" y="390"/>
                  </a:cubicBezTo>
                  <a:cubicBezTo>
                    <a:pt x="824" y="312"/>
                    <a:pt x="784" y="243"/>
                    <a:pt x="728" y="191"/>
                  </a:cubicBezTo>
                  <a:cubicBezTo>
                    <a:pt x="729" y="192"/>
                    <a:pt x="729" y="191"/>
                    <a:pt x="728" y="192"/>
                  </a:cubicBezTo>
                  <a:cubicBezTo>
                    <a:pt x="728" y="194"/>
                    <a:pt x="728" y="192"/>
                    <a:pt x="727" y="193"/>
                  </a:cubicBezTo>
                  <a:cubicBezTo>
                    <a:pt x="725" y="193"/>
                    <a:pt x="725" y="192"/>
                    <a:pt x="725" y="193"/>
                  </a:cubicBezTo>
                  <a:cubicBezTo>
                    <a:pt x="724" y="193"/>
                    <a:pt x="723" y="192"/>
                    <a:pt x="722" y="193"/>
                  </a:cubicBezTo>
                  <a:cubicBezTo>
                    <a:pt x="722" y="193"/>
                    <a:pt x="721" y="192"/>
                    <a:pt x="719" y="191"/>
                  </a:cubicBezTo>
                  <a:cubicBezTo>
                    <a:pt x="718" y="191"/>
                    <a:pt x="716" y="189"/>
                    <a:pt x="718" y="190"/>
                  </a:cubicBezTo>
                  <a:cubicBezTo>
                    <a:pt x="721" y="190"/>
                    <a:pt x="719" y="189"/>
                    <a:pt x="718" y="188"/>
                  </a:cubicBezTo>
                  <a:cubicBezTo>
                    <a:pt x="716" y="188"/>
                    <a:pt x="718" y="187"/>
                    <a:pt x="716" y="187"/>
                  </a:cubicBezTo>
                  <a:cubicBezTo>
                    <a:pt x="712" y="186"/>
                    <a:pt x="710" y="185"/>
                    <a:pt x="710" y="185"/>
                  </a:cubicBezTo>
                  <a:cubicBezTo>
                    <a:pt x="709" y="186"/>
                    <a:pt x="711" y="186"/>
                    <a:pt x="713" y="188"/>
                  </a:cubicBezTo>
                  <a:cubicBezTo>
                    <a:pt x="715" y="191"/>
                    <a:pt x="713" y="191"/>
                    <a:pt x="715" y="191"/>
                  </a:cubicBezTo>
                  <a:cubicBezTo>
                    <a:pt x="716" y="191"/>
                    <a:pt x="716" y="191"/>
                    <a:pt x="716" y="192"/>
                  </a:cubicBezTo>
                  <a:cubicBezTo>
                    <a:pt x="716" y="193"/>
                    <a:pt x="717" y="196"/>
                    <a:pt x="716" y="195"/>
                  </a:cubicBezTo>
                  <a:cubicBezTo>
                    <a:pt x="715" y="194"/>
                    <a:pt x="712" y="196"/>
                    <a:pt x="714" y="195"/>
                  </a:cubicBezTo>
                  <a:cubicBezTo>
                    <a:pt x="715" y="193"/>
                    <a:pt x="712" y="194"/>
                    <a:pt x="711" y="194"/>
                  </a:cubicBezTo>
                  <a:cubicBezTo>
                    <a:pt x="709" y="194"/>
                    <a:pt x="711" y="192"/>
                    <a:pt x="706" y="193"/>
                  </a:cubicBezTo>
                  <a:cubicBezTo>
                    <a:pt x="704" y="194"/>
                    <a:pt x="704" y="194"/>
                    <a:pt x="703" y="194"/>
                  </a:cubicBezTo>
                  <a:cubicBezTo>
                    <a:pt x="701" y="196"/>
                    <a:pt x="701" y="195"/>
                    <a:pt x="701" y="196"/>
                  </a:cubicBezTo>
                  <a:cubicBezTo>
                    <a:pt x="700" y="197"/>
                    <a:pt x="707" y="198"/>
                    <a:pt x="707" y="199"/>
                  </a:cubicBezTo>
                  <a:cubicBezTo>
                    <a:pt x="706" y="200"/>
                    <a:pt x="705" y="199"/>
                    <a:pt x="704" y="199"/>
                  </a:cubicBezTo>
                  <a:cubicBezTo>
                    <a:pt x="701" y="200"/>
                    <a:pt x="702" y="198"/>
                    <a:pt x="697" y="199"/>
                  </a:cubicBezTo>
                  <a:cubicBezTo>
                    <a:pt x="695" y="199"/>
                    <a:pt x="699" y="198"/>
                    <a:pt x="696" y="198"/>
                  </a:cubicBezTo>
                  <a:cubicBezTo>
                    <a:pt x="693" y="198"/>
                    <a:pt x="693" y="197"/>
                    <a:pt x="693" y="198"/>
                  </a:cubicBezTo>
                  <a:cubicBezTo>
                    <a:pt x="692" y="198"/>
                    <a:pt x="691" y="198"/>
                    <a:pt x="692" y="199"/>
                  </a:cubicBezTo>
                  <a:cubicBezTo>
                    <a:pt x="694" y="199"/>
                    <a:pt x="691" y="200"/>
                    <a:pt x="695" y="200"/>
                  </a:cubicBezTo>
                  <a:cubicBezTo>
                    <a:pt x="698" y="200"/>
                    <a:pt x="699" y="201"/>
                    <a:pt x="698" y="201"/>
                  </a:cubicBezTo>
                  <a:cubicBezTo>
                    <a:pt x="697" y="201"/>
                    <a:pt x="697" y="203"/>
                    <a:pt x="697" y="202"/>
                  </a:cubicBezTo>
                  <a:cubicBezTo>
                    <a:pt x="695" y="201"/>
                    <a:pt x="692" y="202"/>
                    <a:pt x="691" y="201"/>
                  </a:cubicBezTo>
                  <a:cubicBezTo>
                    <a:pt x="690" y="200"/>
                    <a:pt x="689" y="200"/>
                    <a:pt x="687" y="200"/>
                  </a:cubicBezTo>
                  <a:cubicBezTo>
                    <a:pt x="683" y="199"/>
                    <a:pt x="687" y="200"/>
                    <a:pt x="686" y="199"/>
                  </a:cubicBezTo>
                  <a:cubicBezTo>
                    <a:pt x="684" y="198"/>
                    <a:pt x="686" y="198"/>
                    <a:pt x="685" y="197"/>
                  </a:cubicBezTo>
                  <a:cubicBezTo>
                    <a:pt x="683" y="197"/>
                    <a:pt x="684" y="197"/>
                    <a:pt x="684" y="196"/>
                  </a:cubicBezTo>
                  <a:cubicBezTo>
                    <a:pt x="683" y="196"/>
                    <a:pt x="684" y="196"/>
                    <a:pt x="684" y="195"/>
                  </a:cubicBezTo>
                  <a:cubicBezTo>
                    <a:pt x="684" y="194"/>
                    <a:pt x="683" y="195"/>
                    <a:pt x="682" y="194"/>
                  </a:cubicBezTo>
                  <a:cubicBezTo>
                    <a:pt x="680" y="193"/>
                    <a:pt x="680" y="194"/>
                    <a:pt x="678" y="193"/>
                  </a:cubicBezTo>
                  <a:cubicBezTo>
                    <a:pt x="675" y="192"/>
                    <a:pt x="679" y="193"/>
                    <a:pt x="676" y="192"/>
                  </a:cubicBezTo>
                  <a:cubicBezTo>
                    <a:pt x="674" y="191"/>
                    <a:pt x="675" y="191"/>
                    <a:pt x="675" y="191"/>
                  </a:cubicBezTo>
                  <a:cubicBezTo>
                    <a:pt x="675" y="191"/>
                    <a:pt x="671" y="191"/>
                    <a:pt x="671" y="190"/>
                  </a:cubicBezTo>
                  <a:cubicBezTo>
                    <a:pt x="671" y="189"/>
                    <a:pt x="671" y="190"/>
                    <a:pt x="673" y="190"/>
                  </a:cubicBezTo>
                  <a:cubicBezTo>
                    <a:pt x="675" y="190"/>
                    <a:pt x="675" y="191"/>
                    <a:pt x="675" y="190"/>
                  </a:cubicBezTo>
                  <a:cubicBezTo>
                    <a:pt x="677" y="190"/>
                    <a:pt x="676" y="191"/>
                    <a:pt x="677" y="191"/>
                  </a:cubicBezTo>
                  <a:cubicBezTo>
                    <a:pt x="678" y="190"/>
                    <a:pt x="678" y="192"/>
                    <a:pt x="679" y="191"/>
                  </a:cubicBezTo>
                  <a:cubicBezTo>
                    <a:pt x="681" y="190"/>
                    <a:pt x="678" y="192"/>
                    <a:pt x="689" y="193"/>
                  </a:cubicBezTo>
                  <a:cubicBezTo>
                    <a:pt x="698" y="194"/>
                    <a:pt x="699" y="195"/>
                    <a:pt x="700" y="195"/>
                  </a:cubicBezTo>
                  <a:cubicBezTo>
                    <a:pt x="703" y="194"/>
                    <a:pt x="703" y="192"/>
                    <a:pt x="704" y="192"/>
                  </a:cubicBezTo>
                  <a:cubicBezTo>
                    <a:pt x="705" y="192"/>
                    <a:pt x="704" y="192"/>
                    <a:pt x="704" y="191"/>
                  </a:cubicBezTo>
                  <a:cubicBezTo>
                    <a:pt x="705" y="191"/>
                    <a:pt x="702" y="189"/>
                    <a:pt x="702" y="189"/>
                  </a:cubicBezTo>
                  <a:cubicBezTo>
                    <a:pt x="701" y="189"/>
                    <a:pt x="701" y="188"/>
                    <a:pt x="700" y="188"/>
                  </a:cubicBezTo>
                  <a:cubicBezTo>
                    <a:pt x="699" y="188"/>
                    <a:pt x="696" y="186"/>
                    <a:pt x="693" y="186"/>
                  </a:cubicBezTo>
                  <a:cubicBezTo>
                    <a:pt x="691" y="187"/>
                    <a:pt x="685" y="184"/>
                    <a:pt x="684" y="184"/>
                  </a:cubicBezTo>
                  <a:cubicBezTo>
                    <a:pt x="682" y="185"/>
                    <a:pt x="677" y="182"/>
                    <a:pt x="675" y="182"/>
                  </a:cubicBezTo>
                  <a:cubicBezTo>
                    <a:pt x="672" y="183"/>
                    <a:pt x="671" y="182"/>
                    <a:pt x="670" y="183"/>
                  </a:cubicBezTo>
                  <a:cubicBezTo>
                    <a:pt x="670" y="183"/>
                    <a:pt x="669" y="182"/>
                    <a:pt x="669" y="183"/>
                  </a:cubicBezTo>
                  <a:cubicBezTo>
                    <a:pt x="668" y="183"/>
                    <a:pt x="666" y="182"/>
                    <a:pt x="665" y="182"/>
                  </a:cubicBezTo>
                  <a:cubicBezTo>
                    <a:pt x="664" y="181"/>
                    <a:pt x="668" y="182"/>
                    <a:pt x="668" y="182"/>
                  </a:cubicBezTo>
                  <a:cubicBezTo>
                    <a:pt x="667" y="181"/>
                    <a:pt x="663" y="180"/>
                    <a:pt x="664" y="181"/>
                  </a:cubicBezTo>
                  <a:cubicBezTo>
                    <a:pt x="665" y="183"/>
                    <a:pt x="663" y="180"/>
                    <a:pt x="661" y="181"/>
                  </a:cubicBezTo>
                  <a:cubicBezTo>
                    <a:pt x="659" y="181"/>
                    <a:pt x="659" y="180"/>
                    <a:pt x="657" y="180"/>
                  </a:cubicBezTo>
                  <a:cubicBezTo>
                    <a:pt x="658" y="180"/>
                    <a:pt x="662" y="181"/>
                    <a:pt x="661" y="180"/>
                  </a:cubicBezTo>
                  <a:cubicBezTo>
                    <a:pt x="660" y="178"/>
                    <a:pt x="659" y="178"/>
                    <a:pt x="658" y="178"/>
                  </a:cubicBezTo>
                  <a:cubicBezTo>
                    <a:pt x="657" y="179"/>
                    <a:pt x="657" y="176"/>
                    <a:pt x="655" y="178"/>
                  </a:cubicBezTo>
                  <a:cubicBezTo>
                    <a:pt x="655" y="179"/>
                    <a:pt x="655" y="178"/>
                    <a:pt x="654" y="178"/>
                  </a:cubicBezTo>
                  <a:cubicBezTo>
                    <a:pt x="653" y="179"/>
                    <a:pt x="655" y="177"/>
                    <a:pt x="653" y="176"/>
                  </a:cubicBezTo>
                  <a:cubicBezTo>
                    <a:pt x="651" y="176"/>
                    <a:pt x="653" y="178"/>
                    <a:pt x="651" y="178"/>
                  </a:cubicBezTo>
                  <a:cubicBezTo>
                    <a:pt x="650" y="179"/>
                    <a:pt x="651" y="176"/>
                    <a:pt x="651" y="176"/>
                  </a:cubicBezTo>
                  <a:cubicBezTo>
                    <a:pt x="650" y="177"/>
                    <a:pt x="650" y="178"/>
                    <a:pt x="648" y="179"/>
                  </a:cubicBezTo>
                  <a:cubicBezTo>
                    <a:pt x="646" y="180"/>
                    <a:pt x="650" y="175"/>
                    <a:pt x="648" y="176"/>
                  </a:cubicBezTo>
                  <a:cubicBezTo>
                    <a:pt x="646" y="176"/>
                    <a:pt x="647" y="174"/>
                    <a:pt x="645" y="176"/>
                  </a:cubicBezTo>
                  <a:cubicBezTo>
                    <a:pt x="642" y="178"/>
                    <a:pt x="646" y="176"/>
                    <a:pt x="644" y="179"/>
                  </a:cubicBezTo>
                  <a:cubicBezTo>
                    <a:pt x="643" y="176"/>
                    <a:pt x="642" y="176"/>
                    <a:pt x="641" y="178"/>
                  </a:cubicBezTo>
                  <a:cubicBezTo>
                    <a:pt x="639" y="176"/>
                    <a:pt x="639" y="179"/>
                    <a:pt x="637" y="179"/>
                  </a:cubicBezTo>
                  <a:cubicBezTo>
                    <a:pt x="636" y="179"/>
                    <a:pt x="635" y="179"/>
                    <a:pt x="634" y="179"/>
                  </a:cubicBezTo>
                  <a:cubicBezTo>
                    <a:pt x="632" y="178"/>
                    <a:pt x="633" y="179"/>
                    <a:pt x="631" y="179"/>
                  </a:cubicBezTo>
                  <a:cubicBezTo>
                    <a:pt x="630" y="179"/>
                    <a:pt x="632" y="180"/>
                    <a:pt x="629" y="180"/>
                  </a:cubicBezTo>
                  <a:cubicBezTo>
                    <a:pt x="627" y="180"/>
                    <a:pt x="627" y="181"/>
                    <a:pt x="626" y="180"/>
                  </a:cubicBezTo>
                  <a:cubicBezTo>
                    <a:pt x="624" y="180"/>
                    <a:pt x="624" y="181"/>
                    <a:pt x="623" y="181"/>
                  </a:cubicBezTo>
                  <a:cubicBezTo>
                    <a:pt x="622" y="180"/>
                    <a:pt x="619" y="182"/>
                    <a:pt x="618" y="182"/>
                  </a:cubicBezTo>
                  <a:cubicBezTo>
                    <a:pt x="617" y="181"/>
                    <a:pt x="618" y="183"/>
                    <a:pt x="617" y="183"/>
                  </a:cubicBezTo>
                  <a:cubicBezTo>
                    <a:pt x="615" y="183"/>
                    <a:pt x="616" y="183"/>
                    <a:pt x="614" y="184"/>
                  </a:cubicBezTo>
                  <a:cubicBezTo>
                    <a:pt x="613" y="184"/>
                    <a:pt x="613" y="185"/>
                    <a:pt x="612" y="185"/>
                  </a:cubicBezTo>
                  <a:cubicBezTo>
                    <a:pt x="611" y="186"/>
                    <a:pt x="613" y="187"/>
                    <a:pt x="610" y="187"/>
                  </a:cubicBezTo>
                  <a:cubicBezTo>
                    <a:pt x="608" y="187"/>
                    <a:pt x="609" y="187"/>
                    <a:pt x="608" y="187"/>
                  </a:cubicBezTo>
                  <a:cubicBezTo>
                    <a:pt x="606" y="188"/>
                    <a:pt x="607" y="188"/>
                    <a:pt x="605" y="189"/>
                  </a:cubicBezTo>
                  <a:cubicBezTo>
                    <a:pt x="604" y="189"/>
                    <a:pt x="605" y="190"/>
                    <a:pt x="604" y="190"/>
                  </a:cubicBezTo>
                  <a:cubicBezTo>
                    <a:pt x="603" y="190"/>
                    <a:pt x="604" y="191"/>
                    <a:pt x="603" y="191"/>
                  </a:cubicBezTo>
                  <a:cubicBezTo>
                    <a:pt x="601" y="192"/>
                    <a:pt x="602" y="193"/>
                    <a:pt x="600" y="193"/>
                  </a:cubicBezTo>
                  <a:cubicBezTo>
                    <a:pt x="598" y="194"/>
                    <a:pt x="599" y="195"/>
                    <a:pt x="598" y="195"/>
                  </a:cubicBezTo>
                  <a:cubicBezTo>
                    <a:pt x="596" y="196"/>
                    <a:pt x="597" y="197"/>
                    <a:pt x="596" y="197"/>
                  </a:cubicBezTo>
                  <a:cubicBezTo>
                    <a:pt x="595" y="197"/>
                    <a:pt x="595" y="198"/>
                    <a:pt x="593" y="198"/>
                  </a:cubicBezTo>
                  <a:cubicBezTo>
                    <a:pt x="592" y="199"/>
                    <a:pt x="594" y="199"/>
                    <a:pt x="593" y="199"/>
                  </a:cubicBezTo>
                  <a:cubicBezTo>
                    <a:pt x="594" y="200"/>
                    <a:pt x="594" y="200"/>
                    <a:pt x="597" y="199"/>
                  </a:cubicBezTo>
                  <a:cubicBezTo>
                    <a:pt x="596" y="200"/>
                    <a:pt x="595" y="200"/>
                    <a:pt x="596" y="201"/>
                  </a:cubicBezTo>
                  <a:cubicBezTo>
                    <a:pt x="594" y="200"/>
                    <a:pt x="595" y="201"/>
                    <a:pt x="593" y="200"/>
                  </a:cubicBezTo>
                  <a:cubicBezTo>
                    <a:pt x="591" y="199"/>
                    <a:pt x="592" y="199"/>
                    <a:pt x="591" y="200"/>
                  </a:cubicBezTo>
                  <a:cubicBezTo>
                    <a:pt x="591" y="199"/>
                    <a:pt x="589" y="200"/>
                    <a:pt x="589" y="201"/>
                  </a:cubicBezTo>
                  <a:cubicBezTo>
                    <a:pt x="588" y="200"/>
                    <a:pt x="586" y="201"/>
                    <a:pt x="586" y="202"/>
                  </a:cubicBezTo>
                  <a:cubicBezTo>
                    <a:pt x="585" y="201"/>
                    <a:pt x="585" y="201"/>
                    <a:pt x="583" y="202"/>
                  </a:cubicBezTo>
                  <a:cubicBezTo>
                    <a:pt x="582" y="202"/>
                    <a:pt x="582" y="202"/>
                    <a:pt x="583" y="203"/>
                  </a:cubicBezTo>
                  <a:cubicBezTo>
                    <a:pt x="582" y="202"/>
                    <a:pt x="581" y="203"/>
                    <a:pt x="580" y="203"/>
                  </a:cubicBezTo>
                  <a:cubicBezTo>
                    <a:pt x="579" y="204"/>
                    <a:pt x="578" y="204"/>
                    <a:pt x="577" y="205"/>
                  </a:cubicBezTo>
                  <a:cubicBezTo>
                    <a:pt x="576" y="206"/>
                    <a:pt x="576" y="205"/>
                    <a:pt x="575" y="205"/>
                  </a:cubicBezTo>
                  <a:cubicBezTo>
                    <a:pt x="574" y="206"/>
                    <a:pt x="574" y="207"/>
                    <a:pt x="576" y="207"/>
                  </a:cubicBezTo>
                  <a:cubicBezTo>
                    <a:pt x="573" y="207"/>
                    <a:pt x="573" y="209"/>
                    <a:pt x="575" y="209"/>
                  </a:cubicBezTo>
                  <a:cubicBezTo>
                    <a:pt x="576" y="209"/>
                    <a:pt x="576" y="208"/>
                    <a:pt x="578" y="209"/>
                  </a:cubicBezTo>
                  <a:cubicBezTo>
                    <a:pt x="580" y="209"/>
                    <a:pt x="578" y="208"/>
                    <a:pt x="580" y="209"/>
                  </a:cubicBezTo>
                  <a:cubicBezTo>
                    <a:pt x="582" y="209"/>
                    <a:pt x="583" y="208"/>
                    <a:pt x="583" y="208"/>
                  </a:cubicBezTo>
                  <a:cubicBezTo>
                    <a:pt x="583" y="208"/>
                    <a:pt x="583" y="210"/>
                    <a:pt x="581" y="209"/>
                  </a:cubicBezTo>
                  <a:cubicBezTo>
                    <a:pt x="579" y="209"/>
                    <a:pt x="579" y="210"/>
                    <a:pt x="578" y="209"/>
                  </a:cubicBezTo>
                  <a:cubicBezTo>
                    <a:pt x="577" y="209"/>
                    <a:pt x="576" y="209"/>
                    <a:pt x="574" y="209"/>
                  </a:cubicBezTo>
                  <a:cubicBezTo>
                    <a:pt x="572" y="209"/>
                    <a:pt x="575" y="210"/>
                    <a:pt x="574" y="210"/>
                  </a:cubicBezTo>
                  <a:cubicBezTo>
                    <a:pt x="573" y="211"/>
                    <a:pt x="574" y="211"/>
                    <a:pt x="576" y="211"/>
                  </a:cubicBezTo>
                  <a:cubicBezTo>
                    <a:pt x="575" y="212"/>
                    <a:pt x="574" y="211"/>
                    <a:pt x="574" y="212"/>
                  </a:cubicBezTo>
                  <a:cubicBezTo>
                    <a:pt x="574" y="214"/>
                    <a:pt x="575" y="212"/>
                    <a:pt x="575" y="212"/>
                  </a:cubicBezTo>
                  <a:cubicBezTo>
                    <a:pt x="575" y="214"/>
                    <a:pt x="576" y="212"/>
                    <a:pt x="576" y="213"/>
                  </a:cubicBezTo>
                  <a:cubicBezTo>
                    <a:pt x="576" y="214"/>
                    <a:pt x="577" y="213"/>
                    <a:pt x="577" y="214"/>
                  </a:cubicBezTo>
                  <a:cubicBezTo>
                    <a:pt x="578" y="214"/>
                    <a:pt x="577" y="215"/>
                    <a:pt x="576" y="214"/>
                  </a:cubicBezTo>
                  <a:cubicBezTo>
                    <a:pt x="575" y="213"/>
                    <a:pt x="575" y="215"/>
                    <a:pt x="575" y="217"/>
                  </a:cubicBezTo>
                  <a:cubicBezTo>
                    <a:pt x="577" y="215"/>
                    <a:pt x="575" y="217"/>
                    <a:pt x="577" y="216"/>
                  </a:cubicBezTo>
                  <a:cubicBezTo>
                    <a:pt x="578" y="216"/>
                    <a:pt x="577" y="216"/>
                    <a:pt x="580" y="215"/>
                  </a:cubicBezTo>
                  <a:cubicBezTo>
                    <a:pt x="578" y="217"/>
                    <a:pt x="577" y="216"/>
                    <a:pt x="579" y="218"/>
                  </a:cubicBezTo>
                  <a:cubicBezTo>
                    <a:pt x="577" y="218"/>
                    <a:pt x="577" y="216"/>
                    <a:pt x="576" y="218"/>
                  </a:cubicBezTo>
                  <a:cubicBezTo>
                    <a:pt x="575" y="219"/>
                    <a:pt x="577" y="219"/>
                    <a:pt x="578" y="220"/>
                  </a:cubicBezTo>
                  <a:cubicBezTo>
                    <a:pt x="578" y="221"/>
                    <a:pt x="579" y="222"/>
                    <a:pt x="581" y="221"/>
                  </a:cubicBezTo>
                  <a:cubicBezTo>
                    <a:pt x="579" y="222"/>
                    <a:pt x="580" y="222"/>
                    <a:pt x="583" y="223"/>
                  </a:cubicBezTo>
                  <a:cubicBezTo>
                    <a:pt x="581" y="224"/>
                    <a:pt x="583" y="222"/>
                    <a:pt x="584" y="223"/>
                  </a:cubicBezTo>
                  <a:cubicBezTo>
                    <a:pt x="586" y="224"/>
                    <a:pt x="585" y="223"/>
                    <a:pt x="588" y="223"/>
                  </a:cubicBezTo>
                  <a:cubicBezTo>
                    <a:pt x="590" y="223"/>
                    <a:pt x="590" y="222"/>
                    <a:pt x="591" y="221"/>
                  </a:cubicBezTo>
                  <a:cubicBezTo>
                    <a:pt x="592" y="221"/>
                    <a:pt x="593" y="220"/>
                    <a:pt x="592" y="219"/>
                  </a:cubicBezTo>
                  <a:cubicBezTo>
                    <a:pt x="594" y="220"/>
                    <a:pt x="594" y="219"/>
                    <a:pt x="595" y="219"/>
                  </a:cubicBezTo>
                  <a:cubicBezTo>
                    <a:pt x="596" y="219"/>
                    <a:pt x="596" y="218"/>
                    <a:pt x="595" y="217"/>
                  </a:cubicBezTo>
                  <a:cubicBezTo>
                    <a:pt x="596" y="218"/>
                    <a:pt x="596" y="216"/>
                    <a:pt x="596" y="215"/>
                  </a:cubicBezTo>
                  <a:cubicBezTo>
                    <a:pt x="596" y="216"/>
                    <a:pt x="596" y="217"/>
                    <a:pt x="597" y="218"/>
                  </a:cubicBezTo>
                  <a:cubicBezTo>
                    <a:pt x="597" y="220"/>
                    <a:pt x="598" y="218"/>
                    <a:pt x="599" y="219"/>
                  </a:cubicBezTo>
                  <a:cubicBezTo>
                    <a:pt x="597" y="219"/>
                    <a:pt x="599" y="219"/>
                    <a:pt x="600" y="221"/>
                  </a:cubicBezTo>
                  <a:cubicBezTo>
                    <a:pt x="600" y="223"/>
                    <a:pt x="601" y="221"/>
                    <a:pt x="601" y="223"/>
                  </a:cubicBezTo>
                  <a:cubicBezTo>
                    <a:pt x="601" y="224"/>
                    <a:pt x="602" y="222"/>
                    <a:pt x="602" y="224"/>
                  </a:cubicBezTo>
                  <a:cubicBezTo>
                    <a:pt x="603" y="226"/>
                    <a:pt x="602" y="223"/>
                    <a:pt x="603" y="225"/>
                  </a:cubicBezTo>
                  <a:cubicBezTo>
                    <a:pt x="604" y="226"/>
                    <a:pt x="604" y="227"/>
                    <a:pt x="605" y="228"/>
                  </a:cubicBezTo>
                  <a:cubicBezTo>
                    <a:pt x="607" y="229"/>
                    <a:pt x="605" y="229"/>
                    <a:pt x="607" y="229"/>
                  </a:cubicBezTo>
                  <a:cubicBezTo>
                    <a:pt x="608" y="230"/>
                    <a:pt x="607" y="231"/>
                    <a:pt x="606" y="230"/>
                  </a:cubicBezTo>
                  <a:cubicBezTo>
                    <a:pt x="606" y="231"/>
                    <a:pt x="606" y="231"/>
                    <a:pt x="607" y="232"/>
                  </a:cubicBezTo>
                  <a:cubicBezTo>
                    <a:pt x="609" y="233"/>
                    <a:pt x="608" y="236"/>
                    <a:pt x="611" y="234"/>
                  </a:cubicBezTo>
                  <a:cubicBezTo>
                    <a:pt x="612" y="234"/>
                    <a:pt x="614" y="235"/>
                    <a:pt x="615" y="234"/>
                  </a:cubicBezTo>
                  <a:cubicBezTo>
                    <a:pt x="615" y="233"/>
                    <a:pt x="614" y="235"/>
                    <a:pt x="615" y="232"/>
                  </a:cubicBezTo>
                  <a:cubicBezTo>
                    <a:pt x="616" y="230"/>
                    <a:pt x="616" y="232"/>
                    <a:pt x="616" y="231"/>
                  </a:cubicBezTo>
                  <a:cubicBezTo>
                    <a:pt x="617" y="230"/>
                    <a:pt x="618" y="232"/>
                    <a:pt x="619" y="232"/>
                  </a:cubicBezTo>
                  <a:cubicBezTo>
                    <a:pt x="621" y="232"/>
                    <a:pt x="621" y="230"/>
                    <a:pt x="621" y="229"/>
                  </a:cubicBezTo>
                  <a:cubicBezTo>
                    <a:pt x="622" y="228"/>
                    <a:pt x="621" y="227"/>
                    <a:pt x="622" y="226"/>
                  </a:cubicBezTo>
                  <a:cubicBezTo>
                    <a:pt x="623" y="224"/>
                    <a:pt x="621" y="223"/>
                    <a:pt x="622" y="223"/>
                  </a:cubicBezTo>
                  <a:cubicBezTo>
                    <a:pt x="623" y="222"/>
                    <a:pt x="622" y="222"/>
                    <a:pt x="622" y="221"/>
                  </a:cubicBezTo>
                  <a:cubicBezTo>
                    <a:pt x="623" y="220"/>
                    <a:pt x="623" y="220"/>
                    <a:pt x="620" y="220"/>
                  </a:cubicBezTo>
                  <a:cubicBezTo>
                    <a:pt x="621" y="219"/>
                    <a:pt x="626" y="221"/>
                    <a:pt x="624" y="219"/>
                  </a:cubicBezTo>
                  <a:cubicBezTo>
                    <a:pt x="625" y="219"/>
                    <a:pt x="626" y="220"/>
                    <a:pt x="626" y="219"/>
                  </a:cubicBezTo>
                  <a:cubicBezTo>
                    <a:pt x="627" y="218"/>
                    <a:pt x="627" y="220"/>
                    <a:pt x="629" y="217"/>
                  </a:cubicBezTo>
                  <a:cubicBezTo>
                    <a:pt x="626" y="218"/>
                    <a:pt x="627" y="217"/>
                    <a:pt x="624" y="216"/>
                  </a:cubicBezTo>
                  <a:cubicBezTo>
                    <a:pt x="624" y="216"/>
                    <a:pt x="625" y="216"/>
                    <a:pt x="626" y="217"/>
                  </a:cubicBezTo>
                  <a:cubicBezTo>
                    <a:pt x="627" y="217"/>
                    <a:pt x="628" y="216"/>
                    <a:pt x="628" y="216"/>
                  </a:cubicBezTo>
                  <a:cubicBezTo>
                    <a:pt x="629" y="216"/>
                    <a:pt x="629" y="215"/>
                    <a:pt x="627" y="215"/>
                  </a:cubicBezTo>
                  <a:cubicBezTo>
                    <a:pt x="625" y="214"/>
                    <a:pt x="626" y="214"/>
                    <a:pt x="625" y="213"/>
                  </a:cubicBezTo>
                  <a:cubicBezTo>
                    <a:pt x="623" y="213"/>
                    <a:pt x="626" y="215"/>
                    <a:pt x="623" y="213"/>
                  </a:cubicBezTo>
                  <a:cubicBezTo>
                    <a:pt x="620" y="211"/>
                    <a:pt x="622" y="210"/>
                    <a:pt x="622" y="209"/>
                  </a:cubicBezTo>
                  <a:cubicBezTo>
                    <a:pt x="621" y="208"/>
                    <a:pt x="622" y="207"/>
                    <a:pt x="622" y="205"/>
                  </a:cubicBezTo>
                  <a:cubicBezTo>
                    <a:pt x="621" y="203"/>
                    <a:pt x="623" y="206"/>
                    <a:pt x="623" y="205"/>
                  </a:cubicBezTo>
                  <a:cubicBezTo>
                    <a:pt x="624" y="203"/>
                    <a:pt x="624" y="205"/>
                    <a:pt x="625" y="204"/>
                  </a:cubicBezTo>
                  <a:cubicBezTo>
                    <a:pt x="626" y="203"/>
                    <a:pt x="627" y="204"/>
                    <a:pt x="628" y="203"/>
                  </a:cubicBezTo>
                  <a:cubicBezTo>
                    <a:pt x="629" y="202"/>
                    <a:pt x="629" y="204"/>
                    <a:pt x="630" y="202"/>
                  </a:cubicBezTo>
                  <a:cubicBezTo>
                    <a:pt x="631" y="201"/>
                    <a:pt x="632" y="203"/>
                    <a:pt x="633" y="201"/>
                  </a:cubicBezTo>
                  <a:cubicBezTo>
                    <a:pt x="634" y="199"/>
                    <a:pt x="634" y="200"/>
                    <a:pt x="635" y="199"/>
                  </a:cubicBezTo>
                  <a:cubicBezTo>
                    <a:pt x="636" y="197"/>
                    <a:pt x="634" y="197"/>
                    <a:pt x="635" y="196"/>
                  </a:cubicBezTo>
                  <a:cubicBezTo>
                    <a:pt x="636" y="195"/>
                    <a:pt x="637" y="196"/>
                    <a:pt x="637" y="195"/>
                  </a:cubicBezTo>
                  <a:cubicBezTo>
                    <a:pt x="637" y="194"/>
                    <a:pt x="637" y="195"/>
                    <a:pt x="638" y="195"/>
                  </a:cubicBezTo>
                  <a:cubicBezTo>
                    <a:pt x="640" y="194"/>
                    <a:pt x="641" y="197"/>
                    <a:pt x="641" y="195"/>
                  </a:cubicBezTo>
                  <a:cubicBezTo>
                    <a:pt x="641" y="195"/>
                    <a:pt x="642" y="196"/>
                    <a:pt x="643" y="195"/>
                  </a:cubicBezTo>
                  <a:cubicBezTo>
                    <a:pt x="643" y="195"/>
                    <a:pt x="643" y="195"/>
                    <a:pt x="644" y="195"/>
                  </a:cubicBezTo>
                  <a:cubicBezTo>
                    <a:pt x="645" y="196"/>
                    <a:pt x="649" y="196"/>
                    <a:pt x="649" y="197"/>
                  </a:cubicBezTo>
                  <a:cubicBezTo>
                    <a:pt x="649" y="199"/>
                    <a:pt x="650" y="199"/>
                    <a:pt x="649" y="199"/>
                  </a:cubicBezTo>
                  <a:cubicBezTo>
                    <a:pt x="648" y="200"/>
                    <a:pt x="649" y="198"/>
                    <a:pt x="648" y="199"/>
                  </a:cubicBezTo>
                  <a:cubicBezTo>
                    <a:pt x="647" y="200"/>
                    <a:pt x="647" y="200"/>
                    <a:pt x="646" y="200"/>
                  </a:cubicBezTo>
                  <a:cubicBezTo>
                    <a:pt x="645" y="200"/>
                    <a:pt x="645" y="201"/>
                    <a:pt x="644" y="201"/>
                  </a:cubicBezTo>
                  <a:cubicBezTo>
                    <a:pt x="643" y="201"/>
                    <a:pt x="643" y="202"/>
                    <a:pt x="643" y="202"/>
                  </a:cubicBezTo>
                  <a:cubicBezTo>
                    <a:pt x="642" y="202"/>
                    <a:pt x="642" y="203"/>
                    <a:pt x="642" y="202"/>
                  </a:cubicBezTo>
                  <a:cubicBezTo>
                    <a:pt x="640" y="201"/>
                    <a:pt x="641" y="204"/>
                    <a:pt x="640" y="203"/>
                  </a:cubicBezTo>
                  <a:cubicBezTo>
                    <a:pt x="639" y="203"/>
                    <a:pt x="639" y="205"/>
                    <a:pt x="638" y="204"/>
                  </a:cubicBezTo>
                  <a:cubicBezTo>
                    <a:pt x="638" y="204"/>
                    <a:pt x="638" y="204"/>
                    <a:pt x="637" y="204"/>
                  </a:cubicBezTo>
                  <a:cubicBezTo>
                    <a:pt x="637" y="204"/>
                    <a:pt x="636" y="205"/>
                    <a:pt x="637" y="205"/>
                  </a:cubicBezTo>
                  <a:cubicBezTo>
                    <a:pt x="637" y="205"/>
                    <a:pt x="636" y="206"/>
                    <a:pt x="636" y="205"/>
                  </a:cubicBezTo>
                  <a:cubicBezTo>
                    <a:pt x="636" y="205"/>
                    <a:pt x="635" y="206"/>
                    <a:pt x="636" y="206"/>
                  </a:cubicBezTo>
                  <a:cubicBezTo>
                    <a:pt x="637" y="207"/>
                    <a:pt x="635" y="206"/>
                    <a:pt x="636" y="207"/>
                  </a:cubicBezTo>
                  <a:cubicBezTo>
                    <a:pt x="637" y="208"/>
                    <a:pt x="635" y="208"/>
                    <a:pt x="636" y="208"/>
                  </a:cubicBezTo>
                  <a:cubicBezTo>
                    <a:pt x="637" y="209"/>
                    <a:pt x="636" y="209"/>
                    <a:pt x="637" y="209"/>
                  </a:cubicBezTo>
                  <a:cubicBezTo>
                    <a:pt x="637" y="210"/>
                    <a:pt x="637" y="210"/>
                    <a:pt x="637" y="210"/>
                  </a:cubicBezTo>
                  <a:cubicBezTo>
                    <a:pt x="638" y="211"/>
                    <a:pt x="637" y="211"/>
                    <a:pt x="638" y="212"/>
                  </a:cubicBezTo>
                  <a:cubicBezTo>
                    <a:pt x="638" y="213"/>
                    <a:pt x="637" y="214"/>
                    <a:pt x="639" y="213"/>
                  </a:cubicBezTo>
                  <a:cubicBezTo>
                    <a:pt x="641" y="213"/>
                    <a:pt x="638" y="216"/>
                    <a:pt x="642" y="214"/>
                  </a:cubicBezTo>
                  <a:cubicBezTo>
                    <a:pt x="642" y="215"/>
                    <a:pt x="641" y="216"/>
                    <a:pt x="643" y="216"/>
                  </a:cubicBezTo>
                  <a:cubicBezTo>
                    <a:pt x="644" y="215"/>
                    <a:pt x="642" y="217"/>
                    <a:pt x="643" y="217"/>
                  </a:cubicBezTo>
                  <a:cubicBezTo>
                    <a:pt x="643" y="217"/>
                    <a:pt x="644" y="216"/>
                    <a:pt x="646" y="216"/>
                  </a:cubicBezTo>
                  <a:cubicBezTo>
                    <a:pt x="647" y="216"/>
                    <a:pt x="645" y="216"/>
                    <a:pt x="648" y="215"/>
                  </a:cubicBezTo>
                  <a:cubicBezTo>
                    <a:pt x="650" y="215"/>
                    <a:pt x="650" y="216"/>
                    <a:pt x="651" y="215"/>
                  </a:cubicBezTo>
                  <a:cubicBezTo>
                    <a:pt x="652" y="214"/>
                    <a:pt x="652" y="216"/>
                    <a:pt x="654" y="215"/>
                  </a:cubicBezTo>
                  <a:cubicBezTo>
                    <a:pt x="655" y="214"/>
                    <a:pt x="656" y="216"/>
                    <a:pt x="659" y="214"/>
                  </a:cubicBezTo>
                  <a:cubicBezTo>
                    <a:pt x="660" y="213"/>
                    <a:pt x="660" y="215"/>
                    <a:pt x="664" y="215"/>
                  </a:cubicBezTo>
                  <a:cubicBezTo>
                    <a:pt x="667" y="213"/>
                    <a:pt x="666" y="215"/>
                    <a:pt x="665" y="215"/>
                  </a:cubicBezTo>
                  <a:cubicBezTo>
                    <a:pt x="665" y="215"/>
                    <a:pt x="667" y="216"/>
                    <a:pt x="668" y="216"/>
                  </a:cubicBezTo>
                  <a:cubicBezTo>
                    <a:pt x="669" y="215"/>
                    <a:pt x="670" y="217"/>
                    <a:pt x="671" y="216"/>
                  </a:cubicBezTo>
                  <a:cubicBezTo>
                    <a:pt x="673" y="216"/>
                    <a:pt x="673" y="217"/>
                    <a:pt x="674" y="217"/>
                  </a:cubicBezTo>
                  <a:cubicBezTo>
                    <a:pt x="675" y="217"/>
                    <a:pt x="674" y="218"/>
                    <a:pt x="673" y="218"/>
                  </a:cubicBezTo>
                  <a:cubicBezTo>
                    <a:pt x="671" y="218"/>
                    <a:pt x="670" y="217"/>
                    <a:pt x="670" y="218"/>
                  </a:cubicBezTo>
                  <a:cubicBezTo>
                    <a:pt x="669" y="220"/>
                    <a:pt x="667" y="217"/>
                    <a:pt x="667" y="219"/>
                  </a:cubicBezTo>
                  <a:cubicBezTo>
                    <a:pt x="667" y="220"/>
                    <a:pt x="666" y="218"/>
                    <a:pt x="666" y="218"/>
                  </a:cubicBezTo>
                  <a:cubicBezTo>
                    <a:pt x="665" y="219"/>
                    <a:pt x="666" y="219"/>
                    <a:pt x="666" y="220"/>
                  </a:cubicBezTo>
                  <a:cubicBezTo>
                    <a:pt x="666" y="220"/>
                    <a:pt x="665" y="220"/>
                    <a:pt x="664" y="220"/>
                  </a:cubicBezTo>
                  <a:cubicBezTo>
                    <a:pt x="662" y="219"/>
                    <a:pt x="662" y="221"/>
                    <a:pt x="660" y="219"/>
                  </a:cubicBezTo>
                  <a:cubicBezTo>
                    <a:pt x="658" y="218"/>
                    <a:pt x="659" y="219"/>
                    <a:pt x="657" y="218"/>
                  </a:cubicBezTo>
                  <a:cubicBezTo>
                    <a:pt x="656" y="218"/>
                    <a:pt x="657" y="219"/>
                    <a:pt x="656" y="218"/>
                  </a:cubicBezTo>
                  <a:cubicBezTo>
                    <a:pt x="655" y="218"/>
                    <a:pt x="655" y="219"/>
                    <a:pt x="654" y="218"/>
                  </a:cubicBezTo>
                  <a:cubicBezTo>
                    <a:pt x="653" y="218"/>
                    <a:pt x="654" y="219"/>
                    <a:pt x="653" y="219"/>
                  </a:cubicBezTo>
                  <a:cubicBezTo>
                    <a:pt x="651" y="218"/>
                    <a:pt x="652" y="219"/>
                    <a:pt x="650" y="219"/>
                  </a:cubicBezTo>
                  <a:cubicBezTo>
                    <a:pt x="649" y="220"/>
                    <a:pt x="650" y="220"/>
                    <a:pt x="650" y="220"/>
                  </a:cubicBezTo>
                  <a:cubicBezTo>
                    <a:pt x="649" y="221"/>
                    <a:pt x="651" y="222"/>
                    <a:pt x="651" y="222"/>
                  </a:cubicBezTo>
                  <a:cubicBezTo>
                    <a:pt x="651" y="222"/>
                    <a:pt x="650" y="222"/>
                    <a:pt x="650" y="222"/>
                  </a:cubicBezTo>
                  <a:cubicBezTo>
                    <a:pt x="650" y="223"/>
                    <a:pt x="652" y="223"/>
                    <a:pt x="652" y="224"/>
                  </a:cubicBezTo>
                  <a:cubicBezTo>
                    <a:pt x="652" y="224"/>
                    <a:pt x="653" y="225"/>
                    <a:pt x="653" y="224"/>
                  </a:cubicBezTo>
                  <a:cubicBezTo>
                    <a:pt x="653" y="223"/>
                    <a:pt x="654" y="224"/>
                    <a:pt x="654" y="225"/>
                  </a:cubicBezTo>
                  <a:cubicBezTo>
                    <a:pt x="654" y="226"/>
                    <a:pt x="655" y="227"/>
                    <a:pt x="655" y="228"/>
                  </a:cubicBezTo>
                  <a:cubicBezTo>
                    <a:pt x="654" y="230"/>
                    <a:pt x="653" y="229"/>
                    <a:pt x="653" y="229"/>
                  </a:cubicBezTo>
                  <a:cubicBezTo>
                    <a:pt x="652" y="230"/>
                    <a:pt x="652" y="229"/>
                    <a:pt x="651" y="229"/>
                  </a:cubicBezTo>
                  <a:cubicBezTo>
                    <a:pt x="650" y="229"/>
                    <a:pt x="650" y="227"/>
                    <a:pt x="649" y="227"/>
                  </a:cubicBezTo>
                  <a:cubicBezTo>
                    <a:pt x="648" y="227"/>
                    <a:pt x="648" y="226"/>
                    <a:pt x="647" y="226"/>
                  </a:cubicBezTo>
                  <a:cubicBezTo>
                    <a:pt x="647" y="226"/>
                    <a:pt x="647" y="224"/>
                    <a:pt x="646" y="225"/>
                  </a:cubicBezTo>
                  <a:cubicBezTo>
                    <a:pt x="644" y="227"/>
                    <a:pt x="644" y="226"/>
                    <a:pt x="643" y="227"/>
                  </a:cubicBezTo>
                  <a:cubicBezTo>
                    <a:pt x="642" y="229"/>
                    <a:pt x="644" y="229"/>
                    <a:pt x="643" y="230"/>
                  </a:cubicBezTo>
                  <a:cubicBezTo>
                    <a:pt x="641" y="232"/>
                    <a:pt x="642" y="232"/>
                    <a:pt x="643" y="234"/>
                  </a:cubicBezTo>
                  <a:cubicBezTo>
                    <a:pt x="642" y="236"/>
                    <a:pt x="643" y="236"/>
                    <a:pt x="643" y="237"/>
                  </a:cubicBezTo>
                  <a:cubicBezTo>
                    <a:pt x="641" y="240"/>
                    <a:pt x="643" y="235"/>
                    <a:pt x="642" y="237"/>
                  </a:cubicBezTo>
                  <a:cubicBezTo>
                    <a:pt x="641" y="237"/>
                    <a:pt x="640" y="238"/>
                    <a:pt x="640" y="238"/>
                  </a:cubicBezTo>
                  <a:cubicBezTo>
                    <a:pt x="639" y="238"/>
                    <a:pt x="639" y="238"/>
                    <a:pt x="638" y="238"/>
                  </a:cubicBezTo>
                  <a:cubicBezTo>
                    <a:pt x="638" y="238"/>
                    <a:pt x="638" y="238"/>
                    <a:pt x="638" y="238"/>
                  </a:cubicBezTo>
                  <a:cubicBezTo>
                    <a:pt x="638" y="239"/>
                    <a:pt x="638" y="238"/>
                    <a:pt x="638" y="239"/>
                  </a:cubicBezTo>
                  <a:cubicBezTo>
                    <a:pt x="638" y="239"/>
                    <a:pt x="640" y="239"/>
                    <a:pt x="639" y="239"/>
                  </a:cubicBezTo>
                  <a:cubicBezTo>
                    <a:pt x="639" y="239"/>
                    <a:pt x="638" y="239"/>
                    <a:pt x="638" y="239"/>
                  </a:cubicBezTo>
                  <a:cubicBezTo>
                    <a:pt x="638" y="240"/>
                    <a:pt x="637" y="241"/>
                    <a:pt x="637" y="240"/>
                  </a:cubicBezTo>
                  <a:cubicBezTo>
                    <a:pt x="637" y="240"/>
                    <a:pt x="637" y="241"/>
                    <a:pt x="637" y="240"/>
                  </a:cubicBezTo>
                  <a:cubicBezTo>
                    <a:pt x="637" y="240"/>
                    <a:pt x="637" y="240"/>
                    <a:pt x="638" y="239"/>
                  </a:cubicBezTo>
                  <a:cubicBezTo>
                    <a:pt x="638" y="239"/>
                    <a:pt x="638" y="239"/>
                    <a:pt x="637" y="239"/>
                  </a:cubicBezTo>
                  <a:cubicBezTo>
                    <a:pt x="637" y="239"/>
                    <a:pt x="637" y="240"/>
                    <a:pt x="637" y="240"/>
                  </a:cubicBezTo>
                  <a:cubicBezTo>
                    <a:pt x="636" y="240"/>
                    <a:pt x="635" y="240"/>
                    <a:pt x="635" y="240"/>
                  </a:cubicBezTo>
                  <a:cubicBezTo>
                    <a:pt x="634" y="239"/>
                    <a:pt x="634" y="239"/>
                    <a:pt x="634" y="239"/>
                  </a:cubicBezTo>
                  <a:cubicBezTo>
                    <a:pt x="634" y="238"/>
                    <a:pt x="635" y="239"/>
                    <a:pt x="635" y="239"/>
                  </a:cubicBezTo>
                  <a:cubicBezTo>
                    <a:pt x="635" y="239"/>
                    <a:pt x="635" y="239"/>
                    <a:pt x="636" y="239"/>
                  </a:cubicBezTo>
                  <a:cubicBezTo>
                    <a:pt x="636" y="239"/>
                    <a:pt x="635" y="238"/>
                    <a:pt x="634" y="238"/>
                  </a:cubicBezTo>
                  <a:cubicBezTo>
                    <a:pt x="633" y="237"/>
                    <a:pt x="631" y="237"/>
                    <a:pt x="629" y="237"/>
                  </a:cubicBezTo>
                  <a:cubicBezTo>
                    <a:pt x="627" y="238"/>
                    <a:pt x="627" y="238"/>
                    <a:pt x="626" y="239"/>
                  </a:cubicBezTo>
                  <a:cubicBezTo>
                    <a:pt x="625" y="240"/>
                    <a:pt x="624" y="239"/>
                    <a:pt x="622" y="239"/>
                  </a:cubicBezTo>
                  <a:cubicBezTo>
                    <a:pt x="620" y="239"/>
                    <a:pt x="619" y="240"/>
                    <a:pt x="618" y="240"/>
                  </a:cubicBezTo>
                  <a:cubicBezTo>
                    <a:pt x="616" y="240"/>
                    <a:pt x="617" y="241"/>
                    <a:pt x="616" y="241"/>
                  </a:cubicBezTo>
                  <a:cubicBezTo>
                    <a:pt x="616" y="241"/>
                    <a:pt x="616" y="241"/>
                    <a:pt x="616" y="241"/>
                  </a:cubicBezTo>
                  <a:cubicBezTo>
                    <a:pt x="614" y="241"/>
                    <a:pt x="615" y="241"/>
                    <a:pt x="614" y="240"/>
                  </a:cubicBezTo>
                  <a:cubicBezTo>
                    <a:pt x="613" y="240"/>
                    <a:pt x="614" y="239"/>
                    <a:pt x="613" y="239"/>
                  </a:cubicBezTo>
                  <a:cubicBezTo>
                    <a:pt x="612" y="238"/>
                    <a:pt x="613" y="240"/>
                    <a:pt x="612" y="240"/>
                  </a:cubicBezTo>
                  <a:cubicBezTo>
                    <a:pt x="611" y="239"/>
                    <a:pt x="611" y="239"/>
                    <a:pt x="610" y="239"/>
                  </a:cubicBezTo>
                  <a:cubicBezTo>
                    <a:pt x="610" y="239"/>
                    <a:pt x="609" y="240"/>
                    <a:pt x="609" y="240"/>
                  </a:cubicBezTo>
                  <a:cubicBezTo>
                    <a:pt x="608" y="240"/>
                    <a:pt x="608" y="240"/>
                    <a:pt x="609" y="239"/>
                  </a:cubicBezTo>
                  <a:cubicBezTo>
                    <a:pt x="609" y="239"/>
                    <a:pt x="609" y="239"/>
                    <a:pt x="609" y="239"/>
                  </a:cubicBezTo>
                  <a:cubicBezTo>
                    <a:pt x="610" y="239"/>
                    <a:pt x="610" y="239"/>
                    <a:pt x="609" y="239"/>
                  </a:cubicBezTo>
                  <a:cubicBezTo>
                    <a:pt x="608" y="239"/>
                    <a:pt x="608" y="240"/>
                    <a:pt x="607" y="240"/>
                  </a:cubicBezTo>
                  <a:cubicBezTo>
                    <a:pt x="606" y="240"/>
                    <a:pt x="605" y="241"/>
                    <a:pt x="605" y="240"/>
                  </a:cubicBezTo>
                  <a:cubicBezTo>
                    <a:pt x="604" y="240"/>
                    <a:pt x="604" y="240"/>
                    <a:pt x="603" y="240"/>
                  </a:cubicBezTo>
                  <a:cubicBezTo>
                    <a:pt x="603" y="241"/>
                    <a:pt x="602" y="240"/>
                    <a:pt x="601" y="240"/>
                  </a:cubicBezTo>
                  <a:cubicBezTo>
                    <a:pt x="600" y="240"/>
                    <a:pt x="600" y="240"/>
                    <a:pt x="599" y="240"/>
                  </a:cubicBezTo>
                  <a:cubicBezTo>
                    <a:pt x="598" y="239"/>
                    <a:pt x="602" y="240"/>
                    <a:pt x="599" y="238"/>
                  </a:cubicBezTo>
                  <a:cubicBezTo>
                    <a:pt x="599" y="238"/>
                    <a:pt x="598" y="238"/>
                    <a:pt x="598" y="238"/>
                  </a:cubicBezTo>
                  <a:cubicBezTo>
                    <a:pt x="598" y="238"/>
                    <a:pt x="597" y="238"/>
                    <a:pt x="597" y="238"/>
                  </a:cubicBezTo>
                  <a:cubicBezTo>
                    <a:pt x="597" y="237"/>
                    <a:pt x="596" y="238"/>
                    <a:pt x="596" y="238"/>
                  </a:cubicBezTo>
                  <a:cubicBezTo>
                    <a:pt x="596" y="237"/>
                    <a:pt x="595" y="237"/>
                    <a:pt x="595" y="237"/>
                  </a:cubicBezTo>
                  <a:cubicBezTo>
                    <a:pt x="595" y="237"/>
                    <a:pt x="595" y="236"/>
                    <a:pt x="595" y="236"/>
                  </a:cubicBezTo>
                  <a:cubicBezTo>
                    <a:pt x="595" y="236"/>
                    <a:pt x="595" y="236"/>
                    <a:pt x="594" y="236"/>
                  </a:cubicBezTo>
                  <a:cubicBezTo>
                    <a:pt x="594" y="235"/>
                    <a:pt x="593" y="234"/>
                    <a:pt x="594" y="234"/>
                  </a:cubicBezTo>
                  <a:cubicBezTo>
                    <a:pt x="595" y="234"/>
                    <a:pt x="594" y="233"/>
                    <a:pt x="595" y="233"/>
                  </a:cubicBezTo>
                  <a:cubicBezTo>
                    <a:pt x="596" y="233"/>
                    <a:pt x="595" y="232"/>
                    <a:pt x="596" y="232"/>
                  </a:cubicBezTo>
                  <a:cubicBezTo>
                    <a:pt x="597" y="232"/>
                    <a:pt x="596" y="231"/>
                    <a:pt x="597" y="231"/>
                  </a:cubicBezTo>
                  <a:cubicBezTo>
                    <a:pt x="598" y="231"/>
                    <a:pt x="599" y="231"/>
                    <a:pt x="598" y="230"/>
                  </a:cubicBezTo>
                  <a:cubicBezTo>
                    <a:pt x="598" y="229"/>
                    <a:pt x="595" y="230"/>
                    <a:pt x="596" y="230"/>
                  </a:cubicBezTo>
                  <a:cubicBezTo>
                    <a:pt x="596" y="229"/>
                    <a:pt x="595" y="229"/>
                    <a:pt x="595" y="229"/>
                  </a:cubicBezTo>
                  <a:cubicBezTo>
                    <a:pt x="596" y="229"/>
                    <a:pt x="595" y="228"/>
                    <a:pt x="595" y="228"/>
                  </a:cubicBezTo>
                  <a:cubicBezTo>
                    <a:pt x="595" y="227"/>
                    <a:pt x="594" y="227"/>
                    <a:pt x="593" y="227"/>
                  </a:cubicBezTo>
                  <a:cubicBezTo>
                    <a:pt x="593" y="226"/>
                    <a:pt x="594" y="227"/>
                    <a:pt x="593" y="227"/>
                  </a:cubicBezTo>
                  <a:cubicBezTo>
                    <a:pt x="592" y="227"/>
                    <a:pt x="592" y="228"/>
                    <a:pt x="592" y="228"/>
                  </a:cubicBezTo>
                  <a:cubicBezTo>
                    <a:pt x="592" y="229"/>
                    <a:pt x="591" y="228"/>
                    <a:pt x="592" y="228"/>
                  </a:cubicBezTo>
                  <a:cubicBezTo>
                    <a:pt x="592" y="227"/>
                    <a:pt x="592" y="227"/>
                    <a:pt x="591" y="227"/>
                  </a:cubicBezTo>
                  <a:cubicBezTo>
                    <a:pt x="590" y="228"/>
                    <a:pt x="590" y="228"/>
                    <a:pt x="591" y="228"/>
                  </a:cubicBezTo>
                  <a:cubicBezTo>
                    <a:pt x="591" y="229"/>
                    <a:pt x="590" y="229"/>
                    <a:pt x="590" y="228"/>
                  </a:cubicBezTo>
                  <a:cubicBezTo>
                    <a:pt x="589" y="228"/>
                    <a:pt x="589" y="227"/>
                    <a:pt x="588" y="228"/>
                  </a:cubicBezTo>
                  <a:cubicBezTo>
                    <a:pt x="588" y="228"/>
                    <a:pt x="588" y="229"/>
                    <a:pt x="589" y="229"/>
                  </a:cubicBezTo>
                  <a:cubicBezTo>
                    <a:pt x="589" y="230"/>
                    <a:pt x="589" y="230"/>
                    <a:pt x="589" y="230"/>
                  </a:cubicBezTo>
                  <a:cubicBezTo>
                    <a:pt x="589" y="231"/>
                    <a:pt x="589" y="231"/>
                    <a:pt x="589" y="231"/>
                  </a:cubicBezTo>
                  <a:cubicBezTo>
                    <a:pt x="589" y="232"/>
                    <a:pt x="589" y="231"/>
                    <a:pt x="590" y="232"/>
                  </a:cubicBezTo>
                  <a:cubicBezTo>
                    <a:pt x="590" y="233"/>
                    <a:pt x="590" y="233"/>
                    <a:pt x="590" y="233"/>
                  </a:cubicBezTo>
                  <a:cubicBezTo>
                    <a:pt x="589" y="233"/>
                    <a:pt x="590" y="234"/>
                    <a:pt x="590" y="234"/>
                  </a:cubicBezTo>
                  <a:cubicBezTo>
                    <a:pt x="590" y="234"/>
                    <a:pt x="591" y="234"/>
                    <a:pt x="591" y="235"/>
                  </a:cubicBezTo>
                  <a:cubicBezTo>
                    <a:pt x="591" y="235"/>
                    <a:pt x="592" y="235"/>
                    <a:pt x="591" y="236"/>
                  </a:cubicBezTo>
                  <a:cubicBezTo>
                    <a:pt x="591" y="236"/>
                    <a:pt x="591" y="236"/>
                    <a:pt x="591" y="236"/>
                  </a:cubicBezTo>
                  <a:cubicBezTo>
                    <a:pt x="591" y="237"/>
                    <a:pt x="592" y="237"/>
                    <a:pt x="592" y="238"/>
                  </a:cubicBezTo>
                  <a:cubicBezTo>
                    <a:pt x="593" y="238"/>
                    <a:pt x="592" y="238"/>
                    <a:pt x="592" y="238"/>
                  </a:cubicBezTo>
                  <a:cubicBezTo>
                    <a:pt x="592" y="239"/>
                    <a:pt x="593" y="238"/>
                    <a:pt x="593" y="239"/>
                  </a:cubicBezTo>
                  <a:cubicBezTo>
                    <a:pt x="593" y="239"/>
                    <a:pt x="593" y="239"/>
                    <a:pt x="593" y="239"/>
                  </a:cubicBezTo>
                  <a:cubicBezTo>
                    <a:pt x="594" y="239"/>
                    <a:pt x="593" y="240"/>
                    <a:pt x="593" y="240"/>
                  </a:cubicBezTo>
                  <a:cubicBezTo>
                    <a:pt x="593" y="240"/>
                    <a:pt x="594" y="240"/>
                    <a:pt x="594" y="240"/>
                  </a:cubicBezTo>
                  <a:cubicBezTo>
                    <a:pt x="595" y="241"/>
                    <a:pt x="596" y="241"/>
                    <a:pt x="596" y="242"/>
                  </a:cubicBezTo>
                  <a:cubicBezTo>
                    <a:pt x="595" y="242"/>
                    <a:pt x="595" y="241"/>
                    <a:pt x="595" y="241"/>
                  </a:cubicBezTo>
                  <a:cubicBezTo>
                    <a:pt x="594" y="240"/>
                    <a:pt x="594" y="241"/>
                    <a:pt x="593" y="241"/>
                  </a:cubicBezTo>
                  <a:cubicBezTo>
                    <a:pt x="592" y="240"/>
                    <a:pt x="592" y="241"/>
                    <a:pt x="592" y="242"/>
                  </a:cubicBezTo>
                  <a:cubicBezTo>
                    <a:pt x="592" y="242"/>
                    <a:pt x="592" y="242"/>
                    <a:pt x="592" y="243"/>
                  </a:cubicBezTo>
                  <a:cubicBezTo>
                    <a:pt x="592" y="242"/>
                    <a:pt x="591" y="242"/>
                    <a:pt x="591" y="242"/>
                  </a:cubicBezTo>
                  <a:cubicBezTo>
                    <a:pt x="590" y="243"/>
                    <a:pt x="591" y="243"/>
                    <a:pt x="591" y="243"/>
                  </a:cubicBezTo>
                  <a:cubicBezTo>
                    <a:pt x="590" y="243"/>
                    <a:pt x="590" y="243"/>
                    <a:pt x="590" y="243"/>
                  </a:cubicBezTo>
                  <a:cubicBezTo>
                    <a:pt x="590" y="242"/>
                    <a:pt x="590" y="243"/>
                    <a:pt x="590" y="242"/>
                  </a:cubicBezTo>
                  <a:cubicBezTo>
                    <a:pt x="590" y="242"/>
                    <a:pt x="589" y="242"/>
                    <a:pt x="588" y="242"/>
                  </a:cubicBezTo>
                  <a:cubicBezTo>
                    <a:pt x="587" y="243"/>
                    <a:pt x="588" y="242"/>
                    <a:pt x="586" y="243"/>
                  </a:cubicBezTo>
                  <a:cubicBezTo>
                    <a:pt x="585" y="243"/>
                    <a:pt x="586" y="243"/>
                    <a:pt x="585" y="244"/>
                  </a:cubicBezTo>
                  <a:cubicBezTo>
                    <a:pt x="585" y="244"/>
                    <a:pt x="585" y="245"/>
                    <a:pt x="585" y="244"/>
                  </a:cubicBezTo>
                  <a:cubicBezTo>
                    <a:pt x="585" y="244"/>
                    <a:pt x="585" y="244"/>
                    <a:pt x="585" y="243"/>
                  </a:cubicBezTo>
                  <a:cubicBezTo>
                    <a:pt x="584" y="243"/>
                    <a:pt x="584" y="244"/>
                    <a:pt x="583" y="243"/>
                  </a:cubicBezTo>
                  <a:cubicBezTo>
                    <a:pt x="583" y="243"/>
                    <a:pt x="582" y="243"/>
                    <a:pt x="581" y="243"/>
                  </a:cubicBezTo>
                  <a:cubicBezTo>
                    <a:pt x="581" y="244"/>
                    <a:pt x="581" y="244"/>
                    <a:pt x="580" y="244"/>
                  </a:cubicBezTo>
                  <a:cubicBezTo>
                    <a:pt x="580" y="245"/>
                    <a:pt x="580" y="245"/>
                    <a:pt x="581" y="245"/>
                  </a:cubicBezTo>
                  <a:cubicBezTo>
                    <a:pt x="582" y="245"/>
                    <a:pt x="581" y="246"/>
                    <a:pt x="581" y="246"/>
                  </a:cubicBezTo>
                  <a:cubicBezTo>
                    <a:pt x="581" y="247"/>
                    <a:pt x="581" y="247"/>
                    <a:pt x="581" y="247"/>
                  </a:cubicBezTo>
                  <a:cubicBezTo>
                    <a:pt x="580" y="247"/>
                    <a:pt x="580" y="247"/>
                    <a:pt x="580" y="248"/>
                  </a:cubicBezTo>
                  <a:cubicBezTo>
                    <a:pt x="580" y="248"/>
                    <a:pt x="578" y="248"/>
                    <a:pt x="579" y="248"/>
                  </a:cubicBezTo>
                  <a:cubicBezTo>
                    <a:pt x="579" y="248"/>
                    <a:pt x="579" y="247"/>
                    <a:pt x="579" y="247"/>
                  </a:cubicBezTo>
                  <a:cubicBezTo>
                    <a:pt x="580" y="247"/>
                    <a:pt x="579" y="246"/>
                    <a:pt x="579" y="246"/>
                  </a:cubicBezTo>
                  <a:cubicBezTo>
                    <a:pt x="579" y="247"/>
                    <a:pt x="579" y="246"/>
                    <a:pt x="579" y="245"/>
                  </a:cubicBezTo>
                  <a:cubicBezTo>
                    <a:pt x="579" y="245"/>
                    <a:pt x="578" y="246"/>
                    <a:pt x="578" y="245"/>
                  </a:cubicBezTo>
                  <a:cubicBezTo>
                    <a:pt x="578" y="244"/>
                    <a:pt x="578" y="244"/>
                    <a:pt x="578" y="245"/>
                  </a:cubicBezTo>
                  <a:cubicBezTo>
                    <a:pt x="577" y="245"/>
                    <a:pt x="577" y="246"/>
                    <a:pt x="577" y="247"/>
                  </a:cubicBezTo>
                  <a:cubicBezTo>
                    <a:pt x="576" y="248"/>
                    <a:pt x="576" y="249"/>
                    <a:pt x="575" y="249"/>
                  </a:cubicBezTo>
                  <a:cubicBezTo>
                    <a:pt x="575" y="250"/>
                    <a:pt x="576" y="250"/>
                    <a:pt x="576" y="250"/>
                  </a:cubicBezTo>
                  <a:cubicBezTo>
                    <a:pt x="577" y="251"/>
                    <a:pt x="576" y="251"/>
                    <a:pt x="575" y="251"/>
                  </a:cubicBezTo>
                  <a:cubicBezTo>
                    <a:pt x="575" y="251"/>
                    <a:pt x="576" y="251"/>
                    <a:pt x="576" y="251"/>
                  </a:cubicBezTo>
                  <a:cubicBezTo>
                    <a:pt x="577" y="251"/>
                    <a:pt x="576" y="251"/>
                    <a:pt x="577" y="252"/>
                  </a:cubicBezTo>
                  <a:cubicBezTo>
                    <a:pt x="576" y="251"/>
                    <a:pt x="576" y="252"/>
                    <a:pt x="576" y="252"/>
                  </a:cubicBezTo>
                  <a:cubicBezTo>
                    <a:pt x="575" y="251"/>
                    <a:pt x="575" y="252"/>
                    <a:pt x="574" y="252"/>
                  </a:cubicBezTo>
                  <a:cubicBezTo>
                    <a:pt x="574" y="252"/>
                    <a:pt x="574" y="251"/>
                    <a:pt x="573" y="251"/>
                  </a:cubicBezTo>
                  <a:cubicBezTo>
                    <a:pt x="572" y="252"/>
                    <a:pt x="571" y="252"/>
                    <a:pt x="570" y="253"/>
                  </a:cubicBezTo>
                  <a:cubicBezTo>
                    <a:pt x="569" y="253"/>
                    <a:pt x="569" y="254"/>
                    <a:pt x="568" y="254"/>
                  </a:cubicBezTo>
                  <a:cubicBezTo>
                    <a:pt x="567" y="254"/>
                    <a:pt x="567" y="254"/>
                    <a:pt x="566" y="254"/>
                  </a:cubicBezTo>
                  <a:cubicBezTo>
                    <a:pt x="565" y="254"/>
                    <a:pt x="565" y="255"/>
                    <a:pt x="565" y="255"/>
                  </a:cubicBezTo>
                  <a:cubicBezTo>
                    <a:pt x="565" y="255"/>
                    <a:pt x="564" y="255"/>
                    <a:pt x="564" y="256"/>
                  </a:cubicBezTo>
                  <a:cubicBezTo>
                    <a:pt x="565" y="256"/>
                    <a:pt x="564" y="256"/>
                    <a:pt x="564" y="257"/>
                  </a:cubicBezTo>
                  <a:cubicBezTo>
                    <a:pt x="564" y="258"/>
                    <a:pt x="563" y="258"/>
                    <a:pt x="561" y="258"/>
                  </a:cubicBezTo>
                  <a:cubicBezTo>
                    <a:pt x="560" y="258"/>
                    <a:pt x="560" y="258"/>
                    <a:pt x="559" y="259"/>
                  </a:cubicBezTo>
                  <a:cubicBezTo>
                    <a:pt x="559" y="259"/>
                    <a:pt x="558" y="259"/>
                    <a:pt x="558" y="259"/>
                  </a:cubicBezTo>
                  <a:cubicBezTo>
                    <a:pt x="558" y="260"/>
                    <a:pt x="557" y="260"/>
                    <a:pt x="558" y="260"/>
                  </a:cubicBezTo>
                  <a:cubicBezTo>
                    <a:pt x="559" y="261"/>
                    <a:pt x="558" y="261"/>
                    <a:pt x="557" y="260"/>
                  </a:cubicBezTo>
                  <a:cubicBezTo>
                    <a:pt x="556" y="260"/>
                    <a:pt x="556" y="261"/>
                    <a:pt x="555" y="261"/>
                  </a:cubicBezTo>
                  <a:cubicBezTo>
                    <a:pt x="554" y="261"/>
                    <a:pt x="554" y="261"/>
                    <a:pt x="554" y="262"/>
                  </a:cubicBezTo>
                  <a:cubicBezTo>
                    <a:pt x="553" y="262"/>
                    <a:pt x="553" y="261"/>
                    <a:pt x="553" y="261"/>
                  </a:cubicBezTo>
                  <a:cubicBezTo>
                    <a:pt x="553" y="260"/>
                    <a:pt x="552" y="260"/>
                    <a:pt x="552" y="259"/>
                  </a:cubicBezTo>
                  <a:cubicBezTo>
                    <a:pt x="552" y="259"/>
                    <a:pt x="551" y="259"/>
                    <a:pt x="551" y="259"/>
                  </a:cubicBezTo>
                  <a:cubicBezTo>
                    <a:pt x="550" y="259"/>
                    <a:pt x="550" y="259"/>
                    <a:pt x="550" y="259"/>
                  </a:cubicBezTo>
                  <a:cubicBezTo>
                    <a:pt x="550" y="259"/>
                    <a:pt x="550" y="260"/>
                    <a:pt x="550" y="261"/>
                  </a:cubicBezTo>
                  <a:cubicBezTo>
                    <a:pt x="551" y="261"/>
                    <a:pt x="551" y="262"/>
                    <a:pt x="551" y="262"/>
                  </a:cubicBezTo>
                  <a:cubicBezTo>
                    <a:pt x="550" y="263"/>
                    <a:pt x="551" y="263"/>
                    <a:pt x="550" y="264"/>
                  </a:cubicBezTo>
                  <a:cubicBezTo>
                    <a:pt x="550" y="264"/>
                    <a:pt x="551" y="265"/>
                    <a:pt x="550" y="265"/>
                  </a:cubicBezTo>
                  <a:cubicBezTo>
                    <a:pt x="549" y="265"/>
                    <a:pt x="548" y="265"/>
                    <a:pt x="548" y="264"/>
                  </a:cubicBezTo>
                  <a:cubicBezTo>
                    <a:pt x="548" y="264"/>
                    <a:pt x="547" y="264"/>
                    <a:pt x="547" y="264"/>
                  </a:cubicBezTo>
                  <a:cubicBezTo>
                    <a:pt x="547" y="264"/>
                    <a:pt x="546" y="264"/>
                    <a:pt x="545" y="264"/>
                  </a:cubicBezTo>
                  <a:cubicBezTo>
                    <a:pt x="545" y="265"/>
                    <a:pt x="545" y="264"/>
                    <a:pt x="545" y="263"/>
                  </a:cubicBezTo>
                  <a:cubicBezTo>
                    <a:pt x="544" y="263"/>
                    <a:pt x="544" y="263"/>
                    <a:pt x="543" y="263"/>
                  </a:cubicBezTo>
                  <a:cubicBezTo>
                    <a:pt x="542" y="263"/>
                    <a:pt x="542" y="263"/>
                    <a:pt x="542" y="264"/>
                  </a:cubicBezTo>
                  <a:cubicBezTo>
                    <a:pt x="542" y="264"/>
                    <a:pt x="541" y="264"/>
                    <a:pt x="540" y="264"/>
                  </a:cubicBezTo>
                  <a:cubicBezTo>
                    <a:pt x="539" y="264"/>
                    <a:pt x="538" y="264"/>
                    <a:pt x="538" y="264"/>
                  </a:cubicBezTo>
                  <a:cubicBezTo>
                    <a:pt x="538" y="265"/>
                    <a:pt x="538" y="265"/>
                    <a:pt x="538" y="265"/>
                  </a:cubicBezTo>
                  <a:cubicBezTo>
                    <a:pt x="538" y="265"/>
                    <a:pt x="540" y="266"/>
                    <a:pt x="539" y="266"/>
                  </a:cubicBezTo>
                  <a:cubicBezTo>
                    <a:pt x="539" y="266"/>
                    <a:pt x="540" y="266"/>
                    <a:pt x="540" y="266"/>
                  </a:cubicBezTo>
                  <a:cubicBezTo>
                    <a:pt x="539" y="266"/>
                    <a:pt x="538" y="267"/>
                    <a:pt x="539" y="267"/>
                  </a:cubicBezTo>
                  <a:cubicBezTo>
                    <a:pt x="540" y="267"/>
                    <a:pt x="539" y="268"/>
                    <a:pt x="540" y="268"/>
                  </a:cubicBezTo>
                  <a:cubicBezTo>
                    <a:pt x="541" y="268"/>
                    <a:pt x="542" y="267"/>
                    <a:pt x="542" y="268"/>
                  </a:cubicBezTo>
                  <a:cubicBezTo>
                    <a:pt x="543" y="269"/>
                    <a:pt x="544" y="269"/>
                    <a:pt x="544" y="269"/>
                  </a:cubicBezTo>
                  <a:cubicBezTo>
                    <a:pt x="545" y="271"/>
                    <a:pt x="545" y="269"/>
                    <a:pt x="546" y="269"/>
                  </a:cubicBezTo>
                  <a:cubicBezTo>
                    <a:pt x="547" y="269"/>
                    <a:pt x="547" y="270"/>
                    <a:pt x="547" y="270"/>
                  </a:cubicBezTo>
                  <a:cubicBezTo>
                    <a:pt x="548" y="270"/>
                    <a:pt x="549" y="271"/>
                    <a:pt x="548" y="271"/>
                  </a:cubicBezTo>
                  <a:cubicBezTo>
                    <a:pt x="548" y="271"/>
                    <a:pt x="548" y="272"/>
                    <a:pt x="549" y="272"/>
                  </a:cubicBezTo>
                  <a:cubicBezTo>
                    <a:pt x="550" y="272"/>
                    <a:pt x="550" y="272"/>
                    <a:pt x="549" y="272"/>
                  </a:cubicBezTo>
                  <a:cubicBezTo>
                    <a:pt x="549" y="272"/>
                    <a:pt x="550" y="272"/>
                    <a:pt x="549" y="273"/>
                  </a:cubicBezTo>
                  <a:cubicBezTo>
                    <a:pt x="549" y="273"/>
                    <a:pt x="549" y="274"/>
                    <a:pt x="550" y="275"/>
                  </a:cubicBezTo>
                  <a:cubicBezTo>
                    <a:pt x="551" y="275"/>
                    <a:pt x="551" y="275"/>
                    <a:pt x="553" y="276"/>
                  </a:cubicBezTo>
                  <a:cubicBezTo>
                    <a:pt x="554" y="276"/>
                    <a:pt x="553" y="277"/>
                    <a:pt x="554" y="277"/>
                  </a:cubicBezTo>
                  <a:cubicBezTo>
                    <a:pt x="555" y="276"/>
                    <a:pt x="554" y="277"/>
                    <a:pt x="554" y="278"/>
                  </a:cubicBezTo>
                  <a:cubicBezTo>
                    <a:pt x="555" y="279"/>
                    <a:pt x="555" y="278"/>
                    <a:pt x="554" y="279"/>
                  </a:cubicBezTo>
                  <a:cubicBezTo>
                    <a:pt x="553" y="281"/>
                    <a:pt x="555" y="280"/>
                    <a:pt x="556" y="283"/>
                  </a:cubicBezTo>
                  <a:cubicBezTo>
                    <a:pt x="555" y="282"/>
                    <a:pt x="554" y="280"/>
                    <a:pt x="554" y="282"/>
                  </a:cubicBezTo>
                  <a:cubicBezTo>
                    <a:pt x="553" y="283"/>
                    <a:pt x="553" y="285"/>
                    <a:pt x="553" y="286"/>
                  </a:cubicBezTo>
                  <a:cubicBezTo>
                    <a:pt x="552" y="287"/>
                    <a:pt x="552" y="289"/>
                    <a:pt x="551" y="290"/>
                  </a:cubicBezTo>
                  <a:cubicBezTo>
                    <a:pt x="551" y="291"/>
                    <a:pt x="551" y="291"/>
                    <a:pt x="550" y="291"/>
                  </a:cubicBezTo>
                  <a:cubicBezTo>
                    <a:pt x="550" y="291"/>
                    <a:pt x="550" y="291"/>
                    <a:pt x="550" y="291"/>
                  </a:cubicBezTo>
                  <a:cubicBezTo>
                    <a:pt x="549" y="291"/>
                    <a:pt x="549" y="291"/>
                    <a:pt x="548" y="291"/>
                  </a:cubicBezTo>
                  <a:cubicBezTo>
                    <a:pt x="547" y="291"/>
                    <a:pt x="546" y="291"/>
                    <a:pt x="546" y="291"/>
                  </a:cubicBezTo>
                  <a:cubicBezTo>
                    <a:pt x="546" y="291"/>
                    <a:pt x="544" y="291"/>
                    <a:pt x="544" y="291"/>
                  </a:cubicBezTo>
                  <a:cubicBezTo>
                    <a:pt x="543" y="290"/>
                    <a:pt x="543" y="292"/>
                    <a:pt x="542" y="291"/>
                  </a:cubicBezTo>
                  <a:cubicBezTo>
                    <a:pt x="541" y="291"/>
                    <a:pt x="541" y="291"/>
                    <a:pt x="541" y="291"/>
                  </a:cubicBezTo>
                  <a:cubicBezTo>
                    <a:pt x="540" y="290"/>
                    <a:pt x="539" y="291"/>
                    <a:pt x="537" y="291"/>
                  </a:cubicBezTo>
                  <a:cubicBezTo>
                    <a:pt x="535" y="291"/>
                    <a:pt x="533" y="291"/>
                    <a:pt x="532" y="290"/>
                  </a:cubicBezTo>
                  <a:cubicBezTo>
                    <a:pt x="531" y="290"/>
                    <a:pt x="531" y="290"/>
                    <a:pt x="531" y="290"/>
                  </a:cubicBezTo>
                  <a:cubicBezTo>
                    <a:pt x="531" y="290"/>
                    <a:pt x="531" y="290"/>
                    <a:pt x="530" y="290"/>
                  </a:cubicBezTo>
                  <a:cubicBezTo>
                    <a:pt x="529" y="291"/>
                    <a:pt x="527" y="291"/>
                    <a:pt x="526" y="291"/>
                  </a:cubicBezTo>
                  <a:cubicBezTo>
                    <a:pt x="525" y="290"/>
                    <a:pt x="523" y="290"/>
                    <a:pt x="523" y="290"/>
                  </a:cubicBezTo>
                  <a:cubicBezTo>
                    <a:pt x="524" y="289"/>
                    <a:pt x="523" y="290"/>
                    <a:pt x="523" y="289"/>
                  </a:cubicBezTo>
                  <a:cubicBezTo>
                    <a:pt x="523" y="289"/>
                    <a:pt x="522" y="290"/>
                    <a:pt x="521" y="290"/>
                  </a:cubicBezTo>
                  <a:cubicBezTo>
                    <a:pt x="521" y="290"/>
                    <a:pt x="521" y="290"/>
                    <a:pt x="521" y="291"/>
                  </a:cubicBezTo>
                  <a:cubicBezTo>
                    <a:pt x="522" y="291"/>
                    <a:pt x="521" y="291"/>
                    <a:pt x="521" y="291"/>
                  </a:cubicBezTo>
                  <a:cubicBezTo>
                    <a:pt x="520" y="291"/>
                    <a:pt x="520" y="292"/>
                    <a:pt x="519" y="291"/>
                  </a:cubicBezTo>
                  <a:cubicBezTo>
                    <a:pt x="519" y="291"/>
                    <a:pt x="518" y="292"/>
                    <a:pt x="517" y="292"/>
                  </a:cubicBezTo>
                  <a:cubicBezTo>
                    <a:pt x="517" y="293"/>
                    <a:pt x="518" y="293"/>
                    <a:pt x="517" y="293"/>
                  </a:cubicBezTo>
                  <a:cubicBezTo>
                    <a:pt x="517" y="293"/>
                    <a:pt x="519" y="293"/>
                    <a:pt x="518" y="294"/>
                  </a:cubicBezTo>
                  <a:cubicBezTo>
                    <a:pt x="518" y="295"/>
                    <a:pt x="518" y="294"/>
                    <a:pt x="519" y="295"/>
                  </a:cubicBezTo>
                  <a:cubicBezTo>
                    <a:pt x="519" y="296"/>
                    <a:pt x="518" y="297"/>
                    <a:pt x="519" y="297"/>
                  </a:cubicBezTo>
                  <a:cubicBezTo>
                    <a:pt x="520" y="296"/>
                    <a:pt x="519" y="297"/>
                    <a:pt x="518" y="297"/>
                  </a:cubicBezTo>
                  <a:cubicBezTo>
                    <a:pt x="518" y="297"/>
                    <a:pt x="518" y="298"/>
                    <a:pt x="519" y="298"/>
                  </a:cubicBezTo>
                  <a:cubicBezTo>
                    <a:pt x="519" y="299"/>
                    <a:pt x="519" y="299"/>
                    <a:pt x="519" y="299"/>
                  </a:cubicBezTo>
                  <a:cubicBezTo>
                    <a:pt x="518" y="300"/>
                    <a:pt x="519" y="300"/>
                    <a:pt x="519" y="300"/>
                  </a:cubicBezTo>
                  <a:cubicBezTo>
                    <a:pt x="518" y="301"/>
                    <a:pt x="519" y="301"/>
                    <a:pt x="519" y="302"/>
                  </a:cubicBezTo>
                  <a:cubicBezTo>
                    <a:pt x="518" y="304"/>
                    <a:pt x="518" y="305"/>
                    <a:pt x="518" y="306"/>
                  </a:cubicBezTo>
                  <a:cubicBezTo>
                    <a:pt x="517" y="307"/>
                    <a:pt x="517" y="307"/>
                    <a:pt x="517" y="309"/>
                  </a:cubicBezTo>
                  <a:cubicBezTo>
                    <a:pt x="516" y="310"/>
                    <a:pt x="517" y="309"/>
                    <a:pt x="516" y="311"/>
                  </a:cubicBezTo>
                  <a:cubicBezTo>
                    <a:pt x="516" y="313"/>
                    <a:pt x="516" y="312"/>
                    <a:pt x="515" y="312"/>
                  </a:cubicBezTo>
                  <a:cubicBezTo>
                    <a:pt x="515" y="312"/>
                    <a:pt x="515" y="314"/>
                    <a:pt x="515" y="315"/>
                  </a:cubicBezTo>
                  <a:cubicBezTo>
                    <a:pt x="515" y="316"/>
                    <a:pt x="515" y="316"/>
                    <a:pt x="515" y="316"/>
                  </a:cubicBezTo>
                  <a:cubicBezTo>
                    <a:pt x="516" y="316"/>
                    <a:pt x="516" y="315"/>
                    <a:pt x="516" y="316"/>
                  </a:cubicBezTo>
                  <a:cubicBezTo>
                    <a:pt x="516" y="317"/>
                    <a:pt x="516" y="316"/>
                    <a:pt x="516" y="317"/>
                  </a:cubicBezTo>
                  <a:cubicBezTo>
                    <a:pt x="515" y="318"/>
                    <a:pt x="517" y="317"/>
                    <a:pt x="518" y="317"/>
                  </a:cubicBezTo>
                  <a:cubicBezTo>
                    <a:pt x="517" y="317"/>
                    <a:pt x="517" y="317"/>
                    <a:pt x="517" y="318"/>
                  </a:cubicBezTo>
                  <a:cubicBezTo>
                    <a:pt x="518" y="319"/>
                    <a:pt x="517" y="320"/>
                    <a:pt x="517" y="321"/>
                  </a:cubicBezTo>
                  <a:cubicBezTo>
                    <a:pt x="517" y="322"/>
                    <a:pt x="518" y="320"/>
                    <a:pt x="518" y="321"/>
                  </a:cubicBezTo>
                  <a:cubicBezTo>
                    <a:pt x="517" y="322"/>
                    <a:pt x="517" y="322"/>
                    <a:pt x="517" y="323"/>
                  </a:cubicBezTo>
                  <a:cubicBezTo>
                    <a:pt x="516" y="323"/>
                    <a:pt x="517" y="324"/>
                    <a:pt x="516" y="324"/>
                  </a:cubicBezTo>
                  <a:cubicBezTo>
                    <a:pt x="515" y="325"/>
                    <a:pt x="516" y="325"/>
                    <a:pt x="516" y="325"/>
                  </a:cubicBezTo>
                  <a:cubicBezTo>
                    <a:pt x="517" y="325"/>
                    <a:pt x="518" y="325"/>
                    <a:pt x="518" y="325"/>
                  </a:cubicBezTo>
                  <a:cubicBezTo>
                    <a:pt x="519" y="325"/>
                    <a:pt x="519" y="325"/>
                    <a:pt x="519" y="325"/>
                  </a:cubicBezTo>
                  <a:cubicBezTo>
                    <a:pt x="520" y="326"/>
                    <a:pt x="520" y="325"/>
                    <a:pt x="522" y="325"/>
                  </a:cubicBezTo>
                  <a:cubicBezTo>
                    <a:pt x="523" y="325"/>
                    <a:pt x="523" y="325"/>
                    <a:pt x="523" y="324"/>
                  </a:cubicBezTo>
                  <a:cubicBezTo>
                    <a:pt x="523" y="324"/>
                    <a:pt x="524" y="325"/>
                    <a:pt x="525" y="325"/>
                  </a:cubicBezTo>
                  <a:cubicBezTo>
                    <a:pt x="525" y="325"/>
                    <a:pt x="527" y="325"/>
                    <a:pt x="527" y="325"/>
                  </a:cubicBezTo>
                  <a:cubicBezTo>
                    <a:pt x="528" y="324"/>
                    <a:pt x="527" y="325"/>
                    <a:pt x="528" y="325"/>
                  </a:cubicBezTo>
                  <a:cubicBezTo>
                    <a:pt x="528" y="325"/>
                    <a:pt x="530" y="326"/>
                    <a:pt x="530" y="326"/>
                  </a:cubicBezTo>
                  <a:cubicBezTo>
                    <a:pt x="531" y="327"/>
                    <a:pt x="531" y="327"/>
                    <a:pt x="531" y="327"/>
                  </a:cubicBezTo>
                  <a:cubicBezTo>
                    <a:pt x="532" y="326"/>
                    <a:pt x="531" y="327"/>
                    <a:pt x="531" y="327"/>
                  </a:cubicBezTo>
                  <a:cubicBezTo>
                    <a:pt x="532" y="328"/>
                    <a:pt x="532" y="328"/>
                    <a:pt x="532" y="328"/>
                  </a:cubicBezTo>
                  <a:cubicBezTo>
                    <a:pt x="531" y="328"/>
                    <a:pt x="532" y="329"/>
                    <a:pt x="532" y="329"/>
                  </a:cubicBezTo>
                  <a:cubicBezTo>
                    <a:pt x="532" y="329"/>
                    <a:pt x="533" y="330"/>
                    <a:pt x="534" y="330"/>
                  </a:cubicBezTo>
                  <a:cubicBezTo>
                    <a:pt x="534" y="330"/>
                    <a:pt x="534" y="330"/>
                    <a:pt x="535" y="330"/>
                  </a:cubicBezTo>
                  <a:cubicBezTo>
                    <a:pt x="536" y="330"/>
                    <a:pt x="535" y="329"/>
                    <a:pt x="537" y="329"/>
                  </a:cubicBezTo>
                  <a:cubicBezTo>
                    <a:pt x="539" y="328"/>
                    <a:pt x="540" y="328"/>
                    <a:pt x="541" y="328"/>
                  </a:cubicBezTo>
                  <a:cubicBezTo>
                    <a:pt x="541" y="328"/>
                    <a:pt x="541" y="328"/>
                    <a:pt x="543" y="327"/>
                  </a:cubicBezTo>
                  <a:cubicBezTo>
                    <a:pt x="544" y="326"/>
                    <a:pt x="545" y="327"/>
                    <a:pt x="546" y="326"/>
                  </a:cubicBezTo>
                  <a:cubicBezTo>
                    <a:pt x="547" y="326"/>
                    <a:pt x="548" y="326"/>
                    <a:pt x="548" y="326"/>
                  </a:cubicBezTo>
                  <a:cubicBezTo>
                    <a:pt x="549" y="326"/>
                    <a:pt x="549" y="325"/>
                    <a:pt x="550" y="326"/>
                  </a:cubicBezTo>
                  <a:cubicBezTo>
                    <a:pt x="550" y="326"/>
                    <a:pt x="551" y="324"/>
                    <a:pt x="551" y="323"/>
                  </a:cubicBezTo>
                  <a:cubicBezTo>
                    <a:pt x="552" y="323"/>
                    <a:pt x="553" y="322"/>
                    <a:pt x="553" y="322"/>
                  </a:cubicBezTo>
                  <a:cubicBezTo>
                    <a:pt x="554" y="321"/>
                    <a:pt x="554" y="321"/>
                    <a:pt x="555" y="321"/>
                  </a:cubicBezTo>
                  <a:cubicBezTo>
                    <a:pt x="556" y="321"/>
                    <a:pt x="556" y="321"/>
                    <a:pt x="556" y="320"/>
                  </a:cubicBezTo>
                  <a:cubicBezTo>
                    <a:pt x="557" y="320"/>
                    <a:pt x="556" y="320"/>
                    <a:pt x="556" y="320"/>
                  </a:cubicBezTo>
                  <a:cubicBezTo>
                    <a:pt x="556" y="320"/>
                    <a:pt x="556" y="319"/>
                    <a:pt x="556" y="319"/>
                  </a:cubicBezTo>
                  <a:cubicBezTo>
                    <a:pt x="557" y="319"/>
                    <a:pt x="556" y="317"/>
                    <a:pt x="557" y="318"/>
                  </a:cubicBezTo>
                  <a:cubicBezTo>
                    <a:pt x="557" y="318"/>
                    <a:pt x="557" y="316"/>
                    <a:pt x="558" y="316"/>
                  </a:cubicBezTo>
                  <a:cubicBezTo>
                    <a:pt x="558" y="316"/>
                    <a:pt x="559" y="315"/>
                    <a:pt x="558" y="314"/>
                  </a:cubicBezTo>
                  <a:cubicBezTo>
                    <a:pt x="557" y="314"/>
                    <a:pt x="557" y="314"/>
                    <a:pt x="557" y="314"/>
                  </a:cubicBezTo>
                  <a:cubicBezTo>
                    <a:pt x="556" y="313"/>
                    <a:pt x="555" y="312"/>
                    <a:pt x="557" y="310"/>
                  </a:cubicBezTo>
                  <a:cubicBezTo>
                    <a:pt x="557" y="309"/>
                    <a:pt x="558" y="309"/>
                    <a:pt x="558" y="309"/>
                  </a:cubicBezTo>
                  <a:cubicBezTo>
                    <a:pt x="560" y="307"/>
                    <a:pt x="561" y="306"/>
                    <a:pt x="561" y="306"/>
                  </a:cubicBezTo>
                  <a:cubicBezTo>
                    <a:pt x="561" y="307"/>
                    <a:pt x="561" y="307"/>
                    <a:pt x="562" y="306"/>
                  </a:cubicBezTo>
                  <a:cubicBezTo>
                    <a:pt x="562" y="305"/>
                    <a:pt x="561" y="305"/>
                    <a:pt x="562" y="305"/>
                  </a:cubicBezTo>
                  <a:cubicBezTo>
                    <a:pt x="562" y="304"/>
                    <a:pt x="566" y="303"/>
                    <a:pt x="567" y="302"/>
                  </a:cubicBezTo>
                  <a:cubicBezTo>
                    <a:pt x="568" y="302"/>
                    <a:pt x="568" y="302"/>
                    <a:pt x="568" y="301"/>
                  </a:cubicBezTo>
                  <a:cubicBezTo>
                    <a:pt x="569" y="301"/>
                    <a:pt x="570" y="300"/>
                    <a:pt x="571" y="300"/>
                  </a:cubicBezTo>
                  <a:cubicBezTo>
                    <a:pt x="572" y="300"/>
                    <a:pt x="572" y="299"/>
                    <a:pt x="572" y="299"/>
                  </a:cubicBezTo>
                  <a:cubicBezTo>
                    <a:pt x="573" y="300"/>
                    <a:pt x="572" y="297"/>
                    <a:pt x="573" y="297"/>
                  </a:cubicBezTo>
                  <a:cubicBezTo>
                    <a:pt x="573" y="298"/>
                    <a:pt x="571" y="297"/>
                    <a:pt x="572" y="297"/>
                  </a:cubicBezTo>
                  <a:cubicBezTo>
                    <a:pt x="573" y="297"/>
                    <a:pt x="573" y="296"/>
                    <a:pt x="572" y="296"/>
                  </a:cubicBezTo>
                  <a:cubicBezTo>
                    <a:pt x="572" y="296"/>
                    <a:pt x="571" y="295"/>
                    <a:pt x="571" y="295"/>
                  </a:cubicBezTo>
                  <a:cubicBezTo>
                    <a:pt x="571" y="295"/>
                    <a:pt x="572" y="296"/>
                    <a:pt x="572" y="296"/>
                  </a:cubicBezTo>
                  <a:cubicBezTo>
                    <a:pt x="572" y="295"/>
                    <a:pt x="572" y="295"/>
                    <a:pt x="572" y="295"/>
                  </a:cubicBezTo>
                  <a:cubicBezTo>
                    <a:pt x="573" y="294"/>
                    <a:pt x="572" y="294"/>
                    <a:pt x="574" y="293"/>
                  </a:cubicBezTo>
                  <a:cubicBezTo>
                    <a:pt x="575" y="292"/>
                    <a:pt x="576" y="291"/>
                    <a:pt x="576" y="291"/>
                  </a:cubicBezTo>
                  <a:cubicBezTo>
                    <a:pt x="577" y="292"/>
                    <a:pt x="577" y="292"/>
                    <a:pt x="578" y="291"/>
                  </a:cubicBezTo>
                  <a:cubicBezTo>
                    <a:pt x="579" y="291"/>
                    <a:pt x="579" y="291"/>
                    <a:pt x="580" y="291"/>
                  </a:cubicBezTo>
                  <a:cubicBezTo>
                    <a:pt x="581" y="290"/>
                    <a:pt x="581" y="291"/>
                    <a:pt x="581" y="291"/>
                  </a:cubicBezTo>
                  <a:cubicBezTo>
                    <a:pt x="582" y="291"/>
                    <a:pt x="583" y="292"/>
                    <a:pt x="583" y="292"/>
                  </a:cubicBezTo>
                  <a:cubicBezTo>
                    <a:pt x="583" y="293"/>
                    <a:pt x="585" y="293"/>
                    <a:pt x="585" y="293"/>
                  </a:cubicBezTo>
                  <a:cubicBezTo>
                    <a:pt x="586" y="293"/>
                    <a:pt x="586" y="293"/>
                    <a:pt x="587" y="292"/>
                  </a:cubicBezTo>
                  <a:cubicBezTo>
                    <a:pt x="588" y="291"/>
                    <a:pt x="588" y="291"/>
                    <a:pt x="588" y="291"/>
                  </a:cubicBezTo>
                  <a:cubicBezTo>
                    <a:pt x="588" y="291"/>
                    <a:pt x="588" y="290"/>
                    <a:pt x="589" y="290"/>
                  </a:cubicBezTo>
                  <a:cubicBezTo>
                    <a:pt x="590" y="290"/>
                    <a:pt x="590" y="290"/>
                    <a:pt x="591" y="290"/>
                  </a:cubicBezTo>
                  <a:cubicBezTo>
                    <a:pt x="591" y="289"/>
                    <a:pt x="591" y="289"/>
                    <a:pt x="591" y="289"/>
                  </a:cubicBezTo>
                  <a:cubicBezTo>
                    <a:pt x="591" y="290"/>
                    <a:pt x="591" y="290"/>
                    <a:pt x="591" y="290"/>
                  </a:cubicBezTo>
                  <a:cubicBezTo>
                    <a:pt x="592" y="289"/>
                    <a:pt x="594" y="289"/>
                    <a:pt x="595" y="287"/>
                  </a:cubicBezTo>
                  <a:cubicBezTo>
                    <a:pt x="596" y="286"/>
                    <a:pt x="598" y="286"/>
                    <a:pt x="601" y="288"/>
                  </a:cubicBezTo>
                  <a:cubicBezTo>
                    <a:pt x="604" y="289"/>
                    <a:pt x="603" y="290"/>
                    <a:pt x="604" y="291"/>
                  </a:cubicBezTo>
                  <a:cubicBezTo>
                    <a:pt x="606" y="292"/>
                    <a:pt x="605" y="293"/>
                    <a:pt x="606" y="293"/>
                  </a:cubicBezTo>
                  <a:cubicBezTo>
                    <a:pt x="607" y="293"/>
                    <a:pt x="608" y="295"/>
                    <a:pt x="608" y="296"/>
                  </a:cubicBezTo>
                  <a:cubicBezTo>
                    <a:pt x="609" y="297"/>
                    <a:pt x="609" y="297"/>
                    <a:pt x="610" y="297"/>
                  </a:cubicBezTo>
                  <a:cubicBezTo>
                    <a:pt x="611" y="297"/>
                    <a:pt x="611" y="298"/>
                    <a:pt x="611" y="298"/>
                  </a:cubicBezTo>
                  <a:cubicBezTo>
                    <a:pt x="612" y="299"/>
                    <a:pt x="613" y="299"/>
                    <a:pt x="613" y="300"/>
                  </a:cubicBezTo>
                  <a:cubicBezTo>
                    <a:pt x="613" y="300"/>
                    <a:pt x="614" y="301"/>
                    <a:pt x="614" y="301"/>
                  </a:cubicBezTo>
                  <a:cubicBezTo>
                    <a:pt x="615" y="301"/>
                    <a:pt x="616" y="303"/>
                    <a:pt x="617" y="303"/>
                  </a:cubicBezTo>
                  <a:cubicBezTo>
                    <a:pt x="618" y="304"/>
                    <a:pt x="619" y="304"/>
                    <a:pt x="620" y="304"/>
                  </a:cubicBezTo>
                  <a:cubicBezTo>
                    <a:pt x="620" y="304"/>
                    <a:pt x="621" y="306"/>
                    <a:pt x="622" y="305"/>
                  </a:cubicBezTo>
                  <a:cubicBezTo>
                    <a:pt x="623" y="305"/>
                    <a:pt x="623" y="307"/>
                    <a:pt x="624" y="307"/>
                  </a:cubicBezTo>
                  <a:cubicBezTo>
                    <a:pt x="624" y="306"/>
                    <a:pt x="626" y="307"/>
                    <a:pt x="626" y="308"/>
                  </a:cubicBezTo>
                  <a:cubicBezTo>
                    <a:pt x="625" y="308"/>
                    <a:pt x="626" y="309"/>
                    <a:pt x="627" y="309"/>
                  </a:cubicBezTo>
                  <a:cubicBezTo>
                    <a:pt x="628" y="309"/>
                    <a:pt x="628" y="310"/>
                    <a:pt x="629" y="309"/>
                  </a:cubicBezTo>
                  <a:cubicBezTo>
                    <a:pt x="630" y="309"/>
                    <a:pt x="629" y="309"/>
                    <a:pt x="630" y="311"/>
                  </a:cubicBezTo>
                  <a:cubicBezTo>
                    <a:pt x="630" y="312"/>
                    <a:pt x="631" y="313"/>
                    <a:pt x="632" y="314"/>
                  </a:cubicBezTo>
                  <a:cubicBezTo>
                    <a:pt x="632" y="315"/>
                    <a:pt x="633" y="315"/>
                    <a:pt x="631" y="316"/>
                  </a:cubicBezTo>
                  <a:cubicBezTo>
                    <a:pt x="630" y="317"/>
                    <a:pt x="632" y="317"/>
                    <a:pt x="631" y="319"/>
                  </a:cubicBezTo>
                  <a:cubicBezTo>
                    <a:pt x="630" y="320"/>
                    <a:pt x="631" y="321"/>
                    <a:pt x="632" y="321"/>
                  </a:cubicBezTo>
                  <a:cubicBezTo>
                    <a:pt x="633" y="321"/>
                    <a:pt x="634" y="320"/>
                    <a:pt x="634" y="319"/>
                  </a:cubicBezTo>
                  <a:cubicBezTo>
                    <a:pt x="635" y="317"/>
                    <a:pt x="636" y="317"/>
                    <a:pt x="636" y="316"/>
                  </a:cubicBezTo>
                  <a:cubicBezTo>
                    <a:pt x="636" y="316"/>
                    <a:pt x="636" y="315"/>
                    <a:pt x="636" y="315"/>
                  </a:cubicBezTo>
                  <a:cubicBezTo>
                    <a:pt x="636" y="314"/>
                    <a:pt x="637" y="315"/>
                    <a:pt x="638" y="314"/>
                  </a:cubicBezTo>
                  <a:cubicBezTo>
                    <a:pt x="638" y="313"/>
                    <a:pt x="637" y="313"/>
                    <a:pt x="637" y="313"/>
                  </a:cubicBezTo>
                  <a:cubicBezTo>
                    <a:pt x="636" y="312"/>
                    <a:pt x="636" y="311"/>
                    <a:pt x="635" y="311"/>
                  </a:cubicBezTo>
                  <a:cubicBezTo>
                    <a:pt x="634" y="311"/>
                    <a:pt x="635" y="311"/>
                    <a:pt x="635" y="310"/>
                  </a:cubicBezTo>
                  <a:cubicBezTo>
                    <a:pt x="635" y="310"/>
                    <a:pt x="635" y="310"/>
                    <a:pt x="635" y="309"/>
                  </a:cubicBezTo>
                  <a:cubicBezTo>
                    <a:pt x="635" y="309"/>
                    <a:pt x="635" y="308"/>
                    <a:pt x="636" y="308"/>
                  </a:cubicBezTo>
                  <a:cubicBezTo>
                    <a:pt x="636" y="307"/>
                    <a:pt x="636" y="307"/>
                    <a:pt x="637" y="308"/>
                  </a:cubicBezTo>
                  <a:cubicBezTo>
                    <a:pt x="637" y="308"/>
                    <a:pt x="638" y="308"/>
                    <a:pt x="639" y="308"/>
                  </a:cubicBezTo>
                  <a:cubicBezTo>
                    <a:pt x="640" y="309"/>
                    <a:pt x="640" y="310"/>
                    <a:pt x="641" y="310"/>
                  </a:cubicBezTo>
                  <a:cubicBezTo>
                    <a:pt x="642" y="310"/>
                    <a:pt x="641" y="309"/>
                    <a:pt x="641" y="309"/>
                  </a:cubicBezTo>
                  <a:cubicBezTo>
                    <a:pt x="642" y="309"/>
                    <a:pt x="641" y="308"/>
                    <a:pt x="640" y="307"/>
                  </a:cubicBezTo>
                  <a:cubicBezTo>
                    <a:pt x="639" y="306"/>
                    <a:pt x="638" y="306"/>
                    <a:pt x="638" y="306"/>
                  </a:cubicBezTo>
                  <a:cubicBezTo>
                    <a:pt x="637" y="306"/>
                    <a:pt x="637" y="305"/>
                    <a:pt x="635" y="304"/>
                  </a:cubicBezTo>
                  <a:cubicBezTo>
                    <a:pt x="634" y="303"/>
                    <a:pt x="633" y="303"/>
                    <a:pt x="631" y="302"/>
                  </a:cubicBezTo>
                  <a:cubicBezTo>
                    <a:pt x="629" y="301"/>
                    <a:pt x="630" y="301"/>
                    <a:pt x="631" y="301"/>
                  </a:cubicBezTo>
                  <a:cubicBezTo>
                    <a:pt x="631" y="301"/>
                    <a:pt x="631" y="300"/>
                    <a:pt x="630" y="300"/>
                  </a:cubicBezTo>
                  <a:cubicBezTo>
                    <a:pt x="629" y="299"/>
                    <a:pt x="628" y="300"/>
                    <a:pt x="627" y="299"/>
                  </a:cubicBezTo>
                  <a:cubicBezTo>
                    <a:pt x="626" y="299"/>
                    <a:pt x="626" y="299"/>
                    <a:pt x="625" y="299"/>
                  </a:cubicBezTo>
                  <a:cubicBezTo>
                    <a:pt x="623" y="298"/>
                    <a:pt x="623" y="298"/>
                    <a:pt x="622" y="296"/>
                  </a:cubicBezTo>
                  <a:cubicBezTo>
                    <a:pt x="620" y="295"/>
                    <a:pt x="620" y="293"/>
                    <a:pt x="619" y="292"/>
                  </a:cubicBezTo>
                  <a:cubicBezTo>
                    <a:pt x="619" y="291"/>
                    <a:pt x="618" y="290"/>
                    <a:pt x="617" y="289"/>
                  </a:cubicBezTo>
                  <a:cubicBezTo>
                    <a:pt x="616" y="288"/>
                    <a:pt x="615" y="289"/>
                    <a:pt x="614" y="288"/>
                  </a:cubicBezTo>
                  <a:cubicBezTo>
                    <a:pt x="613" y="287"/>
                    <a:pt x="614" y="286"/>
                    <a:pt x="613" y="285"/>
                  </a:cubicBezTo>
                  <a:cubicBezTo>
                    <a:pt x="613" y="284"/>
                    <a:pt x="613" y="284"/>
                    <a:pt x="613" y="284"/>
                  </a:cubicBezTo>
                  <a:cubicBezTo>
                    <a:pt x="614" y="284"/>
                    <a:pt x="614" y="283"/>
                    <a:pt x="613" y="282"/>
                  </a:cubicBezTo>
                  <a:cubicBezTo>
                    <a:pt x="612" y="281"/>
                    <a:pt x="614" y="281"/>
                    <a:pt x="616" y="281"/>
                  </a:cubicBezTo>
                  <a:cubicBezTo>
                    <a:pt x="617" y="281"/>
                    <a:pt x="617" y="281"/>
                    <a:pt x="617" y="280"/>
                  </a:cubicBezTo>
                  <a:cubicBezTo>
                    <a:pt x="618" y="279"/>
                    <a:pt x="618" y="281"/>
                    <a:pt x="618" y="281"/>
                  </a:cubicBezTo>
                  <a:cubicBezTo>
                    <a:pt x="619" y="280"/>
                    <a:pt x="619" y="281"/>
                    <a:pt x="618" y="281"/>
                  </a:cubicBezTo>
                  <a:cubicBezTo>
                    <a:pt x="618" y="282"/>
                    <a:pt x="619" y="283"/>
                    <a:pt x="619" y="284"/>
                  </a:cubicBezTo>
                  <a:cubicBezTo>
                    <a:pt x="620" y="285"/>
                    <a:pt x="620" y="285"/>
                    <a:pt x="621" y="284"/>
                  </a:cubicBezTo>
                  <a:cubicBezTo>
                    <a:pt x="621" y="284"/>
                    <a:pt x="621" y="283"/>
                    <a:pt x="622" y="282"/>
                  </a:cubicBezTo>
                  <a:cubicBezTo>
                    <a:pt x="621" y="283"/>
                    <a:pt x="623" y="283"/>
                    <a:pt x="623" y="285"/>
                  </a:cubicBezTo>
                  <a:cubicBezTo>
                    <a:pt x="623" y="286"/>
                    <a:pt x="624" y="286"/>
                    <a:pt x="626" y="287"/>
                  </a:cubicBezTo>
                  <a:cubicBezTo>
                    <a:pt x="627" y="288"/>
                    <a:pt x="627" y="287"/>
                    <a:pt x="626" y="288"/>
                  </a:cubicBezTo>
                  <a:cubicBezTo>
                    <a:pt x="625" y="288"/>
                    <a:pt x="626" y="289"/>
                    <a:pt x="629" y="290"/>
                  </a:cubicBezTo>
                  <a:cubicBezTo>
                    <a:pt x="631" y="291"/>
                    <a:pt x="630" y="291"/>
                    <a:pt x="631" y="292"/>
                  </a:cubicBezTo>
                  <a:cubicBezTo>
                    <a:pt x="633" y="293"/>
                    <a:pt x="632" y="291"/>
                    <a:pt x="633" y="292"/>
                  </a:cubicBezTo>
                  <a:cubicBezTo>
                    <a:pt x="634" y="293"/>
                    <a:pt x="635" y="294"/>
                    <a:pt x="636" y="294"/>
                  </a:cubicBezTo>
                  <a:cubicBezTo>
                    <a:pt x="637" y="295"/>
                    <a:pt x="635" y="294"/>
                    <a:pt x="636" y="295"/>
                  </a:cubicBezTo>
                  <a:cubicBezTo>
                    <a:pt x="637" y="295"/>
                    <a:pt x="638" y="295"/>
                    <a:pt x="640" y="296"/>
                  </a:cubicBezTo>
                  <a:cubicBezTo>
                    <a:pt x="640" y="296"/>
                    <a:pt x="640" y="296"/>
                    <a:pt x="641" y="296"/>
                  </a:cubicBezTo>
                  <a:cubicBezTo>
                    <a:pt x="641" y="296"/>
                    <a:pt x="642" y="296"/>
                    <a:pt x="642" y="296"/>
                  </a:cubicBezTo>
                  <a:cubicBezTo>
                    <a:pt x="641" y="296"/>
                    <a:pt x="640" y="296"/>
                    <a:pt x="641" y="297"/>
                  </a:cubicBezTo>
                  <a:cubicBezTo>
                    <a:pt x="642" y="297"/>
                    <a:pt x="642" y="298"/>
                    <a:pt x="643" y="298"/>
                  </a:cubicBezTo>
                  <a:cubicBezTo>
                    <a:pt x="644" y="298"/>
                    <a:pt x="644" y="298"/>
                    <a:pt x="645" y="299"/>
                  </a:cubicBezTo>
                  <a:cubicBezTo>
                    <a:pt x="645" y="299"/>
                    <a:pt x="645" y="299"/>
                    <a:pt x="646" y="299"/>
                  </a:cubicBezTo>
                  <a:cubicBezTo>
                    <a:pt x="646" y="299"/>
                    <a:pt x="646" y="300"/>
                    <a:pt x="645" y="300"/>
                  </a:cubicBezTo>
                  <a:cubicBezTo>
                    <a:pt x="645" y="300"/>
                    <a:pt x="646" y="301"/>
                    <a:pt x="646" y="302"/>
                  </a:cubicBezTo>
                  <a:cubicBezTo>
                    <a:pt x="646" y="303"/>
                    <a:pt x="646" y="303"/>
                    <a:pt x="647" y="303"/>
                  </a:cubicBezTo>
                  <a:cubicBezTo>
                    <a:pt x="647" y="303"/>
                    <a:pt x="647" y="304"/>
                    <a:pt x="646" y="304"/>
                  </a:cubicBezTo>
                  <a:cubicBezTo>
                    <a:pt x="646" y="305"/>
                    <a:pt x="646" y="305"/>
                    <a:pt x="646" y="306"/>
                  </a:cubicBezTo>
                  <a:cubicBezTo>
                    <a:pt x="646" y="307"/>
                    <a:pt x="647" y="307"/>
                    <a:pt x="648" y="307"/>
                  </a:cubicBezTo>
                  <a:cubicBezTo>
                    <a:pt x="648" y="308"/>
                    <a:pt x="648" y="308"/>
                    <a:pt x="647" y="307"/>
                  </a:cubicBezTo>
                  <a:cubicBezTo>
                    <a:pt x="646" y="306"/>
                    <a:pt x="646" y="307"/>
                    <a:pt x="646" y="308"/>
                  </a:cubicBezTo>
                  <a:cubicBezTo>
                    <a:pt x="647" y="308"/>
                    <a:pt x="646" y="308"/>
                    <a:pt x="647" y="309"/>
                  </a:cubicBezTo>
                  <a:cubicBezTo>
                    <a:pt x="648" y="310"/>
                    <a:pt x="649" y="310"/>
                    <a:pt x="649" y="310"/>
                  </a:cubicBezTo>
                  <a:cubicBezTo>
                    <a:pt x="649" y="311"/>
                    <a:pt x="651" y="312"/>
                    <a:pt x="651" y="312"/>
                  </a:cubicBezTo>
                  <a:cubicBezTo>
                    <a:pt x="651" y="312"/>
                    <a:pt x="651" y="313"/>
                    <a:pt x="651" y="313"/>
                  </a:cubicBezTo>
                  <a:cubicBezTo>
                    <a:pt x="652" y="313"/>
                    <a:pt x="653" y="313"/>
                    <a:pt x="653" y="314"/>
                  </a:cubicBezTo>
                  <a:cubicBezTo>
                    <a:pt x="653" y="315"/>
                    <a:pt x="654" y="314"/>
                    <a:pt x="654" y="315"/>
                  </a:cubicBezTo>
                  <a:cubicBezTo>
                    <a:pt x="654" y="316"/>
                    <a:pt x="655" y="316"/>
                    <a:pt x="655" y="317"/>
                  </a:cubicBezTo>
                  <a:cubicBezTo>
                    <a:pt x="656" y="317"/>
                    <a:pt x="656" y="317"/>
                    <a:pt x="656" y="316"/>
                  </a:cubicBezTo>
                  <a:cubicBezTo>
                    <a:pt x="656" y="315"/>
                    <a:pt x="656" y="317"/>
                    <a:pt x="657" y="316"/>
                  </a:cubicBezTo>
                  <a:cubicBezTo>
                    <a:pt x="657" y="316"/>
                    <a:pt x="657" y="316"/>
                    <a:pt x="657" y="317"/>
                  </a:cubicBezTo>
                  <a:cubicBezTo>
                    <a:pt x="658" y="317"/>
                    <a:pt x="658" y="317"/>
                    <a:pt x="657" y="317"/>
                  </a:cubicBezTo>
                  <a:cubicBezTo>
                    <a:pt x="656" y="317"/>
                    <a:pt x="656" y="317"/>
                    <a:pt x="656" y="317"/>
                  </a:cubicBezTo>
                  <a:cubicBezTo>
                    <a:pt x="656" y="318"/>
                    <a:pt x="657" y="318"/>
                    <a:pt x="657" y="319"/>
                  </a:cubicBezTo>
                  <a:cubicBezTo>
                    <a:pt x="657" y="320"/>
                    <a:pt x="658" y="320"/>
                    <a:pt x="658" y="319"/>
                  </a:cubicBezTo>
                  <a:cubicBezTo>
                    <a:pt x="659" y="318"/>
                    <a:pt x="659" y="320"/>
                    <a:pt x="661" y="319"/>
                  </a:cubicBezTo>
                  <a:cubicBezTo>
                    <a:pt x="661" y="319"/>
                    <a:pt x="662" y="319"/>
                    <a:pt x="663" y="320"/>
                  </a:cubicBezTo>
                  <a:cubicBezTo>
                    <a:pt x="664" y="321"/>
                    <a:pt x="664" y="320"/>
                    <a:pt x="665" y="320"/>
                  </a:cubicBezTo>
                  <a:cubicBezTo>
                    <a:pt x="666" y="320"/>
                    <a:pt x="664" y="320"/>
                    <a:pt x="665" y="321"/>
                  </a:cubicBezTo>
                  <a:cubicBezTo>
                    <a:pt x="665" y="322"/>
                    <a:pt x="664" y="321"/>
                    <a:pt x="663" y="320"/>
                  </a:cubicBezTo>
                  <a:cubicBezTo>
                    <a:pt x="662" y="320"/>
                    <a:pt x="663" y="321"/>
                    <a:pt x="661" y="320"/>
                  </a:cubicBezTo>
                  <a:cubicBezTo>
                    <a:pt x="660" y="319"/>
                    <a:pt x="660" y="320"/>
                    <a:pt x="659" y="320"/>
                  </a:cubicBezTo>
                  <a:cubicBezTo>
                    <a:pt x="658" y="319"/>
                    <a:pt x="658" y="321"/>
                    <a:pt x="657" y="321"/>
                  </a:cubicBezTo>
                  <a:cubicBezTo>
                    <a:pt x="657" y="321"/>
                    <a:pt x="656" y="321"/>
                    <a:pt x="657" y="322"/>
                  </a:cubicBezTo>
                  <a:cubicBezTo>
                    <a:pt x="658" y="322"/>
                    <a:pt x="658" y="322"/>
                    <a:pt x="658" y="323"/>
                  </a:cubicBezTo>
                  <a:cubicBezTo>
                    <a:pt x="659" y="322"/>
                    <a:pt x="661" y="325"/>
                    <a:pt x="660" y="325"/>
                  </a:cubicBezTo>
                  <a:cubicBezTo>
                    <a:pt x="658" y="326"/>
                    <a:pt x="661" y="326"/>
                    <a:pt x="662" y="327"/>
                  </a:cubicBezTo>
                  <a:cubicBezTo>
                    <a:pt x="663" y="328"/>
                    <a:pt x="663" y="329"/>
                    <a:pt x="663" y="328"/>
                  </a:cubicBezTo>
                  <a:cubicBezTo>
                    <a:pt x="664" y="327"/>
                    <a:pt x="664" y="328"/>
                    <a:pt x="664" y="329"/>
                  </a:cubicBezTo>
                  <a:cubicBezTo>
                    <a:pt x="664" y="330"/>
                    <a:pt x="665" y="329"/>
                    <a:pt x="665" y="329"/>
                  </a:cubicBezTo>
                  <a:cubicBezTo>
                    <a:pt x="665" y="328"/>
                    <a:pt x="665" y="328"/>
                    <a:pt x="666" y="329"/>
                  </a:cubicBezTo>
                  <a:cubicBezTo>
                    <a:pt x="667" y="330"/>
                    <a:pt x="666" y="329"/>
                    <a:pt x="666" y="328"/>
                  </a:cubicBezTo>
                  <a:cubicBezTo>
                    <a:pt x="666" y="328"/>
                    <a:pt x="666" y="328"/>
                    <a:pt x="666" y="327"/>
                  </a:cubicBezTo>
                  <a:cubicBezTo>
                    <a:pt x="665" y="326"/>
                    <a:pt x="666" y="326"/>
                    <a:pt x="665" y="325"/>
                  </a:cubicBezTo>
                  <a:cubicBezTo>
                    <a:pt x="665" y="325"/>
                    <a:pt x="664" y="324"/>
                    <a:pt x="665" y="324"/>
                  </a:cubicBezTo>
                  <a:cubicBezTo>
                    <a:pt x="665" y="325"/>
                    <a:pt x="666" y="324"/>
                    <a:pt x="666" y="325"/>
                  </a:cubicBezTo>
                  <a:cubicBezTo>
                    <a:pt x="666" y="326"/>
                    <a:pt x="666" y="324"/>
                    <a:pt x="667" y="324"/>
                  </a:cubicBezTo>
                  <a:cubicBezTo>
                    <a:pt x="668" y="324"/>
                    <a:pt x="667" y="324"/>
                    <a:pt x="667" y="323"/>
                  </a:cubicBezTo>
                  <a:cubicBezTo>
                    <a:pt x="666" y="323"/>
                    <a:pt x="667" y="323"/>
                    <a:pt x="666" y="322"/>
                  </a:cubicBezTo>
                  <a:cubicBezTo>
                    <a:pt x="665" y="322"/>
                    <a:pt x="667" y="322"/>
                    <a:pt x="668" y="322"/>
                  </a:cubicBezTo>
                  <a:cubicBezTo>
                    <a:pt x="669" y="322"/>
                    <a:pt x="669" y="322"/>
                    <a:pt x="669" y="322"/>
                  </a:cubicBezTo>
                  <a:cubicBezTo>
                    <a:pt x="669" y="322"/>
                    <a:pt x="670" y="324"/>
                    <a:pt x="670" y="323"/>
                  </a:cubicBezTo>
                  <a:cubicBezTo>
                    <a:pt x="670" y="321"/>
                    <a:pt x="671" y="322"/>
                    <a:pt x="670" y="321"/>
                  </a:cubicBezTo>
                  <a:cubicBezTo>
                    <a:pt x="669" y="320"/>
                    <a:pt x="669" y="319"/>
                    <a:pt x="668" y="319"/>
                  </a:cubicBezTo>
                  <a:cubicBezTo>
                    <a:pt x="667" y="319"/>
                    <a:pt x="667" y="319"/>
                    <a:pt x="666" y="318"/>
                  </a:cubicBezTo>
                  <a:cubicBezTo>
                    <a:pt x="666" y="318"/>
                    <a:pt x="665" y="317"/>
                    <a:pt x="664" y="318"/>
                  </a:cubicBezTo>
                  <a:cubicBezTo>
                    <a:pt x="663" y="318"/>
                    <a:pt x="665" y="316"/>
                    <a:pt x="664" y="316"/>
                  </a:cubicBezTo>
                  <a:cubicBezTo>
                    <a:pt x="664" y="316"/>
                    <a:pt x="664" y="315"/>
                    <a:pt x="663" y="315"/>
                  </a:cubicBezTo>
                  <a:cubicBezTo>
                    <a:pt x="663" y="315"/>
                    <a:pt x="662" y="315"/>
                    <a:pt x="663" y="315"/>
                  </a:cubicBezTo>
                  <a:cubicBezTo>
                    <a:pt x="664" y="314"/>
                    <a:pt x="664" y="315"/>
                    <a:pt x="663" y="314"/>
                  </a:cubicBezTo>
                  <a:cubicBezTo>
                    <a:pt x="662" y="313"/>
                    <a:pt x="663" y="313"/>
                    <a:pt x="664" y="313"/>
                  </a:cubicBezTo>
                  <a:cubicBezTo>
                    <a:pt x="664" y="313"/>
                    <a:pt x="664" y="314"/>
                    <a:pt x="664" y="314"/>
                  </a:cubicBezTo>
                  <a:cubicBezTo>
                    <a:pt x="664" y="314"/>
                    <a:pt x="664" y="315"/>
                    <a:pt x="665" y="314"/>
                  </a:cubicBezTo>
                  <a:cubicBezTo>
                    <a:pt x="665" y="314"/>
                    <a:pt x="665" y="314"/>
                    <a:pt x="664" y="312"/>
                  </a:cubicBezTo>
                  <a:cubicBezTo>
                    <a:pt x="663" y="311"/>
                    <a:pt x="663" y="312"/>
                    <a:pt x="663" y="311"/>
                  </a:cubicBezTo>
                  <a:cubicBezTo>
                    <a:pt x="662" y="311"/>
                    <a:pt x="662" y="310"/>
                    <a:pt x="662" y="310"/>
                  </a:cubicBezTo>
                  <a:cubicBezTo>
                    <a:pt x="662" y="309"/>
                    <a:pt x="663" y="309"/>
                    <a:pt x="662" y="308"/>
                  </a:cubicBezTo>
                  <a:cubicBezTo>
                    <a:pt x="663" y="308"/>
                    <a:pt x="663" y="308"/>
                    <a:pt x="663" y="309"/>
                  </a:cubicBezTo>
                  <a:cubicBezTo>
                    <a:pt x="663" y="310"/>
                    <a:pt x="664" y="309"/>
                    <a:pt x="665" y="309"/>
                  </a:cubicBezTo>
                  <a:cubicBezTo>
                    <a:pt x="665" y="310"/>
                    <a:pt x="664" y="310"/>
                    <a:pt x="665" y="310"/>
                  </a:cubicBezTo>
                  <a:cubicBezTo>
                    <a:pt x="666" y="311"/>
                    <a:pt x="666" y="310"/>
                    <a:pt x="666" y="310"/>
                  </a:cubicBezTo>
                  <a:cubicBezTo>
                    <a:pt x="665" y="310"/>
                    <a:pt x="666" y="310"/>
                    <a:pt x="667" y="310"/>
                  </a:cubicBezTo>
                  <a:cubicBezTo>
                    <a:pt x="667" y="311"/>
                    <a:pt x="667" y="310"/>
                    <a:pt x="666" y="310"/>
                  </a:cubicBezTo>
                  <a:cubicBezTo>
                    <a:pt x="666" y="309"/>
                    <a:pt x="667" y="309"/>
                    <a:pt x="667" y="310"/>
                  </a:cubicBezTo>
                  <a:cubicBezTo>
                    <a:pt x="668" y="310"/>
                    <a:pt x="668" y="309"/>
                    <a:pt x="667" y="309"/>
                  </a:cubicBezTo>
                  <a:cubicBezTo>
                    <a:pt x="667" y="309"/>
                    <a:pt x="667" y="308"/>
                    <a:pt x="667" y="308"/>
                  </a:cubicBezTo>
                  <a:cubicBezTo>
                    <a:pt x="667" y="307"/>
                    <a:pt x="668" y="308"/>
                    <a:pt x="669" y="307"/>
                  </a:cubicBezTo>
                  <a:cubicBezTo>
                    <a:pt x="669" y="306"/>
                    <a:pt x="670" y="307"/>
                    <a:pt x="670" y="306"/>
                  </a:cubicBezTo>
                  <a:cubicBezTo>
                    <a:pt x="671" y="306"/>
                    <a:pt x="672" y="306"/>
                    <a:pt x="672" y="306"/>
                  </a:cubicBezTo>
                  <a:cubicBezTo>
                    <a:pt x="671" y="307"/>
                    <a:pt x="672" y="306"/>
                    <a:pt x="673" y="307"/>
                  </a:cubicBezTo>
                  <a:cubicBezTo>
                    <a:pt x="674" y="307"/>
                    <a:pt x="677" y="306"/>
                    <a:pt x="676" y="306"/>
                  </a:cubicBezTo>
                  <a:cubicBezTo>
                    <a:pt x="676" y="307"/>
                    <a:pt x="677" y="307"/>
                    <a:pt x="678" y="307"/>
                  </a:cubicBezTo>
                  <a:cubicBezTo>
                    <a:pt x="678" y="308"/>
                    <a:pt x="678" y="309"/>
                    <a:pt x="679" y="309"/>
                  </a:cubicBezTo>
                  <a:cubicBezTo>
                    <a:pt x="680" y="308"/>
                    <a:pt x="680" y="308"/>
                    <a:pt x="681" y="307"/>
                  </a:cubicBezTo>
                  <a:cubicBezTo>
                    <a:pt x="682" y="307"/>
                    <a:pt x="682" y="308"/>
                    <a:pt x="681" y="308"/>
                  </a:cubicBezTo>
                  <a:cubicBezTo>
                    <a:pt x="680" y="308"/>
                    <a:pt x="680" y="309"/>
                    <a:pt x="679" y="309"/>
                  </a:cubicBezTo>
                  <a:cubicBezTo>
                    <a:pt x="678" y="310"/>
                    <a:pt x="680" y="310"/>
                    <a:pt x="681" y="309"/>
                  </a:cubicBezTo>
                  <a:cubicBezTo>
                    <a:pt x="681" y="309"/>
                    <a:pt x="682" y="308"/>
                    <a:pt x="684" y="308"/>
                  </a:cubicBezTo>
                  <a:cubicBezTo>
                    <a:pt x="685" y="307"/>
                    <a:pt x="684" y="307"/>
                    <a:pt x="685" y="306"/>
                  </a:cubicBezTo>
                  <a:cubicBezTo>
                    <a:pt x="685" y="306"/>
                    <a:pt x="685" y="305"/>
                    <a:pt x="686" y="305"/>
                  </a:cubicBezTo>
                  <a:cubicBezTo>
                    <a:pt x="687" y="305"/>
                    <a:pt x="688" y="306"/>
                    <a:pt x="688" y="306"/>
                  </a:cubicBezTo>
                  <a:cubicBezTo>
                    <a:pt x="689" y="305"/>
                    <a:pt x="690" y="307"/>
                    <a:pt x="691" y="305"/>
                  </a:cubicBezTo>
                  <a:cubicBezTo>
                    <a:pt x="691" y="304"/>
                    <a:pt x="690" y="305"/>
                    <a:pt x="689" y="304"/>
                  </a:cubicBezTo>
                  <a:cubicBezTo>
                    <a:pt x="687" y="303"/>
                    <a:pt x="685" y="302"/>
                    <a:pt x="685" y="301"/>
                  </a:cubicBezTo>
                  <a:cubicBezTo>
                    <a:pt x="684" y="300"/>
                    <a:pt x="685" y="300"/>
                    <a:pt x="684" y="300"/>
                  </a:cubicBezTo>
                  <a:cubicBezTo>
                    <a:pt x="684" y="300"/>
                    <a:pt x="685" y="300"/>
                    <a:pt x="684" y="299"/>
                  </a:cubicBezTo>
                  <a:cubicBezTo>
                    <a:pt x="684" y="299"/>
                    <a:pt x="683" y="298"/>
                    <a:pt x="683" y="298"/>
                  </a:cubicBezTo>
                  <a:cubicBezTo>
                    <a:pt x="684" y="298"/>
                    <a:pt x="682" y="298"/>
                    <a:pt x="683" y="297"/>
                  </a:cubicBezTo>
                  <a:cubicBezTo>
                    <a:pt x="683" y="297"/>
                    <a:pt x="682" y="296"/>
                    <a:pt x="683" y="296"/>
                  </a:cubicBezTo>
                  <a:cubicBezTo>
                    <a:pt x="684" y="296"/>
                    <a:pt x="684" y="297"/>
                    <a:pt x="684" y="296"/>
                  </a:cubicBezTo>
                  <a:cubicBezTo>
                    <a:pt x="684" y="294"/>
                    <a:pt x="685" y="294"/>
                    <a:pt x="685" y="293"/>
                  </a:cubicBezTo>
                  <a:cubicBezTo>
                    <a:pt x="685" y="292"/>
                    <a:pt x="686" y="293"/>
                    <a:pt x="686" y="293"/>
                  </a:cubicBezTo>
                  <a:cubicBezTo>
                    <a:pt x="686" y="293"/>
                    <a:pt x="687" y="293"/>
                    <a:pt x="686" y="292"/>
                  </a:cubicBezTo>
                  <a:cubicBezTo>
                    <a:pt x="686" y="291"/>
                    <a:pt x="686" y="292"/>
                    <a:pt x="686" y="290"/>
                  </a:cubicBezTo>
                  <a:cubicBezTo>
                    <a:pt x="686" y="290"/>
                    <a:pt x="686" y="289"/>
                    <a:pt x="686" y="289"/>
                  </a:cubicBezTo>
                  <a:cubicBezTo>
                    <a:pt x="686" y="288"/>
                    <a:pt x="686" y="288"/>
                    <a:pt x="686" y="287"/>
                  </a:cubicBezTo>
                  <a:cubicBezTo>
                    <a:pt x="687" y="286"/>
                    <a:pt x="686" y="287"/>
                    <a:pt x="687" y="286"/>
                  </a:cubicBezTo>
                  <a:cubicBezTo>
                    <a:pt x="687" y="285"/>
                    <a:pt x="686" y="285"/>
                    <a:pt x="687" y="285"/>
                  </a:cubicBezTo>
                  <a:cubicBezTo>
                    <a:pt x="688" y="284"/>
                    <a:pt x="687" y="285"/>
                    <a:pt x="687" y="286"/>
                  </a:cubicBezTo>
                  <a:cubicBezTo>
                    <a:pt x="687" y="286"/>
                    <a:pt x="688" y="285"/>
                    <a:pt x="688" y="285"/>
                  </a:cubicBezTo>
                  <a:cubicBezTo>
                    <a:pt x="688" y="285"/>
                    <a:pt x="689" y="285"/>
                    <a:pt x="689" y="285"/>
                  </a:cubicBezTo>
                  <a:cubicBezTo>
                    <a:pt x="689" y="284"/>
                    <a:pt x="689" y="283"/>
                    <a:pt x="689" y="283"/>
                  </a:cubicBezTo>
                  <a:cubicBezTo>
                    <a:pt x="689" y="283"/>
                    <a:pt x="689" y="284"/>
                    <a:pt x="689" y="283"/>
                  </a:cubicBezTo>
                  <a:cubicBezTo>
                    <a:pt x="691" y="282"/>
                    <a:pt x="689" y="283"/>
                    <a:pt x="690" y="281"/>
                  </a:cubicBezTo>
                  <a:cubicBezTo>
                    <a:pt x="690" y="280"/>
                    <a:pt x="691" y="280"/>
                    <a:pt x="691" y="280"/>
                  </a:cubicBezTo>
                  <a:cubicBezTo>
                    <a:pt x="692" y="279"/>
                    <a:pt x="692" y="280"/>
                    <a:pt x="691" y="279"/>
                  </a:cubicBezTo>
                  <a:cubicBezTo>
                    <a:pt x="690" y="278"/>
                    <a:pt x="691" y="278"/>
                    <a:pt x="692" y="278"/>
                  </a:cubicBezTo>
                  <a:cubicBezTo>
                    <a:pt x="692" y="279"/>
                    <a:pt x="692" y="280"/>
                    <a:pt x="693" y="279"/>
                  </a:cubicBezTo>
                  <a:cubicBezTo>
                    <a:pt x="695" y="278"/>
                    <a:pt x="695" y="278"/>
                    <a:pt x="696" y="277"/>
                  </a:cubicBezTo>
                  <a:cubicBezTo>
                    <a:pt x="698" y="277"/>
                    <a:pt x="697" y="277"/>
                    <a:pt x="700" y="277"/>
                  </a:cubicBezTo>
                  <a:cubicBezTo>
                    <a:pt x="702" y="278"/>
                    <a:pt x="702" y="278"/>
                    <a:pt x="702" y="278"/>
                  </a:cubicBezTo>
                  <a:cubicBezTo>
                    <a:pt x="702" y="278"/>
                    <a:pt x="700" y="278"/>
                    <a:pt x="699" y="278"/>
                  </a:cubicBezTo>
                  <a:cubicBezTo>
                    <a:pt x="698" y="277"/>
                    <a:pt x="698" y="278"/>
                    <a:pt x="699" y="278"/>
                  </a:cubicBezTo>
                  <a:cubicBezTo>
                    <a:pt x="702" y="279"/>
                    <a:pt x="697" y="278"/>
                    <a:pt x="699" y="279"/>
                  </a:cubicBezTo>
                  <a:cubicBezTo>
                    <a:pt x="700" y="280"/>
                    <a:pt x="699" y="279"/>
                    <a:pt x="701" y="280"/>
                  </a:cubicBezTo>
                  <a:cubicBezTo>
                    <a:pt x="702" y="281"/>
                    <a:pt x="703" y="280"/>
                    <a:pt x="704" y="281"/>
                  </a:cubicBezTo>
                  <a:cubicBezTo>
                    <a:pt x="704" y="281"/>
                    <a:pt x="705" y="280"/>
                    <a:pt x="705" y="280"/>
                  </a:cubicBezTo>
                  <a:cubicBezTo>
                    <a:pt x="705" y="280"/>
                    <a:pt x="705" y="281"/>
                    <a:pt x="706" y="281"/>
                  </a:cubicBezTo>
                  <a:cubicBezTo>
                    <a:pt x="704" y="282"/>
                    <a:pt x="704" y="282"/>
                    <a:pt x="703" y="283"/>
                  </a:cubicBezTo>
                  <a:cubicBezTo>
                    <a:pt x="703" y="283"/>
                    <a:pt x="703" y="284"/>
                    <a:pt x="703" y="284"/>
                  </a:cubicBezTo>
                  <a:cubicBezTo>
                    <a:pt x="707" y="283"/>
                    <a:pt x="705" y="285"/>
                    <a:pt x="707" y="286"/>
                  </a:cubicBezTo>
                  <a:cubicBezTo>
                    <a:pt x="709" y="286"/>
                    <a:pt x="706" y="288"/>
                    <a:pt x="707" y="288"/>
                  </a:cubicBezTo>
                  <a:cubicBezTo>
                    <a:pt x="712" y="290"/>
                    <a:pt x="710" y="287"/>
                    <a:pt x="712" y="287"/>
                  </a:cubicBezTo>
                  <a:cubicBezTo>
                    <a:pt x="714" y="286"/>
                    <a:pt x="714" y="287"/>
                    <a:pt x="715" y="286"/>
                  </a:cubicBezTo>
                  <a:cubicBezTo>
                    <a:pt x="716" y="285"/>
                    <a:pt x="718" y="286"/>
                    <a:pt x="719" y="286"/>
                  </a:cubicBezTo>
                  <a:cubicBezTo>
                    <a:pt x="720" y="285"/>
                    <a:pt x="720" y="286"/>
                    <a:pt x="720" y="285"/>
                  </a:cubicBezTo>
                  <a:cubicBezTo>
                    <a:pt x="719" y="285"/>
                    <a:pt x="721" y="285"/>
                    <a:pt x="720" y="285"/>
                  </a:cubicBezTo>
                  <a:cubicBezTo>
                    <a:pt x="718" y="284"/>
                    <a:pt x="717" y="284"/>
                    <a:pt x="716" y="284"/>
                  </a:cubicBezTo>
                  <a:cubicBezTo>
                    <a:pt x="715" y="285"/>
                    <a:pt x="714" y="284"/>
                    <a:pt x="712" y="284"/>
                  </a:cubicBezTo>
                  <a:cubicBezTo>
                    <a:pt x="714" y="283"/>
                    <a:pt x="710" y="282"/>
                    <a:pt x="710" y="282"/>
                  </a:cubicBezTo>
                  <a:cubicBezTo>
                    <a:pt x="709" y="281"/>
                    <a:pt x="709" y="281"/>
                    <a:pt x="708" y="281"/>
                  </a:cubicBezTo>
                  <a:cubicBezTo>
                    <a:pt x="707" y="281"/>
                    <a:pt x="707" y="280"/>
                    <a:pt x="707" y="280"/>
                  </a:cubicBezTo>
                  <a:cubicBezTo>
                    <a:pt x="708" y="280"/>
                    <a:pt x="707" y="281"/>
                    <a:pt x="709" y="280"/>
                  </a:cubicBezTo>
                  <a:cubicBezTo>
                    <a:pt x="711" y="280"/>
                    <a:pt x="712" y="280"/>
                    <a:pt x="711" y="280"/>
                  </a:cubicBezTo>
                  <a:cubicBezTo>
                    <a:pt x="710" y="280"/>
                    <a:pt x="708" y="281"/>
                    <a:pt x="710" y="281"/>
                  </a:cubicBezTo>
                  <a:cubicBezTo>
                    <a:pt x="712" y="281"/>
                    <a:pt x="712" y="279"/>
                    <a:pt x="714" y="280"/>
                  </a:cubicBezTo>
                  <a:cubicBezTo>
                    <a:pt x="716" y="280"/>
                    <a:pt x="715" y="281"/>
                    <a:pt x="717" y="279"/>
                  </a:cubicBezTo>
                  <a:cubicBezTo>
                    <a:pt x="719" y="277"/>
                    <a:pt x="718" y="280"/>
                    <a:pt x="720" y="278"/>
                  </a:cubicBezTo>
                  <a:cubicBezTo>
                    <a:pt x="721" y="276"/>
                    <a:pt x="721" y="278"/>
                    <a:pt x="722" y="277"/>
                  </a:cubicBezTo>
                  <a:cubicBezTo>
                    <a:pt x="723" y="277"/>
                    <a:pt x="723" y="276"/>
                    <a:pt x="724" y="276"/>
                  </a:cubicBezTo>
                  <a:cubicBezTo>
                    <a:pt x="729" y="275"/>
                    <a:pt x="729" y="275"/>
                    <a:pt x="728" y="277"/>
                  </a:cubicBezTo>
                  <a:cubicBezTo>
                    <a:pt x="724" y="281"/>
                    <a:pt x="721" y="276"/>
                    <a:pt x="725" y="280"/>
                  </a:cubicBezTo>
                  <a:cubicBezTo>
                    <a:pt x="729" y="284"/>
                    <a:pt x="725" y="280"/>
                    <a:pt x="724" y="283"/>
                  </a:cubicBezTo>
                  <a:cubicBezTo>
                    <a:pt x="723" y="286"/>
                    <a:pt x="720" y="284"/>
                    <a:pt x="721" y="286"/>
                  </a:cubicBezTo>
                  <a:cubicBezTo>
                    <a:pt x="722" y="288"/>
                    <a:pt x="728" y="288"/>
                    <a:pt x="733" y="292"/>
                  </a:cubicBezTo>
                  <a:cubicBezTo>
                    <a:pt x="735" y="294"/>
                    <a:pt x="735" y="292"/>
                    <a:pt x="740" y="295"/>
                  </a:cubicBezTo>
                  <a:cubicBezTo>
                    <a:pt x="743" y="298"/>
                    <a:pt x="743" y="296"/>
                    <a:pt x="744" y="298"/>
                  </a:cubicBezTo>
                  <a:cubicBezTo>
                    <a:pt x="745" y="299"/>
                    <a:pt x="746" y="298"/>
                    <a:pt x="746" y="301"/>
                  </a:cubicBezTo>
                  <a:cubicBezTo>
                    <a:pt x="746" y="303"/>
                    <a:pt x="746" y="303"/>
                    <a:pt x="746" y="304"/>
                  </a:cubicBezTo>
                  <a:cubicBezTo>
                    <a:pt x="741" y="310"/>
                    <a:pt x="738" y="305"/>
                    <a:pt x="735" y="306"/>
                  </a:cubicBezTo>
                  <a:cubicBezTo>
                    <a:pt x="731" y="308"/>
                    <a:pt x="729" y="306"/>
                    <a:pt x="728" y="306"/>
                  </a:cubicBezTo>
                  <a:cubicBezTo>
                    <a:pt x="726" y="306"/>
                    <a:pt x="729" y="305"/>
                    <a:pt x="725" y="305"/>
                  </a:cubicBezTo>
                  <a:cubicBezTo>
                    <a:pt x="722" y="304"/>
                    <a:pt x="724" y="303"/>
                    <a:pt x="721" y="303"/>
                  </a:cubicBezTo>
                  <a:cubicBezTo>
                    <a:pt x="718" y="303"/>
                    <a:pt x="718" y="300"/>
                    <a:pt x="716" y="301"/>
                  </a:cubicBezTo>
                  <a:cubicBezTo>
                    <a:pt x="714" y="303"/>
                    <a:pt x="711" y="301"/>
                    <a:pt x="708" y="302"/>
                  </a:cubicBezTo>
                  <a:cubicBezTo>
                    <a:pt x="705" y="304"/>
                    <a:pt x="703" y="303"/>
                    <a:pt x="701" y="305"/>
                  </a:cubicBezTo>
                  <a:cubicBezTo>
                    <a:pt x="699" y="308"/>
                    <a:pt x="692" y="303"/>
                    <a:pt x="691" y="305"/>
                  </a:cubicBezTo>
                  <a:cubicBezTo>
                    <a:pt x="690" y="307"/>
                    <a:pt x="693" y="306"/>
                    <a:pt x="696" y="307"/>
                  </a:cubicBezTo>
                  <a:cubicBezTo>
                    <a:pt x="695" y="308"/>
                    <a:pt x="690" y="307"/>
                    <a:pt x="692" y="308"/>
                  </a:cubicBezTo>
                  <a:cubicBezTo>
                    <a:pt x="694" y="309"/>
                    <a:pt x="688" y="309"/>
                    <a:pt x="687" y="309"/>
                  </a:cubicBezTo>
                  <a:cubicBezTo>
                    <a:pt x="686" y="308"/>
                    <a:pt x="685" y="310"/>
                    <a:pt x="685" y="309"/>
                  </a:cubicBezTo>
                  <a:cubicBezTo>
                    <a:pt x="684" y="308"/>
                    <a:pt x="683" y="309"/>
                    <a:pt x="681" y="310"/>
                  </a:cubicBezTo>
                  <a:cubicBezTo>
                    <a:pt x="680" y="311"/>
                    <a:pt x="679" y="310"/>
                    <a:pt x="679" y="311"/>
                  </a:cubicBezTo>
                  <a:cubicBezTo>
                    <a:pt x="681" y="313"/>
                    <a:pt x="677" y="313"/>
                    <a:pt x="682" y="313"/>
                  </a:cubicBezTo>
                  <a:cubicBezTo>
                    <a:pt x="679" y="314"/>
                    <a:pt x="683" y="315"/>
                    <a:pt x="682" y="315"/>
                  </a:cubicBezTo>
                  <a:cubicBezTo>
                    <a:pt x="681" y="316"/>
                    <a:pt x="683" y="316"/>
                    <a:pt x="682" y="316"/>
                  </a:cubicBezTo>
                  <a:cubicBezTo>
                    <a:pt x="681" y="317"/>
                    <a:pt x="684" y="318"/>
                    <a:pt x="683" y="318"/>
                  </a:cubicBezTo>
                  <a:cubicBezTo>
                    <a:pt x="681" y="318"/>
                    <a:pt x="683" y="320"/>
                    <a:pt x="681" y="318"/>
                  </a:cubicBezTo>
                  <a:cubicBezTo>
                    <a:pt x="681" y="317"/>
                    <a:pt x="679" y="318"/>
                    <a:pt x="681" y="319"/>
                  </a:cubicBezTo>
                  <a:cubicBezTo>
                    <a:pt x="682" y="320"/>
                    <a:pt x="680" y="322"/>
                    <a:pt x="681" y="321"/>
                  </a:cubicBezTo>
                  <a:cubicBezTo>
                    <a:pt x="683" y="320"/>
                    <a:pt x="683" y="321"/>
                    <a:pt x="684" y="322"/>
                  </a:cubicBezTo>
                  <a:cubicBezTo>
                    <a:pt x="687" y="323"/>
                    <a:pt x="684" y="325"/>
                    <a:pt x="686" y="325"/>
                  </a:cubicBezTo>
                  <a:cubicBezTo>
                    <a:pt x="687" y="325"/>
                    <a:pt x="687" y="326"/>
                    <a:pt x="688" y="326"/>
                  </a:cubicBezTo>
                  <a:cubicBezTo>
                    <a:pt x="689" y="325"/>
                    <a:pt x="689" y="327"/>
                    <a:pt x="688" y="327"/>
                  </a:cubicBezTo>
                  <a:cubicBezTo>
                    <a:pt x="687" y="326"/>
                    <a:pt x="687" y="328"/>
                    <a:pt x="687" y="328"/>
                  </a:cubicBezTo>
                  <a:cubicBezTo>
                    <a:pt x="687" y="328"/>
                    <a:pt x="691" y="328"/>
                    <a:pt x="691" y="328"/>
                  </a:cubicBezTo>
                  <a:cubicBezTo>
                    <a:pt x="691" y="329"/>
                    <a:pt x="687" y="328"/>
                    <a:pt x="688" y="329"/>
                  </a:cubicBezTo>
                  <a:cubicBezTo>
                    <a:pt x="688" y="330"/>
                    <a:pt x="690" y="329"/>
                    <a:pt x="691" y="330"/>
                  </a:cubicBezTo>
                  <a:cubicBezTo>
                    <a:pt x="691" y="330"/>
                    <a:pt x="694" y="329"/>
                    <a:pt x="694" y="329"/>
                  </a:cubicBezTo>
                  <a:cubicBezTo>
                    <a:pt x="694" y="329"/>
                    <a:pt x="697" y="329"/>
                    <a:pt x="696" y="330"/>
                  </a:cubicBezTo>
                  <a:cubicBezTo>
                    <a:pt x="695" y="331"/>
                    <a:pt x="699" y="334"/>
                    <a:pt x="699" y="333"/>
                  </a:cubicBezTo>
                  <a:cubicBezTo>
                    <a:pt x="700" y="332"/>
                    <a:pt x="704" y="332"/>
                    <a:pt x="703" y="330"/>
                  </a:cubicBezTo>
                  <a:cubicBezTo>
                    <a:pt x="703" y="329"/>
                    <a:pt x="705" y="329"/>
                    <a:pt x="707" y="330"/>
                  </a:cubicBezTo>
                  <a:cubicBezTo>
                    <a:pt x="709" y="331"/>
                    <a:pt x="710" y="330"/>
                    <a:pt x="712" y="333"/>
                  </a:cubicBezTo>
                  <a:cubicBezTo>
                    <a:pt x="713" y="334"/>
                    <a:pt x="717" y="333"/>
                    <a:pt x="717" y="333"/>
                  </a:cubicBezTo>
                  <a:cubicBezTo>
                    <a:pt x="717" y="333"/>
                    <a:pt x="717" y="332"/>
                    <a:pt x="720" y="330"/>
                  </a:cubicBezTo>
                  <a:cubicBezTo>
                    <a:pt x="722" y="328"/>
                    <a:pt x="722" y="331"/>
                    <a:pt x="725" y="331"/>
                  </a:cubicBezTo>
                  <a:cubicBezTo>
                    <a:pt x="725" y="331"/>
                    <a:pt x="726" y="329"/>
                    <a:pt x="727" y="330"/>
                  </a:cubicBezTo>
                  <a:cubicBezTo>
                    <a:pt x="728" y="333"/>
                    <a:pt x="725" y="331"/>
                    <a:pt x="726" y="333"/>
                  </a:cubicBezTo>
                  <a:cubicBezTo>
                    <a:pt x="727" y="334"/>
                    <a:pt x="724" y="334"/>
                    <a:pt x="727" y="335"/>
                  </a:cubicBezTo>
                  <a:cubicBezTo>
                    <a:pt x="730" y="337"/>
                    <a:pt x="725" y="336"/>
                    <a:pt x="729" y="342"/>
                  </a:cubicBezTo>
                  <a:cubicBezTo>
                    <a:pt x="729" y="344"/>
                    <a:pt x="727" y="344"/>
                    <a:pt x="727" y="345"/>
                  </a:cubicBezTo>
                  <a:cubicBezTo>
                    <a:pt x="727" y="347"/>
                    <a:pt x="725" y="347"/>
                    <a:pt x="725" y="349"/>
                  </a:cubicBezTo>
                  <a:cubicBezTo>
                    <a:pt x="725" y="351"/>
                    <a:pt x="725" y="351"/>
                    <a:pt x="725" y="353"/>
                  </a:cubicBezTo>
                  <a:cubicBezTo>
                    <a:pt x="725" y="356"/>
                    <a:pt x="724" y="355"/>
                    <a:pt x="723" y="358"/>
                  </a:cubicBezTo>
                  <a:cubicBezTo>
                    <a:pt x="720" y="362"/>
                    <a:pt x="718" y="359"/>
                    <a:pt x="716" y="360"/>
                  </a:cubicBezTo>
                  <a:cubicBezTo>
                    <a:pt x="713" y="360"/>
                    <a:pt x="712" y="359"/>
                    <a:pt x="709" y="358"/>
                  </a:cubicBezTo>
                  <a:cubicBezTo>
                    <a:pt x="707" y="357"/>
                    <a:pt x="708" y="359"/>
                    <a:pt x="706" y="358"/>
                  </a:cubicBezTo>
                  <a:cubicBezTo>
                    <a:pt x="706" y="358"/>
                    <a:pt x="701" y="358"/>
                    <a:pt x="701" y="359"/>
                  </a:cubicBezTo>
                  <a:cubicBezTo>
                    <a:pt x="702" y="360"/>
                    <a:pt x="700" y="360"/>
                    <a:pt x="698" y="361"/>
                  </a:cubicBezTo>
                  <a:cubicBezTo>
                    <a:pt x="696" y="363"/>
                    <a:pt x="697" y="360"/>
                    <a:pt x="695" y="360"/>
                  </a:cubicBezTo>
                  <a:cubicBezTo>
                    <a:pt x="692" y="360"/>
                    <a:pt x="695" y="358"/>
                    <a:pt x="693" y="359"/>
                  </a:cubicBezTo>
                  <a:cubicBezTo>
                    <a:pt x="692" y="360"/>
                    <a:pt x="690" y="359"/>
                    <a:pt x="689" y="358"/>
                  </a:cubicBezTo>
                  <a:cubicBezTo>
                    <a:pt x="687" y="357"/>
                    <a:pt x="682" y="356"/>
                    <a:pt x="681" y="357"/>
                  </a:cubicBezTo>
                  <a:cubicBezTo>
                    <a:pt x="679" y="358"/>
                    <a:pt x="678" y="356"/>
                    <a:pt x="677" y="356"/>
                  </a:cubicBezTo>
                  <a:cubicBezTo>
                    <a:pt x="677" y="356"/>
                    <a:pt x="677" y="357"/>
                    <a:pt x="677" y="357"/>
                  </a:cubicBezTo>
                  <a:cubicBezTo>
                    <a:pt x="677" y="357"/>
                    <a:pt x="677" y="356"/>
                    <a:pt x="677" y="356"/>
                  </a:cubicBezTo>
                  <a:cubicBezTo>
                    <a:pt x="676" y="355"/>
                    <a:pt x="677" y="354"/>
                    <a:pt x="675" y="355"/>
                  </a:cubicBezTo>
                  <a:cubicBezTo>
                    <a:pt x="672" y="355"/>
                    <a:pt x="675" y="353"/>
                    <a:pt x="672" y="354"/>
                  </a:cubicBezTo>
                  <a:cubicBezTo>
                    <a:pt x="667" y="354"/>
                    <a:pt x="673" y="353"/>
                    <a:pt x="668" y="351"/>
                  </a:cubicBezTo>
                  <a:cubicBezTo>
                    <a:pt x="662" y="350"/>
                    <a:pt x="665" y="351"/>
                    <a:pt x="664" y="351"/>
                  </a:cubicBezTo>
                  <a:cubicBezTo>
                    <a:pt x="661" y="350"/>
                    <a:pt x="665" y="350"/>
                    <a:pt x="661" y="350"/>
                  </a:cubicBezTo>
                  <a:cubicBezTo>
                    <a:pt x="657" y="349"/>
                    <a:pt x="657" y="351"/>
                    <a:pt x="655" y="352"/>
                  </a:cubicBezTo>
                  <a:cubicBezTo>
                    <a:pt x="652" y="354"/>
                    <a:pt x="653" y="356"/>
                    <a:pt x="654" y="356"/>
                  </a:cubicBezTo>
                  <a:cubicBezTo>
                    <a:pt x="656" y="357"/>
                    <a:pt x="654" y="363"/>
                    <a:pt x="651" y="363"/>
                  </a:cubicBezTo>
                  <a:cubicBezTo>
                    <a:pt x="648" y="363"/>
                    <a:pt x="650" y="363"/>
                    <a:pt x="645" y="360"/>
                  </a:cubicBezTo>
                  <a:cubicBezTo>
                    <a:pt x="641" y="357"/>
                    <a:pt x="639" y="358"/>
                    <a:pt x="637" y="358"/>
                  </a:cubicBezTo>
                  <a:cubicBezTo>
                    <a:pt x="635" y="357"/>
                    <a:pt x="632" y="359"/>
                    <a:pt x="631" y="354"/>
                  </a:cubicBezTo>
                  <a:cubicBezTo>
                    <a:pt x="630" y="350"/>
                    <a:pt x="630" y="353"/>
                    <a:pt x="627" y="351"/>
                  </a:cubicBezTo>
                  <a:cubicBezTo>
                    <a:pt x="625" y="348"/>
                    <a:pt x="624" y="351"/>
                    <a:pt x="621" y="349"/>
                  </a:cubicBezTo>
                  <a:cubicBezTo>
                    <a:pt x="619" y="347"/>
                    <a:pt x="618" y="350"/>
                    <a:pt x="615" y="349"/>
                  </a:cubicBezTo>
                  <a:cubicBezTo>
                    <a:pt x="613" y="348"/>
                    <a:pt x="611" y="347"/>
                    <a:pt x="611" y="347"/>
                  </a:cubicBezTo>
                  <a:cubicBezTo>
                    <a:pt x="610" y="348"/>
                    <a:pt x="610" y="348"/>
                    <a:pt x="610" y="349"/>
                  </a:cubicBezTo>
                  <a:cubicBezTo>
                    <a:pt x="610" y="348"/>
                    <a:pt x="610" y="348"/>
                    <a:pt x="611" y="347"/>
                  </a:cubicBezTo>
                  <a:cubicBezTo>
                    <a:pt x="609" y="346"/>
                    <a:pt x="609" y="346"/>
                    <a:pt x="608" y="345"/>
                  </a:cubicBezTo>
                  <a:cubicBezTo>
                    <a:pt x="606" y="344"/>
                    <a:pt x="610" y="345"/>
                    <a:pt x="608" y="344"/>
                  </a:cubicBezTo>
                  <a:cubicBezTo>
                    <a:pt x="606" y="343"/>
                    <a:pt x="608" y="343"/>
                    <a:pt x="607" y="344"/>
                  </a:cubicBezTo>
                  <a:cubicBezTo>
                    <a:pt x="606" y="345"/>
                    <a:pt x="603" y="344"/>
                    <a:pt x="604" y="341"/>
                  </a:cubicBezTo>
                  <a:cubicBezTo>
                    <a:pt x="605" y="339"/>
                    <a:pt x="606" y="342"/>
                    <a:pt x="609" y="338"/>
                  </a:cubicBezTo>
                  <a:cubicBezTo>
                    <a:pt x="611" y="335"/>
                    <a:pt x="608" y="335"/>
                    <a:pt x="609" y="334"/>
                  </a:cubicBezTo>
                  <a:cubicBezTo>
                    <a:pt x="609" y="332"/>
                    <a:pt x="607" y="333"/>
                    <a:pt x="606" y="330"/>
                  </a:cubicBezTo>
                  <a:cubicBezTo>
                    <a:pt x="606" y="327"/>
                    <a:pt x="607" y="329"/>
                    <a:pt x="607" y="327"/>
                  </a:cubicBezTo>
                  <a:cubicBezTo>
                    <a:pt x="607" y="325"/>
                    <a:pt x="608" y="327"/>
                    <a:pt x="608" y="326"/>
                  </a:cubicBezTo>
                  <a:cubicBezTo>
                    <a:pt x="608" y="324"/>
                    <a:pt x="607" y="325"/>
                    <a:pt x="605" y="326"/>
                  </a:cubicBezTo>
                  <a:cubicBezTo>
                    <a:pt x="602" y="327"/>
                    <a:pt x="605" y="326"/>
                    <a:pt x="604" y="325"/>
                  </a:cubicBezTo>
                  <a:cubicBezTo>
                    <a:pt x="602" y="325"/>
                    <a:pt x="605" y="324"/>
                    <a:pt x="604" y="324"/>
                  </a:cubicBezTo>
                  <a:cubicBezTo>
                    <a:pt x="603" y="323"/>
                    <a:pt x="603" y="322"/>
                    <a:pt x="601" y="323"/>
                  </a:cubicBezTo>
                  <a:cubicBezTo>
                    <a:pt x="598" y="324"/>
                    <a:pt x="599" y="323"/>
                    <a:pt x="596" y="325"/>
                  </a:cubicBezTo>
                  <a:cubicBezTo>
                    <a:pt x="592" y="324"/>
                    <a:pt x="594" y="325"/>
                    <a:pt x="593" y="324"/>
                  </a:cubicBezTo>
                  <a:cubicBezTo>
                    <a:pt x="590" y="323"/>
                    <a:pt x="592" y="324"/>
                    <a:pt x="591" y="325"/>
                  </a:cubicBezTo>
                  <a:cubicBezTo>
                    <a:pt x="590" y="325"/>
                    <a:pt x="590" y="322"/>
                    <a:pt x="589" y="324"/>
                  </a:cubicBezTo>
                  <a:cubicBezTo>
                    <a:pt x="588" y="325"/>
                    <a:pt x="587" y="324"/>
                    <a:pt x="585" y="326"/>
                  </a:cubicBezTo>
                  <a:cubicBezTo>
                    <a:pt x="584" y="327"/>
                    <a:pt x="585" y="324"/>
                    <a:pt x="583" y="325"/>
                  </a:cubicBezTo>
                  <a:cubicBezTo>
                    <a:pt x="580" y="325"/>
                    <a:pt x="579" y="324"/>
                    <a:pt x="578" y="325"/>
                  </a:cubicBezTo>
                  <a:cubicBezTo>
                    <a:pt x="576" y="326"/>
                    <a:pt x="577" y="325"/>
                    <a:pt x="575" y="326"/>
                  </a:cubicBezTo>
                  <a:cubicBezTo>
                    <a:pt x="573" y="327"/>
                    <a:pt x="575" y="326"/>
                    <a:pt x="570" y="326"/>
                  </a:cubicBezTo>
                  <a:cubicBezTo>
                    <a:pt x="565" y="326"/>
                    <a:pt x="567" y="327"/>
                    <a:pt x="565" y="327"/>
                  </a:cubicBezTo>
                  <a:cubicBezTo>
                    <a:pt x="563" y="327"/>
                    <a:pt x="561" y="330"/>
                    <a:pt x="560" y="330"/>
                  </a:cubicBezTo>
                  <a:cubicBezTo>
                    <a:pt x="558" y="330"/>
                    <a:pt x="559" y="334"/>
                    <a:pt x="556" y="331"/>
                  </a:cubicBezTo>
                  <a:cubicBezTo>
                    <a:pt x="554" y="330"/>
                    <a:pt x="556" y="333"/>
                    <a:pt x="553" y="332"/>
                  </a:cubicBezTo>
                  <a:cubicBezTo>
                    <a:pt x="551" y="332"/>
                    <a:pt x="552" y="335"/>
                    <a:pt x="551" y="335"/>
                  </a:cubicBezTo>
                  <a:cubicBezTo>
                    <a:pt x="548" y="334"/>
                    <a:pt x="550" y="335"/>
                    <a:pt x="548" y="335"/>
                  </a:cubicBezTo>
                  <a:cubicBezTo>
                    <a:pt x="548" y="335"/>
                    <a:pt x="547" y="335"/>
                    <a:pt x="547" y="335"/>
                  </a:cubicBezTo>
                  <a:cubicBezTo>
                    <a:pt x="544" y="335"/>
                    <a:pt x="546" y="332"/>
                    <a:pt x="545" y="333"/>
                  </a:cubicBezTo>
                  <a:cubicBezTo>
                    <a:pt x="543" y="336"/>
                    <a:pt x="543" y="334"/>
                    <a:pt x="542" y="334"/>
                  </a:cubicBezTo>
                  <a:cubicBezTo>
                    <a:pt x="540" y="334"/>
                    <a:pt x="538" y="333"/>
                    <a:pt x="537" y="333"/>
                  </a:cubicBezTo>
                  <a:cubicBezTo>
                    <a:pt x="536" y="333"/>
                    <a:pt x="535" y="332"/>
                    <a:pt x="535" y="331"/>
                  </a:cubicBezTo>
                  <a:cubicBezTo>
                    <a:pt x="535" y="331"/>
                    <a:pt x="533" y="330"/>
                    <a:pt x="532" y="332"/>
                  </a:cubicBezTo>
                  <a:cubicBezTo>
                    <a:pt x="531" y="334"/>
                    <a:pt x="530" y="333"/>
                    <a:pt x="528" y="338"/>
                  </a:cubicBezTo>
                  <a:cubicBezTo>
                    <a:pt x="523" y="348"/>
                    <a:pt x="518" y="343"/>
                    <a:pt x="517" y="348"/>
                  </a:cubicBezTo>
                  <a:cubicBezTo>
                    <a:pt x="515" y="354"/>
                    <a:pt x="514" y="350"/>
                    <a:pt x="512" y="358"/>
                  </a:cubicBezTo>
                  <a:cubicBezTo>
                    <a:pt x="510" y="362"/>
                    <a:pt x="514" y="361"/>
                    <a:pt x="514" y="363"/>
                  </a:cubicBezTo>
                  <a:cubicBezTo>
                    <a:pt x="513" y="368"/>
                    <a:pt x="506" y="369"/>
                    <a:pt x="505" y="372"/>
                  </a:cubicBezTo>
                  <a:cubicBezTo>
                    <a:pt x="504" y="376"/>
                    <a:pt x="498" y="372"/>
                    <a:pt x="495" y="377"/>
                  </a:cubicBezTo>
                  <a:cubicBezTo>
                    <a:pt x="494" y="380"/>
                    <a:pt x="494" y="379"/>
                    <a:pt x="493" y="382"/>
                  </a:cubicBezTo>
                  <a:cubicBezTo>
                    <a:pt x="491" y="389"/>
                    <a:pt x="490" y="381"/>
                    <a:pt x="487" y="390"/>
                  </a:cubicBezTo>
                  <a:cubicBezTo>
                    <a:pt x="485" y="397"/>
                    <a:pt x="480" y="398"/>
                    <a:pt x="479" y="405"/>
                  </a:cubicBezTo>
                  <a:cubicBezTo>
                    <a:pt x="478" y="411"/>
                    <a:pt x="477" y="411"/>
                    <a:pt x="475" y="415"/>
                  </a:cubicBezTo>
                  <a:cubicBezTo>
                    <a:pt x="473" y="419"/>
                    <a:pt x="476" y="415"/>
                    <a:pt x="476" y="417"/>
                  </a:cubicBezTo>
                  <a:cubicBezTo>
                    <a:pt x="475" y="419"/>
                    <a:pt x="475" y="421"/>
                    <a:pt x="476" y="420"/>
                  </a:cubicBezTo>
                  <a:cubicBezTo>
                    <a:pt x="477" y="420"/>
                    <a:pt x="478" y="423"/>
                    <a:pt x="478" y="424"/>
                  </a:cubicBezTo>
                  <a:cubicBezTo>
                    <a:pt x="478" y="425"/>
                    <a:pt x="478" y="425"/>
                    <a:pt x="477" y="426"/>
                  </a:cubicBezTo>
                  <a:cubicBezTo>
                    <a:pt x="476" y="428"/>
                    <a:pt x="476" y="428"/>
                    <a:pt x="478" y="428"/>
                  </a:cubicBezTo>
                  <a:cubicBezTo>
                    <a:pt x="479" y="428"/>
                    <a:pt x="476" y="429"/>
                    <a:pt x="477" y="430"/>
                  </a:cubicBezTo>
                  <a:cubicBezTo>
                    <a:pt x="480" y="434"/>
                    <a:pt x="479" y="437"/>
                    <a:pt x="479" y="440"/>
                  </a:cubicBezTo>
                  <a:cubicBezTo>
                    <a:pt x="479" y="444"/>
                    <a:pt x="476" y="443"/>
                    <a:pt x="477" y="447"/>
                  </a:cubicBezTo>
                  <a:cubicBezTo>
                    <a:pt x="476" y="450"/>
                    <a:pt x="477" y="450"/>
                    <a:pt x="474" y="453"/>
                  </a:cubicBezTo>
                  <a:cubicBezTo>
                    <a:pt x="472" y="457"/>
                    <a:pt x="472" y="456"/>
                    <a:pt x="471" y="457"/>
                  </a:cubicBezTo>
                  <a:cubicBezTo>
                    <a:pt x="470" y="459"/>
                    <a:pt x="468" y="459"/>
                    <a:pt x="470" y="459"/>
                  </a:cubicBezTo>
                  <a:cubicBezTo>
                    <a:pt x="473" y="460"/>
                    <a:pt x="470" y="460"/>
                    <a:pt x="472" y="461"/>
                  </a:cubicBezTo>
                  <a:cubicBezTo>
                    <a:pt x="474" y="461"/>
                    <a:pt x="472" y="461"/>
                    <a:pt x="473" y="462"/>
                  </a:cubicBezTo>
                  <a:cubicBezTo>
                    <a:pt x="474" y="463"/>
                    <a:pt x="474" y="461"/>
                    <a:pt x="476" y="462"/>
                  </a:cubicBezTo>
                  <a:cubicBezTo>
                    <a:pt x="475" y="462"/>
                    <a:pt x="473" y="462"/>
                    <a:pt x="474" y="463"/>
                  </a:cubicBezTo>
                  <a:cubicBezTo>
                    <a:pt x="476" y="465"/>
                    <a:pt x="474" y="463"/>
                    <a:pt x="475" y="465"/>
                  </a:cubicBezTo>
                  <a:cubicBezTo>
                    <a:pt x="476" y="467"/>
                    <a:pt x="475" y="468"/>
                    <a:pt x="477" y="467"/>
                  </a:cubicBezTo>
                  <a:cubicBezTo>
                    <a:pt x="478" y="467"/>
                    <a:pt x="475" y="466"/>
                    <a:pt x="481" y="466"/>
                  </a:cubicBezTo>
                  <a:cubicBezTo>
                    <a:pt x="476" y="466"/>
                    <a:pt x="479" y="467"/>
                    <a:pt x="477" y="468"/>
                  </a:cubicBezTo>
                  <a:cubicBezTo>
                    <a:pt x="475" y="468"/>
                    <a:pt x="475" y="467"/>
                    <a:pt x="475" y="469"/>
                  </a:cubicBezTo>
                  <a:cubicBezTo>
                    <a:pt x="475" y="469"/>
                    <a:pt x="474" y="472"/>
                    <a:pt x="475" y="471"/>
                  </a:cubicBezTo>
                  <a:cubicBezTo>
                    <a:pt x="477" y="470"/>
                    <a:pt x="477" y="471"/>
                    <a:pt x="478" y="470"/>
                  </a:cubicBezTo>
                  <a:cubicBezTo>
                    <a:pt x="480" y="469"/>
                    <a:pt x="479" y="470"/>
                    <a:pt x="480" y="470"/>
                  </a:cubicBezTo>
                  <a:cubicBezTo>
                    <a:pt x="482" y="470"/>
                    <a:pt x="482" y="471"/>
                    <a:pt x="483" y="470"/>
                  </a:cubicBezTo>
                  <a:cubicBezTo>
                    <a:pt x="484" y="470"/>
                    <a:pt x="483" y="471"/>
                    <a:pt x="482" y="471"/>
                  </a:cubicBezTo>
                  <a:cubicBezTo>
                    <a:pt x="480" y="470"/>
                    <a:pt x="481" y="471"/>
                    <a:pt x="480" y="471"/>
                  </a:cubicBezTo>
                  <a:cubicBezTo>
                    <a:pt x="478" y="470"/>
                    <a:pt x="479" y="471"/>
                    <a:pt x="478" y="471"/>
                  </a:cubicBezTo>
                  <a:cubicBezTo>
                    <a:pt x="475" y="471"/>
                    <a:pt x="477" y="472"/>
                    <a:pt x="476" y="472"/>
                  </a:cubicBezTo>
                  <a:cubicBezTo>
                    <a:pt x="474" y="472"/>
                    <a:pt x="475" y="473"/>
                    <a:pt x="475" y="473"/>
                  </a:cubicBezTo>
                  <a:cubicBezTo>
                    <a:pt x="476" y="474"/>
                    <a:pt x="476" y="474"/>
                    <a:pt x="477" y="474"/>
                  </a:cubicBezTo>
                  <a:cubicBezTo>
                    <a:pt x="476" y="474"/>
                    <a:pt x="475" y="474"/>
                    <a:pt x="477" y="475"/>
                  </a:cubicBezTo>
                  <a:cubicBezTo>
                    <a:pt x="478" y="476"/>
                    <a:pt x="478" y="474"/>
                    <a:pt x="479" y="475"/>
                  </a:cubicBezTo>
                  <a:cubicBezTo>
                    <a:pt x="479" y="475"/>
                    <a:pt x="478" y="475"/>
                    <a:pt x="478" y="476"/>
                  </a:cubicBezTo>
                  <a:cubicBezTo>
                    <a:pt x="479" y="476"/>
                    <a:pt x="482" y="474"/>
                    <a:pt x="482" y="475"/>
                  </a:cubicBezTo>
                  <a:cubicBezTo>
                    <a:pt x="483" y="476"/>
                    <a:pt x="481" y="475"/>
                    <a:pt x="479" y="476"/>
                  </a:cubicBezTo>
                  <a:cubicBezTo>
                    <a:pt x="479" y="477"/>
                    <a:pt x="479" y="478"/>
                    <a:pt x="480" y="478"/>
                  </a:cubicBezTo>
                  <a:cubicBezTo>
                    <a:pt x="481" y="477"/>
                    <a:pt x="480" y="476"/>
                    <a:pt x="482" y="476"/>
                  </a:cubicBezTo>
                  <a:cubicBezTo>
                    <a:pt x="481" y="477"/>
                    <a:pt x="483" y="478"/>
                    <a:pt x="482" y="478"/>
                  </a:cubicBezTo>
                  <a:cubicBezTo>
                    <a:pt x="481" y="477"/>
                    <a:pt x="481" y="479"/>
                    <a:pt x="481" y="479"/>
                  </a:cubicBezTo>
                  <a:cubicBezTo>
                    <a:pt x="482" y="479"/>
                    <a:pt x="480" y="479"/>
                    <a:pt x="482" y="480"/>
                  </a:cubicBezTo>
                  <a:cubicBezTo>
                    <a:pt x="481" y="481"/>
                    <a:pt x="483" y="484"/>
                    <a:pt x="484" y="483"/>
                  </a:cubicBezTo>
                  <a:cubicBezTo>
                    <a:pt x="484" y="484"/>
                    <a:pt x="486" y="485"/>
                    <a:pt x="486" y="486"/>
                  </a:cubicBezTo>
                  <a:cubicBezTo>
                    <a:pt x="485" y="487"/>
                    <a:pt x="486" y="489"/>
                    <a:pt x="488" y="489"/>
                  </a:cubicBezTo>
                  <a:cubicBezTo>
                    <a:pt x="487" y="489"/>
                    <a:pt x="490" y="493"/>
                    <a:pt x="491" y="492"/>
                  </a:cubicBezTo>
                  <a:cubicBezTo>
                    <a:pt x="491" y="493"/>
                    <a:pt x="489" y="494"/>
                    <a:pt x="491" y="494"/>
                  </a:cubicBezTo>
                  <a:cubicBezTo>
                    <a:pt x="490" y="495"/>
                    <a:pt x="492" y="495"/>
                    <a:pt x="491" y="495"/>
                  </a:cubicBezTo>
                  <a:cubicBezTo>
                    <a:pt x="490" y="496"/>
                    <a:pt x="493" y="497"/>
                    <a:pt x="492" y="497"/>
                  </a:cubicBezTo>
                  <a:cubicBezTo>
                    <a:pt x="491" y="497"/>
                    <a:pt x="492" y="498"/>
                    <a:pt x="491" y="497"/>
                  </a:cubicBezTo>
                  <a:cubicBezTo>
                    <a:pt x="490" y="497"/>
                    <a:pt x="491" y="499"/>
                    <a:pt x="492" y="499"/>
                  </a:cubicBezTo>
                  <a:cubicBezTo>
                    <a:pt x="492" y="499"/>
                    <a:pt x="493" y="501"/>
                    <a:pt x="493" y="501"/>
                  </a:cubicBezTo>
                  <a:cubicBezTo>
                    <a:pt x="492" y="501"/>
                    <a:pt x="492" y="501"/>
                    <a:pt x="494" y="502"/>
                  </a:cubicBezTo>
                  <a:cubicBezTo>
                    <a:pt x="495" y="504"/>
                    <a:pt x="496" y="501"/>
                    <a:pt x="495" y="502"/>
                  </a:cubicBezTo>
                  <a:cubicBezTo>
                    <a:pt x="495" y="503"/>
                    <a:pt x="497" y="503"/>
                    <a:pt x="496" y="503"/>
                  </a:cubicBezTo>
                  <a:cubicBezTo>
                    <a:pt x="495" y="504"/>
                    <a:pt x="498" y="504"/>
                    <a:pt x="495" y="504"/>
                  </a:cubicBezTo>
                  <a:cubicBezTo>
                    <a:pt x="494" y="504"/>
                    <a:pt x="498" y="507"/>
                    <a:pt x="500" y="506"/>
                  </a:cubicBezTo>
                  <a:cubicBezTo>
                    <a:pt x="503" y="508"/>
                    <a:pt x="499" y="507"/>
                    <a:pt x="501" y="508"/>
                  </a:cubicBezTo>
                  <a:cubicBezTo>
                    <a:pt x="503" y="509"/>
                    <a:pt x="503" y="511"/>
                    <a:pt x="505" y="511"/>
                  </a:cubicBezTo>
                  <a:cubicBezTo>
                    <a:pt x="504" y="511"/>
                    <a:pt x="504" y="512"/>
                    <a:pt x="508" y="514"/>
                  </a:cubicBezTo>
                  <a:cubicBezTo>
                    <a:pt x="511" y="516"/>
                    <a:pt x="510" y="517"/>
                    <a:pt x="512" y="518"/>
                  </a:cubicBezTo>
                  <a:cubicBezTo>
                    <a:pt x="513" y="518"/>
                    <a:pt x="511" y="518"/>
                    <a:pt x="513" y="519"/>
                  </a:cubicBezTo>
                  <a:cubicBezTo>
                    <a:pt x="518" y="520"/>
                    <a:pt x="515" y="522"/>
                    <a:pt x="519" y="521"/>
                  </a:cubicBezTo>
                  <a:cubicBezTo>
                    <a:pt x="519" y="522"/>
                    <a:pt x="519" y="523"/>
                    <a:pt x="521" y="523"/>
                  </a:cubicBezTo>
                  <a:cubicBezTo>
                    <a:pt x="525" y="521"/>
                    <a:pt x="527" y="521"/>
                    <a:pt x="527" y="518"/>
                  </a:cubicBezTo>
                  <a:cubicBezTo>
                    <a:pt x="528" y="521"/>
                    <a:pt x="530" y="519"/>
                    <a:pt x="536" y="518"/>
                  </a:cubicBezTo>
                  <a:cubicBezTo>
                    <a:pt x="538" y="518"/>
                    <a:pt x="541" y="518"/>
                    <a:pt x="541" y="518"/>
                  </a:cubicBezTo>
                  <a:cubicBezTo>
                    <a:pt x="541" y="517"/>
                    <a:pt x="539" y="518"/>
                    <a:pt x="538" y="517"/>
                  </a:cubicBezTo>
                  <a:cubicBezTo>
                    <a:pt x="538" y="517"/>
                    <a:pt x="540" y="517"/>
                    <a:pt x="540" y="517"/>
                  </a:cubicBezTo>
                  <a:cubicBezTo>
                    <a:pt x="543" y="516"/>
                    <a:pt x="540" y="518"/>
                    <a:pt x="544" y="518"/>
                  </a:cubicBezTo>
                  <a:cubicBezTo>
                    <a:pt x="544" y="518"/>
                    <a:pt x="546" y="518"/>
                    <a:pt x="548" y="518"/>
                  </a:cubicBezTo>
                  <a:cubicBezTo>
                    <a:pt x="551" y="518"/>
                    <a:pt x="550" y="520"/>
                    <a:pt x="552" y="520"/>
                  </a:cubicBezTo>
                  <a:cubicBezTo>
                    <a:pt x="553" y="520"/>
                    <a:pt x="552" y="519"/>
                    <a:pt x="555" y="519"/>
                  </a:cubicBezTo>
                  <a:cubicBezTo>
                    <a:pt x="559" y="518"/>
                    <a:pt x="559" y="518"/>
                    <a:pt x="561" y="517"/>
                  </a:cubicBezTo>
                  <a:cubicBezTo>
                    <a:pt x="563" y="516"/>
                    <a:pt x="563" y="516"/>
                    <a:pt x="562" y="515"/>
                  </a:cubicBezTo>
                  <a:cubicBezTo>
                    <a:pt x="563" y="515"/>
                    <a:pt x="563" y="518"/>
                    <a:pt x="565" y="514"/>
                  </a:cubicBezTo>
                  <a:cubicBezTo>
                    <a:pt x="567" y="514"/>
                    <a:pt x="568" y="514"/>
                    <a:pt x="570" y="513"/>
                  </a:cubicBezTo>
                  <a:cubicBezTo>
                    <a:pt x="571" y="513"/>
                    <a:pt x="572" y="512"/>
                    <a:pt x="571" y="512"/>
                  </a:cubicBezTo>
                  <a:cubicBezTo>
                    <a:pt x="570" y="512"/>
                    <a:pt x="573" y="511"/>
                    <a:pt x="572" y="512"/>
                  </a:cubicBezTo>
                  <a:cubicBezTo>
                    <a:pt x="572" y="512"/>
                    <a:pt x="572" y="512"/>
                    <a:pt x="574" y="512"/>
                  </a:cubicBezTo>
                  <a:cubicBezTo>
                    <a:pt x="578" y="512"/>
                    <a:pt x="575" y="511"/>
                    <a:pt x="578" y="511"/>
                  </a:cubicBezTo>
                  <a:cubicBezTo>
                    <a:pt x="576" y="512"/>
                    <a:pt x="579" y="512"/>
                    <a:pt x="580" y="512"/>
                  </a:cubicBezTo>
                  <a:cubicBezTo>
                    <a:pt x="583" y="512"/>
                    <a:pt x="586" y="514"/>
                    <a:pt x="585" y="515"/>
                  </a:cubicBezTo>
                  <a:cubicBezTo>
                    <a:pt x="585" y="517"/>
                    <a:pt x="586" y="516"/>
                    <a:pt x="586" y="516"/>
                  </a:cubicBezTo>
                  <a:cubicBezTo>
                    <a:pt x="586" y="516"/>
                    <a:pt x="585" y="517"/>
                    <a:pt x="585" y="517"/>
                  </a:cubicBezTo>
                  <a:cubicBezTo>
                    <a:pt x="586" y="517"/>
                    <a:pt x="585" y="519"/>
                    <a:pt x="586" y="518"/>
                  </a:cubicBezTo>
                  <a:cubicBezTo>
                    <a:pt x="587" y="518"/>
                    <a:pt x="586" y="517"/>
                    <a:pt x="588" y="517"/>
                  </a:cubicBezTo>
                  <a:cubicBezTo>
                    <a:pt x="586" y="518"/>
                    <a:pt x="587" y="518"/>
                    <a:pt x="587" y="519"/>
                  </a:cubicBezTo>
                  <a:cubicBezTo>
                    <a:pt x="586" y="519"/>
                    <a:pt x="585" y="519"/>
                    <a:pt x="586" y="520"/>
                  </a:cubicBezTo>
                  <a:cubicBezTo>
                    <a:pt x="588" y="521"/>
                    <a:pt x="586" y="521"/>
                    <a:pt x="588" y="521"/>
                  </a:cubicBezTo>
                  <a:cubicBezTo>
                    <a:pt x="590" y="523"/>
                    <a:pt x="591" y="524"/>
                    <a:pt x="592" y="524"/>
                  </a:cubicBezTo>
                  <a:cubicBezTo>
                    <a:pt x="593" y="523"/>
                    <a:pt x="592" y="524"/>
                    <a:pt x="593" y="524"/>
                  </a:cubicBezTo>
                  <a:cubicBezTo>
                    <a:pt x="594" y="523"/>
                    <a:pt x="594" y="524"/>
                    <a:pt x="595" y="523"/>
                  </a:cubicBezTo>
                  <a:cubicBezTo>
                    <a:pt x="596" y="523"/>
                    <a:pt x="595" y="522"/>
                    <a:pt x="596" y="522"/>
                  </a:cubicBezTo>
                  <a:cubicBezTo>
                    <a:pt x="597" y="523"/>
                    <a:pt x="598" y="523"/>
                    <a:pt x="598" y="522"/>
                  </a:cubicBezTo>
                  <a:cubicBezTo>
                    <a:pt x="600" y="523"/>
                    <a:pt x="601" y="522"/>
                    <a:pt x="600" y="521"/>
                  </a:cubicBezTo>
                  <a:cubicBezTo>
                    <a:pt x="600" y="522"/>
                    <a:pt x="602" y="522"/>
                    <a:pt x="602" y="522"/>
                  </a:cubicBezTo>
                  <a:cubicBezTo>
                    <a:pt x="602" y="522"/>
                    <a:pt x="602" y="522"/>
                    <a:pt x="602" y="522"/>
                  </a:cubicBezTo>
                  <a:cubicBezTo>
                    <a:pt x="603" y="523"/>
                    <a:pt x="603" y="523"/>
                    <a:pt x="603" y="522"/>
                  </a:cubicBezTo>
                  <a:cubicBezTo>
                    <a:pt x="603" y="521"/>
                    <a:pt x="603" y="524"/>
                    <a:pt x="605" y="525"/>
                  </a:cubicBezTo>
                  <a:cubicBezTo>
                    <a:pt x="607" y="526"/>
                    <a:pt x="607" y="524"/>
                    <a:pt x="607" y="525"/>
                  </a:cubicBezTo>
                  <a:cubicBezTo>
                    <a:pt x="607" y="525"/>
                    <a:pt x="609" y="524"/>
                    <a:pt x="608" y="525"/>
                  </a:cubicBezTo>
                  <a:cubicBezTo>
                    <a:pt x="606" y="526"/>
                    <a:pt x="610" y="526"/>
                    <a:pt x="607" y="526"/>
                  </a:cubicBezTo>
                  <a:cubicBezTo>
                    <a:pt x="605" y="526"/>
                    <a:pt x="608" y="527"/>
                    <a:pt x="608" y="528"/>
                  </a:cubicBezTo>
                  <a:cubicBezTo>
                    <a:pt x="607" y="529"/>
                    <a:pt x="609" y="529"/>
                    <a:pt x="608" y="531"/>
                  </a:cubicBezTo>
                  <a:cubicBezTo>
                    <a:pt x="608" y="533"/>
                    <a:pt x="608" y="534"/>
                    <a:pt x="608" y="537"/>
                  </a:cubicBezTo>
                  <a:cubicBezTo>
                    <a:pt x="608" y="537"/>
                    <a:pt x="607" y="538"/>
                    <a:pt x="607" y="539"/>
                  </a:cubicBezTo>
                  <a:cubicBezTo>
                    <a:pt x="608" y="540"/>
                    <a:pt x="605" y="541"/>
                    <a:pt x="605" y="543"/>
                  </a:cubicBezTo>
                  <a:cubicBezTo>
                    <a:pt x="606" y="544"/>
                    <a:pt x="607" y="543"/>
                    <a:pt x="609" y="544"/>
                  </a:cubicBezTo>
                  <a:cubicBezTo>
                    <a:pt x="606" y="545"/>
                    <a:pt x="609" y="547"/>
                    <a:pt x="606" y="547"/>
                  </a:cubicBezTo>
                  <a:cubicBezTo>
                    <a:pt x="605" y="547"/>
                    <a:pt x="607" y="549"/>
                    <a:pt x="608" y="549"/>
                  </a:cubicBezTo>
                  <a:cubicBezTo>
                    <a:pt x="609" y="549"/>
                    <a:pt x="609" y="550"/>
                    <a:pt x="608" y="550"/>
                  </a:cubicBezTo>
                  <a:cubicBezTo>
                    <a:pt x="606" y="549"/>
                    <a:pt x="606" y="548"/>
                    <a:pt x="606" y="548"/>
                  </a:cubicBezTo>
                  <a:cubicBezTo>
                    <a:pt x="605" y="548"/>
                    <a:pt x="606" y="551"/>
                    <a:pt x="605" y="552"/>
                  </a:cubicBezTo>
                  <a:cubicBezTo>
                    <a:pt x="604" y="553"/>
                    <a:pt x="605" y="555"/>
                    <a:pt x="602" y="554"/>
                  </a:cubicBezTo>
                  <a:cubicBezTo>
                    <a:pt x="601" y="553"/>
                    <a:pt x="604" y="560"/>
                    <a:pt x="604" y="560"/>
                  </a:cubicBezTo>
                  <a:cubicBezTo>
                    <a:pt x="606" y="559"/>
                    <a:pt x="605" y="561"/>
                    <a:pt x="605" y="561"/>
                  </a:cubicBezTo>
                  <a:cubicBezTo>
                    <a:pt x="604" y="561"/>
                    <a:pt x="605" y="563"/>
                    <a:pt x="606" y="564"/>
                  </a:cubicBezTo>
                  <a:cubicBezTo>
                    <a:pt x="607" y="565"/>
                    <a:pt x="606" y="564"/>
                    <a:pt x="606" y="564"/>
                  </a:cubicBezTo>
                  <a:cubicBezTo>
                    <a:pt x="606" y="564"/>
                    <a:pt x="610" y="568"/>
                    <a:pt x="610" y="569"/>
                  </a:cubicBezTo>
                  <a:cubicBezTo>
                    <a:pt x="610" y="570"/>
                    <a:pt x="614" y="572"/>
                    <a:pt x="613" y="572"/>
                  </a:cubicBezTo>
                  <a:cubicBezTo>
                    <a:pt x="611" y="574"/>
                    <a:pt x="614" y="573"/>
                    <a:pt x="614" y="574"/>
                  </a:cubicBezTo>
                  <a:cubicBezTo>
                    <a:pt x="613" y="575"/>
                    <a:pt x="615" y="574"/>
                    <a:pt x="617" y="579"/>
                  </a:cubicBezTo>
                  <a:cubicBezTo>
                    <a:pt x="618" y="580"/>
                    <a:pt x="618" y="581"/>
                    <a:pt x="619" y="580"/>
                  </a:cubicBezTo>
                  <a:cubicBezTo>
                    <a:pt x="620" y="580"/>
                    <a:pt x="621" y="581"/>
                    <a:pt x="619" y="581"/>
                  </a:cubicBezTo>
                  <a:cubicBezTo>
                    <a:pt x="616" y="580"/>
                    <a:pt x="620" y="583"/>
                    <a:pt x="619" y="584"/>
                  </a:cubicBezTo>
                  <a:cubicBezTo>
                    <a:pt x="619" y="584"/>
                    <a:pt x="620" y="586"/>
                    <a:pt x="619" y="586"/>
                  </a:cubicBezTo>
                  <a:cubicBezTo>
                    <a:pt x="618" y="586"/>
                    <a:pt x="620" y="587"/>
                    <a:pt x="620" y="587"/>
                  </a:cubicBezTo>
                  <a:cubicBezTo>
                    <a:pt x="620" y="588"/>
                    <a:pt x="621" y="589"/>
                    <a:pt x="622" y="588"/>
                  </a:cubicBezTo>
                  <a:cubicBezTo>
                    <a:pt x="624" y="587"/>
                    <a:pt x="624" y="588"/>
                    <a:pt x="625" y="588"/>
                  </a:cubicBezTo>
                  <a:cubicBezTo>
                    <a:pt x="625" y="589"/>
                    <a:pt x="623" y="589"/>
                    <a:pt x="621" y="589"/>
                  </a:cubicBezTo>
                  <a:cubicBezTo>
                    <a:pt x="619" y="590"/>
                    <a:pt x="622" y="591"/>
                    <a:pt x="623" y="594"/>
                  </a:cubicBezTo>
                  <a:cubicBezTo>
                    <a:pt x="623" y="598"/>
                    <a:pt x="626" y="601"/>
                    <a:pt x="625" y="605"/>
                  </a:cubicBezTo>
                  <a:cubicBezTo>
                    <a:pt x="623" y="610"/>
                    <a:pt x="625" y="607"/>
                    <a:pt x="625" y="609"/>
                  </a:cubicBezTo>
                  <a:cubicBezTo>
                    <a:pt x="624" y="613"/>
                    <a:pt x="629" y="616"/>
                    <a:pt x="627" y="622"/>
                  </a:cubicBezTo>
                  <a:cubicBezTo>
                    <a:pt x="625" y="628"/>
                    <a:pt x="625" y="624"/>
                    <a:pt x="623" y="628"/>
                  </a:cubicBezTo>
                  <a:cubicBezTo>
                    <a:pt x="621" y="632"/>
                    <a:pt x="622" y="628"/>
                    <a:pt x="619" y="634"/>
                  </a:cubicBezTo>
                  <a:cubicBezTo>
                    <a:pt x="616" y="640"/>
                    <a:pt x="618" y="650"/>
                    <a:pt x="616" y="651"/>
                  </a:cubicBezTo>
                  <a:cubicBezTo>
                    <a:pt x="614" y="653"/>
                    <a:pt x="616" y="650"/>
                    <a:pt x="615" y="660"/>
                  </a:cubicBezTo>
                  <a:cubicBezTo>
                    <a:pt x="615" y="667"/>
                    <a:pt x="620" y="671"/>
                    <a:pt x="620" y="675"/>
                  </a:cubicBezTo>
                  <a:cubicBezTo>
                    <a:pt x="619" y="681"/>
                    <a:pt x="628" y="692"/>
                    <a:pt x="628" y="694"/>
                  </a:cubicBezTo>
                  <a:cubicBezTo>
                    <a:pt x="626" y="698"/>
                    <a:pt x="628" y="695"/>
                    <a:pt x="627" y="699"/>
                  </a:cubicBezTo>
                  <a:cubicBezTo>
                    <a:pt x="626" y="703"/>
                    <a:pt x="630" y="716"/>
                    <a:pt x="630" y="718"/>
                  </a:cubicBezTo>
                  <a:cubicBezTo>
                    <a:pt x="629" y="719"/>
                    <a:pt x="631" y="723"/>
                    <a:pt x="632" y="726"/>
                  </a:cubicBezTo>
                  <a:cubicBezTo>
                    <a:pt x="633" y="727"/>
                    <a:pt x="634" y="727"/>
                    <a:pt x="634" y="728"/>
                  </a:cubicBezTo>
                  <a:cubicBezTo>
                    <a:pt x="636" y="729"/>
                    <a:pt x="634" y="739"/>
                    <a:pt x="639" y="743"/>
                  </a:cubicBezTo>
                  <a:cubicBezTo>
                    <a:pt x="643" y="745"/>
                    <a:pt x="640" y="747"/>
                    <a:pt x="640" y="750"/>
                  </a:cubicBezTo>
                  <a:cubicBezTo>
                    <a:pt x="641" y="752"/>
                    <a:pt x="640" y="752"/>
                    <a:pt x="639" y="753"/>
                  </a:cubicBezTo>
                  <a:cubicBezTo>
                    <a:pt x="641" y="755"/>
                    <a:pt x="638" y="756"/>
                    <a:pt x="640" y="757"/>
                  </a:cubicBezTo>
                  <a:cubicBezTo>
                    <a:pt x="643" y="759"/>
                    <a:pt x="639" y="761"/>
                    <a:pt x="643" y="762"/>
                  </a:cubicBezTo>
                  <a:cubicBezTo>
                    <a:pt x="643" y="762"/>
                    <a:pt x="642" y="761"/>
                    <a:pt x="643" y="760"/>
                  </a:cubicBezTo>
                  <a:cubicBezTo>
                    <a:pt x="644" y="759"/>
                    <a:pt x="646" y="765"/>
                    <a:pt x="651" y="762"/>
                  </a:cubicBezTo>
                  <a:cubicBezTo>
                    <a:pt x="654" y="760"/>
                    <a:pt x="654" y="762"/>
                    <a:pt x="655" y="761"/>
                  </a:cubicBezTo>
                  <a:cubicBezTo>
                    <a:pt x="657" y="761"/>
                    <a:pt x="658" y="761"/>
                    <a:pt x="659" y="760"/>
                  </a:cubicBezTo>
                  <a:cubicBezTo>
                    <a:pt x="660" y="758"/>
                    <a:pt x="662" y="760"/>
                    <a:pt x="663" y="759"/>
                  </a:cubicBezTo>
                  <a:cubicBezTo>
                    <a:pt x="664" y="759"/>
                    <a:pt x="667" y="759"/>
                    <a:pt x="668" y="760"/>
                  </a:cubicBezTo>
                  <a:cubicBezTo>
                    <a:pt x="671" y="761"/>
                    <a:pt x="669" y="758"/>
                    <a:pt x="672" y="759"/>
                  </a:cubicBezTo>
                  <a:cubicBezTo>
                    <a:pt x="675" y="760"/>
                    <a:pt x="674" y="757"/>
                    <a:pt x="677" y="756"/>
                  </a:cubicBezTo>
                  <a:cubicBezTo>
                    <a:pt x="684" y="755"/>
                    <a:pt x="685" y="750"/>
                    <a:pt x="688" y="748"/>
                  </a:cubicBezTo>
                  <a:cubicBezTo>
                    <a:pt x="690" y="747"/>
                    <a:pt x="692" y="741"/>
                    <a:pt x="695" y="741"/>
                  </a:cubicBezTo>
                  <a:cubicBezTo>
                    <a:pt x="699" y="739"/>
                    <a:pt x="703" y="725"/>
                    <a:pt x="707" y="725"/>
                  </a:cubicBezTo>
                  <a:cubicBezTo>
                    <a:pt x="711" y="724"/>
                    <a:pt x="711" y="723"/>
                    <a:pt x="714" y="713"/>
                  </a:cubicBezTo>
                  <a:cubicBezTo>
                    <a:pt x="715" y="710"/>
                    <a:pt x="710" y="709"/>
                    <a:pt x="719" y="706"/>
                  </a:cubicBezTo>
                  <a:cubicBezTo>
                    <a:pt x="726" y="703"/>
                    <a:pt x="728" y="698"/>
                    <a:pt x="728" y="697"/>
                  </a:cubicBezTo>
                  <a:cubicBezTo>
                    <a:pt x="728" y="694"/>
                    <a:pt x="731" y="693"/>
                    <a:pt x="730" y="690"/>
                  </a:cubicBezTo>
                  <a:cubicBezTo>
                    <a:pt x="729" y="688"/>
                    <a:pt x="730" y="686"/>
                    <a:pt x="730" y="685"/>
                  </a:cubicBezTo>
                  <a:cubicBezTo>
                    <a:pt x="728" y="681"/>
                    <a:pt x="729" y="679"/>
                    <a:pt x="728" y="679"/>
                  </a:cubicBezTo>
                  <a:cubicBezTo>
                    <a:pt x="726" y="678"/>
                    <a:pt x="728" y="672"/>
                    <a:pt x="732" y="670"/>
                  </a:cubicBezTo>
                  <a:cubicBezTo>
                    <a:pt x="736" y="668"/>
                    <a:pt x="740" y="660"/>
                    <a:pt x="745" y="659"/>
                  </a:cubicBezTo>
                  <a:cubicBezTo>
                    <a:pt x="749" y="659"/>
                    <a:pt x="748" y="657"/>
                    <a:pt x="749" y="657"/>
                  </a:cubicBezTo>
                  <a:cubicBezTo>
                    <a:pt x="752" y="657"/>
                    <a:pt x="756" y="653"/>
                    <a:pt x="757" y="650"/>
                  </a:cubicBezTo>
                  <a:cubicBezTo>
                    <a:pt x="760" y="647"/>
                    <a:pt x="759" y="650"/>
                    <a:pt x="761" y="646"/>
                  </a:cubicBezTo>
                  <a:cubicBezTo>
                    <a:pt x="764" y="641"/>
                    <a:pt x="764" y="643"/>
                    <a:pt x="762" y="637"/>
                  </a:cubicBezTo>
                  <a:cubicBezTo>
                    <a:pt x="761" y="632"/>
                    <a:pt x="764" y="631"/>
                    <a:pt x="763" y="627"/>
                  </a:cubicBezTo>
                  <a:cubicBezTo>
                    <a:pt x="762" y="624"/>
                    <a:pt x="764" y="623"/>
                    <a:pt x="764" y="621"/>
                  </a:cubicBezTo>
                  <a:cubicBezTo>
                    <a:pt x="763" y="619"/>
                    <a:pt x="765" y="617"/>
                    <a:pt x="763" y="615"/>
                  </a:cubicBezTo>
                  <a:cubicBezTo>
                    <a:pt x="762" y="613"/>
                    <a:pt x="761" y="613"/>
                    <a:pt x="761" y="610"/>
                  </a:cubicBezTo>
                  <a:cubicBezTo>
                    <a:pt x="761" y="604"/>
                    <a:pt x="757" y="604"/>
                    <a:pt x="759" y="601"/>
                  </a:cubicBezTo>
                  <a:cubicBezTo>
                    <a:pt x="762" y="598"/>
                    <a:pt x="759" y="599"/>
                    <a:pt x="761" y="597"/>
                  </a:cubicBezTo>
                  <a:cubicBezTo>
                    <a:pt x="764" y="593"/>
                    <a:pt x="755" y="593"/>
                    <a:pt x="759" y="587"/>
                  </a:cubicBezTo>
                  <a:cubicBezTo>
                    <a:pt x="762" y="582"/>
                    <a:pt x="760" y="582"/>
                    <a:pt x="762" y="579"/>
                  </a:cubicBezTo>
                  <a:cubicBezTo>
                    <a:pt x="763" y="578"/>
                    <a:pt x="763" y="580"/>
                    <a:pt x="763" y="577"/>
                  </a:cubicBezTo>
                  <a:cubicBezTo>
                    <a:pt x="764" y="575"/>
                    <a:pt x="765" y="575"/>
                    <a:pt x="765" y="572"/>
                  </a:cubicBezTo>
                  <a:cubicBezTo>
                    <a:pt x="766" y="568"/>
                    <a:pt x="766" y="570"/>
                    <a:pt x="766" y="567"/>
                  </a:cubicBezTo>
                  <a:cubicBezTo>
                    <a:pt x="766" y="563"/>
                    <a:pt x="769" y="564"/>
                    <a:pt x="774" y="559"/>
                  </a:cubicBezTo>
                  <a:cubicBezTo>
                    <a:pt x="775" y="558"/>
                    <a:pt x="775" y="558"/>
                    <a:pt x="777" y="554"/>
                  </a:cubicBezTo>
                  <a:cubicBezTo>
                    <a:pt x="779" y="549"/>
                    <a:pt x="783" y="549"/>
                    <a:pt x="786" y="544"/>
                  </a:cubicBezTo>
                  <a:cubicBezTo>
                    <a:pt x="789" y="539"/>
                    <a:pt x="791" y="540"/>
                    <a:pt x="796" y="534"/>
                  </a:cubicBezTo>
                  <a:cubicBezTo>
                    <a:pt x="800" y="529"/>
                    <a:pt x="804" y="526"/>
                    <a:pt x="805" y="522"/>
                  </a:cubicBezTo>
                  <a:cubicBezTo>
                    <a:pt x="806" y="518"/>
                    <a:pt x="812" y="517"/>
                    <a:pt x="812" y="510"/>
                  </a:cubicBezTo>
                  <a:cubicBezTo>
                    <a:pt x="812" y="505"/>
                    <a:pt x="817" y="500"/>
                    <a:pt x="817" y="496"/>
                  </a:cubicBezTo>
                  <a:cubicBezTo>
                    <a:pt x="817" y="495"/>
                    <a:pt x="817" y="497"/>
                    <a:pt x="819" y="491"/>
                  </a:cubicBezTo>
                  <a:cubicBezTo>
                    <a:pt x="821" y="487"/>
                    <a:pt x="819" y="490"/>
                    <a:pt x="820" y="488"/>
                  </a:cubicBezTo>
                  <a:cubicBezTo>
                    <a:pt x="821" y="485"/>
                    <a:pt x="819" y="483"/>
                    <a:pt x="820" y="483"/>
                  </a:cubicBezTo>
                  <a:cubicBezTo>
                    <a:pt x="822" y="484"/>
                    <a:pt x="819" y="482"/>
                    <a:pt x="820" y="478"/>
                  </a:cubicBezTo>
                  <a:cubicBezTo>
                    <a:pt x="820" y="476"/>
                    <a:pt x="818" y="477"/>
                    <a:pt x="816" y="477"/>
                  </a:cubicBezTo>
                  <a:cubicBezTo>
                    <a:pt x="815" y="477"/>
                    <a:pt x="811" y="481"/>
                    <a:pt x="808" y="481"/>
                  </a:cubicBezTo>
                  <a:cubicBezTo>
                    <a:pt x="805" y="480"/>
                    <a:pt x="808" y="482"/>
                    <a:pt x="803" y="481"/>
                  </a:cubicBezTo>
                  <a:cubicBezTo>
                    <a:pt x="799" y="481"/>
                    <a:pt x="800" y="484"/>
                    <a:pt x="796" y="483"/>
                  </a:cubicBezTo>
                  <a:cubicBezTo>
                    <a:pt x="792" y="483"/>
                    <a:pt x="792" y="484"/>
                    <a:pt x="789" y="485"/>
                  </a:cubicBezTo>
                  <a:cubicBezTo>
                    <a:pt x="786" y="486"/>
                    <a:pt x="781" y="481"/>
                    <a:pt x="780" y="479"/>
                  </a:cubicBezTo>
                  <a:cubicBezTo>
                    <a:pt x="780" y="479"/>
                    <a:pt x="780" y="479"/>
                    <a:pt x="780" y="479"/>
                  </a:cubicBezTo>
                  <a:cubicBezTo>
                    <a:pt x="779" y="478"/>
                    <a:pt x="779" y="479"/>
                    <a:pt x="777" y="479"/>
                  </a:cubicBezTo>
                  <a:cubicBezTo>
                    <a:pt x="775" y="479"/>
                    <a:pt x="777" y="479"/>
                    <a:pt x="778" y="478"/>
                  </a:cubicBezTo>
                  <a:cubicBezTo>
                    <a:pt x="779" y="478"/>
                    <a:pt x="780" y="479"/>
                    <a:pt x="781" y="476"/>
                  </a:cubicBezTo>
                  <a:cubicBezTo>
                    <a:pt x="782" y="473"/>
                    <a:pt x="779" y="472"/>
                    <a:pt x="777" y="470"/>
                  </a:cubicBezTo>
                  <a:cubicBezTo>
                    <a:pt x="777" y="469"/>
                    <a:pt x="777" y="469"/>
                    <a:pt x="776" y="469"/>
                  </a:cubicBezTo>
                  <a:cubicBezTo>
                    <a:pt x="775" y="469"/>
                    <a:pt x="776" y="467"/>
                    <a:pt x="774" y="465"/>
                  </a:cubicBezTo>
                  <a:cubicBezTo>
                    <a:pt x="771" y="463"/>
                    <a:pt x="770" y="459"/>
                    <a:pt x="767" y="459"/>
                  </a:cubicBezTo>
                  <a:cubicBezTo>
                    <a:pt x="766" y="459"/>
                    <a:pt x="766" y="457"/>
                    <a:pt x="764" y="457"/>
                  </a:cubicBezTo>
                  <a:cubicBezTo>
                    <a:pt x="761" y="457"/>
                    <a:pt x="762" y="453"/>
                    <a:pt x="761" y="454"/>
                  </a:cubicBezTo>
                  <a:cubicBezTo>
                    <a:pt x="760" y="455"/>
                    <a:pt x="759" y="455"/>
                    <a:pt x="758" y="449"/>
                  </a:cubicBezTo>
                  <a:cubicBezTo>
                    <a:pt x="756" y="443"/>
                    <a:pt x="755" y="443"/>
                    <a:pt x="752" y="437"/>
                  </a:cubicBezTo>
                  <a:cubicBezTo>
                    <a:pt x="751" y="435"/>
                    <a:pt x="750" y="434"/>
                    <a:pt x="750" y="435"/>
                  </a:cubicBezTo>
                  <a:cubicBezTo>
                    <a:pt x="749" y="436"/>
                    <a:pt x="749" y="433"/>
                    <a:pt x="747" y="434"/>
                  </a:cubicBezTo>
                  <a:cubicBezTo>
                    <a:pt x="746" y="434"/>
                    <a:pt x="746" y="431"/>
                    <a:pt x="745" y="430"/>
                  </a:cubicBezTo>
                  <a:cubicBezTo>
                    <a:pt x="745" y="429"/>
                    <a:pt x="744" y="422"/>
                    <a:pt x="745" y="422"/>
                  </a:cubicBezTo>
                  <a:cubicBezTo>
                    <a:pt x="746" y="421"/>
                    <a:pt x="742" y="417"/>
                    <a:pt x="742" y="415"/>
                  </a:cubicBezTo>
                  <a:cubicBezTo>
                    <a:pt x="742" y="413"/>
                    <a:pt x="741" y="414"/>
                    <a:pt x="737" y="410"/>
                  </a:cubicBezTo>
                  <a:cubicBezTo>
                    <a:pt x="735" y="407"/>
                    <a:pt x="738" y="410"/>
                    <a:pt x="735" y="406"/>
                  </a:cubicBezTo>
                  <a:cubicBezTo>
                    <a:pt x="732" y="402"/>
                    <a:pt x="738" y="405"/>
                    <a:pt x="735" y="403"/>
                  </a:cubicBezTo>
                  <a:cubicBezTo>
                    <a:pt x="733" y="400"/>
                    <a:pt x="731" y="400"/>
                    <a:pt x="730" y="396"/>
                  </a:cubicBezTo>
                  <a:cubicBezTo>
                    <a:pt x="729" y="393"/>
                    <a:pt x="727" y="393"/>
                    <a:pt x="723" y="386"/>
                  </a:cubicBezTo>
                  <a:cubicBezTo>
                    <a:pt x="721" y="382"/>
                    <a:pt x="726" y="385"/>
                    <a:pt x="722" y="382"/>
                  </a:cubicBezTo>
                  <a:cubicBezTo>
                    <a:pt x="719" y="379"/>
                    <a:pt x="723" y="382"/>
                    <a:pt x="720" y="379"/>
                  </a:cubicBezTo>
                  <a:cubicBezTo>
                    <a:pt x="718" y="376"/>
                    <a:pt x="718" y="375"/>
                    <a:pt x="717" y="374"/>
                  </a:cubicBezTo>
                  <a:cubicBezTo>
                    <a:pt x="715" y="371"/>
                    <a:pt x="717" y="372"/>
                    <a:pt x="715" y="368"/>
                  </a:cubicBezTo>
                  <a:cubicBezTo>
                    <a:pt x="713" y="366"/>
                    <a:pt x="715" y="366"/>
                    <a:pt x="713" y="362"/>
                  </a:cubicBezTo>
                  <a:cubicBezTo>
                    <a:pt x="714" y="364"/>
                    <a:pt x="714" y="367"/>
                    <a:pt x="716" y="368"/>
                  </a:cubicBezTo>
                  <a:cubicBezTo>
                    <a:pt x="718" y="369"/>
                    <a:pt x="717" y="370"/>
                    <a:pt x="719" y="373"/>
                  </a:cubicBezTo>
                  <a:cubicBezTo>
                    <a:pt x="721" y="375"/>
                    <a:pt x="721" y="376"/>
                    <a:pt x="724" y="379"/>
                  </a:cubicBezTo>
                  <a:cubicBezTo>
                    <a:pt x="726" y="381"/>
                    <a:pt x="726" y="382"/>
                    <a:pt x="727" y="379"/>
                  </a:cubicBezTo>
                  <a:cubicBezTo>
                    <a:pt x="729" y="377"/>
                    <a:pt x="726" y="377"/>
                    <a:pt x="727" y="374"/>
                  </a:cubicBezTo>
                  <a:cubicBezTo>
                    <a:pt x="728" y="372"/>
                    <a:pt x="727" y="371"/>
                    <a:pt x="728" y="369"/>
                  </a:cubicBezTo>
                  <a:cubicBezTo>
                    <a:pt x="728" y="369"/>
                    <a:pt x="729" y="370"/>
                    <a:pt x="728" y="371"/>
                  </a:cubicBezTo>
                  <a:cubicBezTo>
                    <a:pt x="728" y="373"/>
                    <a:pt x="729" y="373"/>
                    <a:pt x="729" y="375"/>
                  </a:cubicBezTo>
                  <a:cubicBezTo>
                    <a:pt x="728" y="377"/>
                    <a:pt x="730" y="375"/>
                    <a:pt x="731" y="378"/>
                  </a:cubicBezTo>
                  <a:cubicBezTo>
                    <a:pt x="732" y="382"/>
                    <a:pt x="735" y="382"/>
                    <a:pt x="734" y="383"/>
                  </a:cubicBezTo>
                  <a:cubicBezTo>
                    <a:pt x="733" y="384"/>
                    <a:pt x="736" y="385"/>
                    <a:pt x="740" y="393"/>
                  </a:cubicBezTo>
                  <a:cubicBezTo>
                    <a:pt x="744" y="399"/>
                    <a:pt x="740" y="394"/>
                    <a:pt x="743" y="400"/>
                  </a:cubicBezTo>
                  <a:cubicBezTo>
                    <a:pt x="744" y="402"/>
                    <a:pt x="747" y="401"/>
                    <a:pt x="748" y="403"/>
                  </a:cubicBezTo>
                  <a:cubicBezTo>
                    <a:pt x="749" y="404"/>
                    <a:pt x="750" y="404"/>
                    <a:pt x="750" y="405"/>
                  </a:cubicBezTo>
                  <a:cubicBezTo>
                    <a:pt x="750" y="409"/>
                    <a:pt x="753" y="413"/>
                    <a:pt x="755" y="417"/>
                  </a:cubicBezTo>
                  <a:cubicBezTo>
                    <a:pt x="757" y="421"/>
                    <a:pt x="753" y="418"/>
                    <a:pt x="755" y="420"/>
                  </a:cubicBezTo>
                  <a:cubicBezTo>
                    <a:pt x="756" y="422"/>
                    <a:pt x="754" y="422"/>
                    <a:pt x="758" y="425"/>
                  </a:cubicBezTo>
                  <a:cubicBezTo>
                    <a:pt x="766" y="431"/>
                    <a:pt x="764" y="433"/>
                    <a:pt x="767" y="436"/>
                  </a:cubicBezTo>
                  <a:cubicBezTo>
                    <a:pt x="771" y="440"/>
                    <a:pt x="771" y="440"/>
                    <a:pt x="773" y="444"/>
                  </a:cubicBezTo>
                  <a:cubicBezTo>
                    <a:pt x="775" y="448"/>
                    <a:pt x="773" y="447"/>
                    <a:pt x="775" y="448"/>
                  </a:cubicBezTo>
                  <a:cubicBezTo>
                    <a:pt x="777" y="449"/>
                    <a:pt x="774" y="449"/>
                    <a:pt x="776" y="450"/>
                  </a:cubicBezTo>
                  <a:cubicBezTo>
                    <a:pt x="777" y="460"/>
                    <a:pt x="778" y="458"/>
                    <a:pt x="778" y="459"/>
                  </a:cubicBezTo>
                  <a:cubicBezTo>
                    <a:pt x="778" y="462"/>
                    <a:pt x="780" y="464"/>
                    <a:pt x="780" y="466"/>
                  </a:cubicBezTo>
                  <a:cubicBezTo>
                    <a:pt x="779" y="468"/>
                    <a:pt x="780" y="469"/>
                    <a:pt x="781" y="470"/>
                  </a:cubicBezTo>
                  <a:cubicBezTo>
                    <a:pt x="781" y="471"/>
                    <a:pt x="788" y="472"/>
                    <a:pt x="788" y="470"/>
                  </a:cubicBezTo>
                  <a:cubicBezTo>
                    <a:pt x="789" y="468"/>
                    <a:pt x="789" y="471"/>
                    <a:pt x="792" y="468"/>
                  </a:cubicBezTo>
                  <a:cubicBezTo>
                    <a:pt x="794" y="466"/>
                    <a:pt x="799" y="468"/>
                    <a:pt x="801" y="465"/>
                  </a:cubicBezTo>
                  <a:cubicBezTo>
                    <a:pt x="802" y="463"/>
                    <a:pt x="807" y="465"/>
                    <a:pt x="809" y="461"/>
                  </a:cubicBezTo>
                  <a:cubicBezTo>
                    <a:pt x="811" y="458"/>
                    <a:pt x="819" y="457"/>
                    <a:pt x="820" y="456"/>
                  </a:cubicBezTo>
                  <a:cubicBezTo>
                    <a:pt x="821" y="455"/>
                    <a:pt x="827" y="454"/>
                    <a:pt x="825" y="453"/>
                  </a:cubicBezTo>
                  <a:cubicBezTo>
                    <a:pt x="822" y="451"/>
                    <a:pt x="827" y="449"/>
                    <a:pt x="829" y="448"/>
                  </a:cubicBezTo>
                  <a:cubicBezTo>
                    <a:pt x="831" y="447"/>
                    <a:pt x="831" y="448"/>
                    <a:pt x="832" y="447"/>
                  </a:cubicBezTo>
                  <a:cubicBezTo>
                    <a:pt x="834" y="445"/>
                    <a:pt x="837" y="447"/>
                    <a:pt x="839" y="444"/>
                  </a:cubicBezTo>
                  <a:cubicBezTo>
                    <a:pt x="841" y="442"/>
                    <a:pt x="839" y="442"/>
                    <a:pt x="840" y="441"/>
                  </a:cubicBezTo>
                  <a:cubicBezTo>
                    <a:pt x="841" y="440"/>
                    <a:pt x="847" y="441"/>
                    <a:pt x="845" y="438"/>
                  </a:cubicBezTo>
                  <a:cubicBezTo>
                    <a:pt x="845" y="437"/>
                    <a:pt x="845" y="436"/>
                    <a:pt x="846" y="435"/>
                  </a:cubicBezTo>
                  <a:close/>
                  <a:moveTo>
                    <a:pt x="595" y="297"/>
                  </a:moveTo>
                  <a:cubicBezTo>
                    <a:pt x="596" y="297"/>
                    <a:pt x="595" y="298"/>
                    <a:pt x="596" y="298"/>
                  </a:cubicBezTo>
                  <a:cubicBezTo>
                    <a:pt x="596" y="298"/>
                    <a:pt x="595" y="300"/>
                    <a:pt x="596" y="300"/>
                  </a:cubicBezTo>
                  <a:cubicBezTo>
                    <a:pt x="597" y="300"/>
                    <a:pt x="596" y="302"/>
                    <a:pt x="597" y="301"/>
                  </a:cubicBezTo>
                  <a:cubicBezTo>
                    <a:pt x="598" y="301"/>
                    <a:pt x="598" y="303"/>
                    <a:pt x="599" y="302"/>
                  </a:cubicBezTo>
                  <a:cubicBezTo>
                    <a:pt x="599" y="301"/>
                    <a:pt x="599" y="301"/>
                    <a:pt x="599" y="300"/>
                  </a:cubicBezTo>
                  <a:cubicBezTo>
                    <a:pt x="600" y="299"/>
                    <a:pt x="600" y="298"/>
                    <a:pt x="599" y="297"/>
                  </a:cubicBezTo>
                  <a:cubicBezTo>
                    <a:pt x="599" y="296"/>
                    <a:pt x="599" y="295"/>
                    <a:pt x="599" y="295"/>
                  </a:cubicBezTo>
                  <a:cubicBezTo>
                    <a:pt x="599" y="293"/>
                    <a:pt x="599" y="293"/>
                    <a:pt x="598" y="294"/>
                  </a:cubicBezTo>
                  <a:cubicBezTo>
                    <a:pt x="598" y="295"/>
                    <a:pt x="597" y="294"/>
                    <a:pt x="597" y="295"/>
                  </a:cubicBezTo>
                  <a:cubicBezTo>
                    <a:pt x="597" y="296"/>
                    <a:pt x="595" y="295"/>
                    <a:pt x="596" y="296"/>
                  </a:cubicBezTo>
                  <a:cubicBezTo>
                    <a:pt x="596" y="296"/>
                    <a:pt x="595" y="297"/>
                    <a:pt x="595" y="297"/>
                  </a:cubicBezTo>
                  <a:close/>
                  <a:moveTo>
                    <a:pt x="802" y="620"/>
                  </a:moveTo>
                  <a:cubicBezTo>
                    <a:pt x="801" y="621"/>
                    <a:pt x="801" y="622"/>
                    <a:pt x="801" y="623"/>
                  </a:cubicBezTo>
                  <a:cubicBezTo>
                    <a:pt x="802" y="624"/>
                    <a:pt x="799" y="625"/>
                    <a:pt x="798" y="628"/>
                  </a:cubicBezTo>
                  <a:cubicBezTo>
                    <a:pt x="798" y="630"/>
                    <a:pt x="798" y="627"/>
                    <a:pt x="796" y="628"/>
                  </a:cubicBezTo>
                  <a:cubicBezTo>
                    <a:pt x="794" y="629"/>
                    <a:pt x="797" y="631"/>
                    <a:pt x="796" y="631"/>
                  </a:cubicBezTo>
                  <a:cubicBezTo>
                    <a:pt x="794" y="631"/>
                    <a:pt x="796" y="631"/>
                    <a:pt x="793" y="635"/>
                  </a:cubicBezTo>
                  <a:cubicBezTo>
                    <a:pt x="790" y="639"/>
                    <a:pt x="792" y="635"/>
                    <a:pt x="791" y="636"/>
                  </a:cubicBezTo>
                  <a:cubicBezTo>
                    <a:pt x="790" y="637"/>
                    <a:pt x="788" y="637"/>
                    <a:pt x="788" y="640"/>
                  </a:cubicBezTo>
                  <a:cubicBezTo>
                    <a:pt x="788" y="643"/>
                    <a:pt x="782" y="639"/>
                    <a:pt x="781" y="642"/>
                  </a:cubicBezTo>
                  <a:cubicBezTo>
                    <a:pt x="780" y="645"/>
                    <a:pt x="778" y="641"/>
                    <a:pt x="777" y="645"/>
                  </a:cubicBezTo>
                  <a:cubicBezTo>
                    <a:pt x="776" y="649"/>
                    <a:pt x="774" y="649"/>
                    <a:pt x="774" y="654"/>
                  </a:cubicBezTo>
                  <a:cubicBezTo>
                    <a:pt x="775" y="659"/>
                    <a:pt x="773" y="659"/>
                    <a:pt x="774" y="663"/>
                  </a:cubicBezTo>
                  <a:cubicBezTo>
                    <a:pt x="775" y="666"/>
                    <a:pt x="773" y="665"/>
                    <a:pt x="772" y="669"/>
                  </a:cubicBezTo>
                  <a:cubicBezTo>
                    <a:pt x="771" y="673"/>
                    <a:pt x="769" y="670"/>
                    <a:pt x="767" y="677"/>
                  </a:cubicBezTo>
                  <a:cubicBezTo>
                    <a:pt x="764" y="684"/>
                    <a:pt x="768" y="683"/>
                    <a:pt x="768" y="690"/>
                  </a:cubicBezTo>
                  <a:cubicBezTo>
                    <a:pt x="767" y="693"/>
                    <a:pt x="769" y="695"/>
                    <a:pt x="772" y="696"/>
                  </a:cubicBezTo>
                  <a:cubicBezTo>
                    <a:pt x="784" y="679"/>
                    <a:pt x="795" y="662"/>
                    <a:pt x="805" y="643"/>
                  </a:cubicBezTo>
                  <a:cubicBezTo>
                    <a:pt x="804" y="642"/>
                    <a:pt x="804" y="640"/>
                    <a:pt x="805" y="639"/>
                  </a:cubicBezTo>
                  <a:cubicBezTo>
                    <a:pt x="805" y="638"/>
                    <a:pt x="806" y="639"/>
                    <a:pt x="807" y="639"/>
                  </a:cubicBezTo>
                  <a:cubicBezTo>
                    <a:pt x="807" y="638"/>
                    <a:pt x="808" y="637"/>
                    <a:pt x="808" y="637"/>
                  </a:cubicBezTo>
                  <a:cubicBezTo>
                    <a:pt x="808" y="632"/>
                    <a:pt x="806" y="621"/>
                    <a:pt x="806" y="621"/>
                  </a:cubicBezTo>
                  <a:cubicBezTo>
                    <a:pt x="803" y="622"/>
                    <a:pt x="807" y="616"/>
                    <a:pt x="802" y="620"/>
                  </a:cubicBezTo>
                  <a:close/>
                  <a:moveTo>
                    <a:pt x="228" y="743"/>
                  </a:moveTo>
                  <a:cubicBezTo>
                    <a:pt x="228" y="743"/>
                    <a:pt x="228" y="744"/>
                    <a:pt x="228" y="744"/>
                  </a:cubicBezTo>
                  <a:cubicBezTo>
                    <a:pt x="228" y="744"/>
                    <a:pt x="228" y="743"/>
                    <a:pt x="228" y="743"/>
                  </a:cubicBezTo>
                  <a:close/>
                  <a:moveTo>
                    <a:pt x="630" y="319"/>
                  </a:moveTo>
                  <a:cubicBezTo>
                    <a:pt x="630" y="318"/>
                    <a:pt x="629" y="319"/>
                    <a:pt x="629" y="319"/>
                  </a:cubicBezTo>
                  <a:cubicBezTo>
                    <a:pt x="628" y="318"/>
                    <a:pt x="628" y="320"/>
                    <a:pt x="627" y="319"/>
                  </a:cubicBezTo>
                  <a:cubicBezTo>
                    <a:pt x="626" y="318"/>
                    <a:pt x="626" y="320"/>
                    <a:pt x="625" y="319"/>
                  </a:cubicBezTo>
                  <a:cubicBezTo>
                    <a:pt x="624" y="319"/>
                    <a:pt x="623" y="320"/>
                    <a:pt x="622" y="320"/>
                  </a:cubicBezTo>
                  <a:cubicBezTo>
                    <a:pt x="622" y="319"/>
                    <a:pt x="622" y="320"/>
                    <a:pt x="621" y="319"/>
                  </a:cubicBezTo>
                  <a:cubicBezTo>
                    <a:pt x="620" y="319"/>
                    <a:pt x="619" y="320"/>
                    <a:pt x="618" y="319"/>
                  </a:cubicBezTo>
                  <a:cubicBezTo>
                    <a:pt x="617" y="319"/>
                    <a:pt x="617" y="319"/>
                    <a:pt x="616" y="320"/>
                  </a:cubicBezTo>
                  <a:cubicBezTo>
                    <a:pt x="615" y="321"/>
                    <a:pt x="616" y="322"/>
                    <a:pt x="617" y="322"/>
                  </a:cubicBezTo>
                  <a:cubicBezTo>
                    <a:pt x="618" y="322"/>
                    <a:pt x="619" y="323"/>
                    <a:pt x="620" y="323"/>
                  </a:cubicBezTo>
                  <a:cubicBezTo>
                    <a:pt x="621" y="323"/>
                    <a:pt x="621" y="325"/>
                    <a:pt x="622" y="325"/>
                  </a:cubicBezTo>
                  <a:cubicBezTo>
                    <a:pt x="624" y="324"/>
                    <a:pt x="625" y="325"/>
                    <a:pt x="625" y="326"/>
                  </a:cubicBezTo>
                  <a:cubicBezTo>
                    <a:pt x="626" y="326"/>
                    <a:pt x="626" y="326"/>
                    <a:pt x="628" y="326"/>
                  </a:cubicBezTo>
                  <a:cubicBezTo>
                    <a:pt x="628" y="327"/>
                    <a:pt x="628" y="326"/>
                    <a:pt x="628" y="325"/>
                  </a:cubicBezTo>
                  <a:cubicBezTo>
                    <a:pt x="629" y="324"/>
                    <a:pt x="628" y="323"/>
                    <a:pt x="628" y="323"/>
                  </a:cubicBezTo>
                  <a:cubicBezTo>
                    <a:pt x="629" y="322"/>
                    <a:pt x="628" y="322"/>
                    <a:pt x="629" y="321"/>
                  </a:cubicBezTo>
                  <a:cubicBezTo>
                    <a:pt x="630" y="321"/>
                    <a:pt x="630" y="320"/>
                    <a:pt x="630" y="319"/>
                  </a:cubicBezTo>
                  <a:close/>
                  <a:moveTo>
                    <a:pt x="600" y="233"/>
                  </a:moveTo>
                  <a:cubicBezTo>
                    <a:pt x="600" y="234"/>
                    <a:pt x="600" y="235"/>
                    <a:pt x="600" y="235"/>
                  </a:cubicBezTo>
                  <a:cubicBezTo>
                    <a:pt x="601" y="236"/>
                    <a:pt x="603" y="235"/>
                    <a:pt x="603" y="235"/>
                  </a:cubicBezTo>
                  <a:cubicBezTo>
                    <a:pt x="602" y="236"/>
                    <a:pt x="601" y="236"/>
                    <a:pt x="602" y="236"/>
                  </a:cubicBezTo>
                  <a:cubicBezTo>
                    <a:pt x="603" y="236"/>
                    <a:pt x="605" y="237"/>
                    <a:pt x="604" y="236"/>
                  </a:cubicBezTo>
                  <a:cubicBezTo>
                    <a:pt x="604" y="236"/>
                    <a:pt x="604" y="235"/>
                    <a:pt x="605" y="235"/>
                  </a:cubicBezTo>
                  <a:cubicBezTo>
                    <a:pt x="606" y="234"/>
                    <a:pt x="604" y="234"/>
                    <a:pt x="605" y="233"/>
                  </a:cubicBezTo>
                  <a:cubicBezTo>
                    <a:pt x="606" y="233"/>
                    <a:pt x="605" y="233"/>
                    <a:pt x="605" y="232"/>
                  </a:cubicBezTo>
                  <a:cubicBezTo>
                    <a:pt x="605" y="231"/>
                    <a:pt x="606" y="231"/>
                    <a:pt x="605" y="231"/>
                  </a:cubicBezTo>
                  <a:cubicBezTo>
                    <a:pt x="604" y="231"/>
                    <a:pt x="604" y="231"/>
                    <a:pt x="603" y="231"/>
                  </a:cubicBezTo>
                  <a:cubicBezTo>
                    <a:pt x="603" y="232"/>
                    <a:pt x="605" y="231"/>
                    <a:pt x="604" y="232"/>
                  </a:cubicBezTo>
                  <a:cubicBezTo>
                    <a:pt x="604" y="233"/>
                    <a:pt x="604" y="231"/>
                    <a:pt x="604" y="232"/>
                  </a:cubicBezTo>
                  <a:cubicBezTo>
                    <a:pt x="603" y="233"/>
                    <a:pt x="603" y="232"/>
                    <a:pt x="603" y="232"/>
                  </a:cubicBezTo>
                  <a:cubicBezTo>
                    <a:pt x="602" y="232"/>
                    <a:pt x="601" y="231"/>
                    <a:pt x="602" y="232"/>
                  </a:cubicBezTo>
                  <a:cubicBezTo>
                    <a:pt x="603" y="232"/>
                    <a:pt x="602" y="232"/>
                    <a:pt x="601" y="233"/>
                  </a:cubicBezTo>
                  <a:cubicBezTo>
                    <a:pt x="601" y="233"/>
                    <a:pt x="599" y="233"/>
                    <a:pt x="600" y="233"/>
                  </a:cubicBezTo>
                  <a:close/>
                  <a:moveTo>
                    <a:pt x="598" y="234"/>
                  </a:moveTo>
                  <a:cubicBezTo>
                    <a:pt x="598" y="234"/>
                    <a:pt x="596" y="234"/>
                    <a:pt x="595" y="234"/>
                  </a:cubicBezTo>
                  <a:cubicBezTo>
                    <a:pt x="594" y="234"/>
                    <a:pt x="595" y="235"/>
                    <a:pt x="595" y="235"/>
                  </a:cubicBezTo>
                  <a:cubicBezTo>
                    <a:pt x="595" y="235"/>
                    <a:pt x="596" y="235"/>
                    <a:pt x="596" y="236"/>
                  </a:cubicBezTo>
                  <a:cubicBezTo>
                    <a:pt x="597" y="236"/>
                    <a:pt x="598" y="236"/>
                    <a:pt x="599" y="236"/>
                  </a:cubicBezTo>
                  <a:cubicBezTo>
                    <a:pt x="599" y="235"/>
                    <a:pt x="599" y="235"/>
                    <a:pt x="599" y="234"/>
                  </a:cubicBezTo>
                  <a:cubicBezTo>
                    <a:pt x="598" y="234"/>
                    <a:pt x="598" y="235"/>
                    <a:pt x="598" y="234"/>
                  </a:cubicBezTo>
                  <a:close/>
                  <a:moveTo>
                    <a:pt x="172" y="403"/>
                  </a:moveTo>
                  <a:cubicBezTo>
                    <a:pt x="172" y="403"/>
                    <a:pt x="172" y="402"/>
                    <a:pt x="172" y="402"/>
                  </a:cubicBezTo>
                  <a:cubicBezTo>
                    <a:pt x="172" y="402"/>
                    <a:pt x="172" y="402"/>
                    <a:pt x="172" y="402"/>
                  </a:cubicBezTo>
                  <a:cubicBezTo>
                    <a:pt x="172" y="402"/>
                    <a:pt x="171" y="402"/>
                    <a:pt x="171" y="402"/>
                  </a:cubicBezTo>
                  <a:cubicBezTo>
                    <a:pt x="171" y="402"/>
                    <a:pt x="170" y="402"/>
                    <a:pt x="170" y="403"/>
                  </a:cubicBezTo>
                  <a:cubicBezTo>
                    <a:pt x="170" y="403"/>
                    <a:pt x="170" y="403"/>
                    <a:pt x="170" y="403"/>
                  </a:cubicBezTo>
                  <a:cubicBezTo>
                    <a:pt x="170" y="403"/>
                    <a:pt x="170" y="403"/>
                    <a:pt x="170" y="404"/>
                  </a:cubicBezTo>
                  <a:cubicBezTo>
                    <a:pt x="171" y="404"/>
                    <a:pt x="170" y="404"/>
                    <a:pt x="170" y="404"/>
                  </a:cubicBezTo>
                  <a:cubicBezTo>
                    <a:pt x="170" y="404"/>
                    <a:pt x="170" y="404"/>
                    <a:pt x="170" y="404"/>
                  </a:cubicBezTo>
                  <a:cubicBezTo>
                    <a:pt x="170" y="404"/>
                    <a:pt x="170" y="403"/>
                    <a:pt x="170" y="403"/>
                  </a:cubicBezTo>
                  <a:cubicBezTo>
                    <a:pt x="170" y="403"/>
                    <a:pt x="169" y="403"/>
                    <a:pt x="169" y="403"/>
                  </a:cubicBezTo>
                  <a:cubicBezTo>
                    <a:pt x="170" y="404"/>
                    <a:pt x="170" y="404"/>
                    <a:pt x="171" y="404"/>
                  </a:cubicBezTo>
                  <a:cubicBezTo>
                    <a:pt x="171" y="405"/>
                    <a:pt x="172" y="404"/>
                    <a:pt x="173" y="404"/>
                  </a:cubicBezTo>
                  <a:cubicBezTo>
                    <a:pt x="173" y="404"/>
                    <a:pt x="173" y="404"/>
                    <a:pt x="173" y="404"/>
                  </a:cubicBezTo>
                  <a:cubicBezTo>
                    <a:pt x="173" y="403"/>
                    <a:pt x="173" y="403"/>
                    <a:pt x="173" y="403"/>
                  </a:cubicBezTo>
                  <a:cubicBezTo>
                    <a:pt x="173" y="403"/>
                    <a:pt x="172" y="403"/>
                    <a:pt x="172" y="403"/>
                  </a:cubicBezTo>
                  <a:close/>
                  <a:moveTo>
                    <a:pt x="592" y="227"/>
                  </a:moveTo>
                  <a:cubicBezTo>
                    <a:pt x="593" y="227"/>
                    <a:pt x="593" y="226"/>
                    <a:pt x="593" y="226"/>
                  </a:cubicBezTo>
                  <a:cubicBezTo>
                    <a:pt x="594" y="227"/>
                    <a:pt x="595" y="227"/>
                    <a:pt x="595" y="227"/>
                  </a:cubicBezTo>
                  <a:cubicBezTo>
                    <a:pt x="596" y="228"/>
                    <a:pt x="595" y="227"/>
                    <a:pt x="596" y="227"/>
                  </a:cubicBezTo>
                  <a:cubicBezTo>
                    <a:pt x="596" y="227"/>
                    <a:pt x="596" y="226"/>
                    <a:pt x="596" y="225"/>
                  </a:cubicBezTo>
                  <a:cubicBezTo>
                    <a:pt x="595" y="225"/>
                    <a:pt x="596" y="224"/>
                    <a:pt x="596" y="224"/>
                  </a:cubicBezTo>
                  <a:cubicBezTo>
                    <a:pt x="595" y="224"/>
                    <a:pt x="595" y="225"/>
                    <a:pt x="594" y="225"/>
                  </a:cubicBezTo>
                  <a:cubicBezTo>
                    <a:pt x="593" y="225"/>
                    <a:pt x="593" y="225"/>
                    <a:pt x="592" y="226"/>
                  </a:cubicBezTo>
                  <a:cubicBezTo>
                    <a:pt x="592" y="227"/>
                    <a:pt x="591" y="226"/>
                    <a:pt x="591" y="226"/>
                  </a:cubicBezTo>
                  <a:cubicBezTo>
                    <a:pt x="591" y="226"/>
                    <a:pt x="590" y="226"/>
                    <a:pt x="590" y="226"/>
                  </a:cubicBezTo>
                  <a:cubicBezTo>
                    <a:pt x="590" y="227"/>
                    <a:pt x="589" y="227"/>
                    <a:pt x="589" y="227"/>
                  </a:cubicBezTo>
                  <a:cubicBezTo>
                    <a:pt x="590" y="227"/>
                    <a:pt x="590" y="227"/>
                    <a:pt x="590" y="228"/>
                  </a:cubicBezTo>
                  <a:cubicBezTo>
                    <a:pt x="591" y="229"/>
                    <a:pt x="590" y="227"/>
                    <a:pt x="591" y="227"/>
                  </a:cubicBezTo>
                  <a:cubicBezTo>
                    <a:pt x="591" y="226"/>
                    <a:pt x="592" y="227"/>
                    <a:pt x="592" y="227"/>
                  </a:cubicBezTo>
                  <a:close/>
                  <a:moveTo>
                    <a:pt x="272" y="191"/>
                  </a:moveTo>
                  <a:cubicBezTo>
                    <a:pt x="270" y="192"/>
                    <a:pt x="272" y="192"/>
                    <a:pt x="274" y="192"/>
                  </a:cubicBezTo>
                  <a:cubicBezTo>
                    <a:pt x="275" y="192"/>
                    <a:pt x="275" y="193"/>
                    <a:pt x="277" y="192"/>
                  </a:cubicBezTo>
                  <a:cubicBezTo>
                    <a:pt x="279" y="191"/>
                    <a:pt x="275" y="191"/>
                    <a:pt x="276" y="191"/>
                  </a:cubicBezTo>
                  <a:cubicBezTo>
                    <a:pt x="277" y="190"/>
                    <a:pt x="276" y="189"/>
                    <a:pt x="275" y="189"/>
                  </a:cubicBezTo>
                  <a:cubicBezTo>
                    <a:pt x="274" y="189"/>
                    <a:pt x="273" y="189"/>
                    <a:pt x="273" y="187"/>
                  </a:cubicBezTo>
                  <a:cubicBezTo>
                    <a:pt x="273" y="186"/>
                    <a:pt x="270" y="187"/>
                    <a:pt x="270" y="186"/>
                  </a:cubicBezTo>
                  <a:cubicBezTo>
                    <a:pt x="270" y="185"/>
                    <a:pt x="268" y="185"/>
                    <a:pt x="267" y="186"/>
                  </a:cubicBezTo>
                  <a:cubicBezTo>
                    <a:pt x="267" y="187"/>
                    <a:pt x="267" y="185"/>
                    <a:pt x="267" y="185"/>
                  </a:cubicBezTo>
                  <a:cubicBezTo>
                    <a:pt x="268" y="185"/>
                    <a:pt x="267" y="184"/>
                    <a:pt x="266" y="184"/>
                  </a:cubicBezTo>
                  <a:cubicBezTo>
                    <a:pt x="264" y="185"/>
                    <a:pt x="263" y="186"/>
                    <a:pt x="262" y="187"/>
                  </a:cubicBezTo>
                  <a:cubicBezTo>
                    <a:pt x="260" y="188"/>
                    <a:pt x="257" y="189"/>
                    <a:pt x="258" y="191"/>
                  </a:cubicBezTo>
                  <a:cubicBezTo>
                    <a:pt x="253" y="192"/>
                    <a:pt x="253" y="192"/>
                    <a:pt x="252" y="193"/>
                  </a:cubicBezTo>
                  <a:cubicBezTo>
                    <a:pt x="252" y="193"/>
                    <a:pt x="254" y="193"/>
                    <a:pt x="256" y="193"/>
                  </a:cubicBezTo>
                  <a:cubicBezTo>
                    <a:pt x="257" y="192"/>
                    <a:pt x="257" y="193"/>
                    <a:pt x="256" y="194"/>
                  </a:cubicBezTo>
                  <a:cubicBezTo>
                    <a:pt x="255" y="194"/>
                    <a:pt x="254" y="195"/>
                    <a:pt x="256" y="195"/>
                  </a:cubicBezTo>
                  <a:cubicBezTo>
                    <a:pt x="257" y="195"/>
                    <a:pt x="258" y="195"/>
                    <a:pt x="260" y="194"/>
                  </a:cubicBezTo>
                  <a:cubicBezTo>
                    <a:pt x="261" y="194"/>
                    <a:pt x="261" y="192"/>
                    <a:pt x="263" y="192"/>
                  </a:cubicBezTo>
                  <a:cubicBezTo>
                    <a:pt x="264" y="192"/>
                    <a:pt x="266" y="192"/>
                    <a:pt x="266" y="191"/>
                  </a:cubicBezTo>
                  <a:cubicBezTo>
                    <a:pt x="267" y="189"/>
                    <a:pt x="267" y="191"/>
                    <a:pt x="269" y="190"/>
                  </a:cubicBezTo>
                  <a:cubicBezTo>
                    <a:pt x="271" y="189"/>
                    <a:pt x="271" y="190"/>
                    <a:pt x="270" y="191"/>
                  </a:cubicBezTo>
                  <a:cubicBezTo>
                    <a:pt x="269" y="191"/>
                    <a:pt x="275" y="189"/>
                    <a:pt x="272" y="191"/>
                  </a:cubicBezTo>
                  <a:close/>
                  <a:moveTo>
                    <a:pt x="310" y="264"/>
                  </a:moveTo>
                  <a:cubicBezTo>
                    <a:pt x="311" y="264"/>
                    <a:pt x="309" y="264"/>
                    <a:pt x="308" y="264"/>
                  </a:cubicBezTo>
                  <a:cubicBezTo>
                    <a:pt x="307" y="264"/>
                    <a:pt x="306" y="264"/>
                    <a:pt x="305" y="264"/>
                  </a:cubicBezTo>
                  <a:cubicBezTo>
                    <a:pt x="305" y="264"/>
                    <a:pt x="304" y="265"/>
                    <a:pt x="304" y="264"/>
                  </a:cubicBezTo>
                  <a:cubicBezTo>
                    <a:pt x="304" y="263"/>
                    <a:pt x="303" y="264"/>
                    <a:pt x="302" y="263"/>
                  </a:cubicBezTo>
                  <a:cubicBezTo>
                    <a:pt x="302" y="262"/>
                    <a:pt x="301" y="263"/>
                    <a:pt x="301" y="264"/>
                  </a:cubicBezTo>
                  <a:cubicBezTo>
                    <a:pt x="302" y="265"/>
                    <a:pt x="302" y="265"/>
                    <a:pt x="302" y="264"/>
                  </a:cubicBezTo>
                  <a:cubicBezTo>
                    <a:pt x="303" y="264"/>
                    <a:pt x="302" y="264"/>
                    <a:pt x="302" y="265"/>
                  </a:cubicBezTo>
                  <a:cubicBezTo>
                    <a:pt x="302" y="265"/>
                    <a:pt x="302" y="265"/>
                    <a:pt x="303" y="265"/>
                  </a:cubicBezTo>
                  <a:cubicBezTo>
                    <a:pt x="304" y="265"/>
                    <a:pt x="304" y="265"/>
                    <a:pt x="303" y="265"/>
                  </a:cubicBezTo>
                  <a:cubicBezTo>
                    <a:pt x="303" y="266"/>
                    <a:pt x="304" y="266"/>
                    <a:pt x="305" y="266"/>
                  </a:cubicBezTo>
                  <a:cubicBezTo>
                    <a:pt x="306" y="266"/>
                    <a:pt x="306" y="266"/>
                    <a:pt x="306" y="266"/>
                  </a:cubicBezTo>
                  <a:cubicBezTo>
                    <a:pt x="306" y="265"/>
                    <a:pt x="306" y="266"/>
                    <a:pt x="307" y="266"/>
                  </a:cubicBezTo>
                  <a:cubicBezTo>
                    <a:pt x="307" y="266"/>
                    <a:pt x="307" y="267"/>
                    <a:pt x="308" y="266"/>
                  </a:cubicBezTo>
                  <a:cubicBezTo>
                    <a:pt x="310" y="265"/>
                    <a:pt x="307" y="265"/>
                    <a:pt x="308" y="265"/>
                  </a:cubicBezTo>
                  <a:cubicBezTo>
                    <a:pt x="309" y="265"/>
                    <a:pt x="309" y="265"/>
                    <a:pt x="310" y="264"/>
                  </a:cubicBezTo>
                  <a:close/>
                  <a:moveTo>
                    <a:pt x="318" y="264"/>
                  </a:moveTo>
                  <a:cubicBezTo>
                    <a:pt x="317" y="264"/>
                    <a:pt x="318" y="263"/>
                    <a:pt x="317" y="263"/>
                  </a:cubicBezTo>
                  <a:cubicBezTo>
                    <a:pt x="316" y="263"/>
                    <a:pt x="314" y="265"/>
                    <a:pt x="314" y="266"/>
                  </a:cubicBezTo>
                  <a:cubicBezTo>
                    <a:pt x="313" y="266"/>
                    <a:pt x="313" y="267"/>
                    <a:pt x="313" y="268"/>
                  </a:cubicBezTo>
                  <a:cubicBezTo>
                    <a:pt x="313" y="269"/>
                    <a:pt x="314" y="268"/>
                    <a:pt x="314" y="268"/>
                  </a:cubicBezTo>
                  <a:cubicBezTo>
                    <a:pt x="315" y="268"/>
                    <a:pt x="316" y="267"/>
                    <a:pt x="317" y="268"/>
                  </a:cubicBezTo>
                  <a:cubicBezTo>
                    <a:pt x="317" y="268"/>
                    <a:pt x="318" y="267"/>
                    <a:pt x="319" y="267"/>
                  </a:cubicBezTo>
                  <a:cubicBezTo>
                    <a:pt x="320" y="267"/>
                    <a:pt x="318" y="266"/>
                    <a:pt x="319" y="266"/>
                  </a:cubicBezTo>
                  <a:cubicBezTo>
                    <a:pt x="319" y="265"/>
                    <a:pt x="318" y="265"/>
                    <a:pt x="317" y="265"/>
                  </a:cubicBezTo>
                  <a:cubicBezTo>
                    <a:pt x="318" y="265"/>
                    <a:pt x="318" y="263"/>
                    <a:pt x="318" y="264"/>
                  </a:cubicBezTo>
                  <a:close/>
                  <a:moveTo>
                    <a:pt x="321" y="703"/>
                  </a:moveTo>
                  <a:cubicBezTo>
                    <a:pt x="318" y="700"/>
                    <a:pt x="317" y="697"/>
                    <a:pt x="317" y="694"/>
                  </a:cubicBezTo>
                  <a:cubicBezTo>
                    <a:pt x="320" y="544"/>
                    <a:pt x="320" y="544"/>
                    <a:pt x="320" y="544"/>
                  </a:cubicBezTo>
                  <a:cubicBezTo>
                    <a:pt x="319" y="544"/>
                    <a:pt x="319" y="543"/>
                    <a:pt x="319" y="543"/>
                  </a:cubicBezTo>
                  <a:cubicBezTo>
                    <a:pt x="319" y="543"/>
                    <a:pt x="319" y="543"/>
                    <a:pt x="320" y="543"/>
                  </a:cubicBezTo>
                  <a:cubicBezTo>
                    <a:pt x="320" y="523"/>
                    <a:pt x="320" y="523"/>
                    <a:pt x="320" y="523"/>
                  </a:cubicBezTo>
                  <a:cubicBezTo>
                    <a:pt x="320" y="520"/>
                    <a:pt x="321" y="517"/>
                    <a:pt x="323" y="515"/>
                  </a:cubicBezTo>
                  <a:cubicBezTo>
                    <a:pt x="323" y="513"/>
                    <a:pt x="323" y="512"/>
                    <a:pt x="323" y="511"/>
                  </a:cubicBezTo>
                  <a:cubicBezTo>
                    <a:pt x="322" y="508"/>
                    <a:pt x="323" y="513"/>
                    <a:pt x="321" y="510"/>
                  </a:cubicBezTo>
                  <a:cubicBezTo>
                    <a:pt x="320" y="507"/>
                    <a:pt x="319" y="508"/>
                    <a:pt x="319" y="508"/>
                  </a:cubicBezTo>
                  <a:cubicBezTo>
                    <a:pt x="319" y="506"/>
                    <a:pt x="318" y="507"/>
                    <a:pt x="318" y="505"/>
                  </a:cubicBezTo>
                  <a:cubicBezTo>
                    <a:pt x="317" y="504"/>
                    <a:pt x="317" y="505"/>
                    <a:pt x="316" y="504"/>
                  </a:cubicBezTo>
                  <a:cubicBezTo>
                    <a:pt x="315" y="502"/>
                    <a:pt x="315" y="504"/>
                    <a:pt x="314" y="502"/>
                  </a:cubicBezTo>
                  <a:cubicBezTo>
                    <a:pt x="313" y="500"/>
                    <a:pt x="311" y="501"/>
                    <a:pt x="310" y="500"/>
                  </a:cubicBezTo>
                  <a:cubicBezTo>
                    <a:pt x="309" y="499"/>
                    <a:pt x="308" y="499"/>
                    <a:pt x="308" y="499"/>
                  </a:cubicBezTo>
                  <a:cubicBezTo>
                    <a:pt x="308" y="499"/>
                    <a:pt x="304" y="498"/>
                    <a:pt x="304" y="498"/>
                  </a:cubicBezTo>
                  <a:cubicBezTo>
                    <a:pt x="303" y="499"/>
                    <a:pt x="302" y="498"/>
                    <a:pt x="301" y="499"/>
                  </a:cubicBezTo>
                  <a:cubicBezTo>
                    <a:pt x="300" y="499"/>
                    <a:pt x="300" y="498"/>
                    <a:pt x="298" y="499"/>
                  </a:cubicBezTo>
                  <a:cubicBezTo>
                    <a:pt x="296" y="500"/>
                    <a:pt x="293" y="496"/>
                    <a:pt x="291" y="498"/>
                  </a:cubicBezTo>
                  <a:cubicBezTo>
                    <a:pt x="290" y="500"/>
                    <a:pt x="289" y="501"/>
                    <a:pt x="289" y="501"/>
                  </a:cubicBezTo>
                  <a:cubicBezTo>
                    <a:pt x="289" y="501"/>
                    <a:pt x="292" y="496"/>
                    <a:pt x="290" y="496"/>
                  </a:cubicBezTo>
                  <a:cubicBezTo>
                    <a:pt x="288" y="495"/>
                    <a:pt x="290" y="495"/>
                    <a:pt x="288" y="493"/>
                  </a:cubicBezTo>
                  <a:cubicBezTo>
                    <a:pt x="285" y="491"/>
                    <a:pt x="286" y="492"/>
                    <a:pt x="285" y="492"/>
                  </a:cubicBezTo>
                  <a:cubicBezTo>
                    <a:pt x="286" y="489"/>
                    <a:pt x="286" y="489"/>
                    <a:pt x="283" y="486"/>
                  </a:cubicBezTo>
                  <a:cubicBezTo>
                    <a:pt x="280" y="483"/>
                    <a:pt x="279" y="482"/>
                    <a:pt x="277" y="483"/>
                  </a:cubicBezTo>
                  <a:cubicBezTo>
                    <a:pt x="274" y="480"/>
                    <a:pt x="275" y="483"/>
                    <a:pt x="271" y="481"/>
                  </a:cubicBezTo>
                  <a:cubicBezTo>
                    <a:pt x="275" y="482"/>
                    <a:pt x="274" y="481"/>
                    <a:pt x="274" y="480"/>
                  </a:cubicBezTo>
                  <a:cubicBezTo>
                    <a:pt x="274" y="479"/>
                    <a:pt x="272" y="479"/>
                    <a:pt x="273" y="479"/>
                  </a:cubicBezTo>
                  <a:cubicBezTo>
                    <a:pt x="274" y="478"/>
                    <a:pt x="272" y="479"/>
                    <a:pt x="272" y="478"/>
                  </a:cubicBezTo>
                  <a:cubicBezTo>
                    <a:pt x="272" y="476"/>
                    <a:pt x="269" y="475"/>
                    <a:pt x="269" y="474"/>
                  </a:cubicBezTo>
                  <a:cubicBezTo>
                    <a:pt x="268" y="473"/>
                    <a:pt x="266" y="472"/>
                    <a:pt x="265" y="473"/>
                  </a:cubicBezTo>
                  <a:cubicBezTo>
                    <a:pt x="263" y="470"/>
                    <a:pt x="264" y="469"/>
                    <a:pt x="263" y="469"/>
                  </a:cubicBezTo>
                  <a:cubicBezTo>
                    <a:pt x="262" y="469"/>
                    <a:pt x="261" y="469"/>
                    <a:pt x="263" y="469"/>
                  </a:cubicBezTo>
                  <a:cubicBezTo>
                    <a:pt x="266" y="469"/>
                    <a:pt x="268" y="468"/>
                    <a:pt x="268" y="468"/>
                  </a:cubicBezTo>
                  <a:cubicBezTo>
                    <a:pt x="268" y="468"/>
                    <a:pt x="267" y="468"/>
                    <a:pt x="265" y="468"/>
                  </a:cubicBezTo>
                  <a:cubicBezTo>
                    <a:pt x="262" y="467"/>
                    <a:pt x="263" y="468"/>
                    <a:pt x="260" y="468"/>
                  </a:cubicBezTo>
                  <a:cubicBezTo>
                    <a:pt x="257" y="467"/>
                    <a:pt x="255" y="468"/>
                    <a:pt x="260" y="468"/>
                  </a:cubicBezTo>
                  <a:cubicBezTo>
                    <a:pt x="256" y="469"/>
                    <a:pt x="260" y="470"/>
                    <a:pt x="255" y="471"/>
                  </a:cubicBezTo>
                  <a:cubicBezTo>
                    <a:pt x="249" y="471"/>
                    <a:pt x="248" y="470"/>
                    <a:pt x="249" y="469"/>
                  </a:cubicBezTo>
                  <a:cubicBezTo>
                    <a:pt x="249" y="468"/>
                    <a:pt x="245" y="468"/>
                    <a:pt x="241" y="468"/>
                  </a:cubicBezTo>
                  <a:cubicBezTo>
                    <a:pt x="237" y="469"/>
                    <a:pt x="235" y="467"/>
                    <a:pt x="236" y="467"/>
                  </a:cubicBezTo>
                  <a:cubicBezTo>
                    <a:pt x="238" y="466"/>
                    <a:pt x="236" y="465"/>
                    <a:pt x="235" y="464"/>
                  </a:cubicBezTo>
                  <a:cubicBezTo>
                    <a:pt x="233" y="463"/>
                    <a:pt x="234" y="464"/>
                    <a:pt x="232" y="464"/>
                  </a:cubicBezTo>
                  <a:cubicBezTo>
                    <a:pt x="230" y="463"/>
                    <a:pt x="229" y="464"/>
                    <a:pt x="229" y="461"/>
                  </a:cubicBezTo>
                  <a:cubicBezTo>
                    <a:pt x="229" y="459"/>
                    <a:pt x="226" y="459"/>
                    <a:pt x="226" y="461"/>
                  </a:cubicBezTo>
                  <a:cubicBezTo>
                    <a:pt x="226" y="462"/>
                    <a:pt x="226" y="463"/>
                    <a:pt x="228" y="462"/>
                  </a:cubicBezTo>
                  <a:cubicBezTo>
                    <a:pt x="229" y="462"/>
                    <a:pt x="229" y="464"/>
                    <a:pt x="228" y="463"/>
                  </a:cubicBezTo>
                  <a:cubicBezTo>
                    <a:pt x="227" y="463"/>
                    <a:pt x="228" y="464"/>
                    <a:pt x="226" y="465"/>
                  </a:cubicBezTo>
                  <a:cubicBezTo>
                    <a:pt x="224" y="465"/>
                    <a:pt x="223" y="465"/>
                    <a:pt x="221" y="467"/>
                  </a:cubicBezTo>
                  <a:cubicBezTo>
                    <a:pt x="220" y="469"/>
                    <a:pt x="221" y="469"/>
                    <a:pt x="220" y="470"/>
                  </a:cubicBezTo>
                  <a:cubicBezTo>
                    <a:pt x="219" y="471"/>
                    <a:pt x="221" y="472"/>
                    <a:pt x="221" y="472"/>
                  </a:cubicBezTo>
                  <a:cubicBezTo>
                    <a:pt x="221" y="472"/>
                    <a:pt x="222" y="473"/>
                    <a:pt x="222" y="476"/>
                  </a:cubicBezTo>
                  <a:cubicBezTo>
                    <a:pt x="222" y="477"/>
                    <a:pt x="218" y="479"/>
                    <a:pt x="218" y="477"/>
                  </a:cubicBezTo>
                  <a:cubicBezTo>
                    <a:pt x="218" y="475"/>
                    <a:pt x="215" y="476"/>
                    <a:pt x="216" y="473"/>
                  </a:cubicBezTo>
                  <a:cubicBezTo>
                    <a:pt x="216" y="471"/>
                    <a:pt x="220" y="472"/>
                    <a:pt x="219" y="470"/>
                  </a:cubicBezTo>
                  <a:cubicBezTo>
                    <a:pt x="217" y="467"/>
                    <a:pt x="221" y="471"/>
                    <a:pt x="220" y="467"/>
                  </a:cubicBezTo>
                  <a:cubicBezTo>
                    <a:pt x="219" y="467"/>
                    <a:pt x="216" y="464"/>
                    <a:pt x="219" y="463"/>
                  </a:cubicBezTo>
                  <a:cubicBezTo>
                    <a:pt x="221" y="462"/>
                    <a:pt x="220" y="462"/>
                    <a:pt x="220" y="462"/>
                  </a:cubicBezTo>
                  <a:cubicBezTo>
                    <a:pt x="222" y="460"/>
                    <a:pt x="222" y="459"/>
                    <a:pt x="220" y="459"/>
                  </a:cubicBezTo>
                  <a:cubicBezTo>
                    <a:pt x="218" y="458"/>
                    <a:pt x="219" y="459"/>
                    <a:pt x="217" y="459"/>
                  </a:cubicBezTo>
                  <a:cubicBezTo>
                    <a:pt x="214" y="459"/>
                    <a:pt x="219" y="460"/>
                    <a:pt x="214" y="462"/>
                  </a:cubicBezTo>
                  <a:cubicBezTo>
                    <a:pt x="209" y="465"/>
                    <a:pt x="209" y="465"/>
                    <a:pt x="207" y="465"/>
                  </a:cubicBezTo>
                  <a:cubicBezTo>
                    <a:pt x="206" y="465"/>
                    <a:pt x="204" y="468"/>
                    <a:pt x="204" y="468"/>
                  </a:cubicBezTo>
                  <a:cubicBezTo>
                    <a:pt x="202" y="468"/>
                    <a:pt x="206" y="466"/>
                    <a:pt x="202" y="467"/>
                  </a:cubicBezTo>
                  <a:cubicBezTo>
                    <a:pt x="200" y="468"/>
                    <a:pt x="200" y="470"/>
                    <a:pt x="198" y="470"/>
                  </a:cubicBezTo>
                  <a:cubicBezTo>
                    <a:pt x="197" y="471"/>
                    <a:pt x="199" y="473"/>
                    <a:pt x="197" y="474"/>
                  </a:cubicBezTo>
                  <a:cubicBezTo>
                    <a:pt x="197" y="476"/>
                    <a:pt x="199" y="475"/>
                    <a:pt x="197" y="477"/>
                  </a:cubicBezTo>
                  <a:cubicBezTo>
                    <a:pt x="197" y="477"/>
                    <a:pt x="195" y="476"/>
                    <a:pt x="194" y="479"/>
                  </a:cubicBezTo>
                  <a:cubicBezTo>
                    <a:pt x="193" y="482"/>
                    <a:pt x="192" y="481"/>
                    <a:pt x="191" y="481"/>
                  </a:cubicBezTo>
                  <a:cubicBezTo>
                    <a:pt x="191" y="482"/>
                    <a:pt x="193" y="482"/>
                    <a:pt x="192" y="483"/>
                  </a:cubicBezTo>
                  <a:cubicBezTo>
                    <a:pt x="192" y="484"/>
                    <a:pt x="191" y="483"/>
                    <a:pt x="192" y="485"/>
                  </a:cubicBezTo>
                  <a:cubicBezTo>
                    <a:pt x="190" y="481"/>
                    <a:pt x="189" y="482"/>
                    <a:pt x="189" y="481"/>
                  </a:cubicBezTo>
                  <a:cubicBezTo>
                    <a:pt x="187" y="479"/>
                    <a:pt x="187" y="480"/>
                    <a:pt x="186" y="479"/>
                  </a:cubicBezTo>
                  <a:cubicBezTo>
                    <a:pt x="185" y="478"/>
                    <a:pt x="188" y="479"/>
                    <a:pt x="185" y="477"/>
                  </a:cubicBezTo>
                  <a:cubicBezTo>
                    <a:pt x="182" y="476"/>
                    <a:pt x="183" y="477"/>
                    <a:pt x="181" y="476"/>
                  </a:cubicBezTo>
                  <a:cubicBezTo>
                    <a:pt x="181" y="476"/>
                    <a:pt x="179" y="476"/>
                    <a:pt x="179" y="476"/>
                  </a:cubicBezTo>
                  <a:cubicBezTo>
                    <a:pt x="178" y="477"/>
                    <a:pt x="177" y="477"/>
                    <a:pt x="177" y="478"/>
                  </a:cubicBezTo>
                  <a:cubicBezTo>
                    <a:pt x="178" y="479"/>
                    <a:pt x="180" y="479"/>
                    <a:pt x="178" y="479"/>
                  </a:cubicBezTo>
                  <a:cubicBezTo>
                    <a:pt x="177" y="479"/>
                    <a:pt x="176" y="480"/>
                    <a:pt x="176" y="480"/>
                  </a:cubicBezTo>
                  <a:cubicBezTo>
                    <a:pt x="176" y="480"/>
                    <a:pt x="176" y="480"/>
                    <a:pt x="176" y="479"/>
                  </a:cubicBezTo>
                  <a:cubicBezTo>
                    <a:pt x="177" y="477"/>
                    <a:pt x="176" y="477"/>
                    <a:pt x="176" y="478"/>
                  </a:cubicBezTo>
                  <a:cubicBezTo>
                    <a:pt x="175" y="479"/>
                    <a:pt x="173" y="478"/>
                    <a:pt x="172" y="479"/>
                  </a:cubicBezTo>
                  <a:cubicBezTo>
                    <a:pt x="171" y="480"/>
                    <a:pt x="167" y="480"/>
                    <a:pt x="167" y="479"/>
                  </a:cubicBezTo>
                  <a:cubicBezTo>
                    <a:pt x="167" y="479"/>
                    <a:pt x="165" y="478"/>
                    <a:pt x="165" y="478"/>
                  </a:cubicBezTo>
                  <a:cubicBezTo>
                    <a:pt x="164" y="478"/>
                    <a:pt x="166" y="479"/>
                    <a:pt x="164" y="479"/>
                  </a:cubicBezTo>
                  <a:cubicBezTo>
                    <a:pt x="163" y="478"/>
                    <a:pt x="165" y="478"/>
                    <a:pt x="164" y="477"/>
                  </a:cubicBezTo>
                  <a:cubicBezTo>
                    <a:pt x="164" y="477"/>
                    <a:pt x="163" y="477"/>
                    <a:pt x="164" y="477"/>
                  </a:cubicBezTo>
                  <a:cubicBezTo>
                    <a:pt x="165" y="476"/>
                    <a:pt x="163" y="476"/>
                    <a:pt x="162" y="475"/>
                  </a:cubicBezTo>
                  <a:cubicBezTo>
                    <a:pt x="161" y="474"/>
                    <a:pt x="159" y="472"/>
                    <a:pt x="159" y="470"/>
                  </a:cubicBezTo>
                  <a:cubicBezTo>
                    <a:pt x="159" y="468"/>
                    <a:pt x="158" y="469"/>
                    <a:pt x="159" y="468"/>
                  </a:cubicBezTo>
                  <a:cubicBezTo>
                    <a:pt x="158" y="467"/>
                    <a:pt x="157" y="464"/>
                    <a:pt x="159" y="464"/>
                  </a:cubicBezTo>
                  <a:cubicBezTo>
                    <a:pt x="160" y="463"/>
                    <a:pt x="159" y="461"/>
                    <a:pt x="159" y="461"/>
                  </a:cubicBezTo>
                  <a:cubicBezTo>
                    <a:pt x="158" y="461"/>
                    <a:pt x="159" y="459"/>
                    <a:pt x="159" y="459"/>
                  </a:cubicBezTo>
                  <a:cubicBezTo>
                    <a:pt x="160" y="460"/>
                    <a:pt x="159" y="459"/>
                    <a:pt x="159" y="458"/>
                  </a:cubicBezTo>
                  <a:cubicBezTo>
                    <a:pt x="159" y="457"/>
                    <a:pt x="160" y="457"/>
                    <a:pt x="159" y="457"/>
                  </a:cubicBezTo>
                  <a:cubicBezTo>
                    <a:pt x="158" y="458"/>
                    <a:pt x="160" y="457"/>
                    <a:pt x="160" y="456"/>
                  </a:cubicBezTo>
                  <a:cubicBezTo>
                    <a:pt x="160" y="455"/>
                    <a:pt x="160" y="454"/>
                    <a:pt x="160" y="452"/>
                  </a:cubicBezTo>
                  <a:cubicBezTo>
                    <a:pt x="161" y="450"/>
                    <a:pt x="162" y="449"/>
                    <a:pt x="161" y="449"/>
                  </a:cubicBezTo>
                  <a:cubicBezTo>
                    <a:pt x="162" y="449"/>
                    <a:pt x="163" y="445"/>
                    <a:pt x="162" y="444"/>
                  </a:cubicBezTo>
                  <a:cubicBezTo>
                    <a:pt x="160" y="444"/>
                    <a:pt x="164" y="443"/>
                    <a:pt x="163" y="442"/>
                  </a:cubicBezTo>
                  <a:cubicBezTo>
                    <a:pt x="162" y="442"/>
                    <a:pt x="163" y="441"/>
                    <a:pt x="160" y="440"/>
                  </a:cubicBezTo>
                  <a:cubicBezTo>
                    <a:pt x="157" y="438"/>
                    <a:pt x="161" y="441"/>
                    <a:pt x="158" y="440"/>
                  </a:cubicBezTo>
                  <a:cubicBezTo>
                    <a:pt x="156" y="439"/>
                    <a:pt x="155" y="440"/>
                    <a:pt x="157" y="439"/>
                  </a:cubicBezTo>
                  <a:cubicBezTo>
                    <a:pt x="158" y="438"/>
                    <a:pt x="160" y="439"/>
                    <a:pt x="157" y="438"/>
                  </a:cubicBezTo>
                  <a:cubicBezTo>
                    <a:pt x="154" y="437"/>
                    <a:pt x="154" y="438"/>
                    <a:pt x="153" y="437"/>
                  </a:cubicBezTo>
                  <a:cubicBezTo>
                    <a:pt x="153" y="437"/>
                    <a:pt x="154" y="438"/>
                    <a:pt x="152" y="437"/>
                  </a:cubicBezTo>
                  <a:cubicBezTo>
                    <a:pt x="150" y="436"/>
                    <a:pt x="144" y="439"/>
                    <a:pt x="142" y="438"/>
                  </a:cubicBezTo>
                  <a:cubicBezTo>
                    <a:pt x="139" y="436"/>
                    <a:pt x="140" y="438"/>
                    <a:pt x="140" y="438"/>
                  </a:cubicBezTo>
                  <a:cubicBezTo>
                    <a:pt x="138" y="438"/>
                    <a:pt x="139" y="439"/>
                    <a:pt x="137" y="438"/>
                  </a:cubicBezTo>
                  <a:cubicBezTo>
                    <a:pt x="135" y="437"/>
                    <a:pt x="135" y="439"/>
                    <a:pt x="135" y="437"/>
                  </a:cubicBezTo>
                  <a:cubicBezTo>
                    <a:pt x="135" y="435"/>
                    <a:pt x="136" y="436"/>
                    <a:pt x="138" y="434"/>
                  </a:cubicBezTo>
                  <a:cubicBezTo>
                    <a:pt x="139" y="433"/>
                    <a:pt x="140" y="431"/>
                    <a:pt x="140" y="429"/>
                  </a:cubicBezTo>
                  <a:cubicBezTo>
                    <a:pt x="140" y="427"/>
                    <a:pt x="143" y="423"/>
                    <a:pt x="140" y="424"/>
                  </a:cubicBezTo>
                  <a:cubicBezTo>
                    <a:pt x="140" y="423"/>
                    <a:pt x="141" y="423"/>
                    <a:pt x="142" y="422"/>
                  </a:cubicBezTo>
                  <a:cubicBezTo>
                    <a:pt x="141" y="424"/>
                    <a:pt x="143" y="423"/>
                    <a:pt x="142" y="426"/>
                  </a:cubicBezTo>
                  <a:cubicBezTo>
                    <a:pt x="144" y="426"/>
                    <a:pt x="142" y="423"/>
                    <a:pt x="143" y="423"/>
                  </a:cubicBezTo>
                  <a:cubicBezTo>
                    <a:pt x="144" y="422"/>
                    <a:pt x="144" y="418"/>
                    <a:pt x="146" y="416"/>
                  </a:cubicBezTo>
                  <a:cubicBezTo>
                    <a:pt x="148" y="414"/>
                    <a:pt x="147" y="414"/>
                    <a:pt x="147" y="414"/>
                  </a:cubicBezTo>
                  <a:cubicBezTo>
                    <a:pt x="146" y="415"/>
                    <a:pt x="146" y="414"/>
                    <a:pt x="147" y="414"/>
                  </a:cubicBezTo>
                  <a:cubicBezTo>
                    <a:pt x="149" y="414"/>
                    <a:pt x="148" y="412"/>
                    <a:pt x="149" y="411"/>
                  </a:cubicBezTo>
                  <a:cubicBezTo>
                    <a:pt x="150" y="409"/>
                    <a:pt x="152" y="409"/>
                    <a:pt x="151" y="407"/>
                  </a:cubicBezTo>
                  <a:cubicBezTo>
                    <a:pt x="150" y="405"/>
                    <a:pt x="151" y="407"/>
                    <a:pt x="150" y="405"/>
                  </a:cubicBezTo>
                  <a:cubicBezTo>
                    <a:pt x="148" y="403"/>
                    <a:pt x="149" y="405"/>
                    <a:pt x="146" y="405"/>
                  </a:cubicBezTo>
                  <a:cubicBezTo>
                    <a:pt x="143" y="404"/>
                    <a:pt x="141" y="406"/>
                    <a:pt x="140" y="405"/>
                  </a:cubicBezTo>
                  <a:cubicBezTo>
                    <a:pt x="139" y="405"/>
                    <a:pt x="132" y="406"/>
                    <a:pt x="132" y="408"/>
                  </a:cubicBezTo>
                  <a:cubicBezTo>
                    <a:pt x="132" y="411"/>
                    <a:pt x="132" y="414"/>
                    <a:pt x="131" y="414"/>
                  </a:cubicBezTo>
                  <a:cubicBezTo>
                    <a:pt x="129" y="414"/>
                    <a:pt x="130" y="418"/>
                    <a:pt x="129" y="418"/>
                  </a:cubicBezTo>
                  <a:cubicBezTo>
                    <a:pt x="125" y="420"/>
                    <a:pt x="129" y="419"/>
                    <a:pt x="126" y="421"/>
                  </a:cubicBezTo>
                  <a:cubicBezTo>
                    <a:pt x="124" y="422"/>
                    <a:pt x="124" y="421"/>
                    <a:pt x="125" y="420"/>
                  </a:cubicBezTo>
                  <a:cubicBezTo>
                    <a:pt x="127" y="420"/>
                    <a:pt x="126" y="419"/>
                    <a:pt x="124" y="420"/>
                  </a:cubicBezTo>
                  <a:cubicBezTo>
                    <a:pt x="123" y="421"/>
                    <a:pt x="122" y="420"/>
                    <a:pt x="120" y="421"/>
                  </a:cubicBezTo>
                  <a:cubicBezTo>
                    <a:pt x="117" y="423"/>
                    <a:pt x="115" y="422"/>
                    <a:pt x="113" y="423"/>
                  </a:cubicBezTo>
                  <a:cubicBezTo>
                    <a:pt x="111" y="425"/>
                    <a:pt x="109" y="423"/>
                    <a:pt x="108" y="423"/>
                  </a:cubicBezTo>
                  <a:cubicBezTo>
                    <a:pt x="107" y="423"/>
                    <a:pt x="108" y="422"/>
                    <a:pt x="106" y="422"/>
                  </a:cubicBezTo>
                  <a:cubicBezTo>
                    <a:pt x="103" y="422"/>
                    <a:pt x="105" y="420"/>
                    <a:pt x="104" y="419"/>
                  </a:cubicBezTo>
                  <a:cubicBezTo>
                    <a:pt x="102" y="419"/>
                    <a:pt x="104" y="419"/>
                    <a:pt x="102" y="416"/>
                  </a:cubicBezTo>
                  <a:cubicBezTo>
                    <a:pt x="101" y="413"/>
                    <a:pt x="99" y="409"/>
                    <a:pt x="100" y="407"/>
                  </a:cubicBezTo>
                  <a:cubicBezTo>
                    <a:pt x="102" y="405"/>
                    <a:pt x="97" y="403"/>
                    <a:pt x="100" y="400"/>
                  </a:cubicBezTo>
                  <a:cubicBezTo>
                    <a:pt x="102" y="396"/>
                    <a:pt x="101" y="390"/>
                    <a:pt x="104" y="386"/>
                  </a:cubicBezTo>
                  <a:cubicBezTo>
                    <a:pt x="107" y="383"/>
                    <a:pt x="106" y="382"/>
                    <a:pt x="106" y="381"/>
                  </a:cubicBezTo>
                  <a:cubicBezTo>
                    <a:pt x="107" y="378"/>
                    <a:pt x="108" y="378"/>
                    <a:pt x="107" y="377"/>
                  </a:cubicBezTo>
                  <a:cubicBezTo>
                    <a:pt x="106" y="376"/>
                    <a:pt x="108" y="376"/>
                    <a:pt x="108" y="374"/>
                  </a:cubicBezTo>
                  <a:cubicBezTo>
                    <a:pt x="109" y="372"/>
                    <a:pt x="108" y="372"/>
                    <a:pt x="109" y="372"/>
                  </a:cubicBezTo>
                  <a:cubicBezTo>
                    <a:pt x="111" y="372"/>
                    <a:pt x="109" y="371"/>
                    <a:pt x="111" y="371"/>
                  </a:cubicBezTo>
                  <a:cubicBezTo>
                    <a:pt x="111" y="372"/>
                    <a:pt x="112" y="370"/>
                    <a:pt x="113" y="369"/>
                  </a:cubicBezTo>
                  <a:cubicBezTo>
                    <a:pt x="114" y="369"/>
                    <a:pt x="115" y="367"/>
                    <a:pt x="115" y="367"/>
                  </a:cubicBezTo>
                  <a:cubicBezTo>
                    <a:pt x="117" y="368"/>
                    <a:pt x="116" y="365"/>
                    <a:pt x="117" y="365"/>
                  </a:cubicBezTo>
                  <a:cubicBezTo>
                    <a:pt x="117" y="366"/>
                    <a:pt x="117" y="364"/>
                    <a:pt x="118" y="365"/>
                  </a:cubicBezTo>
                  <a:cubicBezTo>
                    <a:pt x="118" y="365"/>
                    <a:pt x="119" y="364"/>
                    <a:pt x="120" y="364"/>
                  </a:cubicBezTo>
                  <a:cubicBezTo>
                    <a:pt x="121" y="365"/>
                    <a:pt x="121" y="363"/>
                    <a:pt x="123" y="362"/>
                  </a:cubicBezTo>
                  <a:cubicBezTo>
                    <a:pt x="127" y="361"/>
                    <a:pt x="124" y="361"/>
                    <a:pt x="125" y="360"/>
                  </a:cubicBezTo>
                  <a:cubicBezTo>
                    <a:pt x="126" y="360"/>
                    <a:pt x="124" y="360"/>
                    <a:pt x="127" y="358"/>
                  </a:cubicBezTo>
                  <a:cubicBezTo>
                    <a:pt x="125" y="360"/>
                    <a:pt x="127" y="360"/>
                    <a:pt x="126" y="361"/>
                  </a:cubicBezTo>
                  <a:cubicBezTo>
                    <a:pt x="125" y="362"/>
                    <a:pt x="127" y="360"/>
                    <a:pt x="130" y="359"/>
                  </a:cubicBezTo>
                  <a:cubicBezTo>
                    <a:pt x="135" y="355"/>
                    <a:pt x="136" y="360"/>
                    <a:pt x="139" y="359"/>
                  </a:cubicBezTo>
                  <a:cubicBezTo>
                    <a:pt x="140" y="359"/>
                    <a:pt x="140" y="358"/>
                    <a:pt x="141" y="359"/>
                  </a:cubicBezTo>
                  <a:cubicBezTo>
                    <a:pt x="142" y="360"/>
                    <a:pt x="142" y="359"/>
                    <a:pt x="142" y="360"/>
                  </a:cubicBezTo>
                  <a:cubicBezTo>
                    <a:pt x="143" y="361"/>
                    <a:pt x="146" y="360"/>
                    <a:pt x="147" y="361"/>
                  </a:cubicBezTo>
                  <a:cubicBezTo>
                    <a:pt x="148" y="362"/>
                    <a:pt x="148" y="360"/>
                    <a:pt x="149" y="361"/>
                  </a:cubicBezTo>
                  <a:cubicBezTo>
                    <a:pt x="150" y="361"/>
                    <a:pt x="149" y="362"/>
                    <a:pt x="151" y="361"/>
                  </a:cubicBezTo>
                  <a:cubicBezTo>
                    <a:pt x="153" y="361"/>
                    <a:pt x="150" y="360"/>
                    <a:pt x="151" y="359"/>
                  </a:cubicBezTo>
                  <a:cubicBezTo>
                    <a:pt x="151" y="359"/>
                    <a:pt x="149" y="359"/>
                    <a:pt x="150" y="358"/>
                  </a:cubicBezTo>
                  <a:cubicBezTo>
                    <a:pt x="151" y="356"/>
                    <a:pt x="146" y="358"/>
                    <a:pt x="147" y="355"/>
                  </a:cubicBezTo>
                  <a:cubicBezTo>
                    <a:pt x="148" y="353"/>
                    <a:pt x="149" y="357"/>
                    <a:pt x="152" y="355"/>
                  </a:cubicBezTo>
                  <a:cubicBezTo>
                    <a:pt x="153" y="355"/>
                    <a:pt x="155" y="356"/>
                    <a:pt x="155" y="355"/>
                  </a:cubicBezTo>
                  <a:cubicBezTo>
                    <a:pt x="155" y="353"/>
                    <a:pt x="156" y="353"/>
                    <a:pt x="156" y="353"/>
                  </a:cubicBezTo>
                  <a:cubicBezTo>
                    <a:pt x="156" y="353"/>
                    <a:pt x="155" y="356"/>
                    <a:pt x="157" y="355"/>
                  </a:cubicBezTo>
                  <a:cubicBezTo>
                    <a:pt x="159" y="354"/>
                    <a:pt x="159" y="354"/>
                    <a:pt x="159" y="354"/>
                  </a:cubicBezTo>
                  <a:cubicBezTo>
                    <a:pt x="160" y="355"/>
                    <a:pt x="165" y="354"/>
                    <a:pt x="164" y="354"/>
                  </a:cubicBezTo>
                  <a:cubicBezTo>
                    <a:pt x="162" y="353"/>
                    <a:pt x="167" y="353"/>
                    <a:pt x="168" y="353"/>
                  </a:cubicBezTo>
                  <a:cubicBezTo>
                    <a:pt x="169" y="354"/>
                    <a:pt x="161" y="353"/>
                    <a:pt x="166" y="355"/>
                  </a:cubicBezTo>
                  <a:cubicBezTo>
                    <a:pt x="171" y="356"/>
                    <a:pt x="172" y="356"/>
                    <a:pt x="171" y="357"/>
                  </a:cubicBezTo>
                  <a:cubicBezTo>
                    <a:pt x="170" y="357"/>
                    <a:pt x="171" y="358"/>
                    <a:pt x="172" y="357"/>
                  </a:cubicBezTo>
                  <a:cubicBezTo>
                    <a:pt x="174" y="356"/>
                    <a:pt x="173" y="358"/>
                    <a:pt x="176" y="356"/>
                  </a:cubicBezTo>
                  <a:cubicBezTo>
                    <a:pt x="179" y="354"/>
                    <a:pt x="179" y="357"/>
                    <a:pt x="180" y="357"/>
                  </a:cubicBezTo>
                  <a:cubicBezTo>
                    <a:pt x="182" y="357"/>
                    <a:pt x="180" y="359"/>
                    <a:pt x="182" y="360"/>
                  </a:cubicBezTo>
                  <a:cubicBezTo>
                    <a:pt x="184" y="361"/>
                    <a:pt x="180" y="366"/>
                    <a:pt x="181" y="367"/>
                  </a:cubicBezTo>
                  <a:cubicBezTo>
                    <a:pt x="181" y="369"/>
                    <a:pt x="179" y="368"/>
                    <a:pt x="181" y="373"/>
                  </a:cubicBezTo>
                  <a:cubicBezTo>
                    <a:pt x="182" y="372"/>
                    <a:pt x="183" y="372"/>
                    <a:pt x="182" y="373"/>
                  </a:cubicBezTo>
                  <a:cubicBezTo>
                    <a:pt x="181" y="374"/>
                    <a:pt x="182" y="375"/>
                    <a:pt x="182" y="376"/>
                  </a:cubicBezTo>
                  <a:cubicBezTo>
                    <a:pt x="182" y="379"/>
                    <a:pt x="184" y="378"/>
                    <a:pt x="184" y="379"/>
                  </a:cubicBezTo>
                  <a:cubicBezTo>
                    <a:pt x="184" y="380"/>
                    <a:pt x="187" y="381"/>
                    <a:pt x="186" y="381"/>
                  </a:cubicBezTo>
                  <a:cubicBezTo>
                    <a:pt x="184" y="381"/>
                    <a:pt x="186" y="383"/>
                    <a:pt x="184" y="382"/>
                  </a:cubicBezTo>
                  <a:cubicBezTo>
                    <a:pt x="183" y="381"/>
                    <a:pt x="184" y="384"/>
                    <a:pt x="186" y="383"/>
                  </a:cubicBezTo>
                  <a:cubicBezTo>
                    <a:pt x="188" y="382"/>
                    <a:pt x="187" y="383"/>
                    <a:pt x="188" y="382"/>
                  </a:cubicBezTo>
                  <a:cubicBezTo>
                    <a:pt x="189" y="381"/>
                    <a:pt x="189" y="383"/>
                    <a:pt x="190" y="382"/>
                  </a:cubicBezTo>
                  <a:cubicBezTo>
                    <a:pt x="191" y="381"/>
                    <a:pt x="189" y="382"/>
                    <a:pt x="190" y="379"/>
                  </a:cubicBezTo>
                  <a:cubicBezTo>
                    <a:pt x="192" y="376"/>
                    <a:pt x="193" y="373"/>
                    <a:pt x="192" y="372"/>
                  </a:cubicBezTo>
                  <a:cubicBezTo>
                    <a:pt x="192" y="371"/>
                    <a:pt x="191" y="369"/>
                    <a:pt x="191" y="366"/>
                  </a:cubicBezTo>
                  <a:cubicBezTo>
                    <a:pt x="191" y="363"/>
                    <a:pt x="191" y="369"/>
                    <a:pt x="192" y="369"/>
                  </a:cubicBezTo>
                  <a:cubicBezTo>
                    <a:pt x="192" y="369"/>
                    <a:pt x="191" y="365"/>
                    <a:pt x="191" y="363"/>
                  </a:cubicBezTo>
                  <a:cubicBezTo>
                    <a:pt x="191" y="361"/>
                    <a:pt x="191" y="364"/>
                    <a:pt x="191" y="361"/>
                  </a:cubicBezTo>
                  <a:cubicBezTo>
                    <a:pt x="190" y="359"/>
                    <a:pt x="190" y="354"/>
                    <a:pt x="191" y="353"/>
                  </a:cubicBezTo>
                  <a:cubicBezTo>
                    <a:pt x="192" y="352"/>
                    <a:pt x="189" y="352"/>
                    <a:pt x="195" y="345"/>
                  </a:cubicBezTo>
                  <a:cubicBezTo>
                    <a:pt x="197" y="342"/>
                    <a:pt x="198" y="344"/>
                    <a:pt x="198" y="343"/>
                  </a:cubicBezTo>
                  <a:cubicBezTo>
                    <a:pt x="197" y="342"/>
                    <a:pt x="199" y="342"/>
                    <a:pt x="198" y="341"/>
                  </a:cubicBezTo>
                  <a:cubicBezTo>
                    <a:pt x="197" y="339"/>
                    <a:pt x="199" y="342"/>
                    <a:pt x="201" y="340"/>
                  </a:cubicBezTo>
                  <a:cubicBezTo>
                    <a:pt x="201" y="339"/>
                    <a:pt x="201" y="342"/>
                    <a:pt x="204" y="339"/>
                  </a:cubicBezTo>
                  <a:cubicBezTo>
                    <a:pt x="206" y="337"/>
                    <a:pt x="205" y="339"/>
                    <a:pt x="207" y="336"/>
                  </a:cubicBezTo>
                  <a:cubicBezTo>
                    <a:pt x="208" y="335"/>
                    <a:pt x="210" y="333"/>
                    <a:pt x="212" y="334"/>
                  </a:cubicBezTo>
                  <a:cubicBezTo>
                    <a:pt x="213" y="334"/>
                    <a:pt x="216" y="330"/>
                    <a:pt x="217" y="330"/>
                  </a:cubicBezTo>
                  <a:cubicBezTo>
                    <a:pt x="218" y="331"/>
                    <a:pt x="218" y="328"/>
                    <a:pt x="221" y="328"/>
                  </a:cubicBezTo>
                  <a:cubicBezTo>
                    <a:pt x="224" y="328"/>
                    <a:pt x="223" y="326"/>
                    <a:pt x="224" y="326"/>
                  </a:cubicBezTo>
                  <a:cubicBezTo>
                    <a:pt x="225" y="325"/>
                    <a:pt x="221" y="327"/>
                    <a:pt x="223" y="325"/>
                  </a:cubicBezTo>
                  <a:cubicBezTo>
                    <a:pt x="225" y="324"/>
                    <a:pt x="221" y="323"/>
                    <a:pt x="224" y="324"/>
                  </a:cubicBezTo>
                  <a:cubicBezTo>
                    <a:pt x="227" y="325"/>
                    <a:pt x="226" y="324"/>
                    <a:pt x="227" y="323"/>
                  </a:cubicBezTo>
                  <a:cubicBezTo>
                    <a:pt x="228" y="323"/>
                    <a:pt x="228" y="321"/>
                    <a:pt x="227" y="322"/>
                  </a:cubicBezTo>
                  <a:cubicBezTo>
                    <a:pt x="226" y="323"/>
                    <a:pt x="227" y="322"/>
                    <a:pt x="225" y="322"/>
                  </a:cubicBezTo>
                  <a:cubicBezTo>
                    <a:pt x="223" y="322"/>
                    <a:pt x="224" y="321"/>
                    <a:pt x="224" y="321"/>
                  </a:cubicBezTo>
                  <a:cubicBezTo>
                    <a:pt x="225" y="322"/>
                    <a:pt x="226" y="321"/>
                    <a:pt x="227" y="321"/>
                  </a:cubicBezTo>
                  <a:cubicBezTo>
                    <a:pt x="229" y="321"/>
                    <a:pt x="229" y="319"/>
                    <a:pt x="228" y="317"/>
                  </a:cubicBezTo>
                  <a:cubicBezTo>
                    <a:pt x="228" y="315"/>
                    <a:pt x="229" y="312"/>
                    <a:pt x="227" y="313"/>
                  </a:cubicBezTo>
                  <a:cubicBezTo>
                    <a:pt x="229" y="312"/>
                    <a:pt x="227" y="312"/>
                    <a:pt x="226" y="311"/>
                  </a:cubicBezTo>
                  <a:cubicBezTo>
                    <a:pt x="228" y="311"/>
                    <a:pt x="227" y="311"/>
                    <a:pt x="228" y="311"/>
                  </a:cubicBezTo>
                  <a:cubicBezTo>
                    <a:pt x="227" y="309"/>
                    <a:pt x="229" y="309"/>
                    <a:pt x="226" y="308"/>
                  </a:cubicBezTo>
                  <a:cubicBezTo>
                    <a:pt x="227" y="309"/>
                    <a:pt x="229" y="309"/>
                    <a:pt x="228" y="307"/>
                  </a:cubicBezTo>
                  <a:cubicBezTo>
                    <a:pt x="228" y="308"/>
                    <a:pt x="228" y="305"/>
                    <a:pt x="229" y="304"/>
                  </a:cubicBezTo>
                  <a:cubicBezTo>
                    <a:pt x="231" y="303"/>
                    <a:pt x="233" y="303"/>
                    <a:pt x="231" y="304"/>
                  </a:cubicBezTo>
                  <a:cubicBezTo>
                    <a:pt x="229" y="306"/>
                    <a:pt x="231" y="305"/>
                    <a:pt x="230" y="306"/>
                  </a:cubicBezTo>
                  <a:cubicBezTo>
                    <a:pt x="229" y="308"/>
                    <a:pt x="231" y="308"/>
                    <a:pt x="230" y="309"/>
                  </a:cubicBezTo>
                  <a:cubicBezTo>
                    <a:pt x="229" y="310"/>
                    <a:pt x="232" y="310"/>
                    <a:pt x="231" y="312"/>
                  </a:cubicBezTo>
                  <a:cubicBezTo>
                    <a:pt x="229" y="313"/>
                    <a:pt x="229" y="314"/>
                    <a:pt x="230" y="313"/>
                  </a:cubicBezTo>
                  <a:cubicBezTo>
                    <a:pt x="232" y="313"/>
                    <a:pt x="233" y="309"/>
                    <a:pt x="234" y="308"/>
                  </a:cubicBezTo>
                  <a:cubicBezTo>
                    <a:pt x="236" y="307"/>
                    <a:pt x="233" y="312"/>
                    <a:pt x="233" y="311"/>
                  </a:cubicBezTo>
                  <a:cubicBezTo>
                    <a:pt x="234" y="310"/>
                    <a:pt x="237" y="307"/>
                    <a:pt x="235" y="306"/>
                  </a:cubicBezTo>
                  <a:cubicBezTo>
                    <a:pt x="234" y="305"/>
                    <a:pt x="236" y="305"/>
                    <a:pt x="234" y="304"/>
                  </a:cubicBezTo>
                  <a:cubicBezTo>
                    <a:pt x="233" y="303"/>
                    <a:pt x="234" y="303"/>
                    <a:pt x="234" y="302"/>
                  </a:cubicBezTo>
                  <a:cubicBezTo>
                    <a:pt x="234" y="304"/>
                    <a:pt x="235" y="303"/>
                    <a:pt x="236" y="305"/>
                  </a:cubicBezTo>
                  <a:cubicBezTo>
                    <a:pt x="236" y="307"/>
                    <a:pt x="236" y="305"/>
                    <a:pt x="237" y="304"/>
                  </a:cubicBezTo>
                  <a:cubicBezTo>
                    <a:pt x="239" y="302"/>
                    <a:pt x="239" y="304"/>
                    <a:pt x="240" y="302"/>
                  </a:cubicBezTo>
                  <a:cubicBezTo>
                    <a:pt x="241" y="300"/>
                    <a:pt x="240" y="302"/>
                    <a:pt x="242" y="301"/>
                  </a:cubicBezTo>
                  <a:cubicBezTo>
                    <a:pt x="241" y="300"/>
                    <a:pt x="241" y="300"/>
                    <a:pt x="241" y="299"/>
                  </a:cubicBezTo>
                  <a:cubicBezTo>
                    <a:pt x="242" y="300"/>
                    <a:pt x="242" y="301"/>
                    <a:pt x="243" y="300"/>
                  </a:cubicBezTo>
                  <a:cubicBezTo>
                    <a:pt x="244" y="299"/>
                    <a:pt x="244" y="299"/>
                    <a:pt x="246" y="298"/>
                  </a:cubicBezTo>
                  <a:cubicBezTo>
                    <a:pt x="248" y="296"/>
                    <a:pt x="245" y="297"/>
                    <a:pt x="246" y="296"/>
                  </a:cubicBezTo>
                  <a:cubicBezTo>
                    <a:pt x="247" y="296"/>
                    <a:pt x="247" y="295"/>
                    <a:pt x="248" y="295"/>
                  </a:cubicBezTo>
                  <a:cubicBezTo>
                    <a:pt x="249" y="294"/>
                    <a:pt x="249" y="292"/>
                    <a:pt x="253" y="292"/>
                  </a:cubicBezTo>
                  <a:cubicBezTo>
                    <a:pt x="257" y="292"/>
                    <a:pt x="255" y="291"/>
                    <a:pt x="257" y="292"/>
                  </a:cubicBezTo>
                  <a:cubicBezTo>
                    <a:pt x="258" y="292"/>
                    <a:pt x="261" y="290"/>
                    <a:pt x="261" y="290"/>
                  </a:cubicBezTo>
                  <a:cubicBezTo>
                    <a:pt x="261" y="290"/>
                    <a:pt x="264" y="288"/>
                    <a:pt x="265" y="290"/>
                  </a:cubicBezTo>
                  <a:cubicBezTo>
                    <a:pt x="267" y="287"/>
                    <a:pt x="264" y="290"/>
                    <a:pt x="264" y="288"/>
                  </a:cubicBezTo>
                  <a:cubicBezTo>
                    <a:pt x="263" y="286"/>
                    <a:pt x="263" y="286"/>
                    <a:pt x="265" y="284"/>
                  </a:cubicBezTo>
                  <a:cubicBezTo>
                    <a:pt x="266" y="282"/>
                    <a:pt x="266" y="284"/>
                    <a:pt x="268" y="281"/>
                  </a:cubicBezTo>
                  <a:cubicBezTo>
                    <a:pt x="269" y="279"/>
                    <a:pt x="271" y="280"/>
                    <a:pt x="273" y="278"/>
                  </a:cubicBezTo>
                  <a:cubicBezTo>
                    <a:pt x="275" y="277"/>
                    <a:pt x="275" y="280"/>
                    <a:pt x="277" y="276"/>
                  </a:cubicBezTo>
                  <a:cubicBezTo>
                    <a:pt x="277" y="275"/>
                    <a:pt x="277" y="279"/>
                    <a:pt x="278" y="276"/>
                  </a:cubicBezTo>
                  <a:cubicBezTo>
                    <a:pt x="279" y="274"/>
                    <a:pt x="282" y="276"/>
                    <a:pt x="282" y="276"/>
                  </a:cubicBezTo>
                  <a:cubicBezTo>
                    <a:pt x="282" y="276"/>
                    <a:pt x="289" y="273"/>
                    <a:pt x="288" y="272"/>
                  </a:cubicBezTo>
                  <a:cubicBezTo>
                    <a:pt x="288" y="271"/>
                    <a:pt x="289" y="273"/>
                    <a:pt x="293" y="271"/>
                  </a:cubicBezTo>
                  <a:cubicBezTo>
                    <a:pt x="297" y="269"/>
                    <a:pt x="297" y="269"/>
                    <a:pt x="296" y="268"/>
                  </a:cubicBezTo>
                  <a:cubicBezTo>
                    <a:pt x="299" y="269"/>
                    <a:pt x="294" y="271"/>
                    <a:pt x="294" y="271"/>
                  </a:cubicBezTo>
                  <a:cubicBezTo>
                    <a:pt x="295" y="272"/>
                    <a:pt x="297" y="270"/>
                    <a:pt x="298" y="271"/>
                  </a:cubicBezTo>
                  <a:cubicBezTo>
                    <a:pt x="300" y="271"/>
                    <a:pt x="301" y="271"/>
                    <a:pt x="303" y="271"/>
                  </a:cubicBezTo>
                  <a:cubicBezTo>
                    <a:pt x="299" y="272"/>
                    <a:pt x="298" y="271"/>
                    <a:pt x="298" y="272"/>
                  </a:cubicBezTo>
                  <a:cubicBezTo>
                    <a:pt x="299" y="272"/>
                    <a:pt x="295" y="271"/>
                    <a:pt x="292" y="273"/>
                  </a:cubicBezTo>
                  <a:cubicBezTo>
                    <a:pt x="289" y="276"/>
                    <a:pt x="287" y="278"/>
                    <a:pt x="288" y="278"/>
                  </a:cubicBezTo>
                  <a:cubicBezTo>
                    <a:pt x="289" y="279"/>
                    <a:pt x="288" y="280"/>
                    <a:pt x="289" y="280"/>
                  </a:cubicBezTo>
                  <a:cubicBezTo>
                    <a:pt x="290" y="280"/>
                    <a:pt x="290" y="278"/>
                    <a:pt x="290" y="279"/>
                  </a:cubicBezTo>
                  <a:cubicBezTo>
                    <a:pt x="291" y="280"/>
                    <a:pt x="293" y="278"/>
                    <a:pt x="295" y="277"/>
                  </a:cubicBezTo>
                  <a:cubicBezTo>
                    <a:pt x="297" y="276"/>
                    <a:pt x="294" y="275"/>
                    <a:pt x="297" y="275"/>
                  </a:cubicBezTo>
                  <a:cubicBezTo>
                    <a:pt x="300" y="275"/>
                    <a:pt x="298" y="273"/>
                    <a:pt x="301" y="274"/>
                  </a:cubicBezTo>
                  <a:cubicBezTo>
                    <a:pt x="304" y="275"/>
                    <a:pt x="302" y="273"/>
                    <a:pt x="304" y="273"/>
                  </a:cubicBezTo>
                  <a:cubicBezTo>
                    <a:pt x="306" y="274"/>
                    <a:pt x="307" y="272"/>
                    <a:pt x="309" y="271"/>
                  </a:cubicBezTo>
                  <a:cubicBezTo>
                    <a:pt x="311" y="271"/>
                    <a:pt x="312" y="269"/>
                    <a:pt x="312" y="269"/>
                  </a:cubicBezTo>
                  <a:cubicBezTo>
                    <a:pt x="312" y="269"/>
                    <a:pt x="312" y="268"/>
                    <a:pt x="311" y="268"/>
                  </a:cubicBezTo>
                  <a:cubicBezTo>
                    <a:pt x="308" y="270"/>
                    <a:pt x="312" y="267"/>
                    <a:pt x="308" y="268"/>
                  </a:cubicBezTo>
                  <a:cubicBezTo>
                    <a:pt x="305" y="270"/>
                    <a:pt x="309" y="268"/>
                    <a:pt x="305" y="268"/>
                  </a:cubicBezTo>
                  <a:cubicBezTo>
                    <a:pt x="301" y="268"/>
                    <a:pt x="303" y="266"/>
                    <a:pt x="300" y="266"/>
                  </a:cubicBezTo>
                  <a:cubicBezTo>
                    <a:pt x="300" y="263"/>
                    <a:pt x="299" y="260"/>
                    <a:pt x="297" y="261"/>
                  </a:cubicBezTo>
                  <a:cubicBezTo>
                    <a:pt x="300" y="260"/>
                    <a:pt x="301" y="258"/>
                    <a:pt x="300" y="258"/>
                  </a:cubicBezTo>
                  <a:cubicBezTo>
                    <a:pt x="300" y="257"/>
                    <a:pt x="298" y="258"/>
                    <a:pt x="298" y="258"/>
                  </a:cubicBezTo>
                  <a:cubicBezTo>
                    <a:pt x="297" y="257"/>
                    <a:pt x="297" y="257"/>
                    <a:pt x="296" y="257"/>
                  </a:cubicBezTo>
                  <a:cubicBezTo>
                    <a:pt x="299" y="256"/>
                    <a:pt x="298" y="258"/>
                    <a:pt x="301" y="256"/>
                  </a:cubicBezTo>
                  <a:cubicBezTo>
                    <a:pt x="304" y="254"/>
                    <a:pt x="304" y="255"/>
                    <a:pt x="305" y="254"/>
                  </a:cubicBezTo>
                  <a:cubicBezTo>
                    <a:pt x="306" y="254"/>
                    <a:pt x="304" y="254"/>
                    <a:pt x="304" y="253"/>
                  </a:cubicBezTo>
                  <a:cubicBezTo>
                    <a:pt x="305" y="253"/>
                    <a:pt x="305" y="254"/>
                    <a:pt x="305" y="253"/>
                  </a:cubicBezTo>
                  <a:cubicBezTo>
                    <a:pt x="306" y="252"/>
                    <a:pt x="303" y="251"/>
                    <a:pt x="298" y="252"/>
                  </a:cubicBezTo>
                  <a:cubicBezTo>
                    <a:pt x="293" y="253"/>
                    <a:pt x="280" y="258"/>
                    <a:pt x="277" y="260"/>
                  </a:cubicBezTo>
                  <a:cubicBezTo>
                    <a:pt x="273" y="263"/>
                    <a:pt x="273" y="263"/>
                    <a:pt x="271" y="263"/>
                  </a:cubicBezTo>
                  <a:cubicBezTo>
                    <a:pt x="275" y="261"/>
                    <a:pt x="274" y="261"/>
                    <a:pt x="276" y="260"/>
                  </a:cubicBezTo>
                  <a:cubicBezTo>
                    <a:pt x="278" y="259"/>
                    <a:pt x="284" y="254"/>
                    <a:pt x="287" y="253"/>
                  </a:cubicBezTo>
                  <a:cubicBezTo>
                    <a:pt x="289" y="253"/>
                    <a:pt x="289" y="251"/>
                    <a:pt x="289" y="252"/>
                  </a:cubicBezTo>
                  <a:cubicBezTo>
                    <a:pt x="291" y="253"/>
                    <a:pt x="291" y="251"/>
                    <a:pt x="293" y="250"/>
                  </a:cubicBezTo>
                  <a:cubicBezTo>
                    <a:pt x="296" y="249"/>
                    <a:pt x="299" y="249"/>
                    <a:pt x="299" y="248"/>
                  </a:cubicBezTo>
                  <a:cubicBezTo>
                    <a:pt x="299" y="247"/>
                    <a:pt x="301" y="246"/>
                    <a:pt x="309" y="245"/>
                  </a:cubicBezTo>
                  <a:cubicBezTo>
                    <a:pt x="321" y="244"/>
                    <a:pt x="316" y="246"/>
                    <a:pt x="321" y="245"/>
                  </a:cubicBezTo>
                  <a:cubicBezTo>
                    <a:pt x="327" y="244"/>
                    <a:pt x="323" y="247"/>
                    <a:pt x="330" y="244"/>
                  </a:cubicBezTo>
                  <a:cubicBezTo>
                    <a:pt x="334" y="242"/>
                    <a:pt x="335" y="243"/>
                    <a:pt x="335" y="243"/>
                  </a:cubicBezTo>
                  <a:cubicBezTo>
                    <a:pt x="335" y="243"/>
                    <a:pt x="335" y="243"/>
                    <a:pt x="335" y="242"/>
                  </a:cubicBezTo>
                  <a:cubicBezTo>
                    <a:pt x="337" y="240"/>
                    <a:pt x="338" y="242"/>
                    <a:pt x="338" y="241"/>
                  </a:cubicBezTo>
                  <a:cubicBezTo>
                    <a:pt x="337" y="240"/>
                    <a:pt x="338" y="240"/>
                    <a:pt x="341" y="239"/>
                  </a:cubicBezTo>
                  <a:cubicBezTo>
                    <a:pt x="346" y="236"/>
                    <a:pt x="342" y="240"/>
                    <a:pt x="347" y="237"/>
                  </a:cubicBezTo>
                  <a:cubicBezTo>
                    <a:pt x="352" y="235"/>
                    <a:pt x="347" y="234"/>
                    <a:pt x="348" y="233"/>
                  </a:cubicBezTo>
                  <a:cubicBezTo>
                    <a:pt x="350" y="233"/>
                    <a:pt x="346" y="232"/>
                    <a:pt x="348" y="232"/>
                  </a:cubicBezTo>
                  <a:cubicBezTo>
                    <a:pt x="350" y="231"/>
                    <a:pt x="349" y="229"/>
                    <a:pt x="347" y="229"/>
                  </a:cubicBezTo>
                  <a:cubicBezTo>
                    <a:pt x="345" y="229"/>
                    <a:pt x="345" y="230"/>
                    <a:pt x="345" y="230"/>
                  </a:cubicBezTo>
                  <a:cubicBezTo>
                    <a:pt x="344" y="229"/>
                    <a:pt x="346" y="229"/>
                    <a:pt x="345" y="228"/>
                  </a:cubicBezTo>
                  <a:cubicBezTo>
                    <a:pt x="343" y="227"/>
                    <a:pt x="342" y="227"/>
                    <a:pt x="340" y="228"/>
                  </a:cubicBezTo>
                  <a:cubicBezTo>
                    <a:pt x="337" y="230"/>
                    <a:pt x="334" y="231"/>
                    <a:pt x="331" y="230"/>
                  </a:cubicBezTo>
                  <a:cubicBezTo>
                    <a:pt x="336" y="228"/>
                    <a:pt x="330" y="228"/>
                    <a:pt x="335" y="228"/>
                  </a:cubicBezTo>
                  <a:cubicBezTo>
                    <a:pt x="339" y="228"/>
                    <a:pt x="340" y="227"/>
                    <a:pt x="344" y="227"/>
                  </a:cubicBezTo>
                  <a:cubicBezTo>
                    <a:pt x="347" y="226"/>
                    <a:pt x="343" y="225"/>
                    <a:pt x="342" y="225"/>
                  </a:cubicBezTo>
                  <a:cubicBezTo>
                    <a:pt x="340" y="226"/>
                    <a:pt x="341" y="224"/>
                    <a:pt x="339" y="224"/>
                  </a:cubicBezTo>
                  <a:cubicBezTo>
                    <a:pt x="338" y="224"/>
                    <a:pt x="340" y="223"/>
                    <a:pt x="337" y="223"/>
                  </a:cubicBezTo>
                  <a:cubicBezTo>
                    <a:pt x="335" y="224"/>
                    <a:pt x="338" y="221"/>
                    <a:pt x="336" y="222"/>
                  </a:cubicBezTo>
                  <a:cubicBezTo>
                    <a:pt x="333" y="223"/>
                    <a:pt x="336" y="220"/>
                    <a:pt x="334" y="219"/>
                  </a:cubicBezTo>
                  <a:cubicBezTo>
                    <a:pt x="332" y="217"/>
                    <a:pt x="337" y="215"/>
                    <a:pt x="334" y="215"/>
                  </a:cubicBezTo>
                  <a:cubicBezTo>
                    <a:pt x="332" y="216"/>
                    <a:pt x="331" y="216"/>
                    <a:pt x="330" y="216"/>
                  </a:cubicBezTo>
                  <a:cubicBezTo>
                    <a:pt x="334" y="215"/>
                    <a:pt x="336" y="213"/>
                    <a:pt x="333" y="212"/>
                  </a:cubicBezTo>
                  <a:cubicBezTo>
                    <a:pt x="334" y="210"/>
                    <a:pt x="331" y="210"/>
                    <a:pt x="332" y="208"/>
                  </a:cubicBezTo>
                  <a:cubicBezTo>
                    <a:pt x="332" y="207"/>
                    <a:pt x="330" y="207"/>
                    <a:pt x="331" y="206"/>
                  </a:cubicBezTo>
                  <a:cubicBezTo>
                    <a:pt x="331" y="205"/>
                    <a:pt x="330" y="205"/>
                    <a:pt x="330" y="204"/>
                  </a:cubicBezTo>
                  <a:cubicBezTo>
                    <a:pt x="330" y="203"/>
                    <a:pt x="329" y="203"/>
                    <a:pt x="328" y="202"/>
                  </a:cubicBezTo>
                  <a:cubicBezTo>
                    <a:pt x="327" y="200"/>
                    <a:pt x="327" y="203"/>
                    <a:pt x="324" y="204"/>
                  </a:cubicBezTo>
                  <a:cubicBezTo>
                    <a:pt x="322" y="205"/>
                    <a:pt x="325" y="207"/>
                    <a:pt x="322" y="208"/>
                  </a:cubicBezTo>
                  <a:cubicBezTo>
                    <a:pt x="320" y="208"/>
                    <a:pt x="320" y="210"/>
                    <a:pt x="320" y="210"/>
                  </a:cubicBezTo>
                  <a:cubicBezTo>
                    <a:pt x="319" y="211"/>
                    <a:pt x="320" y="207"/>
                    <a:pt x="318" y="209"/>
                  </a:cubicBezTo>
                  <a:cubicBezTo>
                    <a:pt x="317" y="211"/>
                    <a:pt x="314" y="211"/>
                    <a:pt x="313" y="213"/>
                  </a:cubicBezTo>
                  <a:cubicBezTo>
                    <a:pt x="313" y="212"/>
                    <a:pt x="311" y="213"/>
                    <a:pt x="312" y="212"/>
                  </a:cubicBezTo>
                  <a:cubicBezTo>
                    <a:pt x="313" y="210"/>
                    <a:pt x="308" y="211"/>
                    <a:pt x="305" y="214"/>
                  </a:cubicBezTo>
                  <a:cubicBezTo>
                    <a:pt x="306" y="213"/>
                    <a:pt x="304" y="213"/>
                    <a:pt x="303" y="213"/>
                  </a:cubicBezTo>
                  <a:cubicBezTo>
                    <a:pt x="305" y="212"/>
                    <a:pt x="305" y="212"/>
                    <a:pt x="306" y="211"/>
                  </a:cubicBezTo>
                  <a:cubicBezTo>
                    <a:pt x="305" y="212"/>
                    <a:pt x="306" y="213"/>
                    <a:pt x="309" y="210"/>
                  </a:cubicBezTo>
                  <a:cubicBezTo>
                    <a:pt x="311" y="209"/>
                    <a:pt x="309" y="208"/>
                    <a:pt x="305" y="210"/>
                  </a:cubicBezTo>
                  <a:cubicBezTo>
                    <a:pt x="304" y="208"/>
                    <a:pt x="310" y="208"/>
                    <a:pt x="309" y="205"/>
                  </a:cubicBezTo>
                  <a:cubicBezTo>
                    <a:pt x="309" y="205"/>
                    <a:pt x="307" y="205"/>
                    <a:pt x="307" y="205"/>
                  </a:cubicBezTo>
                  <a:cubicBezTo>
                    <a:pt x="314" y="204"/>
                    <a:pt x="306" y="203"/>
                    <a:pt x="311" y="202"/>
                  </a:cubicBezTo>
                  <a:cubicBezTo>
                    <a:pt x="314" y="201"/>
                    <a:pt x="313" y="201"/>
                    <a:pt x="313" y="200"/>
                  </a:cubicBezTo>
                  <a:cubicBezTo>
                    <a:pt x="312" y="200"/>
                    <a:pt x="311" y="201"/>
                    <a:pt x="310" y="201"/>
                  </a:cubicBezTo>
                  <a:cubicBezTo>
                    <a:pt x="309" y="200"/>
                    <a:pt x="311" y="200"/>
                    <a:pt x="310" y="199"/>
                  </a:cubicBezTo>
                  <a:cubicBezTo>
                    <a:pt x="308" y="198"/>
                    <a:pt x="309" y="200"/>
                    <a:pt x="307" y="199"/>
                  </a:cubicBezTo>
                  <a:cubicBezTo>
                    <a:pt x="306" y="198"/>
                    <a:pt x="304" y="199"/>
                    <a:pt x="305" y="196"/>
                  </a:cubicBezTo>
                  <a:cubicBezTo>
                    <a:pt x="298" y="191"/>
                    <a:pt x="300" y="197"/>
                    <a:pt x="294" y="195"/>
                  </a:cubicBezTo>
                  <a:cubicBezTo>
                    <a:pt x="292" y="194"/>
                    <a:pt x="288" y="193"/>
                    <a:pt x="285" y="194"/>
                  </a:cubicBezTo>
                  <a:cubicBezTo>
                    <a:pt x="282" y="195"/>
                    <a:pt x="284" y="198"/>
                    <a:pt x="281" y="200"/>
                  </a:cubicBezTo>
                  <a:cubicBezTo>
                    <a:pt x="277" y="203"/>
                    <a:pt x="284" y="201"/>
                    <a:pt x="279" y="203"/>
                  </a:cubicBezTo>
                  <a:cubicBezTo>
                    <a:pt x="276" y="205"/>
                    <a:pt x="280" y="205"/>
                    <a:pt x="278" y="206"/>
                  </a:cubicBezTo>
                  <a:cubicBezTo>
                    <a:pt x="275" y="207"/>
                    <a:pt x="278" y="206"/>
                    <a:pt x="275" y="207"/>
                  </a:cubicBezTo>
                  <a:cubicBezTo>
                    <a:pt x="269" y="209"/>
                    <a:pt x="273" y="210"/>
                    <a:pt x="271" y="210"/>
                  </a:cubicBezTo>
                  <a:cubicBezTo>
                    <a:pt x="269" y="212"/>
                    <a:pt x="279" y="212"/>
                    <a:pt x="271" y="221"/>
                  </a:cubicBezTo>
                  <a:cubicBezTo>
                    <a:pt x="263" y="228"/>
                    <a:pt x="254" y="228"/>
                    <a:pt x="253" y="228"/>
                  </a:cubicBezTo>
                  <a:cubicBezTo>
                    <a:pt x="252" y="230"/>
                    <a:pt x="254" y="229"/>
                    <a:pt x="254" y="230"/>
                  </a:cubicBezTo>
                  <a:cubicBezTo>
                    <a:pt x="254" y="232"/>
                    <a:pt x="255" y="228"/>
                    <a:pt x="255" y="234"/>
                  </a:cubicBezTo>
                  <a:cubicBezTo>
                    <a:pt x="255" y="235"/>
                    <a:pt x="254" y="235"/>
                    <a:pt x="254" y="237"/>
                  </a:cubicBezTo>
                  <a:cubicBezTo>
                    <a:pt x="254" y="241"/>
                    <a:pt x="249" y="240"/>
                    <a:pt x="249" y="241"/>
                  </a:cubicBezTo>
                  <a:cubicBezTo>
                    <a:pt x="249" y="243"/>
                    <a:pt x="249" y="243"/>
                    <a:pt x="251" y="243"/>
                  </a:cubicBezTo>
                  <a:cubicBezTo>
                    <a:pt x="249" y="243"/>
                    <a:pt x="248" y="244"/>
                    <a:pt x="250" y="245"/>
                  </a:cubicBezTo>
                  <a:cubicBezTo>
                    <a:pt x="247" y="244"/>
                    <a:pt x="249" y="241"/>
                    <a:pt x="247" y="242"/>
                  </a:cubicBezTo>
                  <a:cubicBezTo>
                    <a:pt x="245" y="243"/>
                    <a:pt x="243" y="243"/>
                    <a:pt x="244" y="244"/>
                  </a:cubicBezTo>
                  <a:cubicBezTo>
                    <a:pt x="245" y="245"/>
                    <a:pt x="242" y="244"/>
                    <a:pt x="242" y="244"/>
                  </a:cubicBezTo>
                  <a:cubicBezTo>
                    <a:pt x="241" y="245"/>
                    <a:pt x="243" y="240"/>
                    <a:pt x="241" y="241"/>
                  </a:cubicBezTo>
                  <a:cubicBezTo>
                    <a:pt x="240" y="242"/>
                    <a:pt x="239" y="242"/>
                    <a:pt x="238" y="243"/>
                  </a:cubicBezTo>
                  <a:cubicBezTo>
                    <a:pt x="239" y="241"/>
                    <a:pt x="242" y="241"/>
                    <a:pt x="240" y="240"/>
                  </a:cubicBezTo>
                  <a:cubicBezTo>
                    <a:pt x="239" y="240"/>
                    <a:pt x="242" y="236"/>
                    <a:pt x="237" y="235"/>
                  </a:cubicBezTo>
                  <a:cubicBezTo>
                    <a:pt x="240" y="235"/>
                    <a:pt x="239" y="235"/>
                    <a:pt x="240" y="233"/>
                  </a:cubicBezTo>
                  <a:cubicBezTo>
                    <a:pt x="240" y="231"/>
                    <a:pt x="237" y="233"/>
                    <a:pt x="236" y="231"/>
                  </a:cubicBezTo>
                  <a:cubicBezTo>
                    <a:pt x="238" y="231"/>
                    <a:pt x="238" y="232"/>
                    <a:pt x="239" y="231"/>
                  </a:cubicBezTo>
                  <a:cubicBezTo>
                    <a:pt x="240" y="230"/>
                    <a:pt x="240" y="232"/>
                    <a:pt x="241" y="230"/>
                  </a:cubicBezTo>
                  <a:cubicBezTo>
                    <a:pt x="242" y="229"/>
                    <a:pt x="239" y="230"/>
                    <a:pt x="242" y="228"/>
                  </a:cubicBezTo>
                  <a:cubicBezTo>
                    <a:pt x="245" y="226"/>
                    <a:pt x="241" y="227"/>
                    <a:pt x="240" y="226"/>
                  </a:cubicBezTo>
                  <a:cubicBezTo>
                    <a:pt x="239" y="225"/>
                    <a:pt x="232" y="227"/>
                    <a:pt x="232" y="226"/>
                  </a:cubicBezTo>
                  <a:cubicBezTo>
                    <a:pt x="233" y="223"/>
                    <a:pt x="231" y="225"/>
                    <a:pt x="229" y="223"/>
                  </a:cubicBezTo>
                  <a:cubicBezTo>
                    <a:pt x="227" y="222"/>
                    <a:pt x="226" y="224"/>
                    <a:pt x="226" y="222"/>
                  </a:cubicBezTo>
                  <a:cubicBezTo>
                    <a:pt x="226" y="220"/>
                    <a:pt x="219" y="221"/>
                    <a:pt x="219" y="219"/>
                  </a:cubicBezTo>
                  <a:cubicBezTo>
                    <a:pt x="218" y="217"/>
                    <a:pt x="213" y="220"/>
                    <a:pt x="211" y="220"/>
                  </a:cubicBezTo>
                  <a:cubicBezTo>
                    <a:pt x="209" y="220"/>
                    <a:pt x="210" y="220"/>
                    <a:pt x="208" y="220"/>
                  </a:cubicBezTo>
                  <a:cubicBezTo>
                    <a:pt x="211" y="218"/>
                    <a:pt x="210" y="221"/>
                    <a:pt x="213" y="218"/>
                  </a:cubicBezTo>
                  <a:cubicBezTo>
                    <a:pt x="214" y="218"/>
                    <a:pt x="213" y="216"/>
                    <a:pt x="213" y="215"/>
                  </a:cubicBezTo>
                  <a:cubicBezTo>
                    <a:pt x="213" y="215"/>
                    <a:pt x="213" y="213"/>
                    <a:pt x="211" y="213"/>
                  </a:cubicBezTo>
                  <a:cubicBezTo>
                    <a:pt x="210" y="213"/>
                    <a:pt x="209" y="213"/>
                    <a:pt x="208" y="214"/>
                  </a:cubicBezTo>
                  <a:cubicBezTo>
                    <a:pt x="208" y="212"/>
                    <a:pt x="208" y="212"/>
                    <a:pt x="207" y="213"/>
                  </a:cubicBezTo>
                  <a:cubicBezTo>
                    <a:pt x="210" y="211"/>
                    <a:pt x="208" y="209"/>
                    <a:pt x="211" y="208"/>
                  </a:cubicBezTo>
                  <a:cubicBezTo>
                    <a:pt x="215" y="206"/>
                    <a:pt x="211" y="206"/>
                    <a:pt x="214" y="206"/>
                  </a:cubicBezTo>
                  <a:cubicBezTo>
                    <a:pt x="217" y="205"/>
                    <a:pt x="213" y="205"/>
                    <a:pt x="216" y="204"/>
                  </a:cubicBezTo>
                  <a:cubicBezTo>
                    <a:pt x="222" y="202"/>
                    <a:pt x="218" y="201"/>
                    <a:pt x="221" y="201"/>
                  </a:cubicBezTo>
                  <a:cubicBezTo>
                    <a:pt x="222" y="202"/>
                    <a:pt x="226" y="199"/>
                    <a:pt x="228" y="198"/>
                  </a:cubicBezTo>
                  <a:cubicBezTo>
                    <a:pt x="229" y="198"/>
                    <a:pt x="228" y="197"/>
                    <a:pt x="233" y="196"/>
                  </a:cubicBezTo>
                  <a:cubicBezTo>
                    <a:pt x="236" y="196"/>
                    <a:pt x="229" y="194"/>
                    <a:pt x="236" y="195"/>
                  </a:cubicBezTo>
                  <a:cubicBezTo>
                    <a:pt x="240" y="195"/>
                    <a:pt x="240" y="194"/>
                    <a:pt x="240" y="193"/>
                  </a:cubicBezTo>
                  <a:cubicBezTo>
                    <a:pt x="239" y="192"/>
                    <a:pt x="238" y="191"/>
                    <a:pt x="234" y="193"/>
                  </a:cubicBezTo>
                  <a:cubicBezTo>
                    <a:pt x="236" y="192"/>
                    <a:pt x="236" y="192"/>
                    <a:pt x="232" y="192"/>
                  </a:cubicBezTo>
                  <a:cubicBezTo>
                    <a:pt x="240" y="191"/>
                    <a:pt x="240" y="192"/>
                    <a:pt x="242" y="192"/>
                  </a:cubicBezTo>
                  <a:cubicBezTo>
                    <a:pt x="244" y="191"/>
                    <a:pt x="245" y="192"/>
                    <a:pt x="245" y="190"/>
                  </a:cubicBezTo>
                  <a:cubicBezTo>
                    <a:pt x="247" y="192"/>
                    <a:pt x="248" y="191"/>
                    <a:pt x="250" y="191"/>
                  </a:cubicBezTo>
                  <a:cubicBezTo>
                    <a:pt x="253" y="191"/>
                    <a:pt x="254" y="189"/>
                    <a:pt x="258" y="188"/>
                  </a:cubicBezTo>
                  <a:cubicBezTo>
                    <a:pt x="261" y="186"/>
                    <a:pt x="258" y="187"/>
                    <a:pt x="255" y="186"/>
                  </a:cubicBezTo>
                  <a:cubicBezTo>
                    <a:pt x="252" y="186"/>
                    <a:pt x="254" y="184"/>
                    <a:pt x="250" y="184"/>
                  </a:cubicBezTo>
                  <a:cubicBezTo>
                    <a:pt x="255" y="183"/>
                    <a:pt x="252" y="186"/>
                    <a:pt x="256" y="186"/>
                  </a:cubicBezTo>
                  <a:cubicBezTo>
                    <a:pt x="260" y="186"/>
                    <a:pt x="258" y="186"/>
                    <a:pt x="263" y="184"/>
                  </a:cubicBezTo>
                  <a:cubicBezTo>
                    <a:pt x="272" y="182"/>
                    <a:pt x="262" y="182"/>
                    <a:pt x="266" y="181"/>
                  </a:cubicBezTo>
                  <a:cubicBezTo>
                    <a:pt x="272" y="179"/>
                    <a:pt x="268" y="183"/>
                    <a:pt x="272" y="182"/>
                  </a:cubicBezTo>
                  <a:cubicBezTo>
                    <a:pt x="274" y="181"/>
                    <a:pt x="275" y="183"/>
                    <a:pt x="274" y="180"/>
                  </a:cubicBezTo>
                  <a:cubicBezTo>
                    <a:pt x="273" y="180"/>
                    <a:pt x="273" y="179"/>
                    <a:pt x="273" y="179"/>
                  </a:cubicBezTo>
                  <a:cubicBezTo>
                    <a:pt x="274" y="179"/>
                    <a:pt x="275" y="182"/>
                    <a:pt x="277" y="181"/>
                  </a:cubicBezTo>
                  <a:cubicBezTo>
                    <a:pt x="279" y="180"/>
                    <a:pt x="279" y="181"/>
                    <a:pt x="281" y="180"/>
                  </a:cubicBezTo>
                  <a:cubicBezTo>
                    <a:pt x="284" y="179"/>
                    <a:pt x="284" y="181"/>
                    <a:pt x="288" y="179"/>
                  </a:cubicBezTo>
                  <a:cubicBezTo>
                    <a:pt x="292" y="176"/>
                    <a:pt x="288" y="177"/>
                    <a:pt x="290" y="175"/>
                  </a:cubicBezTo>
                  <a:cubicBezTo>
                    <a:pt x="290" y="174"/>
                    <a:pt x="289" y="173"/>
                    <a:pt x="291" y="173"/>
                  </a:cubicBezTo>
                  <a:cubicBezTo>
                    <a:pt x="293" y="174"/>
                    <a:pt x="292" y="173"/>
                    <a:pt x="294" y="172"/>
                  </a:cubicBezTo>
                  <a:cubicBezTo>
                    <a:pt x="295" y="172"/>
                    <a:pt x="293" y="171"/>
                    <a:pt x="291" y="170"/>
                  </a:cubicBezTo>
                  <a:cubicBezTo>
                    <a:pt x="290" y="169"/>
                    <a:pt x="288" y="170"/>
                    <a:pt x="285" y="169"/>
                  </a:cubicBezTo>
                  <a:cubicBezTo>
                    <a:pt x="282" y="168"/>
                    <a:pt x="278" y="171"/>
                    <a:pt x="281" y="172"/>
                  </a:cubicBezTo>
                  <a:cubicBezTo>
                    <a:pt x="279" y="172"/>
                    <a:pt x="279" y="172"/>
                    <a:pt x="277" y="174"/>
                  </a:cubicBezTo>
                  <a:cubicBezTo>
                    <a:pt x="276" y="175"/>
                    <a:pt x="273" y="174"/>
                    <a:pt x="268" y="178"/>
                  </a:cubicBezTo>
                  <a:cubicBezTo>
                    <a:pt x="269" y="176"/>
                    <a:pt x="267" y="176"/>
                    <a:pt x="269" y="174"/>
                  </a:cubicBezTo>
                  <a:cubicBezTo>
                    <a:pt x="271" y="173"/>
                    <a:pt x="268" y="170"/>
                    <a:pt x="266" y="172"/>
                  </a:cubicBezTo>
                  <a:cubicBezTo>
                    <a:pt x="265" y="174"/>
                    <a:pt x="263" y="173"/>
                    <a:pt x="261" y="174"/>
                  </a:cubicBezTo>
                  <a:cubicBezTo>
                    <a:pt x="264" y="171"/>
                    <a:pt x="262" y="171"/>
                    <a:pt x="260" y="171"/>
                  </a:cubicBezTo>
                  <a:cubicBezTo>
                    <a:pt x="264" y="169"/>
                    <a:pt x="259" y="169"/>
                    <a:pt x="261" y="168"/>
                  </a:cubicBezTo>
                  <a:cubicBezTo>
                    <a:pt x="263" y="167"/>
                    <a:pt x="262" y="169"/>
                    <a:pt x="264" y="168"/>
                  </a:cubicBezTo>
                  <a:cubicBezTo>
                    <a:pt x="266" y="167"/>
                    <a:pt x="262" y="167"/>
                    <a:pt x="263" y="165"/>
                  </a:cubicBezTo>
                  <a:cubicBezTo>
                    <a:pt x="264" y="164"/>
                    <a:pt x="261" y="162"/>
                    <a:pt x="258" y="163"/>
                  </a:cubicBezTo>
                  <a:cubicBezTo>
                    <a:pt x="253" y="165"/>
                    <a:pt x="258" y="164"/>
                    <a:pt x="256" y="165"/>
                  </a:cubicBezTo>
                  <a:cubicBezTo>
                    <a:pt x="254" y="166"/>
                    <a:pt x="255" y="164"/>
                    <a:pt x="254" y="166"/>
                  </a:cubicBezTo>
                  <a:cubicBezTo>
                    <a:pt x="252" y="167"/>
                    <a:pt x="250" y="167"/>
                    <a:pt x="250" y="168"/>
                  </a:cubicBezTo>
                  <a:cubicBezTo>
                    <a:pt x="251" y="170"/>
                    <a:pt x="244" y="169"/>
                    <a:pt x="246" y="172"/>
                  </a:cubicBezTo>
                  <a:cubicBezTo>
                    <a:pt x="249" y="174"/>
                    <a:pt x="248" y="172"/>
                    <a:pt x="250" y="173"/>
                  </a:cubicBezTo>
                  <a:cubicBezTo>
                    <a:pt x="251" y="174"/>
                    <a:pt x="255" y="171"/>
                    <a:pt x="256" y="172"/>
                  </a:cubicBezTo>
                  <a:cubicBezTo>
                    <a:pt x="257" y="172"/>
                    <a:pt x="253" y="174"/>
                    <a:pt x="252" y="174"/>
                  </a:cubicBezTo>
                  <a:cubicBezTo>
                    <a:pt x="251" y="173"/>
                    <a:pt x="248" y="175"/>
                    <a:pt x="249" y="175"/>
                  </a:cubicBezTo>
                  <a:cubicBezTo>
                    <a:pt x="250" y="176"/>
                    <a:pt x="250" y="174"/>
                    <a:pt x="251" y="175"/>
                  </a:cubicBezTo>
                  <a:cubicBezTo>
                    <a:pt x="252" y="175"/>
                    <a:pt x="250" y="176"/>
                    <a:pt x="247" y="176"/>
                  </a:cubicBezTo>
                  <a:cubicBezTo>
                    <a:pt x="243" y="177"/>
                    <a:pt x="243" y="175"/>
                    <a:pt x="241" y="176"/>
                  </a:cubicBezTo>
                  <a:cubicBezTo>
                    <a:pt x="239" y="178"/>
                    <a:pt x="241" y="178"/>
                    <a:pt x="237" y="179"/>
                  </a:cubicBezTo>
                  <a:cubicBezTo>
                    <a:pt x="240" y="177"/>
                    <a:pt x="238" y="178"/>
                    <a:pt x="239" y="176"/>
                  </a:cubicBezTo>
                  <a:cubicBezTo>
                    <a:pt x="241" y="175"/>
                    <a:pt x="239" y="176"/>
                    <a:pt x="238" y="175"/>
                  </a:cubicBezTo>
                  <a:cubicBezTo>
                    <a:pt x="236" y="173"/>
                    <a:pt x="238" y="176"/>
                    <a:pt x="234" y="175"/>
                  </a:cubicBezTo>
                  <a:cubicBezTo>
                    <a:pt x="235" y="178"/>
                    <a:pt x="237" y="176"/>
                    <a:pt x="237" y="177"/>
                  </a:cubicBezTo>
                  <a:cubicBezTo>
                    <a:pt x="237" y="179"/>
                    <a:pt x="236" y="178"/>
                    <a:pt x="235" y="177"/>
                  </a:cubicBezTo>
                  <a:cubicBezTo>
                    <a:pt x="233" y="175"/>
                    <a:pt x="234" y="177"/>
                    <a:pt x="232" y="177"/>
                  </a:cubicBezTo>
                  <a:cubicBezTo>
                    <a:pt x="229" y="177"/>
                    <a:pt x="230" y="179"/>
                    <a:pt x="228" y="177"/>
                  </a:cubicBezTo>
                  <a:cubicBezTo>
                    <a:pt x="226" y="176"/>
                    <a:pt x="223" y="177"/>
                    <a:pt x="221" y="178"/>
                  </a:cubicBezTo>
                  <a:cubicBezTo>
                    <a:pt x="213" y="184"/>
                    <a:pt x="206" y="190"/>
                    <a:pt x="199" y="197"/>
                  </a:cubicBezTo>
                  <a:cubicBezTo>
                    <a:pt x="194" y="203"/>
                    <a:pt x="189" y="208"/>
                    <a:pt x="184" y="214"/>
                  </a:cubicBezTo>
                  <a:cubicBezTo>
                    <a:pt x="178" y="221"/>
                    <a:pt x="173" y="227"/>
                    <a:pt x="168" y="234"/>
                  </a:cubicBezTo>
                  <a:cubicBezTo>
                    <a:pt x="163" y="240"/>
                    <a:pt x="158" y="247"/>
                    <a:pt x="153" y="254"/>
                  </a:cubicBezTo>
                  <a:cubicBezTo>
                    <a:pt x="148" y="260"/>
                    <a:pt x="144" y="267"/>
                    <a:pt x="139" y="274"/>
                  </a:cubicBezTo>
                  <a:cubicBezTo>
                    <a:pt x="111" y="323"/>
                    <a:pt x="93" y="378"/>
                    <a:pt x="88" y="437"/>
                  </a:cubicBezTo>
                  <a:cubicBezTo>
                    <a:pt x="89" y="437"/>
                    <a:pt x="90" y="437"/>
                    <a:pt x="90" y="438"/>
                  </a:cubicBezTo>
                  <a:cubicBezTo>
                    <a:pt x="91" y="439"/>
                    <a:pt x="94" y="440"/>
                    <a:pt x="95" y="439"/>
                  </a:cubicBezTo>
                  <a:cubicBezTo>
                    <a:pt x="99" y="442"/>
                    <a:pt x="98" y="439"/>
                    <a:pt x="101" y="439"/>
                  </a:cubicBezTo>
                  <a:cubicBezTo>
                    <a:pt x="104" y="439"/>
                    <a:pt x="102" y="438"/>
                    <a:pt x="105" y="438"/>
                  </a:cubicBezTo>
                  <a:cubicBezTo>
                    <a:pt x="107" y="438"/>
                    <a:pt x="104" y="438"/>
                    <a:pt x="105" y="437"/>
                  </a:cubicBezTo>
                  <a:cubicBezTo>
                    <a:pt x="106" y="436"/>
                    <a:pt x="106" y="437"/>
                    <a:pt x="107" y="437"/>
                  </a:cubicBezTo>
                  <a:cubicBezTo>
                    <a:pt x="108" y="436"/>
                    <a:pt x="108" y="438"/>
                    <a:pt x="107" y="438"/>
                  </a:cubicBezTo>
                  <a:cubicBezTo>
                    <a:pt x="108" y="439"/>
                    <a:pt x="109" y="437"/>
                    <a:pt x="113" y="441"/>
                  </a:cubicBezTo>
                  <a:cubicBezTo>
                    <a:pt x="117" y="444"/>
                    <a:pt x="116" y="445"/>
                    <a:pt x="117" y="446"/>
                  </a:cubicBezTo>
                  <a:cubicBezTo>
                    <a:pt x="120" y="451"/>
                    <a:pt x="121" y="450"/>
                    <a:pt x="126" y="451"/>
                  </a:cubicBezTo>
                  <a:cubicBezTo>
                    <a:pt x="128" y="452"/>
                    <a:pt x="126" y="452"/>
                    <a:pt x="129" y="452"/>
                  </a:cubicBezTo>
                  <a:cubicBezTo>
                    <a:pt x="133" y="453"/>
                    <a:pt x="132" y="455"/>
                    <a:pt x="138" y="453"/>
                  </a:cubicBezTo>
                  <a:cubicBezTo>
                    <a:pt x="140" y="452"/>
                    <a:pt x="139" y="454"/>
                    <a:pt x="140" y="454"/>
                  </a:cubicBezTo>
                  <a:cubicBezTo>
                    <a:pt x="141" y="454"/>
                    <a:pt x="141" y="455"/>
                    <a:pt x="141" y="455"/>
                  </a:cubicBezTo>
                  <a:cubicBezTo>
                    <a:pt x="140" y="454"/>
                    <a:pt x="138" y="454"/>
                    <a:pt x="140" y="456"/>
                  </a:cubicBezTo>
                  <a:cubicBezTo>
                    <a:pt x="142" y="458"/>
                    <a:pt x="141" y="463"/>
                    <a:pt x="144" y="464"/>
                  </a:cubicBezTo>
                  <a:cubicBezTo>
                    <a:pt x="147" y="466"/>
                    <a:pt x="145" y="466"/>
                    <a:pt x="147" y="468"/>
                  </a:cubicBezTo>
                  <a:cubicBezTo>
                    <a:pt x="147" y="469"/>
                    <a:pt x="146" y="469"/>
                    <a:pt x="145" y="469"/>
                  </a:cubicBezTo>
                  <a:cubicBezTo>
                    <a:pt x="144" y="469"/>
                    <a:pt x="147" y="469"/>
                    <a:pt x="147" y="470"/>
                  </a:cubicBezTo>
                  <a:cubicBezTo>
                    <a:pt x="146" y="471"/>
                    <a:pt x="147" y="472"/>
                    <a:pt x="147" y="472"/>
                  </a:cubicBezTo>
                  <a:cubicBezTo>
                    <a:pt x="146" y="474"/>
                    <a:pt x="146" y="474"/>
                    <a:pt x="148" y="475"/>
                  </a:cubicBezTo>
                  <a:cubicBezTo>
                    <a:pt x="151" y="476"/>
                    <a:pt x="150" y="475"/>
                    <a:pt x="150" y="474"/>
                  </a:cubicBezTo>
                  <a:cubicBezTo>
                    <a:pt x="149" y="474"/>
                    <a:pt x="148" y="473"/>
                    <a:pt x="150" y="474"/>
                  </a:cubicBezTo>
                  <a:cubicBezTo>
                    <a:pt x="153" y="475"/>
                    <a:pt x="150" y="475"/>
                    <a:pt x="152" y="476"/>
                  </a:cubicBezTo>
                  <a:cubicBezTo>
                    <a:pt x="154" y="477"/>
                    <a:pt x="154" y="478"/>
                    <a:pt x="157" y="479"/>
                  </a:cubicBezTo>
                  <a:cubicBezTo>
                    <a:pt x="156" y="480"/>
                    <a:pt x="157" y="481"/>
                    <a:pt x="157" y="481"/>
                  </a:cubicBezTo>
                  <a:cubicBezTo>
                    <a:pt x="156" y="482"/>
                    <a:pt x="156" y="482"/>
                    <a:pt x="157" y="482"/>
                  </a:cubicBezTo>
                  <a:cubicBezTo>
                    <a:pt x="158" y="483"/>
                    <a:pt x="159" y="483"/>
                    <a:pt x="158" y="482"/>
                  </a:cubicBezTo>
                  <a:cubicBezTo>
                    <a:pt x="157" y="481"/>
                    <a:pt x="158" y="481"/>
                    <a:pt x="159" y="482"/>
                  </a:cubicBezTo>
                  <a:cubicBezTo>
                    <a:pt x="160" y="482"/>
                    <a:pt x="158" y="483"/>
                    <a:pt x="159" y="483"/>
                  </a:cubicBezTo>
                  <a:cubicBezTo>
                    <a:pt x="160" y="483"/>
                    <a:pt x="160" y="484"/>
                    <a:pt x="160" y="485"/>
                  </a:cubicBezTo>
                  <a:cubicBezTo>
                    <a:pt x="160" y="485"/>
                    <a:pt x="161" y="485"/>
                    <a:pt x="161" y="484"/>
                  </a:cubicBezTo>
                  <a:cubicBezTo>
                    <a:pt x="161" y="483"/>
                    <a:pt x="162" y="484"/>
                    <a:pt x="162" y="483"/>
                  </a:cubicBezTo>
                  <a:cubicBezTo>
                    <a:pt x="163" y="483"/>
                    <a:pt x="162" y="484"/>
                    <a:pt x="164" y="484"/>
                  </a:cubicBezTo>
                  <a:cubicBezTo>
                    <a:pt x="166" y="484"/>
                    <a:pt x="166" y="485"/>
                    <a:pt x="167" y="486"/>
                  </a:cubicBezTo>
                  <a:cubicBezTo>
                    <a:pt x="168" y="487"/>
                    <a:pt x="168" y="488"/>
                    <a:pt x="169" y="488"/>
                  </a:cubicBezTo>
                  <a:cubicBezTo>
                    <a:pt x="170" y="488"/>
                    <a:pt x="169" y="487"/>
                    <a:pt x="170" y="486"/>
                  </a:cubicBezTo>
                  <a:cubicBezTo>
                    <a:pt x="169" y="487"/>
                    <a:pt x="170" y="488"/>
                    <a:pt x="171" y="489"/>
                  </a:cubicBezTo>
                  <a:cubicBezTo>
                    <a:pt x="171" y="490"/>
                    <a:pt x="173" y="490"/>
                    <a:pt x="174" y="489"/>
                  </a:cubicBezTo>
                  <a:cubicBezTo>
                    <a:pt x="175" y="487"/>
                    <a:pt x="173" y="488"/>
                    <a:pt x="174" y="487"/>
                  </a:cubicBezTo>
                  <a:cubicBezTo>
                    <a:pt x="174" y="486"/>
                    <a:pt x="172" y="486"/>
                    <a:pt x="173" y="485"/>
                  </a:cubicBezTo>
                  <a:cubicBezTo>
                    <a:pt x="176" y="482"/>
                    <a:pt x="177" y="482"/>
                    <a:pt x="177" y="482"/>
                  </a:cubicBezTo>
                  <a:cubicBezTo>
                    <a:pt x="176" y="481"/>
                    <a:pt x="177" y="481"/>
                    <a:pt x="179" y="481"/>
                  </a:cubicBezTo>
                  <a:cubicBezTo>
                    <a:pt x="183" y="480"/>
                    <a:pt x="181" y="483"/>
                    <a:pt x="183" y="482"/>
                  </a:cubicBezTo>
                  <a:cubicBezTo>
                    <a:pt x="185" y="482"/>
                    <a:pt x="184" y="483"/>
                    <a:pt x="184" y="484"/>
                  </a:cubicBezTo>
                  <a:cubicBezTo>
                    <a:pt x="186" y="483"/>
                    <a:pt x="186" y="483"/>
                    <a:pt x="187" y="482"/>
                  </a:cubicBezTo>
                  <a:cubicBezTo>
                    <a:pt x="187" y="484"/>
                    <a:pt x="187" y="484"/>
                    <a:pt x="186" y="484"/>
                  </a:cubicBezTo>
                  <a:cubicBezTo>
                    <a:pt x="186" y="484"/>
                    <a:pt x="185" y="484"/>
                    <a:pt x="185" y="485"/>
                  </a:cubicBezTo>
                  <a:cubicBezTo>
                    <a:pt x="183" y="486"/>
                    <a:pt x="185" y="487"/>
                    <a:pt x="184" y="488"/>
                  </a:cubicBezTo>
                  <a:cubicBezTo>
                    <a:pt x="184" y="490"/>
                    <a:pt x="185" y="489"/>
                    <a:pt x="185" y="490"/>
                  </a:cubicBezTo>
                  <a:cubicBezTo>
                    <a:pt x="185" y="491"/>
                    <a:pt x="185" y="490"/>
                    <a:pt x="185" y="491"/>
                  </a:cubicBezTo>
                  <a:cubicBezTo>
                    <a:pt x="185" y="492"/>
                    <a:pt x="186" y="491"/>
                    <a:pt x="187" y="493"/>
                  </a:cubicBezTo>
                  <a:cubicBezTo>
                    <a:pt x="187" y="493"/>
                    <a:pt x="188" y="492"/>
                    <a:pt x="188" y="495"/>
                  </a:cubicBezTo>
                  <a:cubicBezTo>
                    <a:pt x="188" y="496"/>
                    <a:pt x="187" y="494"/>
                    <a:pt x="188" y="497"/>
                  </a:cubicBezTo>
                  <a:cubicBezTo>
                    <a:pt x="189" y="499"/>
                    <a:pt x="187" y="499"/>
                    <a:pt x="187" y="500"/>
                  </a:cubicBezTo>
                  <a:cubicBezTo>
                    <a:pt x="186" y="501"/>
                    <a:pt x="187" y="499"/>
                    <a:pt x="188" y="502"/>
                  </a:cubicBezTo>
                  <a:cubicBezTo>
                    <a:pt x="188" y="504"/>
                    <a:pt x="189" y="507"/>
                    <a:pt x="188" y="508"/>
                  </a:cubicBezTo>
                  <a:cubicBezTo>
                    <a:pt x="188" y="509"/>
                    <a:pt x="187" y="510"/>
                    <a:pt x="189" y="511"/>
                  </a:cubicBezTo>
                  <a:cubicBezTo>
                    <a:pt x="190" y="512"/>
                    <a:pt x="189" y="511"/>
                    <a:pt x="190" y="511"/>
                  </a:cubicBezTo>
                  <a:cubicBezTo>
                    <a:pt x="191" y="511"/>
                    <a:pt x="189" y="511"/>
                    <a:pt x="191" y="512"/>
                  </a:cubicBezTo>
                  <a:cubicBezTo>
                    <a:pt x="189" y="513"/>
                    <a:pt x="186" y="517"/>
                    <a:pt x="186" y="517"/>
                  </a:cubicBezTo>
                  <a:cubicBezTo>
                    <a:pt x="187" y="519"/>
                    <a:pt x="183" y="518"/>
                    <a:pt x="181" y="520"/>
                  </a:cubicBezTo>
                  <a:cubicBezTo>
                    <a:pt x="180" y="522"/>
                    <a:pt x="183" y="522"/>
                    <a:pt x="182" y="524"/>
                  </a:cubicBezTo>
                  <a:cubicBezTo>
                    <a:pt x="182" y="525"/>
                    <a:pt x="181" y="523"/>
                    <a:pt x="179" y="526"/>
                  </a:cubicBezTo>
                  <a:cubicBezTo>
                    <a:pt x="177" y="528"/>
                    <a:pt x="180" y="526"/>
                    <a:pt x="179" y="527"/>
                  </a:cubicBezTo>
                  <a:cubicBezTo>
                    <a:pt x="178" y="529"/>
                    <a:pt x="177" y="528"/>
                    <a:pt x="176" y="529"/>
                  </a:cubicBezTo>
                  <a:cubicBezTo>
                    <a:pt x="175" y="531"/>
                    <a:pt x="174" y="529"/>
                    <a:pt x="173" y="531"/>
                  </a:cubicBezTo>
                  <a:cubicBezTo>
                    <a:pt x="173" y="532"/>
                    <a:pt x="175" y="530"/>
                    <a:pt x="174" y="533"/>
                  </a:cubicBezTo>
                  <a:cubicBezTo>
                    <a:pt x="172" y="535"/>
                    <a:pt x="175" y="533"/>
                    <a:pt x="173" y="537"/>
                  </a:cubicBezTo>
                  <a:cubicBezTo>
                    <a:pt x="171" y="540"/>
                    <a:pt x="169" y="543"/>
                    <a:pt x="171" y="543"/>
                  </a:cubicBezTo>
                  <a:cubicBezTo>
                    <a:pt x="172" y="543"/>
                    <a:pt x="170" y="544"/>
                    <a:pt x="172" y="544"/>
                  </a:cubicBezTo>
                  <a:cubicBezTo>
                    <a:pt x="170" y="544"/>
                    <a:pt x="172" y="545"/>
                    <a:pt x="171" y="546"/>
                  </a:cubicBezTo>
                  <a:cubicBezTo>
                    <a:pt x="169" y="547"/>
                    <a:pt x="172" y="547"/>
                    <a:pt x="171" y="548"/>
                  </a:cubicBezTo>
                  <a:cubicBezTo>
                    <a:pt x="171" y="548"/>
                    <a:pt x="173" y="548"/>
                    <a:pt x="172" y="549"/>
                  </a:cubicBezTo>
                  <a:cubicBezTo>
                    <a:pt x="170" y="550"/>
                    <a:pt x="172" y="549"/>
                    <a:pt x="172" y="550"/>
                  </a:cubicBezTo>
                  <a:cubicBezTo>
                    <a:pt x="173" y="552"/>
                    <a:pt x="173" y="551"/>
                    <a:pt x="173" y="550"/>
                  </a:cubicBezTo>
                  <a:cubicBezTo>
                    <a:pt x="173" y="549"/>
                    <a:pt x="175" y="548"/>
                    <a:pt x="175" y="549"/>
                  </a:cubicBezTo>
                  <a:cubicBezTo>
                    <a:pt x="175" y="550"/>
                    <a:pt x="177" y="550"/>
                    <a:pt x="175" y="552"/>
                  </a:cubicBezTo>
                  <a:cubicBezTo>
                    <a:pt x="173" y="555"/>
                    <a:pt x="173" y="557"/>
                    <a:pt x="172" y="556"/>
                  </a:cubicBezTo>
                  <a:cubicBezTo>
                    <a:pt x="171" y="556"/>
                    <a:pt x="168" y="559"/>
                    <a:pt x="169" y="559"/>
                  </a:cubicBezTo>
                  <a:cubicBezTo>
                    <a:pt x="170" y="560"/>
                    <a:pt x="168" y="560"/>
                    <a:pt x="169" y="562"/>
                  </a:cubicBezTo>
                  <a:cubicBezTo>
                    <a:pt x="169" y="563"/>
                    <a:pt x="166" y="561"/>
                    <a:pt x="169" y="565"/>
                  </a:cubicBezTo>
                  <a:cubicBezTo>
                    <a:pt x="172" y="568"/>
                    <a:pt x="169" y="567"/>
                    <a:pt x="171" y="569"/>
                  </a:cubicBezTo>
                  <a:cubicBezTo>
                    <a:pt x="171" y="569"/>
                    <a:pt x="170" y="571"/>
                    <a:pt x="172" y="574"/>
                  </a:cubicBezTo>
                  <a:cubicBezTo>
                    <a:pt x="177" y="578"/>
                    <a:pt x="177" y="577"/>
                    <a:pt x="178" y="579"/>
                  </a:cubicBezTo>
                  <a:cubicBezTo>
                    <a:pt x="179" y="581"/>
                    <a:pt x="181" y="582"/>
                    <a:pt x="182" y="584"/>
                  </a:cubicBezTo>
                  <a:cubicBezTo>
                    <a:pt x="182" y="585"/>
                    <a:pt x="183" y="583"/>
                    <a:pt x="185" y="588"/>
                  </a:cubicBezTo>
                  <a:cubicBezTo>
                    <a:pt x="186" y="593"/>
                    <a:pt x="189" y="597"/>
                    <a:pt x="191" y="601"/>
                  </a:cubicBezTo>
                  <a:cubicBezTo>
                    <a:pt x="192" y="605"/>
                    <a:pt x="194" y="605"/>
                    <a:pt x="194" y="608"/>
                  </a:cubicBezTo>
                  <a:cubicBezTo>
                    <a:pt x="195" y="611"/>
                    <a:pt x="197" y="610"/>
                    <a:pt x="196" y="612"/>
                  </a:cubicBezTo>
                  <a:cubicBezTo>
                    <a:pt x="195" y="614"/>
                    <a:pt x="199" y="617"/>
                    <a:pt x="199" y="619"/>
                  </a:cubicBezTo>
                  <a:cubicBezTo>
                    <a:pt x="199" y="620"/>
                    <a:pt x="196" y="617"/>
                    <a:pt x="197" y="619"/>
                  </a:cubicBezTo>
                  <a:cubicBezTo>
                    <a:pt x="198" y="621"/>
                    <a:pt x="201" y="622"/>
                    <a:pt x="203" y="624"/>
                  </a:cubicBezTo>
                  <a:cubicBezTo>
                    <a:pt x="204" y="627"/>
                    <a:pt x="206" y="627"/>
                    <a:pt x="208" y="629"/>
                  </a:cubicBezTo>
                  <a:cubicBezTo>
                    <a:pt x="210" y="632"/>
                    <a:pt x="213" y="631"/>
                    <a:pt x="217" y="634"/>
                  </a:cubicBezTo>
                  <a:cubicBezTo>
                    <a:pt x="218" y="635"/>
                    <a:pt x="227" y="638"/>
                    <a:pt x="228" y="641"/>
                  </a:cubicBezTo>
                  <a:cubicBezTo>
                    <a:pt x="229" y="643"/>
                    <a:pt x="231" y="644"/>
                    <a:pt x="233" y="646"/>
                  </a:cubicBezTo>
                  <a:cubicBezTo>
                    <a:pt x="234" y="646"/>
                    <a:pt x="233" y="646"/>
                    <a:pt x="235" y="649"/>
                  </a:cubicBezTo>
                  <a:cubicBezTo>
                    <a:pt x="236" y="651"/>
                    <a:pt x="234" y="650"/>
                    <a:pt x="236" y="653"/>
                  </a:cubicBezTo>
                  <a:cubicBezTo>
                    <a:pt x="237" y="654"/>
                    <a:pt x="237" y="656"/>
                    <a:pt x="238" y="659"/>
                  </a:cubicBezTo>
                  <a:cubicBezTo>
                    <a:pt x="239" y="661"/>
                    <a:pt x="236" y="658"/>
                    <a:pt x="238" y="661"/>
                  </a:cubicBezTo>
                  <a:cubicBezTo>
                    <a:pt x="239" y="665"/>
                    <a:pt x="240" y="663"/>
                    <a:pt x="239" y="667"/>
                  </a:cubicBezTo>
                  <a:cubicBezTo>
                    <a:pt x="238" y="670"/>
                    <a:pt x="240" y="666"/>
                    <a:pt x="240" y="670"/>
                  </a:cubicBezTo>
                  <a:cubicBezTo>
                    <a:pt x="240" y="676"/>
                    <a:pt x="237" y="673"/>
                    <a:pt x="239" y="675"/>
                  </a:cubicBezTo>
                  <a:cubicBezTo>
                    <a:pt x="241" y="678"/>
                    <a:pt x="240" y="678"/>
                    <a:pt x="241" y="681"/>
                  </a:cubicBezTo>
                  <a:cubicBezTo>
                    <a:pt x="243" y="684"/>
                    <a:pt x="240" y="683"/>
                    <a:pt x="242" y="685"/>
                  </a:cubicBezTo>
                  <a:cubicBezTo>
                    <a:pt x="243" y="686"/>
                    <a:pt x="242" y="686"/>
                    <a:pt x="242" y="691"/>
                  </a:cubicBezTo>
                  <a:cubicBezTo>
                    <a:pt x="242" y="694"/>
                    <a:pt x="242" y="697"/>
                    <a:pt x="242" y="702"/>
                  </a:cubicBezTo>
                  <a:cubicBezTo>
                    <a:pt x="241" y="710"/>
                    <a:pt x="244" y="706"/>
                    <a:pt x="244" y="709"/>
                  </a:cubicBezTo>
                  <a:cubicBezTo>
                    <a:pt x="244" y="711"/>
                    <a:pt x="245" y="709"/>
                    <a:pt x="245" y="711"/>
                  </a:cubicBezTo>
                  <a:cubicBezTo>
                    <a:pt x="245" y="712"/>
                    <a:pt x="244" y="710"/>
                    <a:pt x="244" y="711"/>
                  </a:cubicBezTo>
                  <a:cubicBezTo>
                    <a:pt x="243" y="712"/>
                    <a:pt x="244" y="712"/>
                    <a:pt x="244" y="712"/>
                  </a:cubicBezTo>
                  <a:cubicBezTo>
                    <a:pt x="244" y="713"/>
                    <a:pt x="242" y="711"/>
                    <a:pt x="243" y="712"/>
                  </a:cubicBezTo>
                  <a:cubicBezTo>
                    <a:pt x="243" y="714"/>
                    <a:pt x="244" y="720"/>
                    <a:pt x="247" y="725"/>
                  </a:cubicBezTo>
                  <a:cubicBezTo>
                    <a:pt x="249" y="729"/>
                    <a:pt x="248" y="729"/>
                    <a:pt x="250" y="732"/>
                  </a:cubicBezTo>
                  <a:cubicBezTo>
                    <a:pt x="251" y="735"/>
                    <a:pt x="249" y="735"/>
                    <a:pt x="250" y="739"/>
                  </a:cubicBezTo>
                  <a:cubicBezTo>
                    <a:pt x="251" y="743"/>
                    <a:pt x="247" y="740"/>
                    <a:pt x="249" y="743"/>
                  </a:cubicBezTo>
                  <a:cubicBezTo>
                    <a:pt x="250" y="746"/>
                    <a:pt x="248" y="744"/>
                    <a:pt x="249" y="747"/>
                  </a:cubicBezTo>
                  <a:cubicBezTo>
                    <a:pt x="250" y="748"/>
                    <a:pt x="248" y="747"/>
                    <a:pt x="249" y="750"/>
                  </a:cubicBezTo>
                  <a:cubicBezTo>
                    <a:pt x="251" y="753"/>
                    <a:pt x="248" y="752"/>
                    <a:pt x="248" y="751"/>
                  </a:cubicBezTo>
                  <a:cubicBezTo>
                    <a:pt x="248" y="750"/>
                    <a:pt x="248" y="749"/>
                    <a:pt x="247" y="751"/>
                  </a:cubicBezTo>
                  <a:cubicBezTo>
                    <a:pt x="247" y="752"/>
                    <a:pt x="247" y="753"/>
                    <a:pt x="249" y="755"/>
                  </a:cubicBezTo>
                  <a:cubicBezTo>
                    <a:pt x="252" y="757"/>
                    <a:pt x="250" y="757"/>
                    <a:pt x="251" y="757"/>
                  </a:cubicBezTo>
                  <a:cubicBezTo>
                    <a:pt x="252" y="758"/>
                    <a:pt x="251" y="760"/>
                    <a:pt x="253" y="762"/>
                  </a:cubicBezTo>
                  <a:cubicBezTo>
                    <a:pt x="257" y="768"/>
                    <a:pt x="251" y="766"/>
                    <a:pt x="254" y="769"/>
                  </a:cubicBezTo>
                  <a:cubicBezTo>
                    <a:pt x="256" y="772"/>
                    <a:pt x="254" y="773"/>
                    <a:pt x="256" y="776"/>
                  </a:cubicBezTo>
                  <a:cubicBezTo>
                    <a:pt x="256" y="776"/>
                    <a:pt x="256" y="774"/>
                    <a:pt x="257" y="776"/>
                  </a:cubicBezTo>
                  <a:cubicBezTo>
                    <a:pt x="258" y="776"/>
                    <a:pt x="258" y="774"/>
                    <a:pt x="259" y="776"/>
                  </a:cubicBezTo>
                  <a:cubicBezTo>
                    <a:pt x="261" y="777"/>
                    <a:pt x="260" y="777"/>
                    <a:pt x="261" y="779"/>
                  </a:cubicBezTo>
                  <a:cubicBezTo>
                    <a:pt x="263" y="780"/>
                    <a:pt x="260" y="780"/>
                    <a:pt x="262" y="782"/>
                  </a:cubicBezTo>
                  <a:cubicBezTo>
                    <a:pt x="262" y="782"/>
                    <a:pt x="262" y="782"/>
                    <a:pt x="262" y="782"/>
                  </a:cubicBezTo>
                  <a:cubicBezTo>
                    <a:pt x="269" y="786"/>
                    <a:pt x="275" y="791"/>
                    <a:pt x="281" y="795"/>
                  </a:cubicBezTo>
                  <a:cubicBezTo>
                    <a:pt x="288" y="799"/>
                    <a:pt x="294" y="803"/>
                    <a:pt x="301" y="807"/>
                  </a:cubicBezTo>
                  <a:cubicBezTo>
                    <a:pt x="301" y="807"/>
                    <a:pt x="302" y="807"/>
                    <a:pt x="301" y="805"/>
                  </a:cubicBezTo>
                  <a:cubicBezTo>
                    <a:pt x="298" y="801"/>
                    <a:pt x="298" y="806"/>
                    <a:pt x="295" y="802"/>
                  </a:cubicBezTo>
                  <a:cubicBezTo>
                    <a:pt x="293" y="800"/>
                    <a:pt x="291" y="801"/>
                    <a:pt x="292" y="797"/>
                  </a:cubicBezTo>
                  <a:cubicBezTo>
                    <a:pt x="292" y="795"/>
                    <a:pt x="294" y="795"/>
                    <a:pt x="294" y="794"/>
                  </a:cubicBezTo>
                  <a:cubicBezTo>
                    <a:pt x="295" y="793"/>
                    <a:pt x="299" y="794"/>
                    <a:pt x="298" y="792"/>
                  </a:cubicBezTo>
                  <a:cubicBezTo>
                    <a:pt x="296" y="790"/>
                    <a:pt x="300" y="791"/>
                    <a:pt x="298" y="788"/>
                  </a:cubicBezTo>
                  <a:cubicBezTo>
                    <a:pt x="297" y="786"/>
                    <a:pt x="299" y="787"/>
                    <a:pt x="298" y="785"/>
                  </a:cubicBezTo>
                  <a:cubicBezTo>
                    <a:pt x="297" y="783"/>
                    <a:pt x="300" y="784"/>
                    <a:pt x="300" y="783"/>
                  </a:cubicBezTo>
                  <a:cubicBezTo>
                    <a:pt x="299" y="783"/>
                    <a:pt x="296" y="782"/>
                    <a:pt x="296" y="782"/>
                  </a:cubicBezTo>
                  <a:cubicBezTo>
                    <a:pt x="296" y="782"/>
                    <a:pt x="300" y="781"/>
                    <a:pt x="300" y="782"/>
                  </a:cubicBezTo>
                  <a:cubicBezTo>
                    <a:pt x="300" y="783"/>
                    <a:pt x="302" y="782"/>
                    <a:pt x="301" y="781"/>
                  </a:cubicBezTo>
                  <a:cubicBezTo>
                    <a:pt x="301" y="780"/>
                    <a:pt x="303" y="779"/>
                    <a:pt x="300" y="779"/>
                  </a:cubicBezTo>
                  <a:cubicBezTo>
                    <a:pt x="297" y="779"/>
                    <a:pt x="301" y="779"/>
                    <a:pt x="299" y="780"/>
                  </a:cubicBezTo>
                  <a:cubicBezTo>
                    <a:pt x="298" y="781"/>
                    <a:pt x="297" y="780"/>
                    <a:pt x="297" y="780"/>
                  </a:cubicBezTo>
                  <a:cubicBezTo>
                    <a:pt x="292" y="780"/>
                    <a:pt x="298" y="777"/>
                    <a:pt x="293" y="774"/>
                  </a:cubicBezTo>
                  <a:cubicBezTo>
                    <a:pt x="290" y="772"/>
                    <a:pt x="295" y="771"/>
                    <a:pt x="294" y="772"/>
                  </a:cubicBezTo>
                  <a:cubicBezTo>
                    <a:pt x="293" y="773"/>
                    <a:pt x="295" y="772"/>
                    <a:pt x="298" y="774"/>
                  </a:cubicBezTo>
                  <a:cubicBezTo>
                    <a:pt x="300" y="775"/>
                    <a:pt x="306" y="772"/>
                    <a:pt x="304" y="771"/>
                  </a:cubicBezTo>
                  <a:cubicBezTo>
                    <a:pt x="303" y="770"/>
                    <a:pt x="303" y="767"/>
                    <a:pt x="304" y="767"/>
                  </a:cubicBezTo>
                  <a:cubicBezTo>
                    <a:pt x="305" y="767"/>
                    <a:pt x="306" y="766"/>
                    <a:pt x="304" y="765"/>
                  </a:cubicBezTo>
                  <a:cubicBezTo>
                    <a:pt x="303" y="765"/>
                    <a:pt x="304" y="763"/>
                    <a:pt x="303" y="763"/>
                  </a:cubicBezTo>
                  <a:cubicBezTo>
                    <a:pt x="301" y="763"/>
                    <a:pt x="302" y="761"/>
                    <a:pt x="303" y="761"/>
                  </a:cubicBezTo>
                  <a:cubicBezTo>
                    <a:pt x="304" y="760"/>
                    <a:pt x="303" y="762"/>
                    <a:pt x="305" y="762"/>
                  </a:cubicBezTo>
                  <a:cubicBezTo>
                    <a:pt x="305" y="762"/>
                    <a:pt x="309" y="764"/>
                    <a:pt x="316" y="760"/>
                  </a:cubicBezTo>
                  <a:cubicBezTo>
                    <a:pt x="319" y="759"/>
                    <a:pt x="321" y="760"/>
                    <a:pt x="323" y="754"/>
                  </a:cubicBezTo>
                  <a:cubicBezTo>
                    <a:pt x="324" y="752"/>
                    <a:pt x="325" y="753"/>
                    <a:pt x="324" y="749"/>
                  </a:cubicBezTo>
                  <a:cubicBezTo>
                    <a:pt x="324" y="748"/>
                    <a:pt x="320" y="750"/>
                    <a:pt x="320" y="744"/>
                  </a:cubicBezTo>
                  <a:cubicBezTo>
                    <a:pt x="320" y="740"/>
                    <a:pt x="308" y="738"/>
                    <a:pt x="310" y="737"/>
                  </a:cubicBezTo>
                  <a:cubicBezTo>
                    <a:pt x="313" y="736"/>
                    <a:pt x="308" y="736"/>
                    <a:pt x="310" y="731"/>
                  </a:cubicBezTo>
                  <a:cubicBezTo>
                    <a:pt x="311" y="739"/>
                    <a:pt x="316" y="736"/>
                    <a:pt x="318" y="738"/>
                  </a:cubicBezTo>
                  <a:cubicBezTo>
                    <a:pt x="319" y="739"/>
                    <a:pt x="320" y="737"/>
                    <a:pt x="323" y="739"/>
                  </a:cubicBezTo>
                  <a:cubicBezTo>
                    <a:pt x="325" y="741"/>
                    <a:pt x="331" y="740"/>
                    <a:pt x="333" y="736"/>
                  </a:cubicBezTo>
                  <a:cubicBezTo>
                    <a:pt x="342" y="730"/>
                    <a:pt x="335" y="730"/>
                    <a:pt x="340" y="727"/>
                  </a:cubicBezTo>
                  <a:cubicBezTo>
                    <a:pt x="344" y="724"/>
                    <a:pt x="341" y="721"/>
                    <a:pt x="343" y="717"/>
                  </a:cubicBezTo>
                  <a:cubicBezTo>
                    <a:pt x="346" y="714"/>
                    <a:pt x="341" y="713"/>
                    <a:pt x="347" y="709"/>
                  </a:cubicBezTo>
                  <a:cubicBezTo>
                    <a:pt x="347" y="709"/>
                    <a:pt x="347" y="709"/>
                    <a:pt x="347" y="709"/>
                  </a:cubicBezTo>
                  <a:cubicBezTo>
                    <a:pt x="330" y="708"/>
                    <a:pt x="330" y="708"/>
                    <a:pt x="330" y="708"/>
                  </a:cubicBezTo>
                  <a:cubicBezTo>
                    <a:pt x="326" y="707"/>
                    <a:pt x="323" y="706"/>
                    <a:pt x="321" y="703"/>
                  </a:cubicBezTo>
                  <a:close/>
                  <a:moveTo>
                    <a:pt x="246" y="424"/>
                  </a:moveTo>
                  <a:cubicBezTo>
                    <a:pt x="247" y="424"/>
                    <a:pt x="247" y="424"/>
                    <a:pt x="248" y="424"/>
                  </a:cubicBezTo>
                  <a:cubicBezTo>
                    <a:pt x="248" y="424"/>
                    <a:pt x="250" y="424"/>
                    <a:pt x="250" y="424"/>
                  </a:cubicBezTo>
                  <a:cubicBezTo>
                    <a:pt x="251" y="424"/>
                    <a:pt x="251" y="424"/>
                    <a:pt x="252" y="424"/>
                  </a:cubicBezTo>
                  <a:cubicBezTo>
                    <a:pt x="253" y="423"/>
                    <a:pt x="252" y="423"/>
                    <a:pt x="253" y="423"/>
                  </a:cubicBezTo>
                  <a:cubicBezTo>
                    <a:pt x="255" y="423"/>
                    <a:pt x="254" y="422"/>
                    <a:pt x="253" y="422"/>
                  </a:cubicBezTo>
                  <a:cubicBezTo>
                    <a:pt x="253" y="421"/>
                    <a:pt x="252" y="422"/>
                    <a:pt x="251" y="422"/>
                  </a:cubicBezTo>
                  <a:cubicBezTo>
                    <a:pt x="250" y="422"/>
                    <a:pt x="250" y="421"/>
                    <a:pt x="247" y="421"/>
                  </a:cubicBezTo>
                  <a:cubicBezTo>
                    <a:pt x="246" y="421"/>
                    <a:pt x="247" y="422"/>
                    <a:pt x="246" y="422"/>
                  </a:cubicBezTo>
                  <a:cubicBezTo>
                    <a:pt x="245" y="422"/>
                    <a:pt x="246" y="422"/>
                    <a:pt x="246" y="423"/>
                  </a:cubicBezTo>
                  <a:cubicBezTo>
                    <a:pt x="246" y="423"/>
                    <a:pt x="245" y="424"/>
                    <a:pt x="246" y="424"/>
                  </a:cubicBezTo>
                  <a:close/>
                  <a:moveTo>
                    <a:pt x="196" y="425"/>
                  </a:moveTo>
                  <a:cubicBezTo>
                    <a:pt x="196" y="426"/>
                    <a:pt x="197" y="425"/>
                    <a:pt x="197" y="425"/>
                  </a:cubicBezTo>
                  <a:cubicBezTo>
                    <a:pt x="196" y="424"/>
                    <a:pt x="197" y="424"/>
                    <a:pt x="197" y="425"/>
                  </a:cubicBezTo>
                  <a:cubicBezTo>
                    <a:pt x="198" y="425"/>
                    <a:pt x="199" y="425"/>
                    <a:pt x="200" y="425"/>
                  </a:cubicBezTo>
                  <a:cubicBezTo>
                    <a:pt x="200" y="425"/>
                    <a:pt x="201" y="424"/>
                    <a:pt x="201" y="424"/>
                  </a:cubicBezTo>
                  <a:cubicBezTo>
                    <a:pt x="201" y="424"/>
                    <a:pt x="200" y="423"/>
                    <a:pt x="199" y="423"/>
                  </a:cubicBezTo>
                  <a:cubicBezTo>
                    <a:pt x="198" y="423"/>
                    <a:pt x="198" y="422"/>
                    <a:pt x="197" y="421"/>
                  </a:cubicBezTo>
                  <a:cubicBezTo>
                    <a:pt x="197" y="421"/>
                    <a:pt x="196" y="421"/>
                    <a:pt x="194" y="421"/>
                  </a:cubicBezTo>
                  <a:cubicBezTo>
                    <a:pt x="193" y="421"/>
                    <a:pt x="193" y="421"/>
                    <a:pt x="192" y="421"/>
                  </a:cubicBezTo>
                  <a:cubicBezTo>
                    <a:pt x="192" y="421"/>
                    <a:pt x="192" y="420"/>
                    <a:pt x="190" y="421"/>
                  </a:cubicBezTo>
                  <a:cubicBezTo>
                    <a:pt x="189" y="422"/>
                    <a:pt x="190" y="422"/>
                    <a:pt x="191" y="422"/>
                  </a:cubicBezTo>
                  <a:cubicBezTo>
                    <a:pt x="192" y="422"/>
                    <a:pt x="191" y="423"/>
                    <a:pt x="192" y="423"/>
                  </a:cubicBezTo>
                  <a:cubicBezTo>
                    <a:pt x="192" y="424"/>
                    <a:pt x="192" y="425"/>
                    <a:pt x="193" y="425"/>
                  </a:cubicBezTo>
                  <a:cubicBezTo>
                    <a:pt x="194" y="425"/>
                    <a:pt x="194" y="425"/>
                    <a:pt x="195" y="426"/>
                  </a:cubicBezTo>
                  <a:cubicBezTo>
                    <a:pt x="195" y="426"/>
                    <a:pt x="195" y="426"/>
                    <a:pt x="195" y="425"/>
                  </a:cubicBezTo>
                  <a:cubicBezTo>
                    <a:pt x="195" y="425"/>
                    <a:pt x="195" y="425"/>
                    <a:pt x="196" y="425"/>
                  </a:cubicBezTo>
                  <a:close/>
                  <a:moveTo>
                    <a:pt x="205" y="413"/>
                  </a:moveTo>
                  <a:cubicBezTo>
                    <a:pt x="206" y="413"/>
                    <a:pt x="207" y="413"/>
                    <a:pt x="208" y="413"/>
                  </a:cubicBezTo>
                  <a:cubicBezTo>
                    <a:pt x="208" y="412"/>
                    <a:pt x="208" y="413"/>
                    <a:pt x="209" y="413"/>
                  </a:cubicBezTo>
                  <a:cubicBezTo>
                    <a:pt x="210" y="412"/>
                    <a:pt x="210" y="412"/>
                    <a:pt x="211" y="412"/>
                  </a:cubicBezTo>
                  <a:cubicBezTo>
                    <a:pt x="212" y="412"/>
                    <a:pt x="213" y="412"/>
                    <a:pt x="214" y="411"/>
                  </a:cubicBezTo>
                  <a:cubicBezTo>
                    <a:pt x="214" y="411"/>
                    <a:pt x="214" y="411"/>
                    <a:pt x="214" y="410"/>
                  </a:cubicBezTo>
                  <a:cubicBezTo>
                    <a:pt x="214" y="410"/>
                    <a:pt x="213" y="410"/>
                    <a:pt x="212" y="410"/>
                  </a:cubicBezTo>
                  <a:cubicBezTo>
                    <a:pt x="212" y="409"/>
                    <a:pt x="212" y="409"/>
                    <a:pt x="211" y="409"/>
                  </a:cubicBezTo>
                  <a:cubicBezTo>
                    <a:pt x="211" y="409"/>
                    <a:pt x="210" y="409"/>
                    <a:pt x="210" y="408"/>
                  </a:cubicBezTo>
                  <a:cubicBezTo>
                    <a:pt x="209" y="408"/>
                    <a:pt x="209" y="409"/>
                    <a:pt x="208" y="408"/>
                  </a:cubicBezTo>
                  <a:cubicBezTo>
                    <a:pt x="208" y="408"/>
                    <a:pt x="207" y="409"/>
                    <a:pt x="207" y="408"/>
                  </a:cubicBezTo>
                  <a:cubicBezTo>
                    <a:pt x="207" y="408"/>
                    <a:pt x="205" y="408"/>
                    <a:pt x="206" y="408"/>
                  </a:cubicBezTo>
                  <a:cubicBezTo>
                    <a:pt x="207" y="408"/>
                    <a:pt x="208" y="407"/>
                    <a:pt x="207" y="407"/>
                  </a:cubicBezTo>
                  <a:cubicBezTo>
                    <a:pt x="207" y="406"/>
                    <a:pt x="208" y="406"/>
                    <a:pt x="208" y="405"/>
                  </a:cubicBezTo>
                  <a:cubicBezTo>
                    <a:pt x="207" y="405"/>
                    <a:pt x="207" y="406"/>
                    <a:pt x="206" y="405"/>
                  </a:cubicBezTo>
                  <a:cubicBezTo>
                    <a:pt x="205" y="405"/>
                    <a:pt x="205" y="406"/>
                    <a:pt x="204" y="405"/>
                  </a:cubicBezTo>
                  <a:cubicBezTo>
                    <a:pt x="203" y="405"/>
                    <a:pt x="203" y="404"/>
                    <a:pt x="202" y="404"/>
                  </a:cubicBezTo>
                  <a:cubicBezTo>
                    <a:pt x="201" y="404"/>
                    <a:pt x="199" y="402"/>
                    <a:pt x="198" y="402"/>
                  </a:cubicBezTo>
                  <a:cubicBezTo>
                    <a:pt x="198" y="402"/>
                    <a:pt x="198" y="403"/>
                    <a:pt x="197" y="402"/>
                  </a:cubicBezTo>
                  <a:cubicBezTo>
                    <a:pt x="196" y="402"/>
                    <a:pt x="198" y="402"/>
                    <a:pt x="198" y="402"/>
                  </a:cubicBezTo>
                  <a:cubicBezTo>
                    <a:pt x="197" y="401"/>
                    <a:pt x="197" y="401"/>
                    <a:pt x="196" y="401"/>
                  </a:cubicBezTo>
                  <a:cubicBezTo>
                    <a:pt x="196" y="400"/>
                    <a:pt x="196" y="401"/>
                    <a:pt x="196" y="401"/>
                  </a:cubicBezTo>
                  <a:cubicBezTo>
                    <a:pt x="195" y="401"/>
                    <a:pt x="195" y="401"/>
                    <a:pt x="194" y="401"/>
                  </a:cubicBezTo>
                  <a:cubicBezTo>
                    <a:pt x="191" y="399"/>
                    <a:pt x="193" y="399"/>
                    <a:pt x="191" y="399"/>
                  </a:cubicBezTo>
                  <a:cubicBezTo>
                    <a:pt x="190" y="398"/>
                    <a:pt x="191" y="398"/>
                    <a:pt x="189" y="398"/>
                  </a:cubicBezTo>
                  <a:cubicBezTo>
                    <a:pt x="188" y="397"/>
                    <a:pt x="188" y="397"/>
                    <a:pt x="187" y="396"/>
                  </a:cubicBezTo>
                  <a:cubicBezTo>
                    <a:pt x="187" y="396"/>
                    <a:pt x="187" y="396"/>
                    <a:pt x="186" y="396"/>
                  </a:cubicBezTo>
                  <a:cubicBezTo>
                    <a:pt x="185" y="395"/>
                    <a:pt x="185" y="395"/>
                    <a:pt x="184" y="395"/>
                  </a:cubicBezTo>
                  <a:cubicBezTo>
                    <a:pt x="183" y="395"/>
                    <a:pt x="183" y="395"/>
                    <a:pt x="182" y="395"/>
                  </a:cubicBezTo>
                  <a:cubicBezTo>
                    <a:pt x="182" y="395"/>
                    <a:pt x="183" y="394"/>
                    <a:pt x="180" y="394"/>
                  </a:cubicBezTo>
                  <a:cubicBezTo>
                    <a:pt x="177" y="394"/>
                    <a:pt x="176" y="393"/>
                    <a:pt x="176" y="394"/>
                  </a:cubicBezTo>
                  <a:cubicBezTo>
                    <a:pt x="175" y="395"/>
                    <a:pt x="175" y="394"/>
                    <a:pt x="172" y="394"/>
                  </a:cubicBezTo>
                  <a:cubicBezTo>
                    <a:pt x="169" y="395"/>
                    <a:pt x="171" y="395"/>
                    <a:pt x="170" y="395"/>
                  </a:cubicBezTo>
                  <a:cubicBezTo>
                    <a:pt x="169" y="395"/>
                    <a:pt x="167" y="396"/>
                    <a:pt x="166" y="396"/>
                  </a:cubicBezTo>
                  <a:cubicBezTo>
                    <a:pt x="166" y="397"/>
                    <a:pt x="166" y="396"/>
                    <a:pt x="165" y="397"/>
                  </a:cubicBezTo>
                  <a:cubicBezTo>
                    <a:pt x="164" y="398"/>
                    <a:pt x="164" y="398"/>
                    <a:pt x="164" y="399"/>
                  </a:cubicBezTo>
                  <a:cubicBezTo>
                    <a:pt x="164" y="400"/>
                    <a:pt x="165" y="400"/>
                    <a:pt x="165" y="400"/>
                  </a:cubicBezTo>
                  <a:cubicBezTo>
                    <a:pt x="164" y="401"/>
                    <a:pt x="164" y="400"/>
                    <a:pt x="164" y="401"/>
                  </a:cubicBezTo>
                  <a:cubicBezTo>
                    <a:pt x="163" y="401"/>
                    <a:pt x="162" y="402"/>
                    <a:pt x="162" y="402"/>
                  </a:cubicBezTo>
                  <a:cubicBezTo>
                    <a:pt x="162" y="402"/>
                    <a:pt x="162" y="402"/>
                    <a:pt x="163" y="402"/>
                  </a:cubicBezTo>
                  <a:cubicBezTo>
                    <a:pt x="163" y="402"/>
                    <a:pt x="165" y="401"/>
                    <a:pt x="164" y="401"/>
                  </a:cubicBezTo>
                  <a:cubicBezTo>
                    <a:pt x="164" y="402"/>
                    <a:pt x="164" y="402"/>
                    <a:pt x="165" y="402"/>
                  </a:cubicBezTo>
                  <a:cubicBezTo>
                    <a:pt x="165" y="401"/>
                    <a:pt x="166" y="401"/>
                    <a:pt x="166" y="401"/>
                  </a:cubicBezTo>
                  <a:cubicBezTo>
                    <a:pt x="167" y="401"/>
                    <a:pt x="167" y="401"/>
                    <a:pt x="167" y="400"/>
                  </a:cubicBezTo>
                  <a:cubicBezTo>
                    <a:pt x="166" y="400"/>
                    <a:pt x="167" y="400"/>
                    <a:pt x="168" y="400"/>
                  </a:cubicBezTo>
                  <a:cubicBezTo>
                    <a:pt x="169" y="399"/>
                    <a:pt x="169" y="400"/>
                    <a:pt x="170" y="399"/>
                  </a:cubicBezTo>
                  <a:cubicBezTo>
                    <a:pt x="171" y="399"/>
                    <a:pt x="171" y="399"/>
                    <a:pt x="172" y="398"/>
                  </a:cubicBezTo>
                  <a:cubicBezTo>
                    <a:pt x="172" y="398"/>
                    <a:pt x="172" y="397"/>
                    <a:pt x="173" y="397"/>
                  </a:cubicBezTo>
                  <a:cubicBezTo>
                    <a:pt x="174" y="397"/>
                    <a:pt x="178" y="397"/>
                    <a:pt x="179" y="398"/>
                  </a:cubicBezTo>
                  <a:cubicBezTo>
                    <a:pt x="179" y="398"/>
                    <a:pt x="180" y="398"/>
                    <a:pt x="179" y="398"/>
                  </a:cubicBezTo>
                  <a:cubicBezTo>
                    <a:pt x="178" y="398"/>
                    <a:pt x="178" y="399"/>
                    <a:pt x="177" y="399"/>
                  </a:cubicBezTo>
                  <a:cubicBezTo>
                    <a:pt x="177" y="399"/>
                    <a:pt x="176" y="399"/>
                    <a:pt x="175" y="399"/>
                  </a:cubicBezTo>
                  <a:cubicBezTo>
                    <a:pt x="175" y="399"/>
                    <a:pt x="176" y="399"/>
                    <a:pt x="176" y="400"/>
                  </a:cubicBezTo>
                  <a:cubicBezTo>
                    <a:pt x="177" y="400"/>
                    <a:pt x="178" y="401"/>
                    <a:pt x="179" y="400"/>
                  </a:cubicBezTo>
                  <a:cubicBezTo>
                    <a:pt x="180" y="400"/>
                    <a:pt x="182" y="401"/>
                    <a:pt x="183" y="400"/>
                  </a:cubicBezTo>
                  <a:cubicBezTo>
                    <a:pt x="183" y="400"/>
                    <a:pt x="183" y="401"/>
                    <a:pt x="184" y="400"/>
                  </a:cubicBezTo>
                  <a:cubicBezTo>
                    <a:pt x="185" y="400"/>
                    <a:pt x="184" y="401"/>
                    <a:pt x="185" y="401"/>
                  </a:cubicBezTo>
                  <a:cubicBezTo>
                    <a:pt x="186" y="402"/>
                    <a:pt x="185" y="402"/>
                    <a:pt x="187" y="402"/>
                  </a:cubicBezTo>
                  <a:cubicBezTo>
                    <a:pt x="188" y="403"/>
                    <a:pt x="189" y="404"/>
                    <a:pt x="190" y="404"/>
                  </a:cubicBezTo>
                  <a:cubicBezTo>
                    <a:pt x="191" y="404"/>
                    <a:pt x="192" y="404"/>
                    <a:pt x="192" y="404"/>
                  </a:cubicBezTo>
                  <a:cubicBezTo>
                    <a:pt x="192" y="403"/>
                    <a:pt x="192" y="404"/>
                    <a:pt x="192" y="404"/>
                  </a:cubicBezTo>
                  <a:cubicBezTo>
                    <a:pt x="192" y="404"/>
                    <a:pt x="193" y="404"/>
                    <a:pt x="193" y="405"/>
                  </a:cubicBezTo>
                  <a:cubicBezTo>
                    <a:pt x="193" y="406"/>
                    <a:pt x="193" y="406"/>
                    <a:pt x="193" y="407"/>
                  </a:cubicBezTo>
                  <a:cubicBezTo>
                    <a:pt x="193" y="407"/>
                    <a:pt x="194" y="407"/>
                    <a:pt x="194" y="408"/>
                  </a:cubicBezTo>
                  <a:cubicBezTo>
                    <a:pt x="195" y="409"/>
                    <a:pt x="195" y="409"/>
                    <a:pt x="196" y="409"/>
                  </a:cubicBezTo>
                  <a:cubicBezTo>
                    <a:pt x="197" y="409"/>
                    <a:pt x="197" y="409"/>
                    <a:pt x="197" y="409"/>
                  </a:cubicBezTo>
                  <a:cubicBezTo>
                    <a:pt x="198" y="409"/>
                    <a:pt x="199" y="409"/>
                    <a:pt x="199" y="409"/>
                  </a:cubicBezTo>
                  <a:cubicBezTo>
                    <a:pt x="198" y="409"/>
                    <a:pt x="198" y="410"/>
                    <a:pt x="199" y="410"/>
                  </a:cubicBezTo>
                  <a:cubicBezTo>
                    <a:pt x="200" y="410"/>
                    <a:pt x="200" y="410"/>
                    <a:pt x="199" y="411"/>
                  </a:cubicBezTo>
                  <a:cubicBezTo>
                    <a:pt x="198" y="411"/>
                    <a:pt x="198" y="411"/>
                    <a:pt x="197" y="412"/>
                  </a:cubicBezTo>
                  <a:cubicBezTo>
                    <a:pt x="197" y="412"/>
                    <a:pt x="197" y="412"/>
                    <a:pt x="196" y="413"/>
                  </a:cubicBezTo>
                  <a:cubicBezTo>
                    <a:pt x="195" y="413"/>
                    <a:pt x="195" y="414"/>
                    <a:pt x="197" y="414"/>
                  </a:cubicBezTo>
                  <a:cubicBezTo>
                    <a:pt x="199" y="414"/>
                    <a:pt x="198" y="413"/>
                    <a:pt x="199" y="413"/>
                  </a:cubicBezTo>
                  <a:cubicBezTo>
                    <a:pt x="200" y="413"/>
                    <a:pt x="201" y="413"/>
                    <a:pt x="202" y="413"/>
                  </a:cubicBezTo>
                  <a:cubicBezTo>
                    <a:pt x="204" y="413"/>
                    <a:pt x="203" y="412"/>
                    <a:pt x="205" y="413"/>
                  </a:cubicBezTo>
                  <a:close/>
                  <a:moveTo>
                    <a:pt x="240" y="421"/>
                  </a:moveTo>
                  <a:cubicBezTo>
                    <a:pt x="241" y="422"/>
                    <a:pt x="242" y="420"/>
                    <a:pt x="241" y="419"/>
                  </a:cubicBezTo>
                  <a:cubicBezTo>
                    <a:pt x="240" y="419"/>
                    <a:pt x="239" y="418"/>
                    <a:pt x="238" y="417"/>
                  </a:cubicBezTo>
                  <a:cubicBezTo>
                    <a:pt x="237" y="417"/>
                    <a:pt x="236" y="416"/>
                    <a:pt x="235" y="417"/>
                  </a:cubicBezTo>
                  <a:cubicBezTo>
                    <a:pt x="234" y="417"/>
                    <a:pt x="234" y="416"/>
                    <a:pt x="233" y="416"/>
                  </a:cubicBezTo>
                  <a:cubicBezTo>
                    <a:pt x="234" y="416"/>
                    <a:pt x="235" y="416"/>
                    <a:pt x="235" y="416"/>
                  </a:cubicBezTo>
                  <a:cubicBezTo>
                    <a:pt x="236" y="416"/>
                    <a:pt x="237" y="415"/>
                    <a:pt x="236" y="415"/>
                  </a:cubicBezTo>
                  <a:cubicBezTo>
                    <a:pt x="235" y="415"/>
                    <a:pt x="233" y="415"/>
                    <a:pt x="233" y="415"/>
                  </a:cubicBezTo>
                  <a:cubicBezTo>
                    <a:pt x="233" y="415"/>
                    <a:pt x="234" y="414"/>
                    <a:pt x="233" y="414"/>
                  </a:cubicBezTo>
                  <a:cubicBezTo>
                    <a:pt x="232" y="413"/>
                    <a:pt x="232" y="414"/>
                    <a:pt x="231" y="414"/>
                  </a:cubicBezTo>
                  <a:cubicBezTo>
                    <a:pt x="230" y="413"/>
                    <a:pt x="230" y="413"/>
                    <a:pt x="230" y="413"/>
                  </a:cubicBezTo>
                  <a:cubicBezTo>
                    <a:pt x="229" y="413"/>
                    <a:pt x="229" y="412"/>
                    <a:pt x="228" y="412"/>
                  </a:cubicBezTo>
                  <a:cubicBezTo>
                    <a:pt x="226" y="413"/>
                    <a:pt x="226" y="412"/>
                    <a:pt x="225" y="413"/>
                  </a:cubicBezTo>
                  <a:cubicBezTo>
                    <a:pt x="224" y="413"/>
                    <a:pt x="224" y="413"/>
                    <a:pt x="224" y="413"/>
                  </a:cubicBezTo>
                  <a:cubicBezTo>
                    <a:pt x="223" y="413"/>
                    <a:pt x="223" y="413"/>
                    <a:pt x="222" y="413"/>
                  </a:cubicBezTo>
                  <a:cubicBezTo>
                    <a:pt x="222" y="413"/>
                    <a:pt x="222" y="413"/>
                    <a:pt x="221" y="413"/>
                  </a:cubicBezTo>
                  <a:cubicBezTo>
                    <a:pt x="221" y="413"/>
                    <a:pt x="220" y="413"/>
                    <a:pt x="219" y="413"/>
                  </a:cubicBezTo>
                  <a:cubicBezTo>
                    <a:pt x="219" y="412"/>
                    <a:pt x="219" y="413"/>
                    <a:pt x="218" y="413"/>
                  </a:cubicBezTo>
                  <a:cubicBezTo>
                    <a:pt x="218" y="412"/>
                    <a:pt x="216" y="412"/>
                    <a:pt x="216" y="413"/>
                  </a:cubicBezTo>
                  <a:cubicBezTo>
                    <a:pt x="216" y="413"/>
                    <a:pt x="215" y="414"/>
                    <a:pt x="217" y="414"/>
                  </a:cubicBezTo>
                  <a:cubicBezTo>
                    <a:pt x="218" y="414"/>
                    <a:pt x="218" y="414"/>
                    <a:pt x="218" y="415"/>
                  </a:cubicBezTo>
                  <a:cubicBezTo>
                    <a:pt x="217" y="416"/>
                    <a:pt x="218" y="416"/>
                    <a:pt x="218" y="416"/>
                  </a:cubicBezTo>
                  <a:cubicBezTo>
                    <a:pt x="218" y="416"/>
                    <a:pt x="217" y="416"/>
                    <a:pt x="218" y="417"/>
                  </a:cubicBezTo>
                  <a:cubicBezTo>
                    <a:pt x="219" y="418"/>
                    <a:pt x="218" y="418"/>
                    <a:pt x="219" y="419"/>
                  </a:cubicBezTo>
                  <a:cubicBezTo>
                    <a:pt x="220" y="419"/>
                    <a:pt x="220" y="420"/>
                    <a:pt x="220" y="420"/>
                  </a:cubicBezTo>
                  <a:cubicBezTo>
                    <a:pt x="220" y="420"/>
                    <a:pt x="219" y="419"/>
                    <a:pt x="218" y="420"/>
                  </a:cubicBezTo>
                  <a:cubicBezTo>
                    <a:pt x="217" y="420"/>
                    <a:pt x="217" y="420"/>
                    <a:pt x="216" y="420"/>
                  </a:cubicBezTo>
                  <a:cubicBezTo>
                    <a:pt x="215" y="420"/>
                    <a:pt x="214" y="421"/>
                    <a:pt x="214" y="420"/>
                  </a:cubicBezTo>
                  <a:cubicBezTo>
                    <a:pt x="214" y="420"/>
                    <a:pt x="213" y="420"/>
                    <a:pt x="212" y="420"/>
                  </a:cubicBezTo>
                  <a:cubicBezTo>
                    <a:pt x="212" y="420"/>
                    <a:pt x="210" y="420"/>
                    <a:pt x="210" y="421"/>
                  </a:cubicBezTo>
                  <a:cubicBezTo>
                    <a:pt x="211" y="421"/>
                    <a:pt x="210" y="422"/>
                    <a:pt x="210" y="422"/>
                  </a:cubicBezTo>
                  <a:cubicBezTo>
                    <a:pt x="211" y="422"/>
                    <a:pt x="212" y="422"/>
                    <a:pt x="212" y="423"/>
                  </a:cubicBezTo>
                  <a:cubicBezTo>
                    <a:pt x="212" y="423"/>
                    <a:pt x="213" y="423"/>
                    <a:pt x="213" y="423"/>
                  </a:cubicBezTo>
                  <a:cubicBezTo>
                    <a:pt x="213" y="422"/>
                    <a:pt x="214" y="422"/>
                    <a:pt x="215" y="422"/>
                  </a:cubicBezTo>
                  <a:cubicBezTo>
                    <a:pt x="216" y="422"/>
                    <a:pt x="216" y="423"/>
                    <a:pt x="218" y="423"/>
                  </a:cubicBezTo>
                  <a:cubicBezTo>
                    <a:pt x="219" y="422"/>
                    <a:pt x="220" y="422"/>
                    <a:pt x="221" y="422"/>
                  </a:cubicBezTo>
                  <a:cubicBezTo>
                    <a:pt x="222" y="423"/>
                    <a:pt x="222" y="423"/>
                    <a:pt x="223" y="423"/>
                  </a:cubicBezTo>
                  <a:cubicBezTo>
                    <a:pt x="223" y="423"/>
                    <a:pt x="223" y="423"/>
                    <a:pt x="223" y="424"/>
                  </a:cubicBezTo>
                  <a:cubicBezTo>
                    <a:pt x="223" y="424"/>
                    <a:pt x="222" y="425"/>
                    <a:pt x="223" y="425"/>
                  </a:cubicBezTo>
                  <a:cubicBezTo>
                    <a:pt x="223" y="425"/>
                    <a:pt x="224" y="424"/>
                    <a:pt x="224" y="425"/>
                  </a:cubicBezTo>
                  <a:cubicBezTo>
                    <a:pt x="224" y="425"/>
                    <a:pt x="225" y="425"/>
                    <a:pt x="226" y="425"/>
                  </a:cubicBezTo>
                  <a:cubicBezTo>
                    <a:pt x="226" y="424"/>
                    <a:pt x="226" y="423"/>
                    <a:pt x="227" y="423"/>
                  </a:cubicBezTo>
                  <a:cubicBezTo>
                    <a:pt x="228" y="423"/>
                    <a:pt x="229" y="423"/>
                    <a:pt x="228" y="422"/>
                  </a:cubicBezTo>
                  <a:cubicBezTo>
                    <a:pt x="227" y="422"/>
                    <a:pt x="229" y="422"/>
                    <a:pt x="229" y="422"/>
                  </a:cubicBezTo>
                  <a:cubicBezTo>
                    <a:pt x="229" y="421"/>
                    <a:pt x="229" y="422"/>
                    <a:pt x="230" y="422"/>
                  </a:cubicBezTo>
                  <a:cubicBezTo>
                    <a:pt x="231" y="422"/>
                    <a:pt x="231" y="422"/>
                    <a:pt x="232" y="421"/>
                  </a:cubicBezTo>
                  <a:cubicBezTo>
                    <a:pt x="232" y="421"/>
                    <a:pt x="233" y="422"/>
                    <a:pt x="233" y="421"/>
                  </a:cubicBezTo>
                  <a:cubicBezTo>
                    <a:pt x="234" y="421"/>
                    <a:pt x="235" y="421"/>
                    <a:pt x="236" y="421"/>
                  </a:cubicBezTo>
                  <a:cubicBezTo>
                    <a:pt x="236" y="421"/>
                    <a:pt x="237" y="422"/>
                    <a:pt x="238" y="422"/>
                  </a:cubicBezTo>
                  <a:cubicBezTo>
                    <a:pt x="238" y="423"/>
                    <a:pt x="238" y="422"/>
                    <a:pt x="239" y="422"/>
                  </a:cubicBezTo>
                  <a:cubicBezTo>
                    <a:pt x="239" y="421"/>
                    <a:pt x="239" y="421"/>
                    <a:pt x="240" y="4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Group 4"/>
          <p:cNvGrpSpPr>
            <a:grpSpLocks noChangeAspect="1"/>
          </p:cNvGrpSpPr>
          <p:nvPr/>
        </p:nvGrpSpPr>
        <p:grpSpPr bwMode="auto">
          <a:xfrm>
            <a:off x="6426201" y="1951038"/>
            <a:ext cx="1803193" cy="1895895"/>
            <a:chOff x="4078" y="1223"/>
            <a:chExt cx="1206" cy="1268"/>
          </a:xfrm>
        </p:grpSpPr>
        <p:sp>
          <p:nvSpPr>
            <p:cNvPr id="48" name="Freeform 6"/>
            <p:cNvSpPr>
              <a:spLocks noEditPoints="1"/>
            </p:cNvSpPr>
            <p:nvPr/>
          </p:nvSpPr>
          <p:spPr bwMode="auto">
            <a:xfrm>
              <a:off x="4621" y="1223"/>
              <a:ext cx="663" cy="1268"/>
            </a:xfrm>
            <a:custGeom>
              <a:avLst/>
              <a:gdLst>
                <a:gd name="T0" fmla="*/ 1747 w 1991"/>
                <a:gd name="T1" fmla="*/ 3289 h 3805"/>
                <a:gd name="T2" fmla="*/ 1770 w 1991"/>
                <a:gd name="T3" fmla="*/ 3420 h 3805"/>
                <a:gd name="T4" fmla="*/ 245 w 1991"/>
                <a:gd name="T5" fmla="*/ 3105 h 3805"/>
                <a:gd name="T6" fmla="*/ 222 w 1991"/>
                <a:gd name="T7" fmla="*/ 2973 h 3805"/>
                <a:gd name="T8" fmla="*/ 222 w 1991"/>
                <a:gd name="T9" fmla="*/ 2973 h 3805"/>
                <a:gd name="T10" fmla="*/ 526 w 1991"/>
                <a:gd name="T11" fmla="*/ 2704 h 3805"/>
                <a:gd name="T12" fmla="*/ 549 w 1991"/>
                <a:gd name="T13" fmla="*/ 2837 h 3805"/>
                <a:gd name="T14" fmla="*/ 245 w 1991"/>
                <a:gd name="T15" fmla="*/ 900 h 3805"/>
                <a:gd name="T16" fmla="*/ 222 w 1991"/>
                <a:gd name="T17" fmla="*/ 703 h 3805"/>
                <a:gd name="T18" fmla="*/ 222 w 1991"/>
                <a:gd name="T19" fmla="*/ 703 h 3805"/>
                <a:gd name="T20" fmla="*/ 1747 w 1991"/>
                <a:gd name="T21" fmla="*/ 411 h 3805"/>
                <a:gd name="T22" fmla="*/ 1770 w 1991"/>
                <a:gd name="T23" fmla="*/ 611 h 3805"/>
                <a:gd name="T24" fmla="*/ 247 w 1991"/>
                <a:gd name="T25" fmla="*/ 24 h 3805"/>
                <a:gd name="T26" fmla="*/ 176 w 1991"/>
                <a:gd name="T27" fmla="*/ 39 h 3805"/>
                <a:gd name="T28" fmla="*/ 97 w 1991"/>
                <a:gd name="T29" fmla="*/ 86 h 3805"/>
                <a:gd name="T30" fmla="*/ 43 w 1991"/>
                <a:gd name="T31" fmla="*/ 154 h 3805"/>
                <a:gd name="T32" fmla="*/ 23 w 1991"/>
                <a:gd name="T33" fmla="*/ 238 h 3805"/>
                <a:gd name="T34" fmla="*/ 34 w 1991"/>
                <a:gd name="T35" fmla="*/ 3629 h 3805"/>
                <a:gd name="T36" fmla="*/ 65 w 1991"/>
                <a:gd name="T37" fmla="*/ 3686 h 3805"/>
                <a:gd name="T38" fmla="*/ 131 w 1991"/>
                <a:gd name="T39" fmla="*/ 3744 h 3805"/>
                <a:gd name="T40" fmla="*/ 220 w 1991"/>
                <a:gd name="T41" fmla="*/ 3777 h 3805"/>
                <a:gd name="T42" fmla="*/ 1718 w 1991"/>
                <a:gd name="T43" fmla="*/ 3782 h 3805"/>
                <a:gd name="T44" fmla="*/ 1790 w 1991"/>
                <a:gd name="T45" fmla="*/ 3773 h 3805"/>
                <a:gd name="T46" fmla="*/ 1877 w 1991"/>
                <a:gd name="T47" fmla="*/ 3733 h 3805"/>
                <a:gd name="T48" fmla="*/ 1938 w 1991"/>
                <a:gd name="T49" fmla="*/ 3670 h 3805"/>
                <a:gd name="T50" fmla="*/ 1964 w 1991"/>
                <a:gd name="T51" fmla="*/ 3610 h 3805"/>
                <a:gd name="T52" fmla="*/ 1967 w 1991"/>
                <a:gd name="T53" fmla="*/ 214 h 3805"/>
                <a:gd name="T54" fmla="*/ 1937 w 1991"/>
                <a:gd name="T55" fmla="*/ 135 h 3805"/>
                <a:gd name="T56" fmla="*/ 1894 w 1991"/>
                <a:gd name="T57" fmla="*/ 86 h 3805"/>
                <a:gd name="T58" fmla="*/ 1815 w 1991"/>
                <a:gd name="T59" fmla="*/ 39 h 3805"/>
                <a:gd name="T60" fmla="*/ 1744 w 1991"/>
                <a:gd name="T61" fmla="*/ 24 h 3805"/>
                <a:gd name="T62" fmla="*/ 1719 w 1991"/>
                <a:gd name="T63" fmla="*/ 0 h 3805"/>
                <a:gd name="T64" fmla="*/ 1800 w 1991"/>
                <a:gd name="T65" fmla="*/ 11 h 3805"/>
                <a:gd name="T66" fmla="*/ 1889 w 1991"/>
                <a:gd name="T67" fmla="*/ 53 h 3805"/>
                <a:gd name="T68" fmla="*/ 1943 w 1991"/>
                <a:gd name="T69" fmla="*/ 104 h 3805"/>
                <a:gd name="T70" fmla="*/ 1979 w 1991"/>
                <a:gd name="T71" fmla="*/ 166 h 3805"/>
                <a:gd name="T72" fmla="*/ 1991 w 1991"/>
                <a:gd name="T73" fmla="*/ 236 h 3805"/>
                <a:gd name="T74" fmla="*/ 1986 w 1991"/>
                <a:gd name="T75" fmla="*/ 3617 h 3805"/>
                <a:gd name="T76" fmla="*/ 1957 w 1991"/>
                <a:gd name="T77" fmla="*/ 3683 h 3805"/>
                <a:gd name="T78" fmla="*/ 1892 w 1991"/>
                <a:gd name="T79" fmla="*/ 3750 h 3805"/>
                <a:gd name="T80" fmla="*/ 1824 w 1991"/>
                <a:gd name="T81" fmla="*/ 3787 h 3805"/>
                <a:gd name="T82" fmla="*/ 1744 w 1991"/>
                <a:gd name="T83" fmla="*/ 3804 h 3805"/>
                <a:gd name="T84" fmla="*/ 220 w 1991"/>
                <a:gd name="T85" fmla="*/ 3800 h 3805"/>
                <a:gd name="T86" fmla="*/ 144 w 1991"/>
                <a:gd name="T87" fmla="*/ 3776 h 3805"/>
                <a:gd name="T88" fmla="*/ 81 w 1991"/>
                <a:gd name="T89" fmla="*/ 3736 h 3805"/>
                <a:gd name="T90" fmla="*/ 32 w 1991"/>
                <a:gd name="T91" fmla="*/ 3679 h 3805"/>
                <a:gd name="T92" fmla="*/ 6 w 1991"/>
                <a:gd name="T93" fmla="*/ 3612 h 3805"/>
                <a:gd name="T94" fmla="*/ 1 w 1991"/>
                <a:gd name="T95" fmla="*/ 214 h 3805"/>
                <a:gd name="T96" fmla="*/ 21 w 1991"/>
                <a:gd name="T97" fmla="*/ 145 h 3805"/>
                <a:gd name="T98" fmla="*/ 63 w 1991"/>
                <a:gd name="T99" fmla="*/ 85 h 3805"/>
                <a:gd name="T100" fmla="*/ 122 w 1991"/>
                <a:gd name="T101" fmla="*/ 40 h 3805"/>
                <a:gd name="T102" fmla="*/ 216 w 1991"/>
                <a:gd name="T103" fmla="*/ 5 h 3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91" h="3805">
                  <a:moveTo>
                    <a:pt x="245" y="3289"/>
                  </a:moveTo>
                  <a:lnTo>
                    <a:pt x="245" y="3397"/>
                  </a:lnTo>
                  <a:lnTo>
                    <a:pt x="1747" y="3397"/>
                  </a:lnTo>
                  <a:lnTo>
                    <a:pt x="1747" y="3289"/>
                  </a:lnTo>
                  <a:lnTo>
                    <a:pt x="245" y="3289"/>
                  </a:lnTo>
                  <a:close/>
                  <a:moveTo>
                    <a:pt x="222" y="3266"/>
                  </a:moveTo>
                  <a:lnTo>
                    <a:pt x="1770" y="3266"/>
                  </a:lnTo>
                  <a:lnTo>
                    <a:pt x="1770" y="3420"/>
                  </a:lnTo>
                  <a:lnTo>
                    <a:pt x="222" y="3420"/>
                  </a:lnTo>
                  <a:lnTo>
                    <a:pt x="222" y="3266"/>
                  </a:lnTo>
                  <a:close/>
                  <a:moveTo>
                    <a:pt x="245" y="2997"/>
                  </a:moveTo>
                  <a:lnTo>
                    <a:pt x="245" y="3105"/>
                  </a:lnTo>
                  <a:lnTo>
                    <a:pt x="526" y="3105"/>
                  </a:lnTo>
                  <a:lnTo>
                    <a:pt x="526" y="2997"/>
                  </a:lnTo>
                  <a:lnTo>
                    <a:pt x="245" y="2997"/>
                  </a:lnTo>
                  <a:close/>
                  <a:moveTo>
                    <a:pt x="222" y="2973"/>
                  </a:moveTo>
                  <a:lnTo>
                    <a:pt x="549" y="2973"/>
                  </a:lnTo>
                  <a:lnTo>
                    <a:pt x="549" y="3128"/>
                  </a:lnTo>
                  <a:lnTo>
                    <a:pt x="222" y="3128"/>
                  </a:lnTo>
                  <a:lnTo>
                    <a:pt x="222" y="2973"/>
                  </a:lnTo>
                  <a:close/>
                  <a:moveTo>
                    <a:pt x="245" y="2704"/>
                  </a:moveTo>
                  <a:lnTo>
                    <a:pt x="245" y="2814"/>
                  </a:lnTo>
                  <a:lnTo>
                    <a:pt x="526" y="2814"/>
                  </a:lnTo>
                  <a:lnTo>
                    <a:pt x="526" y="2704"/>
                  </a:lnTo>
                  <a:lnTo>
                    <a:pt x="245" y="2704"/>
                  </a:lnTo>
                  <a:close/>
                  <a:moveTo>
                    <a:pt x="222" y="2681"/>
                  </a:moveTo>
                  <a:lnTo>
                    <a:pt x="549" y="2681"/>
                  </a:lnTo>
                  <a:lnTo>
                    <a:pt x="549" y="2837"/>
                  </a:lnTo>
                  <a:lnTo>
                    <a:pt x="222" y="2837"/>
                  </a:lnTo>
                  <a:lnTo>
                    <a:pt x="222" y="2681"/>
                  </a:lnTo>
                  <a:close/>
                  <a:moveTo>
                    <a:pt x="245" y="726"/>
                  </a:moveTo>
                  <a:lnTo>
                    <a:pt x="245" y="900"/>
                  </a:lnTo>
                  <a:lnTo>
                    <a:pt x="1747" y="900"/>
                  </a:lnTo>
                  <a:lnTo>
                    <a:pt x="1747" y="726"/>
                  </a:lnTo>
                  <a:lnTo>
                    <a:pt x="245" y="726"/>
                  </a:lnTo>
                  <a:close/>
                  <a:moveTo>
                    <a:pt x="222" y="703"/>
                  </a:moveTo>
                  <a:lnTo>
                    <a:pt x="1770" y="703"/>
                  </a:lnTo>
                  <a:lnTo>
                    <a:pt x="1770" y="924"/>
                  </a:lnTo>
                  <a:lnTo>
                    <a:pt x="222" y="924"/>
                  </a:lnTo>
                  <a:lnTo>
                    <a:pt x="222" y="703"/>
                  </a:lnTo>
                  <a:close/>
                  <a:moveTo>
                    <a:pt x="245" y="411"/>
                  </a:moveTo>
                  <a:lnTo>
                    <a:pt x="245" y="587"/>
                  </a:lnTo>
                  <a:lnTo>
                    <a:pt x="1747" y="587"/>
                  </a:lnTo>
                  <a:lnTo>
                    <a:pt x="1747" y="411"/>
                  </a:lnTo>
                  <a:lnTo>
                    <a:pt x="245" y="411"/>
                  </a:lnTo>
                  <a:close/>
                  <a:moveTo>
                    <a:pt x="222" y="388"/>
                  </a:moveTo>
                  <a:lnTo>
                    <a:pt x="1770" y="388"/>
                  </a:lnTo>
                  <a:lnTo>
                    <a:pt x="1770" y="611"/>
                  </a:lnTo>
                  <a:lnTo>
                    <a:pt x="222" y="611"/>
                  </a:lnTo>
                  <a:lnTo>
                    <a:pt x="222" y="388"/>
                  </a:lnTo>
                  <a:close/>
                  <a:moveTo>
                    <a:pt x="273" y="23"/>
                  </a:moveTo>
                  <a:lnTo>
                    <a:pt x="247" y="24"/>
                  </a:lnTo>
                  <a:lnTo>
                    <a:pt x="220" y="27"/>
                  </a:lnTo>
                  <a:lnTo>
                    <a:pt x="220" y="27"/>
                  </a:lnTo>
                  <a:lnTo>
                    <a:pt x="201" y="32"/>
                  </a:lnTo>
                  <a:lnTo>
                    <a:pt x="176" y="39"/>
                  </a:lnTo>
                  <a:lnTo>
                    <a:pt x="153" y="49"/>
                  </a:lnTo>
                  <a:lnTo>
                    <a:pt x="131" y="61"/>
                  </a:lnTo>
                  <a:lnTo>
                    <a:pt x="115" y="71"/>
                  </a:lnTo>
                  <a:lnTo>
                    <a:pt x="97" y="86"/>
                  </a:lnTo>
                  <a:lnTo>
                    <a:pt x="80" y="101"/>
                  </a:lnTo>
                  <a:lnTo>
                    <a:pt x="65" y="120"/>
                  </a:lnTo>
                  <a:lnTo>
                    <a:pt x="54" y="136"/>
                  </a:lnTo>
                  <a:lnTo>
                    <a:pt x="43" y="154"/>
                  </a:lnTo>
                  <a:lnTo>
                    <a:pt x="34" y="175"/>
                  </a:lnTo>
                  <a:lnTo>
                    <a:pt x="28" y="195"/>
                  </a:lnTo>
                  <a:lnTo>
                    <a:pt x="24" y="214"/>
                  </a:lnTo>
                  <a:lnTo>
                    <a:pt x="23" y="238"/>
                  </a:lnTo>
                  <a:lnTo>
                    <a:pt x="23" y="3567"/>
                  </a:lnTo>
                  <a:lnTo>
                    <a:pt x="24" y="3590"/>
                  </a:lnTo>
                  <a:lnTo>
                    <a:pt x="28" y="3610"/>
                  </a:lnTo>
                  <a:lnTo>
                    <a:pt x="34" y="3629"/>
                  </a:lnTo>
                  <a:lnTo>
                    <a:pt x="43" y="3650"/>
                  </a:lnTo>
                  <a:lnTo>
                    <a:pt x="54" y="3670"/>
                  </a:lnTo>
                  <a:lnTo>
                    <a:pt x="54" y="3670"/>
                  </a:lnTo>
                  <a:lnTo>
                    <a:pt x="65" y="3686"/>
                  </a:lnTo>
                  <a:lnTo>
                    <a:pt x="80" y="3703"/>
                  </a:lnTo>
                  <a:lnTo>
                    <a:pt x="97" y="3720"/>
                  </a:lnTo>
                  <a:lnTo>
                    <a:pt x="114" y="3733"/>
                  </a:lnTo>
                  <a:lnTo>
                    <a:pt x="131" y="3744"/>
                  </a:lnTo>
                  <a:lnTo>
                    <a:pt x="153" y="3755"/>
                  </a:lnTo>
                  <a:lnTo>
                    <a:pt x="176" y="3766"/>
                  </a:lnTo>
                  <a:lnTo>
                    <a:pt x="201" y="3773"/>
                  </a:lnTo>
                  <a:lnTo>
                    <a:pt x="220" y="3777"/>
                  </a:lnTo>
                  <a:lnTo>
                    <a:pt x="220" y="3777"/>
                  </a:lnTo>
                  <a:lnTo>
                    <a:pt x="247" y="3781"/>
                  </a:lnTo>
                  <a:lnTo>
                    <a:pt x="273" y="3782"/>
                  </a:lnTo>
                  <a:lnTo>
                    <a:pt x="1718" y="3782"/>
                  </a:lnTo>
                  <a:lnTo>
                    <a:pt x="1744" y="3781"/>
                  </a:lnTo>
                  <a:lnTo>
                    <a:pt x="1771" y="3777"/>
                  </a:lnTo>
                  <a:lnTo>
                    <a:pt x="1771" y="3777"/>
                  </a:lnTo>
                  <a:lnTo>
                    <a:pt x="1790" y="3773"/>
                  </a:lnTo>
                  <a:lnTo>
                    <a:pt x="1815" y="3766"/>
                  </a:lnTo>
                  <a:lnTo>
                    <a:pt x="1838" y="3755"/>
                  </a:lnTo>
                  <a:lnTo>
                    <a:pt x="1860" y="3744"/>
                  </a:lnTo>
                  <a:lnTo>
                    <a:pt x="1877" y="3733"/>
                  </a:lnTo>
                  <a:lnTo>
                    <a:pt x="1894" y="3720"/>
                  </a:lnTo>
                  <a:lnTo>
                    <a:pt x="1912" y="3703"/>
                  </a:lnTo>
                  <a:lnTo>
                    <a:pt x="1927" y="3686"/>
                  </a:lnTo>
                  <a:lnTo>
                    <a:pt x="1938" y="3670"/>
                  </a:lnTo>
                  <a:lnTo>
                    <a:pt x="1937" y="3670"/>
                  </a:lnTo>
                  <a:lnTo>
                    <a:pt x="1949" y="3650"/>
                  </a:lnTo>
                  <a:lnTo>
                    <a:pt x="1957" y="3629"/>
                  </a:lnTo>
                  <a:lnTo>
                    <a:pt x="1964" y="3610"/>
                  </a:lnTo>
                  <a:lnTo>
                    <a:pt x="1967" y="3590"/>
                  </a:lnTo>
                  <a:lnTo>
                    <a:pt x="1968" y="3567"/>
                  </a:lnTo>
                  <a:lnTo>
                    <a:pt x="1968" y="238"/>
                  </a:lnTo>
                  <a:lnTo>
                    <a:pt x="1967" y="214"/>
                  </a:lnTo>
                  <a:lnTo>
                    <a:pt x="1964" y="195"/>
                  </a:lnTo>
                  <a:lnTo>
                    <a:pt x="1957" y="175"/>
                  </a:lnTo>
                  <a:lnTo>
                    <a:pt x="1949" y="154"/>
                  </a:lnTo>
                  <a:lnTo>
                    <a:pt x="1937" y="135"/>
                  </a:lnTo>
                  <a:lnTo>
                    <a:pt x="1938" y="135"/>
                  </a:lnTo>
                  <a:lnTo>
                    <a:pt x="1927" y="120"/>
                  </a:lnTo>
                  <a:lnTo>
                    <a:pt x="1912" y="101"/>
                  </a:lnTo>
                  <a:lnTo>
                    <a:pt x="1894" y="86"/>
                  </a:lnTo>
                  <a:lnTo>
                    <a:pt x="1876" y="71"/>
                  </a:lnTo>
                  <a:lnTo>
                    <a:pt x="1860" y="61"/>
                  </a:lnTo>
                  <a:lnTo>
                    <a:pt x="1838" y="49"/>
                  </a:lnTo>
                  <a:lnTo>
                    <a:pt x="1815" y="39"/>
                  </a:lnTo>
                  <a:lnTo>
                    <a:pt x="1790" y="32"/>
                  </a:lnTo>
                  <a:lnTo>
                    <a:pt x="1771" y="27"/>
                  </a:lnTo>
                  <a:lnTo>
                    <a:pt x="1771" y="27"/>
                  </a:lnTo>
                  <a:lnTo>
                    <a:pt x="1744" y="24"/>
                  </a:lnTo>
                  <a:lnTo>
                    <a:pt x="1718" y="23"/>
                  </a:lnTo>
                  <a:lnTo>
                    <a:pt x="273" y="23"/>
                  </a:lnTo>
                  <a:close/>
                  <a:moveTo>
                    <a:pt x="272" y="0"/>
                  </a:moveTo>
                  <a:lnTo>
                    <a:pt x="1719" y="0"/>
                  </a:lnTo>
                  <a:lnTo>
                    <a:pt x="1744" y="1"/>
                  </a:lnTo>
                  <a:lnTo>
                    <a:pt x="1771" y="4"/>
                  </a:lnTo>
                  <a:lnTo>
                    <a:pt x="1775" y="5"/>
                  </a:lnTo>
                  <a:lnTo>
                    <a:pt x="1800" y="11"/>
                  </a:lnTo>
                  <a:lnTo>
                    <a:pt x="1824" y="18"/>
                  </a:lnTo>
                  <a:lnTo>
                    <a:pt x="1847" y="28"/>
                  </a:lnTo>
                  <a:lnTo>
                    <a:pt x="1869" y="40"/>
                  </a:lnTo>
                  <a:lnTo>
                    <a:pt x="1889" y="53"/>
                  </a:lnTo>
                  <a:lnTo>
                    <a:pt x="1892" y="55"/>
                  </a:lnTo>
                  <a:lnTo>
                    <a:pt x="1911" y="70"/>
                  </a:lnTo>
                  <a:lnTo>
                    <a:pt x="1928" y="85"/>
                  </a:lnTo>
                  <a:lnTo>
                    <a:pt x="1943" y="104"/>
                  </a:lnTo>
                  <a:lnTo>
                    <a:pt x="1957" y="122"/>
                  </a:lnTo>
                  <a:lnTo>
                    <a:pt x="1959" y="126"/>
                  </a:lnTo>
                  <a:lnTo>
                    <a:pt x="1971" y="145"/>
                  </a:lnTo>
                  <a:lnTo>
                    <a:pt x="1979" y="166"/>
                  </a:lnTo>
                  <a:lnTo>
                    <a:pt x="1986" y="188"/>
                  </a:lnTo>
                  <a:lnTo>
                    <a:pt x="1986" y="192"/>
                  </a:lnTo>
                  <a:lnTo>
                    <a:pt x="1990" y="214"/>
                  </a:lnTo>
                  <a:lnTo>
                    <a:pt x="1991" y="236"/>
                  </a:lnTo>
                  <a:lnTo>
                    <a:pt x="1991" y="3568"/>
                  </a:lnTo>
                  <a:lnTo>
                    <a:pt x="1990" y="3590"/>
                  </a:lnTo>
                  <a:lnTo>
                    <a:pt x="1986" y="3612"/>
                  </a:lnTo>
                  <a:lnTo>
                    <a:pt x="1986" y="3617"/>
                  </a:lnTo>
                  <a:lnTo>
                    <a:pt x="1979" y="3639"/>
                  </a:lnTo>
                  <a:lnTo>
                    <a:pt x="1971" y="3659"/>
                  </a:lnTo>
                  <a:lnTo>
                    <a:pt x="1959" y="3679"/>
                  </a:lnTo>
                  <a:lnTo>
                    <a:pt x="1957" y="3683"/>
                  </a:lnTo>
                  <a:lnTo>
                    <a:pt x="1943" y="3702"/>
                  </a:lnTo>
                  <a:lnTo>
                    <a:pt x="1928" y="3720"/>
                  </a:lnTo>
                  <a:lnTo>
                    <a:pt x="1911" y="3736"/>
                  </a:lnTo>
                  <a:lnTo>
                    <a:pt x="1892" y="3750"/>
                  </a:lnTo>
                  <a:lnTo>
                    <a:pt x="1889" y="3752"/>
                  </a:lnTo>
                  <a:lnTo>
                    <a:pt x="1869" y="3765"/>
                  </a:lnTo>
                  <a:lnTo>
                    <a:pt x="1847" y="3776"/>
                  </a:lnTo>
                  <a:lnTo>
                    <a:pt x="1824" y="3787"/>
                  </a:lnTo>
                  <a:lnTo>
                    <a:pt x="1800" y="3793"/>
                  </a:lnTo>
                  <a:lnTo>
                    <a:pt x="1775" y="3799"/>
                  </a:lnTo>
                  <a:lnTo>
                    <a:pt x="1771" y="3800"/>
                  </a:lnTo>
                  <a:lnTo>
                    <a:pt x="1744" y="3804"/>
                  </a:lnTo>
                  <a:lnTo>
                    <a:pt x="1718" y="3805"/>
                  </a:lnTo>
                  <a:lnTo>
                    <a:pt x="273" y="3805"/>
                  </a:lnTo>
                  <a:lnTo>
                    <a:pt x="247" y="3804"/>
                  </a:lnTo>
                  <a:lnTo>
                    <a:pt x="220" y="3800"/>
                  </a:lnTo>
                  <a:lnTo>
                    <a:pt x="216" y="3799"/>
                  </a:lnTo>
                  <a:lnTo>
                    <a:pt x="192" y="3793"/>
                  </a:lnTo>
                  <a:lnTo>
                    <a:pt x="167" y="3787"/>
                  </a:lnTo>
                  <a:lnTo>
                    <a:pt x="144" y="3776"/>
                  </a:lnTo>
                  <a:lnTo>
                    <a:pt x="122" y="3765"/>
                  </a:lnTo>
                  <a:lnTo>
                    <a:pt x="103" y="3752"/>
                  </a:lnTo>
                  <a:lnTo>
                    <a:pt x="99" y="3750"/>
                  </a:lnTo>
                  <a:lnTo>
                    <a:pt x="81" y="3736"/>
                  </a:lnTo>
                  <a:lnTo>
                    <a:pt x="63" y="3720"/>
                  </a:lnTo>
                  <a:lnTo>
                    <a:pt x="48" y="3702"/>
                  </a:lnTo>
                  <a:lnTo>
                    <a:pt x="36" y="3683"/>
                  </a:lnTo>
                  <a:lnTo>
                    <a:pt x="32" y="3679"/>
                  </a:lnTo>
                  <a:lnTo>
                    <a:pt x="21" y="3659"/>
                  </a:lnTo>
                  <a:lnTo>
                    <a:pt x="13" y="3639"/>
                  </a:lnTo>
                  <a:lnTo>
                    <a:pt x="6" y="3617"/>
                  </a:lnTo>
                  <a:lnTo>
                    <a:pt x="6" y="3612"/>
                  </a:lnTo>
                  <a:lnTo>
                    <a:pt x="1" y="3590"/>
                  </a:lnTo>
                  <a:lnTo>
                    <a:pt x="0" y="3567"/>
                  </a:lnTo>
                  <a:lnTo>
                    <a:pt x="0" y="238"/>
                  </a:lnTo>
                  <a:lnTo>
                    <a:pt x="1" y="214"/>
                  </a:lnTo>
                  <a:lnTo>
                    <a:pt x="6" y="192"/>
                  </a:lnTo>
                  <a:lnTo>
                    <a:pt x="6" y="188"/>
                  </a:lnTo>
                  <a:lnTo>
                    <a:pt x="13" y="166"/>
                  </a:lnTo>
                  <a:lnTo>
                    <a:pt x="21" y="145"/>
                  </a:lnTo>
                  <a:lnTo>
                    <a:pt x="32" y="126"/>
                  </a:lnTo>
                  <a:lnTo>
                    <a:pt x="36" y="122"/>
                  </a:lnTo>
                  <a:lnTo>
                    <a:pt x="48" y="104"/>
                  </a:lnTo>
                  <a:lnTo>
                    <a:pt x="63" y="85"/>
                  </a:lnTo>
                  <a:lnTo>
                    <a:pt x="81" y="70"/>
                  </a:lnTo>
                  <a:lnTo>
                    <a:pt x="99" y="55"/>
                  </a:lnTo>
                  <a:lnTo>
                    <a:pt x="103" y="53"/>
                  </a:lnTo>
                  <a:lnTo>
                    <a:pt x="122" y="40"/>
                  </a:lnTo>
                  <a:lnTo>
                    <a:pt x="144" y="28"/>
                  </a:lnTo>
                  <a:lnTo>
                    <a:pt x="167" y="18"/>
                  </a:lnTo>
                  <a:lnTo>
                    <a:pt x="192" y="11"/>
                  </a:lnTo>
                  <a:lnTo>
                    <a:pt x="216" y="5"/>
                  </a:lnTo>
                  <a:lnTo>
                    <a:pt x="220" y="4"/>
                  </a:lnTo>
                  <a:lnTo>
                    <a:pt x="247" y="1"/>
                  </a:lnTo>
                  <a:lnTo>
                    <a:pt x="272" y="0"/>
                  </a:lnTo>
                  <a:close/>
                </a:path>
              </a:pathLst>
            </a:custGeom>
            <a:solidFill>
              <a:srgbClr val="2281FF"/>
            </a:solidFill>
            <a:ln w="22225">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7"/>
            <p:cNvSpPr>
              <a:spLocks/>
            </p:cNvSpPr>
            <p:nvPr/>
          </p:nvSpPr>
          <p:spPr bwMode="auto">
            <a:xfrm>
              <a:off x="4421" y="1807"/>
              <a:ext cx="519" cy="520"/>
            </a:xfrm>
            <a:custGeom>
              <a:avLst/>
              <a:gdLst>
                <a:gd name="T0" fmla="*/ 855 w 1559"/>
                <a:gd name="T1" fmla="*/ 3 h 1560"/>
                <a:gd name="T2" fmla="*/ 998 w 1559"/>
                <a:gd name="T3" fmla="*/ 31 h 1560"/>
                <a:gd name="T4" fmla="*/ 1132 w 1559"/>
                <a:gd name="T5" fmla="*/ 83 h 1560"/>
                <a:gd name="T6" fmla="*/ 1251 w 1559"/>
                <a:gd name="T7" fmla="*/ 158 h 1560"/>
                <a:gd name="T8" fmla="*/ 1355 w 1559"/>
                <a:gd name="T9" fmla="*/ 254 h 1560"/>
                <a:gd name="T10" fmla="*/ 1440 w 1559"/>
                <a:gd name="T11" fmla="*/ 366 h 1560"/>
                <a:gd name="T12" fmla="*/ 1505 w 1559"/>
                <a:gd name="T13" fmla="*/ 493 h 1560"/>
                <a:gd name="T14" fmla="*/ 1545 w 1559"/>
                <a:gd name="T15" fmla="*/ 631 h 1560"/>
                <a:gd name="T16" fmla="*/ 1559 w 1559"/>
                <a:gd name="T17" fmla="*/ 779 h 1560"/>
                <a:gd name="T18" fmla="*/ 1545 w 1559"/>
                <a:gd name="T19" fmla="*/ 928 h 1560"/>
                <a:gd name="T20" fmla="*/ 1505 w 1559"/>
                <a:gd name="T21" fmla="*/ 1067 h 1560"/>
                <a:gd name="T22" fmla="*/ 1440 w 1559"/>
                <a:gd name="T23" fmla="*/ 1194 h 1560"/>
                <a:gd name="T24" fmla="*/ 1355 w 1559"/>
                <a:gd name="T25" fmla="*/ 1306 h 1560"/>
                <a:gd name="T26" fmla="*/ 1251 w 1559"/>
                <a:gd name="T27" fmla="*/ 1400 h 1560"/>
                <a:gd name="T28" fmla="*/ 1132 w 1559"/>
                <a:gd name="T29" fmla="*/ 1476 h 1560"/>
                <a:gd name="T30" fmla="*/ 998 w 1559"/>
                <a:gd name="T31" fmla="*/ 1529 h 1560"/>
                <a:gd name="T32" fmla="*/ 855 w 1559"/>
                <a:gd name="T33" fmla="*/ 1556 h 1560"/>
                <a:gd name="T34" fmla="*/ 705 w 1559"/>
                <a:gd name="T35" fmla="*/ 1556 h 1560"/>
                <a:gd name="T36" fmla="*/ 561 w 1559"/>
                <a:gd name="T37" fmla="*/ 1529 h 1560"/>
                <a:gd name="T38" fmla="*/ 428 w 1559"/>
                <a:gd name="T39" fmla="*/ 1476 h 1560"/>
                <a:gd name="T40" fmla="*/ 308 w 1559"/>
                <a:gd name="T41" fmla="*/ 1400 h 1560"/>
                <a:gd name="T42" fmla="*/ 204 w 1559"/>
                <a:gd name="T43" fmla="*/ 1306 h 1560"/>
                <a:gd name="T44" fmla="*/ 118 w 1559"/>
                <a:gd name="T45" fmla="*/ 1194 h 1560"/>
                <a:gd name="T46" fmla="*/ 54 w 1559"/>
                <a:gd name="T47" fmla="*/ 1067 h 1560"/>
                <a:gd name="T48" fmla="*/ 13 w 1559"/>
                <a:gd name="T49" fmla="*/ 928 h 1560"/>
                <a:gd name="T50" fmla="*/ 0 w 1559"/>
                <a:gd name="T51" fmla="*/ 779 h 1560"/>
                <a:gd name="T52" fmla="*/ 13 w 1559"/>
                <a:gd name="T53" fmla="*/ 631 h 1560"/>
                <a:gd name="T54" fmla="*/ 54 w 1559"/>
                <a:gd name="T55" fmla="*/ 493 h 1560"/>
                <a:gd name="T56" fmla="*/ 118 w 1559"/>
                <a:gd name="T57" fmla="*/ 366 h 1560"/>
                <a:gd name="T58" fmla="*/ 204 w 1559"/>
                <a:gd name="T59" fmla="*/ 254 h 1560"/>
                <a:gd name="T60" fmla="*/ 308 w 1559"/>
                <a:gd name="T61" fmla="*/ 158 h 1560"/>
                <a:gd name="T62" fmla="*/ 428 w 1559"/>
                <a:gd name="T63" fmla="*/ 83 h 1560"/>
                <a:gd name="T64" fmla="*/ 561 w 1559"/>
                <a:gd name="T65" fmla="*/ 31 h 1560"/>
                <a:gd name="T66" fmla="*/ 705 w 1559"/>
                <a:gd name="T67" fmla="*/ 3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59" h="1560">
                  <a:moveTo>
                    <a:pt x="780" y="0"/>
                  </a:moveTo>
                  <a:lnTo>
                    <a:pt x="855" y="3"/>
                  </a:lnTo>
                  <a:lnTo>
                    <a:pt x="928" y="13"/>
                  </a:lnTo>
                  <a:lnTo>
                    <a:pt x="998" y="31"/>
                  </a:lnTo>
                  <a:lnTo>
                    <a:pt x="1066" y="54"/>
                  </a:lnTo>
                  <a:lnTo>
                    <a:pt x="1132" y="83"/>
                  </a:lnTo>
                  <a:lnTo>
                    <a:pt x="1193" y="119"/>
                  </a:lnTo>
                  <a:lnTo>
                    <a:pt x="1251" y="158"/>
                  </a:lnTo>
                  <a:lnTo>
                    <a:pt x="1305" y="203"/>
                  </a:lnTo>
                  <a:lnTo>
                    <a:pt x="1355" y="254"/>
                  </a:lnTo>
                  <a:lnTo>
                    <a:pt x="1401" y="307"/>
                  </a:lnTo>
                  <a:lnTo>
                    <a:pt x="1440" y="366"/>
                  </a:lnTo>
                  <a:lnTo>
                    <a:pt x="1476" y="427"/>
                  </a:lnTo>
                  <a:lnTo>
                    <a:pt x="1505" y="493"/>
                  </a:lnTo>
                  <a:lnTo>
                    <a:pt x="1528" y="561"/>
                  </a:lnTo>
                  <a:lnTo>
                    <a:pt x="1545" y="631"/>
                  </a:lnTo>
                  <a:lnTo>
                    <a:pt x="1556" y="704"/>
                  </a:lnTo>
                  <a:lnTo>
                    <a:pt x="1559" y="779"/>
                  </a:lnTo>
                  <a:lnTo>
                    <a:pt x="1556" y="854"/>
                  </a:lnTo>
                  <a:lnTo>
                    <a:pt x="1545" y="928"/>
                  </a:lnTo>
                  <a:lnTo>
                    <a:pt x="1528" y="999"/>
                  </a:lnTo>
                  <a:lnTo>
                    <a:pt x="1505" y="1067"/>
                  </a:lnTo>
                  <a:lnTo>
                    <a:pt x="1476" y="1131"/>
                  </a:lnTo>
                  <a:lnTo>
                    <a:pt x="1440" y="1194"/>
                  </a:lnTo>
                  <a:lnTo>
                    <a:pt x="1401" y="1252"/>
                  </a:lnTo>
                  <a:lnTo>
                    <a:pt x="1355" y="1306"/>
                  </a:lnTo>
                  <a:lnTo>
                    <a:pt x="1305" y="1355"/>
                  </a:lnTo>
                  <a:lnTo>
                    <a:pt x="1251" y="1400"/>
                  </a:lnTo>
                  <a:lnTo>
                    <a:pt x="1193" y="1441"/>
                  </a:lnTo>
                  <a:lnTo>
                    <a:pt x="1132" y="1476"/>
                  </a:lnTo>
                  <a:lnTo>
                    <a:pt x="1066" y="1504"/>
                  </a:lnTo>
                  <a:lnTo>
                    <a:pt x="998" y="1529"/>
                  </a:lnTo>
                  <a:lnTo>
                    <a:pt x="928" y="1545"/>
                  </a:lnTo>
                  <a:lnTo>
                    <a:pt x="855" y="1556"/>
                  </a:lnTo>
                  <a:lnTo>
                    <a:pt x="780" y="1560"/>
                  </a:lnTo>
                  <a:lnTo>
                    <a:pt x="705" y="1556"/>
                  </a:lnTo>
                  <a:lnTo>
                    <a:pt x="631" y="1545"/>
                  </a:lnTo>
                  <a:lnTo>
                    <a:pt x="561" y="1529"/>
                  </a:lnTo>
                  <a:lnTo>
                    <a:pt x="492" y="1504"/>
                  </a:lnTo>
                  <a:lnTo>
                    <a:pt x="428" y="1476"/>
                  </a:lnTo>
                  <a:lnTo>
                    <a:pt x="365" y="1441"/>
                  </a:lnTo>
                  <a:lnTo>
                    <a:pt x="308" y="1400"/>
                  </a:lnTo>
                  <a:lnTo>
                    <a:pt x="254" y="1355"/>
                  </a:lnTo>
                  <a:lnTo>
                    <a:pt x="204" y="1306"/>
                  </a:lnTo>
                  <a:lnTo>
                    <a:pt x="159" y="1252"/>
                  </a:lnTo>
                  <a:lnTo>
                    <a:pt x="118" y="1194"/>
                  </a:lnTo>
                  <a:lnTo>
                    <a:pt x="84" y="1131"/>
                  </a:lnTo>
                  <a:lnTo>
                    <a:pt x="54" y="1067"/>
                  </a:lnTo>
                  <a:lnTo>
                    <a:pt x="31" y="999"/>
                  </a:lnTo>
                  <a:lnTo>
                    <a:pt x="13" y="928"/>
                  </a:lnTo>
                  <a:lnTo>
                    <a:pt x="3" y="854"/>
                  </a:lnTo>
                  <a:lnTo>
                    <a:pt x="0" y="779"/>
                  </a:lnTo>
                  <a:lnTo>
                    <a:pt x="3" y="704"/>
                  </a:lnTo>
                  <a:lnTo>
                    <a:pt x="13" y="631"/>
                  </a:lnTo>
                  <a:lnTo>
                    <a:pt x="31" y="561"/>
                  </a:lnTo>
                  <a:lnTo>
                    <a:pt x="54" y="493"/>
                  </a:lnTo>
                  <a:lnTo>
                    <a:pt x="84" y="427"/>
                  </a:lnTo>
                  <a:lnTo>
                    <a:pt x="118" y="366"/>
                  </a:lnTo>
                  <a:lnTo>
                    <a:pt x="159" y="307"/>
                  </a:lnTo>
                  <a:lnTo>
                    <a:pt x="204" y="254"/>
                  </a:lnTo>
                  <a:lnTo>
                    <a:pt x="254" y="203"/>
                  </a:lnTo>
                  <a:lnTo>
                    <a:pt x="308" y="158"/>
                  </a:lnTo>
                  <a:lnTo>
                    <a:pt x="365" y="119"/>
                  </a:lnTo>
                  <a:lnTo>
                    <a:pt x="428" y="83"/>
                  </a:lnTo>
                  <a:lnTo>
                    <a:pt x="492" y="54"/>
                  </a:lnTo>
                  <a:lnTo>
                    <a:pt x="561" y="31"/>
                  </a:lnTo>
                  <a:lnTo>
                    <a:pt x="631" y="13"/>
                  </a:lnTo>
                  <a:lnTo>
                    <a:pt x="705" y="3"/>
                  </a:lnTo>
                  <a:lnTo>
                    <a:pt x="78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8"/>
            <p:cNvSpPr>
              <a:spLocks noEditPoints="1"/>
            </p:cNvSpPr>
            <p:nvPr/>
          </p:nvSpPr>
          <p:spPr bwMode="auto">
            <a:xfrm>
              <a:off x="4561" y="2048"/>
              <a:ext cx="155" cy="206"/>
            </a:xfrm>
            <a:custGeom>
              <a:avLst/>
              <a:gdLst>
                <a:gd name="T0" fmla="*/ 115 w 466"/>
                <a:gd name="T1" fmla="*/ 132 h 617"/>
                <a:gd name="T2" fmla="*/ 107 w 466"/>
                <a:gd name="T3" fmla="*/ 138 h 617"/>
                <a:gd name="T4" fmla="*/ 103 w 466"/>
                <a:gd name="T5" fmla="*/ 149 h 617"/>
                <a:gd name="T6" fmla="*/ 103 w 466"/>
                <a:gd name="T7" fmla="*/ 152 h 617"/>
                <a:gd name="T8" fmla="*/ 103 w 466"/>
                <a:gd name="T9" fmla="*/ 163 h 617"/>
                <a:gd name="T10" fmla="*/ 101 w 466"/>
                <a:gd name="T11" fmla="*/ 197 h 617"/>
                <a:gd name="T12" fmla="*/ 100 w 466"/>
                <a:gd name="T13" fmla="*/ 269 h 617"/>
                <a:gd name="T14" fmla="*/ 98 w 466"/>
                <a:gd name="T15" fmla="*/ 395 h 617"/>
                <a:gd name="T16" fmla="*/ 99 w 466"/>
                <a:gd name="T17" fmla="*/ 458 h 617"/>
                <a:gd name="T18" fmla="*/ 107 w 466"/>
                <a:gd name="T19" fmla="*/ 470 h 617"/>
                <a:gd name="T20" fmla="*/ 120 w 466"/>
                <a:gd name="T21" fmla="*/ 475 h 617"/>
                <a:gd name="T22" fmla="*/ 123 w 466"/>
                <a:gd name="T23" fmla="*/ 475 h 617"/>
                <a:gd name="T24" fmla="*/ 146 w 466"/>
                <a:gd name="T25" fmla="*/ 477 h 617"/>
                <a:gd name="T26" fmla="*/ 208 w 466"/>
                <a:gd name="T27" fmla="*/ 480 h 617"/>
                <a:gd name="T28" fmla="*/ 326 w 466"/>
                <a:gd name="T29" fmla="*/ 487 h 617"/>
                <a:gd name="T30" fmla="*/ 351 w 466"/>
                <a:gd name="T31" fmla="*/ 478 h 617"/>
                <a:gd name="T32" fmla="*/ 368 w 466"/>
                <a:gd name="T33" fmla="*/ 166 h 617"/>
                <a:gd name="T34" fmla="*/ 365 w 466"/>
                <a:gd name="T35" fmla="*/ 152 h 617"/>
                <a:gd name="T36" fmla="*/ 354 w 466"/>
                <a:gd name="T37" fmla="*/ 142 h 617"/>
                <a:gd name="T38" fmla="*/ 344 w 466"/>
                <a:gd name="T39" fmla="*/ 140 h 617"/>
                <a:gd name="T40" fmla="*/ 341 w 466"/>
                <a:gd name="T41" fmla="*/ 140 h 617"/>
                <a:gd name="T42" fmla="*/ 323 w 466"/>
                <a:gd name="T43" fmla="*/ 138 h 617"/>
                <a:gd name="T44" fmla="*/ 271 w 466"/>
                <a:gd name="T45" fmla="*/ 136 h 617"/>
                <a:gd name="T46" fmla="*/ 172 w 466"/>
                <a:gd name="T47" fmla="*/ 133 h 617"/>
                <a:gd name="T48" fmla="*/ 47 w 466"/>
                <a:gd name="T49" fmla="*/ 0 h 617"/>
                <a:gd name="T50" fmla="*/ 49 w 466"/>
                <a:gd name="T51" fmla="*/ 0 h 617"/>
                <a:gd name="T52" fmla="*/ 67 w 466"/>
                <a:gd name="T53" fmla="*/ 1 h 617"/>
                <a:gd name="T54" fmla="*/ 114 w 466"/>
                <a:gd name="T55" fmla="*/ 2 h 617"/>
                <a:gd name="T56" fmla="*/ 206 w 466"/>
                <a:gd name="T57" fmla="*/ 7 h 617"/>
                <a:gd name="T58" fmla="*/ 358 w 466"/>
                <a:gd name="T59" fmla="*/ 13 h 617"/>
                <a:gd name="T60" fmla="*/ 445 w 466"/>
                <a:gd name="T61" fmla="*/ 22 h 617"/>
                <a:gd name="T62" fmla="*/ 466 w 466"/>
                <a:gd name="T63" fmla="*/ 51 h 617"/>
                <a:gd name="T64" fmla="*/ 466 w 466"/>
                <a:gd name="T65" fmla="*/ 63 h 617"/>
                <a:gd name="T66" fmla="*/ 466 w 466"/>
                <a:gd name="T67" fmla="*/ 71 h 617"/>
                <a:gd name="T68" fmla="*/ 465 w 466"/>
                <a:gd name="T69" fmla="*/ 100 h 617"/>
                <a:gd name="T70" fmla="*/ 464 w 466"/>
                <a:gd name="T71" fmla="*/ 159 h 617"/>
                <a:gd name="T72" fmla="*/ 462 w 466"/>
                <a:gd name="T73" fmla="*/ 262 h 617"/>
                <a:gd name="T74" fmla="*/ 458 w 466"/>
                <a:gd name="T75" fmla="*/ 420 h 617"/>
                <a:gd name="T76" fmla="*/ 452 w 466"/>
                <a:gd name="T77" fmla="*/ 576 h 617"/>
                <a:gd name="T78" fmla="*/ 422 w 466"/>
                <a:gd name="T79" fmla="*/ 611 h 617"/>
                <a:gd name="T80" fmla="*/ 393 w 466"/>
                <a:gd name="T81" fmla="*/ 617 h 617"/>
                <a:gd name="T82" fmla="*/ 388 w 466"/>
                <a:gd name="T83" fmla="*/ 615 h 617"/>
                <a:gd name="T84" fmla="*/ 362 w 466"/>
                <a:gd name="T85" fmla="*/ 614 h 617"/>
                <a:gd name="T86" fmla="*/ 307 w 466"/>
                <a:gd name="T87" fmla="*/ 611 h 617"/>
                <a:gd name="T88" fmla="*/ 203 w 466"/>
                <a:gd name="T89" fmla="*/ 605 h 617"/>
                <a:gd name="T90" fmla="*/ 38 w 466"/>
                <a:gd name="T91" fmla="*/ 596 h 617"/>
                <a:gd name="T92" fmla="*/ 10 w 466"/>
                <a:gd name="T93" fmla="*/ 581 h 617"/>
                <a:gd name="T94" fmla="*/ 0 w 466"/>
                <a:gd name="T95" fmla="*/ 553 h 617"/>
                <a:gd name="T96" fmla="*/ 0 w 466"/>
                <a:gd name="T97" fmla="*/ 548 h 617"/>
                <a:gd name="T98" fmla="*/ 0 w 466"/>
                <a:gd name="T99" fmla="*/ 528 h 617"/>
                <a:gd name="T100" fmla="*/ 1 w 466"/>
                <a:gd name="T101" fmla="*/ 478 h 617"/>
                <a:gd name="T102" fmla="*/ 2 w 466"/>
                <a:gd name="T103" fmla="*/ 388 h 617"/>
                <a:gd name="T104" fmla="*/ 4 w 466"/>
                <a:gd name="T105" fmla="*/ 246 h 617"/>
                <a:gd name="T106" fmla="*/ 8 w 466"/>
                <a:gd name="T107" fmla="*/ 38 h 617"/>
                <a:gd name="T108" fmla="*/ 18 w 466"/>
                <a:gd name="T109" fmla="*/ 1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17">
                  <a:moveTo>
                    <a:pt x="122" y="130"/>
                  </a:moveTo>
                  <a:lnTo>
                    <a:pt x="119" y="130"/>
                  </a:lnTo>
                  <a:lnTo>
                    <a:pt x="115" y="132"/>
                  </a:lnTo>
                  <a:lnTo>
                    <a:pt x="112" y="134"/>
                  </a:lnTo>
                  <a:lnTo>
                    <a:pt x="109" y="136"/>
                  </a:lnTo>
                  <a:lnTo>
                    <a:pt x="107" y="138"/>
                  </a:lnTo>
                  <a:lnTo>
                    <a:pt x="105" y="142"/>
                  </a:lnTo>
                  <a:lnTo>
                    <a:pt x="104" y="145"/>
                  </a:lnTo>
                  <a:lnTo>
                    <a:pt x="103" y="149"/>
                  </a:lnTo>
                  <a:lnTo>
                    <a:pt x="103" y="151"/>
                  </a:lnTo>
                  <a:lnTo>
                    <a:pt x="103" y="152"/>
                  </a:lnTo>
                  <a:lnTo>
                    <a:pt x="103" y="152"/>
                  </a:lnTo>
                  <a:lnTo>
                    <a:pt x="103" y="153"/>
                  </a:lnTo>
                  <a:lnTo>
                    <a:pt x="103" y="157"/>
                  </a:lnTo>
                  <a:lnTo>
                    <a:pt x="103" y="163"/>
                  </a:lnTo>
                  <a:lnTo>
                    <a:pt x="103" y="171"/>
                  </a:lnTo>
                  <a:lnTo>
                    <a:pt x="103" y="182"/>
                  </a:lnTo>
                  <a:lnTo>
                    <a:pt x="101" y="197"/>
                  </a:lnTo>
                  <a:lnTo>
                    <a:pt x="101" y="216"/>
                  </a:lnTo>
                  <a:lnTo>
                    <a:pt x="101" y="240"/>
                  </a:lnTo>
                  <a:lnTo>
                    <a:pt x="100" y="269"/>
                  </a:lnTo>
                  <a:lnTo>
                    <a:pt x="100" y="305"/>
                  </a:lnTo>
                  <a:lnTo>
                    <a:pt x="99" y="346"/>
                  </a:lnTo>
                  <a:lnTo>
                    <a:pt x="98" y="395"/>
                  </a:lnTo>
                  <a:lnTo>
                    <a:pt x="98" y="450"/>
                  </a:lnTo>
                  <a:lnTo>
                    <a:pt x="98" y="454"/>
                  </a:lnTo>
                  <a:lnTo>
                    <a:pt x="99" y="458"/>
                  </a:lnTo>
                  <a:lnTo>
                    <a:pt x="101" y="462"/>
                  </a:lnTo>
                  <a:lnTo>
                    <a:pt x="105" y="466"/>
                  </a:lnTo>
                  <a:lnTo>
                    <a:pt x="107" y="470"/>
                  </a:lnTo>
                  <a:lnTo>
                    <a:pt x="111" y="472"/>
                  </a:lnTo>
                  <a:lnTo>
                    <a:pt x="115" y="473"/>
                  </a:lnTo>
                  <a:lnTo>
                    <a:pt x="120" y="475"/>
                  </a:lnTo>
                  <a:lnTo>
                    <a:pt x="120" y="475"/>
                  </a:lnTo>
                  <a:lnTo>
                    <a:pt x="121" y="475"/>
                  </a:lnTo>
                  <a:lnTo>
                    <a:pt x="123" y="475"/>
                  </a:lnTo>
                  <a:lnTo>
                    <a:pt x="128" y="476"/>
                  </a:lnTo>
                  <a:lnTo>
                    <a:pt x="135" y="476"/>
                  </a:lnTo>
                  <a:lnTo>
                    <a:pt x="146" y="477"/>
                  </a:lnTo>
                  <a:lnTo>
                    <a:pt x="161" y="477"/>
                  </a:lnTo>
                  <a:lnTo>
                    <a:pt x="181" y="478"/>
                  </a:lnTo>
                  <a:lnTo>
                    <a:pt x="208" y="480"/>
                  </a:lnTo>
                  <a:lnTo>
                    <a:pt x="240" y="481"/>
                  </a:lnTo>
                  <a:lnTo>
                    <a:pt x="279" y="484"/>
                  </a:lnTo>
                  <a:lnTo>
                    <a:pt x="326" y="487"/>
                  </a:lnTo>
                  <a:lnTo>
                    <a:pt x="336" y="486"/>
                  </a:lnTo>
                  <a:lnTo>
                    <a:pt x="344" y="484"/>
                  </a:lnTo>
                  <a:lnTo>
                    <a:pt x="351" y="478"/>
                  </a:lnTo>
                  <a:lnTo>
                    <a:pt x="359" y="468"/>
                  </a:lnTo>
                  <a:lnTo>
                    <a:pt x="361" y="456"/>
                  </a:lnTo>
                  <a:lnTo>
                    <a:pt x="368" y="166"/>
                  </a:lnTo>
                  <a:lnTo>
                    <a:pt x="368" y="160"/>
                  </a:lnTo>
                  <a:lnTo>
                    <a:pt x="367" y="156"/>
                  </a:lnTo>
                  <a:lnTo>
                    <a:pt x="365" y="152"/>
                  </a:lnTo>
                  <a:lnTo>
                    <a:pt x="361" y="148"/>
                  </a:lnTo>
                  <a:lnTo>
                    <a:pt x="358" y="144"/>
                  </a:lnTo>
                  <a:lnTo>
                    <a:pt x="354" y="142"/>
                  </a:lnTo>
                  <a:lnTo>
                    <a:pt x="351" y="141"/>
                  </a:lnTo>
                  <a:lnTo>
                    <a:pt x="347" y="140"/>
                  </a:lnTo>
                  <a:lnTo>
                    <a:pt x="344" y="140"/>
                  </a:lnTo>
                  <a:lnTo>
                    <a:pt x="344" y="140"/>
                  </a:lnTo>
                  <a:lnTo>
                    <a:pt x="344" y="140"/>
                  </a:lnTo>
                  <a:lnTo>
                    <a:pt x="341" y="140"/>
                  </a:lnTo>
                  <a:lnTo>
                    <a:pt x="338" y="140"/>
                  </a:lnTo>
                  <a:lnTo>
                    <a:pt x="331" y="138"/>
                  </a:lnTo>
                  <a:lnTo>
                    <a:pt x="323" y="138"/>
                  </a:lnTo>
                  <a:lnTo>
                    <a:pt x="310" y="138"/>
                  </a:lnTo>
                  <a:lnTo>
                    <a:pt x="293" y="137"/>
                  </a:lnTo>
                  <a:lnTo>
                    <a:pt x="271" y="136"/>
                  </a:lnTo>
                  <a:lnTo>
                    <a:pt x="245" y="135"/>
                  </a:lnTo>
                  <a:lnTo>
                    <a:pt x="211" y="134"/>
                  </a:lnTo>
                  <a:lnTo>
                    <a:pt x="172" y="133"/>
                  </a:lnTo>
                  <a:lnTo>
                    <a:pt x="126" y="130"/>
                  </a:lnTo>
                  <a:lnTo>
                    <a:pt x="122" y="130"/>
                  </a:lnTo>
                  <a:close/>
                  <a:moveTo>
                    <a:pt x="47" y="0"/>
                  </a:moveTo>
                  <a:lnTo>
                    <a:pt x="47" y="0"/>
                  </a:lnTo>
                  <a:lnTo>
                    <a:pt x="47" y="0"/>
                  </a:lnTo>
                  <a:lnTo>
                    <a:pt x="49" y="0"/>
                  </a:lnTo>
                  <a:lnTo>
                    <a:pt x="53" y="0"/>
                  </a:lnTo>
                  <a:lnTo>
                    <a:pt x="59" y="0"/>
                  </a:lnTo>
                  <a:lnTo>
                    <a:pt x="67" y="1"/>
                  </a:lnTo>
                  <a:lnTo>
                    <a:pt x="78" y="1"/>
                  </a:lnTo>
                  <a:lnTo>
                    <a:pt x="94" y="2"/>
                  </a:lnTo>
                  <a:lnTo>
                    <a:pt x="114" y="2"/>
                  </a:lnTo>
                  <a:lnTo>
                    <a:pt x="139" y="3"/>
                  </a:lnTo>
                  <a:lnTo>
                    <a:pt x="169" y="4"/>
                  </a:lnTo>
                  <a:lnTo>
                    <a:pt x="206" y="7"/>
                  </a:lnTo>
                  <a:lnTo>
                    <a:pt x="249" y="8"/>
                  </a:lnTo>
                  <a:lnTo>
                    <a:pt x="300" y="10"/>
                  </a:lnTo>
                  <a:lnTo>
                    <a:pt x="358" y="13"/>
                  </a:lnTo>
                  <a:lnTo>
                    <a:pt x="425" y="15"/>
                  </a:lnTo>
                  <a:lnTo>
                    <a:pt x="435" y="18"/>
                  </a:lnTo>
                  <a:lnTo>
                    <a:pt x="445" y="22"/>
                  </a:lnTo>
                  <a:lnTo>
                    <a:pt x="455" y="30"/>
                  </a:lnTo>
                  <a:lnTo>
                    <a:pt x="462" y="40"/>
                  </a:lnTo>
                  <a:lnTo>
                    <a:pt x="466" y="51"/>
                  </a:lnTo>
                  <a:lnTo>
                    <a:pt x="466" y="62"/>
                  </a:lnTo>
                  <a:lnTo>
                    <a:pt x="466" y="62"/>
                  </a:lnTo>
                  <a:lnTo>
                    <a:pt x="466" y="63"/>
                  </a:lnTo>
                  <a:lnTo>
                    <a:pt x="466" y="65"/>
                  </a:lnTo>
                  <a:lnTo>
                    <a:pt x="466" y="67"/>
                  </a:lnTo>
                  <a:lnTo>
                    <a:pt x="466" y="71"/>
                  </a:lnTo>
                  <a:lnTo>
                    <a:pt x="466" y="78"/>
                  </a:lnTo>
                  <a:lnTo>
                    <a:pt x="466" y="88"/>
                  </a:lnTo>
                  <a:lnTo>
                    <a:pt x="465" y="100"/>
                  </a:lnTo>
                  <a:lnTo>
                    <a:pt x="465" y="115"/>
                  </a:lnTo>
                  <a:lnTo>
                    <a:pt x="465" y="135"/>
                  </a:lnTo>
                  <a:lnTo>
                    <a:pt x="464" y="159"/>
                  </a:lnTo>
                  <a:lnTo>
                    <a:pt x="464" y="188"/>
                  </a:lnTo>
                  <a:lnTo>
                    <a:pt x="463" y="223"/>
                  </a:lnTo>
                  <a:lnTo>
                    <a:pt x="462" y="262"/>
                  </a:lnTo>
                  <a:lnTo>
                    <a:pt x="460" y="308"/>
                  </a:lnTo>
                  <a:lnTo>
                    <a:pt x="459" y="361"/>
                  </a:lnTo>
                  <a:lnTo>
                    <a:pt x="458" y="420"/>
                  </a:lnTo>
                  <a:lnTo>
                    <a:pt x="456" y="487"/>
                  </a:lnTo>
                  <a:lnTo>
                    <a:pt x="455" y="562"/>
                  </a:lnTo>
                  <a:lnTo>
                    <a:pt x="452" y="576"/>
                  </a:lnTo>
                  <a:lnTo>
                    <a:pt x="445" y="590"/>
                  </a:lnTo>
                  <a:lnTo>
                    <a:pt x="435" y="603"/>
                  </a:lnTo>
                  <a:lnTo>
                    <a:pt x="422" y="611"/>
                  </a:lnTo>
                  <a:lnTo>
                    <a:pt x="408" y="615"/>
                  </a:lnTo>
                  <a:lnTo>
                    <a:pt x="393" y="617"/>
                  </a:lnTo>
                  <a:lnTo>
                    <a:pt x="393" y="617"/>
                  </a:lnTo>
                  <a:lnTo>
                    <a:pt x="392" y="617"/>
                  </a:lnTo>
                  <a:lnTo>
                    <a:pt x="391" y="617"/>
                  </a:lnTo>
                  <a:lnTo>
                    <a:pt x="388" y="615"/>
                  </a:lnTo>
                  <a:lnTo>
                    <a:pt x="382" y="615"/>
                  </a:lnTo>
                  <a:lnTo>
                    <a:pt x="374" y="615"/>
                  </a:lnTo>
                  <a:lnTo>
                    <a:pt x="362" y="614"/>
                  </a:lnTo>
                  <a:lnTo>
                    <a:pt x="348" y="613"/>
                  </a:lnTo>
                  <a:lnTo>
                    <a:pt x="330" y="612"/>
                  </a:lnTo>
                  <a:lnTo>
                    <a:pt x="307" y="611"/>
                  </a:lnTo>
                  <a:lnTo>
                    <a:pt x="278" y="610"/>
                  </a:lnTo>
                  <a:lnTo>
                    <a:pt x="243" y="607"/>
                  </a:lnTo>
                  <a:lnTo>
                    <a:pt x="203" y="605"/>
                  </a:lnTo>
                  <a:lnTo>
                    <a:pt x="156" y="603"/>
                  </a:lnTo>
                  <a:lnTo>
                    <a:pt x="100" y="599"/>
                  </a:lnTo>
                  <a:lnTo>
                    <a:pt x="38" y="596"/>
                  </a:lnTo>
                  <a:lnTo>
                    <a:pt x="27" y="592"/>
                  </a:lnTo>
                  <a:lnTo>
                    <a:pt x="18" y="589"/>
                  </a:lnTo>
                  <a:lnTo>
                    <a:pt x="10" y="581"/>
                  </a:lnTo>
                  <a:lnTo>
                    <a:pt x="2" y="567"/>
                  </a:lnTo>
                  <a:lnTo>
                    <a:pt x="0" y="553"/>
                  </a:lnTo>
                  <a:lnTo>
                    <a:pt x="0" y="553"/>
                  </a:lnTo>
                  <a:lnTo>
                    <a:pt x="0" y="553"/>
                  </a:lnTo>
                  <a:lnTo>
                    <a:pt x="0" y="551"/>
                  </a:lnTo>
                  <a:lnTo>
                    <a:pt x="0" y="548"/>
                  </a:lnTo>
                  <a:lnTo>
                    <a:pt x="0" y="544"/>
                  </a:lnTo>
                  <a:lnTo>
                    <a:pt x="0" y="537"/>
                  </a:lnTo>
                  <a:lnTo>
                    <a:pt x="0" y="528"/>
                  </a:lnTo>
                  <a:lnTo>
                    <a:pt x="0" y="515"/>
                  </a:lnTo>
                  <a:lnTo>
                    <a:pt x="1" y="499"/>
                  </a:lnTo>
                  <a:lnTo>
                    <a:pt x="1" y="478"/>
                  </a:lnTo>
                  <a:lnTo>
                    <a:pt x="1" y="454"/>
                  </a:lnTo>
                  <a:lnTo>
                    <a:pt x="2" y="424"/>
                  </a:lnTo>
                  <a:lnTo>
                    <a:pt x="2" y="388"/>
                  </a:lnTo>
                  <a:lnTo>
                    <a:pt x="3" y="347"/>
                  </a:lnTo>
                  <a:lnTo>
                    <a:pt x="4" y="300"/>
                  </a:lnTo>
                  <a:lnTo>
                    <a:pt x="4" y="246"/>
                  </a:lnTo>
                  <a:lnTo>
                    <a:pt x="6" y="185"/>
                  </a:lnTo>
                  <a:lnTo>
                    <a:pt x="7" y="115"/>
                  </a:lnTo>
                  <a:lnTo>
                    <a:pt x="8" y="38"/>
                  </a:lnTo>
                  <a:lnTo>
                    <a:pt x="9" y="28"/>
                  </a:lnTo>
                  <a:lnTo>
                    <a:pt x="12" y="18"/>
                  </a:lnTo>
                  <a:lnTo>
                    <a:pt x="18" y="10"/>
                  </a:lnTo>
                  <a:lnTo>
                    <a:pt x="32" y="2"/>
                  </a:lnTo>
                  <a:lnTo>
                    <a:pt x="47" y="0"/>
                  </a:lnTo>
                  <a:close/>
                </a:path>
              </a:pathLst>
            </a:custGeom>
            <a:solidFill>
              <a:srgbClr val="0070C0"/>
            </a:solidFill>
            <a:ln w="0">
              <a:solidFill>
                <a:srgbClr val="267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9"/>
            <p:cNvSpPr>
              <a:spLocks noEditPoints="1"/>
            </p:cNvSpPr>
            <p:nvPr/>
          </p:nvSpPr>
          <p:spPr bwMode="auto">
            <a:xfrm>
              <a:off x="4503" y="1922"/>
              <a:ext cx="385" cy="277"/>
            </a:xfrm>
            <a:custGeom>
              <a:avLst/>
              <a:gdLst>
                <a:gd name="T0" fmla="*/ 1057 w 1154"/>
                <a:gd name="T1" fmla="*/ 813 h 833"/>
                <a:gd name="T2" fmla="*/ 1079 w 1154"/>
                <a:gd name="T3" fmla="*/ 740 h 833"/>
                <a:gd name="T4" fmla="*/ 1108 w 1154"/>
                <a:gd name="T5" fmla="*/ 718 h 833"/>
                <a:gd name="T6" fmla="*/ 42 w 1154"/>
                <a:gd name="T7" fmla="*/ 492 h 833"/>
                <a:gd name="T8" fmla="*/ 146 w 1154"/>
                <a:gd name="T9" fmla="*/ 358 h 833"/>
                <a:gd name="T10" fmla="*/ 60 w 1154"/>
                <a:gd name="T11" fmla="*/ 361 h 833"/>
                <a:gd name="T12" fmla="*/ 123 w 1154"/>
                <a:gd name="T13" fmla="*/ 341 h 833"/>
                <a:gd name="T14" fmla="*/ 132 w 1154"/>
                <a:gd name="T15" fmla="*/ 354 h 833"/>
                <a:gd name="T16" fmla="*/ 106 w 1154"/>
                <a:gd name="T17" fmla="*/ 359 h 833"/>
                <a:gd name="T18" fmla="*/ 90 w 1154"/>
                <a:gd name="T19" fmla="*/ 351 h 833"/>
                <a:gd name="T20" fmla="*/ 93 w 1154"/>
                <a:gd name="T21" fmla="*/ 341 h 833"/>
                <a:gd name="T22" fmla="*/ 17 w 1154"/>
                <a:gd name="T23" fmla="*/ 320 h 833"/>
                <a:gd name="T24" fmla="*/ 34 w 1154"/>
                <a:gd name="T25" fmla="*/ 307 h 833"/>
                <a:gd name="T26" fmla="*/ 62 w 1154"/>
                <a:gd name="T27" fmla="*/ 320 h 833"/>
                <a:gd name="T28" fmla="*/ 84 w 1154"/>
                <a:gd name="T29" fmla="*/ 330 h 833"/>
                <a:gd name="T30" fmla="*/ 62 w 1154"/>
                <a:gd name="T31" fmla="*/ 341 h 833"/>
                <a:gd name="T32" fmla="*/ 54 w 1154"/>
                <a:gd name="T33" fmla="*/ 329 h 833"/>
                <a:gd name="T34" fmla="*/ 23 w 1154"/>
                <a:gd name="T35" fmla="*/ 315 h 833"/>
                <a:gd name="T36" fmla="*/ 3 w 1154"/>
                <a:gd name="T37" fmla="*/ 319 h 833"/>
                <a:gd name="T38" fmla="*/ 23 w 1154"/>
                <a:gd name="T39" fmla="*/ 307 h 833"/>
                <a:gd name="T40" fmla="*/ 798 w 1154"/>
                <a:gd name="T41" fmla="*/ 182 h 833"/>
                <a:gd name="T42" fmla="*/ 817 w 1154"/>
                <a:gd name="T43" fmla="*/ 174 h 833"/>
                <a:gd name="T44" fmla="*/ 766 w 1154"/>
                <a:gd name="T45" fmla="*/ 164 h 833"/>
                <a:gd name="T46" fmla="*/ 757 w 1154"/>
                <a:gd name="T47" fmla="*/ 149 h 833"/>
                <a:gd name="T48" fmla="*/ 758 w 1154"/>
                <a:gd name="T49" fmla="*/ 140 h 833"/>
                <a:gd name="T50" fmla="*/ 272 w 1154"/>
                <a:gd name="T51" fmla="*/ 81 h 833"/>
                <a:gd name="T52" fmla="*/ 248 w 1154"/>
                <a:gd name="T53" fmla="*/ 78 h 833"/>
                <a:gd name="T54" fmla="*/ 244 w 1154"/>
                <a:gd name="T55" fmla="*/ 80 h 833"/>
                <a:gd name="T56" fmla="*/ 325 w 1154"/>
                <a:gd name="T57" fmla="*/ 75 h 833"/>
                <a:gd name="T58" fmla="*/ 288 w 1154"/>
                <a:gd name="T59" fmla="*/ 62 h 833"/>
                <a:gd name="T60" fmla="*/ 623 w 1154"/>
                <a:gd name="T61" fmla="*/ 45 h 833"/>
                <a:gd name="T62" fmla="*/ 322 w 1154"/>
                <a:gd name="T63" fmla="*/ 36 h 833"/>
                <a:gd name="T64" fmla="*/ 317 w 1154"/>
                <a:gd name="T65" fmla="*/ 47 h 833"/>
                <a:gd name="T66" fmla="*/ 332 w 1154"/>
                <a:gd name="T67" fmla="*/ 55 h 833"/>
                <a:gd name="T68" fmla="*/ 322 w 1154"/>
                <a:gd name="T69" fmla="*/ 69 h 833"/>
                <a:gd name="T70" fmla="*/ 310 w 1154"/>
                <a:gd name="T71" fmla="*/ 69 h 833"/>
                <a:gd name="T72" fmla="*/ 284 w 1154"/>
                <a:gd name="T73" fmla="*/ 67 h 833"/>
                <a:gd name="T74" fmla="*/ 300 w 1154"/>
                <a:gd name="T75" fmla="*/ 53 h 833"/>
                <a:gd name="T76" fmla="*/ 758 w 1154"/>
                <a:gd name="T77" fmla="*/ 31 h 833"/>
                <a:gd name="T78" fmla="*/ 650 w 1154"/>
                <a:gd name="T79" fmla="*/ 28 h 833"/>
                <a:gd name="T80" fmla="*/ 646 w 1154"/>
                <a:gd name="T81" fmla="*/ 48 h 833"/>
                <a:gd name="T82" fmla="*/ 620 w 1154"/>
                <a:gd name="T83" fmla="*/ 53 h 833"/>
                <a:gd name="T84" fmla="*/ 626 w 1154"/>
                <a:gd name="T85" fmla="*/ 39 h 833"/>
                <a:gd name="T86" fmla="*/ 631 w 1154"/>
                <a:gd name="T87" fmla="*/ 33 h 833"/>
                <a:gd name="T88" fmla="*/ 774 w 1154"/>
                <a:gd name="T89" fmla="*/ 25 h 833"/>
                <a:gd name="T90" fmla="*/ 770 w 1154"/>
                <a:gd name="T91" fmla="*/ 23 h 833"/>
                <a:gd name="T92" fmla="*/ 753 w 1154"/>
                <a:gd name="T93" fmla="*/ 15 h 833"/>
                <a:gd name="T94" fmla="*/ 748 w 1154"/>
                <a:gd name="T95" fmla="*/ 17 h 833"/>
                <a:gd name="T96" fmla="*/ 660 w 1154"/>
                <a:gd name="T97" fmla="*/ 1 h 833"/>
                <a:gd name="T98" fmla="*/ 680 w 1154"/>
                <a:gd name="T99" fmla="*/ 8 h 833"/>
                <a:gd name="T100" fmla="*/ 690 w 1154"/>
                <a:gd name="T101" fmla="*/ 16 h 833"/>
                <a:gd name="T102" fmla="*/ 682 w 1154"/>
                <a:gd name="T103" fmla="*/ 31 h 833"/>
                <a:gd name="T104" fmla="*/ 698 w 1154"/>
                <a:gd name="T105" fmla="*/ 45 h 833"/>
                <a:gd name="T106" fmla="*/ 693 w 1154"/>
                <a:gd name="T107" fmla="*/ 60 h 833"/>
                <a:gd name="T108" fmla="*/ 662 w 1154"/>
                <a:gd name="T109" fmla="*/ 66 h 833"/>
                <a:gd name="T110" fmla="*/ 658 w 1154"/>
                <a:gd name="T111" fmla="*/ 59 h 833"/>
                <a:gd name="T112" fmla="*/ 659 w 1154"/>
                <a:gd name="T113" fmla="*/ 54 h 833"/>
                <a:gd name="T114" fmla="*/ 660 w 1154"/>
                <a:gd name="T115" fmla="*/ 45 h 833"/>
                <a:gd name="T116" fmla="*/ 669 w 1154"/>
                <a:gd name="T117" fmla="*/ 38 h 833"/>
                <a:gd name="T118" fmla="*/ 660 w 1154"/>
                <a:gd name="T119" fmla="*/ 33 h 833"/>
                <a:gd name="T120" fmla="*/ 658 w 1154"/>
                <a:gd name="T121" fmla="*/ 22 h 833"/>
                <a:gd name="T122" fmla="*/ 653 w 1154"/>
                <a:gd name="T123" fmla="*/ 11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4" h="833">
                  <a:moveTo>
                    <a:pt x="1123" y="697"/>
                  </a:moveTo>
                  <a:lnTo>
                    <a:pt x="1123" y="699"/>
                  </a:lnTo>
                  <a:lnTo>
                    <a:pt x="1123" y="700"/>
                  </a:lnTo>
                  <a:lnTo>
                    <a:pt x="1123" y="700"/>
                  </a:lnTo>
                  <a:lnTo>
                    <a:pt x="1123" y="701"/>
                  </a:lnTo>
                  <a:lnTo>
                    <a:pt x="1123" y="702"/>
                  </a:lnTo>
                  <a:lnTo>
                    <a:pt x="1124" y="702"/>
                  </a:lnTo>
                  <a:lnTo>
                    <a:pt x="1125" y="702"/>
                  </a:lnTo>
                  <a:lnTo>
                    <a:pt x="1126" y="706"/>
                  </a:lnTo>
                  <a:lnTo>
                    <a:pt x="1128" y="712"/>
                  </a:lnTo>
                  <a:lnTo>
                    <a:pt x="1129" y="722"/>
                  </a:lnTo>
                  <a:lnTo>
                    <a:pt x="1129" y="730"/>
                  </a:lnTo>
                  <a:lnTo>
                    <a:pt x="1129" y="730"/>
                  </a:lnTo>
                  <a:lnTo>
                    <a:pt x="1128" y="731"/>
                  </a:lnTo>
                  <a:lnTo>
                    <a:pt x="1128" y="732"/>
                  </a:lnTo>
                  <a:lnTo>
                    <a:pt x="1128" y="733"/>
                  </a:lnTo>
                  <a:lnTo>
                    <a:pt x="1125" y="733"/>
                  </a:lnTo>
                  <a:lnTo>
                    <a:pt x="1125" y="733"/>
                  </a:lnTo>
                  <a:lnTo>
                    <a:pt x="1124" y="733"/>
                  </a:lnTo>
                  <a:lnTo>
                    <a:pt x="1124" y="733"/>
                  </a:lnTo>
                  <a:lnTo>
                    <a:pt x="1123" y="736"/>
                  </a:lnTo>
                  <a:lnTo>
                    <a:pt x="1122" y="737"/>
                  </a:lnTo>
                  <a:lnTo>
                    <a:pt x="1123" y="739"/>
                  </a:lnTo>
                  <a:lnTo>
                    <a:pt x="1124" y="740"/>
                  </a:lnTo>
                  <a:lnTo>
                    <a:pt x="1096" y="788"/>
                  </a:lnTo>
                  <a:lnTo>
                    <a:pt x="1066" y="833"/>
                  </a:lnTo>
                  <a:lnTo>
                    <a:pt x="1063" y="831"/>
                  </a:lnTo>
                  <a:lnTo>
                    <a:pt x="1061" y="830"/>
                  </a:lnTo>
                  <a:lnTo>
                    <a:pt x="1059" y="828"/>
                  </a:lnTo>
                  <a:lnTo>
                    <a:pt x="1058" y="826"/>
                  </a:lnTo>
                  <a:lnTo>
                    <a:pt x="1059" y="822"/>
                  </a:lnTo>
                  <a:lnTo>
                    <a:pt x="1058" y="816"/>
                  </a:lnTo>
                  <a:lnTo>
                    <a:pt x="1057" y="813"/>
                  </a:lnTo>
                  <a:lnTo>
                    <a:pt x="1056" y="809"/>
                  </a:lnTo>
                  <a:lnTo>
                    <a:pt x="1055" y="806"/>
                  </a:lnTo>
                  <a:lnTo>
                    <a:pt x="1057" y="800"/>
                  </a:lnTo>
                  <a:lnTo>
                    <a:pt x="1058" y="796"/>
                  </a:lnTo>
                  <a:lnTo>
                    <a:pt x="1061" y="793"/>
                  </a:lnTo>
                  <a:lnTo>
                    <a:pt x="1062" y="791"/>
                  </a:lnTo>
                  <a:lnTo>
                    <a:pt x="1063" y="790"/>
                  </a:lnTo>
                  <a:lnTo>
                    <a:pt x="1064" y="790"/>
                  </a:lnTo>
                  <a:lnTo>
                    <a:pt x="1065" y="788"/>
                  </a:lnTo>
                  <a:lnTo>
                    <a:pt x="1066" y="785"/>
                  </a:lnTo>
                  <a:lnTo>
                    <a:pt x="1066" y="783"/>
                  </a:lnTo>
                  <a:lnTo>
                    <a:pt x="1067" y="781"/>
                  </a:lnTo>
                  <a:lnTo>
                    <a:pt x="1069" y="779"/>
                  </a:lnTo>
                  <a:lnTo>
                    <a:pt x="1070" y="778"/>
                  </a:lnTo>
                  <a:lnTo>
                    <a:pt x="1070" y="777"/>
                  </a:lnTo>
                  <a:lnTo>
                    <a:pt x="1070" y="775"/>
                  </a:lnTo>
                  <a:lnTo>
                    <a:pt x="1069" y="773"/>
                  </a:lnTo>
                  <a:lnTo>
                    <a:pt x="1069" y="770"/>
                  </a:lnTo>
                  <a:lnTo>
                    <a:pt x="1069" y="769"/>
                  </a:lnTo>
                  <a:lnTo>
                    <a:pt x="1070" y="767"/>
                  </a:lnTo>
                  <a:lnTo>
                    <a:pt x="1070" y="766"/>
                  </a:lnTo>
                  <a:lnTo>
                    <a:pt x="1070" y="763"/>
                  </a:lnTo>
                  <a:lnTo>
                    <a:pt x="1070" y="760"/>
                  </a:lnTo>
                  <a:lnTo>
                    <a:pt x="1070" y="756"/>
                  </a:lnTo>
                  <a:lnTo>
                    <a:pt x="1070" y="753"/>
                  </a:lnTo>
                  <a:lnTo>
                    <a:pt x="1071" y="751"/>
                  </a:lnTo>
                  <a:lnTo>
                    <a:pt x="1072" y="749"/>
                  </a:lnTo>
                  <a:lnTo>
                    <a:pt x="1073" y="747"/>
                  </a:lnTo>
                  <a:lnTo>
                    <a:pt x="1074" y="744"/>
                  </a:lnTo>
                  <a:lnTo>
                    <a:pt x="1076" y="741"/>
                  </a:lnTo>
                  <a:lnTo>
                    <a:pt x="1077" y="740"/>
                  </a:lnTo>
                  <a:lnTo>
                    <a:pt x="1078" y="740"/>
                  </a:lnTo>
                  <a:lnTo>
                    <a:pt x="1079" y="740"/>
                  </a:lnTo>
                  <a:lnTo>
                    <a:pt x="1080" y="741"/>
                  </a:lnTo>
                  <a:lnTo>
                    <a:pt x="1080" y="740"/>
                  </a:lnTo>
                  <a:lnTo>
                    <a:pt x="1081" y="739"/>
                  </a:lnTo>
                  <a:lnTo>
                    <a:pt x="1083" y="737"/>
                  </a:lnTo>
                  <a:lnTo>
                    <a:pt x="1085" y="737"/>
                  </a:lnTo>
                  <a:lnTo>
                    <a:pt x="1086" y="737"/>
                  </a:lnTo>
                  <a:lnTo>
                    <a:pt x="1088" y="737"/>
                  </a:lnTo>
                  <a:lnTo>
                    <a:pt x="1091" y="737"/>
                  </a:lnTo>
                  <a:lnTo>
                    <a:pt x="1092" y="737"/>
                  </a:lnTo>
                  <a:lnTo>
                    <a:pt x="1093" y="737"/>
                  </a:lnTo>
                  <a:lnTo>
                    <a:pt x="1094" y="736"/>
                  </a:lnTo>
                  <a:lnTo>
                    <a:pt x="1094" y="732"/>
                  </a:lnTo>
                  <a:lnTo>
                    <a:pt x="1095" y="731"/>
                  </a:lnTo>
                  <a:lnTo>
                    <a:pt x="1096" y="730"/>
                  </a:lnTo>
                  <a:lnTo>
                    <a:pt x="1098" y="729"/>
                  </a:lnTo>
                  <a:lnTo>
                    <a:pt x="1099" y="729"/>
                  </a:lnTo>
                  <a:lnTo>
                    <a:pt x="1100" y="727"/>
                  </a:lnTo>
                  <a:lnTo>
                    <a:pt x="1100" y="729"/>
                  </a:lnTo>
                  <a:lnTo>
                    <a:pt x="1100" y="729"/>
                  </a:lnTo>
                  <a:lnTo>
                    <a:pt x="1100" y="730"/>
                  </a:lnTo>
                  <a:lnTo>
                    <a:pt x="1100" y="730"/>
                  </a:lnTo>
                  <a:lnTo>
                    <a:pt x="1100" y="730"/>
                  </a:lnTo>
                  <a:lnTo>
                    <a:pt x="1101" y="729"/>
                  </a:lnTo>
                  <a:lnTo>
                    <a:pt x="1102" y="726"/>
                  </a:lnTo>
                  <a:lnTo>
                    <a:pt x="1104" y="724"/>
                  </a:lnTo>
                  <a:lnTo>
                    <a:pt x="1106" y="722"/>
                  </a:lnTo>
                  <a:lnTo>
                    <a:pt x="1106" y="721"/>
                  </a:lnTo>
                  <a:lnTo>
                    <a:pt x="1106" y="721"/>
                  </a:lnTo>
                  <a:lnTo>
                    <a:pt x="1107" y="719"/>
                  </a:lnTo>
                  <a:lnTo>
                    <a:pt x="1107" y="719"/>
                  </a:lnTo>
                  <a:lnTo>
                    <a:pt x="1108" y="719"/>
                  </a:lnTo>
                  <a:lnTo>
                    <a:pt x="1108" y="719"/>
                  </a:lnTo>
                  <a:lnTo>
                    <a:pt x="1108" y="718"/>
                  </a:lnTo>
                  <a:lnTo>
                    <a:pt x="1107" y="717"/>
                  </a:lnTo>
                  <a:lnTo>
                    <a:pt x="1107" y="716"/>
                  </a:lnTo>
                  <a:lnTo>
                    <a:pt x="1107" y="715"/>
                  </a:lnTo>
                  <a:lnTo>
                    <a:pt x="1108" y="715"/>
                  </a:lnTo>
                  <a:lnTo>
                    <a:pt x="1109" y="714"/>
                  </a:lnTo>
                  <a:lnTo>
                    <a:pt x="1110" y="715"/>
                  </a:lnTo>
                  <a:lnTo>
                    <a:pt x="1111" y="715"/>
                  </a:lnTo>
                  <a:lnTo>
                    <a:pt x="1111" y="716"/>
                  </a:lnTo>
                  <a:lnTo>
                    <a:pt x="1111" y="715"/>
                  </a:lnTo>
                  <a:lnTo>
                    <a:pt x="1111" y="715"/>
                  </a:lnTo>
                  <a:lnTo>
                    <a:pt x="1113" y="711"/>
                  </a:lnTo>
                  <a:lnTo>
                    <a:pt x="1115" y="709"/>
                  </a:lnTo>
                  <a:lnTo>
                    <a:pt x="1116" y="708"/>
                  </a:lnTo>
                  <a:lnTo>
                    <a:pt x="1117" y="707"/>
                  </a:lnTo>
                  <a:lnTo>
                    <a:pt x="1117" y="706"/>
                  </a:lnTo>
                  <a:lnTo>
                    <a:pt x="1117" y="703"/>
                  </a:lnTo>
                  <a:lnTo>
                    <a:pt x="1117" y="702"/>
                  </a:lnTo>
                  <a:lnTo>
                    <a:pt x="1118" y="700"/>
                  </a:lnTo>
                  <a:lnTo>
                    <a:pt x="1121" y="699"/>
                  </a:lnTo>
                  <a:lnTo>
                    <a:pt x="1122" y="697"/>
                  </a:lnTo>
                  <a:lnTo>
                    <a:pt x="1123" y="697"/>
                  </a:lnTo>
                  <a:close/>
                  <a:moveTo>
                    <a:pt x="777" y="603"/>
                  </a:moveTo>
                  <a:lnTo>
                    <a:pt x="777" y="603"/>
                  </a:lnTo>
                  <a:lnTo>
                    <a:pt x="777" y="603"/>
                  </a:lnTo>
                  <a:lnTo>
                    <a:pt x="777" y="603"/>
                  </a:lnTo>
                  <a:close/>
                  <a:moveTo>
                    <a:pt x="775" y="603"/>
                  </a:moveTo>
                  <a:lnTo>
                    <a:pt x="777" y="603"/>
                  </a:lnTo>
                  <a:lnTo>
                    <a:pt x="775" y="603"/>
                  </a:lnTo>
                  <a:lnTo>
                    <a:pt x="775" y="603"/>
                  </a:lnTo>
                  <a:close/>
                  <a:moveTo>
                    <a:pt x="42" y="492"/>
                  </a:moveTo>
                  <a:lnTo>
                    <a:pt x="42" y="492"/>
                  </a:lnTo>
                  <a:lnTo>
                    <a:pt x="42" y="492"/>
                  </a:lnTo>
                  <a:lnTo>
                    <a:pt x="42" y="492"/>
                  </a:lnTo>
                  <a:close/>
                  <a:moveTo>
                    <a:pt x="167" y="434"/>
                  </a:moveTo>
                  <a:lnTo>
                    <a:pt x="168" y="434"/>
                  </a:lnTo>
                  <a:lnTo>
                    <a:pt x="170" y="435"/>
                  </a:lnTo>
                  <a:lnTo>
                    <a:pt x="168" y="435"/>
                  </a:lnTo>
                  <a:lnTo>
                    <a:pt x="166" y="435"/>
                  </a:lnTo>
                  <a:lnTo>
                    <a:pt x="166" y="434"/>
                  </a:lnTo>
                  <a:lnTo>
                    <a:pt x="166" y="434"/>
                  </a:lnTo>
                  <a:lnTo>
                    <a:pt x="167" y="434"/>
                  </a:lnTo>
                  <a:close/>
                  <a:moveTo>
                    <a:pt x="149" y="353"/>
                  </a:moveTo>
                  <a:lnTo>
                    <a:pt x="151" y="353"/>
                  </a:lnTo>
                  <a:lnTo>
                    <a:pt x="152" y="353"/>
                  </a:lnTo>
                  <a:lnTo>
                    <a:pt x="153" y="354"/>
                  </a:lnTo>
                  <a:lnTo>
                    <a:pt x="154" y="354"/>
                  </a:lnTo>
                  <a:lnTo>
                    <a:pt x="155" y="354"/>
                  </a:lnTo>
                  <a:lnTo>
                    <a:pt x="157" y="354"/>
                  </a:lnTo>
                  <a:lnTo>
                    <a:pt x="158" y="354"/>
                  </a:lnTo>
                  <a:lnTo>
                    <a:pt x="158" y="354"/>
                  </a:lnTo>
                  <a:lnTo>
                    <a:pt x="159" y="354"/>
                  </a:lnTo>
                  <a:lnTo>
                    <a:pt x="160" y="356"/>
                  </a:lnTo>
                  <a:lnTo>
                    <a:pt x="160" y="356"/>
                  </a:lnTo>
                  <a:lnTo>
                    <a:pt x="160" y="356"/>
                  </a:lnTo>
                  <a:lnTo>
                    <a:pt x="160" y="357"/>
                  </a:lnTo>
                  <a:lnTo>
                    <a:pt x="159" y="357"/>
                  </a:lnTo>
                  <a:lnTo>
                    <a:pt x="158" y="357"/>
                  </a:lnTo>
                  <a:lnTo>
                    <a:pt x="158" y="357"/>
                  </a:lnTo>
                  <a:lnTo>
                    <a:pt x="158" y="358"/>
                  </a:lnTo>
                  <a:lnTo>
                    <a:pt x="157" y="358"/>
                  </a:lnTo>
                  <a:lnTo>
                    <a:pt x="155" y="358"/>
                  </a:lnTo>
                  <a:lnTo>
                    <a:pt x="154" y="358"/>
                  </a:lnTo>
                  <a:lnTo>
                    <a:pt x="153" y="358"/>
                  </a:lnTo>
                  <a:lnTo>
                    <a:pt x="149" y="358"/>
                  </a:lnTo>
                  <a:lnTo>
                    <a:pt x="147" y="358"/>
                  </a:lnTo>
                  <a:lnTo>
                    <a:pt x="146" y="358"/>
                  </a:lnTo>
                  <a:lnTo>
                    <a:pt x="145" y="358"/>
                  </a:lnTo>
                  <a:lnTo>
                    <a:pt x="146" y="358"/>
                  </a:lnTo>
                  <a:lnTo>
                    <a:pt x="146" y="357"/>
                  </a:lnTo>
                  <a:lnTo>
                    <a:pt x="146" y="357"/>
                  </a:lnTo>
                  <a:lnTo>
                    <a:pt x="146" y="356"/>
                  </a:lnTo>
                  <a:lnTo>
                    <a:pt x="146" y="356"/>
                  </a:lnTo>
                  <a:lnTo>
                    <a:pt x="145" y="354"/>
                  </a:lnTo>
                  <a:lnTo>
                    <a:pt x="146" y="354"/>
                  </a:lnTo>
                  <a:lnTo>
                    <a:pt x="147" y="354"/>
                  </a:lnTo>
                  <a:lnTo>
                    <a:pt x="147" y="353"/>
                  </a:lnTo>
                  <a:lnTo>
                    <a:pt x="149" y="353"/>
                  </a:lnTo>
                  <a:close/>
                  <a:moveTo>
                    <a:pt x="52" y="352"/>
                  </a:moveTo>
                  <a:lnTo>
                    <a:pt x="52" y="353"/>
                  </a:lnTo>
                  <a:lnTo>
                    <a:pt x="52" y="353"/>
                  </a:lnTo>
                  <a:lnTo>
                    <a:pt x="52" y="353"/>
                  </a:lnTo>
                  <a:lnTo>
                    <a:pt x="61" y="353"/>
                  </a:lnTo>
                  <a:lnTo>
                    <a:pt x="62" y="354"/>
                  </a:lnTo>
                  <a:lnTo>
                    <a:pt x="62" y="356"/>
                  </a:lnTo>
                  <a:lnTo>
                    <a:pt x="63" y="357"/>
                  </a:lnTo>
                  <a:lnTo>
                    <a:pt x="64" y="357"/>
                  </a:lnTo>
                  <a:lnTo>
                    <a:pt x="65" y="357"/>
                  </a:lnTo>
                  <a:lnTo>
                    <a:pt x="67" y="358"/>
                  </a:lnTo>
                  <a:lnTo>
                    <a:pt x="68" y="358"/>
                  </a:lnTo>
                  <a:lnTo>
                    <a:pt x="68" y="358"/>
                  </a:lnTo>
                  <a:lnTo>
                    <a:pt x="65" y="360"/>
                  </a:lnTo>
                  <a:lnTo>
                    <a:pt x="61" y="360"/>
                  </a:lnTo>
                  <a:lnTo>
                    <a:pt x="61" y="359"/>
                  </a:lnTo>
                  <a:lnTo>
                    <a:pt x="60" y="359"/>
                  </a:lnTo>
                  <a:lnTo>
                    <a:pt x="60" y="359"/>
                  </a:lnTo>
                  <a:lnTo>
                    <a:pt x="61" y="360"/>
                  </a:lnTo>
                  <a:lnTo>
                    <a:pt x="61" y="360"/>
                  </a:lnTo>
                  <a:lnTo>
                    <a:pt x="60" y="361"/>
                  </a:lnTo>
                  <a:lnTo>
                    <a:pt x="60" y="361"/>
                  </a:lnTo>
                  <a:lnTo>
                    <a:pt x="58" y="360"/>
                  </a:lnTo>
                  <a:lnTo>
                    <a:pt x="57" y="360"/>
                  </a:lnTo>
                  <a:lnTo>
                    <a:pt x="57" y="363"/>
                  </a:lnTo>
                  <a:lnTo>
                    <a:pt x="56" y="361"/>
                  </a:lnTo>
                  <a:lnTo>
                    <a:pt x="55" y="360"/>
                  </a:lnTo>
                  <a:lnTo>
                    <a:pt x="55" y="360"/>
                  </a:lnTo>
                  <a:lnTo>
                    <a:pt x="54" y="360"/>
                  </a:lnTo>
                  <a:lnTo>
                    <a:pt x="53" y="360"/>
                  </a:lnTo>
                  <a:lnTo>
                    <a:pt x="53" y="359"/>
                  </a:lnTo>
                  <a:lnTo>
                    <a:pt x="52" y="358"/>
                  </a:lnTo>
                  <a:lnTo>
                    <a:pt x="52" y="357"/>
                  </a:lnTo>
                  <a:lnTo>
                    <a:pt x="52" y="357"/>
                  </a:lnTo>
                  <a:lnTo>
                    <a:pt x="52" y="356"/>
                  </a:lnTo>
                  <a:lnTo>
                    <a:pt x="50" y="356"/>
                  </a:lnTo>
                  <a:lnTo>
                    <a:pt x="50" y="354"/>
                  </a:lnTo>
                  <a:lnTo>
                    <a:pt x="49" y="354"/>
                  </a:lnTo>
                  <a:lnTo>
                    <a:pt x="48" y="354"/>
                  </a:lnTo>
                  <a:lnTo>
                    <a:pt x="48" y="354"/>
                  </a:lnTo>
                  <a:lnTo>
                    <a:pt x="48" y="353"/>
                  </a:lnTo>
                  <a:lnTo>
                    <a:pt x="50" y="352"/>
                  </a:lnTo>
                  <a:lnTo>
                    <a:pt x="52" y="352"/>
                  </a:lnTo>
                  <a:close/>
                  <a:moveTo>
                    <a:pt x="115" y="337"/>
                  </a:moveTo>
                  <a:lnTo>
                    <a:pt x="116" y="338"/>
                  </a:lnTo>
                  <a:lnTo>
                    <a:pt x="116" y="338"/>
                  </a:lnTo>
                  <a:lnTo>
                    <a:pt x="117" y="339"/>
                  </a:lnTo>
                  <a:lnTo>
                    <a:pt x="118" y="339"/>
                  </a:lnTo>
                  <a:lnTo>
                    <a:pt x="118" y="339"/>
                  </a:lnTo>
                  <a:lnTo>
                    <a:pt x="118" y="339"/>
                  </a:lnTo>
                  <a:lnTo>
                    <a:pt x="120" y="341"/>
                  </a:lnTo>
                  <a:lnTo>
                    <a:pt x="120" y="341"/>
                  </a:lnTo>
                  <a:lnTo>
                    <a:pt x="121" y="341"/>
                  </a:lnTo>
                  <a:lnTo>
                    <a:pt x="122" y="341"/>
                  </a:lnTo>
                  <a:lnTo>
                    <a:pt x="123" y="341"/>
                  </a:lnTo>
                  <a:lnTo>
                    <a:pt x="123" y="341"/>
                  </a:lnTo>
                  <a:lnTo>
                    <a:pt x="124" y="342"/>
                  </a:lnTo>
                  <a:lnTo>
                    <a:pt x="124" y="342"/>
                  </a:lnTo>
                  <a:lnTo>
                    <a:pt x="124" y="343"/>
                  </a:lnTo>
                  <a:lnTo>
                    <a:pt x="123" y="343"/>
                  </a:lnTo>
                  <a:lnTo>
                    <a:pt x="129" y="343"/>
                  </a:lnTo>
                  <a:lnTo>
                    <a:pt x="130" y="343"/>
                  </a:lnTo>
                  <a:lnTo>
                    <a:pt x="129" y="344"/>
                  </a:lnTo>
                  <a:lnTo>
                    <a:pt x="129" y="344"/>
                  </a:lnTo>
                  <a:lnTo>
                    <a:pt x="127" y="344"/>
                  </a:lnTo>
                  <a:lnTo>
                    <a:pt x="123" y="344"/>
                  </a:lnTo>
                  <a:lnTo>
                    <a:pt x="124" y="345"/>
                  </a:lnTo>
                  <a:lnTo>
                    <a:pt x="125" y="345"/>
                  </a:lnTo>
                  <a:lnTo>
                    <a:pt x="127" y="346"/>
                  </a:lnTo>
                  <a:lnTo>
                    <a:pt x="127" y="346"/>
                  </a:lnTo>
                  <a:lnTo>
                    <a:pt x="129" y="345"/>
                  </a:lnTo>
                  <a:lnTo>
                    <a:pt x="130" y="345"/>
                  </a:lnTo>
                  <a:lnTo>
                    <a:pt x="131" y="346"/>
                  </a:lnTo>
                  <a:lnTo>
                    <a:pt x="132" y="346"/>
                  </a:lnTo>
                  <a:lnTo>
                    <a:pt x="133" y="348"/>
                  </a:lnTo>
                  <a:lnTo>
                    <a:pt x="136" y="349"/>
                  </a:lnTo>
                  <a:lnTo>
                    <a:pt x="138" y="350"/>
                  </a:lnTo>
                  <a:lnTo>
                    <a:pt x="138" y="351"/>
                  </a:lnTo>
                  <a:lnTo>
                    <a:pt x="138" y="353"/>
                  </a:lnTo>
                  <a:lnTo>
                    <a:pt x="137" y="353"/>
                  </a:lnTo>
                  <a:lnTo>
                    <a:pt x="136" y="353"/>
                  </a:lnTo>
                  <a:lnTo>
                    <a:pt x="135" y="353"/>
                  </a:lnTo>
                  <a:lnTo>
                    <a:pt x="135" y="353"/>
                  </a:lnTo>
                  <a:lnTo>
                    <a:pt x="133" y="354"/>
                  </a:lnTo>
                  <a:lnTo>
                    <a:pt x="133" y="356"/>
                  </a:lnTo>
                  <a:lnTo>
                    <a:pt x="132" y="356"/>
                  </a:lnTo>
                  <a:lnTo>
                    <a:pt x="132" y="356"/>
                  </a:lnTo>
                  <a:lnTo>
                    <a:pt x="132" y="354"/>
                  </a:lnTo>
                  <a:lnTo>
                    <a:pt x="131" y="354"/>
                  </a:lnTo>
                  <a:lnTo>
                    <a:pt x="130" y="354"/>
                  </a:lnTo>
                  <a:lnTo>
                    <a:pt x="129" y="353"/>
                  </a:lnTo>
                  <a:lnTo>
                    <a:pt x="129" y="353"/>
                  </a:lnTo>
                  <a:lnTo>
                    <a:pt x="123" y="353"/>
                  </a:lnTo>
                  <a:lnTo>
                    <a:pt x="123" y="354"/>
                  </a:lnTo>
                  <a:lnTo>
                    <a:pt x="123" y="354"/>
                  </a:lnTo>
                  <a:lnTo>
                    <a:pt x="122" y="353"/>
                  </a:lnTo>
                  <a:lnTo>
                    <a:pt x="122" y="353"/>
                  </a:lnTo>
                  <a:lnTo>
                    <a:pt x="121" y="354"/>
                  </a:lnTo>
                  <a:lnTo>
                    <a:pt x="120" y="354"/>
                  </a:lnTo>
                  <a:lnTo>
                    <a:pt x="120" y="354"/>
                  </a:lnTo>
                  <a:lnTo>
                    <a:pt x="118" y="354"/>
                  </a:lnTo>
                  <a:lnTo>
                    <a:pt x="117" y="354"/>
                  </a:lnTo>
                  <a:lnTo>
                    <a:pt x="117" y="354"/>
                  </a:lnTo>
                  <a:lnTo>
                    <a:pt x="116" y="354"/>
                  </a:lnTo>
                  <a:lnTo>
                    <a:pt x="116" y="354"/>
                  </a:lnTo>
                  <a:lnTo>
                    <a:pt x="115" y="354"/>
                  </a:lnTo>
                  <a:lnTo>
                    <a:pt x="115" y="356"/>
                  </a:lnTo>
                  <a:lnTo>
                    <a:pt x="115" y="357"/>
                  </a:lnTo>
                  <a:lnTo>
                    <a:pt x="114" y="357"/>
                  </a:lnTo>
                  <a:lnTo>
                    <a:pt x="113" y="357"/>
                  </a:lnTo>
                  <a:lnTo>
                    <a:pt x="112" y="357"/>
                  </a:lnTo>
                  <a:lnTo>
                    <a:pt x="112" y="358"/>
                  </a:lnTo>
                  <a:lnTo>
                    <a:pt x="112" y="359"/>
                  </a:lnTo>
                  <a:lnTo>
                    <a:pt x="112" y="360"/>
                  </a:lnTo>
                  <a:lnTo>
                    <a:pt x="108" y="360"/>
                  </a:lnTo>
                  <a:lnTo>
                    <a:pt x="108" y="359"/>
                  </a:lnTo>
                  <a:lnTo>
                    <a:pt x="107" y="359"/>
                  </a:lnTo>
                  <a:lnTo>
                    <a:pt x="106" y="360"/>
                  </a:lnTo>
                  <a:lnTo>
                    <a:pt x="106" y="360"/>
                  </a:lnTo>
                  <a:lnTo>
                    <a:pt x="106" y="360"/>
                  </a:lnTo>
                  <a:lnTo>
                    <a:pt x="106" y="359"/>
                  </a:lnTo>
                  <a:lnTo>
                    <a:pt x="106" y="359"/>
                  </a:lnTo>
                  <a:lnTo>
                    <a:pt x="106" y="358"/>
                  </a:lnTo>
                  <a:lnTo>
                    <a:pt x="106" y="357"/>
                  </a:lnTo>
                  <a:lnTo>
                    <a:pt x="105" y="357"/>
                  </a:lnTo>
                  <a:lnTo>
                    <a:pt x="105" y="357"/>
                  </a:lnTo>
                  <a:lnTo>
                    <a:pt x="103" y="356"/>
                  </a:lnTo>
                  <a:lnTo>
                    <a:pt x="102" y="354"/>
                  </a:lnTo>
                  <a:lnTo>
                    <a:pt x="101" y="356"/>
                  </a:lnTo>
                  <a:lnTo>
                    <a:pt x="99" y="356"/>
                  </a:lnTo>
                  <a:lnTo>
                    <a:pt x="98" y="357"/>
                  </a:lnTo>
                  <a:lnTo>
                    <a:pt x="95" y="357"/>
                  </a:lnTo>
                  <a:lnTo>
                    <a:pt x="94" y="356"/>
                  </a:lnTo>
                  <a:lnTo>
                    <a:pt x="93" y="356"/>
                  </a:lnTo>
                  <a:lnTo>
                    <a:pt x="92" y="354"/>
                  </a:lnTo>
                  <a:lnTo>
                    <a:pt x="91" y="354"/>
                  </a:lnTo>
                  <a:lnTo>
                    <a:pt x="90" y="356"/>
                  </a:lnTo>
                  <a:lnTo>
                    <a:pt x="88" y="356"/>
                  </a:lnTo>
                  <a:lnTo>
                    <a:pt x="88" y="357"/>
                  </a:lnTo>
                  <a:lnTo>
                    <a:pt x="87" y="357"/>
                  </a:lnTo>
                  <a:lnTo>
                    <a:pt x="86" y="356"/>
                  </a:lnTo>
                  <a:lnTo>
                    <a:pt x="86" y="356"/>
                  </a:lnTo>
                  <a:lnTo>
                    <a:pt x="85" y="354"/>
                  </a:lnTo>
                  <a:lnTo>
                    <a:pt x="84" y="354"/>
                  </a:lnTo>
                  <a:lnTo>
                    <a:pt x="84" y="354"/>
                  </a:lnTo>
                  <a:lnTo>
                    <a:pt x="84" y="354"/>
                  </a:lnTo>
                  <a:lnTo>
                    <a:pt x="84" y="353"/>
                  </a:lnTo>
                  <a:lnTo>
                    <a:pt x="84" y="353"/>
                  </a:lnTo>
                  <a:lnTo>
                    <a:pt x="84" y="352"/>
                  </a:lnTo>
                  <a:lnTo>
                    <a:pt x="85" y="352"/>
                  </a:lnTo>
                  <a:lnTo>
                    <a:pt x="86" y="351"/>
                  </a:lnTo>
                  <a:lnTo>
                    <a:pt x="87" y="351"/>
                  </a:lnTo>
                  <a:lnTo>
                    <a:pt x="88" y="351"/>
                  </a:lnTo>
                  <a:lnTo>
                    <a:pt x="90" y="351"/>
                  </a:lnTo>
                  <a:lnTo>
                    <a:pt x="91" y="351"/>
                  </a:lnTo>
                  <a:lnTo>
                    <a:pt x="91" y="352"/>
                  </a:lnTo>
                  <a:lnTo>
                    <a:pt x="92" y="352"/>
                  </a:lnTo>
                  <a:lnTo>
                    <a:pt x="93" y="352"/>
                  </a:lnTo>
                  <a:lnTo>
                    <a:pt x="94" y="351"/>
                  </a:lnTo>
                  <a:lnTo>
                    <a:pt x="95" y="351"/>
                  </a:lnTo>
                  <a:lnTo>
                    <a:pt x="97" y="351"/>
                  </a:lnTo>
                  <a:lnTo>
                    <a:pt x="98" y="351"/>
                  </a:lnTo>
                  <a:lnTo>
                    <a:pt x="99" y="351"/>
                  </a:lnTo>
                  <a:lnTo>
                    <a:pt x="100" y="351"/>
                  </a:lnTo>
                  <a:lnTo>
                    <a:pt x="100" y="351"/>
                  </a:lnTo>
                  <a:lnTo>
                    <a:pt x="101" y="351"/>
                  </a:lnTo>
                  <a:lnTo>
                    <a:pt x="101" y="351"/>
                  </a:lnTo>
                  <a:lnTo>
                    <a:pt x="101" y="351"/>
                  </a:lnTo>
                  <a:lnTo>
                    <a:pt x="100" y="350"/>
                  </a:lnTo>
                  <a:lnTo>
                    <a:pt x="99" y="350"/>
                  </a:lnTo>
                  <a:lnTo>
                    <a:pt x="99" y="349"/>
                  </a:lnTo>
                  <a:lnTo>
                    <a:pt x="98" y="348"/>
                  </a:lnTo>
                  <a:lnTo>
                    <a:pt x="98" y="348"/>
                  </a:lnTo>
                  <a:lnTo>
                    <a:pt x="98" y="346"/>
                  </a:lnTo>
                  <a:lnTo>
                    <a:pt x="97" y="345"/>
                  </a:lnTo>
                  <a:lnTo>
                    <a:pt x="97" y="345"/>
                  </a:lnTo>
                  <a:lnTo>
                    <a:pt x="97" y="344"/>
                  </a:lnTo>
                  <a:lnTo>
                    <a:pt x="98" y="344"/>
                  </a:lnTo>
                  <a:lnTo>
                    <a:pt x="97" y="344"/>
                  </a:lnTo>
                  <a:lnTo>
                    <a:pt x="97" y="344"/>
                  </a:lnTo>
                  <a:lnTo>
                    <a:pt x="97" y="344"/>
                  </a:lnTo>
                  <a:lnTo>
                    <a:pt x="98" y="343"/>
                  </a:lnTo>
                  <a:lnTo>
                    <a:pt x="98" y="342"/>
                  </a:lnTo>
                  <a:lnTo>
                    <a:pt x="97" y="341"/>
                  </a:lnTo>
                  <a:lnTo>
                    <a:pt x="95" y="341"/>
                  </a:lnTo>
                  <a:lnTo>
                    <a:pt x="94" y="341"/>
                  </a:lnTo>
                  <a:lnTo>
                    <a:pt x="93" y="341"/>
                  </a:lnTo>
                  <a:lnTo>
                    <a:pt x="93" y="339"/>
                  </a:lnTo>
                  <a:lnTo>
                    <a:pt x="94" y="339"/>
                  </a:lnTo>
                  <a:lnTo>
                    <a:pt x="94" y="339"/>
                  </a:lnTo>
                  <a:lnTo>
                    <a:pt x="94" y="338"/>
                  </a:lnTo>
                  <a:lnTo>
                    <a:pt x="95" y="338"/>
                  </a:lnTo>
                  <a:lnTo>
                    <a:pt x="97" y="338"/>
                  </a:lnTo>
                  <a:lnTo>
                    <a:pt x="98" y="339"/>
                  </a:lnTo>
                  <a:lnTo>
                    <a:pt x="99" y="339"/>
                  </a:lnTo>
                  <a:lnTo>
                    <a:pt x="99" y="338"/>
                  </a:lnTo>
                  <a:lnTo>
                    <a:pt x="99" y="338"/>
                  </a:lnTo>
                  <a:lnTo>
                    <a:pt x="99" y="339"/>
                  </a:lnTo>
                  <a:lnTo>
                    <a:pt x="101" y="339"/>
                  </a:lnTo>
                  <a:lnTo>
                    <a:pt x="102" y="339"/>
                  </a:lnTo>
                  <a:lnTo>
                    <a:pt x="102" y="339"/>
                  </a:lnTo>
                  <a:lnTo>
                    <a:pt x="103" y="339"/>
                  </a:lnTo>
                  <a:lnTo>
                    <a:pt x="105" y="339"/>
                  </a:lnTo>
                  <a:lnTo>
                    <a:pt x="105" y="339"/>
                  </a:lnTo>
                  <a:lnTo>
                    <a:pt x="106" y="339"/>
                  </a:lnTo>
                  <a:lnTo>
                    <a:pt x="107" y="339"/>
                  </a:lnTo>
                  <a:lnTo>
                    <a:pt x="108" y="339"/>
                  </a:lnTo>
                  <a:lnTo>
                    <a:pt x="108" y="339"/>
                  </a:lnTo>
                  <a:lnTo>
                    <a:pt x="108" y="339"/>
                  </a:lnTo>
                  <a:lnTo>
                    <a:pt x="109" y="339"/>
                  </a:lnTo>
                  <a:lnTo>
                    <a:pt x="110" y="338"/>
                  </a:lnTo>
                  <a:lnTo>
                    <a:pt x="112" y="338"/>
                  </a:lnTo>
                  <a:lnTo>
                    <a:pt x="112" y="338"/>
                  </a:lnTo>
                  <a:lnTo>
                    <a:pt x="113" y="338"/>
                  </a:lnTo>
                  <a:lnTo>
                    <a:pt x="115" y="337"/>
                  </a:lnTo>
                  <a:close/>
                  <a:moveTo>
                    <a:pt x="1154" y="322"/>
                  </a:moveTo>
                  <a:lnTo>
                    <a:pt x="1154" y="322"/>
                  </a:lnTo>
                  <a:lnTo>
                    <a:pt x="1154" y="322"/>
                  </a:lnTo>
                  <a:close/>
                  <a:moveTo>
                    <a:pt x="16" y="320"/>
                  </a:moveTo>
                  <a:lnTo>
                    <a:pt x="17" y="320"/>
                  </a:lnTo>
                  <a:lnTo>
                    <a:pt x="17" y="322"/>
                  </a:lnTo>
                  <a:lnTo>
                    <a:pt x="19" y="322"/>
                  </a:lnTo>
                  <a:lnTo>
                    <a:pt x="19" y="323"/>
                  </a:lnTo>
                  <a:lnTo>
                    <a:pt x="17" y="323"/>
                  </a:lnTo>
                  <a:lnTo>
                    <a:pt x="16" y="324"/>
                  </a:lnTo>
                  <a:lnTo>
                    <a:pt x="16" y="324"/>
                  </a:lnTo>
                  <a:lnTo>
                    <a:pt x="16" y="323"/>
                  </a:lnTo>
                  <a:lnTo>
                    <a:pt x="15" y="323"/>
                  </a:lnTo>
                  <a:lnTo>
                    <a:pt x="13" y="323"/>
                  </a:lnTo>
                  <a:lnTo>
                    <a:pt x="13" y="323"/>
                  </a:lnTo>
                  <a:lnTo>
                    <a:pt x="12" y="323"/>
                  </a:lnTo>
                  <a:lnTo>
                    <a:pt x="11" y="322"/>
                  </a:lnTo>
                  <a:lnTo>
                    <a:pt x="13" y="322"/>
                  </a:lnTo>
                  <a:lnTo>
                    <a:pt x="13" y="321"/>
                  </a:lnTo>
                  <a:lnTo>
                    <a:pt x="15" y="320"/>
                  </a:lnTo>
                  <a:lnTo>
                    <a:pt x="15" y="320"/>
                  </a:lnTo>
                  <a:lnTo>
                    <a:pt x="16" y="320"/>
                  </a:lnTo>
                  <a:close/>
                  <a:moveTo>
                    <a:pt x="3" y="319"/>
                  </a:moveTo>
                  <a:lnTo>
                    <a:pt x="3" y="319"/>
                  </a:lnTo>
                  <a:lnTo>
                    <a:pt x="2" y="320"/>
                  </a:lnTo>
                  <a:lnTo>
                    <a:pt x="2" y="320"/>
                  </a:lnTo>
                  <a:lnTo>
                    <a:pt x="1" y="320"/>
                  </a:lnTo>
                  <a:lnTo>
                    <a:pt x="0" y="320"/>
                  </a:lnTo>
                  <a:lnTo>
                    <a:pt x="0" y="320"/>
                  </a:lnTo>
                  <a:lnTo>
                    <a:pt x="1" y="320"/>
                  </a:lnTo>
                  <a:lnTo>
                    <a:pt x="2" y="319"/>
                  </a:lnTo>
                  <a:lnTo>
                    <a:pt x="3" y="319"/>
                  </a:lnTo>
                  <a:close/>
                  <a:moveTo>
                    <a:pt x="24" y="306"/>
                  </a:moveTo>
                  <a:lnTo>
                    <a:pt x="25" y="306"/>
                  </a:lnTo>
                  <a:lnTo>
                    <a:pt x="27" y="306"/>
                  </a:lnTo>
                  <a:lnTo>
                    <a:pt x="31" y="306"/>
                  </a:lnTo>
                  <a:lnTo>
                    <a:pt x="33" y="306"/>
                  </a:lnTo>
                  <a:lnTo>
                    <a:pt x="34" y="307"/>
                  </a:lnTo>
                  <a:lnTo>
                    <a:pt x="34" y="307"/>
                  </a:lnTo>
                  <a:lnTo>
                    <a:pt x="34" y="308"/>
                  </a:lnTo>
                  <a:lnTo>
                    <a:pt x="34" y="308"/>
                  </a:lnTo>
                  <a:lnTo>
                    <a:pt x="38" y="308"/>
                  </a:lnTo>
                  <a:lnTo>
                    <a:pt x="39" y="308"/>
                  </a:lnTo>
                  <a:lnTo>
                    <a:pt x="40" y="308"/>
                  </a:lnTo>
                  <a:lnTo>
                    <a:pt x="40" y="308"/>
                  </a:lnTo>
                  <a:lnTo>
                    <a:pt x="41" y="309"/>
                  </a:lnTo>
                  <a:lnTo>
                    <a:pt x="43" y="309"/>
                  </a:lnTo>
                  <a:lnTo>
                    <a:pt x="45" y="311"/>
                  </a:lnTo>
                  <a:lnTo>
                    <a:pt x="45" y="312"/>
                  </a:lnTo>
                  <a:lnTo>
                    <a:pt x="46" y="312"/>
                  </a:lnTo>
                  <a:lnTo>
                    <a:pt x="47" y="313"/>
                  </a:lnTo>
                  <a:lnTo>
                    <a:pt x="48" y="313"/>
                  </a:lnTo>
                  <a:lnTo>
                    <a:pt x="49" y="313"/>
                  </a:lnTo>
                  <a:lnTo>
                    <a:pt x="49" y="314"/>
                  </a:lnTo>
                  <a:lnTo>
                    <a:pt x="50" y="315"/>
                  </a:lnTo>
                  <a:lnTo>
                    <a:pt x="52" y="315"/>
                  </a:lnTo>
                  <a:lnTo>
                    <a:pt x="52" y="315"/>
                  </a:lnTo>
                  <a:lnTo>
                    <a:pt x="53" y="315"/>
                  </a:lnTo>
                  <a:lnTo>
                    <a:pt x="53" y="316"/>
                  </a:lnTo>
                  <a:lnTo>
                    <a:pt x="54" y="316"/>
                  </a:lnTo>
                  <a:lnTo>
                    <a:pt x="55" y="319"/>
                  </a:lnTo>
                  <a:lnTo>
                    <a:pt x="58" y="319"/>
                  </a:lnTo>
                  <a:lnTo>
                    <a:pt x="60" y="319"/>
                  </a:lnTo>
                  <a:lnTo>
                    <a:pt x="61" y="319"/>
                  </a:lnTo>
                  <a:lnTo>
                    <a:pt x="62" y="319"/>
                  </a:lnTo>
                  <a:lnTo>
                    <a:pt x="62" y="320"/>
                  </a:lnTo>
                  <a:lnTo>
                    <a:pt x="61" y="320"/>
                  </a:lnTo>
                  <a:lnTo>
                    <a:pt x="62" y="321"/>
                  </a:lnTo>
                  <a:lnTo>
                    <a:pt x="62" y="321"/>
                  </a:lnTo>
                  <a:lnTo>
                    <a:pt x="62" y="320"/>
                  </a:lnTo>
                  <a:lnTo>
                    <a:pt x="62" y="320"/>
                  </a:lnTo>
                  <a:lnTo>
                    <a:pt x="64" y="321"/>
                  </a:lnTo>
                  <a:lnTo>
                    <a:pt x="65" y="322"/>
                  </a:lnTo>
                  <a:lnTo>
                    <a:pt x="68" y="323"/>
                  </a:lnTo>
                  <a:lnTo>
                    <a:pt x="69" y="323"/>
                  </a:lnTo>
                  <a:lnTo>
                    <a:pt x="70" y="324"/>
                  </a:lnTo>
                  <a:lnTo>
                    <a:pt x="71" y="324"/>
                  </a:lnTo>
                  <a:lnTo>
                    <a:pt x="72" y="326"/>
                  </a:lnTo>
                  <a:lnTo>
                    <a:pt x="72" y="326"/>
                  </a:lnTo>
                  <a:lnTo>
                    <a:pt x="73" y="326"/>
                  </a:lnTo>
                  <a:lnTo>
                    <a:pt x="75" y="326"/>
                  </a:lnTo>
                  <a:lnTo>
                    <a:pt x="76" y="326"/>
                  </a:lnTo>
                  <a:lnTo>
                    <a:pt x="77" y="326"/>
                  </a:lnTo>
                  <a:lnTo>
                    <a:pt x="77" y="326"/>
                  </a:lnTo>
                  <a:lnTo>
                    <a:pt x="78" y="326"/>
                  </a:lnTo>
                  <a:lnTo>
                    <a:pt x="79" y="326"/>
                  </a:lnTo>
                  <a:lnTo>
                    <a:pt x="80" y="326"/>
                  </a:lnTo>
                  <a:lnTo>
                    <a:pt x="79" y="327"/>
                  </a:lnTo>
                  <a:lnTo>
                    <a:pt x="79" y="327"/>
                  </a:lnTo>
                  <a:lnTo>
                    <a:pt x="78" y="328"/>
                  </a:lnTo>
                  <a:lnTo>
                    <a:pt x="78" y="329"/>
                  </a:lnTo>
                  <a:lnTo>
                    <a:pt x="79" y="329"/>
                  </a:lnTo>
                  <a:lnTo>
                    <a:pt x="78" y="330"/>
                  </a:lnTo>
                  <a:lnTo>
                    <a:pt x="78" y="330"/>
                  </a:lnTo>
                  <a:lnTo>
                    <a:pt x="77" y="330"/>
                  </a:lnTo>
                  <a:lnTo>
                    <a:pt x="78" y="330"/>
                  </a:lnTo>
                  <a:lnTo>
                    <a:pt x="78" y="331"/>
                  </a:lnTo>
                  <a:lnTo>
                    <a:pt x="79" y="331"/>
                  </a:lnTo>
                  <a:lnTo>
                    <a:pt x="79" y="331"/>
                  </a:lnTo>
                  <a:lnTo>
                    <a:pt x="80" y="330"/>
                  </a:lnTo>
                  <a:lnTo>
                    <a:pt x="80" y="331"/>
                  </a:lnTo>
                  <a:lnTo>
                    <a:pt x="82" y="331"/>
                  </a:lnTo>
                  <a:lnTo>
                    <a:pt x="83" y="331"/>
                  </a:lnTo>
                  <a:lnTo>
                    <a:pt x="84" y="330"/>
                  </a:lnTo>
                  <a:lnTo>
                    <a:pt x="84" y="331"/>
                  </a:lnTo>
                  <a:lnTo>
                    <a:pt x="84" y="333"/>
                  </a:lnTo>
                  <a:lnTo>
                    <a:pt x="85" y="333"/>
                  </a:lnTo>
                  <a:lnTo>
                    <a:pt x="85" y="333"/>
                  </a:lnTo>
                  <a:lnTo>
                    <a:pt x="86" y="333"/>
                  </a:lnTo>
                  <a:lnTo>
                    <a:pt x="87" y="333"/>
                  </a:lnTo>
                  <a:lnTo>
                    <a:pt x="87" y="334"/>
                  </a:lnTo>
                  <a:lnTo>
                    <a:pt x="88" y="334"/>
                  </a:lnTo>
                  <a:lnTo>
                    <a:pt x="90" y="334"/>
                  </a:lnTo>
                  <a:lnTo>
                    <a:pt x="91" y="334"/>
                  </a:lnTo>
                  <a:lnTo>
                    <a:pt x="91" y="336"/>
                  </a:lnTo>
                  <a:lnTo>
                    <a:pt x="88" y="337"/>
                  </a:lnTo>
                  <a:lnTo>
                    <a:pt x="87" y="337"/>
                  </a:lnTo>
                  <a:lnTo>
                    <a:pt x="85" y="337"/>
                  </a:lnTo>
                  <a:lnTo>
                    <a:pt x="84" y="337"/>
                  </a:lnTo>
                  <a:lnTo>
                    <a:pt x="84" y="338"/>
                  </a:lnTo>
                  <a:lnTo>
                    <a:pt x="83" y="338"/>
                  </a:lnTo>
                  <a:lnTo>
                    <a:pt x="82" y="339"/>
                  </a:lnTo>
                  <a:lnTo>
                    <a:pt x="80" y="339"/>
                  </a:lnTo>
                  <a:lnTo>
                    <a:pt x="80" y="338"/>
                  </a:lnTo>
                  <a:lnTo>
                    <a:pt x="80" y="338"/>
                  </a:lnTo>
                  <a:lnTo>
                    <a:pt x="80" y="339"/>
                  </a:lnTo>
                  <a:lnTo>
                    <a:pt x="75" y="339"/>
                  </a:lnTo>
                  <a:lnTo>
                    <a:pt x="73" y="338"/>
                  </a:lnTo>
                  <a:lnTo>
                    <a:pt x="72" y="338"/>
                  </a:lnTo>
                  <a:lnTo>
                    <a:pt x="72" y="338"/>
                  </a:lnTo>
                  <a:lnTo>
                    <a:pt x="71" y="339"/>
                  </a:lnTo>
                  <a:lnTo>
                    <a:pt x="69" y="339"/>
                  </a:lnTo>
                  <a:lnTo>
                    <a:pt x="64" y="339"/>
                  </a:lnTo>
                  <a:lnTo>
                    <a:pt x="63" y="339"/>
                  </a:lnTo>
                  <a:lnTo>
                    <a:pt x="63" y="339"/>
                  </a:lnTo>
                  <a:lnTo>
                    <a:pt x="63" y="341"/>
                  </a:lnTo>
                  <a:lnTo>
                    <a:pt x="62" y="341"/>
                  </a:lnTo>
                  <a:lnTo>
                    <a:pt x="61" y="341"/>
                  </a:lnTo>
                  <a:lnTo>
                    <a:pt x="58" y="341"/>
                  </a:lnTo>
                  <a:lnTo>
                    <a:pt x="57" y="341"/>
                  </a:lnTo>
                  <a:lnTo>
                    <a:pt x="58" y="339"/>
                  </a:lnTo>
                  <a:lnTo>
                    <a:pt x="58" y="339"/>
                  </a:lnTo>
                  <a:lnTo>
                    <a:pt x="60" y="338"/>
                  </a:lnTo>
                  <a:lnTo>
                    <a:pt x="61" y="338"/>
                  </a:lnTo>
                  <a:lnTo>
                    <a:pt x="61" y="337"/>
                  </a:lnTo>
                  <a:lnTo>
                    <a:pt x="61" y="337"/>
                  </a:lnTo>
                  <a:lnTo>
                    <a:pt x="62" y="336"/>
                  </a:lnTo>
                  <a:lnTo>
                    <a:pt x="62" y="336"/>
                  </a:lnTo>
                  <a:lnTo>
                    <a:pt x="63" y="336"/>
                  </a:lnTo>
                  <a:lnTo>
                    <a:pt x="64" y="336"/>
                  </a:lnTo>
                  <a:lnTo>
                    <a:pt x="65" y="335"/>
                  </a:lnTo>
                  <a:lnTo>
                    <a:pt x="65" y="335"/>
                  </a:lnTo>
                  <a:lnTo>
                    <a:pt x="65" y="334"/>
                  </a:lnTo>
                  <a:lnTo>
                    <a:pt x="64" y="334"/>
                  </a:lnTo>
                  <a:lnTo>
                    <a:pt x="63" y="334"/>
                  </a:lnTo>
                  <a:lnTo>
                    <a:pt x="63" y="334"/>
                  </a:lnTo>
                  <a:lnTo>
                    <a:pt x="63" y="333"/>
                  </a:lnTo>
                  <a:lnTo>
                    <a:pt x="64" y="333"/>
                  </a:lnTo>
                  <a:lnTo>
                    <a:pt x="63" y="333"/>
                  </a:lnTo>
                  <a:lnTo>
                    <a:pt x="62" y="333"/>
                  </a:lnTo>
                  <a:lnTo>
                    <a:pt x="61" y="333"/>
                  </a:lnTo>
                  <a:lnTo>
                    <a:pt x="61" y="333"/>
                  </a:lnTo>
                  <a:lnTo>
                    <a:pt x="60" y="333"/>
                  </a:lnTo>
                  <a:lnTo>
                    <a:pt x="58" y="333"/>
                  </a:lnTo>
                  <a:lnTo>
                    <a:pt x="57" y="333"/>
                  </a:lnTo>
                  <a:lnTo>
                    <a:pt x="57" y="333"/>
                  </a:lnTo>
                  <a:lnTo>
                    <a:pt x="56" y="331"/>
                  </a:lnTo>
                  <a:lnTo>
                    <a:pt x="55" y="330"/>
                  </a:lnTo>
                  <a:lnTo>
                    <a:pt x="55" y="329"/>
                  </a:lnTo>
                  <a:lnTo>
                    <a:pt x="54" y="329"/>
                  </a:lnTo>
                  <a:lnTo>
                    <a:pt x="54" y="329"/>
                  </a:lnTo>
                  <a:lnTo>
                    <a:pt x="54" y="326"/>
                  </a:lnTo>
                  <a:lnTo>
                    <a:pt x="54" y="324"/>
                  </a:lnTo>
                  <a:lnTo>
                    <a:pt x="53" y="323"/>
                  </a:lnTo>
                  <a:lnTo>
                    <a:pt x="53" y="323"/>
                  </a:lnTo>
                  <a:lnTo>
                    <a:pt x="52" y="323"/>
                  </a:lnTo>
                  <a:lnTo>
                    <a:pt x="48" y="323"/>
                  </a:lnTo>
                  <a:lnTo>
                    <a:pt x="47" y="323"/>
                  </a:lnTo>
                  <a:lnTo>
                    <a:pt x="45" y="322"/>
                  </a:lnTo>
                  <a:lnTo>
                    <a:pt x="43" y="320"/>
                  </a:lnTo>
                  <a:lnTo>
                    <a:pt x="41" y="320"/>
                  </a:lnTo>
                  <a:lnTo>
                    <a:pt x="41" y="320"/>
                  </a:lnTo>
                  <a:lnTo>
                    <a:pt x="40" y="320"/>
                  </a:lnTo>
                  <a:lnTo>
                    <a:pt x="40" y="319"/>
                  </a:lnTo>
                  <a:lnTo>
                    <a:pt x="39" y="319"/>
                  </a:lnTo>
                  <a:lnTo>
                    <a:pt x="39" y="318"/>
                  </a:lnTo>
                  <a:lnTo>
                    <a:pt x="39" y="316"/>
                  </a:lnTo>
                  <a:lnTo>
                    <a:pt x="38" y="316"/>
                  </a:lnTo>
                  <a:lnTo>
                    <a:pt x="37" y="318"/>
                  </a:lnTo>
                  <a:lnTo>
                    <a:pt x="37" y="318"/>
                  </a:lnTo>
                  <a:lnTo>
                    <a:pt x="37" y="316"/>
                  </a:lnTo>
                  <a:lnTo>
                    <a:pt x="37" y="316"/>
                  </a:lnTo>
                  <a:lnTo>
                    <a:pt x="34" y="318"/>
                  </a:lnTo>
                  <a:lnTo>
                    <a:pt x="33" y="318"/>
                  </a:lnTo>
                  <a:lnTo>
                    <a:pt x="31" y="316"/>
                  </a:lnTo>
                  <a:lnTo>
                    <a:pt x="30" y="316"/>
                  </a:lnTo>
                  <a:lnTo>
                    <a:pt x="27" y="318"/>
                  </a:lnTo>
                  <a:lnTo>
                    <a:pt x="26" y="318"/>
                  </a:lnTo>
                  <a:lnTo>
                    <a:pt x="24" y="316"/>
                  </a:lnTo>
                  <a:lnTo>
                    <a:pt x="24" y="315"/>
                  </a:lnTo>
                  <a:lnTo>
                    <a:pt x="23" y="315"/>
                  </a:lnTo>
                  <a:lnTo>
                    <a:pt x="23" y="315"/>
                  </a:lnTo>
                  <a:lnTo>
                    <a:pt x="23" y="315"/>
                  </a:lnTo>
                  <a:lnTo>
                    <a:pt x="26" y="315"/>
                  </a:lnTo>
                  <a:lnTo>
                    <a:pt x="27" y="314"/>
                  </a:lnTo>
                  <a:lnTo>
                    <a:pt x="27" y="314"/>
                  </a:lnTo>
                  <a:lnTo>
                    <a:pt x="28" y="313"/>
                  </a:lnTo>
                  <a:lnTo>
                    <a:pt x="30" y="313"/>
                  </a:lnTo>
                  <a:lnTo>
                    <a:pt x="27" y="312"/>
                  </a:lnTo>
                  <a:lnTo>
                    <a:pt x="25" y="312"/>
                  </a:lnTo>
                  <a:lnTo>
                    <a:pt x="23" y="312"/>
                  </a:lnTo>
                  <a:lnTo>
                    <a:pt x="20" y="312"/>
                  </a:lnTo>
                  <a:lnTo>
                    <a:pt x="19" y="312"/>
                  </a:lnTo>
                  <a:lnTo>
                    <a:pt x="18" y="312"/>
                  </a:lnTo>
                  <a:lnTo>
                    <a:pt x="17" y="312"/>
                  </a:lnTo>
                  <a:lnTo>
                    <a:pt x="17" y="313"/>
                  </a:lnTo>
                  <a:lnTo>
                    <a:pt x="17" y="313"/>
                  </a:lnTo>
                  <a:lnTo>
                    <a:pt x="16" y="314"/>
                  </a:lnTo>
                  <a:lnTo>
                    <a:pt x="16" y="315"/>
                  </a:lnTo>
                  <a:lnTo>
                    <a:pt x="15" y="315"/>
                  </a:lnTo>
                  <a:lnTo>
                    <a:pt x="13" y="315"/>
                  </a:lnTo>
                  <a:lnTo>
                    <a:pt x="12" y="315"/>
                  </a:lnTo>
                  <a:lnTo>
                    <a:pt x="11" y="315"/>
                  </a:lnTo>
                  <a:lnTo>
                    <a:pt x="11" y="316"/>
                  </a:lnTo>
                  <a:lnTo>
                    <a:pt x="10" y="316"/>
                  </a:lnTo>
                  <a:lnTo>
                    <a:pt x="8" y="316"/>
                  </a:lnTo>
                  <a:lnTo>
                    <a:pt x="8" y="318"/>
                  </a:lnTo>
                  <a:lnTo>
                    <a:pt x="8" y="319"/>
                  </a:lnTo>
                  <a:lnTo>
                    <a:pt x="7" y="319"/>
                  </a:lnTo>
                  <a:lnTo>
                    <a:pt x="7" y="319"/>
                  </a:lnTo>
                  <a:lnTo>
                    <a:pt x="5" y="319"/>
                  </a:lnTo>
                  <a:lnTo>
                    <a:pt x="5" y="319"/>
                  </a:lnTo>
                  <a:lnTo>
                    <a:pt x="4" y="320"/>
                  </a:lnTo>
                  <a:lnTo>
                    <a:pt x="3" y="320"/>
                  </a:lnTo>
                  <a:lnTo>
                    <a:pt x="3" y="320"/>
                  </a:lnTo>
                  <a:lnTo>
                    <a:pt x="3" y="319"/>
                  </a:lnTo>
                  <a:lnTo>
                    <a:pt x="3" y="319"/>
                  </a:lnTo>
                  <a:lnTo>
                    <a:pt x="3" y="319"/>
                  </a:lnTo>
                  <a:lnTo>
                    <a:pt x="3" y="319"/>
                  </a:lnTo>
                  <a:lnTo>
                    <a:pt x="3" y="318"/>
                  </a:lnTo>
                  <a:lnTo>
                    <a:pt x="3" y="318"/>
                  </a:lnTo>
                  <a:lnTo>
                    <a:pt x="4" y="318"/>
                  </a:lnTo>
                  <a:lnTo>
                    <a:pt x="4" y="316"/>
                  </a:lnTo>
                  <a:lnTo>
                    <a:pt x="4" y="316"/>
                  </a:lnTo>
                  <a:lnTo>
                    <a:pt x="4" y="316"/>
                  </a:lnTo>
                  <a:lnTo>
                    <a:pt x="3" y="316"/>
                  </a:lnTo>
                  <a:lnTo>
                    <a:pt x="3" y="315"/>
                  </a:lnTo>
                  <a:lnTo>
                    <a:pt x="3" y="314"/>
                  </a:lnTo>
                  <a:lnTo>
                    <a:pt x="3" y="313"/>
                  </a:lnTo>
                  <a:lnTo>
                    <a:pt x="4" y="313"/>
                  </a:lnTo>
                  <a:lnTo>
                    <a:pt x="4" y="312"/>
                  </a:lnTo>
                  <a:lnTo>
                    <a:pt x="5" y="311"/>
                  </a:lnTo>
                  <a:lnTo>
                    <a:pt x="7" y="311"/>
                  </a:lnTo>
                  <a:lnTo>
                    <a:pt x="7" y="311"/>
                  </a:lnTo>
                  <a:lnTo>
                    <a:pt x="7" y="309"/>
                  </a:lnTo>
                  <a:lnTo>
                    <a:pt x="8" y="309"/>
                  </a:lnTo>
                  <a:lnTo>
                    <a:pt x="10" y="308"/>
                  </a:lnTo>
                  <a:lnTo>
                    <a:pt x="12" y="308"/>
                  </a:lnTo>
                  <a:lnTo>
                    <a:pt x="13" y="308"/>
                  </a:lnTo>
                  <a:lnTo>
                    <a:pt x="13" y="308"/>
                  </a:lnTo>
                  <a:lnTo>
                    <a:pt x="13" y="308"/>
                  </a:lnTo>
                  <a:lnTo>
                    <a:pt x="13" y="307"/>
                  </a:lnTo>
                  <a:lnTo>
                    <a:pt x="15" y="307"/>
                  </a:lnTo>
                  <a:lnTo>
                    <a:pt x="15" y="307"/>
                  </a:lnTo>
                  <a:lnTo>
                    <a:pt x="17" y="306"/>
                  </a:lnTo>
                  <a:lnTo>
                    <a:pt x="19" y="306"/>
                  </a:lnTo>
                  <a:lnTo>
                    <a:pt x="22" y="307"/>
                  </a:lnTo>
                  <a:lnTo>
                    <a:pt x="23" y="307"/>
                  </a:lnTo>
                  <a:lnTo>
                    <a:pt x="23" y="307"/>
                  </a:lnTo>
                  <a:lnTo>
                    <a:pt x="24" y="306"/>
                  </a:lnTo>
                  <a:lnTo>
                    <a:pt x="24" y="306"/>
                  </a:lnTo>
                  <a:close/>
                  <a:moveTo>
                    <a:pt x="778" y="218"/>
                  </a:moveTo>
                  <a:lnTo>
                    <a:pt x="778" y="218"/>
                  </a:lnTo>
                  <a:lnTo>
                    <a:pt x="778" y="218"/>
                  </a:lnTo>
                  <a:lnTo>
                    <a:pt x="778" y="218"/>
                  </a:lnTo>
                  <a:lnTo>
                    <a:pt x="778" y="218"/>
                  </a:lnTo>
                  <a:lnTo>
                    <a:pt x="778" y="218"/>
                  </a:lnTo>
                  <a:close/>
                  <a:moveTo>
                    <a:pt x="817" y="174"/>
                  </a:moveTo>
                  <a:lnTo>
                    <a:pt x="818" y="175"/>
                  </a:lnTo>
                  <a:lnTo>
                    <a:pt x="818" y="177"/>
                  </a:lnTo>
                  <a:lnTo>
                    <a:pt x="817" y="178"/>
                  </a:lnTo>
                  <a:lnTo>
                    <a:pt x="817" y="179"/>
                  </a:lnTo>
                  <a:lnTo>
                    <a:pt x="816" y="179"/>
                  </a:lnTo>
                  <a:lnTo>
                    <a:pt x="815" y="180"/>
                  </a:lnTo>
                  <a:lnTo>
                    <a:pt x="815" y="180"/>
                  </a:lnTo>
                  <a:lnTo>
                    <a:pt x="815" y="181"/>
                  </a:lnTo>
                  <a:lnTo>
                    <a:pt x="815" y="182"/>
                  </a:lnTo>
                  <a:lnTo>
                    <a:pt x="815" y="182"/>
                  </a:lnTo>
                  <a:lnTo>
                    <a:pt x="815" y="184"/>
                  </a:lnTo>
                  <a:lnTo>
                    <a:pt x="815" y="185"/>
                  </a:lnTo>
                  <a:lnTo>
                    <a:pt x="815" y="186"/>
                  </a:lnTo>
                  <a:lnTo>
                    <a:pt x="815" y="187"/>
                  </a:lnTo>
                  <a:lnTo>
                    <a:pt x="809" y="187"/>
                  </a:lnTo>
                  <a:lnTo>
                    <a:pt x="809" y="186"/>
                  </a:lnTo>
                  <a:lnTo>
                    <a:pt x="808" y="186"/>
                  </a:lnTo>
                  <a:lnTo>
                    <a:pt x="805" y="185"/>
                  </a:lnTo>
                  <a:lnTo>
                    <a:pt x="803" y="186"/>
                  </a:lnTo>
                  <a:lnTo>
                    <a:pt x="803" y="186"/>
                  </a:lnTo>
                  <a:lnTo>
                    <a:pt x="802" y="184"/>
                  </a:lnTo>
                  <a:lnTo>
                    <a:pt x="801" y="182"/>
                  </a:lnTo>
                  <a:lnTo>
                    <a:pt x="800" y="182"/>
                  </a:lnTo>
                  <a:lnTo>
                    <a:pt x="798" y="182"/>
                  </a:lnTo>
                  <a:lnTo>
                    <a:pt x="796" y="181"/>
                  </a:lnTo>
                  <a:lnTo>
                    <a:pt x="795" y="180"/>
                  </a:lnTo>
                  <a:lnTo>
                    <a:pt x="794" y="180"/>
                  </a:lnTo>
                  <a:lnTo>
                    <a:pt x="793" y="180"/>
                  </a:lnTo>
                  <a:lnTo>
                    <a:pt x="793" y="179"/>
                  </a:lnTo>
                  <a:lnTo>
                    <a:pt x="793" y="177"/>
                  </a:lnTo>
                  <a:lnTo>
                    <a:pt x="794" y="177"/>
                  </a:lnTo>
                  <a:lnTo>
                    <a:pt x="795" y="175"/>
                  </a:lnTo>
                  <a:lnTo>
                    <a:pt x="795" y="175"/>
                  </a:lnTo>
                  <a:lnTo>
                    <a:pt x="796" y="175"/>
                  </a:lnTo>
                  <a:lnTo>
                    <a:pt x="798" y="177"/>
                  </a:lnTo>
                  <a:lnTo>
                    <a:pt x="800" y="175"/>
                  </a:lnTo>
                  <a:lnTo>
                    <a:pt x="801" y="175"/>
                  </a:lnTo>
                  <a:lnTo>
                    <a:pt x="802" y="175"/>
                  </a:lnTo>
                  <a:lnTo>
                    <a:pt x="803" y="177"/>
                  </a:lnTo>
                  <a:lnTo>
                    <a:pt x="803" y="177"/>
                  </a:lnTo>
                  <a:lnTo>
                    <a:pt x="803" y="177"/>
                  </a:lnTo>
                  <a:lnTo>
                    <a:pt x="803" y="177"/>
                  </a:lnTo>
                  <a:lnTo>
                    <a:pt x="805" y="177"/>
                  </a:lnTo>
                  <a:lnTo>
                    <a:pt x="807" y="175"/>
                  </a:lnTo>
                  <a:lnTo>
                    <a:pt x="809" y="175"/>
                  </a:lnTo>
                  <a:lnTo>
                    <a:pt x="810" y="175"/>
                  </a:lnTo>
                  <a:lnTo>
                    <a:pt x="810" y="175"/>
                  </a:lnTo>
                  <a:lnTo>
                    <a:pt x="811" y="175"/>
                  </a:lnTo>
                  <a:lnTo>
                    <a:pt x="811" y="174"/>
                  </a:lnTo>
                  <a:lnTo>
                    <a:pt x="812" y="175"/>
                  </a:lnTo>
                  <a:lnTo>
                    <a:pt x="814" y="175"/>
                  </a:lnTo>
                  <a:lnTo>
                    <a:pt x="814" y="175"/>
                  </a:lnTo>
                  <a:lnTo>
                    <a:pt x="815" y="175"/>
                  </a:lnTo>
                  <a:lnTo>
                    <a:pt x="815" y="174"/>
                  </a:lnTo>
                  <a:lnTo>
                    <a:pt x="816" y="175"/>
                  </a:lnTo>
                  <a:lnTo>
                    <a:pt x="816" y="175"/>
                  </a:lnTo>
                  <a:lnTo>
                    <a:pt x="817" y="174"/>
                  </a:lnTo>
                  <a:lnTo>
                    <a:pt x="817" y="174"/>
                  </a:lnTo>
                  <a:close/>
                  <a:moveTo>
                    <a:pt x="880" y="159"/>
                  </a:moveTo>
                  <a:lnTo>
                    <a:pt x="883" y="159"/>
                  </a:lnTo>
                  <a:lnTo>
                    <a:pt x="883" y="160"/>
                  </a:lnTo>
                  <a:lnTo>
                    <a:pt x="882" y="160"/>
                  </a:lnTo>
                  <a:lnTo>
                    <a:pt x="882" y="160"/>
                  </a:lnTo>
                  <a:lnTo>
                    <a:pt x="880" y="159"/>
                  </a:lnTo>
                  <a:close/>
                  <a:moveTo>
                    <a:pt x="125" y="159"/>
                  </a:moveTo>
                  <a:lnTo>
                    <a:pt x="125" y="160"/>
                  </a:lnTo>
                  <a:lnTo>
                    <a:pt x="124" y="162"/>
                  </a:lnTo>
                  <a:lnTo>
                    <a:pt x="124" y="162"/>
                  </a:lnTo>
                  <a:lnTo>
                    <a:pt x="123" y="162"/>
                  </a:lnTo>
                  <a:lnTo>
                    <a:pt x="124" y="160"/>
                  </a:lnTo>
                  <a:lnTo>
                    <a:pt x="125" y="159"/>
                  </a:lnTo>
                  <a:close/>
                  <a:moveTo>
                    <a:pt x="762" y="148"/>
                  </a:moveTo>
                  <a:lnTo>
                    <a:pt x="765" y="148"/>
                  </a:lnTo>
                  <a:lnTo>
                    <a:pt x="765" y="151"/>
                  </a:lnTo>
                  <a:lnTo>
                    <a:pt x="766" y="151"/>
                  </a:lnTo>
                  <a:lnTo>
                    <a:pt x="766" y="152"/>
                  </a:lnTo>
                  <a:lnTo>
                    <a:pt x="766" y="154"/>
                  </a:lnTo>
                  <a:lnTo>
                    <a:pt x="767" y="155"/>
                  </a:lnTo>
                  <a:lnTo>
                    <a:pt x="767" y="156"/>
                  </a:lnTo>
                  <a:lnTo>
                    <a:pt x="767" y="156"/>
                  </a:lnTo>
                  <a:lnTo>
                    <a:pt x="766" y="156"/>
                  </a:lnTo>
                  <a:lnTo>
                    <a:pt x="766" y="156"/>
                  </a:lnTo>
                  <a:lnTo>
                    <a:pt x="767" y="156"/>
                  </a:lnTo>
                  <a:lnTo>
                    <a:pt x="767" y="159"/>
                  </a:lnTo>
                  <a:lnTo>
                    <a:pt x="766" y="160"/>
                  </a:lnTo>
                  <a:lnTo>
                    <a:pt x="766" y="162"/>
                  </a:lnTo>
                  <a:lnTo>
                    <a:pt x="766" y="162"/>
                  </a:lnTo>
                  <a:lnTo>
                    <a:pt x="767" y="162"/>
                  </a:lnTo>
                  <a:lnTo>
                    <a:pt x="766" y="163"/>
                  </a:lnTo>
                  <a:lnTo>
                    <a:pt x="766" y="164"/>
                  </a:lnTo>
                  <a:lnTo>
                    <a:pt x="766" y="165"/>
                  </a:lnTo>
                  <a:lnTo>
                    <a:pt x="765" y="166"/>
                  </a:lnTo>
                  <a:lnTo>
                    <a:pt x="764" y="165"/>
                  </a:lnTo>
                  <a:lnTo>
                    <a:pt x="763" y="165"/>
                  </a:lnTo>
                  <a:lnTo>
                    <a:pt x="763" y="166"/>
                  </a:lnTo>
                  <a:lnTo>
                    <a:pt x="764" y="166"/>
                  </a:lnTo>
                  <a:lnTo>
                    <a:pt x="764" y="167"/>
                  </a:lnTo>
                  <a:lnTo>
                    <a:pt x="764" y="167"/>
                  </a:lnTo>
                  <a:lnTo>
                    <a:pt x="764" y="166"/>
                  </a:lnTo>
                  <a:lnTo>
                    <a:pt x="763" y="167"/>
                  </a:lnTo>
                  <a:lnTo>
                    <a:pt x="762" y="167"/>
                  </a:lnTo>
                  <a:lnTo>
                    <a:pt x="760" y="167"/>
                  </a:lnTo>
                  <a:lnTo>
                    <a:pt x="760" y="166"/>
                  </a:lnTo>
                  <a:lnTo>
                    <a:pt x="760" y="166"/>
                  </a:lnTo>
                  <a:lnTo>
                    <a:pt x="759" y="166"/>
                  </a:lnTo>
                  <a:lnTo>
                    <a:pt x="759" y="166"/>
                  </a:lnTo>
                  <a:lnTo>
                    <a:pt x="758" y="165"/>
                  </a:lnTo>
                  <a:lnTo>
                    <a:pt x="758" y="159"/>
                  </a:lnTo>
                  <a:lnTo>
                    <a:pt x="759" y="158"/>
                  </a:lnTo>
                  <a:lnTo>
                    <a:pt x="759" y="158"/>
                  </a:lnTo>
                  <a:lnTo>
                    <a:pt x="758" y="157"/>
                  </a:lnTo>
                  <a:lnTo>
                    <a:pt x="758" y="156"/>
                  </a:lnTo>
                  <a:lnTo>
                    <a:pt x="759" y="156"/>
                  </a:lnTo>
                  <a:lnTo>
                    <a:pt x="759" y="155"/>
                  </a:lnTo>
                  <a:lnTo>
                    <a:pt x="759" y="154"/>
                  </a:lnTo>
                  <a:lnTo>
                    <a:pt x="758" y="154"/>
                  </a:lnTo>
                  <a:lnTo>
                    <a:pt x="758" y="152"/>
                  </a:lnTo>
                  <a:lnTo>
                    <a:pt x="757" y="152"/>
                  </a:lnTo>
                  <a:lnTo>
                    <a:pt x="757" y="152"/>
                  </a:lnTo>
                  <a:lnTo>
                    <a:pt x="757" y="151"/>
                  </a:lnTo>
                  <a:lnTo>
                    <a:pt x="757" y="151"/>
                  </a:lnTo>
                  <a:lnTo>
                    <a:pt x="757" y="149"/>
                  </a:lnTo>
                  <a:lnTo>
                    <a:pt x="757" y="149"/>
                  </a:lnTo>
                  <a:lnTo>
                    <a:pt x="758" y="150"/>
                  </a:lnTo>
                  <a:lnTo>
                    <a:pt x="758" y="150"/>
                  </a:lnTo>
                  <a:lnTo>
                    <a:pt x="760" y="149"/>
                  </a:lnTo>
                  <a:lnTo>
                    <a:pt x="760" y="149"/>
                  </a:lnTo>
                  <a:lnTo>
                    <a:pt x="760" y="148"/>
                  </a:lnTo>
                  <a:lnTo>
                    <a:pt x="762" y="148"/>
                  </a:lnTo>
                  <a:close/>
                  <a:moveTo>
                    <a:pt x="718" y="137"/>
                  </a:moveTo>
                  <a:lnTo>
                    <a:pt x="718" y="137"/>
                  </a:lnTo>
                  <a:lnTo>
                    <a:pt x="718" y="137"/>
                  </a:lnTo>
                  <a:lnTo>
                    <a:pt x="718" y="137"/>
                  </a:lnTo>
                  <a:lnTo>
                    <a:pt x="718" y="137"/>
                  </a:lnTo>
                  <a:close/>
                  <a:moveTo>
                    <a:pt x="763" y="130"/>
                  </a:moveTo>
                  <a:lnTo>
                    <a:pt x="764" y="132"/>
                  </a:lnTo>
                  <a:lnTo>
                    <a:pt x="764" y="134"/>
                  </a:lnTo>
                  <a:lnTo>
                    <a:pt x="764" y="137"/>
                  </a:lnTo>
                  <a:lnTo>
                    <a:pt x="765" y="138"/>
                  </a:lnTo>
                  <a:lnTo>
                    <a:pt x="765" y="141"/>
                  </a:lnTo>
                  <a:lnTo>
                    <a:pt x="764" y="142"/>
                  </a:lnTo>
                  <a:lnTo>
                    <a:pt x="764" y="145"/>
                  </a:lnTo>
                  <a:lnTo>
                    <a:pt x="763" y="147"/>
                  </a:lnTo>
                  <a:lnTo>
                    <a:pt x="762" y="145"/>
                  </a:lnTo>
                  <a:lnTo>
                    <a:pt x="762" y="145"/>
                  </a:lnTo>
                  <a:lnTo>
                    <a:pt x="760" y="144"/>
                  </a:lnTo>
                  <a:lnTo>
                    <a:pt x="760" y="144"/>
                  </a:lnTo>
                  <a:lnTo>
                    <a:pt x="759" y="144"/>
                  </a:lnTo>
                  <a:lnTo>
                    <a:pt x="759" y="144"/>
                  </a:lnTo>
                  <a:lnTo>
                    <a:pt x="759" y="143"/>
                  </a:lnTo>
                  <a:lnTo>
                    <a:pt x="759" y="143"/>
                  </a:lnTo>
                  <a:lnTo>
                    <a:pt x="758" y="142"/>
                  </a:lnTo>
                  <a:lnTo>
                    <a:pt x="758" y="142"/>
                  </a:lnTo>
                  <a:lnTo>
                    <a:pt x="757" y="141"/>
                  </a:lnTo>
                  <a:lnTo>
                    <a:pt x="758" y="140"/>
                  </a:lnTo>
                  <a:lnTo>
                    <a:pt x="758" y="140"/>
                  </a:lnTo>
                  <a:lnTo>
                    <a:pt x="758" y="138"/>
                  </a:lnTo>
                  <a:lnTo>
                    <a:pt x="757" y="138"/>
                  </a:lnTo>
                  <a:lnTo>
                    <a:pt x="757" y="137"/>
                  </a:lnTo>
                  <a:lnTo>
                    <a:pt x="757" y="137"/>
                  </a:lnTo>
                  <a:lnTo>
                    <a:pt x="757" y="137"/>
                  </a:lnTo>
                  <a:lnTo>
                    <a:pt x="758" y="135"/>
                  </a:lnTo>
                  <a:lnTo>
                    <a:pt x="758" y="135"/>
                  </a:lnTo>
                  <a:lnTo>
                    <a:pt x="758" y="134"/>
                  </a:lnTo>
                  <a:lnTo>
                    <a:pt x="759" y="134"/>
                  </a:lnTo>
                  <a:lnTo>
                    <a:pt x="759" y="134"/>
                  </a:lnTo>
                  <a:lnTo>
                    <a:pt x="760" y="134"/>
                  </a:lnTo>
                  <a:lnTo>
                    <a:pt x="760" y="133"/>
                  </a:lnTo>
                  <a:lnTo>
                    <a:pt x="762" y="133"/>
                  </a:lnTo>
                  <a:lnTo>
                    <a:pt x="762" y="132"/>
                  </a:lnTo>
                  <a:lnTo>
                    <a:pt x="763" y="130"/>
                  </a:lnTo>
                  <a:lnTo>
                    <a:pt x="763" y="130"/>
                  </a:lnTo>
                  <a:close/>
                  <a:moveTo>
                    <a:pt x="937" y="103"/>
                  </a:moveTo>
                  <a:lnTo>
                    <a:pt x="938" y="104"/>
                  </a:lnTo>
                  <a:lnTo>
                    <a:pt x="937" y="104"/>
                  </a:lnTo>
                  <a:lnTo>
                    <a:pt x="937" y="103"/>
                  </a:lnTo>
                  <a:lnTo>
                    <a:pt x="937" y="103"/>
                  </a:lnTo>
                  <a:close/>
                  <a:moveTo>
                    <a:pt x="272" y="78"/>
                  </a:moveTo>
                  <a:lnTo>
                    <a:pt x="272" y="80"/>
                  </a:lnTo>
                  <a:lnTo>
                    <a:pt x="272" y="80"/>
                  </a:lnTo>
                  <a:lnTo>
                    <a:pt x="272" y="78"/>
                  </a:lnTo>
                  <a:close/>
                  <a:moveTo>
                    <a:pt x="271" y="77"/>
                  </a:moveTo>
                  <a:lnTo>
                    <a:pt x="271" y="78"/>
                  </a:lnTo>
                  <a:lnTo>
                    <a:pt x="271" y="80"/>
                  </a:lnTo>
                  <a:lnTo>
                    <a:pt x="272" y="80"/>
                  </a:lnTo>
                  <a:lnTo>
                    <a:pt x="272" y="80"/>
                  </a:lnTo>
                  <a:lnTo>
                    <a:pt x="271" y="81"/>
                  </a:lnTo>
                  <a:lnTo>
                    <a:pt x="271" y="81"/>
                  </a:lnTo>
                  <a:lnTo>
                    <a:pt x="272" y="81"/>
                  </a:lnTo>
                  <a:lnTo>
                    <a:pt x="273" y="82"/>
                  </a:lnTo>
                  <a:lnTo>
                    <a:pt x="273" y="82"/>
                  </a:lnTo>
                  <a:lnTo>
                    <a:pt x="274" y="83"/>
                  </a:lnTo>
                  <a:lnTo>
                    <a:pt x="273" y="83"/>
                  </a:lnTo>
                  <a:lnTo>
                    <a:pt x="273" y="83"/>
                  </a:lnTo>
                  <a:lnTo>
                    <a:pt x="274" y="84"/>
                  </a:lnTo>
                  <a:lnTo>
                    <a:pt x="274" y="84"/>
                  </a:lnTo>
                  <a:lnTo>
                    <a:pt x="274" y="84"/>
                  </a:lnTo>
                  <a:lnTo>
                    <a:pt x="273" y="85"/>
                  </a:lnTo>
                  <a:lnTo>
                    <a:pt x="272" y="85"/>
                  </a:lnTo>
                  <a:lnTo>
                    <a:pt x="271" y="87"/>
                  </a:lnTo>
                  <a:lnTo>
                    <a:pt x="271" y="87"/>
                  </a:lnTo>
                  <a:lnTo>
                    <a:pt x="269" y="85"/>
                  </a:lnTo>
                  <a:lnTo>
                    <a:pt x="267" y="85"/>
                  </a:lnTo>
                  <a:lnTo>
                    <a:pt x="266" y="87"/>
                  </a:lnTo>
                  <a:lnTo>
                    <a:pt x="265" y="87"/>
                  </a:lnTo>
                  <a:lnTo>
                    <a:pt x="265" y="87"/>
                  </a:lnTo>
                  <a:lnTo>
                    <a:pt x="264" y="87"/>
                  </a:lnTo>
                  <a:lnTo>
                    <a:pt x="264" y="88"/>
                  </a:lnTo>
                  <a:lnTo>
                    <a:pt x="264" y="87"/>
                  </a:lnTo>
                  <a:lnTo>
                    <a:pt x="264" y="85"/>
                  </a:lnTo>
                  <a:lnTo>
                    <a:pt x="264" y="84"/>
                  </a:lnTo>
                  <a:lnTo>
                    <a:pt x="264" y="83"/>
                  </a:lnTo>
                  <a:lnTo>
                    <a:pt x="265" y="83"/>
                  </a:lnTo>
                  <a:lnTo>
                    <a:pt x="266" y="82"/>
                  </a:lnTo>
                  <a:lnTo>
                    <a:pt x="267" y="80"/>
                  </a:lnTo>
                  <a:lnTo>
                    <a:pt x="269" y="78"/>
                  </a:lnTo>
                  <a:lnTo>
                    <a:pt x="271" y="77"/>
                  </a:lnTo>
                  <a:close/>
                  <a:moveTo>
                    <a:pt x="244" y="77"/>
                  </a:moveTo>
                  <a:lnTo>
                    <a:pt x="244" y="77"/>
                  </a:lnTo>
                  <a:lnTo>
                    <a:pt x="245" y="78"/>
                  </a:lnTo>
                  <a:lnTo>
                    <a:pt x="247" y="78"/>
                  </a:lnTo>
                  <a:lnTo>
                    <a:pt x="248" y="78"/>
                  </a:lnTo>
                  <a:lnTo>
                    <a:pt x="248" y="80"/>
                  </a:lnTo>
                  <a:lnTo>
                    <a:pt x="248" y="80"/>
                  </a:lnTo>
                  <a:lnTo>
                    <a:pt x="249" y="80"/>
                  </a:lnTo>
                  <a:lnTo>
                    <a:pt x="249" y="80"/>
                  </a:lnTo>
                  <a:lnTo>
                    <a:pt x="249" y="80"/>
                  </a:lnTo>
                  <a:lnTo>
                    <a:pt x="258" y="80"/>
                  </a:lnTo>
                  <a:lnTo>
                    <a:pt x="257" y="81"/>
                  </a:lnTo>
                  <a:lnTo>
                    <a:pt x="256" y="81"/>
                  </a:lnTo>
                  <a:lnTo>
                    <a:pt x="256" y="81"/>
                  </a:lnTo>
                  <a:lnTo>
                    <a:pt x="255" y="81"/>
                  </a:lnTo>
                  <a:lnTo>
                    <a:pt x="255" y="81"/>
                  </a:lnTo>
                  <a:lnTo>
                    <a:pt x="255" y="81"/>
                  </a:lnTo>
                  <a:lnTo>
                    <a:pt x="256" y="82"/>
                  </a:lnTo>
                  <a:lnTo>
                    <a:pt x="256" y="82"/>
                  </a:lnTo>
                  <a:lnTo>
                    <a:pt x="256" y="82"/>
                  </a:lnTo>
                  <a:lnTo>
                    <a:pt x="255" y="83"/>
                  </a:lnTo>
                  <a:lnTo>
                    <a:pt x="254" y="84"/>
                  </a:lnTo>
                  <a:lnTo>
                    <a:pt x="254" y="83"/>
                  </a:lnTo>
                  <a:lnTo>
                    <a:pt x="252" y="83"/>
                  </a:lnTo>
                  <a:lnTo>
                    <a:pt x="252" y="83"/>
                  </a:lnTo>
                  <a:lnTo>
                    <a:pt x="252" y="83"/>
                  </a:lnTo>
                  <a:lnTo>
                    <a:pt x="251" y="82"/>
                  </a:lnTo>
                  <a:lnTo>
                    <a:pt x="251" y="82"/>
                  </a:lnTo>
                  <a:lnTo>
                    <a:pt x="251" y="83"/>
                  </a:lnTo>
                  <a:lnTo>
                    <a:pt x="251" y="83"/>
                  </a:lnTo>
                  <a:lnTo>
                    <a:pt x="251" y="83"/>
                  </a:lnTo>
                  <a:lnTo>
                    <a:pt x="249" y="83"/>
                  </a:lnTo>
                  <a:lnTo>
                    <a:pt x="248" y="83"/>
                  </a:lnTo>
                  <a:lnTo>
                    <a:pt x="247" y="83"/>
                  </a:lnTo>
                  <a:lnTo>
                    <a:pt x="247" y="82"/>
                  </a:lnTo>
                  <a:lnTo>
                    <a:pt x="245" y="81"/>
                  </a:lnTo>
                  <a:lnTo>
                    <a:pt x="244" y="81"/>
                  </a:lnTo>
                  <a:lnTo>
                    <a:pt x="244" y="80"/>
                  </a:lnTo>
                  <a:lnTo>
                    <a:pt x="244" y="80"/>
                  </a:lnTo>
                  <a:lnTo>
                    <a:pt x="245" y="80"/>
                  </a:lnTo>
                  <a:lnTo>
                    <a:pt x="244" y="80"/>
                  </a:lnTo>
                  <a:lnTo>
                    <a:pt x="244" y="81"/>
                  </a:lnTo>
                  <a:lnTo>
                    <a:pt x="244" y="81"/>
                  </a:lnTo>
                  <a:lnTo>
                    <a:pt x="243" y="81"/>
                  </a:lnTo>
                  <a:lnTo>
                    <a:pt x="242" y="80"/>
                  </a:lnTo>
                  <a:lnTo>
                    <a:pt x="243" y="78"/>
                  </a:lnTo>
                  <a:lnTo>
                    <a:pt x="243" y="77"/>
                  </a:lnTo>
                  <a:lnTo>
                    <a:pt x="244" y="77"/>
                  </a:lnTo>
                  <a:close/>
                  <a:moveTo>
                    <a:pt x="330" y="66"/>
                  </a:moveTo>
                  <a:lnTo>
                    <a:pt x="332" y="66"/>
                  </a:lnTo>
                  <a:lnTo>
                    <a:pt x="331" y="67"/>
                  </a:lnTo>
                  <a:lnTo>
                    <a:pt x="330" y="68"/>
                  </a:lnTo>
                  <a:lnTo>
                    <a:pt x="329" y="69"/>
                  </a:lnTo>
                  <a:lnTo>
                    <a:pt x="330" y="69"/>
                  </a:lnTo>
                  <a:lnTo>
                    <a:pt x="330" y="68"/>
                  </a:lnTo>
                  <a:lnTo>
                    <a:pt x="331" y="67"/>
                  </a:lnTo>
                  <a:lnTo>
                    <a:pt x="331" y="67"/>
                  </a:lnTo>
                  <a:lnTo>
                    <a:pt x="332" y="67"/>
                  </a:lnTo>
                  <a:lnTo>
                    <a:pt x="332" y="70"/>
                  </a:lnTo>
                  <a:lnTo>
                    <a:pt x="331" y="73"/>
                  </a:lnTo>
                  <a:lnTo>
                    <a:pt x="330" y="74"/>
                  </a:lnTo>
                  <a:lnTo>
                    <a:pt x="330" y="74"/>
                  </a:lnTo>
                  <a:lnTo>
                    <a:pt x="330" y="75"/>
                  </a:lnTo>
                  <a:lnTo>
                    <a:pt x="329" y="76"/>
                  </a:lnTo>
                  <a:lnTo>
                    <a:pt x="329" y="76"/>
                  </a:lnTo>
                  <a:lnTo>
                    <a:pt x="329" y="76"/>
                  </a:lnTo>
                  <a:lnTo>
                    <a:pt x="327" y="76"/>
                  </a:lnTo>
                  <a:lnTo>
                    <a:pt x="327" y="76"/>
                  </a:lnTo>
                  <a:lnTo>
                    <a:pt x="326" y="76"/>
                  </a:lnTo>
                  <a:lnTo>
                    <a:pt x="325" y="76"/>
                  </a:lnTo>
                  <a:lnTo>
                    <a:pt x="325" y="75"/>
                  </a:lnTo>
                  <a:lnTo>
                    <a:pt x="325" y="74"/>
                  </a:lnTo>
                  <a:lnTo>
                    <a:pt x="325" y="74"/>
                  </a:lnTo>
                  <a:lnTo>
                    <a:pt x="326" y="73"/>
                  </a:lnTo>
                  <a:lnTo>
                    <a:pt x="326" y="72"/>
                  </a:lnTo>
                  <a:lnTo>
                    <a:pt x="325" y="72"/>
                  </a:lnTo>
                  <a:lnTo>
                    <a:pt x="325" y="73"/>
                  </a:lnTo>
                  <a:lnTo>
                    <a:pt x="325" y="74"/>
                  </a:lnTo>
                  <a:lnTo>
                    <a:pt x="323" y="75"/>
                  </a:lnTo>
                  <a:lnTo>
                    <a:pt x="322" y="76"/>
                  </a:lnTo>
                  <a:lnTo>
                    <a:pt x="322" y="76"/>
                  </a:lnTo>
                  <a:lnTo>
                    <a:pt x="322" y="76"/>
                  </a:lnTo>
                  <a:lnTo>
                    <a:pt x="322" y="74"/>
                  </a:lnTo>
                  <a:lnTo>
                    <a:pt x="322" y="73"/>
                  </a:lnTo>
                  <a:lnTo>
                    <a:pt x="323" y="70"/>
                  </a:lnTo>
                  <a:lnTo>
                    <a:pt x="323" y="69"/>
                  </a:lnTo>
                  <a:lnTo>
                    <a:pt x="324" y="68"/>
                  </a:lnTo>
                  <a:lnTo>
                    <a:pt x="325" y="68"/>
                  </a:lnTo>
                  <a:lnTo>
                    <a:pt x="326" y="67"/>
                  </a:lnTo>
                  <a:lnTo>
                    <a:pt x="327" y="67"/>
                  </a:lnTo>
                  <a:lnTo>
                    <a:pt x="329" y="67"/>
                  </a:lnTo>
                  <a:lnTo>
                    <a:pt x="330" y="66"/>
                  </a:lnTo>
                  <a:lnTo>
                    <a:pt x="330" y="66"/>
                  </a:lnTo>
                  <a:close/>
                  <a:moveTo>
                    <a:pt x="289" y="62"/>
                  </a:moveTo>
                  <a:lnTo>
                    <a:pt x="289" y="63"/>
                  </a:lnTo>
                  <a:lnTo>
                    <a:pt x="288" y="63"/>
                  </a:lnTo>
                  <a:lnTo>
                    <a:pt x="288" y="63"/>
                  </a:lnTo>
                  <a:lnTo>
                    <a:pt x="287" y="65"/>
                  </a:lnTo>
                  <a:lnTo>
                    <a:pt x="287" y="65"/>
                  </a:lnTo>
                  <a:lnTo>
                    <a:pt x="286" y="63"/>
                  </a:lnTo>
                  <a:lnTo>
                    <a:pt x="287" y="63"/>
                  </a:lnTo>
                  <a:lnTo>
                    <a:pt x="287" y="63"/>
                  </a:lnTo>
                  <a:lnTo>
                    <a:pt x="287" y="63"/>
                  </a:lnTo>
                  <a:lnTo>
                    <a:pt x="288" y="62"/>
                  </a:lnTo>
                  <a:lnTo>
                    <a:pt x="289" y="62"/>
                  </a:lnTo>
                  <a:close/>
                  <a:moveTo>
                    <a:pt x="621" y="54"/>
                  </a:moveTo>
                  <a:lnTo>
                    <a:pt x="621" y="54"/>
                  </a:lnTo>
                  <a:lnTo>
                    <a:pt x="621" y="54"/>
                  </a:lnTo>
                  <a:lnTo>
                    <a:pt x="621" y="54"/>
                  </a:lnTo>
                  <a:close/>
                  <a:moveTo>
                    <a:pt x="622" y="54"/>
                  </a:moveTo>
                  <a:lnTo>
                    <a:pt x="622" y="54"/>
                  </a:lnTo>
                  <a:lnTo>
                    <a:pt x="621" y="54"/>
                  </a:lnTo>
                  <a:lnTo>
                    <a:pt x="622" y="54"/>
                  </a:lnTo>
                  <a:close/>
                  <a:moveTo>
                    <a:pt x="622" y="53"/>
                  </a:moveTo>
                  <a:lnTo>
                    <a:pt x="622" y="54"/>
                  </a:lnTo>
                  <a:lnTo>
                    <a:pt x="622" y="53"/>
                  </a:lnTo>
                  <a:lnTo>
                    <a:pt x="622" y="53"/>
                  </a:lnTo>
                  <a:close/>
                  <a:moveTo>
                    <a:pt x="618" y="48"/>
                  </a:moveTo>
                  <a:lnTo>
                    <a:pt x="618" y="48"/>
                  </a:lnTo>
                  <a:lnTo>
                    <a:pt x="618" y="48"/>
                  </a:lnTo>
                  <a:lnTo>
                    <a:pt x="617" y="48"/>
                  </a:lnTo>
                  <a:lnTo>
                    <a:pt x="617" y="48"/>
                  </a:lnTo>
                  <a:lnTo>
                    <a:pt x="618" y="48"/>
                  </a:lnTo>
                  <a:close/>
                  <a:moveTo>
                    <a:pt x="616" y="48"/>
                  </a:moveTo>
                  <a:lnTo>
                    <a:pt x="617" y="48"/>
                  </a:lnTo>
                  <a:lnTo>
                    <a:pt x="617" y="48"/>
                  </a:lnTo>
                  <a:lnTo>
                    <a:pt x="617" y="48"/>
                  </a:lnTo>
                  <a:lnTo>
                    <a:pt x="616" y="48"/>
                  </a:lnTo>
                  <a:lnTo>
                    <a:pt x="616" y="48"/>
                  </a:lnTo>
                  <a:close/>
                  <a:moveTo>
                    <a:pt x="621" y="47"/>
                  </a:moveTo>
                  <a:lnTo>
                    <a:pt x="621" y="47"/>
                  </a:lnTo>
                  <a:lnTo>
                    <a:pt x="622" y="47"/>
                  </a:lnTo>
                  <a:lnTo>
                    <a:pt x="622" y="48"/>
                  </a:lnTo>
                  <a:lnTo>
                    <a:pt x="620" y="48"/>
                  </a:lnTo>
                  <a:lnTo>
                    <a:pt x="621" y="47"/>
                  </a:lnTo>
                  <a:close/>
                  <a:moveTo>
                    <a:pt x="623" y="44"/>
                  </a:moveTo>
                  <a:lnTo>
                    <a:pt x="623" y="45"/>
                  </a:lnTo>
                  <a:lnTo>
                    <a:pt x="622" y="45"/>
                  </a:lnTo>
                  <a:lnTo>
                    <a:pt x="623" y="44"/>
                  </a:lnTo>
                  <a:lnTo>
                    <a:pt x="623" y="44"/>
                  </a:lnTo>
                  <a:lnTo>
                    <a:pt x="623" y="44"/>
                  </a:lnTo>
                  <a:close/>
                  <a:moveTo>
                    <a:pt x="629" y="44"/>
                  </a:moveTo>
                  <a:lnTo>
                    <a:pt x="628" y="44"/>
                  </a:lnTo>
                  <a:lnTo>
                    <a:pt x="628" y="45"/>
                  </a:lnTo>
                  <a:lnTo>
                    <a:pt x="625" y="45"/>
                  </a:lnTo>
                  <a:lnTo>
                    <a:pt x="625" y="45"/>
                  </a:lnTo>
                  <a:lnTo>
                    <a:pt x="626" y="45"/>
                  </a:lnTo>
                  <a:lnTo>
                    <a:pt x="626" y="45"/>
                  </a:lnTo>
                  <a:lnTo>
                    <a:pt x="628" y="45"/>
                  </a:lnTo>
                  <a:lnTo>
                    <a:pt x="629" y="45"/>
                  </a:lnTo>
                  <a:lnTo>
                    <a:pt x="629" y="44"/>
                  </a:lnTo>
                  <a:lnTo>
                    <a:pt x="629" y="44"/>
                  </a:lnTo>
                  <a:close/>
                  <a:moveTo>
                    <a:pt x="620" y="38"/>
                  </a:moveTo>
                  <a:lnTo>
                    <a:pt x="622" y="38"/>
                  </a:lnTo>
                  <a:lnTo>
                    <a:pt x="622" y="38"/>
                  </a:lnTo>
                  <a:lnTo>
                    <a:pt x="621" y="38"/>
                  </a:lnTo>
                  <a:lnTo>
                    <a:pt x="621" y="38"/>
                  </a:lnTo>
                  <a:lnTo>
                    <a:pt x="620" y="38"/>
                  </a:lnTo>
                  <a:close/>
                  <a:moveTo>
                    <a:pt x="830" y="36"/>
                  </a:moveTo>
                  <a:lnTo>
                    <a:pt x="832" y="36"/>
                  </a:lnTo>
                  <a:lnTo>
                    <a:pt x="831" y="37"/>
                  </a:lnTo>
                  <a:lnTo>
                    <a:pt x="830" y="37"/>
                  </a:lnTo>
                  <a:lnTo>
                    <a:pt x="830" y="38"/>
                  </a:lnTo>
                  <a:lnTo>
                    <a:pt x="830" y="38"/>
                  </a:lnTo>
                  <a:lnTo>
                    <a:pt x="830" y="36"/>
                  </a:lnTo>
                  <a:close/>
                  <a:moveTo>
                    <a:pt x="317" y="36"/>
                  </a:moveTo>
                  <a:lnTo>
                    <a:pt x="322" y="36"/>
                  </a:lnTo>
                  <a:lnTo>
                    <a:pt x="322" y="37"/>
                  </a:lnTo>
                  <a:lnTo>
                    <a:pt x="322" y="37"/>
                  </a:lnTo>
                  <a:lnTo>
                    <a:pt x="322" y="36"/>
                  </a:lnTo>
                  <a:lnTo>
                    <a:pt x="322" y="36"/>
                  </a:lnTo>
                  <a:lnTo>
                    <a:pt x="325" y="36"/>
                  </a:lnTo>
                  <a:lnTo>
                    <a:pt x="324" y="37"/>
                  </a:lnTo>
                  <a:lnTo>
                    <a:pt x="324" y="37"/>
                  </a:lnTo>
                  <a:lnTo>
                    <a:pt x="323" y="38"/>
                  </a:lnTo>
                  <a:lnTo>
                    <a:pt x="322" y="38"/>
                  </a:lnTo>
                  <a:lnTo>
                    <a:pt x="322" y="39"/>
                  </a:lnTo>
                  <a:lnTo>
                    <a:pt x="323" y="39"/>
                  </a:lnTo>
                  <a:lnTo>
                    <a:pt x="322" y="41"/>
                  </a:lnTo>
                  <a:lnTo>
                    <a:pt x="322" y="43"/>
                  </a:lnTo>
                  <a:lnTo>
                    <a:pt x="322" y="43"/>
                  </a:lnTo>
                  <a:lnTo>
                    <a:pt x="321" y="43"/>
                  </a:lnTo>
                  <a:lnTo>
                    <a:pt x="319" y="44"/>
                  </a:lnTo>
                  <a:lnTo>
                    <a:pt x="318" y="44"/>
                  </a:lnTo>
                  <a:lnTo>
                    <a:pt x="317" y="43"/>
                  </a:lnTo>
                  <a:lnTo>
                    <a:pt x="317" y="44"/>
                  </a:lnTo>
                  <a:lnTo>
                    <a:pt x="317" y="45"/>
                  </a:lnTo>
                  <a:lnTo>
                    <a:pt x="317" y="46"/>
                  </a:lnTo>
                  <a:lnTo>
                    <a:pt x="316" y="46"/>
                  </a:lnTo>
                  <a:lnTo>
                    <a:pt x="315" y="46"/>
                  </a:lnTo>
                  <a:lnTo>
                    <a:pt x="315" y="46"/>
                  </a:lnTo>
                  <a:lnTo>
                    <a:pt x="315" y="46"/>
                  </a:lnTo>
                  <a:lnTo>
                    <a:pt x="315" y="46"/>
                  </a:lnTo>
                  <a:lnTo>
                    <a:pt x="314" y="46"/>
                  </a:lnTo>
                  <a:lnTo>
                    <a:pt x="314" y="47"/>
                  </a:lnTo>
                  <a:lnTo>
                    <a:pt x="312" y="48"/>
                  </a:lnTo>
                  <a:lnTo>
                    <a:pt x="311" y="50"/>
                  </a:lnTo>
                  <a:lnTo>
                    <a:pt x="310" y="50"/>
                  </a:lnTo>
                  <a:lnTo>
                    <a:pt x="312" y="50"/>
                  </a:lnTo>
                  <a:lnTo>
                    <a:pt x="314" y="48"/>
                  </a:lnTo>
                  <a:lnTo>
                    <a:pt x="316" y="46"/>
                  </a:lnTo>
                  <a:lnTo>
                    <a:pt x="317" y="46"/>
                  </a:lnTo>
                  <a:lnTo>
                    <a:pt x="317" y="47"/>
                  </a:lnTo>
                  <a:lnTo>
                    <a:pt x="317" y="48"/>
                  </a:lnTo>
                  <a:lnTo>
                    <a:pt x="319" y="48"/>
                  </a:lnTo>
                  <a:lnTo>
                    <a:pt x="319" y="50"/>
                  </a:lnTo>
                  <a:lnTo>
                    <a:pt x="317" y="50"/>
                  </a:lnTo>
                  <a:lnTo>
                    <a:pt x="316" y="50"/>
                  </a:lnTo>
                  <a:lnTo>
                    <a:pt x="314" y="50"/>
                  </a:lnTo>
                  <a:lnTo>
                    <a:pt x="316" y="50"/>
                  </a:lnTo>
                  <a:lnTo>
                    <a:pt x="317" y="50"/>
                  </a:lnTo>
                  <a:lnTo>
                    <a:pt x="317" y="51"/>
                  </a:lnTo>
                  <a:lnTo>
                    <a:pt x="317" y="52"/>
                  </a:lnTo>
                  <a:lnTo>
                    <a:pt x="317" y="52"/>
                  </a:lnTo>
                  <a:lnTo>
                    <a:pt x="318" y="52"/>
                  </a:lnTo>
                  <a:lnTo>
                    <a:pt x="319" y="52"/>
                  </a:lnTo>
                  <a:lnTo>
                    <a:pt x="319" y="53"/>
                  </a:lnTo>
                  <a:lnTo>
                    <a:pt x="319" y="53"/>
                  </a:lnTo>
                  <a:lnTo>
                    <a:pt x="319" y="53"/>
                  </a:lnTo>
                  <a:lnTo>
                    <a:pt x="319" y="53"/>
                  </a:lnTo>
                  <a:lnTo>
                    <a:pt x="319" y="53"/>
                  </a:lnTo>
                  <a:lnTo>
                    <a:pt x="321" y="53"/>
                  </a:lnTo>
                  <a:lnTo>
                    <a:pt x="321" y="53"/>
                  </a:lnTo>
                  <a:lnTo>
                    <a:pt x="322" y="53"/>
                  </a:lnTo>
                  <a:lnTo>
                    <a:pt x="321" y="54"/>
                  </a:lnTo>
                  <a:lnTo>
                    <a:pt x="321" y="54"/>
                  </a:lnTo>
                  <a:lnTo>
                    <a:pt x="322" y="54"/>
                  </a:lnTo>
                  <a:lnTo>
                    <a:pt x="324" y="54"/>
                  </a:lnTo>
                  <a:lnTo>
                    <a:pt x="325" y="53"/>
                  </a:lnTo>
                  <a:lnTo>
                    <a:pt x="325" y="53"/>
                  </a:lnTo>
                  <a:lnTo>
                    <a:pt x="325" y="54"/>
                  </a:lnTo>
                  <a:lnTo>
                    <a:pt x="325" y="54"/>
                  </a:lnTo>
                  <a:lnTo>
                    <a:pt x="326" y="55"/>
                  </a:lnTo>
                  <a:lnTo>
                    <a:pt x="329" y="54"/>
                  </a:lnTo>
                  <a:lnTo>
                    <a:pt x="330" y="54"/>
                  </a:lnTo>
                  <a:lnTo>
                    <a:pt x="332" y="55"/>
                  </a:lnTo>
                  <a:lnTo>
                    <a:pt x="331" y="55"/>
                  </a:lnTo>
                  <a:lnTo>
                    <a:pt x="330" y="56"/>
                  </a:lnTo>
                  <a:lnTo>
                    <a:pt x="330" y="56"/>
                  </a:lnTo>
                  <a:lnTo>
                    <a:pt x="329" y="56"/>
                  </a:lnTo>
                  <a:lnTo>
                    <a:pt x="329" y="58"/>
                  </a:lnTo>
                  <a:lnTo>
                    <a:pt x="327" y="59"/>
                  </a:lnTo>
                  <a:lnTo>
                    <a:pt x="326" y="59"/>
                  </a:lnTo>
                  <a:lnTo>
                    <a:pt x="332" y="59"/>
                  </a:lnTo>
                  <a:lnTo>
                    <a:pt x="333" y="59"/>
                  </a:lnTo>
                  <a:lnTo>
                    <a:pt x="333" y="59"/>
                  </a:lnTo>
                  <a:lnTo>
                    <a:pt x="333" y="60"/>
                  </a:lnTo>
                  <a:lnTo>
                    <a:pt x="332" y="61"/>
                  </a:lnTo>
                  <a:lnTo>
                    <a:pt x="332" y="61"/>
                  </a:lnTo>
                  <a:lnTo>
                    <a:pt x="332" y="61"/>
                  </a:lnTo>
                  <a:lnTo>
                    <a:pt x="332" y="62"/>
                  </a:lnTo>
                  <a:lnTo>
                    <a:pt x="329" y="62"/>
                  </a:lnTo>
                  <a:lnTo>
                    <a:pt x="327" y="62"/>
                  </a:lnTo>
                  <a:lnTo>
                    <a:pt x="329" y="62"/>
                  </a:lnTo>
                  <a:lnTo>
                    <a:pt x="330" y="63"/>
                  </a:lnTo>
                  <a:lnTo>
                    <a:pt x="330" y="63"/>
                  </a:lnTo>
                  <a:lnTo>
                    <a:pt x="330" y="63"/>
                  </a:lnTo>
                  <a:lnTo>
                    <a:pt x="329" y="65"/>
                  </a:lnTo>
                  <a:lnTo>
                    <a:pt x="327" y="66"/>
                  </a:lnTo>
                  <a:lnTo>
                    <a:pt x="326" y="66"/>
                  </a:lnTo>
                  <a:lnTo>
                    <a:pt x="326" y="66"/>
                  </a:lnTo>
                  <a:lnTo>
                    <a:pt x="326" y="65"/>
                  </a:lnTo>
                  <a:lnTo>
                    <a:pt x="326" y="65"/>
                  </a:lnTo>
                  <a:lnTo>
                    <a:pt x="325" y="65"/>
                  </a:lnTo>
                  <a:lnTo>
                    <a:pt x="325" y="66"/>
                  </a:lnTo>
                  <a:lnTo>
                    <a:pt x="324" y="67"/>
                  </a:lnTo>
                  <a:lnTo>
                    <a:pt x="324" y="67"/>
                  </a:lnTo>
                  <a:lnTo>
                    <a:pt x="323" y="68"/>
                  </a:lnTo>
                  <a:lnTo>
                    <a:pt x="322" y="69"/>
                  </a:lnTo>
                  <a:lnTo>
                    <a:pt x="321" y="69"/>
                  </a:lnTo>
                  <a:lnTo>
                    <a:pt x="321" y="68"/>
                  </a:lnTo>
                  <a:lnTo>
                    <a:pt x="321" y="68"/>
                  </a:lnTo>
                  <a:lnTo>
                    <a:pt x="319" y="69"/>
                  </a:lnTo>
                  <a:lnTo>
                    <a:pt x="318" y="70"/>
                  </a:lnTo>
                  <a:lnTo>
                    <a:pt x="318" y="70"/>
                  </a:lnTo>
                  <a:lnTo>
                    <a:pt x="318" y="72"/>
                  </a:lnTo>
                  <a:lnTo>
                    <a:pt x="317" y="73"/>
                  </a:lnTo>
                  <a:lnTo>
                    <a:pt x="316" y="73"/>
                  </a:lnTo>
                  <a:lnTo>
                    <a:pt x="316" y="73"/>
                  </a:lnTo>
                  <a:lnTo>
                    <a:pt x="316" y="74"/>
                  </a:lnTo>
                  <a:lnTo>
                    <a:pt x="309" y="74"/>
                  </a:lnTo>
                  <a:lnTo>
                    <a:pt x="309" y="73"/>
                  </a:lnTo>
                  <a:lnTo>
                    <a:pt x="310" y="73"/>
                  </a:lnTo>
                  <a:lnTo>
                    <a:pt x="311" y="72"/>
                  </a:lnTo>
                  <a:lnTo>
                    <a:pt x="312" y="72"/>
                  </a:lnTo>
                  <a:lnTo>
                    <a:pt x="312" y="70"/>
                  </a:lnTo>
                  <a:lnTo>
                    <a:pt x="312" y="69"/>
                  </a:lnTo>
                  <a:lnTo>
                    <a:pt x="314" y="69"/>
                  </a:lnTo>
                  <a:lnTo>
                    <a:pt x="315" y="69"/>
                  </a:lnTo>
                  <a:lnTo>
                    <a:pt x="316" y="69"/>
                  </a:lnTo>
                  <a:lnTo>
                    <a:pt x="317" y="68"/>
                  </a:lnTo>
                  <a:lnTo>
                    <a:pt x="316" y="68"/>
                  </a:lnTo>
                  <a:lnTo>
                    <a:pt x="316" y="68"/>
                  </a:lnTo>
                  <a:lnTo>
                    <a:pt x="314" y="69"/>
                  </a:lnTo>
                  <a:lnTo>
                    <a:pt x="314" y="69"/>
                  </a:lnTo>
                  <a:lnTo>
                    <a:pt x="312" y="68"/>
                  </a:lnTo>
                  <a:lnTo>
                    <a:pt x="312" y="68"/>
                  </a:lnTo>
                  <a:lnTo>
                    <a:pt x="312" y="67"/>
                  </a:lnTo>
                  <a:lnTo>
                    <a:pt x="311" y="68"/>
                  </a:lnTo>
                  <a:lnTo>
                    <a:pt x="311" y="68"/>
                  </a:lnTo>
                  <a:lnTo>
                    <a:pt x="310" y="69"/>
                  </a:lnTo>
                  <a:lnTo>
                    <a:pt x="310" y="69"/>
                  </a:lnTo>
                  <a:lnTo>
                    <a:pt x="310" y="69"/>
                  </a:lnTo>
                  <a:lnTo>
                    <a:pt x="310" y="68"/>
                  </a:lnTo>
                  <a:lnTo>
                    <a:pt x="310" y="68"/>
                  </a:lnTo>
                  <a:lnTo>
                    <a:pt x="309" y="67"/>
                  </a:lnTo>
                  <a:lnTo>
                    <a:pt x="308" y="68"/>
                  </a:lnTo>
                  <a:lnTo>
                    <a:pt x="307" y="68"/>
                  </a:lnTo>
                  <a:lnTo>
                    <a:pt x="306" y="68"/>
                  </a:lnTo>
                  <a:lnTo>
                    <a:pt x="306" y="67"/>
                  </a:lnTo>
                  <a:lnTo>
                    <a:pt x="306" y="68"/>
                  </a:lnTo>
                  <a:lnTo>
                    <a:pt x="304" y="68"/>
                  </a:lnTo>
                  <a:lnTo>
                    <a:pt x="304" y="68"/>
                  </a:lnTo>
                  <a:lnTo>
                    <a:pt x="303" y="67"/>
                  </a:lnTo>
                  <a:lnTo>
                    <a:pt x="300" y="69"/>
                  </a:lnTo>
                  <a:lnTo>
                    <a:pt x="299" y="69"/>
                  </a:lnTo>
                  <a:lnTo>
                    <a:pt x="297" y="69"/>
                  </a:lnTo>
                  <a:lnTo>
                    <a:pt x="296" y="69"/>
                  </a:lnTo>
                  <a:lnTo>
                    <a:pt x="295" y="69"/>
                  </a:lnTo>
                  <a:lnTo>
                    <a:pt x="293" y="69"/>
                  </a:lnTo>
                  <a:lnTo>
                    <a:pt x="292" y="69"/>
                  </a:lnTo>
                  <a:lnTo>
                    <a:pt x="292" y="69"/>
                  </a:lnTo>
                  <a:lnTo>
                    <a:pt x="292" y="69"/>
                  </a:lnTo>
                  <a:lnTo>
                    <a:pt x="291" y="69"/>
                  </a:lnTo>
                  <a:lnTo>
                    <a:pt x="289" y="69"/>
                  </a:lnTo>
                  <a:lnTo>
                    <a:pt x="288" y="69"/>
                  </a:lnTo>
                  <a:lnTo>
                    <a:pt x="286" y="70"/>
                  </a:lnTo>
                  <a:lnTo>
                    <a:pt x="285" y="70"/>
                  </a:lnTo>
                  <a:lnTo>
                    <a:pt x="285" y="70"/>
                  </a:lnTo>
                  <a:lnTo>
                    <a:pt x="285" y="70"/>
                  </a:lnTo>
                  <a:lnTo>
                    <a:pt x="284" y="70"/>
                  </a:lnTo>
                  <a:lnTo>
                    <a:pt x="284" y="70"/>
                  </a:lnTo>
                  <a:lnTo>
                    <a:pt x="285" y="69"/>
                  </a:lnTo>
                  <a:lnTo>
                    <a:pt x="285" y="68"/>
                  </a:lnTo>
                  <a:lnTo>
                    <a:pt x="284" y="67"/>
                  </a:lnTo>
                  <a:lnTo>
                    <a:pt x="284" y="67"/>
                  </a:lnTo>
                  <a:lnTo>
                    <a:pt x="285" y="66"/>
                  </a:lnTo>
                  <a:lnTo>
                    <a:pt x="286" y="66"/>
                  </a:lnTo>
                  <a:lnTo>
                    <a:pt x="286" y="65"/>
                  </a:lnTo>
                  <a:lnTo>
                    <a:pt x="287" y="65"/>
                  </a:lnTo>
                  <a:lnTo>
                    <a:pt x="287" y="65"/>
                  </a:lnTo>
                  <a:lnTo>
                    <a:pt x="287" y="65"/>
                  </a:lnTo>
                  <a:lnTo>
                    <a:pt x="288" y="63"/>
                  </a:lnTo>
                  <a:lnTo>
                    <a:pt x="288" y="63"/>
                  </a:lnTo>
                  <a:lnTo>
                    <a:pt x="289" y="63"/>
                  </a:lnTo>
                  <a:lnTo>
                    <a:pt x="291" y="63"/>
                  </a:lnTo>
                  <a:lnTo>
                    <a:pt x="291" y="62"/>
                  </a:lnTo>
                  <a:lnTo>
                    <a:pt x="289" y="62"/>
                  </a:lnTo>
                  <a:lnTo>
                    <a:pt x="292" y="61"/>
                  </a:lnTo>
                  <a:lnTo>
                    <a:pt x="292" y="61"/>
                  </a:lnTo>
                  <a:lnTo>
                    <a:pt x="292" y="60"/>
                  </a:lnTo>
                  <a:lnTo>
                    <a:pt x="293" y="60"/>
                  </a:lnTo>
                  <a:lnTo>
                    <a:pt x="293" y="60"/>
                  </a:lnTo>
                  <a:lnTo>
                    <a:pt x="294" y="59"/>
                  </a:lnTo>
                  <a:lnTo>
                    <a:pt x="295" y="59"/>
                  </a:lnTo>
                  <a:lnTo>
                    <a:pt x="296" y="59"/>
                  </a:lnTo>
                  <a:lnTo>
                    <a:pt x="299" y="59"/>
                  </a:lnTo>
                  <a:lnTo>
                    <a:pt x="297" y="59"/>
                  </a:lnTo>
                  <a:lnTo>
                    <a:pt x="297" y="58"/>
                  </a:lnTo>
                  <a:lnTo>
                    <a:pt x="297" y="56"/>
                  </a:lnTo>
                  <a:lnTo>
                    <a:pt x="296" y="56"/>
                  </a:lnTo>
                  <a:lnTo>
                    <a:pt x="296" y="56"/>
                  </a:lnTo>
                  <a:lnTo>
                    <a:pt x="297" y="56"/>
                  </a:lnTo>
                  <a:lnTo>
                    <a:pt x="297" y="56"/>
                  </a:lnTo>
                  <a:lnTo>
                    <a:pt x="299" y="55"/>
                  </a:lnTo>
                  <a:lnTo>
                    <a:pt x="300" y="54"/>
                  </a:lnTo>
                  <a:lnTo>
                    <a:pt x="300" y="53"/>
                  </a:lnTo>
                  <a:lnTo>
                    <a:pt x="300" y="53"/>
                  </a:lnTo>
                  <a:lnTo>
                    <a:pt x="302" y="53"/>
                  </a:lnTo>
                  <a:lnTo>
                    <a:pt x="303" y="52"/>
                  </a:lnTo>
                  <a:lnTo>
                    <a:pt x="303" y="51"/>
                  </a:lnTo>
                  <a:lnTo>
                    <a:pt x="303" y="50"/>
                  </a:lnTo>
                  <a:lnTo>
                    <a:pt x="303" y="50"/>
                  </a:lnTo>
                  <a:lnTo>
                    <a:pt x="304" y="48"/>
                  </a:lnTo>
                  <a:lnTo>
                    <a:pt x="307" y="46"/>
                  </a:lnTo>
                  <a:lnTo>
                    <a:pt x="308" y="45"/>
                  </a:lnTo>
                  <a:lnTo>
                    <a:pt x="309" y="44"/>
                  </a:lnTo>
                  <a:lnTo>
                    <a:pt x="310" y="43"/>
                  </a:lnTo>
                  <a:lnTo>
                    <a:pt x="311" y="41"/>
                  </a:lnTo>
                  <a:lnTo>
                    <a:pt x="312" y="41"/>
                  </a:lnTo>
                  <a:lnTo>
                    <a:pt x="312" y="40"/>
                  </a:lnTo>
                  <a:lnTo>
                    <a:pt x="312" y="39"/>
                  </a:lnTo>
                  <a:lnTo>
                    <a:pt x="314" y="39"/>
                  </a:lnTo>
                  <a:lnTo>
                    <a:pt x="315" y="38"/>
                  </a:lnTo>
                  <a:lnTo>
                    <a:pt x="316" y="38"/>
                  </a:lnTo>
                  <a:lnTo>
                    <a:pt x="317" y="37"/>
                  </a:lnTo>
                  <a:lnTo>
                    <a:pt x="317" y="36"/>
                  </a:lnTo>
                  <a:close/>
                  <a:moveTo>
                    <a:pt x="655" y="29"/>
                  </a:moveTo>
                  <a:lnTo>
                    <a:pt x="656" y="31"/>
                  </a:lnTo>
                  <a:lnTo>
                    <a:pt x="655" y="30"/>
                  </a:lnTo>
                  <a:lnTo>
                    <a:pt x="654" y="30"/>
                  </a:lnTo>
                  <a:lnTo>
                    <a:pt x="654" y="29"/>
                  </a:lnTo>
                  <a:lnTo>
                    <a:pt x="655" y="29"/>
                  </a:lnTo>
                  <a:close/>
                  <a:moveTo>
                    <a:pt x="757" y="28"/>
                  </a:moveTo>
                  <a:lnTo>
                    <a:pt x="762" y="28"/>
                  </a:lnTo>
                  <a:lnTo>
                    <a:pt x="762" y="28"/>
                  </a:lnTo>
                  <a:lnTo>
                    <a:pt x="762" y="28"/>
                  </a:lnTo>
                  <a:lnTo>
                    <a:pt x="763" y="28"/>
                  </a:lnTo>
                  <a:lnTo>
                    <a:pt x="764" y="28"/>
                  </a:lnTo>
                  <a:lnTo>
                    <a:pt x="764" y="31"/>
                  </a:lnTo>
                  <a:lnTo>
                    <a:pt x="758" y="31"/>
                  </a:lnTo>
                  <a:lnTo>
                    <a:pt x="758" y="30"/>
                  </a:lnTo>
                  <a:lnTo>
                    <a:pt x="757" y="29"/>
                  </a:lnTo>
                  <a:lnTo>
                    <a:pt x="757" y="29"/>
                  </a:lnTo>
                  <a:lnTo>
                    <a:pt x="757" y="29"/>
                  </a:lnTo>
                  <a:lnTo>
                    <a:pt x="756" y="29"/>
                  </a:lnTo>
                  <a:lnTo>
                    <a:pt x="756" y="28"/>
                  </a:lnTo>
                  <a:lnTo>
                    <a:pt x="756" y="28"/>
                  </a:lnTo>
                  <a:lnTo>
                    <a:pt x="757" y="28"/>
                  </a:lnTo>
                  <a:close/>
                  <a:moveTo>
                    <a:pt x="638" y="24"/>
                  </a:moveTo>
                  <a:lnTo>
                    <a:pt x="639" y="25"/>
                  </a:lnTo>
                  <a:lnTo>
                    <a:pt x="639" y="28"/>
                  </a:lnTo>
                  <a:lnTo>
                    <a:pt x="640" y="26"/>
                  </a:lnTo>
                  <a:lnTo>
                    <a:pt x="640" y="25"/>
                  </a:lnTo>
                  <a:lnTo>
                    <a:pt x="639" y="25"/>
                  </a:lnTo>
                  <a:lnTo>
                    <a:pt x="639" y="25"/>
                  </a:lnTo>
                  <a:lnTo>
                    <a:pt x="640" y="25"/>
                  </a:lnTo>
                  <a:lnTo>
                    <a:pt x="640" y="24"/>
                  </a:lnTo>
                  <a:lnTo>
                    <a:pt x="641" y="24"/>
                  </a:lnTo>
                  <a:lnTo>
                    <a:pt x="641" y="25"/>
                  </a:lnTo>
                  <a:lnTo>
                    <a:pt x="643" y="25"/>
                  </a:lnTo>
                  <a:lnTo>
                    <a:pt x="641" y="25"/>
                  </a:lnTo>
                  <a:lnTo>
                    <a:pt x="641" y="26"/>
                  </a:lnTo>
                  <a:lnTo>
                    <a:pt x="641" y="26"/>
                  </a:lnTo>
                  <a:lnTo>
                    <a:pt x="641" y="28"/>
                  </a:lnTo>
                  <a:lnTo>
                    <a:pt x="641" y="28"/>
                  </a:lnTo>
                  <a:lnTo>
                    <a:pt x="641" y="26"/>
                  </a:lnTo>
                  <a:lnTo>
                    <a:pt x="643" y="26"/>
                  </a:lnTo>
                  <a:lnTo>
                    <a:pt x="643" y="25"/>
                  </a:lnTo>
                  <a:lnTo>
                    <a:pt x="648" y="25"/>
                  </a:lnTo>
                  <a:lnTo>
                    <a:pt x="648" y="25"/>
                  </a:lnTo>
                  <a:lnTo>
                    <a:pt x="648" y="26"/>
                  </a:lnTo>
                  <a:lnTo>
                    <a:pt x="650" y="26"/>
                  </a:lnTo>
                  <a:lnTo>
                    <a:pt x="650" y="28"/>
                  </a:lnTo>
                  <a:lnTo>
                    <a:pt x="650" y="29"/>
                  </a:lnTo>
                  <a:lnTo>
                    <a:pt x="651" y="29"/>
                  </a:lnTo>
                  <a:lnTo>
                    <a:pt x="652" y="29"/>
                  </a:lnTo>
                  <a:lnTo>
                    <a:pt x="652" y="29"/>
                  </a:lnTo>
                  <a:lnTo>
                    <a:pt x="652" y="29"/>
                  </a:lnTo>
                  <a:lnTo>
                    <a:pt x="651" y="30"/>
                  </a:lnTo>
                  <a:lnTo>
                    <a:pt x="650" y="31"/>
                  </a:lnTo>
                  <a:lnTo>
                    <a:pt x="652" y="31"/>
                  </a:lnTo>
                  <a:lnTo>
                    <a:pt x="652" y="31"/>
                  </a:lnTo>
                  <a:lnTo>
                    <a:pt x="652" y="32"/>
                  </a:lnTo>
                  <a:lnTo>
                    <a:pt x="652" y="32"/>
                  </a:lnTo>
                  <a:lnTo>
                    <a:pt x="652" y="32"/>
                  </a:lnTo>
                  <a:lnTo>
                    <a:pt x="652" y="33"/>
                  </a:lnTo>
                  <a:lnTo>
                    <a:pt x="651" y="35"/>
                  </a:lnTo>
                  <a:lnTo>
                    <a:pt x="650" y="35"/>
                  </a:lnTo>
                  <a:lnTo>
                    <a:pt x="648" y="36"/>
                  </a:lnTo>
                  <a:lnTo>
                    <a:pt x="648" y="35"/>
                  </a:lnTo>
                  <a:lnTo>
                    <a:pt x="647" y="36"/>
                  </a:lnTo>
                  <a:lnTo>
                    <a:pt x="647" y="36"/>
                  </a:lnTo>
                  <a:lnTo>
                    <a:pt x="646" y="36"/>
                  </a:lnTo>
                  <a:lnTo>
                    <a:pt x="646" y="38"/>
                  </a:lnTo>
                  <a:lnTo>
                    <a:pt x="648" y="39"/>
                  </a:lnTo>
                  <a:lnTo>
                    <a:pt x="647" y="39"/>
                  </a:lnTo>
                  <a:lnTo>
                    <a:pt x="647" y="39"/>
                  </a:lnTo>
                  <a:lnTo>
                    <a:pt x="647" y="40"/>
                  </a:lnTo>
                  <a:lnTo>
                    <a:pt x="648" y="41"/>
                  </a:lnTo>
                  <a:lnTo>
                    <a:pt x="648" y="45"/>
                  </a:lnTo>
                  <a:lnTo>
                    <a:pt x="647" y="46"/>
                  </a:lnTo>
                  <a:lnTo>
                    <a:pt x="647" y="46"/>
                  </a:lnTo>
                  <a:lnTo>
                    <a:pt x="647" y="46"/>
                  </a:lnTo>
                  <a:lnTo>
                    <a:pt x="646" y="46"/>
                  </a:lnTo>
                  <a:lnTo>
                    <a:pt x="646" y="48"/>
                  </a:lnTo>
                  <a:lnTo>
                    <a:pt x="646" y="48"/>
                  </a:lnTo>
                  <a:lnTo>
                    <a:pt x="646" y="48"/>
                  </a:lnTo>
                  <a:lnTo>
                    <a:pt x="646" y="50"/>
                  </a:lnTo>
                  <a:lnTo>
                    <a:pt x="646" y="50"/>
                  </a:lnTo>
                  <a:lnTo>
                    <a:pt x="643" y="50"/>
                  </a:lnTo>
                  <a:lnTo>
                    <a:pt x="643" y="50"/>
                  </a:lnTo>
                  <a:lnTo>
                    <a:pt x="641" y="50"/>
                  </a:lnTo>
                  <a:lnTo>
                    <a:pt x="641" y="50"/>
                  </a:lnTo>
                  <a:lnTo>
                    <a:pt x="641" y="50"/>
                  </a:lnTo>
                  <a:lnTo>
                    <a:pt x="636" y="50"/>
                  </a:lnTo>
                  <a:lnTo>
                    <a:pt x="636" y="50"/>
                  </a:lnTo>
                  <a:lnTo>
                    <a:pt x="636" y="51"/>
                  </a:lnTo>
                  <a:lnTo>
                    <a:pt x="635" y="51"/>
                  </a:lnTo>
                  <a:lnTo>
                    <a:pt x="635" y="52"/>
                  </a:lnTo>
                  <a:lnTo>
                    <a:pt x="632" y="52"/>
                  </a:lnTo>
                  <a:lnTo>
                    <a:pt x="631" y="52"/>
                  </a:lnTo>
                  <a:lnTo>
                    <a:pt x="631" y="52"/>
                  </a:lnTo>
                  <a:lnTo>
                    <a:pt x="631" y="53"/>
                  </a:lnTo>
                  <a:lnTo>
                    <a:pt x="631" y="53"/>
                  </a:lnTo>
                  <a:lnTo>
                    <a:pt x="628" y="53"/>
                  </a:lnTo>
                  <a:lnTo>
                    <a:pt x="626" y="53"/>
                  </a:lnTo>
                  <a:lnTo>
                    <a:pt x="625" y="54"/>
                  </a:lnTo>
                  <a:lnTo>
                    <a:pt x="624" y="54"/>
                  </a:lnTo>
                  <a:lnTo>
                    <a:pt x="623" y="53"/>
                  </a:lnTo>
                  <a:lnTo>
                    <a:pt x="622" y="53"/>
                  </a:lnTo>
                  <a:lnTo>
                    <a:pt x="622" y="53"/>
                  </a:lnTo>
                  <a:lnTo>
                    <a:pt x="622" y="53"/>
                  </a:lnTo>
                  <a:lnTo>
                    <a:pt x="623" y="52"/>
                  </a:lnTo>
                  <a:lnTo>
                    <a:pt x="624" y="52"/>
                  </a:lnTo>
                  <a:lnTo>
                    <a:pt x="623" y="52"/>
                  </a:lnTo>
                  <a:lnTo>
                    <a:pt x="623" y="52"/>
                  </a:lnTo>
                  <a:lnTo>
                    <a:pt x="622" y="52"/>
                  </a:lnTo>
                  <a:lnTo>
                    <a:pt x="621" y="53"/>
                  </a:lnTo>
                  <a:lnTo>
                    <a:pt x="620" y="53"/>
                  </a:lnTo>
                  <a:lnTo>
                    <a:pt x="620" y="53"/>
                  </a:lnTo>
                  <a:lnTo>
                    <a:pt x="618" y="53"/>
                  </a:lnTo>
                  <a:lnTo>
                    <a:pt x="620" y="53"/>
                  </a:lnTo>
                  <a:lnTo>
                    <a:pt x="620" y="52"/>
                  </a:lnTo>
                  <a:lnTo>
                    <a:pt x="620" y="51"/>
                  </a:lnTo>
                  <a:lnTo>
                    <a:pt x="618" y="51"/>
                  </a:lnTo>
                  <a:lnTo>
                    <a:pt x="618" y="51"/>
                  </a:lnTo>
                  <a:lnTo>
                    <a:pt x="618" y="52"/>
                  </a:lnTo>
                  <a:lnTo>
                    <a:pt x="617" y="52"/>
                  </a:lnTo>
                  <a:lnTo>
                    <a:pt x="616" y="51"/>
                  </a:lnTo>
                  <a:lnTo>
                    <a:pt x="616" y="50"/>
                  </a:lnTo>
                  <a:lnTo>
                    <a:pt x="620" y="50"/>
                  </a:lnTo>
                  <a:lnTo>
                    <a:pt x="621" y="48"/>
                  </a:lnTo>
                  <a:lnTo>
                    <a:pt x="622" y="48"/>
                  </a:lnTo>
                  <a:lnTo>
                    <a:pt x="622" y="48"/>
                  </a:lnTo>
                  <a:lnTo>
                    <a:pt x="622" y="48"/>
                  </a:lnTo>
                  <a:lnTo>
                    <a:pt x="622" y="46"/>
                  </a:lnTo>
                  <a:lnTo>
                    <a:pt x="623" y="46"/>
                  </a:lnTo>
                  <a:lnTo>
                    <a:pt x="623" y="45"/>
                  </a:lnTo>
                  <a:lnTo>
                    <a:pt x="623" y="45"/>
                  </a:lnTo>
                  <a:lnTo>
                    <a:pt x="623" y="45"/>
                  </a:lnTo>
                  <a:lnTo>
                    <a:pt x="624" y="44"/>
                  </a:lnTo>
                  <a:lnTo>
                    <a:pt x="625" y="44"/>
                  </a:lnTo>
                  <a:lnTo>
                    <a:pt x="625" y="43"/>
                  </a:lnTo>
                  <a:lnTo>
                    <a:pt x="625" y="43"/>
                  </a:lnTo>
                  <a:lnTo>
                    <a:pt x="625" y="41"/>
                  </a:lnTo>
                  <a:lnTo>
                    <a:pt x="625" y="41"/>
                  </a:lnTo>
                  <a:lnTo>
                    <a:pt x="628" y="41"/>
                  </a:lnTo>
                  <a:lnTo>
                    <a:pt x="628" y="40"/>
                  </a:lnTo>
                  <a:lnTo>
                    <a:pt x="629" y="40"/>
                  </a:lnTo>
                  <a:lnTo>
                    <a:pt x="628" y="39"/>
                  </a:lnTo>
                  <a:lnTo>
                    <a:pt x="628" y="39"/>
                  </a:lnTo>
                  <a:lnTo>
                    <a:pt x="626" y="39"/>
                  </a:lnTo>
                  <a:lnTo>
                    <a:pt x="625" y="40"/>
                  </a:lnTo>
                  <a:lnTo>
                    <a:pt x="625" y="40"/>
                  </a:lnTo>
                  <a:lnTo>
                    <a:pt x="624" y="40"/>
                  </a:lnTo>
                  <a:lnTo>
                    <a:pt x="623" y="39"/>
                  </a:lnTo>
                  <a:lnTo>
                    <a:pt x="622" y="39"/>
                  </a:lnTo>
                  <a:lnTo>
                    <a:pt x="623" y="39"/>
                  </a:lnTo>
                  <a:lnTo>
                    <a:pt x="623" y="38"/>
                  </a:lnTo>
                  <a:lnTo>
                    <a:pt x="623" y="38"/>
                  </a:lnTo>
                  <a:lnTo>
                    <a:pt x="622" y="38"/>
                  </a:lnTo>
                  <a:lnTo>
                    <a:pt x="623" y="38"/>
                  </a:lnTo>
                  <a:lnTo>
                    <a:pt x="623" y="37"/>
                  </a:lnTo>
                  <a:lnTo>
                    <a:pt x="622" y="36"/>
                  </a:lnTo>
                  <a:lnTo>
                    <a:pt x="623" y="36"/>
                  </a:lnTo>
                  <a:lnTo>
                    <a:pt x="623" y="36"/>
                  </a:lnTo>
                  <a:lnTo>
                    <a:pt x="624" y="36"/>
                  </a:lnTo>
                  <a:lnTo>
                    <a:pt x="625" y="36"/>
                  </a:lnTo>
                  <a:lnTo>
                    <a:pt x="624" y="35"/>
                  </a:lnTo>
                  <a:lnTo>
                    <a:pt x="623" y="35"/>
                  </a:lnTo>
                  <a:lnTo>
                    <a:pt x="623" y="33"/>
                  </a:lnTo>
                  <a:lnTo>
                    <a:pt x="623" y="33"/>
                  </a:lnTo>
                  <a:lnTo>
                    <a:pt x="623" y="32"/>
                  </a:lnTo>
                  <a:lnTo>
                    <a:pt x="622" y="32"/>
                  </a:lnTo>
                  <a:lnTo>
                    <a:pt x="623" y="31"/>
                  </a:lnTo>
                  <a:lnTo>
                    <a:pt x="623" y="31"/>
                  </a:lnTo>
                  <a:lnTo>
                    <a:pt x="623" y="31"/>
                  </a:lnTo>
                  <a:lnTo>
                    <a:pt x="623" y="31"/>
                  </a:lnTo>
                  <a:lnTo>
                    <a:pt x="625" y="31"/>
                  </a:lnTo>
                  <a:lnTo>
                    <a:pt x="626" y="31"/>
                  </a:lnTo>
                  <a:lnTo>
                    <a:pt x="626" y="32"/>
                  </a:lnTo>
                  <a:lnTo>
                    <a:pt x="628" y="32"/>
                  </a:lnTo>
                  <a:lnTo>
                    <a:pt x="632" y="32"/>
                  </a:lnTo>
                  <a:lnTo>
                    <a:pt x="631" y="32"/>
                  </a:lnTo>
                  <a:lnTo>
                    <a:pt x="631" y="33"/>
                  </a:lnTo>
                  <a:lnTo>
                    <a:pt x="632" y="33"/>
                  </a:lnTo>
                  <a:lnTo>
                    <a:pt x="632" y="32"/>
                  </a:lnTo>
                  <a:lnTo>
                    <a:pt x="632" y="31"/>
                  </a:lnTo>
                  <a:lnTo>
                    <a:pt x="633" y="31"/>
                  </a:lnTo>
                  <a:lnTo>
                    <a:pt x="633" y="31"/>
                  </a:lnTo>
                  <a:lnTo>
                    <a:pt x="635" y="31"/>
                  </a:lnTo>
                  <a:lnTo>
                    <a:pt x="635" y="30"/>
                  </a:lnTo>
                  <a:lnTo>
                    <a:pt x="635" y="30"/>
                  </a:lnTo>
                  <a:lnTo>
                    <a:pt x="635" y="30"/>
                  </a:lnTo>
                  <a:lnTo>
                    <a:pt x="635" y="30"/>
                  </a:lnTo>
                  <a:lnTo>
                    <a:pt x="635" y="31"/>
                  </a:lnTo>
                  <a:lnTo>
                    <a:pt x="633" y="31"/>
                  </a:lnTo>
                  <a:lnTo>
                    <a:pt x="632" y="30"/>
                  </a:lnTo>
                  <a:lnTo>
                    <a:pt x="631" y="30"/>
                  </a:lnTo>
                  <a:lnTo>
                    <a:pt x="631" y="29"/>
                  </a:lnTo>
                  <a:lnTo>
                    <a:pt x="632" y="29"/>
                  </a:lnTo>
                  <a:lnTo>
                    <a:pt x="632" y="29"/>
                  </a:lnTo>
                  <a:lnTo>
                    <a:pt x="632" y="28"/>
                  </a:lnTo>
                  <a:lnTo>
                    <a:pt x="635" y="28"/>
                  </a:lnTo>
                  <a:lnTo>
                    <a:pt x="635" y="25"/>
                  </a:lnTo>
                  <a:lnTo>
                    <a:pt x="638" y="25"/>
                  </a:lnTo>
                  <a:lnTo>
                    <a:pt x="638" y="25"/>
                  </a:lnTo>
                  <a:lnTo>
                    <a:pt x="638" y="24"/>
                  </a:lnTo>
                  <a:lnTo>
                    <a:pt x="638" y="24"/>
                  </a:lnTo>
                  <a:close/>
                  <a:moveTo>
                    <a:pt x="771" y="22"/>
                  </a:moveTo>
                  <a:lnTo>
                    <a:pt x="774" y="22"/>
                  </a:lnTo>
                  <a:lnTo>
                    <a:pt x="774" y="22"/>
                  </a:lnTo>
                  <a:lnTo>
                    <a:pt x="774" y="22"/>
                  </a:lnTo>
                  <a:lnTo>
                    <a:pt x="774" y="23"/>
                  </a:lnTo>
                  <a:lnTo>
                    <a:pt x="774" y="24"/>
                  </a:lnTo>
                  <a:lnTo>
                    <a:pt x="774" y="24"/>
                  </a:lnTo>
                  <a:lnTo>
                    <a:pt x="774" y="25"/>
                  </a:lnTo>
                  <a:lnTo>
                    <a:pt x="774" y="25"/>
                  </a:lnTo>
                  <a:lnTo>
                    <a:pt x="774" y="25"/>
                  </a:lnTo>
                  <a:lnTo>
                    <a:pt x="773" y="26"/>
                  </a:lnTo>
                  <a:lnTo>
                    <a:pt x="773" y="26"/>
                  </a:lnTo>
                  <a:lnTo>
                    <a:pt x="774" y="28"/>
                  </a:lnTo>
                  <a:lnTo>
                    <a:pt x="774" y="28"/>
                  </a:lnTo>
                  <a:lnTo>
                    <a:pt x="774" y="29"/>
                  </a:lnTo>
                  <a:lnTo>
                    <a:pt x="773" y="29"/>
                  </a:lnTo>
                  <a:lnTo>
                    <a:pt x="772" y="30"/>
                  </a:lnTo>
                  <a:lnTo>
                    <a:pt x="772" y="30"/>
                  </a:lnTo>
                  <a:lnTo>
                    <a:pt x="772" y="31"/>
                  </a:lnTo>
                  <a:lnTo>
                    <a:pt x="773" y="31"/>
                  </a:lnTo>
                  <a:lnTo>
                    <a:pt x="772" y="31"/>
                  </a:lnTo>
                  <a:lnTo>
                    <a:pt x="771" y="31"/>
                  </a:lnTo>
                  <a:lnTo>
                    <a:pt x="770" y="31"/>
                  </a:lnTo>
                  <a:lnTo>
                    <a:pt x="768" y="31"/>
                  </a:lnTo>
                  <a:lnTo>
                    <a:pt x="768" y="31"/>
                  </a:lnTo>
                  <a:lnTo>
                    <a:pt x="768" y="30"/>
                  </a:lnTo>
                  <a:lnTo>
                    <a:pt x="770" y="30"/>
                  </a:lnTo>
                  <a:lnTo>
                    <a:pt x="771" y="29"/>
                  </a:lnTo>
                  <a:lnTo>
                    <a:pt x="770" y="29"/>
                  </a:lnTo>
                  <a:lnTo>
                    <a:pt x="768" y="30"/>
                  </a:lnTo>
                  <a:lnTo>
                    <a:pt x="766" y="30"/>
                  </a:lnTo>
                  <a:lnTo>
                    <a:pt x="765" y="29"/>
                  </a:lnTo>
                  <a:lnTo>
                    <a:pt x="765" y="25"/>
                  </a:lnTo>
                  <a:lnTo>
                    <a:pt x="767" y="25"/>
                  </a:lnTo>
                  <a:lnTo>
                    <a:pt x="768" y="24"/>
                  </a:lnTo>
                  <a:lnTo>
                    <a:pt x="770" y="24"/>
                  </a:lnTo>
                  <a:lnTo>
                    <a:pt x="770" y="24"/>
                  </a:lnTo>
                  <a:lnTo>
                    <a:pt x="768" y="24"/>
                  </a:lnTo>
                  <a:lnTo>
                    <a:pt x="768" y="23"/>
                  </a:lnTo>
                  <a:lnTo>
                    <a:pt x="768" y="23"/>
                  </a:lnTo>
                  <a:lnTo>
                    <a:pt x="768" y="23"/>
                  </a:lnTo>
                  <a:lnTo>
                    <a:pt x="770" y="23"/>
                  </a:lnTo>
                  <a:lnTo>
                    <a:pt x="771" y="24"/>
                  </a:lnTo>
                  <a:lnTo>
                    <a:pt x="771" y="24"/>
                  </a:lnTo>
                  <a:lnTo>
                    <a:pt x="771" y="24"/>
                  </a:lnTo>
                  <a:lnTo>
                    <a:pt x="771" y="24"/>
                  </a:lnTo>
                  <a:lnTo>
                    <a:pt x="772" y="24"/>
                  </a:lnTo>
                  <a:lnTo>
                    <a:pt x="773" y="23"/>
                  </a:lnTo>
                  <a:lnTo>
                    <a:pt x="772" y="23"/>
                  </a:lnTo>
                  <a:lnTo>
                    <a:pt x="772" y="23"/>
                  </a:lnTo>
                  <a:lnTo>
                    <a:pt x="771" y="23"/>
                  </a:lnTo>
                  <a:lnTo>
                    <a:pt x="771" y="22"/>
                  </a:lnTo>
                  <a:close/>
                  <a:moveTo>
                    <a:pt x="652" y="21"/>
                  </a:moveTo>
                  <a:lnTo>
                    <a:pt x="653" y="21"/>
                  </a:lnTo>
                  <a:lnTo>
                    <a:pt x="653" y="22"/>
                  </a:lnTo>
                  <a:lnTo>
                    <a:pt x="653" y="22"/>
                  </a:lnTo>
                  <a:lnTo>
                    <a:pt x="652" y="23"/>
                  </a:lnTo>
                  <a:lnTo>
                    <a:pt x="652" y="24"/>
                  </a:lnTo>
                  <a:lnTo>
                    <a:pt x="652" y="25"/>
                  </a:lnTo>
                  <a:lnTo>
                    <a:pt x="652" y="25"/>
                  </a:lnTo>
                  <a:lnTo>
                    <a:pt x="651" y="25"/>
                  </a:lnTo>
                  <a:lnTo>
                    <a:pt x="651" y="24"/>
                  </a:lnTo>
                  <a:lnTo>
                    <a:pt x="652" y="24"/>
                  </a:lnTo>
                  <a:lnTo>
                    <a:pt x="652" y="23"/>
                  </a:lnTo>
                  <a:lnTo>
                    <a:pt x="652" y="22"/>
                  </a:lnTo>
                  <a:lnTo>
                    <a:pt x="652" y="21"/>
                  </a:lnTo>
                  <a:lnTo>
                    <a:pt x="652" y="21"/>
                  </a:lnTo>
                  <a:close/>
                  <a:moveTo>
                    <a:pt x="651" y="15"/>
                  </a:moveTo>
                  <a:lnTo>
                    <a:pt x="650" y="15"/>
                  </a:lnTo>
                  <a:lnTo>
                    <a:pt x="650" y="15"/>
                  </a:lnTo>
                  <a:lnTo>
                    <a:pt x="650" y="15"/>
                  </a:lnTo>
                  <a:lnTo>
                    <a:pt x="651" y="15"/>
                  </a:lnTo>
                  <a:close/>
                  <a:moveTo>
                    <a:pt x="753" y="14"/>
                  </a:moveTo>
                  <a:lnTo>
                    <a:pt x="753" y="14"/>
                  </a:lnTo>
                  <a:lnTo>
                    <a:pt x="753" y="15"/>
                  </a:lnTo>
                  <a:lnTo>
                    <a:pt x="753" y="15"/>
                  </a:lnTo>
                  <a:lnTo>
                    <a:pt x="753" y="14"/>
                  </a:lnTo>
                  <a:close/>
                  <a:moveTo>
                    <a:pt x="758" y="9"/>
                  </a:moveTo>
                  <a:lnTo>
                    <a:pt x="758" y="10"/>
                  </a:lnTo>
                  <a:lnTo>
                    <a:pt x="758" y="10"/>
                  </a:lnTo>
                  <a:lnTo>
                    <a:pt x="757" y="11"/>
                  </a:lnTo>
                  <a:lnTo>
                    <a:pt x="758" y="11"/>
                  </a:lnTo>
                  <a:lnTo>
                    <a:pt x="758" y="15"/>
                  </a:lnTo>
                  <a:lnTo>
                    <a:pt x="757" y="15"/>
                  </a:lnTo>
                  <a:lnTo>
                    <a:pt x="757" y="15"/>
                  </a:lnTo>
                  <a:lnTo>
                    <a:pt x="757" y="16"/>
                  </a:lnTo>
                  <a:lnTo>
                    <a:pt x="757" y="16"/>
                  </a:lnTo>
                  <a:lnTo>
                    <a:pt x="757" y="15"/>
                  </a:lnTo>
                  <a:lnTo>
                    <a:pt x="756" y="15"/>
                  </a:lnTo>
                  <a:lnTo>
                    <a:pt x="755" y="15"/>
                  </a:lnTo>
                  <a:lnTo>
                    <a:pt x="753" y="13"/>
                  </a:lnTo>
                  <a:lnTo>
                    <a:pt x="753" y="14"/>
                  </a:lnTo>
                  <a:lnTo>
                    <a:pt x="752" y="14"/>
                  </a:lnTo>
                  <a:lnTo>
                    <a:pt x="752" y="15"/>
                  </a:lnTo>
                  <a:lnTo>
                    <a:pt x="751" y="15"/>
                  </a:lnTo>
                  <a:lnTo>
                    <a:pt x="751" y="15"/>
                  </a:lnTo>
                  <a:lnTo>
                    <a:pt x="750" y="14"/>
                  </a:lnTo>
                  <a:lnTo>
                    <a:pt x="750" y="14"/>
                  </a:lnTo>
                  <a:lnTo>
                    <a:pt x="750" y="15"/>
                  </a:lnTo>
                  <a:lnTo>
                    <a:pt x="749" y="15"/>
                  </a:lnTo>
                  <a:lnTo>
                    <a:pt x="749" y="16"/>
                  </a:lnTo>
                  <a:lnTo>
                    <a:pt x="749" y="16"/>
                  </a:lnTo>
                  <a:lnTo>
                    <a:pt x="748" y="16"/>
                  </a:lnTo>
                  <a:lnTo>
                    <a:pt x="749" y="16"/>
                  </a:lnTo>
                  <a:lnTo>
                    <a:pt x="749" y="16"/>
                  </a:lnTo>
                  <a:lnTo>
                    <a:pt x="749" y="17"/>
                  </a:lnTo>
                  <a:lnTo>
                    <a:pt x="749" y="17"/>
                  </a:lnTo>
                  <a:lnTo>
                    <a:pt x="748" y="17"/>
                  </a:lnTo>
                  <a:lnTo>
                    <a:pt x="748" y="15"/>
                  </a:lnTo>
                  <a:lnTo>
                    <a:pt x="748" y="15"/>
                  </a:lnTo>
                  <a:lnTo>
                    <a:pt x="745" y="15"/>
                  </a:lnTo>
                  <a:lnTo>
                    <a:pt x="747" y="15"/>
                  </a:lnTo>
                  <a:lnTo>
                    <a:pt x="747" y="15"/>
                  </a:lnTo>
                  <a:lnTo>
                    <a:pt x="748" y="14"/>
                  </a:lnTo>
                  <a:lnTo>
                    <a:pt x="748" y="13"/>
                  </a:lnTo>
                  <a:lnTo>
                    <a:pt x="750" y="13"/>
                  </a:lnTo>
                  <a:lnTo>
                    <a:pt x="750" y="14"/>
                  </a:lnTo>
                  <a:lnTo>
                    <a:pt x="750" y="14"/>
                  </a:lnTo>
                  <a:lnTo>
                    <a:pt x="751" y="14"/>
                  </a:lnTo>
                  <a:lnTo>
                    <a:pt x="751" y="13"/>
                  </a:lnTo>
                  <a:lnTo>
                    <a:pt x="752" y="13"/>
                  </a:lnTo>
                  <a:lnTo>
                    <a:pt x="753" y="11"/>
                  </a:lnTo>
                  <a:lnTo>
                    <a:pt x="753" y="11"/>
                  </a:lnTo>
                  <a:lnTo>
                    <a:pt x="755" y="11"/>
                  </a:lnTo>
                  <a:lnTo>
                    <a:pt x="756" y="11"/>
                  </a:lnTo>
                  <a:lnTo>
                    <a:pt x="757" y="10"/>
                  </a:lnTo>
                  <a:lnTo>
                    <a:pt x="757" y="10"/>
                  </a:lnTo>
                  <a:lnTo>
                    <a:pt x="758" y="9"/>
                  </a:lnTo>
                  <a:close/>
                  <a:moveTo>
                    <a:pt x="735" y="8"/>
                  </a:moveTo>
                  <a:lnTo>
                    <a:pt x="735" y="8"/>
                  </a:lnTo>
                  <a:lnTo>
                    <a:pt x="734" y="8"/>
                  </a:lnTo>
                  <a:lnTo>
                    <a:pt x="734" y="8"/>
                  </a:lnTo>
                  <a:lnTo>
                    <a:pt x="734" y="8"/>
                  </a:lnTo>
                  <a:lnTo>
                    <a:pt x="735" y="8"/>
                  </a:lnTo>
                  <a:close/>
                  <a:moveTo>
                    <a:pt x="658" y="0"/>
                  </a:moveTo>
                  <a:lnTo>
                    <a:pt x="659" y="0"/>
                  </a:lnTo>
                  <a:lnTo>
                    <a:pt x="659" y="1"/>
                  </a:lnTo>
                  <a:lnTo>
                    <a:pt x="659" y="1"/>
                  </a:lnTo>
                  <a:lnTo>
                    <a:pt x="659" y="1"/>
                  </a:lnTo>
                  <a:lnTo>
                    <a:pt x="659" y="1"/>
                  </a:lnTo>
                  <a:lnTo>
                    <a:pt x="660" y="1"/>
                  </a:lnTo>
                  <a:lnTo>
                    <a:pt x="661" y="1"/>
                  </a:lnTo>
                  <a:lnTo>
                    <a:pt x="661" y="0"/>
                  </a:lnTo>
                  <a:lnTo>
                    <a:pt x="660" y="1"/>
                  </a:lnTo>
                  <a:lnTo>
                    <a:pt x="667" y="1"/>
                  </a:lnTo>
                  <a:lnTo>
                    <a:pt x="668" y="2"/>
                  </a:lnTo>
                  <a:lnTo>
                    <a:pt x="668" y="2"/>
                  </a:lnTo>
                  <a:lnTo>
                    <a:pt x="668" y="2"/>
                  </a:lnTo>
                  <a:lnTo>
                    <a:pt x="667" y="2"/>
                  </a:lnTo>
                  <a:lnTo>
                    <a:pt x="666" y="3"/>
                  </a:lnTo>
                  <a:lnTo>
                    <a:pt x="665" y="5"/>
                  </a:lnTo>
                  <a:lnTo>
                    <a:pt x="665" y="6"/>
                  </a:lnTo>
                  <a:lnTo>
                    <a:pt x="663" y="6"/>
                  </a:lnTo>
                  <a:lnTo>
                    <a:pt x="660" y="6"/>
                  </a:lnTo>
                  <a:lnTo>
                    <a:pt x="661" y="6"/>
                  </a:lnTo>
                  <a:lnTo>
                    <a:pt x="662" y="7"/>
                  </a:lnTo>
                  <a:lnTo>
                    <a:pt x="663" y="7"/>
                  </a:lnTo>
                  <a:lnTo>
                    <a:pt x="663" y="8"/>
                  </a:lnTo>
                  <a:lnTo>
                    <a:pt x="662" y="8"/>
                  </a:lnTo>
                  <a:lnTo>
                    <a:pt x="661" y="9"/>
                  </a:lnTo>
                  <a:lnTo>
                    <a:pt x="661" y="9"/>
                  </a:lnTo>
                  <a:lnTo>
                    <a:pt x="662" y="8"/>
                  </a:lnTo>
                  <a:lnTo>
                    <a:pt x="662" y="8"/>
                  </a:lnTo>
                  <a:lnTo>
                    <a:pt x="663" y="8"/>
                  </a:lnTo>
                  <a:lnTo>
                    <a:pt x="674" y="8"/>
                  </a:lnTo>
                  <a:lnTo>
                    <a:pt x="675" y="8"/>
                  </a:lnTo>
                  <a:lnTo>
                    <a:pt x="675" y="7"/>
                  </a:lnTo>
                  <a:lnTo>
                    <a:pt x="675" y="7"/>
                  </a:lnTo>
                  <a:lnTo>
                    <a:pt x="676" y="6"/>
                  </a:lnTo>
                  <a:lnTo>
                    <a:pt x="680" y="6"/>
                  </a:lnTo>
                  <a:lnTo>
                    <a:pt x="680" y="7"/>
                  </a:lnTo>
                  <a:lnTo>
                    <a:pt x="681" y="7"/>
                  </a:lnTo>
                  <a:lnTo>
                    <a:pt x="681" y="7"/>
                  </a:lnTo>
                  <a:lnTo>
                    <a:pt x="680" y="8"/>
                  </a:lnTo>
                  <a:lnTo>
                    <a:pt x="681" y="8"/>
                  </a:lnTo>
                  <a:lnTo>
                    <a:pt x="681" y="7"/>
                  </a:lnTo>
                  <a:lnTo>
                    <a:pt x="681" y="7"/>
                  </a:lnTo>
                  <a:lnTo>
                    <a:pt x="681" y="7"/>
                  </a:lnTo>
                  <a:lnTo>
                    <a:pt x="681" y="6"/>
                  </a:lnTo>
                  <a:lnTo>
                    <a:pt x="681" y="6"/>
                  </a:lnTo>
                  <a:lnTo>
                    <a:pt x="681" y="6"/>
                  </a:lnTo>
                  <a:lnTo>
                    <a:pt x="682" y="6"/>
                  </a:lnTo>
                  <a:lnTo>
                    <a:pt x="682" y="6"/>
                  </a:lnTo>
                  <a:lnTo>
                    <a:pt x="683" y="6"/>
                  </a:lnTo>
                  <a:lnTo>
                    <a:pt x="682" y="7"/>
                  </a:lnTo>
                  <a:lnTo>
                    <a:pt x="682" y="8"/>
                  </a:lnTo>
                  <a:lnTo>
                    <a:pt x="681" y="8"/>
                  </a:lnTo>
                  <a:lnTo>
                    <a:pt x="681" y="8"/>
                  </a:lnTo>
                  <a:lnTo>
                    <a:pt x="684" y="8"/>
                  </a:lnTo>
                  <a:lnTo>
                    <a:pt x="685" y="7"/>
                  </a:lnTo>
                  <a:lnTo>
                    <a:pt x="685" y="6"/>
                  </a:lnTo>
                  <a:lnTo>
                    <a:pt x="687" y="6"/>
                  </a:lnTo>
                  <a:lnTo>
                    <a:pt x="688" y="7"/>
                  </a:lnTo>
                  <a:lnTo>
                    <a:pt x="689" y="7"/>
                  </a:lnTo>
                  <a:lnTo>
                    <a:pt x="689" y="7"/>
                  </a:lnTo>
                  <a:lnTo>
                    <a:pt x="690" y="6"/>
                  </a:lnTo>
                  <a:lnTo>
                    <a:pt x="690" y="9"/>
                  </a:lnTo>
                  <a:lnTo>
                    <a:pt x="692" y="9"/>
                  </a:lnTo>
                  <a:lnTo>
                    <a:pt x="692" y="11"/>
                  </a:lnTo>
                  <a:lnTo>
                    <a:pt x="693" y="11"/>
                  </a:lnTo>
                  <a:lnTo>
                    <a:pt x="693" y="13"/>
                  </a:lnTo>
                  <a:lnTo>
                    <a:pt x="692" y="14"/>
                  </a:lnTo>
                  <a:lnTo>
                    <a:pt x="692" y="15"/>
                  </a:lnTo>
                  <a:lnTo>
                    <a:pt x="692" y="15"/>
                  </a:lnTo>
                  <a:lnTo>
                    <a:pt x="692" y="15"/>
                  </a:lnTo>
                  <a:lnTo>
                    <a:pt x="690" y="15"/>
                  </a:lnTo>
                  <a:lnTo>
                    <a:pt x="690" y="16"/>
                  </a:lnTo>
                  <a:lnTo>
                    <a:pt x="690" y="16"/>
                  </a:lnTo>
                  <a:lnTo>
                    <a:pt x="689" y="17"/>
                  </a:lnTo>
                  <a:lnTo>
                    <a:pt x="687" y="17"/>
                  </a:lnTo>
                  <a:lnTo>
                    <a:pt x="688" y="17"/>
                  </a:lnTo>
                  <a:lnTo>
                    <a:pt x="688" y="18"/>
                  </a:lnTo>
                  <a:lnTo>
                    <a:pt x="688" y="18"/>
                  </a:lnTo>
                  <a:lnTo>
                    <a:pt x="689" y="18"/>
                  </a:lnTo>
                  <a:lnTo>
                    <a:pt x="689" y="18"/>
                  </a:lnTo>
                  <a:lnTo>
                    <a:pt x="689" y="20"/>
                  </a:lnTo>
                  <a:lnTo>
                    <a:pt x="689" y="20"/>
                  </a:lnTo>
                  <a:lnTo>
                    <a:pt x="689" y="21"/>
                  </a:lnTo>
                  <a:lnTo>
                    <a:pt x="689" y="21"/>
                  </a:lnTo>
                  <a:lnTo>
                    <a:pt x="689" y="21"/>
                  </a:lnTo>
                  <a:lnTo>
                    <a:pt x="689" y="22"/>
                  </a:lnTo>
                  <a:lnTo>
                    <a:pt x="689" y="22"/>
                  </a:lnTo>
                  <a:lnTo>
                    <a:pt x="688" y="22"/>
                  </a:lnTo>
                  <a:lnTo>
                    <a:pt x="688" y="22"/>
                  </a:lnTo>
                  <a:lnTo>
                    <a:pt x="688" y="23"/>
                  </a:lnTo>
                  <a:lnTo>
                    <a:pt x="689" y="24"/>
                  </a:lnTo>
                  <a:lnTo>
                    <a:pt x="689" y="25"/>
                  </a:lnTo>
                  <a:lnTo>
                    <a:pt x="689" y="25"/>
                  </a:lnTo>
                  <a:lnTo>
                    <a:pt x="689" y="25"/>
                  </a:lnTo>
                  <a:lnTo>
                    <a:pt x="689" y="26"/>
                  </a:lnTo>
                  <a:lnTo>
                    <a:pt x="689" y="28"/>
                  </a:lnTo>
                  <a:lnTo>
                    <a:pt x="688" y="28"/>
                  </a:lnTo>
                  <a:lnTo>
                    <a:pt x="687" y="29"/>
                  </a:lnTo>
                  <a:lnTo>
                    <a:pt x="687" y="29"/>
                  </a:lnTo>
                  <a:lnTo>
                    <a:pt x="687" y="29"/>
                  </a:lnTo>
                  <a:lnTo>
                    <a:pt x="687" y="31"/>
                  </a:lnTo>
                  <a:lnTo>
                    <a:pt x="684" y="31"/>
                  </a:lnTo>
                  <a:lnTo>
                    <a:pt x="684" y="30"/>
                  </a:lnTo>
                  <a:lnTo>
                    <a:pt x="683" y="30"/>
                  </a:lnTo>
                  <a:lnTo>
                    <a:pt x="682" y="31"/>
                  </a:lnTo>
                  <a:lnTo>
                    <a:pt x="682" y="31"/>
                  </a:lnTo>
                  <a:lnTo>
                    <a:pt x="681" y="31"/>
                  </a:lnTo>
                  <a:lnTo>
                    <a:pt x="677" y="31"/>
                  </a:lnTo>
                  <a:lnTo>
                    <a:pt x="678" y="31"/>
                  </a:lnTo>
                  <a:lnTo>
                    <a:pt x="680" y="31"/>
                  </a:lnTo>
                  <a:lnTo>
                    <a:pt x="680" y="32"/>
                  </a:lnTo>
                  <a:lnTo>
                    <a:pt x="680" y="32"/>
                  </a:lnTo>
                  <a:lnTo>
                    <a:pt x="682" y="32"/>
                  </a:lnTo>
                  <a:lnTo>
                    <a:pt x="683" y="33"/>
                  </a:lnTo>
                  <a:lnTo>
                    <a:pt x="684" y="35"/>
                  </a:lnTo>
                  <a:lnTo>
                    <a:pt x="684" y="36"/>
                  </a:lnTo>
                  <a:lnTo>
                    <a:pt x="687" y="37"/>
                  </a:lnTo>
                  <a:lnTo>
                    <a:pt x="688" y="38"/>
                  </a:lnTo>
                  <a:lnTo>
                    <a:pt x="688" y="39"/>
                  </a:lnTo>
                  <a:lnTo>
                    <a:pt x="689" y="39"/>
                  </a:lnTo>
                  <a:lnTo>
                    <a:pt x="684" y="39"/>
                  </a:lnTo>
                  <a:lnTo>
                    <a:pt x="685" y="39"/>
                  </a:lnTo>
                  <a:lnTo>
                    <a:pt x="687" y="39"/>
                  </a:lnTo>
                  <a:lnTo>
                    <a:pt x="688" y="40"/>
                  </a:lnTo>
                  <a:lnTo>
                    <a:pt x="689" y="41"/>
                  </a:lnTo>
                  <a:lnTo>
                    <a:pt x="689" y="41"/>
                  </a:lnTo>
                  <a:lnTo>
                    <a:pt x="690" y="43"/>
                  </a:lnTo>
                  <a:lnTo>
                    <a:pt x="689" y="44"/>
                  </a:lnTo>
                  <a:lnTo>
                    <a:pt x="689" y="45"/>
                  </a:lnTo>
                  <a:lnTo>
                    <a:pt x="689" y="46"/>
                  </a:lnTo>
                  <a:lnTo>
                    <a:pt x="690" y="46"/>
                  </a:lnTo>
                  <a:lnTo>
                    <a:pt x="690" y="46"/>
                  </a:lnTo>
                  <a:lnTo>
                    <a:pt x="690" y="45"/>
                  </a:lnTo>
                  <a:lnTo>
                    <a:pt x="692" y="44"/>
                  </a:lnTo>
                  <a:lnTo>
                    <a:pt x="693" y="44"/>
                  </a:lnTo>
                  <a:lnTo>
                    <a:pt x="696" y="45"/>
                  </a:lnTo>
                  <a:lnTo>
                    <a:pt x="697" y="45"/>
                  </a:lnTo>
                  <a:lnTo>
                    <a:pt x="698" y="45"/>
                  </a:lnTo>
                  <a:lnTo>
                    <a:pt x="699" y="46"/>
                  </a:lnTo>
                  <a:lnTo>
                    <a:pt x="699" y="48"/>
                  </a:lnTo>
                  <a:lnTo>
                    <a:pt x="699" y="50"/>
                  </a:lnTo>
                  <a:lnTo>
                    <a:pt x="698" y="51"/>
                  </a:lnTo>
                  <a:lnTo>
                    <a:pt x="698" y="51"/>
                  </a:lnTo>
                  <a:lnTo>
                    <a:pt x="698" y="51"/>
                  </a:lnTo>
                  <a:lnTo>
                    <a:pt x="698" y="51"/>
                  </a:lnTo>
                  <a:lnTo>
                    <a:pt x="699" y="52"/>
                  </a:lnTo>
                  <a:lnTo>
                    <a:pt x="696" y="52"/>
                  </a:lnTo>
                  <a:lnTo>
                    <a:pt x="696" y="52"/>
                  </a:lnTo>
                  <a:lnTo>
                    <a:pt x="696" y="52"/>
                  </a:lnTo>
                  <a:lnTo>
                    <a:pt x="696" y="53"/>
                  </a:lnTo>
                  <a:lnTo>
                    <a:pt x="696" y="53"/>
                  </a:lnTo>
                  <a:lnTo>
                    <a:pt x="693" y="53"/>
                  </a:lnTo>
                  <a:lnTo>
                    <a:pt x="693" y="53"/>
                  </a:lnTo>
                  <a:lnTo>
                    <a:pt x="693" y="53"/>
                  </a:lnTo>
                  <a:lnTo>
                    <a:pt x="693" y="54"/>
                  </a:lnTo>
                  <a:lnTo>
                    <a:pt x="693" y="54"/>
                  </a:lnTo>
                  <a:lnTo>
                    <a:pt x="693" y="55"/>
                  </a:lnTo>
                  <a:lnTo>
                    <a:pt x="692" y="55"/>
                  </a:lnTo>
                  <a:lnTo>
                    <a:pt x="691" y="55"/>
                  </a:lnTo>
                  <a:lnTo>
                    <a:pt x="690" y="55"/>
                  </a:lnTo>
                  <a:lnTo>
                    <a:pt x="690" y="56"/>
                  </a:lnTo>
                  <a:lnTo>
                    <a:pt x="690" y="56"/>
                  </a:lnTo>
                  <a:lnTo>
                    <a:pt x="699" y="56"/>
                  </a:lnTo>
                  <a:lnTo>
                    <a:pt x="698" y="56"/>
                  </a:lnTo>
                  <a:lnTo>
                    <a:pt x="698" y="58"/>
                  </a:lnTo>
                  <a:lnTo>
                    <a:pt x="698" y="59"/>
                  </a:lnTo>
                  <a:lnTo>
                    <a:pt x="697" y="59"/>
                  </a:lnTo>
                  <a:lnTo>
                    <a:pt x="696" y="60"/>
                  </a:lnTo>
                  <a:lnTo>
                    <a:pt x="696" y="60"/>
                  </a:lnTo>
                  <a:lnTo>
                    <a:pt x="695" y="60"/>
                  </a:lnTo>
                  <a:lnTo>
                    <a:pt x="693" y="60"/>
                  </a:lnTo>
                  <a:lnTo>
                    <a:pt x="692" y="60"/>
                  </a:lnTo>
                  <a:lnTo>
                    <a:pt x="692" y="61"/>
                  </a:lnTo>
                  <a:lnTo>
                    <a:pt x="691" y="61"/>
                  </a:lnTo>
                  <a:lnTo>
                    <a:pt x="690" y="61"/>
                  </a:lnTo>
                  <a:lnTo>
                    <a:pt x="689" y="60"/>
                  </a:lnTo>
                  <a:lnTo>
                    <a:pt x="685" y="60"/>
                  </a:lnTo>
                  <a:lnTo>
                    <a:pt x="683" y="61"/>
                  </a:lnTo>
                  <a:lnTo>
                    <a:pt x="682" y="62"/>
                  </a:lnTo>
                  <a:lnTo>
                    <a:pt x="681" y="62"/>
                  </a:lnTo>
                  <a:lnTo>
                    <a:pt x="681" y="61"/>
                  </a:lnTo>
                  <a:lnTo>
                    <a:pt x="681" y="61"/>
                  </a:lnTo>
                  <a:lnTo>
                    <a:pt x="681" y="61"/>
                  </a:lnTo>
                  <a:lnTo>
                    <a:pt x="680" y="60"/>
                  </a:lnTo>
                  <a:lnTo>
                    <a:pt x="680" y="60"/>
                  </a:lnTo>
                  <a:lnTo>
                    <a:pt x="678" y="60"/>
                  </a:lnTo>
                  <a:lnTo>
                    <a:pt x="678" y="60"/>
                  </a:lnTo>
                  <a:lnTo>
                    <a:pt x="677" y="60"/>
                  </a:lnTo>
                  <a:lnTo>
                    <a:pt x="678" y="60"/>
                  </a:lnTo>
                  <a:lnTo>
                    <a:pt x="678" y="61"/>
                  </a:lnTo>
                  <a:lnTo>
                    <a:pt x="678" y="62"/>
                  </a:lnTo>
                  <a:lnTo>
                    <a:pt x="677" y="62"/>
                  </a:lnTo>
                  <a:lnTo>
                    <a:pt x="674" y="62"/>
                  </a:lnTo>
                  <a:lnTo>
                    <a:pt x="675" y="62"/>
                  </a:lnTo>
                  <a:lnTo>
                    <a:pt x="675" y="62"/>
                  </a:lnTo>
                  <a:lnTo>
                    <a:pt x="674" y="62"/>
                  </a:lnTo>
                  <a:lnTo>
                    <a:pt x="673" y="62"/>
                  </a:lnTo>
                  <a:lnTo>
                    <a:pt x="672" y="62"/>
                  </a:lnTo>
                  <a:lnTo>
                    <a:pt x="672" y="62"/>
                  </a:lnTo>
                  <a:lnTo>
                    <a:pt x="670" y="62"/>
                  </a:lnTo>
                  <a:lnTo>
                    <a:pt x="670" y="62"/>
                  </a:lnTo>
                  <a:lnTo>
                    <a:pt x="663" y="62"/>
                  </a:lnTo>
                  <a:lnTo>
                    <a:pt x="663" y="66"/>
                  </a:lnTo>
                  <a:lnTo>
                    <a:pt x="662" y="66"/>
                  </a:lnTo>
                  <a:lnTo>
                    <a:pt x="661" y="66"/>
                  </a:lnTo>
                  <a:lnTo>
                    <a:pt x="661" y="65"/>
                  </a:lnTo>
                  <a:lnTo>
                    <a:pt x="660" y="63"/>
                  </a:lnTo>
                  <a:lnTo>
                    <a:pt x="659" y="63"/>
                  </a:lnTo>
                  <a:lnTo>
                    <a:pt x="659" y="63"/>
                  </a:lnTo>
                  <a:lnTo>
                    <a:pt x="659" y="65"/>
                  </a:lnTo>
                  <a:lnTo>
                    <a:pt x="658" y="65"/>
                  </a:lnTo>
                  <a:lnTo>
                    <a:pt x="656" y="65"/>
                  </a:lnTo>
                  <a:lnTo>
                    <a:pt x="655" y="63"/>
                  </a:lnTo>
                  <a:lnTo>
                    <a:pt x="655" y="65"/>
                  </a:lnTo>
                  <a:lnTo>
                    <a:pt x="655" y="65"/>
                  </a:lnTo>
                  <a:lnTo>
                    <a:pt x="654" y="66"/>
                  </a:lnTo>
                  <a:lnTo>
                    <a:pt x="653" y="66"/>
                  </a:lnTo>
                  <a:lnTo>
                    <a:pt x="653" y="66"/>
                  </a:lnTo>
                  <a:lnTo>
                    <a:pt x="653" y="66"/>
                  </a:lnTo>
                  <a:lnTo>
                    <a:pt x="653" y="66"/>
                  </a:lnTo>
                  <a:lnTo>
                    <a:pt x="653" y="67"/>
                  </a:lnTo>
                  <a:lnTo>
                    <a:pt x="652" y="67"/>
                  </a:lnTo>
                  <a:lnTo>
                    <a:pt x="652" y="67"/>
                  </a:lnTo>
                  <a:lnTo>
                    <a:pt x="651" y="66"/>
                  </a:lnTo>
                  <a:lnTo>
                    <a:pt x="650" y="66"/>
                  </a:lnTo>
                  <a:lnTo>
                    <a:pt x="651" y="65"/>
                  </a:lnTo>
                  <a:lnTo>
                    <a:pt x="652" y="63"/>
                  </a:lnTo>
                  <a:lnTo>
                    <a:pt x="652" y="63"/>
                  </a:lnTo>
                  <a:lnTo>
                    <a:pt x="653" y="63"/>
                  </a:lnTo>
                  <a:lnTo>
                    <a:pt x="654" y="62"/>
                  </a:lnTo>
                  <a:lnTo>
                    <a:pt x="655" y="62"/>
                  </a:lnTo>
                  <a:lnTo>
                    <a:pt x="655" y="61"/>
                  </a:lnTo>
                  <a:lnTo>
                    <a:pt x="656" y="60"/>
                  </a:lnTo>
                  <a:lnTo>
                    <a:pt x="658" y="60"/>
                  </a:lnTo>
                  <a:lnTo>
                    <a:pt x="658" y="60"/>
                  </a:lnTo>
                  <a:lnTo>
                    <a:pt x="656" y="59"/>
                  </a:lnTo>
                  <a:lnTo>
                    <a:pt x="658" y="59"/>
                  </a:lnTo>
                  <a:lnTo>
                    <a:pt x="659" y="59"/>
                  </a:lnTo>
                  <a:lnTo>
                    <a:pt x="659" y="59"/>
                  </a:lnTo>
                  <a:lnTo>
                    <a:pt x="659" y="59"/>
                  </a:lnTo>
                  <a:lnTo>
                    <a:pt x="659" y="58"/>
                  </a:lnTo>
                  <a:lnTo>
                    <a:pt x="659" y="56"/>
                  </a:lnTo>
                  <a:lnTo>
                    <a:pt x="661" y="56"/>
                  </a:lnTo>
                  <a:lnTo>
                    <a:pt x="662" y="56"/>
                  </a:lnTo>
                  <a:lnTo>
                    <a:pt x="662" y="56"/>
                  </a:lnTo>
                  <a:lnTo>
                    <a:pt x="663" y="56"/>
                  </a:lnTo>
                  <a:lnTo>
                    <a:pt x="663" y="56"/>
                  </a:lnTo>
                  <a:lnTo>
                    <a:pt x="665" y="56"/>
                  </a:lnTo>
                  <a:lnTo>
                    <a:pt x="665" y="58"/>
                  </a:lnTo>
                  <a:lnTo>
                    <a:pt x="666" y="58"/>
                  </a:lnTo>
                  <a:lnTo>
                    <a:pt x="667" y="58"/>
                  </a:lnTo>
                  <a:lnTo>
                    <a:pt x="667" y="56"/>
                  </a:lnTo>
                  <a:lnTo>
                    <a:pt x="669" y="55"/>
                  </a:lnTo>
                  <a:lnTo>
                    <a:pt x="670" y="55"/>
                  </a:lnTo>
                  <a:lnTo>
                    <a:pt x="670" y="55"/>
                  </a:lnTo>
                  <a:lnTo>
                    <a:pt x="670" y="54"/>
                  </a:lnTo>
                  <a:lnTo>
                    <a:pt x="670" y="53"/>
                  </a:lnTo>
                  <a:lnTo>
                    <a:pt x="669" y="54"/>
                  </a:lnTo>
                  <a:lnTo>
                    <a:pt x="669" y="55"/>
                  </a:lnTo>
                  <a:lnTo>
                    <a:pt x="668" y="55"/>
                  </a:lnTo>
                  <a:lnTo>
                    <a:pt x="667" y="55"/>
                  </a:lnTo>
                  <a:lnTo>
                    <a:pt x="667" y="55"/>
                  </a:lnTo>
                  <a:lnTo>
                    <a:pt x="666" y="56"/>
                  </a:lnTo>
                  <a:lnTo>
                    <a:pt x="666" y="56"/>
                  </a:lnTo>
                  <a:lnTo>
                    <a:pt x="663" y="56"/>
                  </a:lnTo>
                  <a:lnTo>
                    <a:pt x="662" y="55"/>
                  </a:lnTo>
                  <a:lnTo>
                    <a:pt x="662" y="55"/>
                  </a:lnTo>
                  <a:lnTo>
                    <a:pt x="662" y="55"/>
                  </a:lnTo>
                  <a:lnTo>
                    <a:pt x="660" y="55"/>
                  </a:lnTo>
                  <a:lnTo>
                    <a:pt x="659" y="54"/>
                  </a:lnTo>
                  <a:lnTo>
                    <a:pt x="659" y="54"/>
                  </a:lnTo>
                  <a:lnTo>
                    <a:pt x="659" y="53"/>
                  </a:lnTo>
                  <a:lnTo>
                    <a:pt x="659" y="53"/>
                  </a:lnTo>
                  <a:lnTo>
                    <a:pt x="660" y="54"/>
                  </a:lnTo>
                  <a:lnTo>
                    <a:pt x="660" y="54"/>
                  </a:lnTo>
                  <a:lnTo>
                    <a:pt x="660" y="53"/>
                  </a:lnTo>
                  <a:lnTo>
                    <a:pt x="659" y="53"/>
                  </a:lnTo>
                  <a:lnTo>
                    <a:pt x="656" y="53"/>
                  </a:lnTo>
                  <a:lnTo>
                    <a:pt x="655" y="53"/>
                  </a:lnTo>
                  <a:lnTo>
                    <a:pt x="655" y="54"/>
                  </a:lnTo>
                  <a:lnTo>
                    <a:pt x="654" y="54"/>
                  </a:lnTo>
                  <a:lnTo>
                    <a:pt x="654" y="54"/>
                  </a:lnTo>
                  <a:lnTo>
                    <a:pt x="655" y="53"/>
                  </a:lnTo>
                  <a:lnTo>
                    <a:pt x="653" y="53"/>
                  </a:lnTo>
                  <a:lnTo>
                    <a:pt x="653" y="52"/>
                  </a:lnTo>
                  <a:lnTo>
                    <a:pt x="653" y="52"/>
                  </a:lnTo>
                  <a:lnTo>
                    <a:pt x="653" y="52"/>
                  </a:lnTo>
                  <a:lnTo>
                    <a:pt x="653" y="52"/>
                  </a:lnTo>
                  <a:lnTo>
                    <a:pt x="654" y="51"/>
                  </a:lnTo>
                  <a:lnTo>
                    <a:pt x="655" y="51"/>
                  </a:lnTo>
                  <a:lnTo>
                    <a:pt x="655" y="50"/>
                  </a:lnTo>
                  <a:lnTo>
                    <a:pt x="656" y="50"/>
                  </a:lnTo>
                  <a:lnTo>
                    <a:pt x="658" y="50"/>
                  </a:lnTo>
                  <a:lnTo>
                    <a:pt x="659" y="50"/>
                  </a:lnTo>
                  <a:lnTo>
                    <a:pt x="660" y="50"/>
                  </a:lnTo>
                  <a:lnTo>
                    <a:pt x="660" y="48"/>
                  </a:lnTo>
                  <a:lnTo>
                    <a:pt x="660" y="47"/>
                  </a:lnTo>
                  <a:lnTo>
                    <a:pt x="660" y="46"/>
                  </a:lnTo>
                  <a:lnTo>
                    <a:pt x="660" y="46"/>
                  </a:lnTo>
                  <a:lnTo>
                    <a:pt x="660" y="46"/>
                  </a:lnTo>
                  <a:lnTo>
                    <a:pt x="661" y="46"/>
                  </a:lnTo>
                  <a:lnTo>
                    <a:pt x="661" y="45"/>
                  </a:lnTo>
                  <a:lnTo>
                    <a:pt x="660" y="45"/>
                  </a:lnTo>
                  <a:lnTo>
                    <a:pt x="660" y="45"/>
                  </a:lnTo>
                  <a:lnTo>
                    <a:pt x="660" y="45"/>
                  </a:lnTo>
                  <a:lnTo>
                    <a:pt x="659" y="45"/>
                  </a:lnTo>
                  <a:lnTo>
                    <a:pt x="658" y="45"/>
                  </a:lnTo>
                  <a:lnTo>
                    <a:pt x="656" y="45"/>
                  </a:lnTo>
                  <a:lnTo>
                    <a:pt x="656" y="45"/>
                  </a:lnTo>
                  <a:lnTo>
                    <a:pt x="656" y="45"/>
                  </a:lnTo>
                  <a:lnTo>
                    <a:pt x="658" y="44"/>
                  </a:lnTo>
                  <a:lnTo>
                    <a:pt x="659" y="44"/>
                  </a:lnTo>
                  <a:lnTo>
                    <a:pt x="659" y="43"/>
                  </a:lnTo>
                  <a:lnTo>
                    <a:pt x="660" y="43"/>
                  </a:lnTo>
                  <a:lnTo>
                    <a:pt x="660" y="43"/>
                  </a:lnTo>
                  <a:lnTo>
                    <a:pt x="659" y="41"/>
                  </a:lnTo>
                  <a:lnTo>
                    <a:pt x="658" y="41"/>
                  </a:lnTo>
                  <a:lnTo>
                    <a:pt x="656" y="41"/>
                  </a:lnTo>
                  <a:lnTo>
                    <a:pt x="656" y="41"/>
                  </a:lnTo>
                  <a:lnTo>
                    <a:pt x="656" y="41"/>
                  </a:lnTo>
                  <a:lnTo>
                    <a:pt x="659" y="40"/>
                  </a:lnTo>
                  <a:lnTo>
                    <a:pt x="660" y="40"/>
                  </a:lnTo>
                  <a:lnTo>
                    <a:pt x="660" y="40"/>
                  </a:lnTo>
                  <a:lnTo>
                    <a:pt x="660" y="40"/>
                  </a:lnTo>
                  <a:lnTo>
                    <a:pt x="660" y="41"/>
                  </a:lnTo>
                  <a:lnTo>
                    <a:pt x="660" y="41"/>
                  </a:lnTo>
                  <a:lnTo>
                    <a:pt x="660" y="41"/>
                  </a:lnTo>
                  <a:lnTo>
                    <a:pt x="661" y="41"/>
                  </a:lnTo>
                  <a:lnTo>
                    <a:pt x="662" y="41"/>
                  </a:lnTo>
                  <a:lnTo>
                    <a:pt x="667" y="41"/>
                  </a:lnTo>
                  <a:lnTo>
                    <a:pt x="668" y="41"/>
                  </a:lnTo>
                  <a:lnTo>
                    <a:pt x="668" y="41"/>
                  </a:lnTo>
                  <a:lnTo>
                    <a:pt x="669" y="41"/>
                  </a:lnTo>
                  <a:lnTo>
                    <a:pt x="669" y="41"/>
                  </a:lnTo>
                  <a:lnTo>
                    <a:pt x="667" y="39"/>
                  </a:lnTo>
                  <a:lnTo>
                    <a:pt x="669" y="38"/>
                  </a:lnTo>
                  <a:lnTo>
                    <a:pt x="669" y="38"/>
                  </a:lnTo>
                  <a:lnTo>
                    <a:pt x="668" y="38"/>
                  </a:lnTo>
                  <a:lnTo>
                    <a:pt x="668" y="38"/>
                  </a:lnTo>
                  <a:lnTo>
                    <a:pt x="667" y="38"/>
                  </a:lnTo>
                  <a:lnTo>
                    <a:pt x="668" y="37"/>
                  </a:lnTo>
                  <a:lnTo>
                    <a:pt x="669" y="36"/>
                  </a:lnTo>
                  <a:lnTo>
                    <a:pt x="669" y="35"/>
                  </a:lnTo>
                  <a:lnTo>
                    <a:pt x="669" y="35"/>
                  </a:lnTo>
                  <a:lnTo>
                    <a:pt x="668" y="35"/>
                  </a:lnTo>
                  <a:lnTo>
                    <a:pt x="668" y="35"/>
                  </a:lnTo>
                  <a:lnTo>
                    <a:pt x="667" y="35"/>
                  </a:lnTo>
                  <a:lnTo>
                    <a:pt x="667" y="35"/>
                  </a:lnTo>
                  <a:lnTo>
                    <a:pt x="666" y="35"/>
                  </a:lnTo>
                  <a:lnTo>
                    <a:pt x="666" y="36"/>
                  </a:lnTo>
                  <a:lnTo>
                    <a:pt x="665" y="35"/>
                  </a:lnTo>
                  <a:lnTo>
                    <a:pt x="663" y="35"/>
                  </a:lnTo>
                  <a:lnTo>
                    <a:pt x="663" y="35"/>
                  </a:lnTo>
                  <a:lnTo>
                    <a:pt x="662" y="36"/>
                  </a:lnTo>
                  <a:lnTo>
                    <a:pt x="661" y="36"/>
                  </a:lnTo>
                  <a:lnTo>
                    <a:pt x="661" y="35"/>
                  </a:lnTo>
                  <a:lnTo>
                    <a:pt x="662" y="35"/>
                  </a:lnTo>
                  <a:lnTo>
                    <a:pt x="662" y="35"/>
                  </a:lnTo>
                  <a:lnTo>
                    <a:pt x="662" y="33"/>
                  </a:lnTo>
                  <a:lnTo>
                    <a:pt x="663" y="33"/>
                  </a:lnTo>
                  <a:lnTo>
                    <a:pt x="663" y="33"/>
                  </a:lnTo>
                  <a:lnTo>
                    <a:pt x="665" y="32"/>
                  </a:lnTo>
                  <a:lnTo>
                    <a:pt x="663" y="32"/>
                  </a:lnTo>
                  <a:lnTo>
                    <a:pt x="662" y="33"/>
                  </a:lnTo>
                  <a:lnTo>
                    <a:pt x="662" y="33"/>
                  </a:lnTo>
                  <a:lnTo>
                    <a:pt x="662" y="33"/>
                  </a:lnTo>
                  <a:lnTo>
                    <a:pt x="662" y="35"/>
                  </a:lnTo>
                  <a:lnTo>
                    <a:pt x="661" y="35"/>
                  </a:lnTo>
                  <a:lnTo>
                    <a:pt x="660" y="33"/>
                  </a:lnTo>
                  <a:lnTo>
                    <a:pt x="660" y="33"/>
                  </a:lnTo>
                  <a:lnTo>
                    <a:pt x="660" y="32"/>
                  </a:lnTo>
                  <a:lnTo>
                    <a:pt x="659" y="32"/>
                  </a:lnTo>
                  <a:lnTo>
                    <a:pt x="659" y="32"/>
                  </a:lnTo>
                  <a:lnTo>
                    <a:pt x="658" y="32"/>
                  </a:lnTo>
                  <a:lnTo>
                    <a:pt x="658" y="31"/>
                  </a:lnTo>
                  <a:lnTo>
                    <a:pt x="659" y="31"/>
                  </a:lnTo>
                  <a:lnTo>
                    <a:pt x="660" y="31"/>
                  </a:lnTo>
                  <a:lnTo>
                    <a:pt x="660" y="31"/>
                  </a:lnTo>
                  <a:lnTo>
                    <a:pt x="660" y="30"/>
                  </a:lnTo>
                  <a:lnTo>
                    <a:pt x="659" y="30"/>
                  </a:lnTo>
                  <a:lnTo>
                    <a:pt x="659" y="29"/>
                  </a:lnTo>
                  <a:lnTo>
                    <a:pt x="659" y="31"/>
                  </a:lnTo>
                  <a:lnTo>
                    <a:pt x="658" y="30"/>
                  </a:lnTo>
                  <a:lnTo>
                    <a:pt x="656" y="29"/>
                  </a:lnTo>
                  <a:lnTo>
                    <a:pt x="656" y="29"/>
                  </a:lnTo>
                  <a:lnTo>
                    <a:pt x="655" y="29"/>
                  </a:lnTo>
                  <a:lnTo>
                    <a:pt x="655" y="29"/>
                  </a:lnTo>
                  <a:lnTo>
                    <a:pt x="655" y="28"/>
                  </a:lnTo>
                  <a:lnTo>
                    <a:pt x="655" y="28"/>
                  </a:lnTo>
                  <a:lnTo>
                    <a:pt x="655" y="28"/>
                  </a:lnTo>
                  <a:lnTo>
                    <a:pt x="656" y="26"/>
                  </a:lnTo>
                  <a:lnTo>
                    <a:pt x="656" y="25"/>
                  </a:lnTo>
                  <a:lnTo>
                    <a:pt x="658" y="25"/>
                  </a:lnTo>
                  <a:lnTo>
                    <a:pt x="659" y="25"/>
                  </a:lnTo>
                  <a:lnTo>
                    <a:pt x="658" y="24"/>
                  </a:lnTo>
                  <a:lnTo>
                    <a:pt x="658" y="24"/>
                  </a:lnTo>
                  <a:lnTo>
                    <a:pt x="656" y="23"/>
                  </a:lnTo>
                  <a:lnTo>
                    <a:pt x="656" y="23"/>
                  </a:lnTo>
                  <a:lnTo>
                    <a:pt x="656" y="22"/>
                  </a:lnTo>
                  <a:lnTo>
                    <a:pt x="656" y="21"/>
                  </a:lnTo>
                  <a:lnTo>
                    <a:pt x="658" y="21"/>
                  </a:lnTo>
                  <a:lnTo>
                    <a:pt x="658" y="22"/>
                  </a:lnTo>
                  <a:lnTo>
                    <a:pt x="659" y="22"/>
                  </a:lnTo>
                  <a:lnTo>
                    <a:pt x="659" y="22"/>
                  </a:lnTo>
                  <a:lnTo>
                    <a:pt x="659" y="22"/>
                  </a:lnTo>
                  <a:lnTo>
                    <a:pt x="658" y="21"/>
                  </a:lnTo>
                  <a:lnTo>
                    <a:pt x="658" y="21"/>
                  </a:lnTo>
                  <a:lnTo>
                    <a:pt x="656" y="21"/>
                  </a:lnTo>
                  <a:lnTo>
                    <a:pt x="656" y="18"/>
                  </a:lnTo>
                  <a:lnTo>
                    <a:pt x="656" y="20"/>
                  </a:lnTo>
                  <a:lnTo>
                    <a:pt x="656" y="21"/>
                  </a:lnTo>
                  <a:lnTo>
                    <a:pt x="655" y="22"/>
                  </a:lnTo>
                  <a:lnTo>
                    <a:pt x="654" y="22"/>
                  </a:lnTo>
                  <a:lnTo>
                    <a:pt x="653" y="21"/>
                  </a:lnTo>
                  <a:lnTo>
                    <a:pt x="653" y="18"/>
                  </a:lnTo>
                  <a:lnTo>
                    <a:pt x="653" y="17"/>
                  </a:lnTo>
                  <a:lnTo>
                    <a:pt x="653" y="17"/>
                  </a:lnTo>
                  <a:lnTo>
                    <a:pt x="653" y="17"/>
                  </a:lnTo>
                  <a:lnTo>
                    <a:pt x="654" y="16"/>
                  </a:lnTo>
                  <a:lnTo>
                    <a:pt x="653" y="16"/>
                  </a:lnTo>
                  <a:lnTo>
                    <a:pt x="653" y="16"/>
                  </a:lnTo>
                  <a:lnTo>
                    <a:pt x="652" y="16"/>
                  </a:lnTo>
                  <a:lnTo>
                    <a:pt x="652" y="15"/>
                  </a:lnTo>
                  <a:lnTo>
                    <a:pt x="652" y="14"/>
                  </a:lnTo>
                  <a:lnTo>
                    <a:pt x="652" y="14"/>
                  </a:lnTo>
                  <a:lnTo>
                    <a:pt x="651" y="14"/>
                  </a:lnTo>
                  <a:lnTo>
                    <a:pt x="651" y="15"/>
                  </a:lnTo>
                  <a:lnTo>
                    <a:pt x="651" y="14"/>
                  </a:lnTo>
                  <a:lnTo>
                    <a:pt x="652" y="14"/>
                  </a:lnTo>
                  <a:lnTo>
                    <a:pt x="652" y="14"/>
                  </a:lnTo>
                  <a:lnTo>
                    <a:pt x="653" y="13"/>
                  </a:lnTo>
                  <a:lnTo>
                    <a:pt x="653" y="13"/>
                  </a:lnTo>
                  <a:lnTo>
                    <a:pt x="653" y="13"/>
                  </a:lnTo>
                  <a:lnTo>
                    <a:pt x="653" y="11"/>
                  </a:lnTo>
                  <a:lnTo>
                    <a:pt x="653" y="11"/>
                  </a:lnTo>
                  <a:lnTo>
                    <a:pt x="654" y="11"/>
                  </a:lnTo>
                  <a:lnTo>
                    <a:pt x="654" y="11"/>
                  </a:lnTo>
                  <a:lnTo>
                    <a:pt x="653" y="11"/>
                  </a:lnTo>
                  <a:lnTo>
                    <a:pt x="653" y="10"/>
                  </a:lnTo>
                  <a:lnTo>
                    <a:pt x="653" y="9"/>
                  </a:lnTo>
                  <a:lnTo>
                    <a:pt x="654" y="9"/>
                  </a:lnTo>
                  <a:lnTo>
                    <a:pt x="653" y="9"/>
                  </a:lnTo>
                  <a:lnTo>
                    <a:pt x="653" y="8"/>
                  </a:lnTo>
                  <a:lnTo>
                    <a:pt x="653" y="8"/>
                  </a:lnTo>
                  <a:lnTo>
                    <a:pt x="653" y="8"/>
                  </a:lnTo>
                  <a:lnTo>
                    <a:pt x="652" y="6"/>
                  </a:lnTo>
                  <a:lnTo>
                    <a:pt x="653" y="6"/>
                  </a:lnTo>
                  <a:lnTo>
                    <a:pt x="653" y="6"/>
                  </a:lnTo>
                  <a:lnTo>
                    <a:pt x="654" y="6"/>
                  </a:lnTo>
                  <a:lnTo>
                    <a:pt x="655" y="6"/>
                  </a:lnTo>
                  <a:lnTo>
                    <a:pt x="656" y="6"/>
                  </a:lnTo>
                  <a:lnTo>
                    <a:pt x="656" y="6"/>
                  </a:lnTo>
                  <a:lnTo>
                    <a:pt x="655" y="6"/>
                  </a:lnTo>
                  <a:lnTo>
                    <a:pt x="655" y="5"/>
                  </a:lnTo>
                  <a:lnTo>
                    <a:pt x="654" y="5"/>
                  </a:lnTo>
                  <a:lnTo>
                    <a:pt x="655" y="5"/>
                  </a:lnTo>
                  <a:lnTo>
                    <a:pt x="655" y="5"/>
                  </a:lnTo>
                  <a:lnTo>
                    <a:pt x="654" y="3"/>
                  </a:lnTo>
                  <a:lnTo>
                    <a:pt x="654" y="3"/>
                  </a:lnTo>
                  <a:lnTo>
                    <a:pt x="655" y="2"/>
                  </a:lnTo>
                  <a:lnTo>
                    <a:pt x="656" y="2"/>
                  </a:lnTo>
                  <a:lnTo>
                    <a:pt x="658" y="2"/>
                  </a:lnTo>
                  <a:lnTo>
                    <a:pt x="656" y="2"/>
                  </a:lnTo>
                  <a:lnTo>
                    <a:pt x="656" y="1"/>
                  </a:lnTo>
                  <a:lnTo>
                    <a:pt x="656" y="1"/>
                  </a:lnTo>
                  <a:lnTo>
                    <a:pt x="656" y="1"/>
                  </a:lnTo>
                  <a:lnTo>
                    <a:pt x="658" y="0"/>
                  </a:lnTo>
                  <a:close/>
                </a:path>
              </a:pathLst>
            </a:custGeom>
            <a:solidFill>
              <a:srgbClr val="267FFF"/>
            </a:solidFill>
            <a:ln w="0">
              <a:solidFill>
                <a:srgbClr val="267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10"/>
            <p:cNvSpPr>
              <a:spLocks noEditPoints="1"/>
            </p:cNvSpPr>
            <p:nvPr/>
          </p:nvSpPr>
          <p:spPr bwMode="auto">
            <a:xfrm>
              <a:off x="4555" y="1897"/>
              <a:ext cx="347" cy="341"/>
            </a:xfrm>
            <a:custGeom>
              <a:avLst/>
              <a:gdLst>
                <a:gd name="T0" fmla="*/ 7 w 1039"/>
                <a:gd name="T1" fmla="*/ 32 h 1024"/>
                <a:gd name="T2" fmla="*/ 452 w 1039"/>
                <a:gd name="T3" fmla="*/ 8 h 1024"/>
                <a:gd name="T4" fmla="*/ 424 w 1039"/>
                <a:gd name="T5" fmla="*/ 17 h 1024"/>
                <a:gd name="T6" fmla="*/ 704 w 1039"/>
                <a:gd name="T7" fmla="*/ 4 h 1024"/>
                <a:gd name="T8" fmla="*/ 790 w 1039"/>
                <a:gd name="T9" fmla="*/ 29 h 1024"/>
                <a:gd name="T10" fmla="*/ 758 w 1039"/>
                <a:gd name="T11" fmla="*/ 43 h 1024"/>
                <a:gd name="T12" fmla="*/ 808 w 1039"/>
                <a:gd name="T13" fmla="*/ 34 h 1024"/>
                <a:gd name="T14" fmla="*/ 1010 w 1039"/>
                <a:gd name="T15" fmla="*/ 369 h 1024"/>
                <a:gd name="T16" fmla="*/ 942 w 1039"/>
                <a:gd name="T17" fmla="*/ 344 h 1024"/>
                <a:gd name="T18" fmla="*/ 1003 w 1039"/>
                <a:gd name="T19" fmla="*/ 397 h 1024"/>
                <a:gd name="T20" fmla="*/ 992 w 1039"/>
                <a:gd name="T21" fmla="*/ 490 h 1024"/>
                <a:gd name="T22" fmla="*/ 879 w 1039"/>
                <a:gd name="T23" fmla="*/ 425 h 1024"/>
                <a:gd name="T24" fmla="*/ 808 w 1039"/>
                <a:gd name="T25" fmla="*/ 330 h 1024"/>
                <a:gd name="T26" fmla="*/ 862 w 1039"/>
                <a:gd name="T27" fmla="*/ 442 h 1024"/>
                <a:gd name="T28" fmla="*/ 951 w 1039"/>
                <a:gd name="T29" fmla="*/ 537 h 1024"/>
                <a:gd name="T30" fmla="*/ 906 w 1039"/>
                <a:gd name="T31" fmla="*/ 674 h 1024"/>
                <a:gd name="T32" fmla="*/ 887 w 1039"/>
                <a:gd name="T33" fmla="*/ 824 h 1024"/>
                <a:gd name="T34" fmla="*/ 730 w 1039"/>
                <a:gd name="T35" fmla="*/ 1018 h 1024"/>
                <a:gd name="T36" fmla="*/ 657 w 1039"/>
                <a:gd name="T37" fmla="*/ 906 h 1024"/>
                <a:gd name="T38" fmla="*/ 641 w 1039"/>
                <a:gd name="T39" fmla="*/ 711 h 1024"/>
                <a:gd name="T40" fmla="*/ 622 w 1039"/>
                <a:gd name="T41" fmla="*/ 651 h 1024"/>
                <a:gd name="T42" fmla="*/ 595 w 1039"/>
                <a:gd name="T43" fmla="*/ 607 h 1024"/>
                <a:gd name="T44" fmla="*/ 536 w 1039"/>
                <a:gd name="T45" fmla="*/ 597 h 1024"/>
                <a:gd name="T46" fmla="*/ 424 w 1039"/>
                <a:gd name="T47" fmla="*/ 574 h 1024"/>
                <a:gd name="T48" fmla="*/ 401 w 1039"/>
                <a:gd name="T49" fmla="*/ 524 h 1024"/>
                <a:gd name="T50" fmla="*/ 390 w 1039"/>
                <a:gd name="T51" fmla="*/ 510 h 1024"/>
                <a:gd name="T52" fmla="*/ 394 w 1039"/>
                <a:gd name="T53" fmla="*/ 441 h 1024"/>
                <a:gd name="T54" fmla="*/ 472 w 1039"/>
                <a:gd name="T55" fmla="*/ 294 h 1024"/>
                <a:gd name="T56" fmla="*/ 568 w 1039"/>
                <a:gd name="T57" fmla="*/ 262 h 1024"/>
                <a:gd name="T58" fmla="*/ 625 w 1039"/>
                <a:gd name="T59" fmla="*/ 279 h 1024"/>
                <a:gd name="T60" fmla="*/ 704 w 1039"/>
                <a:gd name="T61" fmla="*/ 308 h 1024"/>
                <a:gd name="T62" fmla="*/ 796 w 1039"/>
                <a:gd name="T63" fmla="*/ 319 h 1024"/>
                <a:gd name="T64" fmla="*/ 786 w 1039"/>
                <a:gd name="T65" fmla="*/ 272 h 1024"/>
                <a:gd name="T66" fmla="*/ 750 w 1039"/>
                <a:gd name="T67" fmla="*/ 242 h 1024"/>
                <a:gd name="T68" fmla="*/ 838 w 1039"/>
                <a:gd name="T69" fmla="*/ 230 h 1024"/>
                <a:gd name="T70" fmla="*/ 804 w 1039"/>
                <a:gd name="T71" fmla="*/ 182 h 1024"/>
                <a:gd name="T72" fmla="*/ 785 w 1039"/>
                <a:gd name="T73" fmla="*/ 182 h 1024"/>
                <a:gd name="T74" fmla="*/ 752 w 1039"/>
                <a:gd name="T75" fmla="*/ 211 h 1024"/>
                <a:gd name="T76" fmla="*/ 729 w 1039"/>
                <a:gd name="T77" fmla="*/ 229 h 1024"/>
                <a:gd name="T78" fmla="*/ 730 w 1039"/>
                <a:gd name="T79" fmla="*/ 257 h 1024"/>
                <a:gd name="T80" fmla="*/ 720 w 1039"/>
                <a:gd name="T81" fmla="*/ 254 h 1024"/>
                <a:gd name="T82" fmla="*/ 689 w 1039"/>
                <a:gd name="T83" fmla="*/ 222 h 1024"/>
                <a:gd name="T84" fmla="*/ 637 w 1039"/>
                <a:gd name="T85" fmla="*/ 183 h 1024"/>
                <a:gd name="T86" fmla="*/ 672 w 1039"/>
                <a:gd name="T87" fmla="*/ 239 h 1024"/>
                <a:gd name="T88" fmla="*/ 618 w 1039"/>
                <a:gd name="T89" fmla="*/ 205 h 1024"/>
                <a:gd name="T90" fmla="*/ 542 w 1039"/>
                <a:gd name="T91" fmla="*/ 225 h 1024"/>
                <a:gd name="T92" fmla="*/ 489 w 1039"/>
                <a:gd name="T93" fmla="*/ 265 h 1024"/>
                <a:gd name="T94" fmla="*/ 465 w 1039"/>
                <a:gd name="T95" fmla="*/ 225 h 1024"/>
                <a:gd name="T96" fmla="*/ 523 w 1039"/>
                <a:gd name="T97" fmla="*/ 200 h 1024"/>
                <a:gd name="T98" fmla="*/ 499 w 1039"/>
                <a:gd name="T99" fmla="*/ 155 h 1024"/>
                <a:gd name="T100" fmla="*/ 560 w 1039"/>
                <a:gd name="T101" fmla="*/ 133 h 1024"/>
                <a:gd name="T102" fmla="*/ 594 w 1039"/>
                <a:gd name="T103" fmla="*/ 116 h 1024"/>
                <a:gd name="T104" fmla="*/ 600 w 1039"/>
                <a:gd name="T105" fmla="*/ 93 h 1024"/>
                <a:gd name="T106" fmla="*/ 636 w 1039"/>
                <a:gd name="T107" fmla="*/ 114 h 1024"/>
                <a:gd name="T108" fmla="*/ 696 w 1039"/>
                <a:gd name="T109" fmla="*/ 92 h 1024"/>
                <a:gd name="T110" fmla="*/ 738 w 1039"/>
                <a:gd name="T111" fmla="*/ 74 h 1024"/>
                <a:gd name="T112" fmla="*/ 673 w 1039"/>
                <a:gd name="T113" fmla="*/ 59 h 1024"/>
                <a:gd name="T114" fmla="*/ 672 w 1039"/>
                <a:gd name="T115" fmla="*/ 34 h 1024"/>
                <a:gd name="T116" fmla="*/ 655 w 1039"/>
                <a:gd name="T117" fmla="*/ 76 h 1024"/>
                <a:gd name="T118" fmla="*/ 613 w 1039"/>
                <a:gd name="T119" fmla="*/ 85 h 1024"/>
                <a:gd name="T120" fmla="*/ 568 w 1039"/>
                <a:gd name="T121" fmla="*/ 70 h 1024"/>
                <a:gd name="T122" fmla="*/ 571 w 1039"/>
                <a:gd name="T123" fmla="*/ 50 h 1024"/>
                <a:gd name="T124" fmla="*/ 630 w 1039"/>
                <a:gd name="T125" fmla="*/ 16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9" h="1024">
                  <a:moveTo>
                    <a:pt x="832" y="28"/>
                  </a:moveTo>
                  <a:lnTo>
                    <a:pt x="833" y="28"/>
                  </a:lnTo>
                  <a:lnTo>
                    <a:pt x="833" y="28"/>
                  </a:lnTo>
                  <a:lnTo>
                    <a:pt x="833" y="28"/>
                  </a:lnTo>
                  <a:lnTo>
                    <a:pt x="833" y="28"/>
                  </a:lnTo>
                  <a:lnTo>
                    <a:pt x="832" y="28"/>
                  </a:lnTo>
                  <a:close/>
                  <a:moveTo>
                    <a:pt x="32" y="26"/>
                  </a:moveTo>
                  <a:lnTo>
                    <a:pt x="31" y="28"/>
                  </a:lnTo>
                  <a:lnTo>
                    <a:pt x="31" y="28"/>
                  </a:lnTo>
                  <a:lnTo>
                    <a:pt x="32" y="26"/>
                  </a:lnTo>
                  <a:close/>
                  <a:moveTo>
                    <a:pt x="24" y="15"/>
                  </a:moveTo>
                  <a:lnTo>
                    <a:pt x="25" y="15"/>
                  </a:lnTo>
                  <a:lnTo>
                    <a:pt x="26" y="16"/>
                  </a:lnTo>
                  <a:lnTo>
                    <a:pt x="27" y="16"/>
                  </a:lnTo>
                  <a:lnTo>
                    <a:pt x="26" y="17"/>
                  </a:lnTo>
                  <a:lnTo>
                    <a:pt x="26" y="18"/>
                  </a:lnTo>
                  <a:lnTo>
                    <a:pt x="27" y="17"/>
                  </a:lnTo>
                  <a:lnTo>
                    <a:pt x="30" y="17"/>
                  </a:lnTo>
                  <a:lnTo>
                    <a:pt x="31" y="17"/>
                  </a:lnTo>
                  <a:lnTo>
                    <a:pt x="31" y="18"/>
                  </a:lnTo>
                  <a:lnTo>
                    <a:pt x="32" y="19"/>
                  </a:lnTo>
                  <a:lnTo>
                    <a:pt x="33" y="19"/>
                  </a:lnTo>
                  <a:lnTo>
                    <a:pt x="34" y="19"/>
                  </a:lnTo>
                  <a:lnTo>
                    <a:pt x="37" y="19"/>
                  </a:lnTo>
                  <a:lnTo>
                    <a:pt x="37" y="21"/>
                  </a:lnTo>
                  <a:lnTo>
                    <a:pt x="37" y="22"/>
                  </a:lnTo>
                  <a:lnTo>
                    <a:pt x="38" y="23"/>
                  </a:lnTo>
                  <a:lnTo>
                    <a:pt x="39" y="24"/>
                  </a:lnTo>
                  <a:lnTo>
                    <a:pt x="40" y="24"/>
                  </a:lnTo>
                  <a:lnTo>
                    <a:pt x="41" y="24"/>
                  </a:lnTo>
                  <a:lnTo>
                    <a:pt x="42" y="25"/>
                  </a:lnTo>
                  <a:lnTo>
                    <a:pt x="42" y="26"/>
                  </a:lnTo>
                  <a:lnTo>
                    <a:pt x="42" y="28"/>
                  </a:lnTo>
                  <a:lnTo>
                    <a:pt x="41" y="28"/>
                  </a:lnTo>
                  <a:lnTo>
                    <a:pt x="42" y="28"/>
                  </a:lnTo>
                  <a:lnTo>
                    <a:pt x="43" y="28"/>
                  </a:lnTo>
                  <a:lnTo>
                    <a:pt x="45" y="28"/>
                  </a:lnTo>
                  <a:lnTo>
                    <a:pt x="45" y="29"/>
                  </a:lnTo>
                  <a:lnTo>
                    <a:pt x="43" y="29"/>
                  </a:lnTo>
                  <a:lnTo>
                    <a:pt x="42" y="30"/>
                  </a:lnTo>
                  <a:lnTo>
                    <a:pt x="41" y="30"/>
                  </a:lnTo>
                  <a:lnTo>
                    <a:pt x="40" y="30"/>
                  </a:lnTo>
                  <a:lnTo>
                    <a:pt x="39" y="29"/>
                  </a:lnTo>
                  <a:lnTo>
                    <a:pt x="38" y="29"/>
                  </a:lnTo>
                  <a:lnTo>
                    <a:pt x="37" y="29"/>
                  </a:lnTo>
                  <a:lnTo>
                    <a:pt x="34" y="29"/>
                  </a:lnTo>
                  <a:lnTo>
                    <a:pt x="33" y="29"/>
                  </a:lnTo>
                  <a:lnTo>
                    <a:pt x="33" y="28"/>
                  </a:lnTo>
                  <a:lnTo>
                    <a:pt x="34" y="28"/>
                  </a:lnTo>
                  <a:lnTo>
                    <a:pt x="37" y="26"/>
                  </a:lnTo>
                  <a:lnTo>
                    <a:pt x="37" y="25"/>
                  </a:lnTo>
                  <a:lnTo>
                    <a:pt x="35" y="25"/>
                  </a:lnTo>
                  <a:lnTo>
                    <a:pt x="34" y="25"/>
                  </a:lnTo>
                  <a:lnTo>
                    <a:pt x="33" y="26"/>
                  </a:lnTo>
                  <a:lnTo>
                    <a:pt x="32" y="26"/>
                  </a:lnTo>
                  <a:lnTo>
                    <a:pt x="32" y="26"/>
                  </a:lnTo>
                  <a:lnTo>
                    <a:pt x="32" y="26"/>
                  </a:lnTo>
                  <a:lnTo>
                    <a:pt x="32" y="25"/>
                  </a:lnTo>
                  <a:lnTo>
                    <a:pt x="32" y="25"/>
                  </a:lnTo>
                  <a:lnTo>
                    <a:pt x="31" y="25"/>
                  </a:lnTo>
                  <a:lnTo>
                    <a:pt x="30" y="25"/>
                  </a:lnTo>
                  <a:lnTo>
                    <a:pt x="27" y="26"/>
                  </a:lnTo>
                  <a:lnTo>
                    <a:pt x="26" y="25"/>
                  </a:lnTo>
                  <a:lnTo>
                    <a:pt x="26" y="25"/>
                  </a:lnTo>
                  <a:lnTo>
                    <a:pt x="25" y="25"/>
                  </a:lnTo>
                  <a:lnTo>
                    <a:pt x="24" y="28"/>
                  </a:lnTo>
                  <a:lnTo>
                    <a:pt x="24" y="29"/>
                  </a:lnTo>
                  <a:lnTo>
                    <a:pt x="23" y="29"/>
                  </a:lnTo>
                  <a:lnTo>
                    <a:pt x="20" y="29"/>
                  </a:lnTo>
                  <a:lnTo>
                    <a:pt x="19" y="29"/>
                  </a:lnTo>
                  <a:lnTo>
                    <a:pt x="17" y="29"/>
                  </a:lnTo>
                  <a:lnTo>
                    <a:pt x="16" y="30"/>
                  </a:lnTo>
                  <a:lnTo>
                    <a:pt x="16" y="31"/>
                  </a:lnTo>
                  <a:lnTo>
                    <a:pt x="15" y="32"/>
                  </a:lnTo>
                  <a:lnTo>
                    <a:pt x="13" y="32"/>
                  </a:lnTo>
                  <a:lnTo>
                    <a:pt x="11" y="33"/>
                  </a:lnTo>
                  <a:lnTo>
                    <a:pt x="10" y="33"/>
                  </a:lnTo>
                  <a:lnTo>
                    <a:pt x="8" y="34"/>
                  </a:lnTo>
                  <a:lnTo>
                    <a:pt x="7" y="34"/>
                  </a:lnTo>
                  <a:lnTo>
                    <a:pt x="5" y="34"/>
                  </a:lnTo>
                  <a:lnTo>
                    <a:pt x="4" y="33"/>
                  </a:lnTo>
                  <a:lnTo>
                    <a:pt x="5" y="33"/>
                  </a:lnTo>
                  <a:lnTo>
                    <a:pt x="5" y="32"/>
                  </a:lnTo>
                  <a:lnTo>
                    <a:pt x="7" y="32"/>
                  </a:lnTo>
                  <a:lnTo>
                    <a:pt x="8" y="31"/>
                  </a:lnTo>
                  <a:lnTo>
                    <a:pt x="8" y="30"/>
                  </a:lnTo>
                  <a:lnTo>
                    <a:pt x="8" y="30"/>
                  </a:lnTo>
                  <a:lnTo>
                    <a:pt x="7" y="31"/>
                  </a:lnTo>
                  <a:lnTo>
                    <a:pt x="0" y="31"/>
                  </a:lnTo>
                  <a:lnTo>
                    <a:pt x="1" y="30"/>
                  </a:lnTo>
                  <a:lnTo>
                    <a:pt x="2" y="30"/>
                  </a:lnTo>
                  <a:lnTo>
                    <a:pt x="2" y="29"/>
                  </a:lnTo>
                  <a:lnTo>
                    <a:pt x="4" y="29"/>
                  </a:lnTo>
                  <a:lnTo>
                    <a:pt x="7" y="28"/>
                  </a:lnTo>
                  <a:lnTo>
                    <a:pt x="10" y="28"/>
                  </a:lnTo>
                  <a:lnTo>
                    <a:pt x="10" y="25"/>
                  </a:lnTo>
                  <a:lnTo>
                    <a:pt x="11" y="24"/>
                  </a:lnTo>
                  <a:lnTo>
                    <a:pt x="12" y="23"/>
                  </a:lnTo>
                  <a:lnTo>
                    <a:pt x="15" y="22"/>
                  </a:lnTo>
                  <a:lnTo>
                    <a:pt x="17" y="21"/>
                  </a:lnTo>
                  <a:lnTo>
                    <a:pt x="19" y="18"/>
                  </a:lnTo>
                  <a:lnTo>
                    <a:pt x="22" y="17"/>
                  </a:lnTo>
                  <a:lnTo>
                    <a:pt x="24" y="15"/>
                  </a:lnTo>
                  <a:close/>
                  <a:moveTo>
                    <a:pt x="416" y="10"/>
                  </a:moveTo>
                  <a:lnTo>
                    <a:pt x="416" y="10"/>
                  </a:lnTo>
                  <a:lnTo>
                    <a:pt x="418" y="11"/>
                  </a:lnTo>
                  <a:lnTo>
                    <a:pt x="414" y="11"/>
                  </a:lnTo>
                  <a:lnTo>
                    <a:pt x="415" y="10"/>
                  </a:lnTo>
                  <a:lnTo>
                    <a:pt x="416" y="10"/>
                  </a:lnTo>
                  <a:close/>
                  <a:moveTo>
                    <a:pt x="428" y="4"/>
                  </a:moveTo>
                  <a:lnTo>
                    <a:pt x="429" y="4"/>
                  </a:lnTo>
                  <a:lnTo>
                    <a:pt x="429" y="6"/>
                  </a:lnTo>
                  <a:lnTo>
                    <a:pt x="429" y="6"/>
                  </a:lnTo>
                  <a:lnTo>
                    <a:pt x="430" y="7"/>
                  </a:lnTo>
                  <a:lnTo>
                    <a:pt x="431" y="7"/>
                  </a:lnTo>
                  <a:lnTo>
                    <a:pt x="431" y="8"/>
                  </a:lnTo>
                  <a:lnTo>
                    <a:pt x="433" y="8"/>
                  </a:lnTo>
                  <a:lnTo>
                    <a:pt x="434" y="8"/>
                  </a:lnTo>
                  <a:lnTo>
                    <a:pt x="434" y="10"/>
                  </a:lnTo>
                  <a:lnTo>
                    <a:pt x="430" y="10"/>
                  </a:lnTo>
                  <a:lnTo>
                    <a:pt x="431" y="10"/>
                  </a:lnTo>
                  <a:lnTo>
                    <a:pt x="431" y="10"/>
                  </a:lnTo>
                  <a:lnTo>
                    <a:pt x="433" y="11"/>
                  </a:lnTo>
                  <a:lnTo>
                    <a:pt x="434" y="11"/>
                  </a:lnTo>
                  <a:lnTo>
                    <a:pt x="434" y="11"/>
                  </a:lnTo>
                  <a:lnTo>
                    <a:pt x="433" y="13"/>
                  </a:lnTo>
                  <a:lnTo>
                    <a:pt x="433" y="13"/>
                  </a:lnTo>
                  <a:lnTo>
                    <a:pt x="434" y="14"/>
                  </a:lnTo>
                  <a:lnTo>
                    <a:pt x="434" y="13"/>
                  </a:lnTo>
                  <a:lnTo>
                    <a:pt x="434" y="11"/>
                  </a:lnTo>
                  <a:lnTo>
                    <a:pt x="435" y="11"/>
                  </a:lnTo>
                  <a:lnTo>
                    <a:pt x="435" y="11"/>
                  </a:lnTo>
                  <a:lnTo>
                    <a:pt x="435" y="11"/>
                  </a:lnTo>
                  <a:lnTo>
                    <a:pt x="435" y="10"/>
                  </a:lnTo>
                  <a:lnTo>
                    <a:pt x="436" y="10"/>
                  </a:lnTo>
                  <a:lnTo>
                    <a:pt x="437" y="10"/>
                  </a:lnTo>
                  <a:lnTo>
                    <a:pt x="437" y="11"/>
                  </a:lnTo>
                  <a:lnTo>
                    <a:pt x="438" y="11"/>
                  </a:lnTo>
                  <a:lnTo>
                    <a:pt x="438" y="11"/>
                  </a:lnTo>
                  <a:lnTo>
                    <a:pt x="438" y="10"/>
                  </a:lnTo>
                  <a:lnTo>
                    <a:pt x="438" y="8"/>
                  </a:lnTo>
                  <a:lnTo>
                    <a:pt x="439" y="7"/>
                  </a:lnTo>
                  <a:lnTo>
                    <a:pt x="441" y="7"/>
                  </a:lnTo>
                  <a:lnTo>
                    <a:pt x="442" y="7"/>
                  </a:lnTo>
                  <a:lnTo>
                    <a:pt x="442" y="8"/>
                  </a:lnTo>
                  <a:lnTo>
                    <a:pt x="442" y="8"/>
                  </a:lnTo>
                  <a:lnTo>
                    <a:pt x="442" y="9"/>
                  </a:lnTo>
                  <a:lnTo>
                    <a:pt x="443" y="9"/>
                  </a:lnTo>
                  <a:lnTo>
                    <a:pt x="444" y="10"/>
                  </a:lnTo>
                  <a:lnTo>
                    <a:pt x="444" y="9"/>
                  </a:lnTo>
                  <a:lnTo>
                    <a:pt x="444" y="8"/>
                  </a:lnTo>
                  <a:lnTo>
                    <a:pt x="444" y="8"/>
                  </a:lnTo>
                  <a:lnTo>
                    <a:pt x="444" y="8"/>
                  </a:lnTo>
                  <a:lnTo>
                    <a:pt x="445" y="8"/>
                  </a:lnTo>
                  <a:lnTo>
                    <a:pt x="446" y="7"/>
                  </a:lnTo>
                  <a:lnTo>
                    <a:pt x="448" y="7"/>
                  </a:lnTo>
                  <a:lnTo>
                    <a:pt x="448" y="7"/>
                  </a:lnTo>
                  <a:lnTo>
                    <a:pt x="449" y="7"/>
                  </a:lnTo>
                  <a:lnTo>
                    <a:pt x="449" y="8"/>
                  </a:lnTo>
                  <a:lnTo>
                    <a:pt x="450" y="8"/>
                  </a:lnTo>
                  <a:lnTo>
                    <a:pt x="451" y="8"/>
                  </a:lnTo>
                  <a:lnTo>
                    <a:pt x="451" y="8"/>
                  </a:lnTo>
                  <a:lnTo>
                    <a:pt x="451" y="9"/>
                  </a:lnTo>
                  <a:lnTo>
                    <a:pt x="452" y="9"/>
                  </a:lnTo>
                  <a:lnTo>
                    <a:pt x="452" y="10"/>
                  </a:lnTo>
                  <a:lnTo>
                    <a:pt x="453" y="9"/>
                  </a:lnTo>
                  <a:lnTo>
                    <a:pt x="453" y="9"/>
                  </a:lnTo>
                  <a:lnTo>
                    <a:pt x="452" y="8"/>
                  </a:lnTo>
                  <a:lnTo>
                    <a:pt x="451" y="8"/>
                  </a:lnTo>
                  <a:lnTo>
                    <a:pt x="452" y="7"/>
                  </a:lnTo>
                  <a:lnTo>
                    <a:pt x="453" y="7"/>
                  </a:lnTo>
                  <a:lnTo>
                    <a:pt x="454" y="8"/>
                  </a:lnTo>
                  <a:lnTo>
                    <a:pt x="456" y="8"/>
                  </a:lnTo>
                  <a:lnTo>
                    <a:pt x="457" y="8"/>
                  </a:lnTo>
                  <a:lnTo>
                    <a:pt x="458" y="7"/>
                  </a:lnTo>
                  <a:lnTo>
                    <a:pt x="458" y="7"/>
                  </a:lnTo>
                  <a:lnTo>
                    <a:pt x="458" y="7"/>
                  </a:lnTo>
                  <a:lnTo>
                    <a:pt x="461" y="7"/>
                  </a:lnTo>
                  <a:lnTo>
                    <a:pt x="461" y="4"/>
                  </a:lnTo>
                  <a:lnTo>
                    <a:pt x="466" y="4"/>
                  </a:lnTo>
                  <a:lnTo>
                    <a:pt x="466" y="7"/>
                  </a:lnTo>
                  <a:lnTo>
                    <a:pt x="468" y="7"/>
                  </a:lnTo>
                  <a:lnTo>
                    <a:pt x="471" y="4"/>
                  </a:lnTo>
                  <a:lnTo>
                    <a:pt x="472" y="4"/>
                  </a:lnTo>
                  <a:lnTo>
                    <a:pt x="474" y="4"/>
                  </a:lnTo>
                  <a:lnTo>
                    <a:pt x="472" y="6"/>
                  </a:lnTo>
                  <a:lnTo>
                    <a:pt x="472" y="6"/>
                  </a:lnTo>
                  <a:lnTo>
                    <a:pt x="471" y="6"/>
                  </a:lnTo>
                  <a:lnTo>
                    <a:pt x="472" y="7"/>
                  </a:lnTo>
                  <a:lnTo>
                    <a:pt x="473" y="7"/>
                  </a:lnTo>
                  <a:lnTo>
                    <a:pt x="473" y="8"/>
                  </a:lnTo>
                  <a:lnTo>
                    <a:pt x="472" y="8"/>
                  </a:lnTo>
                  <a:lnTo>
                    <a:pt x="472" y="8"/>
                  </a:lnTo>
                  <a:lnTo>
                    <a:pt x="474" y="8"/>
                  </a:lnTo>
                  <a:lnTo>
                    <a:pt x="474" y="8"/>
                  </a:lnTo>
                  <a:lnTo>
                    <a:pt x="474" y="9"/>
                  </a:lnTo>
                  <a:lnTo>
                    <a:pt x="474" y="9"/>
                  </a:lnTo>
                  <a:lnTo>
                    <a:pt x="475" y="10"/>
                  </a:lnTo>
                  <a:lnTo>
                    <a:pt x="478" y="10"/>
                  </a:lnTo>
                  <a:lnTo>
                    <a:pt x="478" y="10"/>
                  </a:lnTo>
                  <a:lnTo>
                    <a:pt x="478" y="10"/>
                  </a:lnTo>
                  <a:lnTo>
                    <a:pt x="476" y="11"/>
                  </a:lnTo>
                  <a:lnTo>
                    <a:pt x="475" y="11"/>
                  </a:lnTo>
                  <a:lnTo>
                    <a:pt x="479" y="11"/>
                  </a:lnTo>
                  <a:lnTo>
                    <a:pt x="479" y="14"/>
                  </a:lnTo>
                  <a:lnTo>
                    <a:pt x="478" y="14"/>
                  </a:lnTo>
                  <a:lnTo>
                    <a:pt x="478" y="14"/>
                  </a:lnTo>
                  <a:lnTo>
                    <a:pt x="476" y="14"/>
                  </a:lnTo>
                  <a:lnTo>
                    <a:pt x="476" y="14"/>
                  </a:lnTo>
                  <a:lnTo>
                    <a:pt x="475" y="15"/>
                  </a:lnTo>
                  <a:lnTo>
                    <a:pt x="474" y="15"/>
                  </a:lnTo>
                  <a:lnTo>
                    <a:pt x="473" y="15"/>
                  </a:lnTo>
                  <a:lnTo>
                    <a:pt x="473" y="16"/>
                  </a:lnTo>
                  <a:lnTo>
                    <a:pt x="473" y="16"/>
                  </a:lnTo>
                  <a:lnTo>
                    <a:pt x="474" y="17"/>
                  </a:lnTo>
                  <a:lnTo>
                    <a:pt x="472" y="17"/>
                  </a:lnTo>
                  <a:lnTo>
                    <a:pt x="472" y="17"/>
                  </a:lnTo>
                  <a:lnTo>
                    <a:pt x="471" y="17"/>
                  </a:lnTo>
                  <a:lnTo>
                    <a:pt x="471" y="17"/>
                  </a:lnTo>
                  <a:lnTo>
                    <a:pt x="471" y="18"/>
                  </a:lnTo>
                  <a:lnTo>
                    <a:pt x="465" y="18"/>
                  </a:lnTo>
                  <a:lnTo>
                    <a:pt x="464" y="19"/>
                  </a:lnTo>
                  <a:lnTo>
                    <a:pt x="461" y="21"/>
                  </a:lnTo>
                  <a:lnTo>
                    <a:pt x="461" y="21"/>
                  </a:lnTo>
                  <a:lnTo>
                    <a:pt x="459" y="21"/>
                  </a:lnTo>
                  <a:lnTo>
                    <a:pt x="459" y="21"/>
                  </a:lnTo>
                  <a:lnTo>
                    <a:pt x="459" y="22"/>
                  </a:lnTo>
                  <a:lnTo>
                    <a:pt x="458" y="22"/>
                  </a:lnTo>
                  <a:lnTo>
                    <a:pt x="458" y="22"/>
                  </a:lnTo>
                  <a:lnTo>
                    <a:pt x="452" y="22"/>
                  </a:lnTo>
                  <a:lnTo>
                    <a:pt x="451" y="22"/>
                  </a:lnTo>
                  <a:lnTo>
                    <a:pt x="450" y="23"/>
                  </a:lnTo>
                  <a:lnTo>
                    <a:pt x="449" y="24"/>
                  </a:lnTo>
                  <a:lnTo>
                    <a:pt x="448" y="24"/>
                  </a:lnTo>
                  <a:lnTo>
                    <a:pt x="445" y="24"/>
                  </a:lnTo>
                  <a:lnTo>
                    <a:pt x="444" y="25"/>
                  </a:lnTo>
                  <a:lnTo>
                    <a:pt x="443" y="25"/>
                  </a:lnTo>
                  <a:lnTo>
                    <a:pt x="441" y="24"/>
                  </a:lnTo>
                  <a:lnTo>
                    <a:pt x="439" y="24"/>
                  </a:lnTo>
                  <a:lnTo>
                    <a:pt x="437" y="24"/>
                  </a:lnTo>
                  <a:lnTo>
                    <a:pt x="435" y="23"/>
                  </a:lnTo>
                  <a:lnTo>
                    <a:pt x="434" y="23"/>
                  </a:lnTo>
                  <a:lnTo>
                    <a:pt x="433" y="23"/>
                  </a:lnTo>
                  <a:lnTo>
                    <a:pt x="430" y="22"/>
                  </a:lnTo>
                  <a:lnTo>
                    <a:pt x="428" y="22"/>
                  </a:lnTo>
                  <a:lnTo>
                    <a:pt x="421" y="22"/>
                  </a:lnTo>
                  <a:lnTo>
                    <a:pt x="422" y="21"/>
                  </a:lnTo>
                  <a:lnTo>
                    <a:pt x="424" y="21"/>
                  </a:lnTo>
                  <a:lnTo>
                    <a:pt x="426" y="19"/>
                  </a:lnTo>
                  <a:lnTo>
                    <a:pt x="427" y="18"/>
                  </a:lnTo>
                  <a:lnTo>
                    <a:pt x="426" y="17"/>
                  </a:lnTo>
                  <a:lnTo>
                    <a:pt x="424" y="17"/>
                  </a:lnTo>
                  <a:lnTo>
                    <a:pt x="424" y="17"/>
                  </a:lnTo>
                  <a:lnTo>
                    <a:pt x="423" y="16"/>
                  </a:lnTo>
                  <a:lnTo>
                    <a:pt x="421" y="16"/>
                  </a:lnTo>
                  <a:lnTo>
                    <a:pt x="419" y="16"/>
                  </a:lnTo>
                  <a:lnTo>
                    <a:pt x="418" y="17"/>
                  </a:lnTo>
                  <a:lnTo>
                    <a:pt x="416" y="17"/>
                  </a:lnTo>
                  <a:lnTo>
                    <a:pt x="416" y="15"/>
                  </a:lnTo>
                  <a:lnTo>
                    <a:pt x="423" y="15"/>
                  </a:lnTo>
                  <a:lnTo>
                    <a:pt x="424" y="15"/>
                  </a:lnTo>
                  <a:lnTo>
                    <a:pt x="426" y="15"/>
                  </a:lnTo>
                  <a:lnTo>
                    <a:pt x="428" y="14"/>
                  </a:lnTo>
                  <a:lnTo>
                    <a:pt x="428" y="14"/>
                  </a:lnTo>
                  <a:lnTo>
                    <a:pt x="428" y="14"/>
                  </a:lnTo>
                  <a:lnTo>
                    <a:pt x="429" y="14"/>
                  </a:lnTo>
                  <a:lnTo>
                    <a:pt x="428" y="14"/>
                  </a:lnTo>
                  <a:lnTo>
                    <a:pt x="428" y="14"/>
                  </a:lnTo>
                  <a:lnTo>
                    <a:pt x="428" y="14"/>
                  </a:lnTo>
                  <a:lnTo>
                    <a:pt x="427" y="14"/>
                  </a:lnTo>
                  <a:lnTo>
                    <a:pt x="427" y="14"/>
                  </a:lnTo>
                  <a:lnTo>
                    <a:pt x="424" y="14"/>
                  </a:lnTo>
                  <a:lnTo>
                    <a:pt x="426" y="13"/>
                  </a:lnTo>
                  <a:lnTo>
                    <a:pt x="427" y="13"/>
                  </a:lnTo>
                  <a:lnTo>
                    <a:pt x="428" y="11"/>
                  </a:lnTo>
                  <a:lnTo>
                    <a:pt x="430" y="11"/>
                  </a:lnTo>
                  <a:lnTo>
                    <a:pt x="418" y="11"/>
                  </a:lnTo>
                  <a:lnTo>
                    <a:pt x="418" y="10"/>
                  </a:lnTo>
                  <a:lnTo>
                    <a:pt x="421" y="10"/>
                  </a:lnTo>
                  <a:lnTo>
                    <a:pt x="420" y="9"/>
                  </a:lnTo>
                  <a:lnTo>
                    <a:pt x="420" y="9"/>
                  </a:lnTo>
                  <a:lnTo>
                    <a:pt x="420" y="8"/>
                  </a:lnTo>
                  <a:lnTo>
                    <a:pt x="421" y="8"/>
                  </a:lnTo>
                  <a:lnTo>
                    <a:pt x="421" y="7"/>
                  </a:lnTo>
                  <a:lnTo>
                    <a:pt x="422" y="7"/>
                  </a:lnTo>
                  <a:lnTo>
                    <a:pt x="422" y="7"/>
                  </a:lnTo>
                  <a:lnTo>
                    <a:pt x="423" y="7"/>
                  </a:lnTo>
                  <a:lnTo>
                    <a:pt x="424" y="7"/>
                  </a:lnTo>
                  <a:lnTo>
                    <a:pt x="426" y="8"/>
                  </a:lnTo>
                  <a:lnTo>
                    <a:pt x="426" y="9"/>
                  </a:lnTo>
                  <a:lnTo>
                    <a:pt x="427" y="10"/>
                  </a:lnTo>
                  <a:lnTo>
                    <a:pt x="428" y="9"/>
                  </a:lnTo>
                  <a:lnTo>
                    <a:pt x="428" y="8"/>
                  </a:lnTo>
                  <a:lnTo>
                    <a:pt x="428" y="8"/>
                  </a:lnTo>
                  <a:lnTo>
                    <a:pt x="427" y="8"/>
                  </a:lnTo>
                  <a:lnTo>
                    <a:pt x="427" y="7"/>
                  </a:lnTo>
                  <a:lnTo>
                    <a:pt x="424" y="7"/>
                  </a:lnTo>
                  <a:lnTo>
                    <a:pt x="424" y="6"/>
                  </a:lnTo>
                  <a:lnTo>
                    <a:pt x="426" y="4"/>
                  </a:lnTo>
                  <a:lnTo>
                    <a:pt x="427" y="4"/>
                  </a:lnTo>
                  <a:lnTo>
                    <a:pt x="428" y="4"/>
                  </a:lnTo>
                  <a:close/>
                  <a:moveTo>
                    <a:pt x="689" y="0"/>
                  </a:moveTo>
                  <a:lnTo>
                    <a:pt x="690" y="0"/>
                  </a:lnTo>
                  <a:lnTo>
                    <a:pt x="690" y="0"/>
                  </a:lnTo>
                  <a:lnTo>
                    <a:pt x="691" y="1"/>
                  </a:lnTo>
                  <a:lnTo>
                    <a:pt x="692" y="1"/>
                  </a:lnTo>
                  <a:lnTo>
                    <a:pt x="693" y="1"/>
                  </a:lnTo>
                  <a:lnTo>
                    <a:pt x="693" y="1"/>
                  </a:lnTo>
                  <a:lnTo>
                    <a:pt x="692" y="2"/>
                  </a:lnTo>
                  <a:lnTo>
                    <a:pt x="692" y="3"/>
                  </a:lnTo>
                  <a:lnTo>
                    <a:pt x="691" y="4"/>
                  </a:lnTo>
                  <a:lnTo>
                    <a:pt x="691" y="6"/>
                  </a:lnTo>
                  <a:lnTo>
                    <a:pt x="691" y="7"/>
                  </a:lnTo>
                  <a:lnTo>
                    <a:pt x="692" y="7"/>
                  </a:lnTo>
                  <a:lnTo>
                    <a:pt x="695" y="4"/>
                  </a:lnTo>
                  <a:lnTo>
                    <a:pt x="696" y="3"/>
                  </a:lnTo>
                  <a:lnTo>
                    <a:pt x="696" y="2"/>
                  </a:lnTo>
                  <a:lnTo>
                    <a:pt x="697" y="1"/>
                  </a:lnTo>
                  <a:lnTo>
                    <a:pt x="697" y="1"/>
                  </a:lnTo>
                  <a:lnTo>
                    <a:pt x="697" y="2"/>
                  </a:lnTo>
                  <a:lnTo>
                    <a:pt x="697" y="3"/>
                  </a:lnTo>
                  <a:lnTo>
                    <a:pt x="697" y="4"/>
                  </a:lnTo>
                  <a:lnTo>
                    <a:pt x="697" y="4"/>
                  </a:lnTo>
                  <a:lnTo>
                    <a:pt x="697" y="4"/>
                  </a:lnTo>
                  <a:lnTo>
                    <a:pt x="698" y="4"/>
                  </a:lnTo>
                  <a:lnTo>
                    <a:pt x="699" y="3"/>
                  </a:lnTo>
                  <a:lnTo>
                    <a:pt x="699" y="2"/>
                  </a:lnTo>
                  <a:lnTo>
                    <a:pt x="699" y="1"/>
                  </a:lnTo>
                  <a:lnTo>
                    <a:pt x="700" y="1"/>
                  </a:lnTo>
                  <a:lnTo>
                    <a:pt x="702" y="2"/>
                  </a:lnTo>
                  <a:lnTo>
                    <a:pt x="703" y="3"/>
                  </a:lnTo>
                  <a:lnTo>
                    <a:pt x="703" y="4"/>
                  </a:lnTo>
                  <a:lnTo>
                    <a:pt x="703" y="4"/>
                  </a:lnTo>
                  <a:lnTo>
                    <a:pt x="702" y="4"/>
                  </a:lnTo>
                  <a:lnTo>
                    <a:pt x="703" y="4"/>
                  </a:lnTo>
                  <a:lnTo>
                    <a:pt x="704" y="4"/>
                  </a:lnTo>
                  <a:lnTo>
                    <a:pt x="704" y="6"/>
                  </a:lnTo>
                  <a:lnTo>
                    <a:pt x="704" y="6"/>
                  </a:lnTo>
                  <a:lnTo>
                    <a:pt x="704" y="4"/>
                  </a:lnTo>
                  <a:lnTo>
                    <a:pt x="706" y="3"/>
                  </a:lnTo>
                  <a:lnTo>
                    <a:pt x="707" y="3"/>
                  </a:lnTo>
                  <a:lnTo>
                    <a:pt x="707" y="3"/>
                  </a:lnTo>
                  <a:lnTo>
                    <a:pt x="708" y="4"/>
                  </a:lnTo>
                  <a:lnTo>
                    <a:pt x="708" y="4"/>
                  </a:lnTo>
                  <a:lnTo>
                    <a:pt x="710" y="4"/>
                  </a:lnTo>
                  <a:lnTo>
                    <a:pt x="711" y="4"/>
                  </a:lnTo>
                  <a:lnTo>
                    <a:pt x="712" y="4"/>
                  </a:lnTo>
                  <a:lnTo>
                    <a:pt x="713" y="6"/>
                  </a:lnTo>
                  <a:lnTo>
                    <a:pt x="715" y="8"/>
                  </a:lnTo>
                  <a:lnTo>
                    <a:pt x="715" y="9"/>
                  </a:lnTo>
                  <a:lnTo>
                    <a:pt x="714" y="9"/>
                  </a:lnTo>
                  <a:lnTo>
                    <a:pt x="713" y="9"/>
                  </a:lnTo>
                  <a:lnTo>
                    <a:pt x="711" y="8"/>
                  </a:lnTo>
                  <a:lnTo>
                    <a:pt x="710" y="8"/>
                  </a:lnTo>
                  <a:lnTo>
                    <a:pt x="707" y="8"/>
                  </a:lnTo>
                  <a:lnTo>
                    <a:pt x="710" y="8"/>
                  </a:lnTo>
                  <a:lnTo>
                    <a:pt x="711" y="9"/>
                  </a:lnTo>
                  <a:lnTo>
                    <a:pt x="713" y="9"/>
                  </a:lnTo>
                  <a:lnTo>
                    <a:pt x="715" y="10"/>
                  </a:lnTo>
                  <a:lnTo>
                    <a:pt x="717" y="9"/>
                  </a:lnTo>
                  <a:lnTo>
                    <a:pt x="718" y="9"/>
                  </a:lnTo>
                  <a:lnTo>
                    <a:pt x="719" y="10"/>
                  </a:lnTo>
                  <a:lnTo>
                    <a:pt x="720" y="10"/>
                  </a:lnTo>
                  <a:lnTo>
                    <a:pt x="720" y="11"/>
                  </a:lnTo>
                  <a:lnTo>
                    <a:pt x="720" y="10"/>
                  </a:lnTo>
                  <a:lnTo>
                    <a:pt x="720" y="10"/>
                  </a:lnTo>
                  <a:lnTo>
                    <a:pt x="720" y="9"/>
                  </a:lnTo>
                  <a:lnTo>
                    <a:pt x="721" y="9"/>
                  </a:lnTo>
                  <a:lnTo>
                    <a:pt x="722" y="9"/>
                  </a:lnTo>
                  <a:lnTo>
                    <a:pt x="725" y="10"/>
                  </a:lnTo>
                  <a:lnTo>
                    <a:pt x="726" y="10"/>
                  </a:lnTo>
                  <a:lnTo>
                    <a:pt x="727" y="11"/>
                  </a:lnTo>
                  <a:lnTo>
                    <a:pt x="727" y="11"/>
                  </a:lnTo>
                  <a:lnTo>
                    <a:pt x="726" y="11"/>
                  </a:lnTo>
                  <a:lnTo>
                    <a:pt x="723" y="10"/>
                  </a:lnTo>
                  <a:lnTo>
                    <a:pt x="722" y="10"/>
                  </a:lnTo>
                  <a:lnTo>
                    <a:pt x="721" y="11"/>
                  </a:lnTo>
                  <a:lnTo>
                    <a:pt x="722" y="11"/>
                  </a:lnTo>
                  <a:lnTo>
                    <a:pt x="723" y="11"/>
                  </a:lnTo>
                  <a:lnTo>
                    <a:pt x="726" y="13"/>
                  </a:lnTo>
                  <a:lnTo>
                    <a:pt x="727" y="13"/>
                  </a:lnTo>
                  <a:lnTo>
                    <a:pt x="729" y="14"/>
                  </a:lnTo>
                  <a:lnTo>
                    <a:pt x="729" y="13"/>
                  </a:lnTo>
                  <a:lnTo>
                    <a:pt x="729" y="13"/>
                  </a:lnTo>
                  <a:lnTo>
                    <a:pt x="730" y="13"/>
                  </a:lnTo>
                  <a:lnTo>
                    <a:pt x="730" y="14"/>
                  </a:lnTo>
                  <a:lnTo>
                    <a:pt x="732" y="13"/>
                  </a:lnTo>
                  <a:lnTo>
                    <a:pt x="733" y="13"/>
                  </a:lnTo>
                  <a:lnTo>
                    <a:pt x="735" y="13"/>
                  </a:lnTo>
                  <a:lnTo>
                    <a:pt x="736" y="13"/>
                  </a:lnTo>
                  <a:lnTo>
                    <a:pt x="740" y="11"/>
                  </a:lnTo>
                  <a:lnTo>
                    <a:pt x="742" y="11"/>
                  </a:lnTo>
                  <a:lnTo>
                    <a:pt x="744" y="13"/>
                  </a:lnTo>
                  <a:lnTo>
                    <a:pt x="748" y="14"/>
                  </a:lnTo>
                  <a:lnTo>
                    <a:pt x="750" y="15"/>
                  </a:lnTo>
                  <a:lnTo>
                    <a:pt x="752" y="15"/>
                  </a:lnTo>
                  <a:lnTo>
                    <a:pt x="755" y="15"/>
                  </a:lnTo>
                  <a:lnTo>
                    <a:pt x="756" y="15"/>
                  </a:lnTo>
                  <a:lnTo>
                    <a:pt x="758" y="16"/>
                  </a:lnTo>
                  <a:lnTo>
                    <a:pt x="760" y="17"/>
                  </a:lnTo>
                  <a:lnTo>
                    <a:pt x="764" y="18"/>
                  </a:lnTo>
                  <a:lnTo>
                    <a:pt x="766" y="18"/>
                  </a:lnTo>
                  <a:lnTo>
                    <a:pt x="768" y="18"/>
                  </a:lnTo>
                  <a:lnTo>
                    <a:pt x="771" y="18"/>
                  </a:lnTo>
                  <a:lnTo>
                    <a:pt x="774" y="18"/>
                  </a:lnTo>
                  <a:lnTo>
                    <a:pt x="777" y="19"/>
                  </a:lnTo>
                  <a:lnTo>
                    <a:pt x="779" y="21"/>
                  </a:lnTo>
                  <a:lnTo>
                    <a:pt x="781" y="22"/>
                  </a:lnTo>
                  <a:lnTo>
                    <a:pt x="784" y="22"/>
                  </a:lnTo>
                  <a:lnTo>
                    <a:pt x="784" y="22"/>
                  </a:lnTo>
                  <a:lnTo>
                    <a:pt x="785" y="23"/>
                  </a:lnTo>
                  <a:lnTo>
                    <a:pt x="786" y="23"/>
                  </a:lnTo>
                  <a:lnTo>
                    <a:pt x="787" y="24"/>
                  </a:lnTo>
                  <a:lnTo>
                    <a:pt x="787" y="24"/>
                  </a:lnTo>
                  <a:lnTo>
                    <a:pt x="788" y="24"/>
                  </a:lnTo>
                  <a:lnTo>
                    <a:pt x="789" y="25"/>
                  </a:lnTo>
                  <a:lnTo>
                    <a:pt x="790" y="26"/>
                  </a:lnTo>
                  <a:lnTo>
                    <a:pt x="790" y="26"/>
                  </a:lnTo>
                  <a:lnTo>
                    <a:pt x="790" y="28"/>
                  </a:lnTo>
                  <a:lnTo>
                    <a:pt x="790" y="29"/>
                  </a:lnTo>
                  <a:lnTo>
                    <a:pt x="790" y="29"/>
                  </a:lnTo>
                  <a:lnTo>
                    <a:pt x="790" y="29"/>
                  </a:lnTo>
                  <a:lnTo>
                    <a:pt x="790" y="29"/>
                  </a:lnTo>
                  <a:lnTo>
                    <a:pt x="789" y="29"/>
                  </a:lnTo>
                  <a:lnTo>
                    <a:pt x="788" y="30"/>
                  </a:lnTo>
                  <a:lnTo>
                    <a:pt x="787" y="31"/>
                  </a:lnTo>
                  <a:lnTo>
                    <a:pt x="786" y="33"/>
                  </a:lnTo>
                  <a:lnTo>
                    <a:pt x="784" y="34"/>
                  </a:lnTo>
                  <a:lnTo>
                    <a:pt x="781" y="33"/>
                  </a:lnTo>
                  <a:lnTo>
                    <a:pt x="779" y="33"/>
                  </a:lnTo>
                  <a:lnTo>
                    <a:pt x="773" y="32"/>
                  </a:lnTo>
                  <a:lnTo>
                    <a:pt x="764" y="31"/>
                  </a:lnTo>
                  <a:lnTo>
                    <a:pt x="758" y="30"/>
                  </a:lnTo>
                  <a:lnTo>
                    <a:pt x="755" y="29"/>
                  </a:lnTo>
                  <a:lnTo>
                    <a:pt x="751" y="29"/>
                  </a:lnTo>
                  <a:lnTo>
                    <a:pt x="750" y="28"/>
                  </a:lnTo>
                  <a:lnTo>
                    <a:pt x="749" y="28"/>
                  </a:lnTo>
                  <a:lnTo>
                    <a:pt x="748" y="26"/>
                  </a:lnTo>
                  <a:lnTo>
                    <a:pt x="748" y="26"/>
                  </a:lnTo>
                  <a:lnTo>
                    <a:pt x="748" y="26"/>
                  </a:lnTo>
                  <a:lnTo>
                    <a:pt x="747" y="28"/>
                  </a:lnTo>
                  <a:lnTo>
                    <a:pt x="745" y="28"/>
                  </a:lnTo>
                  <a:lnTo>
                    <a:pt x="744" y="28"/>
                  </a:lnTo>
                  <a:lnTo>
                    <a:pt x="744" y="26"/>
                  </a:lnTo>
                  <a:lnTo>
                    <a:pt x="743" y="26"/>
                  </a:lnTo>
                  <a:lnTo>
                    <a:pt x="743" y="28"/>
                  </a:lnTo>
                  <a:lnTo>
                    <a:pt x="742" y="26"/>
                  </a:lnTo>
                  <a:lnTo>
                    <a:pt x="742" y="26"/>
                  </a:lnTo>
                  <a:lnTo>
                    <a:pt x="742" y="26"/>
                  </a:lnTo>
                  <a:lnTo>
                    <a:pt x="741" y="25"/>
                  </a:lnTo>
                  <a:lnTo>
                    <a:pt x="740" y="25"/>
                  </a:lnTo>
                  <a:lnTo>
                    <a:pt x="740" y="26"/>
                  </a:lnTo>
                  <a:lnTo>
                    <a:pt x="738" y="26"/>
                  </a:lnTo>
                  <a:lnTo>
                    <a:pt x="737" y="25"/>
                  </a:lnTo>
                  <a:lnTo>
                    <a:pt x="736" y="25"/>
                  </a:lnTo>
                  <a:lnTo>
                    <a:pt x="734" y="25"/>
                  </a:lnTo>
                  <a:lnTo>
                    <a:pt x="733" y="25"/>
                  </a:lnTo>
                  <a:lnTo>
                    <a:pt x="733" y="24"/>
                  </a:lnTo>
                  <a:lnTo>
                    <a:pt x="733" y="25"/>
                  </a:lnTo>
                  <a:lnTo>
                    <a:pt x="733" y="26"/>
                  </a:lnTo>
                  <a:lnTo>
                    <a:pt x="735" y="26"/>
                  </a:lnTo>
                  <a:lnTo>
                    <a:pt x="737" y="28"/>
                  </a:lnTo>
                  <a:lnTo>
                    <a:pt x="738" y="28"/>
                  </a:lnTo>
                  <a:lnTo>
                    <a:pt x="740" y="28"/>
                  </a:lnTo>
                  <a:lnTo>
                    <a:pt x="740" y="28"/>
                  </a:lnTo>
                  <a:lnTo>
                    <a:pt x="738" y="28"/>
                  </a:lnTo>
                  <a:lnTo>
                    <a:pt x="738" y="28"/>
                  </a:lnTo>
                  <a:lnTo>
                    <a:pt x="740" y="28"/>
                  </a:lnTo>
                  <a:lnTo>
                    <a:pt x="741" y="29"/>
                  </a:lnTo>
                  <a:lnTo>
                    <a:pt x="743" y="30"/>
                  </a:lnTo>
                  <a:lnTo>
                    <a:pt x="743" y="30"/>
                  </a:lnTo>
                  <a:lnTo>
                    <a:pt x="743" y="30"/>
                  </a:lnTo>
                  <a:lnTo>
                    <a:pt x="743" y="30"/>
                  </a:lnTo>
                  <a:lnTo>
                    <a:pt x="742" y="30"/>
                  </a:lnTo>
                  <a:lnTo>
                    <a:pt x="743" y="30"/>
                  </a:lnTo>
                  <a:lnTo>
                    <a:pt x="744" y="31"/>
                  </a:lnTo>
                  <a:lnTo>
                    <a:pt x="747" y="31"/>
                  </a:lnTo>
                  <a:lnTo>
                    <a:pt x="748" y="31"/>
                  </a:lnTo>
                  <a:lnTo>
                    <a:pt x="749" y="31"/>
                  </a:lnTo>
                  <a:lnTo>
                    <a:pt x="750" y="32"/>
                  </a:lnTo>
                  <a:lnTo>
                    <a:pt x="751" y="32"/>
                  </a:lnTo>
                  <a:lnTo>
                    <a:pt x="752" y="33"/>
                  </a:lnTo>
                  <a:lnTo>
                    <a:pt x="753" y="33"/>
                  </a:lnTo>
                  <a:lnTo>
                    <a:pt x="755" y="33"/>
                  </a:lnTo>
                  <a:lnTo>
                    <a:pt x="755" y="34"/>
                  </a:lnTo>
                  <a:lnTo>
                    <a:pt x="755" y="36"/>
                  </a:lnTo>
                  <a:lnTo>
                    <a:pt x="755" y="36"/>
                  </a:lnTo>
                  <a:lnTo>
                    <a:pt x="755" y="36"/>
                  </a:lnTo>
                  <a:lnTo>
                    <a:pt x="755" y="36"/>
                  </a:lnTo>
                  <a:lnTo>
                    <a:pt x="755" y="37"/>
                  </a:lnTo>
                  <a:lnTo>
                    <a:pt x="755" y="37"/>
                  </a:lnTo>
                  <a:lnTo>
                    <a:pt x="755" y="38"/>
                  </a:lnTo>
                  <a:lnTo>
                    <a:pt x="757" y="38"/>
                  </a:lnTo>
                  <a:lnTo>
                    <a:pt x="757" y="38"/>
                  </a:lnTo>
                  <a:lnTo>
                    <a:pt x="757" y="39"/>
                  </a:lnTo>
                  <a:lnTo>
                    <a:pt x="757" y="39"/>
                  </a:lnTo>
                  <a:lnTo>
                    <a:pt x="757" y="40"/>
                  </a:lnTo>
                  <a:lnTo>
                    <a:pt x="758" y="41"/>
                  </a:lnTo>
                  <a:lnTo>
                    <a:pt x="759" y="41"/>
                  </a:lnTo>
                  <a:lnTo>
                    <a:pt x="758" y="41"/>
                  </a:lnTo>
                  <a:lnTo>
                    <a:pt x="758" y="41"/>
                  </a:lnTo>
                  <a:lnTo>
                    <a:pt x="757" y="41"/>
                  </a:lnTo>
                  <a:lnTo>
                    <a:pt x="757" y="43"/>
                  </a:lnTo>
                  <a:lnTo>
                    <a:pt x="758" y="43"/>
                  </a:lnTo>
                  <a:lnTo>
                    <a:pt x="760" y="43"/>
                  </a:lnTo>
                  <a:lnTo>
                    <a:pt x="763" y="43"/>
                  </a:lnTo>
                  <a:lnTo>
                    <a:pt x="765" y="44"/>
                  </a:lnTo>
                  <a:lnTo>
                    <a:pt x="767" y="45"/>
                  </a:lnTo>
                  <a:lnTo>
                    <a:pt x="768" y="45"/>
                  </a:lnTo>
                  <a:lnTo>
                    <a:pt x="771" y="45"/>
                  </a:lnTo>
                  <a:lnTo>
                    <a:pt x="773" y="45"/>
                  </a:lnTo>
                  <a:lnTo>
                    <a:pt x="775" y="46"/>
                  </a:lnTo>
                  <a:lnTo>
                    <a:pt x="778" y="46"/>
                  </a:lnTo>
                  <a:lnTo>
                    <a:pt x="778" y="47"/>
                  </a:lnTo>
                  <a:lnTo>
                    <a:pt x="778" y="46"/>
                  </a:lnTo>
                  <a:lnTo>
                    <a:pt x="779" y="45"/>
                  </a:lnTo>
                  <a:lnTo>
                    <a:pt x="780" y="45"/>
                  </a:lnTo>
                  <a:lnTo>
                    <a:pt x="780" y="44"/>
                  </a:lnTo>
                  <a:lnTo>
                    <a:pt x="780" y="44"/>
                  </a:lnTo>
                  <a:lnTo>
                    <a:pt x="778" y="43"/>
                  </a:lnTo>
                  <a:lnTo>
                    <a:pt x="774" y="43"/>
                  </a:lnTo>
                  <a:lnTo>
                    <a:pt x="772" y="43"/>
                  </a:lnTo>
                  <a:lnTo>
                    <a:pt x="771" y="43"/>
                  </a:lnTo>
                  <a:lnTo>
                    <a:pt x="771" y="43"/>
                  </a:lnTo>
                  <a:lnTo>
                    <a:pt x="771" y="41"/>
                  </a:lnTo>
                  <a:lnTo>
                    <a:pt x="771" y="41"/>
                  </a:lnTo>
                  <a:lnTo>
                    <a:pt x="770" y="41"/>
                  </a:lnTo>
                  <a:lnTo>
                    <a:pt x="768" y="41"/>
                  </a:lnTo>
                  <a:lnTo>
                    <a:pt x="768" y="40"/>
                  </a:lnTo>
                  <a:lnTo>
                    <a:pt x="768" y="39"/>
                  </a:lnTo>
                  <a:lnTo>
                    <a:pt x="770" y="39"/>
                  </a:lnTo>
                  <a:lnTo>
                    <a:pt x="771" y="39"/>
                  </a:lnTo>
                  <a:lnTo>
                    <a:pt x="771" y="39"/>
                  </a:lnTo>
                  <a:lnTo>
                    <a:pt x="771" y="39"/>
                  </a:lnTo>
                  <a:lnTo>
                    <a:pt x="772" y="39"/>
                  </a:lnTo>
                  <a:lnTo>
                    <a:pt x="773" y="39"/>
                  </a:lnTo>
                  <a:lnTo>
                    <a:pt x="777" y="39"/>
                  </a:lnTo>
                  <a:lnTo>
                    <a:pt x="778" y="39"/>
                  </a:lnTo>
                  <a:lnTo>
                    <a:pt x="778" y="39"/>
                  </a:lnTo>
                  <a:lnTo>
                    <a:pt x="778" y="40"/>
                  </a:lnTo>
                  <a:lnTo>
                    <a:pt x="778" y="40"/>
                  </a:lnTo>
                  <a:lnTo>
                    <a:pt x="777" y="40"/>
                  </a:lnTo>
                  <a:lnTo>
                    <a:pt x="777" y="41"/>
                  </a:lnTo>
                  <a:lnTo>
                    <a:pt x="778" y="41"/>
                  </a:lnTo>
                  <a:lnTo>
                    <a:pt x="781" y="40"/>
                  </a:lnTo>
                  <a:lnTo>
                    <a:pt x="784" y="40"/>
                  </a:lnTo>
                  <a:lnTo>
                    <a:pt x="785" y="41"/>
                  </a:lnTo>
                  <a:lnTo>
                    <a:pt x="786" y="41"/>
                  </a:lnTo>
                  <a:lnTo>
                    <a:pt x="787" y="41"/>
                  </a:lnTo>
                  <a:lnTo>
                    <a:pt x="788" y="41"/>
                  </a:lnTo>
                  <a:lnTo>
                    <a:pt x="790" y="41"/>
                  </a:lnTo>
                  <a:lnTo>
                    <a:pt x="792" y="41"/>
                  </a:lnTo>
                  <a:lnTo>
                    <a:pt x="793" y="41"/>
                  </a:lnTo>
                  <a:lnTo>
                    <a:pt x="794" y="41"/>
                  </a:lnTo>
                  <a:lnTo>
                    <a:pt x="795" y="41"/>
                  </a:lnTo>
                  <a:lnTo>
                    <a:pt x="795" y="40"/>
                  </a:lnTo>
                  <a:lnTo>
                    <a:pt x="793" y="39"/>
                  </a:lnTo>
                  <a:lnTo>
                    <a:pt x="790" y="39"/>
                  </a:lnTo>
                  <a:lnTo>
                    <a:pt x="788" y="38"/>
                  </a:lnTo>
                  <a:lnTo>
                    <a:pt x="786" y="37"/>
                  </a:lnTo>
                  <a:lnTo>
                    <a:pt x="785" y="37"/>
                  </a:lnTo>
                  <a:lnTo>
                    <a:pt x="785" y="36"/>
                  </a:lnTo>
                  <a:lnTo>
                    <a:pt x="785" y="36"/>
                  </a:lnTo>
                  <a:lnTo>
                    <a:pt x="785" y="34"/>
                  </a:lnTo>
                  <a:lnTo>
                    <a:pt x="786" y="34"/>
                  </a:lnTo>
                  <a:lnTo>
                    <a:pt x="787" y="33"/>
                  </a:lnTo>
                  <a:lnTo>
                    <a:pt x="788" y="32"/>
                  </a:lnTo>
                  <a:lnTo>
                    <a:pt x="789" y="32"/>
                  </a:lnTo>
                  <a:lnTo>
                    <a:pt x="790" y="32"/>
                  </a:lnTo>
                  <a:lnTo>
                    <a:pt x="792" y="32"/>
                  </a:lnTo>
                  <a:lnTo>
                    <a:pt x="794" y="31"/>
                  </a:lnTo>
                  <a:lnTo>
                    <a:pt x="796" y="30"/>
                  </a:lnTo>
                  <a:lnTo>
                    <a:pt x="799" y="30"/>
                  </a:lnTo>
                  <a:lnTo>
                    <a:pt x="800" y="31"/>
                  </a:lnTo>
                  <a:lnTo>
                    <a:pt x="800" y="31"/>
                  </a:lnTo>
                  <a:lnTo>
                    <a:pt x="801" y="32"/>
                  </a:lnTo>
                  <a:lnTo>
                    <a:pt x="801" y="32"/>
                  </a:lnTo>
                  <a:lnTo>
                    <a:pt x="802" y="32"/>
                  </a:lnTo>
                  <a:lnTo>
                    <a:pt x="803" y="32"/>
                  </a:lnTo>
                  <a:lnTo>
                    <a:pt x="804" y="32"/>
                  </a:lnTo>
                  <a:lnTo>
                    <a:pt x="807" y="32"/>
                  </a:lnTo>
                  <a:lnTo>
                    <a:pt x="808" y="32"/>
                  </a:lnTo>
                  <a:lnTo>
                    <a:pt x="808" y="33"/>
                  </a:lnTo>
                  <a:lnTo>
                    <a:pt x="808" y="34"/>
                  </a:lnTo>
                  <a:lnTo>
                    <a:pt x="807" y="34"/>
                  </a:lnTo>
                  <a:lnTo>
                    <a:pt x="807" y="34"/>
                  </a:lnTo>
                  <a:lnTo>
                    <a:pt x="807" y="34"/>
                  </a:lnTo>
                  <a:lnTo>
                    <a:pt x="808" y="34"/>
                  </a:lnTo>
                  <a:lnTo>
                    <a:pt x="808" y="34"/>
                  </a:lnTo>
                  <a:lnTo>
                    <a:pt x="808" y="34"/>
                  </a:lnTo>
                  <a:lnTo>
                    <a:pt x="809" y="33"/>
                  </a:lnTo>
                  <a:lnTo>
                    <a:pt x="810" y="33"/>
                  </a:lnTo>
                  <a:lnTo>
                    <a:pt x="811" y="34"/>
                  </a:lnTo>
                  <a:lnTo>
                    <a:pt x="811" y="34"/>
                  </a:lnTo>
                  <a:lnTo>
                    <a:pt x="811" y="34"/>
                  </a:lnTo>
                  <a:lnTo>
                    <a:pt x="811" y="33"/>
                  </a:lnTo>
                  <a:lnTo>
                    <a:pt x="811" y="31"/>
                  </a:lnTo>
                  <a:lnTo>
                    <a:pt x="811" y="30"/>
                  </a:lnTo>
                  <a:lnTo>
                    <a:pt x="811" y="29"/>
                  </a:lnTo>
                  <a:lnTo>
                    <a:pt x="811" y="28"/>
                  </a:lnTo>
                  <a:lnTo>
                    <a:pt x="810" y="28"/>
                  </a:lnTo>
                  <a:lnTo>
                    <a:pt x="809" y="28"/>
                  </a:lnTo>
                  <a:lnTo>
                    <a:pt x="808" y="28"/>
                  </a:lnTo>
                  <a:lnTo>
                    <a:pt x="808" y="26"/>
                  </a:lnTo>
                  <a:lnTo>
                    <a:pt x="808" y="26"/>
                  </a:lnTo>
                  <a:lnTo>
                    <a:pt x="808" y="25"/>
                  </a:lnTo>
                  <a:lnTo>
                    <a:pt x="807" y="24"/>
                  </a:lnTo>
                  <a:lnTo>
                    <a:pt x="805" y="22"/>
                  </a:lnTo>
                  <a:lnTo>
                    <a:pt x="803" y="21"/>
                  </a:lnTo>
                  <a:lnTo>
                    <a:pt x="802" y="19"/>
                  </a:lnTo>
                  <a:lnTo>
                    <a:pt x="801" y="18"/>
                  </a:lnTo>
                  <a:lnTo>
                    <a:pt x="800" y="17"/>
                  </a:lnTo>
                  <a:lnTo>
                    <a:pt x="801" y="17"/>
                  </a:lnTo>
                  <a:lnTo>
                    <a:pt x="801" y="17"/>
                  </a:lnTo>
                  <a:lnTo>
                    <a:pt x="803" y="18"/>
                  </a:lnTo>
                  <a:lnTo>
                    <a:pt x="807" y="18"/>
                  </a:lnTo>
                  <a:lnTo>
                    <a:pt x="811" y="21"/>
                  </a:lnTo>
                  <a:lnTo>
                    <a:pt x="812" y="21"/>
                  </a:lnTo>
                  <a:lnTo>
                    <a:pt x="812" y="21"/>
                  </a:lnTo>
                  <a:lnTo>
                    <a:pt x="812" y="22"/>
                  </a:lnTo>
                  <a:lnTo>
                    <a:pt x="814" y="22"/>
                  </a:lnTo>
                  <a:lnTo>
                    <a:pt x="815" y="22"/>
                  </a:lnTo>
                  <a:lnTo>
                    <a:pt x="816" y="23"/>
                  </a:lnTo>
                  <a:lnTo>
                    <a:pt x="817" y="24"/>
                  </a:lnTo>
                  <a:lnTo>
                    <a:pt x="817" y="24"/>
                  </a:lnTo>
                  <a:lnTo>
                    <a:pt x="817" y="25"/>
                  </a:lnTo>
                  <a:lnTo>
                    <a:pt x="817" y="25"/>
                  </a:lnTo>
                  <a:lnTo>
                    <a:pt x="815" y="25"/>
                  </a:lnTo>
                  <a:lnTo>
                    <a:pt x="814" y="25"/>
                  </a:lnTo>
                  <a:lnTo>
                    <a:pt x="814" y="25"/>
                  </a:lnTo>
                  <a:lnTo>
                    <a:pt x="814" y="25"/>
                  </a:lnTo>
                  <a:lnTo>
                    <a:pt x="815" y="26"/>
                  </a:lnTo>
                  <a:lnTo>
                    <a:pt x="815" y="26"/>
                  </a:lnTo>
                  <a:lnTo>
                    <a:pt x="816" y="28"/>
                  </a:lnTo>
                  <a:lnTo>
                    <a:pt x="818" y="29"/>
                  </a:lnTo>
                  <a:lnTo>
                    <a:pt x="820" y="30"/>
                  </a:lnTo>
                  <a:lnTo>
                    <a:pt x="822" y="30"/>
                  </a:lnTo>
                  <a:lnTo>
                    <a:pt x="822" y="31"/>
                  </a:lnTo>
                  <a:lnTo>
                    <a:pt x="823" y="30"/>
                  </a:lnTo>
                  <a:lnTo>
                    <a:pt x="824" y="30"/>
                  </a:lnTo>
                  <a:lnTo>
                    <a:pt x="825" y="30"/>
                  </a:lnTo>
                  <a:lnTo>
                    <a:pt x="826" y="31"/>
                  </a:lnTo>
                  <a:lnTo>
                    <a:pt x="826" y="30"/>
                  </a:lnTo>
                  <a:lnTo>
                    <a:pt x="827" y="30"/>
                  </a:lnTo>
                  <a:lnTo>
                    <a:pt x="829" y="30"/>
                  </a:lnTo>
                  <a:lnTo>
                    <a:pt x="830" y="31"/>
                  </a:lnTo>
                  <a:lnTo>
                    <a:pt x="831" y="30"/>
                  </a:lnTo>
                  <a:lnTo>
                    <a:pt x="832" y="30"/>
                  </a:lnTo>
                  <a:lnTo>
                    <a:pt x="832" y="31"/>
                  </a:lnTo>
                  <a:lnTo>
                    <a:pt x="832" y="30"/>
                  </a:lnTo>
                  <a:lnTo>
                    <a:pt x="832" y="29"/>
                  </a:lnTo>
                  <a:lnTo>
                    <a:pt x="833" y="28"/>
                  </a:lnTo>
                  <a:lnTo>
                    <a:pt x="872" y="68"/>
                  </a:lnTo>
                  <a:lnTo>
                    <a:pt x="908" y="112"/>
                  </a:lnTo>
                  <a:lnTo>
                    <a:pt x="942" y="159"/>
                  </a:lnTo>
                  <a:lnTo>
                    <a:pt x="969" y="209"/>
                  </a:lnTo>
                  <a:lnTo>
                    <a:pt x="994" y="262"/>
                  </a:lnTo>
                  <a:lnTo>
                    <a:pt x="1013" y="317"/>
                  </a:lnTo>
                  <a:lnTo>
                    <a:pt x="1028" y="374"/>
                  </a:lnTo>
                  <a:lnTo>
                    <a:pt x="1026" y="373"/>
                  </a:lnTo>
                  <a:lnTo>
                    <a:pt x="1026" y="372"/>
                  </a:lnTo>
                  <a:lnTo>
                    <a:pt x="1026" y="371"/>
                  </a:lnTo>
                  <a:lnTo>
                    <a:pt x="1025" y="369"/>
                  </a:lnTo>
                  <a:lnTo>
                    <a:pt x="1024" y="368"/>
                  </a:lnTo>
                  <a:lnTo>
                    <a:pt x="1021" y="367"/>
                  </a:lnTo>
                  <a:lnTo>
                    <a:pt x="1018" y="367"/>
                  </a:lnTo>
                  <a:lnTo>
                    <a:pt x="1017" y="367"/>
                  </a:lnTo>
                  <a:lnTo>
                    <a:pt x="1014" y="368"/>
                  </a:lnTo>
                  <a:lnTo>
                    <a:pt x="1013" y="368"/>
                  </a:lnTo>
                  <a:lnTo>
                    <a:pt x="1012" y="369"/>
                  </a:lnTo>
                  <a:lnTo>
                    <a:pt x="1012" y="369"/>
                  </a:lnTo>
                  <a:lnTo>
                    <a:pt x="1010" y="369"/>
                  </a:lnTo>
                  <a:lnTo>
                    <a:pt x="1009" y="369"/>
                  </a:lnTo>
                  <a:lnTo>
                    <a:pt x="1006" y="371"/>
                  </a:lnTo>
                  <a:lnTo>
                    <a:pt x="1005" y="371"/>
                  </a:lnTo>
                  <a:lnTo>
                    <a:pt x="1003" y="372"/>
                  </a:lnTo>
                  <a:lnTo>
                    <a:pt x="999" y="371"/>
                  </a:lnTo>
                  <a:lnTo>
                    <a:pt x="998" y="369"/>
                  </a:lnTo>
                  <a:lnTo>
                    <a:pt x="997" y="369"/>
                  </a:lnTo>
                  <a:lnTo>
                    <a:pt x="996" y="369"/>
                  </a:lnTo>
                  <a:lnTo>
                    <a:pt x="994" y="369"/>
                  </a:lnTo>
                  <a:lnTo>
                    <a:pt x="992" y="369"/>
                  </a:lnTo>
                  <a:lnTo>
                    <a:pt x="991" y="367"/>
                  </a:lnTo>
                  <a:lnTo>
                    <a:pt x="989" y="365"/>
                  </a:lnTo>
                  <a:lnTo>
                    <a:pt x="989" y="365"/>
                  </a:lnTo>
                  <a:lnTo>
                    <a:pt x="988" y="364"/>
                  </a:lnTo>
                  <a:lnTo>
                    <a:pt x="987" y="364"/>
                  </a:lnTo>
                  <a:lnTo>
                    <a:pt x="987" y="364"/>
                  </a:lnTo>
                  <a:lnTo>
                    <a:pt x="986" y="362"/>
                  </a:lnTo>
                  <a:lnTo>
                    <a:pt x="984" y="360"/>
                  </a:lnTo>
                  <a:lnTo>
                    <a:pt x="984" y="360"/>
                  </a:lnTo>
                  <a:lnTo>
                    <a:pt x="983" y="360"/>
                  </a:lnTo>
                  <a:lnTo>
                    <a:pt x="983" y="360"/>
                  </a:lnTo>
                  <a:lnTo>
                    <a:pt x="982" y="359"/>
                  </a:lnTo>
                  <a:lnTo>
                    <a:pt x="981" y="358"/>
                  </a:lnTo>
                  <a:lnTo>
                    <a:pt x="981" y="358"/>
                  </a:lnTo>
                  <a:lnTo>
                    <a:pt x="980" y="358"/>
                  </a:lnTo>
                  <a:lnTo>
                    <a:pt x="979" y="358"/>
                  </a:lnTo>
                  <a:lnTo>
                    <a:pt x="977" y="357"/>
                  </a:lnTo>
                  <a:lnTo>
                    <a:pt x="976" y="356"/>
                  </a:lnTo>
                  <a:lnTo>
                    <a:pt x="975" y="356"/>
                  </a:lnTo>
                  <a:lnTo>
                    <a:pt x="975" y="356"/>
                  </a:lnTo>
                  <a:lnTo>
                    <a:pt x="974" y="354"/>
                  </a:lnTo>
                  <a:lnTo>
                    <a:pt x="974" y="353"/>
                  </a:lnTo>
                  <a:lnTo>
                    <a:pt x="973" y="351"/>
                  </a:lnTo>
                  <a:lnTo>
                    <a:pt x="972" y="350"/>
                  </a:lnTo>
                  <a:lnTo>
                    <a:pt x="971" y="349"/>
                  </a:lnTo>
                  <a:lnTo>
                    <a:pt x="969" y="347"/>
                  </a:lnTo>
                  <a:lnTo>
                    <a:pt x="968" y="346"/>
                  </a:lnTo>
                  <a:lnTo>
                    <a:pt x="968" y="344"/>
                  </a:lnTo>
                  <a:lnTo>
                    <a:pt x="968" y="344"/>
                  </a:lnTo>
                  <a:lnTo>
                    <a:pt x="968" y="344"/>
                  </a:lnTo>
                  <a:lnTo>
                    <a:pt x="967" y="344"/>
                  </a:lnTo>
                  <a:lnTo>
                    <a:pt x="966" y="343"/>
                  </a:lnTo>
                  <a:lnTo>
                    <a:pt x="965" y="342"/>
                  </a:lnTo>
                  <a:lnTo>
                    <a:pt x="964" y="339"/>
                  </a:lnTo>
                  <a:lnTo>
                    <a:pt x="961" y="337"/>
                  </a:lnTo>
                  <a:lnTo>
                    <a:pt x="960" y="336"/>
                  </a:lnTo>
                  <a:lnTo>
                    <a:pt x="959" y="335"/>
                  </a:lnTo>
                  <a:lnTo>
                    <a:pt x="958" y="336"/>
                  </a:lnTo>
                  <a:lnTo>
                    <a:pt x="958" y="336"/>
                  </a:lnTo>
                  <a:lnTo>
                    <a:pt x="957" y="337"/>
                  </a:lnTo>
                  <a:lnTo>
                    <a:pt x="956" y="337"/>
                  </a:lnTo>
                  <a:lnTo>
                    <a:pt x="954" y="336"/>
                  </a:lnTo>
                  <a:lnTo>
                    <a:pt x="952" y="335"/>
                  </a:lnTo>
                  <a:lnTo>
                    <a:pt x="951" y="334"/>
                  </a:lnTo>
                  <a:lnTo>
                    <a:pt x="951" y="334"/>
                  </a:lnTo>
                  <a:lnTo>
                    <a:pt x="951" y="332"/>
                  </a:lnTo>
                  <a:lnTo>
                    <a:pt x="950" y="334"/>
                  </a:lnTo>
                  <a:lnTo>
                    <a:pt x="951" y="334"/>
                  </a:lnTo>
                  <a:lnTo>
                    <a:pt x="951" y="335"/>
                  </a:lnTo>
                  <a:lnTo>
                    <a:pt x="951" y="335"/>
                  </a:lnTo>
                  <a:lnTo>
                    <a:pt x="949" y="336"/>
                  </a:lnTo>
                  <a:lnTo>
                    <a:pt x="949" y="336"/>
                  </a:lnTo>
                  <a:lnTo>
                    <a:pt x="949" y="337"/>
                  </a:lnTo>
                  <a:lnTo>
                    <a:pt x="947" y="337"/>
                  </a:lnTo>
                  <a:lnTo>
                    <a:pt x="947" y="337"/>
                  </a:lnTo>
                  <a:lnTo>
                    <a:pt x="947" y="337"/>
                  </a:lnTo>
                  <a:lnTo>
                    <a:pt x="945" y="336"/>
                  </a:lnTo>
                  <a:lnTo>
                    <a:pt x="945" y="335"/>
                  </a:lnTo>
                  <a:lnTo>
                    <a:pt x="944" y="334"/>
                  </a:lnTo>
                  <a:lnTo>
                    <a:pt x="944" y="334"/>
                  </a:lnTo>
                  <a:lnTo>
                    <a:pt x="943" y="335"/>
                  </a:lnTo>
                  <a:lnTo>
                    <a:pt x="942" y="336"/>
                  </a:lnTo>
                  <a:lnTo>
                    <a:pt x="944" y="336"/>
                  </a:lnTo>
                  <a:lnTo>
                    <a:pt x="945" y="337"/>
                  </a:lnTo>
                  <a:lnTo>
                    <a:pt x="946" y="337"/>
                  </a:lnTo>
                  <a:lnTo>
                    <a:pt x="946" y="338"/>
                  </a:lnTo>
                  <a:lnTo>
                    <a:pt x="945" y="339"/>
                  </a:lnTo>
                  <a:lnTo>
                    <a:pt x="945" y="339"/>
                  </a:lnTo>
                  <a:lnTo>
                    <a:pt x="946" y="341"/>
                  </a:lnTo>
                  <a:lnTo>
                    <a:pt x="945" y="341"/>
                  </a:lnTo>
                  <a:lnTo>
                    <a:pt x="944" y="342"/>
                  </a:lnTo>
                  <a:lnTo>
                    <a:pt x="943" y="342"/>
                  </a:lnTo>
                  <a:lnTo>
                    <a:pt x="942" y="343"/>
                  </a:lnTo>
                  <a:lnTo>
                    <a:pt x="942" y="344"/>
                  </a:lnTo>
                  <a:lnTo>
                    <a:pt x="943" y="345"/>
                  </a:lnTo>
                  <a:lnTo>
                    <a:pt x="944" y="345"/>
                  </a:lnTo>
                  <a:lnTo>
                    <a:pt x="945" y="346"/>
                  </a:lnTo>
                  <a:lnTo>
                    <a:pt x="947" y="349"/>
                  </a:lnTo>
                  <a:lnTo>
                    <a:pt x="949" y="352"/>
                  </a:lnTo>
                  <a:lnTo>
                    <a:pt x="951" y="354"/>
                  </a:lnTo>
                  <a:lnTo>
                    <a:pt x="952" y="357"/>
                  </a:lnTo>
                  <a:lnTo>
                    <a:pt x="953" y="359"/>
                  </a:lnTo>
                  <a:lnTo>
                    <a:pt x="954" y="360"/>
                  </a:lnTo>
                  <a:lnTo>
                    <a:pt x="954" y="360"/>
                  </a:lnTo>
                  <a:lnTo>
                    <a:pt x="954" y="361"/>
                  </a:lnTo>
                  <a:lnTo>
                    <a:pt x="954" y="362"/>
                  </a:lnTo>
                  <a:lnTo>
                    <a:pt x="956" y="361"/>
                  </a:lnTo>
                  <a:lnTo>
                    <a:pt x="957" y="361"/>
                  </a:lnTo>
                  <a:lnTo>
                    <a:pt x="958" y="361"/>
                  </a:lnTo>
                  <a:lnTo>
                    <a:pt x="958" y="361"/>
                  </a:lnTo>
                  <a:lnTo>
                    <a:pt x="958" y="362"/>
                  </a:lnTo>
                  <a:lnTo>
                    <a:pt x="957" y="362"/>
                  </a:lnTo>
                  <a:lnTo>
                    <a:pt x="958" y="362"/>
                  </a:lnTo>
                  <a:lnTo>
                    <a:pt x="958" y="364"/>
                  </a:lnTo>
                  <a:lnTo>
                    <a:pt x="959" y="364"/>
                  </a:lnTo>
                  <a:lnTo>
                    <a:pt x="961" y="366"/>
                  </a:lnTo>
                  <a:lnTo>
                    <a:pt x="964" y="367"/>
                  </a:lnTo>
                  <a:lnTo>
                    <a:pt x="964" y="368"/>
                  </a:lnTo>
                  <a:lnTo>
                    <a:pt x="965" y="368"/>
                  </a:lnTo>
                  <a:lnTo>
                    <a:pt x="965" y="369"/>
                  </a:lnTo>
                  <a:lnTo>
                    <a:pt x="965" y="371"/>
                  </a:lnTo>
                  <a:lnTo>
                    <a:pt x="966" y="371"/>
                  </a:lnTo>
                  <a:lnTo>
                    <a:pt x="967" y="371"/>
                  </a:lnTo>
                  <a:lnTo>
                    <a:pt x="967" y="372"/>
                  </a:lnTo>
                  <a:lnTo>
                    <a:pt x="967" y="373"/>
                  </a:lnTo>
                  <a:lnTo>
                    <a:pt x="967" y="374"/>
                  </a:lnTo>
                  <a:lnTo>
                    <a:pt x="967" y="376"/>
                  </a:lnTo>
                  <a:lnTo>
                    <a:pt x="968" y="379"/>
                  </a:lnTo>
                  <a:lnTo>
                    <a:pt x="969" y="380"/>
                  </a:lnTo>
                  <a:lnTo>
                    <a:pt x="971" y="381"/>
                  </a:lnTo>
                  <a:lnTo>
                    <a:pt x="971" y="383"/>
                  </a:lnTo>
                  <a:lnTo>
                    <a:pt x="973" y="384"/>
                  </a:lnTo>
                  <a:lnTo>
                    <a:pt x="975" y="387"/>
                  </a:lnTo>
                  <a:lnTo>
                    <a:pt x="974" y="383"/>
                  </a:lnTo>
                  <a:lnTo>
                    <a:pt x="973" y="382"/>
                  </a:lnTo>
                  <a:lnTo>
                    <a:pt x="973" y="380"/>
                  </a:lnTo>
                  <a:lnTo>
                    <a:pt x="973" y="380"/>
                  </a:lnTo>
                  <a:lnTo>
                    <a:pt x="974" y="380"/>
                  </a:lnTo>
                  <a:lnTo>
                    <a:pt x="975" y="379"/>
                  </a:lnTo>
                  <a:lnTo>
                    <a:pt x="975" y="377"/>
                  </a:lnTo>
                  <a:lnTo>
                    <a:pt x="976" y="377"/>
                  </a:lnTo>
                  <a:lnTo>
                    <a:pt x="977" y="377"/>
                  </a:lnTo>
                  <a:lnTo>
                    <a:pt x="979" y="377"/>
                  </a:lnTo>
                  <a:lnTo>
                    <a:pt x="980" y="379"/>
                  </a:lnTo>
                  <a:lnTo>
                    <a:pt x="981" y="380"/>
                  </a:lnTo>
                  <a:lnTo>
                    <a:pt x="982" y="381"/>
                  </a:lnTo>
                  <a:lnTo>
                    <a:pt x="982" y="382"/>
                  </a:lnTo>
                  <a:lnTo>
                    <a:pt x="981" y="383"/>
                  </a:lnTo>
                  <a:lnTo>
                    <a:pt x="980" y="384"/>
                  </a:lnTo>
                  <a:lnTo>
                    <a:pt x="981" y="386"/>
                  </a:lnTo>
                  <a:lnTo>
                    <a:pt x="982" y="387"/>
                  </a:lnTo>
                  <a:lnTo>
                    <a:pt x="982" y="389"/>
                  </a:lnTo>
                  <a:lnTo>
                    <a:pt x="982" y="390"/>
                  </a:lnTo>
                  <a:lnTo>
                    <a:pt x="982" y="390"/>
                  </a:lnTo>
                  <a:lnTo>
                    <a:pt x="982" y="390"/>
                  </a:lnTo>
                  <a:lnTo>
                    <a:pt x="982" y="390"/>
                  </a:lnTo>
                  <a:lnTo>
                    <a:pt x="983" y="391"/>
                  </a:lnTo>
                  <a:lnTo>
                    <a:pt x="982" y="391"/>
                  </a:lnTo>
                  <a:lnTo>
                    <a:pt x="983" y="393"/>
                  </a:lnTo>
                  <a:lnTo>
                    <a:pt x="983" y="394"/>
                  </a:lnTo>
                  <a:lnTo>
                    <a:pt x="983" y="396"/>
                  </a:lnTo>
                  <a:lnTo>
                    <a:pt x="984" y="397"/>
                  </a:lnTo>
                  <a:lnTo>
                    <a:pt x="986" y="398"/>
                  </a:lnTo>
                  <a:lnTo>
                    <a:pt x="986" y="398"/>
                  </a:lnTo>
                  <a:lnTo>
                    <a:pt x="987" y="398"/>
                  </a:lnTo>
                  <a:lnTo>
                    <a:pt x="989" y="397"/>
                  </a:lnTo>
                  <a:lnTo>
                    <a:pt x="991" y="397"/>
                  </a:lnTo>
                  <a:lnTo>
                    <a:pt x="995" y="397"/>
                  </a:lnTo>
                  <a:lnTo>
                    <a:pt x="996" y="397"/>
                  </a:lnTo>
                  <a:lnTo>
                    <a:pt x="997" y="397"/>
                  </a:lnTo>
                  <a:lnTo>
                    <a:pt x="997" y="397"/>
                  </a:lnTo>
                  <a:lnTo>
                    <a:pt x="998" y="397"/>
                  </a:lnTo>
                  <a:lnTo>
                    <a:pt x="999" y="397"/>
                  </a:lnTo>
                  <a:lnTo>
                    <a:pt x="1001" y="396"/>
                  </a:lnTo>
                  <a:lnTo>
                    <a:pt x="1001" y="396"/>
                  </a:lnTo>
                  <a:lnTo>
                    <a:pt x="1001" y="396"/>
                  </a:lnTo>
                  <a:lnTo>
                    <a:pt x="1002" y="397"/>
                  </a:lnTo>
                  <a:lnTo>
                    <a:pt x="1003" y="397"/>
                  </a:lnTo>
                  <a:lnTo>
                    <a:pt x="1004" y="396"/>
                  </a:lnTo>
                  <a:lnTo>
                    <a:pt x="1004" y="396"/>
                  </a:lnTo>
                  <a:lnTo>
                    <a:pt x="1004" y="395"/>
                  </a:lnTo>
                  <a:lnTo>
                    <a:pt x="1005" y="395"/>
                  </a:lnTo>
                  <a:lnTo>
                    <a:pt x="1005" y="396"/>
                  </a:lnTo>
                  <a:lnTo>
                    <a:pt x="1005" y="396"/>
                  </a:lnTo>
                  <a:lnTo>
                    <a:pt x="1005" y="396"/>
                  </a:lnTo>
                  <a:lnTo>
                    <a:pt x="1005" y="396"/>
                  </a:lnTo>
                  <a:lnTo>
                    <a:pt x="1005" y="395"/>
                  </a:lnTo>
                  <a:lnTo>
                    <a:pt x="1005" y="394"/>
                  </a:lnTo>
                  <a:lnTo>
                    <a:pt x="1006" y="391"/>
                  </a:lnTo>
                  <a:lnTo>
                    <a:pt x="1010" y="389"/>
                  </a:lnTo>
                  <a:lnTo>
                    <a:pt x="1012" y="388"/>
                  </a:lnTo>
                  <a:lnTo>
                    <a:pt x="1013" y="387"/>
                  </a:lnTo>
                  <a:lnTo>
                    <a:pt x="1013" y="386"/>
                  </a:lnTo>
                  <a:lnTo>
                    <a:pt x="1013" y="384"/>
                  </a:lnTo>
                  <a:lnTo>
                    <a:pt x="1014" y="383"/>
                  </a:lnTo>
                  <a:lnTo>
                    <a:pt x="1016" y="383"/>
                  </a:lnTo>
                  <a:lnTo>
                    <a:pt x="1018" y="381"/>
                  </a:lnTo>
                  <a:lnTo>
                    <a:pt x="1018" y="380"/>
                  </a:lnTo>
                  <a:lnTo>
                    <a:pt x="1019" y="379"/>
                  </a:lnTo>
                  <a:lnTo>
                    <a:pt x="1019" y="379"/>
                  </a:lnTo>
                  <a:lnTo>
                    <a:pt x="1019" y="377"/>
                  </a:lnTo>
                  <a:lnTo>
                    <a:pt x="1021" y="377"/>
                  </a:lnTo>
                  <a:lnTo>
                    <a:pt x="1021" y="379"/>
                  </a:lnTo>
                  <a:lnTo>
                    <a:pt x="1022" y="379"/>
                  </a:lnTo>
                  <a:lnTo>
                    <a:pt x="1021" y="380"/>
                  </a:lnTo>
                  <a:lnTo>
                    <a:pt x="1021" y="382"/>
                  </a:lnTo>
                  <a:lnTo>
                    <a:pt x="1021" y="382"/>
                  </a:lnTo>
                  <a:lnTo>
                    <a:pt x="1021" y="383"/>
                  </a:lnTo>
                  <a:lnTo>
                    <a:pt x="1022" y="383"/>
                  </a:lnTo>
                  <a:lnTo>
                    <a:pt x="1022" y="383"/>
                  </a:lnTo>
                  <a:lnTo>
                    <a:pt x="1022" y="384"/>
                  </a:lnTo>
                  <a:lnTo>
                    <a:pt x="1022" y="387"/>
                  </a:lnTo>
                  <a:lnTo>
                    <a:pt x="1022" y="389"/>
                  </a:lnTo>
                  <a:lnTo>
                    <a:pt x="1025" y="391"/>
                  </a:lnTo>
                  <a:lnTo>
                    <a:pt x="1027" y="394"/>
                  </a:lnTo>
                  <a:lnTo>
                    <a:pt x="1029" y="395"/>
                  </a:lnTo>
                  <a:lnTo>
                    <a:pt x="1031" y="396"/>
                  </a:lnTo>
                  <a:lnTo>
                    <a:pt x="1032" y="397"/>
                  </a:lnTo>
                  <a:lnTo>
                    <a:pt x="1035" y="425"/>
                  </a:lnTo>
                  <a:lnTo>
                    <a:pt x="1039" y="453"/>
                  </a:lnTo>
                  <a:lnTo>
                    <a:pt x="1037" y="455"/>
                  </a:lnTo>
                  <a:lnTo>
                    <a:pt x="1036" y="456"/>
                  </a:lnTo>
                  <a:lnTo>
                    <a:pt x="1036" y="458"/>
                  </a:lnTo>
                  <a:lnTo>
                    <a:pt x="1037" y="459"/>
                  </a:lnTo>
                  <a:lnTo>
                    <a:pt x="1036" y="461"/>
                  </a:lnTo>
                  <a:lnTo>
                    <a:pt x="1035" y="462"/>
                  </a:lnTo>
                  <a:lnTo>
                    <a:pt x="1034" y="462"/>
                  </a:lnTo>
                  <a:lnTo>
                    <a:pt x="1032" y="462"/>
                  </a:lnTo>
                  <a:lnTo>
                    <a:pt x="1031" y="462"/>
                  </a:lnTo>
                  <a:lnTo>
                    <a:pt x="1028" y="463"/>
                  </a:lnTo>
                  <a:lnTo>
                    <a:pt x="1028" y="463"/>
                  </a:lnTo>
                  <a:lnTo>
                    <a:pt x="1027" y="464"/>
                  </a:lnTo>
                  <a:lnTo>
                    <a:pt x="1027" y="464"/>
                  </a:lnTo>
                  <a:lnTo>
                    <a:pt x="1027" y="465"/>
                  </a:lnTo>
                  <a:lnTo>
                    <a:pt x="1027" y="465"/>
                  </a:lnTo>
                  <a:lnTo>
                    <a:pt x="1027" y="466"/>
                  </a:lnTo>
                  <a:lnTo>
                    <a:pt x="1026" y="469"/>
                  </a:lnTo>
                  <a:lnTo>
                    <a:pt x="1024" y="470"/>
                  </a:lnTo>
                  <a:lnTo>
                    <a:pt x="1022" y="471"/>
                  </a:lnTo>
                  <a:lnTo>
                    <a:pt x="1020" y="472"/>
                  </a:lnTo>
                  <a:lnTo>
                    <a:pt x="1018" y="472"/>
                  </a:lnTo>
                  <a:lnTo>
                    <a:pt x="1016" y="472"/>
                  </a:lnTo>
                  <a:lnTo>
                    <a:pt x="1013" y="473"/>
                  </a:lnTo>
                  <a:lnTo>
                    <a:pt x="1013" y="475"/>
                  </a:lnTo>
                  <a:lnTo>
                    <a:pt x="1012" y="475"/>
                  </a:lnTo>
                  <a:lnTo>
                    <a:pt x="1011" y="475"/>
                  </a:lnTo>
                  <a:lnTo>
                    <a:pt x="1010" y="475"/>
                  </a:lnTo>
                  <a:lnTo>
                    <a:pt x="1009" y="476"/>
                  </a:lnTo>
                  <a:lnTo>
                    <a:pt x="1006" y="476"/>
                  </a:lnTo>
                  <a:lnTo>
                    <a:pt x="1005" y="477"/>
                  </a:lnTo>
                  <a:lnTo>
                    <a:pt x="1003" y="478"/>
                  </a:lnTo>
                  <a:lnTo>
                    <a:pt x="1001" y="480"/>
                  </a:lnTo>
                  <a:lnTo>
                    <a:pt x="1001" y="481"/>
                  </a:lnTo>
                  <a:lnTo>
                    <a:pt x="1001" y="483"/>
                  </a:lnTo>
                  <a:lnTo>
                    <a:pt x="1002" y="484"/>
                  </a:lnTo>
                  <a:lnTo>
                    <a:pt x="1002" y="485"/>
                  </a:lnTo>
                  <a:lnTo>
                    <a:pt x="1002" y="486"/>
                  </a:lnTo>
                  <a:lnTo>
                    <a:pt x="1001" y="486"/>
                  </a:lnTo>
                  <a:lnTo>
                    <a:pt x="998" y="487"/>
                  </a:lnTo>
                  <a:lnTo>
                    <a:pt x="996" y="488"/>
                  </a:lnTo>
                  <a:lnTo>
                    <a:pt x="994" y="488"/>
                  </a:lnTo>
                  <a:lnTo>
                    <a:pt x="992" y="490"/>
                  </a:lnTo>
                  <a:lnTo>
                    <a:pt x="989" y="491"/>
                  </a:lnTo>
                  <a:lnTo>
                    <a:pt x="984" y="492"/>
                  </a:lnTo>
                  <a:lnTo>
                    <a:pt x="977" y="494"/>
                  </a:lnTo>
                  <a:lnTo>
                    <a:pt x="974" y="498"/>
                  </a:lnTo>
                  <a:lnTo>
                    <a:pt x="972" y="500"/>
                  </a:lnTo>
                  <a:lnTo>
                    <a:pt x="969" y="502"/>
                  </a:lnTo>
                  <a:lnTo>
                    <a:pt x="967" y="502"/>
                  </a:lnTo>
                  <a:lnTo>
                    <a:pt x="965" y="503"/>
                  </a:lnTo>
                  <a:lnTo>
                    <a:pt x="962" y="503"/>
                  </a:lnTo>
                  <a:lnTo>
                    <a:pt x="960" y="503"/>
                  </a:lnTo>
                  <a:lnTo>
                    <a:pt x="960" y="505"/>
                  </a:lnTo>
                  <a:lnTo>
                    <a:pt x="958" y="507"/>
                  </a:lnTo>
                  <a:lnTo>
                    <a:pt x="956" y="508"/>
                  </a:lnTo>
                  <a:lnTo>
                    <a:pt x="953" y="508"/>
                  </a:lnTo>
                  <a:lnTo>
                    <a:pt x="951" y="508"/>
                  </a:lnTo>
                  <a:lnTo>
                    <a:pt x="947" y="509"/>
                  </a:lnTo>
                  <a:lnTo>
                    <a:pt x="945" y="509"/>
                  </a:lnTo>
                  <a:lnTo>
                    <a:pt x="944" y="510"/>
                  </a:lnTo>
                  <a:lnTo>
                    <a:pt x="942" y="511"/>
                  </a:lnTo>
                  <a:lnTo>
                    <a:pt x="941" y="513"/>
                  </a:lnTo>
                  <a:lnTo>
                    <a:pt x="939" y="513"/>
                  </a:lnTo>
                  <a:lnTo>
                    <a:pt x="938" y="513"/>
                  </a:lnTo>
                  <a:lnTo>
                    <a:pt x="938" y="513"/>
                  </a:lnTo>
                  <a:lnTo>
                    <a:pt x="937" y="513"/>
                  </a:lnTo>
                  <a:lnTo>
                    <a:pt x="937" y="514"/>
                  </a:lnTo>
                  <a:lnTo>
                    <a:pt x="936" y="515"/>
                  </a:lnTo>
                  <a:lnTo>
                    <a:pt x="935" y="516"/>
                  </a:lnTo>
                  <a:lnTo>
                    <a:pt x="932" y="516"/>
                  </a:lnTo>
                  <a:lnTo>
                    <a:pt x="929" y="516"/>
                  </a:lnTo>
                  <a:lnTo>
                    <a:pt x="927" y="515"/>
                  </a:lnTo>
                  <a:lnTo>
                    <a:pt x="926" y="515"/>
                  </a:lnTo>
                  <a:lnTo>
                    <a:pt x="924" y="514"/>
                  </a:lnTo>
                  <a:lnTo>
                    <a:pt x="923" y="513"/>
                  </a:lnTo>
                  <a:lnTo>
                    <a:pt x="922" y="510"/>
                  </a:lnTo>
                  <a:lnTo>
                    <a:pt x="922" y="509"/>
                  </a:lnTo>
                  <a:lnTo>
                    <a:pt x="923" y="507"/>
                  </a:lnTo>
                  <a:lnTo>
                    <a:pt x="922" y="505"/>
                  </a:lnTo>
                  <a:lnTo>
                    <a:pt x="921" y="501"/>
                  </a:lnTo>
                  <a:lnTo>
                    <a:pt x="920" y="498"/>
                  </a:lnTo>
                  <a:lnTo>
                    <a:pt x="920" y="494"/>
                  </a:lnTo>
                  <a:lnTo>
                    <a:pt x="920" y="494"/>
                  </a:lnTo>
                  <a:lnTo>
                    <a:pt x="919" y="494"/>
                  </a:lnTo>
                  <a:lnTo>
                    <a:pt x="919" y="493"/>
                  </a:lnTo>
                  <a:lnTo>
                    <a:pt x="919" y="493"/>
                  </a:lnTo>
                  <a:lnTo>
                    <a:pt x="917" y="491"/>
                  </a:lnTo>
                  <a:lnTo>
                    <a:pt x="917" y="488"/>
                  </a:lnTo>
                  <a:lnTo>
                    <a:pt x="916" y="485"/>
                  </a:lnTo>
                  <a:lnTo>
                    <a:pt x="916" y="479"/>
                  </a:lnTo>
                  <a:lnTo>
                    <a:pt x="915" y="478"/>
                  </a:lnTo>
                  <a:lnTo>
                    <a:pt x="915" y="478"/>
                  </a:lnTo>
                  <a:lnTo>
                    <a:pt x="915" y="477"/>
                  </a:lnTo>
                  <a:lnTo>
                    <a:pt x="915" y="477"/>
                  </a:lnTo>
                  <a:lnTo>
                    <a:pt x="915" y="476"/>
                  </a:lnTo>
                  <a:lnTo>
                    <a:pt x="914" y="476"/>
                  </a:lnTo>
                  <a:lnTo>
                    <a:pt x="913" y="475"/>
                  </a:lnTo>
                  <a:lnTo>
                    <a:pt x="913" y="475"/>
                  </a:lnTo>
                  <a:lnTo>
                    <a:pt x="913" y="475"/>
                  </a:lnTo>
                  <a:lnTo>
                    <a:pt x="913" y="473"/>
                  </a:lnTo>
                  <a:lnTo>
                    <a:pt x="913" y="472"/>
                  </a:lnTo>
                  <a:lnTo>
                    <a:pt x="912" y="471"/>
                  </a:lnTo>
                  <a:lnTo>
                    <a:pt x="910" y="469"/>
                  </a:lnTo>
                  <a:lnTo>
                    <a:pt x="909" y="465"/>
                  </a:lnTo>
                  <a:lnTo>
                    <a:pt x="908" y="464"/>
                  </a:lnTo>
                  <a:lnTo>
                    <a:pt x="907" y="462"/>
                  </a:lnTo>
                  <a:lnTo>
                    <a:pt x="906" y="461"/>
                  </a:lnTo>
                  <a:lnTo>
                    <a:pt x="905" y="459"/>
                  </a:lnTo>
                  <a:lnTo>
                    <a:pt x="902" y="457"/>
                  </a:lnTo>
                  <a:lnTo>
                    <a:pt x="900" y="455"/>
                  </a:lnTo>
                  <a:lnTo>
                    <a:pt x="898" y="450"/>
                  </a:lnTo>
                  <a:lnTo>
                    <a:pt x="895" y="447"/>
                  </a:lnTo>
                  <a:lnTo>
                    <a:pt x="892" y="442"/>
                  </a:lnTo>
                  <a:lnTo>
                    <a:pt x="884" y="435"/>
                  </a:lnTo>
                  <a:lnTo>
                    <a:pt x="882" y="433"/>
                  </a:lnTo>
                  <a:lnTo>
                    <a:pt x="880" y="432"/>
                  </a:lnTo>
                  <a:lnTo>
                    <a:pt x="880" y="431"/>
                  </a:lnTo>
                  <a:lnTo>
                    <a:pt x="879" y="429"/>
                  </a:lnTo>
                  <a:lnTo>
                    <a:pt x="879" y="428"/>
                  </a:lnTo>
                  <a:lnTo>
                    <a:pt x="879" y="428"/>
                  </a:lnTo>
                  <a:lnTo>
                    <a:pt x="879" y="426"/>
                  </a:lnTo>
                  <a:lnTo>
                    <a:pt x="878" y="426"/>
                  </a:lnTo>
                  <a:lnTo>
                    <a:pt x="878" y="425"/>
                  </a:lnTo>
                  <a:lnTo>
                    <a:pt x="878" y="425"/>
                  </a:lnTo>
                  <a:lnTo>
                    <a:pt x="879" y="425"/>
                  </a:lnTo>
                  <a:lnTo>
                    <a:pt x="879" y="425"/>
                  </a:lnTo>
                  <a:lnTo>
                    <a:pt x="880" y="425"/>
                  </a:lnTo>
                  <a:lnTo>
                    <a:pt x="880" y="424"/>
                  </a:lnTo>
                  <a:lnTo>
                    <a:pt x="879" y="421"/>
                  </a:lnTo>
                  <a:lnTo>
                    <a:pt x="874" y="411"/>
                  </a:lnTo>
                  <a:lnTo>
                    <a:pt x="870" y="401"/>
                  </a:lnTo>
                  <a:lnTo>
                    <a:pt x="870" y="399"/>
                  </a:lnTo>
                  <a:lnTo>
                    <a:pt x="869" y="398"/>
                  </a:lnTo>
                  <a:lnTo>
                    <a:pt x="868" y="398"/>
                  </a:lnTo>
                  <a:lnTo>
                    <a:pt x="867" y="397"/>
                  </a:lnTo>
                  <a:lnTo>
                    <a:pt x="865" y="395"/>
                  </a:lnTo>
                  <a:lnTo>
                    <a:pt x="863" y="395"/>
                  </a:lnTo>
                  <a:lnTo>
                    <a:pt x="862" y="394"/>
                  </a:lnTo>
                  <a:lnTo>
                    <a:pt x="860" y="394"/>
                  </a:lnTo>
                  <a:lnTo>
                    <a:pt x="859" y="391"/>
                  </a:lnTo>
                  <a:lnTo>
                    <a:pt x="857" y="389"/>
                  </a:lnTo>
                  <a:lnTo>
                    <a:pt x="856" y="388"/>
                  </a:lnTo>
                  <a:lnTo>
                    <a:pt x="856" y="387"/>
                  </a:lnTo>
                  <a:lnTo>
                    <a:pt x="856" y="386"/>
                  </a:lnTo>
                  <a:lnTo>
                    <a:pt x="856" y="386"/>
                  </a:lnTo>
                  <a:lnTo>
                    <a:pt x="856" y="386"/>
                  </a:lnTo>
                  <a:lnTo>
                    <a:pt x="856" y="384"/>
                  </a:lnTo>
                  <a:lnTo>
                    <a:pt x="856" y="383"/>
                  </a:lnTo>
                  <a:lnTo>
                    <a:pt x="855" y="382"/>
                  </a:lnTo>
                  <a:lnTo>
                    <a:pt x="853" y="380"/>
                  </a:lnTo>
                  <a:lnTo>
                    <a:pt x="850" y="374"/>
                  </a:lnTo>
                  <a:lnTo>
                    <a:pt x="847" y="371"/>
                  </a:lnTo>
                  <a:lnTo>
                    <a:pt x="846" y="367"/>
                  </a:lnTo>
                  <a:lnTo>
                    <a:pt x="844" y="365"/>
                  </a:lnTo>
                  <a:lnTo>
                    <a:pt x="842" y="364"/>
                  </a:lnTo>
                  <a:lnTo>
                    <a:pt x="842" y="362"/>
                  </a:lnTo>
                  <a:lnTo>
                    <a:pt x="842" y="362"/>
                  </a:lnTo>
                  <a:lnTo>
                    <a:pt x="842" y="361"/>
                  </a:lnTo>
                  <a:lnTo>
                    <a:pt x="842" y="360"/>
                  </a:lnTo>
                  <a:lnTo>
                    <a:pt x="841" y="359"/>
                  </a:lnTo>
                  <a:lnTo>
                    <a:pt x="840" y="358"/>
                  </a:lnTo>
                  <a:lnTo>
                    <a:pt x="838" y="357"/>
                  </a:lnTo>
                  <a:lnTo>
                    <a:pt x="838" y="353"/>
                  </a:lnTo>
                  <a:lnTo>
                    <a:pt x="837" y="351"/>
                  </a:lnTo>
                  <a:lnTo>
                    <a:pt x="835" y="350"/>
                  </a:lnTo>
                  <a:lnTo>
                    <a:pt x="834" y="350"/>
                  </a:lnTo>
                  <a:lnTo>
                    <a:pt x="833" y="350"/>
                  </a:lnTo>
                  <a:lnTo>
                    <a:pt x="833" y="350"/>
                  </a:lnTo>
                  <a:lnTo>
                    <a:pt x="833" y="347"/>
                  </a:lnTo>
                  <a:lnTo>
                    <a:pt x="833" y="346"/>
                  </a:lnTo>
                  <a:lnTo>
                    <a:pt x="833" y="344"/>
                  </a:lnTo>
                  <a:lnTo>
                    <a:pt x="832" y="343"/>
                  </a:lnTo>
                  <a:lnTo>
                    <a:pt x="832" y="341"/>
                  </a:lnTo>
                  <a:lnTo>
                    <a:pt x="833" y="339"/>
                  </a:lnTo>
                  <a:lnTo>
                    <a:pt x="833" y="338"/>
                  </a:lnTo>
                  <a:lnTo>
                    <a:pt x="832" y="338"/>
                  </a:lnTo>
                  <a:lnTo>
                    <a:pt x="832" y="337"/>
                  </a:lnTo>
                  <a:lnTo>
                    <a:pt x="831" y="339"/>
                  </a:lnTo>
                  <a:lnTo>
                    <a:pt x="831" y="342"/>
                  </a:lnTo>
                  <a:lnTo>
                    <a:pt x="831" y="344"/>
                  </a:lnTo>
                  <a:lnTo>
                    <a:pt x="830" y="346"/>
                  </a:lnTo>
                  <a:lnTo>
                    <a:pt x="830" y="349"/>
                  </a:lnTo>
                  <a:lnTo>
                    <a:pt x="830" y="350"/>
                  </a:lnTo>
                  <a:lnTo>
                    <a:pt x="831" y="351"/>
                  </a:lnTo>
                  <a:lnTo>
                    <a:pt x="831" y="352"/>
                  </a:lnTo>
                  <a:lnTo>
                    <a:pt x="831" y="353"/>
                  </a:lnTo>
                  <a:lnTo>
                    <a:pt x="830" y="356"/>
                  </a:lnTo>
                  <a:lnTo>
                    <a:pt x="830" y="358"/>
                  </a:lnTo>
                  <a:lnTo>
                    <a:pt x="829" y="358"/>
                  </a:lnTo>
                  <a:lnTo>
                    <a:pt x="827" y="358"/>
                  </a:lnTo>
                  <a:lnTo>
                    <a:pt x="826" y="357"/>
                  </a:lnTo>
                  <a:lnTo>
                    <a:pt x="825" y="356"/>
                  </a:lnTo>
                  <a:lnTo>
                    <a:pt x="823" y="352"/>
                  </a:lnTo>
                  <a:lnTo>
                    <a:pt x="820" y="350"/>
                  </a:lnTo>
                  <a:lnTo>
                    <a:pt x="819" y="349"/>
                  </a:lnTo>
                  <a:lnTo>
                    <a:pt x="818" y="346"/>
                  </a:lnTo>
                  <a:lnTo>
                    <a:pt x="816" y="344"/>
                  </a:lnTo>
                  <a:lnTo>
                    <a:pt x="815" y="342"/>
                  </a:lnTo>
                  <a:lnTo>
                    <a:pt x="814" y="339"/>
                  </a:lnTo>
                  <a:lnTo>
                    <a:pt x="814" y="338"/>
                  </a:lnTo>
                  <a:lnTo>
                    <a:pt x="812" y="337"/>
                  </a:lnTo>
                  <a:lnTo>
                    <a:pt x="811" y="336"/>
                  </a:lnTo>
                  <a:lnTo>
                    <a:pt x="809" y="335"/>
                  </a:lnTo>
                  <a:lnTo>
                    <a:pt x="808" y="332"/>
                  </a:lnTo>
                  <a:lnTo>
                    <a:pt x="808" y="330"/>
                  </a:lnTo>
                  <a:lnTo>
                    <a:pt x="808" y="330"/>
                  </a:lnTo>
                  <a:lnTo>
                    <a:pt x="807" y="328"/>
                  </a:lnTo>
                  <a:lnTo>
                    <a:pt x="805" y="326"/>
                  </a:lnTo>
                  <a:lnTo>
                    <a:pt x="807" y="328"/>
                  </a:lnTo>
                  <a:lnTo>
                    <a:pt x="808" y="330"/>
                  </a:lnTo>
                  <a:lnTo>
                    <a:pt x="808" y="330"/>
                  </a:lnTo>
                  <a:lnTo>
                    <a:pt x="808" y="331"/>
                  </a:lnTo>
                  <a:lnTo>
                    <a:pt x="808" y="332"/>
                  </a:lnTo>
                  <a:lnTo>
                    <a:pt x="808" y="334"/>
                  </a:lnTo>
                  <a:lnTo>
                    <a:pt x="808" y="335"/>
                  </a:lnTo>
                  <a:lnTo>
                    <a:pt x="809" y="336"/>
                  </a:lnTo>
                  <a:lnTo>
                    <a:pt x="810" y="338"/>
                  </a:lnTo>
                  <a:lnTo>
                    <a:pt x="811" y="341"/>
                  </a:lnTo>
                  <a:lnTo>
                    <a:pt x="811" y="342"/>
                  </a:lnTo>
                  <a:lnTo>
                    <a:pt x="811" y="342"/>
                  </a:lnTo>
                  <a:lnTo>
                    <a:pt x="811" y="343"/>
                  </a:lnTo>
                  <a:lnTo>
                    <a:pt x="811" y="344"/>
                  </a:lnTo>
                  <a:lnTo>
                    <a:pt x="812" y="346"/>
                  </a:lnTo>
                  <a:lnTo>
                    <a:pt x="814" y="347"/>
                  </a:lnTo>
                  <a:lnTo>
                    <a:pt x="815" y="349"/>
                  </a:lnTo>
                  <a:lnTo>
                    <a:pt x="815" y="350"/>
                  </a:lnTo>
                  <a:lnTo>
                    <a:pt x="816" y="352"/>
                  </a:lnTo>
                  <a:lnTo>
                    <a:pt x="818" y="356"/>
                  </a:lnTo>
                  <a:lnTo>
                    <a:pt x="819" y="357"/>
                  </a:lnTo>
                  <a:lnTo>
                    <a:pt x="820" y="358"/>
                  </a:lnTo>
                  <a:lnTo>
                    <a:pt x="820" y="358"/>
                  </a:lnTo>
                  <a:lnTo>
                    <a:pt x="819" y="358"/>
                  </a:lnTo>
                  <a:lnTo>
                    <a:pt x="819" y="358"/>
                  </a:lnTo>
                  <a:lnTo>
                    <a:pt x="819" y="358"/>
                  </a:lnTo>
                  <a:lnTo>
                    <a:pt x="820" y="359"/>
                  </a:lnTo>
                  <a:lnTo>
                    <a:pt x="822" y="360"/>
                  </a:lnTo>
                  <a:lnTo>
                    <a:pt x="823" y="361"/>
                  </a:lnTo>
                  <a:lnTo>
                    <a:pt x="824" y="362"/>
                  </a:lnTo>
                  <a:lnTo>
                    <a:pt x="824" y="362"/>
                  </a:lnTo>
                  <a:lnTo>
                    <a:pt x="824" y="362"/>
                  </a:lnTo>
                  <a:lnTo>
                    <a:pt x="824" y="364"/>
                  </a:lnTo>
                  <a:lnTo>
                    <a:pt x="823" y="364"/>
                  </a:lnTo>
                  <a:lnTo>
                    <a:pt x="823" y="364"/>
                  </a:lnTo>
                  <a:lnTo>
                    <a:pt x="823" y="365"/>
                  </a:lnTo>
                  <a:lnTo>
                    <a:pt x="823" y="367"/>
                  </a:lnTo>
                  <a:lnTo>
                    <a:pt x="826" y="372"/>
                  </a:lnTo>
                  <a:lnTo>
                    <a:pt x="829" y="375"/>
                  </a:lnTo>
                  <a:lnTo>
                    <a:pt x="831" y="377"/>
                  </a:lnTo>
                  <a:lnTo>
                    <a:pt x="832" y="380"/>
                  </a:lnTo>
                  <a:lnTo>
                    <a:pt x="833" y="381"/>
                  </a:lnTo>
                  <a:lnTo>
                    <a:pt x="834" y="382"/>
                  </a:lnTo>
                  <a:lnTo>
                    <a:pt x="835" y="384"/>
                  </a:lnTo>
                  <a:lnTo>
                    <a:pt x="837" y="388"/>
                  </a:lnTo>
                  <a:lnTo>
                    <a:pt x="838" y="390"/>
                  </a:lnTo>
                  <a:lnTo>
                    <a:pt x="840" y="393"/>
                  </a:lnTo>
                  <a:lnTo>
                    <a:pt x="842" y="395"/>
                  </a:lnTo>
                  <a:lnTo>
                    <a:pt x="845" y="397"/>
                  </a:lnTo>
                  <a:lnTo>
                    <a:pt x="846" y="398"/>
                  </a:lnTo>
                  <a:lnTo>
                    <a:pt x="846" y="398"/>
                  </a:lnTo>
                  <a:lnTo>
                    <a:pt x="846" y="398"/>
                  </a:lnTo>
                  <a:lnTo>
                    <a:pt x="845" y="398"/>
                  </a:lnTo>
                  <a:lnTo>
                    <a:pt x="844" y="398"/>
                  </a:lnTo>
                  <a:lnTo>
                    <a:pt x="844" y="398"/>
                  </a:lnTo>
                  <a:lnTo>
                    <a:pt x="842" y="399"/>
                  </a:lnTo>
                  <a:lnTo>
                    <a:pt x="844" y="401"/>
                  </a:lnTo>
                  <a:lnTo>
                    <a:pt x="845" y="402"/>
                  </a:lnTo>
                  <a:lnTo>
                    <a:pt x="846" y="404"/>
                  </a:lnTo>
                  <a:lnTo>
                    <a:pt x="847" y="405"/>
                  </a:lnTo>
                  <a:lnTo>
                    <a:pt x="847" y="406"/>
                  </a:lnTo>
                  <a:lnTo>
                    <a:pt x="847" y="406"/>
                  </a:lnTo>
                  <a:lnTo>
                    <a:pt x="847" y="406"/>
                  </a:lnTo>
                  <a:lnTo>
                    <a:pt x="846" y="406"/>
                  </a:lnTo>
                  <a:lnTo>
                    <a:pt x="847" y="408"/>
                  </a:lnTo>
                  <a:lnTo>
                    <a:pt x="848" y="409"/>
                  </a:lnTo>
                  <a:lnTo>
                    <a:pt x="850" y="411"/>
                  </a:lnTo>
                  <a:lnTo>
                    <a:pt x="853" y="413"/>
                  </a:lnTo>
                  <a:lnTo>
                    <a:pt x="854" y="414"/>
                  </a:lnTo>
                  <a:lnTo>
                    <a:pt x="855" y="416"/>
                  </a:lnTo>
                  <a:lnTo>
                    <a:pt x="856" y="416"/>
                  </a:lnTo>
                  <a:lnTo>
                    <a:pt x="856" y="417"/>
                  </a:lnTo>
                  <a:lnTo>
                    <a:pt x="856" y="418"/>
                  </a:lnTo>
                  <a:lnTo>
                    <a:pt x="857" y="419"/>
                  </a:lnTo>
                  <a:lnTo>
                    <a:pt x="857" y="421"/>
                  </a:lnTo>
                  <a:lnTo>
                    <a:pt x="859" y="424"/>
                  </a:lnTo>
                  <a:lnTo>
                    <a:pt x="861" y="426"/>
                  </a:lnTo>
                  <a:lnTo>
                    <a:pt x="861" y="427"/>
                  </a:lnTo>
                  <a:lnTo>
                    <a:pt x="862" y="429"/>
                  </a:lnTo>
                  <a:lnTo>
                    <a:pt x="862" y="429"/>
                  </a:lnTo>
                  <a:lnTo>
                    <a:pt x="861" y="431"/>
                  </a:lnTo>
                  <a:lnTo>
                    <a:pt x="861" y="433"/>
                  </a:lnTo>
                  <a:lnTo>
                    <a:pt x="861" y="435"/>
                  </a:lnTo>
                  <a:lnTo>
                    <a:pt x="861" y="438"/>
                  </a:lnTo>
                  <a:lnTo>
                    <a:pt x="861" y="440"/>
                  </a:lnTo>
                  <a:lnTo>
                    <a:pt x="862" y="442"/>
                  </a:lnTo>
                  <a:lnTo>
                    <a:pt x="862" y="444"/>
                  </a:lnTo>
                  <a:lnTo>
                    <a:pt x="862" y="446"/>
                  </a:lnTo>
                  <a:lnTo>
                    <a:pt x="863" y="447"/>
                  </a:lnTo>
                  <a:lnTo>
                    <a:pt x="863" y="449"/>
                  </a:lnTo>
                  <a:lnTo>
                    <a:pt x="864" y="450"/>
                  </a:lnTo>
                  <a:lnTo>
                    <a:pt x="865" y="451"/>
                  </a:lnTo>
                  <a:lnTo>
                    <a:pt x="867" y="450"/>
                  </a:lnTo>
                  <a:lnTo>
                    <a:pt x="868" y="451"/>
                  </a:lnTo>
                  <a:lnTo>
                    <a:pt x="869" y="451"/>
                  </a:lnTo>
                  <a:lnTo>
                    <a:pt x="869" y="453"/>
                  </a:lnTo>
                  <a:lnTo>
                    <a:pt x="870" y="453"/>
                  </a:lnTo>
                  <a:lnTo>
                    <a:pt x="870" y="453"/>
                  </a:lnTo>
                  <a:lnTo>
                    <a:pt x="871" y="453"/>
                  </a:lnTo>
                  <a:lnTo>
                    <a:pt x="871" y="453"/>
                  </a:lnTo>
                  <a:lnTo>
                    <a:pt x="872" y="454"/>
                  </a:lnTo>
                  <a:lnTo>
                    <a:pt x="874" y="456"/>
                  </a:lnTo>
                  <a:lnTo>
                    <a:pt x="877" y="462"/>
                  </a:lnTo>
                  <a:lnTo>
                    <a:pt x="879" y="466"/>
                  </a:lnTo>
                  <a:lnTo>
                    <a:pt x="882" y="471"/>
                  </a:lnTo>
                  <a:lnTo>
                    <a:pt x="884" y="477"/>
                  </a:lnTo>
                  <a:lnTo>
                    <a:pt x="885" y="481"/>
                  </a:lnTo>
                  <a:lnTo>
                    <a:pt x="886" y="485"/>
                  </a:lnTo>
                  <a:lnTo>
                    <a:pt x="887" y="486"/>
                  </a:lnTo>
                  <a:lnTo>
                    <a:pt x="887" y="487"/>
                  </a:lnTo>
                  <a:lnTo>
                    <a:pt x="889" y="486"/>
                  </a:lnTo>
                  <a:lnTo>
                    <a:pt x="890" y="486"/>
                  </a:lnTo>
                  <a:lnTo>
                    <a:pt x="890" y="486"/>
                  </a:lnTo>
                  <a:lnTo>
                    <a:pt x="891" y="486"/>
                  </a:lnTo>
                  <a:lnTo>
                    <a:pt x="891" y="487"/>
                  </a:lnTo>
                  <a:lnTo>
                    <a:pt x="891" y="488"/>
                  </a:lnTo>
                  <a:lnTo>
                    <a:pt x="892" y="490"/>
                  </a:lnTo>
                  <a:lnTo>
                    <a:pt x="893" y="491"/>
                  </a:lnTo>
                  <a:lnTo>
                    <a:pt x="894" y="491"/>
                  </a:lnTo>
                  <a:lnTo>
                    <a:pt x="897" y="492"/>
                  </a:lnTo>
                  <a:lnTo>
                    <a:pt x="898" y="492"/>
                  </a:lnTo>
                  <a:lnTo>
                    <a:pt x="899" y="493"/>
                  </a:lnTo>
                  <a:lnTo>
                    <a:pt x="899" y="494"/>
                  </a:lnTo>
                  <a:lnTo>
                    <a:pt x="900" y="494"/>
                  </a:lnTo>
                  <a:lnTo>
                    <a:pt x="902" y="495"/>
                  </a:lnTo>
                  <a:lnTo>
                    <a:pt x="905" y="496"/>
                  </a:lnTo>
                  <a:lnTo>
                    <a:pt x="906" y="499"/>
                  </a:lnTo>
                  <a:lnTo>
                    <a:pt x="908" y="501"/>
                  </a:lnTo>
                  <a:lnTo>
                    <a:pt x="910" y="503"/>
                  </a:lnTo>
                  <a:lnTo>
                    <a:pt x="913" y="505"/>
                  </a:lnTo>
                  <a:lnTo>
                    <a:pt x="914" y="507"/>
                  </a:lnTo>
                  <a:lnTo>
                    <a:pt x="915" y="509"/>
                  </a:lnTo>
                  <a:lnTo>
                    <a:pt x="915" y="510"/>
                  </a:lnTo>
                  <a:lnTo>
                    <a:pt x="915" y="511"/>
                  </a:lnTo>
                  <a:lnTo>
                    <a:pt x="916" y="511"/>
                  </a:lnTo>
                  <a:lnTo>
                    <a:pt x="917" y="511"/>
                  </a:lnTo>
                  <a:lnTo>
                    <a:pt x="917" y="513"/>
                  </a:lnTo>
                  <a:lnTo>
                    <a:pt x="917" y="514"/>
                  </a:lnTo>
                  <a:lnTo>
                    <a:pt x="920" y="515"/>
                  </a:lnTo>
                  <a:lnTo>
                    <a:pt x="921" y="517"/>
                  </a:lnTo>
                  <a:lnTo>
                    <a:pt x="923" y="518"/>
                  </a:lnTo>
                  <a:lnTo>
                    <a:pt x="924" y="520"/>
                  </a:lnTo>
                  <a:lnTo>
                    <a:pt x="926" y="522"/>
                  </a:lnTo>
                  <a:lnTo>
                    <a:pt x="924" y="524"/>
                  </a:lnTo>
                  <a:lnTo>
                    <a:pt x="923" y="526"/>
                  </a:lnTo>
                  <a:lnTo>
                    <a:pt x="922" y="528"/>
                  </a:lnTo>
                  <a:lnTo>
                    <a:pt x="921" y="528"/>
                  </a:lnTo>
                  <a:lnTo>
                    <a:pt x="921" y="528"/>
                  </a:lnTo>
                  <a:lnTo>
                    <a:pt x="920" y="528"/>
                  </a:lnTo>
                  <a:lnTo>
                    <a:pt x="919" y="529"/>
                  </a:lnTo>
                  <a:lnTo>
                    <a:pt x="917" y="529"/>
                  </a:lnTo>
                  <a:lnTo>
                    <a:pt x="916" y="529"/>
                  </a:lnTo>
                  <a:lnTo>
                    <a:pt x="916" y="530"/>
                  </a:lnTo>
                  <a:lnTo>
                    <a:pt x="917" y="530"/>
                  </a:lnTo>
                  <a:lnTo>
                    <a:pt x="920" y="529"/>
                  </a:lnTo>
                  <a:lnTo>
                    <a:pt x="921" y="529"/>
                  </a:lnTo>
                  <a:lnTo>
                    <a:pt x="922" y="529"/>
                  </a:lnTo>
                  <a:lnTo>
                    <a:pt x="923" y="530"/>
                  </a:lnTo>
                  <a:lnTo>
                    <a:pt x="924" y="531"/>
                  </a:lnTo>
                  <a:lnTo>
                    <a:pt x="926" y="533"/>
                  </a:lnTo>
                  <a:lnTo>
                    <a:pt x="928" y="536"/>
                  </a:lnTo>
                  <a:lnTo>
                    <a:pt x="931" y="538"/>
                  </a:lnTo>
                  <a:lnTo>
                    <a:pt x="934" y="539"/>
                  </a:lnTo>
                  <a:lnTo>
                    <a:pt x="936" y="540"/>
                  </a:lnTo>
                  <a:lnTo>
                    <a:pt x="938" y="540"/>
                  </a:lnTo>
                  <a:lnTo>
                    <a:pt x="942" y="539"/>
                  </a:lnTo>
                  <a:lnTo>
                    <a:pt x="943" y="538"/>
                  </a:lnTo>
                  <a:lnTo>
                    <a:pt x="945" y="537"/>
                  </a:lnTo>
                  <a:lnTo>
                    <a:pt x="947" y="537"/>
                  </a:lnTo>
                  <a:lnTo>
                    <a:pt x="951" y="537"/>
                  </a:lnTo>
                  <a:lnTo>
                    <a:pt x="953" y="537"/>
                  </a:lnTo>
                  <a:lnTo>
                    <a:pt x="956" y="537"/>
                  </a:lnTo>
                  <a:lnTo>
                    <a:pt x="957" y="536"/>
                  </a:lnTo>
                  <a:lnTo>
                    <a:pt x="958" y="535"/>
                  </a:lnTo>
                  <a:lnTo>
                    <a:pt x="959" y="533"/>
                  </a:lnTo>
                  <a:lnTo>
                    <a:pt x="960" y="533"/>
                  </a:lnTo>
                  <a:lnTo>
                    <a:pt x="964" y="533"/>
                  </a:lnTo>
                  <a:lnTo>
                    <a:pt x="966" y="533"/>
                  </a:lnTo>
                  <a:lnTo>
                    <a:pt x="967" y="533"/>
                  </a:lnTo>
                  <a:lnTo>
                    <a:pt x="968" y="533"/>
                  </a:lnTo>
                  <a:lnTo>
                    <a:pt x="968" y="533"/>
                  </a:lnTo>
                  <a:lnTo>
                    <a:pt x="969" y="532"/>
                  </a:lnTo>
                  <a:lnTo>
                    <a:pt x="969" y="532"/>
                  </a:lnTo>
                  <a:lnTo>
                    <a:pt x="971" y="532"/>
                  </a:lnTo>
                  <a:lnTo>
                    <a:pt x="972" y="533"/>
                  </a:lnTo>
                  <a:lnTo>
                    <a:pt x="974" y="532"/>
                  </a:lnTo>
                  <a:lnTo>
                    <a:pt x="977" y="531"/>
                  </a:lnTo>
                  <a:lnTo>
                    <a:pt x="980" y="530"/>
                  </a:lnTo>
                  <a:lnTo>
                    <a:pt x="982" y="528"/>
                  </a:lnTo>
                  <a:lnTo>
                    <a:pt x="984" y="526"/>
                  </a:lnTo>
                  <a:lnTo>
                    <a:pt x="986" y="526"/>
                  </a:lnTo>
                  <a:lnTo>
                    <a:pt x="988" y="525"/>
                  </a:lnTo>
                  <a:lnTo>
                    <a:pt x="990" y="525"/>
                  </a:lnTo>
                  <a:lnTo>
                    <a:pt x="991" y="525"/>
                  </a:lnTo>
                  <a:lnTo>
                    <a:pt x="992" y="526"/>
                  </a:lnTo>
                  <a:lnTo>
                    <a:pt x="992" y="528"/>
                  </a:lnTo>
                  <a:lnTo>
                    <a:pt x="992" y="530"/>
                  </a:lnTo>
                  <a:lnTo>
                    <a:pt x="992" y="532"/>
                  </a:lnTo>
                  <a:lnTo>
                    <a:pt x="994" y="535"/>
                  </a:lnTo>
                  <a:lnTo>
                    <a:pt x="994" y="536"/>
                  </a:lnTo>
                  <a:lnTo>
                    <a:pt x="994" y="537"/>
                  </a:lnTo>
                  <a:lnTo>
                    <a:pt x="994" y="537"/>
                  </a:lnTo>
                  <a:lnTo>
                    <a:pt x="992" y="537"/>
                  </a:lnTo>
                  <a:lnTo>
                    <a:pt x="992" y="537"/>
                  </a:lnTo>
                  <a:lnTo>
                    <a:pt x="992" y="538"/>
                  </a:lnTo>
                  <a:lnTo>
                    <a:pt x="994" y="540"/>
                  </a:lnTo>
                  <a:lnTo>
                    <a:pt x="994" y="543"/>
                  </a:lnTo>
                  <a:lnTo>
                    <a:pt x="992" y="545"/>
                  </a:lnTo>
                  <a:lnTo>
                    <a:pt x="992" y="546"/>
                  </a:lnTo>
                  <a:lnTo>
                    <a:pt x="992" y="546"/>
                  </a:lnTo>
                  <a:lnTo>
                    <a:pt x="992" y="546"/>
                  </a:lnTo>
                  <a:lnTo>
                    <a:pt x="992" y="546"/>
                  </a:lnTo>
                  <a:lnTo>
                    <a:pt x="992" y="546"/>
                  </a:lnTo>
                  <a:lnTo>
                    <a:pt x="992" y="547"/>
                  </a:lnTo>
                  <a:lnTo>
                    <a:pt x="992" y="548"/>
                  </a:lnTo>
                  <a:lnTo>
                    <a:pt x="991" y="551"/>
                  </a:lnTo>
                  <a:lnTo>
                    <a:pt x="990" y="554"/>
                  </a:lnTo>
                  <a:lnTo>
                    <a:pt x="989" y="557"/>
                  </a:lnTo>
                  <a:lnTo>
                    <a:pt x="988" y="558"/>
                  </a:lnTo>
                  <a:lnTo>
                    <a:pt x="988" y="558"/>
                  </a:lnTo>
                  <a:lnTo>
                    <a:pt x="988" y="559"/>
                  </a:lnTo>
                  <a:lnTo>
                    <a:pt x="988" y="559"/>
                  </a:lnTo>
                  <a:lnTo>
                    <a:pt x="988" y="559"/>
                  </a:lnTo>
                  <a:lnTo>
                    <a:pt x="986" y="567"/>
                  </a:lnTo>
                  <a:lnTo>
                    <a:pt x="981" y="575"/>
                  </a:lnTo>
                  <a:lnTo>
                    <a:pt x="979" y="583"/>
                  </a:lnTo>
                  <a:lnTo>
                    <a:pt x="977" y="591"/>
                  </a:lnTo>
                  <a:lnTo>
                    <a:pt x="973" y="596"/>
                  </a:lnTo>
                  <a:lnTo>
                    <a:pt x="969" y="600"/>
                  </a:lnTo>
                  <a:lnTo>
                    <a:pt x="967" y="604"/>
                  </a:lnTo>
                  <a:lnTo>
                    <a:pt x="964" y="611"/>
                  </a:lnTo>
                  <a:lnTo>
                    <a:pt x="958" y="618"/>
                  </a:lnTo>
                  <a:lnTo>
                    <a:pt x="951" y="626"/>
                  </a:lnTo>
                  <a:lnTo>
                    <a:pt x="947" y="629"/>
                  </a:lnTo>
                  <a:lnTo>
                    <a:pt x="944" y="632"/>
                  </a:lnTo>
                  <a:lnTo>
                    <a:pt x="942" y="634"/>
                  </a:lnTo>
                  <a:lnTo>
                    <a:pt x="939" y="635"/>
                  </a:lnTo>
                  <a:lnTo>
                    <a:pt x="937" y="637"/>
                  </a:lnTo>
                  <a:lnTo>
                    <a:pt x="936" y="640"/>
                  </a:lnTo>
                  <a:lnTo>
                    <a:pt x="934" y="643"/>
                  </a:lnTo>
                  <a:lnTo>
                    <a:pt x="930" y="647"/>
                  </a:lnTo>
                  <a:lnTo>
                    <a:pt x="928" y="649"/>
                  </a:lnTo>
                  <a:lnTo>
                    <a:pt x="924" y="651"/>
                  </a:lnTo>
                  <a:lnTo>
                    <a:pt x="922" y="654"/>
                  </a:lnTo>
                  <a:lnTo>
                    <a:pt x="920" y="657"/>
                  </a:lnTo>
                  <a:lnTo>
                    <a:pt x="917" y="660"/>
                  </a:lnTo>
                  <a:lnTo>
                    <a:pt x="916" y="663"/>
                  </a:lnTo>
                  <a:lnTo>
                    <a:pt x="915" y="665"/>
                  </a:lnTo>
                  <a:lnTo>
                    <a:pt x="914" y="666"/>
                  </a:lnTo>
                  <a:lnTo>
                    <a:pt x="914" y="667"/>
                  </a:lnTo>
                  <a:lnTo>
                    <a:pt x="913" y="669"/>
                  </a:lnTo>
                  <a:lnTo>
                    <a:pt x="913" y="669"/>
                  </a:lnTo>
                  <a:lnTo>
                    <a:pt x="909" y="672"/>
                  </a:lnTo>
                  <a:lnTo>
                    <a:pt x="906" y="674"/>
                  </a:lnTo>
                  <a:lnTo>
                    <a:pt x="904" y="675"/>
                  </a:lnTo>
                  <a:lnTo>
                    <a:pt x="901" y="678"/>
                  </a:lnTo>
                  <a:lnTo>
                    <a:pt x="900" y="679"/>
                  </a:lnTo>
                  <a:lnTo>
                    <a:pt x="899" y="680"/>
                  </a:lnTo>
                  <a:lnTo>
                    <a:pt x="899" y="682"/>
                  </a:lnTo>
                  <a:lnTo>
                    <a:pt x="899" y="685"/>
                  </a:lnTo>
                  <a:lnTo>
                    <a:pt x="898" y="686"/>
                  </a:lnTo>
                  <a:lnTo>
                    <a:pt x="898" y="687"/>
                  </a:lnTo>
                  <a:lnTo>
                    <a:pt x="898" y="687"/>
                  </a:lnTo>
                  <a:lnTo>
                    <a:pt x="898" y="689"/>
                  </a:lnTo>
                  <a:lnTo>
                    <a:pt x="897" y="692"/>
                  </a:lnTo>
                  <a:lnTo>
                    <a:pt x="897" y="694"/>
                  </a:lnTo>
                  <a:lnTo>
                    <a:pt x="895" y="696"/>
                  </a:lnTo>
                  <a:lnTo>
                    <a:pt x="895" y="697"/>
                  </a:lnTo>
                  <a:lnTo>
                    <a:pt x="894" y="699"/>
                  </a:lnTo>
                  <a:lnTo>
                    <a:pt x="893" y="701"/>
                  </a:lnTo>
                  <a:lnTo>
                    <a:pt x="893" y="702"/>
                  </a:lnTo>
                  <a:lnTo>
                    <a:pt x="893" y="703"/>
                  </a:lnTo>
                  <a:lnTo>
                    <a:pt x="893" y="703"/>
                  </a:lnTo>
                  <a:lnTo>
                    <a:pt x="892" y="703"/>
                  </a:lnTo>
                  <a:lnTo>
                    <a:pt x="891" y="704"/>
                  </a:lnTo>
                  <a:lnTo>
                    <a:pt x="890" y="705"/>
                  </a:lnTo>
                  <a:lnTo>
                    <a:pt x="890" y="708"/>
                  </a:lnTo>
                  <a:lnTo>
                    <a:pt x="890" y="709"/>
                  </a:lnTo>
                  <a:lnTo>
                    <a:pt x="890" y="710"/>
                  </a:lnTo>
                  <a:lnTo>
                    <a:pt x="889" y="712"/>
                  </a:lnTo>
                  <a:lnTo>
                    <a:pt x="887" y="715"/>
                  </a:lnTo>
                  <a:lnTo>
                    <a:pt x="886" y="718"/>
                  </a:lnTo>
                  <a:lnTo>
                    <a:pt x="885" y="720"/>
                  </a:lnTo>
                  <a:lnTo>
                    <a:pt x="884" y="723"/>
                  </a:lnTo>
                  <a:lnTo>
                    <a:pt x="885" y="725"/>
                  </a:lnTo>
                  <a:lnTo>
                    <a:pt x="886" y="726"/>
                  </a:lnTo>
                  <a:lnTo>
                    <a:pt x="887" y="727"/>
                  </a:lnTo>
                  <a:lnTo>
                    <a:pt x="889" y="729"/>
                  </a:lnTo>
                  <a:lnTo>
                    <a:pt x="890" y="731"/>
                  </a:lnTo>
                  <a:lnTo>
                    <a:pt x="891" y="732"/>
                  </a:lnTo>
                  <a:lnTo>
                    <a:pt x="891" y="733"/>
                  </a:lnTo>
                  <a:lnTo>
                    <a:pt x="890" y="736"/>
                  </a:lnTo>
                  <a:lnTo>
                    <a:pt x="889" y="737"/>
                  </a:lnTo>
                  <a:lnTo>
                    <a:pt x="889" y="737"/>
                  </a:lnTo>
                  <a:lnTo>
                    <a:pt x="889" y="738"/>
                  </a:lnTo>
                  <a:lnTo>
                    <a:pt x="889" y="738"/>
                  </a:lnTo>
                  <a:lnTo>
                    <a:pt x="889" y="739"/>
                  </a:lnTo>
                  <a:lnTo>
                    <a:pt x="887" y="740"/>
                  </a:lnTo>
                  <a:lnTo>
                    <a:pt x="886" y="742"/>
                  </a:lnTo>
                  <a:lnTo>
                    <a:pt x="885" y="744"/>
                  </a:lnTo>
                  <a:lnTo>
                    <a:pt x="885" y="746"/>
                  </a:lnTo>
                  <a:lnTo>
                    <a:pt x="886" y="747"/>
                  </a:lnTo>
                  <a:lnTo>
                    <a:pt x="887" y="749"/>
                  </a:lnTo>
                  <a:lnTo>
                    <a:pt x="889" y="751"/>
                  </a:lnTo>
                  <a:lnTo>
                    <a:pt x="890" y="754"/>
                  </a:lnTo>
                  <a:lnTo>
                    <a:pt x="890" y="757"/>
                  </a:lnTo>
                  <a:lnTo>
                    <a:pt x="890" y="761"/>
                  </a:lnTo>
                  <a:lnTo>
                    <a:pt x="891" y="762"/>
                  </a:lnTo>
                  <a:lnTo>
                    <a:pt x="891" y="763"/>
                  </a:lnTo>
                  <a:lnTo>
                    <a:pt x="892" y="764"/>
                  </a:lnTo>
                  <a:lnTo>
                    <a:pt x="893" y="767"/>
                  </a:lnTo>
                  <a:lnTo>
                    <a:pt x="894" y="769"/>
                  </a:lnTo>
                  <a:lnTo>
                    <a:pt x="894" y="771"/>
                  </a:lnTo>
                  <a:lnTo>
                    <a:pt x="894" y="772"/>
                  </a:lnTo>
                  <a:lnTo>
                    <a:pt x="894" y="775"/>
                  </a:lnTo>
                  <a:lnTo>
                    <a:pt x="894" y="777"/>
                  </a:lnTo>
                  <a:lnTo>
                    <a:pt x="894" y="779"/>
                  </a:lnTo>
                  <a:lnTo>
                    <a:pt x="894" y="781"/>
                  </a:lnTo>
                  <a:lnTo>
                    <a:pt x="893" y="783"/>
                  </a:lnTo>
                  <a:lnTo>
                    <a:pt x="893" y="785"/>
                  </a:lnTo>
                  <a:lnTo>
                    <a:pt x="893" y="787"/>
                  </a:lnTo>
                  <a:lnTo>
                    <a:pt x="893" y="790"/>
                  </a:lnTo>
                  <a:lnTo>
                    <a:pt x="893" y="792"/>
                  </a:lnTo>
                  <a:lnTo>
                    <a:pt x="893" y="794"/>
                  </a:lnTo>
                  <a:lnTo>
                    <a:pt x="892" y="797"/>
                  </a:lnTo>
                  <a:lnTo>
                    <a:pt x="891" y="799"/>
                  </a:lnTo>
                  <a:lnTo>
                    <a:pt x="891" y="801"/>
                  </a:lnTo>
                  <a:lnTo>
                    <a:pt x="891" y="805"/>
                  </a:lnTo>
                  <a:lnTo>
                    <a:pt x="893" y="808"/>
                  </a:lnTo>
                  <a:lnTo>
                    <a:pt x="893" y="811"/>
                  </a:lnTo>
                  <a:lnTo>
                    <a:pt x="894" y="813"/>
                  </a:lnTo>
                  <a:lnTo>
                    <a:pt x="893" y="814"/>
                  </a:lnTo>
                  <a:lnTo>
                    <a:pt x="893" y="815"/>
                  </a:lnTo>
                  <a:lnTo>
                    <a:pt x="892" y="818"/>
                  </a:lnTo>
                  <a:lnTo>
                    <a:pt x="890" y="821"/>
                  </a:lnTo>
                  <a:lnTo>
                    <a:pt x="889" y="823"/>
                  </a:lnTo>
                  <a:lnTo>
                    <a:pt x="887" y="824"/>
                  </a:lnTo>
                  <a:lnTo>
                    <a:pt x="887" y="824"/>
                  </a:lnTo>
                  <a:lnTo>
                    <a:pt x="886" y="824"/>
                  </a:lnTo>
                  <a:lnTo>
                    <a:pt x="886" y="826"/>
                  </a:lnTo>
                  <a:lnTo>
                    <a:pt x="884" y="826"/>
                  </a:lnTo>
                  <a:lnTo>
                    <a:pt x="883" y="828"/>
                  </a:lnTo>
                  <a:lnTo>
                    <a:pt x="880" y="831"/>
                  </a:lnTo>
                  <a:lnTo>
                    <a:pt x="878" y="834"/>
                  </a:lnTo>
                  <a:lnTo>
                    <a:pt x="876" y="837"/>
                  </a:lnTo>
                  <a:lnTo>
                    <a:pt x="872" y="839"/>
                  </a:lnTo>
                  <a:lnTo>
                    <a:pt x="869" y="839"/>
                  </a:lnTo>
                  <a:lnTo>
                    <a:pt x="868" y="841"/>
                  </a:lnTo>
                  <a:lnTo>
                    <a:pt x="868" y="841"/>
                  </a:lnTo>
                  <a:lnTo>
                    <a:pt x="867" y="842"/>
                  </a:lnTo>
                  <a:lnTo>
                    <a:pt x="867" y="843"/>
                  </a:lnTo>
                  <a:lnTo>
                    <a:pt x="864" y="843"/>
                  </a:lnTo>
                  <a:lnTo>
                    <a:pt x="862" y="843"/>
                  </a:lnTo>
                  <a:lnTo>
                    <a:pt x="855" y="846"/>
                  </a:lnTo>
                  <a:lnTo>
                    <a:pt x="849" y="852"/>
                  </a:lnTo>
                  <a:lnTo>
                    <a:pt x="845" y="858"/>
                  </a:lnTo>
                  <a:lnTo>
                    <a:pt x="839" y="863"/>
                  </a:lnTo>
                  <a:lnTo>
                    <a:pt x="837" y="865"/>
                  </a:lnTo>
                  <a:lnTo>
                    <a:pt x="834" y="867"/>
                  </a:lnTo>
                  <a:lnTo>
                    <a:pt x="832" y="869"/>
                  </a:lnTo>
                  <a:lnTo>
                    <a:pt x="831" y="873"/>
                  </a:lnTo>
                  <a:lnTo>
                    <a:pt x="831" y="875"/>
                  </a:lnTo>
                  <a:lnTo>
                    <a:pt x="831" y="876"/>
                  </a:lnTo>
                  <a:lnTo>
                    <a:pt x="832" y="879"/>
                  </a:lnTo>
                  <a:lnTo>
                    <a:pt x="833" y="879"/>
                  </a:lnTo>
                  <a:lnTo>
                    <a:pt x="833" y="880"/>
                  </a:lnTo>
                  <a:lnTo>
                    <a:pt x="833" y="882"/>
                  </a:lnTo>
                  <a:lnTo>
                    <a:pt x="834" y="884"/>
                  </a:lnTo>
                  <a:lnTo>
                    <a:pt x="835" y="889"/>
                  </a:lnTo>
                  <a:lnTo>
                    <a:pt x="835" y="890"/>
                  </a:lnTo>
                  <a:lnTo>
                    <a:pt x="834" y="893"/>
                  </a:lnTo>
                  <a:lnTo>
                    <a:pt x="834" y="895"/>
                  </a:lnTo>
                  <a:lnTo>
                    <a:pt x="835" y="897"/>
                  </a:lnTo>
                  <a:lnTo>
                    <a:pt x="835" y="900"/>
                  </a:lnTo>
                  <a:lnTo>
                    <a:pt x="835" y="902"/>
                  </a:lnTo>
                  <a:lnTo>
                    <a:pt x="834" y="903"/>
                  </a:lnTo>
                  <a:lnTo>
                    <a:pt x="833" y="905"/>
                  </a:lnTo>
                  <a:lnTo>
                    <a:pt x="832" y="908"/>
                  </a:lnTo>
                  <a:lnTo>
                    <a:pt x="832" y="910"/>
                  </a:lnTo>
                  <a:lnTo>
                    <a:pt x="832" y="911"/>
                  </a:lnTo>
                  <a:lnTo>
                    <a:pt x="831" y="913"/>
                  </a:lnTo>
                  <a:lnTo>
                    <a:pt x="829" y="916"/>
                  </a:lnTo>
                  <a:lnTo>
                    <a:pt x="826" y="919"/>
                  </a:lnTo>
                  <a:lnTo>
                    <a:pt x="822" y="923"/>
                  </a:lnTo>
                  <a:lnTo>
                    <a:pt x="816" y="925"/>
                  </a:lnTo>
                  <a:lnTo>
                    <a:pt x="812" y="927"/>
                  </a:lnTo>
                  <a:lnTo>
                    <a:pt x="809" y="928"/>
                  </a:lnTo>
                  <a:lnTo>
                    <a:pt x="808" y="930"/>
                  </a:lnTo>
                  <a:lnTo>
                    <a:pt x="807" y="931"/>
                  </a:lnTo>
                  <a:lnTo>
                    <a:pt x="807" y="932"/>
                  </a:lnTo>
                  <a:lnTo>
                    <a:pt x="807" y="933"/>
                  </a:lnTo>
                  <a:lnTo>
                    <a:pt x="808" y="934"/>
                  </a:lnTo>
                  <a:lnTo>
                    <a:pt x="808" y="935"/>
                  </a:lnTo>
                  <a:lnTo>
                    <a:pt x="808" y="938"/>
                  </a:lnTo>
                  <a:lnTo>
                    <a:pt x="804" y="948"/>
                  </a:lnTo>
                  <a:lnTo>
                    <a:pt x="802" y="954"/>
                  </a:lnTo>
                  <a:lnTo>
                    <a:pt x="800" y="957"/>
                  </a:lnTo>
                  <a:lnTo>
                    <a:pt x="795" y="958"/>
                  </a:lnTo>
                  <a:lnTo>
                    <a:pt x="790" y="962"/>
                  </a:lnTo>
                  <a:lnTo>
                    <a:pt x="785" y="971"/>
                  </a:lnTo>
                  <a:lnTo>
                    <a:pt x="780" y="980"/>
                  </a:lnTo>
                  <a:lnTo>
                    <a:pt x="774" y="986"/>
                  </a:lnTo>
                  <a:lnTo>
                    <a:pt x="772" y="987"/>
                  </a:lnTo>
                  <a:lnTo>
                    <a:pt x="770" y="990"/>
                  </a:lnTo>
                  <a:lnTo>
                    <a:pt x="767" y="992"/>
                  </a:lnTo>
                  <a:lnTo>
                    <a:pt x="765" y="994"/>
                  </a:lnTo>
                  <a:lnTo>
                    <a:pt x="764" y="997"/>
                  </a:lnTo>
                  <a:lnTo>
                    <a:pt x="762" y="999"/>
                  </a:lnTo>
                  <a:lnTo>
                    <a:pt x="758" y="1002"/>
                  </a:lnTo>
                  <a:lnTo>
                    <a:pt x="755" y="1006"/>
                  </a:lnTo>
                  <a:lnTo>
                    <a:pt x="750" y="1010"/>
                  </a:lnTo>
                  <a:lnTo>
                    <a:pt x="743" y="1013"/>
                  </a:lnTo>
                  <a:lnTo>
                    <a:pt x="741" y="1014"/>
                  </a:lnTo>
                  <a:lnTo>
                    <a:pt x="740" y="1015"/>
                  </a:lnTo>
                  <a:lnTo>
                    <a:pt x="738" y="1016"/>
                  </a:lnTo>
                  <a:lnTo>
                    <a:pt x="738" y="1017"/>
                  </a:lnTo>
                  <a:lnTo>
                    <a:pt x="737" y="1017"/>
                  </a:lnTo>
                  <a:lnTo>
                    <a:pt x="736" y="1018"/>
                  </a:lnTo>
                  <a:lnTo>
                    <a:pt x="734" y="1017"/>
                  </a:lnTo>
                  <a:lnTo>
                    <a:pt x="733" y="1017"/>
                  </a:lnTo>
                  <a:lnTo>
                    <a:pt x="732" y="1017"/>
                  </a:lnTo>
                  <a:lnTo>
                    <a:pt x="730" y="1018"/>
                  </a:lnTo>
                  <a:lnTo>
                    <a:pt x="730" y="1018"/>
                  </a:lnTo>
                  <a:lnTo>
                    <a:pt x="730" y="1020"/>
                  </a:lnTo>
                  <a:lnTo>
                    <a:pt x="729" y="1020"/>
                  </a:lnTo>
                  <a:lnTo>
                    <a:pt x="727" y="1020"/>
                  </a:lnTo>
                  <a:lnTo>
                    <a:pt x="726" y="1018"/>
                  </a:lnTo>
                  <a:lnTo>
                    <a:pt x="722" y="1018"/>
                  </a:lnTo>
                  <a:lnTo>
                    <a:pt x="720" y="1017"/>
                  </a:lnTo>
                  <a:lnTo>
                    <a:pt x="719" y="1017"/>
                  </a:lnTo>
                  <a:lnTo>
                    <a:pt x="717" y="1018"/>
                  </a:lnTo>
                  <a:lnTo>
                    <a:pt x="715" y="1018"/>
                  </a:lnTo>
                  <a:lnTo>
                    <a:pt x="714" y="1017"/>
                  </a:lnTo>
                  <a:lnTo>
                    <a:pt x="713" y="1018"/>
                  </a:lnTo>
                  <a:lnTo>
                    <a:pt x="711" y="1020"/>
                  </a:lnTo>
                  <a:lnTo>
                    <a:pt x="710" y="1021"/>
                  </a:lnTo>
                  <a:lnTo>
                    <a:pt x="707" y="1021"/>
                  </a:lnTo>
                  <a:lnTo>
                    <a:pt x="704" y="1021"/>
                  </a:lnTo>
                  <a:lnTo>
                    <a:pt x="704" y="1022"/>
                  </a:lnTo>
                  <a:lnTo>
                    <a:pt x="703" y="1022"/>
                  </a:lnTo>
                  <a:lnTo>
                    <a:pt x="703" y="1022"/>
                  </a:lnTo>
                  <a:lnTo>
                    <a:pt x="702" y="1021"/>
                  </a:lnTo>
                  <a:lnTo>
                    <a:pt x="699" y="1022"/>
                  </a:lnTo>
                  <a:lnTo>
                    <a:pt x="697" y="1023"/>
                  </a:lnTo>
                  <a:lnTo>
                    <a:pt x="695" y="1024"/>
                  </a:lnTo>
                  <a:lnTo>
                    <a:pt x="692" y="1024"/>
                  </a:lnTo>
                  <a:lnTo>
                    <a:pt x="690" y="1024"/>
                  </a:lnTo>
                  <a:lnTo>
                    <a:pt x="688" y="1023"/>
                  </a:lnTo>
                  <a:lnTo>
                    <a:pt x="687" y="1021"/>
                  </a:lnTo>
                  <a:lnTo>
                    <a:pt x="685" y="1020"/>
                  </a:lnTo>
                  <a:lnTo>
                    <a:pt x="684" y="1020"/>
                  </a:lnTo>
                  <a:lnTo>
                    <a:pt x="683" y="1020"/>
                  </a:lnTo>
                  <a:lnTo>
                    <a:pt x="683" y="1021"/>
                  </a:lnTo>
                  <a:lnTo>
                    <a:pt x="683" y="1022"/>
                  </a:lnTo>
                  <a:lnTo>
                    <a:pt x="683" y="1023"/>
                  </a:lnTo>
                  <a:lnTo>
                    <a:pt x="683" y="1023"/>
                  </a:lnTo>
                  <a:lnTo>
                    <a:pt x="681" y="1022"/>
                  </a:lnTo>
                  <a:lnTo>
                    <a:pt x="681" y="1021"/>
                  </a:lnTo>
                  <a:lnTo>
                    <a:pt x="680" y="1020"/>
                  </a:lnTo>
                  <a:lnTo>
                    <a:pt x="681" y="1018"/>
                  </a:lnTo>
                  <a:lnTo>
                    <a:pt x="681" y="1017"/>
                  </a:lnTo>
                  <a:lnTo>
                    <a:pt x="680" y="1016"/>
                  </a:lnTo>
                  <a:lnTo>
                    <a:pt x="678" y="1014"/>
                  </a:lnTo>
                  <a:lnTo>
                    <a:pt x="677" y="1014"/>
                  </a:lnTo>
                  <a:lnTo>
                    <a:pt x="677" y="1013"/>
                  </a:lnTo>
                  <a:lnTo>
                    <a:pt x="677" y="1012"/>
                  </a:lnTo>
                  <a:lnTo>
                    <a:pt x="677" y="1010"/>
                  </a:lnTo>
                  <a:lnTo>
                    <a:pt x="677" y="1009"/>
                  </a:lnTo>
                  <a:lnTo>
                    <a:pt x="676" y="1007"/>
                  </a:lnTo>
                  <a:lnTo>
                    <a:pt x="677" y="1007"/>
                  </a:lnTo>
                  <a:lnTo>
                    <a:pt x="678" y="1006"/>
                  </a:lnTo>
                  <a:lnTo>
                    <a:pt x="678" y="1005"/>
                  </a:lnTo>
                  <a:lnTo>
                    <a:pt x="678" y="1003"/>
                  </a:lnTo>
                  <a:lnTo>
                    <a:pt x="678" y="1002"/>
                  </a:lnTo>
                  <a:lnTo>
                    <a:pt x="678" y="1000"/>
                  </a:lnTo>
                  <a:lnTo>
                    <a:pt x="680" y="998"/>
                  </a:lnTo>
                  <a:lnTo>
                    <a:pt x="680" y="995"/>
                  </a:lnTo>
                  <a:lnTo>
                    <a:pt x="680" y="993"/>
                  </a:lnTo>
                  <a:lnTo>
                    <a:pt x="678" y="992"/>
                  </a:lnTo>
                  <a:lnTo>
                    <a:pt x="676" y="990"/>
                  </a:lnTo>
                  <a:lnTo>
                    <a:pt x="672" y="983"/>
                  </a:lnTo>
                  <a:lnTo>
                    <a:pt x="670" y="975"/>
                  </a:lnTo>
                  <a:lnTo>
                    <a:pt x="669" y="968"/>
                  </a:lnTo>
                  <a:lnTo>
                    <a:pt x="668" y="964"/>
                  </a:lnTo>
                  <a:lnTo>
                    <a:pt x="667" y="963"/>
                  </a:lnTo>
                  <a:lnTo>
                    <a:pt x="667" y="962"/>
                  </a:lnTo>
                  <a:lnTo>
                    <a:pt x="666" y="961"/>
                  </a:lnTo>
                  <a:lnTo>
                    <a:pt x="665" y="961"/>
                  </a:lnTo>
                  <a:lnTo>
                    <a:pt x="663" y="957"/>
                  </a:lnTo>
                  <a:lnTo>
                    <a:pt x="662" y="955"/>
                  </a:lnTo>
                  <a:lnTo>
                    <a:pt x="661" y="951"/>
                  </a:lnTo>
                  <a:lnTo>
                    <a:pt x="660" y="949"/>
                  </a:lnTo>
                  <a:lnTo>
                    <a:pt x="660" y="948"/>
                  </a:lnTo>
                  <a:lnTo>
                    <a:pt x="661" y="946"/>
                  </a:lnTo>
                  <a:lnTo>
                    <a:pt x="660" y="942"/>
                  </a:lnTo>
                  <a:lnTo>
                    <a:pt x="659" y="935"/>
                  </a:lnTo>
                  <a:lnTo>
                    <a:pt x="657" y="927"/>
                  </a:lnTo>
                  <a:lnTo>
                    <a:pt x="655" y="919"/>
                  </a:lnTo>
                  <a:lnTo>
                    <a:pt x="655" y="913"/>
                  </a:lnTo>
                  <a:lnTo>
                    <a:pt x="655" y="911"/>
                  </a:lnTo>
                  <a:lnTo>
                    <a:pt x="655" y="910"/>
                  </a:lnTo>
                  <a:lnTo>
                    <a:pt x="655" y="909"/>
                  </a:lnTo>
                  <a:lnTo>
                    <a:pt x="655" y="909"/>
                  </a:lnTo>
                  <a:lnTo>
                    <a:pt x="655" y="909"/>
                  </a:lnTo>
                  <a:lnTo>
                    <a:pt x="655" y="908"/>
                  </a:lnTo>
                  <a:lnTo>
                    <a:pt x="657" y="906"/>
                  </a:lnTo>
                  <a:lnTo>
                    <a:pt x="658" y="904"/>
                  </a:lnTo>
                  <a:lnTo>
                    <a:pt x="655" y="901"/>
                  </a:lnTo>
                  <a:lnTo>
                    <a:pt x="652" y="894"/>
                  </a:lnTo>
                  <a:lnTo>
                    <a:pt x="647" y="887"/>
                  </a:lnTo>
                  <a:lnTo>
                    <a:pt x="644" y="879"/>
                  </a:lnTo>
                  <a:lnTo>
                    <a:pt x="643" y="872"/>
                  </a:lnTo>
                  <a:lnTo>
                    <a:pt x="641" y="866"/>
                  </a:lnTo>
                  <a:lnTo>
                    <a:pt x="639" y="860"/>
                  </a:lnTo>
                  <a:lnTo>
                    <a:pt x="636" y="853"/>
                  </a:lnTo>
                  <a:lnTo>
                    <a:pt x="635" y="845"/>
                  </a:lnTo>
                  <a:lnTo>
                    <a:pt x="635" y="841"/>
                  </a:lnTo>
                  <a:lnTo>
                    <a:pt x="635" y="836"/>
                  </a:lnTo>
                  <a:lnTo>
                    <a:pt x="635" y="834"/>
                  </a:lnTo>
                  <a:lnTo>
                    <a:pt x="635" y="833"/>
                  </a:lnTo>
                  <a:lnTo>
                    <a:pt x="635" y="831"/>
                  </a:lnTo>
                  <a:lnTo>
                    <a:pt x="635" y="831"/>
                  </a:lnTo>
                  <a:lnTo>
                    <a:pt x="635" y="830"/>
                  </a:lnTo>
                  <a:lnTo>
                    <a:pt x="636" y="830"/>
                  </a:lnTo>
                  <a:lnTo>
                    <a:pt x="636" y="829"/>
                  </a:lnTo>
                  <a:lnTo>
                    <a:pt x="638" y="826"/>
                  </a:lnTo>
                  <a:lnTo>
                    <a:pt x="638" y="818"/>
                  </a:lnTo>
                  <a:lnTo>
                    <a:pt x="639" y="808"/>
                  </a:lnTo>
                  <a:lnTo>
                    <a:pt x="641" y="800"/>
                  </a:lnTo>
                  <a:lnTo>
                    <a:pt x="643" y="797"/>
                  </a:lnTo>
                  <a:lnTo>
                    <a:pt x="644" y="794"/>
                  </a:lnTo>
                  <a:lnTo>
                    <a:pt x="645" y="793"/>
                  </a:lnTo>
                  <a:lnTo>
                    <a:pt x="646" y="793"/>
                  </a:lnTo>
                  <a:lnTo>
                    <a:pt x="646" y="793"/>
                  </a:lnTo>
                  <a:lnTo>
                    <a:pt x="646" y="792"/>
                  </a:lnTo>
                  <a:lnTo>
                    <a:pt x="647" y="791"/>
                  </a:lnTo>
                  <a:lnTo>
                    <a:pt x="648" y="790"/>
                  </a:lnTo>
                  <a:lnTo>
                    <a:pt x="650" y="787"/>
                  </a:lnTo>
                  <a:lnTo>
                    <a:pt x="651" y="786"/>
                  </a:lnTo>
                  <a:lnTo>
                    <a:pt x="651" y="785"/>
                  </a:lnTo>
                  <a:lnTo>
                    <a:pt x="652" y="785"/>
                  </a:lnTo>
                  <a:lnTo>
                    <a:pt x="653" y="785"/>
                  </a:lnTo>
                  <a:lnTo>
                    <a:pt x="653" y="784"/>
                  </a:lnTo>
                  <a:lnTo>
                    <a:pt x="654" y="782"/>
                  </a:lnTo>
                  <a:lnTo>
                    <a:pt x="655" y="778"/>
                  </a:lnTo>
                  <a:lnTo>
                    <a:pt x="657" y="771"/>
                  </a:lnTo>
                  <a:lnTo>
                    <a:pt x="654" y="767"/>
                  </a:lnTo>
                  <a:lnTo>
                    <a:pt x="652" y="761"/>
                  </a:lnTo>
                  <a:lnTo>
                    <a:pt x="652" y="756"/>
                  </a:lnTo>
                  <a:lnTo>
                    <a:pt x="652" y="755"/>
                  </a:lnTo>
                  <a:lnTo>
                    <a:pt x="652" y="755"/>
                  </a:lnTo>
                  <a:lnTo>
                    <a:pt x="651" y="755"/>
                  </a:lnTo>
                  <a:lnTo>
                    <a:pt x="651" y="755"/>
                  </a:lnTo>
                  <a:lnTo>
                    <a:pt x="651" y="754"/>
                  </a:lnTo>
                  <a:lnTo>
                    <a:pt x="651" y="754"/>
                  </a:lnTo>
                  <a:lnTo>
                    <a:pt x="651" y="752"/>
                  </a:lnTo>
                  <a:lnTo>
                    <a:pt x="652" y="749"/>
                  </a:lnTo>
                  <a:lnTo>
                    <a:pt x="652" y="742"/>
                  </a:lnTo>
                  <a:lnTo>
                    <a:pt x="650" y="737"/>
                  </a:lnTo>
                  <a:lnTo>
                    <a:pt x="648" y="730"/>
                  </a:lnTo>
                  <a:lnTo>
                    <a:pt x="647" y="727"/>
                  </a:lnTo>
                  <a:lnTo>
                    <a:pt x="645" y="725"/>
                  </a:lnTo>
                  <a:lnTo>
                    <a:pt x="644" y="724"/>
                  </a:lnTo>
                  <a:lnTo>
                    <a:pt x="644" y="723"/>
                  </a:lnTo>
                  <a:lnTo>
                    <a:pt x="645" y="722"/>
                  </a:lnTo>
                  <a:lnTo>
                    <a:pt x="647" y="722"/>
                  </a:lnTo>
                  <a:lnTo>
                    <a:pt x="650" y="720"/>
                  </a:lnTo>
                  <a:lnTo>
                    <a:pt x="651" y="720"/>
                  </a:lnTo>
                  <a:lnTo>
                    <a:pt x="652" y="719"/>
                  </a:lnTo>
                  <a:lnTo>
                    <a:pt x="651" y="719"/>
                  </a:lnTo>
                  <a:lnTo>
                    <a:pt x="651" y="719"/>
                  </a:lnTo>
                  <a:lnTo>
                    <a:pt x="650" y="718"/>
                  </a:lnTo>
                  <a:lnTo>
                    <a:pt x="648" y="719"/>
                  </a:lnTo>
                  <a:lnTo>
                    <a:pt x="646" y="719"/>
                  </a:lnTo>
                  <a:lnTo>
                    <a:pt x="645" y="720"/>
                  </a:lnTo>
                  <a:lnTo>
                    <a:pt x="644" y="720"/>
                  </a:lnTo>
                  <a:lnTo>
                    <a:pt x="644" y="719"/>
                  </a:lnTo>
                  <a:lnTo>
                    <a:pt x="643" y="718"/>
                  </a:lnTo>
                  <a:lnTo>
                    <a:pt x="643" y="717"/>
                  </a:lnTo>
                  <a:lnTo>
                    <a:pt x="641" y="717"/>
                  </a:lnTo>
                  <a:lnTo>
                    <a:pt x="641" y="717"/>
                  </a:lnTo>
                  <a:lnTo>
                    <a:pt x="640" y="716"/>
                  </a:lnTo>
                  <a:lnTo>
                    <a:pt x="641" y="716"/>
                  </a:lnTo>
                  <a:lnTo>
                    <a:pt x="643" y="716"/>
                  </a:lnTo>
                  <a:lnTo>
                    <a:pt x="643" y="715"/>
                  </a:lnTo>
                  <a:lnTo>
                    <a:pt x="641" y="714"/>
                  </a:lnTo>
                  <a:lnTo>
                    <a:pt x="641" y="712"/>
                  </a:lnTo>
                  <a:lnTo>
                    <a:pt x="641" y="712"/>
                  </a:lnTo>
                  <a:lnTo>
                    <a:pt x="641" y="711"/>
                  </a:lnTo>
                  <a:lnTo>
                    <a:pt x="641" y="711"/>
                  </a:lnTo>
                  <a:lnTo>
                    <a:pt x="640" y="710"/>
                  </a:lnTo>
                  <a:lnTo>
                    <a:pt x="640" y="709"/>
                  </a:lnTo>
                  <a:lnTo>
                    <a:pt x="639" y="708"/>
                  </a:lnTo>
                  <a:lnTo>
                    <a:pt x="639" y="707"/>
                  </a:lnTo>
                  <a:lnTo>
                    <a:pt x="640" y="707"/>
                  </a:lnTo>
                  <a:lnTo>
                    <a:pt x="641" y="708"/>
                  </a:lnTo>
                  <a:lnTo>
                    <a:pt x="643" y="707"/>
                  </a:lnTo>
                  <a:lnTo>
                    <a:pt x="644" y="707"/>
                  </a:lnTo>
                  <a:lnTo>
                    <a:pt x="643" y="707"/>
                  </a:lnTo>
                  <a:lnTo>
                    <a:pt x="643" y="705"/>
                  </a:lnTo>
                  <a:lnTo>
                    <a:pt x="641" y="705"/>
                  </a:lnTo>
                  <a:lnTo>
                    <a:pt x="640" y="707"/>
                  </a:lnTo>
                  <a:lnTo>
                    <a:pt x="639" y="705"/>
                  </a:lnTo>
                  <a:lnTo>
                    <a:pt x="639" y="705"/>
                  </a:lnTo>
                  <a:lnTo>
                    <a:pt x="638" y="704"/>
                  </a:lnTo>
                  <a:lnTo>
                    <a:pt x="636" y="700"/>
                  </a:lnTo>
                  <a:lnTo>
                    <a:pt x="635" y="699"/>
                  </a:lnTo>
                  <a:lnTo>
                    <a:pt x="633" y="697"/>
                  </a:lnTo>
                  <a:lnTo>
                    <a:pt x="632" y="696"/>
                  </a:lnTo>
                  <a:lnTo>
                    <a:pt x="632" y="696"/>
                  </a:lnTo>
                  <a:lnTo>
                    <a:pt x="632" y="695"/>
                  </a:lnTo>
                  <a:lnTo>
                    <a:pt x="632" y="695"/>
                  </a:lnTo>
                  <a:lnTo>
                    <a:pt x="632" y="694"/>
                  </a:lnTo>
                  <a:lnTo>
                    <a:pt x="631" y="694"/>
                  </a:lnTo>
                  <a:lnTo>
                    <a:pt x="630" y="694"/>
                  </a:lnTo>
                  <a:lnTo>
                    <a:pt x="630" y="694"/>
                  </a:lnTo>
                  <a:lnTo>
                    <a:pt x="630" y="693"/>
                  </a:lnTo>
                  <a:lnTo>
                    <a:pt x="631" y="692"/>
                  </a:lnTo>
                  <a:lnTo>
                    <a:pt x="631" y="692"/>
                  </a:lnTo>
                  <a:lnTo>
                    <a:pt x="630" y="690"/>
                  </a:lnTo>
                  <a:lnTo>
                    <a:pt x="629" y="689"/>
                  </a:lnTo>
                  <a:lnTo>
                    <a:pt x="628" y="688"/>
                  </a:lnTo>
                  <a:lnTo>
                    <a:pt x="626" y="687"/>
                  </a:lnTo>
                  <a:lnTo>
                    <a:pt x="625" y="686"/>
                  </a:lnTo>
                  <a:lnTo>
                    <a:pt x="625" y="686"/>
                  </a:lnTo>
                  <a:lnTo>
                    <a:pt x="624" y="684"/>
                  </a:lnTo>
                  <a:lnTo>
                    <a:pt x="623" y="682"/>
                  </a:lnTo>
                  <a:lnTo>
                    <a:pt x="622" y="680"/>
                  </a:lnTo>
                  <a:lnTo>
                    <a:pt x="620" y="679"/>
                  </a:lnTo>
                  <a:lnTo>
                    <a:pt x="620" y="678"/>
                  </a:lnTo>
                  <a:lnTo>
                    <a:pt x="620" y="678"/>
                  </a:lnTo>
                  <a:lnTo>
                    <a:pt x="620" y="679"/>
                  </a:lnTo>
                  <a:lnTo>
                    <a:pt x="620" y="678"/>
                  </a:lnTo>
                  <a:lnTo>
                    <a:pt x="620" y="678"/>
                  </a:lnTo>
                  <a:lnTo>
                    <a:pt x="620" y="678"/>
                  </a:lnTo>
                  <a:lnTo>
                    <a:pt x="618" y="678"/>
                  </a:lnTo>
                  <a:lnTo>
                    <a:pt x="617" y="677"/>
                  </a:lnTo>
                  <a:lnTo>
                    <a:pt x="617" y="675"/>
                  </a:lnTo>
                  <a:lnTo>
                    <a:pt x="616" y="674"/>
                  </a:lnTo>
                  <a:lnTo>
                    <a:pt x="616" y="673"/>
                  </a:lnTo>
                  <a:lnTo>
                    <a:pt x="617" y="672"/>
                  </a:lnTo>
                  <a:lnTo>
                    <a:pt x="617" y="672"/>
                  </a:lnTo>
                  <a:lnTo>
                    <a:pt x="617" y="672"/>
                  </a:lnTo>
                  <a:lnTo>
                    <a:pt x="617" y="671"/>
                  </a:lnTo>
                  <a:lnTo>
                    <a:pt x="617" y="671"/>
                  </a:lnTo>
                  <a:lnTo>
                    <a:pt x="616" y="670"/>
                  </a:lnTo>
                  <a:lnTo>
                    <a:pt x="615" y="671"/>
                  </a:lnTo>
                  <a:lnTo>
                    <a:pt x="615" y="670"/>
                  </a:lnTo>
                  <a:lnTo>
                    <a:pt x="615" y="669"/>
                  </a:lnTo>
                  <a:lnTo>
                    <a:pt x="614" y="667"/>
                  </a:lnTo>
                  <a:lnTo>
                    <a:pt x="613" y="665"/>
                  </a:lnTo>
                  <a:lnTo>
                    <a:pt x="611" y="663"/>
                  </a:lnTo>
                  <a:lnTo>
                    <a:pt x="611" y="662"/>
                  </a:lnTo>
                  <a:lnTo>
                    <a:pt x="611" y="660"/>
                  </a:lnTo>
                  <a:lnTo>
                    <a:pt x="611" y="660"/>
                  </a:lnTo>
                  <a:lnTo>
                    <a:pt x="614" y="660"/>
                  </a:lnTo>
                  <a:lnTo>
                    <a:pt x="615" y="660"/>
                  </a:lnTo>
                  <a:lnTo>
                    <a:pt x="616" y="659"/>
                  </a:lnTo>
                  <a:lnTo>
                    <a:pt x="616" y="659"/>
                  </a:lnTo>
                  <a:lnTo>
                    <a:pt x="616" y="658"/>
                  </a:lnTo>
                  <a:lnTo>
                    <a:pt x="617" y="657"/>
                  </a:lnTo>
                  <a:lnTo>
                    <a:pt x="617" y="656"/>
                  </a:lnTo>
                  <a:lnTo>
                    <a:pt x="617" y="654"/>
                  </a:lnTo>
                  <a:lnTo>
                    <a:pt x="617" y="651"/>
                  </a:lnTo>
                  <a:lnTo>
                    <a:pt x="618" y="650"/>
                  </a:lnTo>
                  <a:lnTo>
                    <a:pt x="618" y="650"/>
                  </a:lnTo>
                  <a:lnTo>
                    <a:pt x="618" y="650"/>
                  </a:lnTo>
                  <a:lnTo>
                    <a:pt x="620" y="651"/>
                  </a:lnTo>
                  <a:lnTo>
                    <a:pt x="621" y="652"/>
                  </a:lnTo>
                  <a:lnTo>
                    <a:pt x="622" y="654"/>
                  </a:lnTo>
                  <a:lnTo>
                    <a:pt x="623" y="654"/>
                  </a:lnTo>
                  <a:lnTo>
                    <a:pt x="623" y="652"/>
                  </a:lnTo>
                  <a:lnTo>
                    <a:pt x="623" y="651"/>
                  </a:lnTo>
                  <a:lnTo>
                    <a:pt x="622" y="651"/>
                  </a:lnTo>
                  <a:lnTo>
                    <a:pt x="621" y="651"/>
                  </a:lnTo>
                  <a:lnTo>
                    <a:pt x="620" y="650"/>
                  </a:lnTo>
                  <a:lnTo>
                    <a:pt x="618" y="649"/>
                  </a:lnTo>
                  <a:lnTo>
                    <a:pt x="618" y="649"/>
                  </a:lnTo>
                  <a:lnTo>
                    <a:pt x="618" y="648"/>
                  </a:lnTo>
                  <a:lnTo>
                    <a:pt x="621" y="648"/>
                  </a:lnTo>
                  <a:lnTo>
                    <a:pt x="621" y="648"/>
                  </a:lnTo>
                  <a:lnTo>
                    <a:pt x="621" y="647"/>
                  </a:lnTo>
                  <a:lnTo>
                    <a:pt x="622" y="645"/>
                  </a:lnTo>
                  <a:lnTo>
                    <a:pt x="622" y="644"/>
                  </a:lnTo>
                  <a:lnTo>
                    <a:pt x="622" y="643"/>
                  </a:lnTo>
                  <a:lnTo>
                    <a:pt x="624" y="643"/>
                  </a:lnTo>
                  <a:lnTo>
                    <a:pt x="622" y="642"/>
                  </a:lnTo>
                  <a:lnTo>
                    <a:pt x="620" y="642"/>
                  </a:lnTo>
                  <a:lnTo>
                    <a:pt x="618" y="642"/>
                  </a:lnTo>
                  <a:lnTo>
                    <a:pt x="617" y="641"/>
                  </a:lnTo>
                  <a:lnTo>
                    <a:pt x="617" y="640"/>
                  </a:lnTo>
                  <a:lnTo>
                    <a:pt x="618" y="637"/>
                  </a:lnTo>
                  <a:lnTo>
                    <a:pt x="620" y="636"/>
                  </a:lnTo>
                  <a:lnTo>
                    <a:pt x="621" y="635"/>
                  </a:lnTo>
                  <a:lnTo>
                    <a:pt x="621" y="634"/>
                  </a:lnTo>
                  <a:lnTo>
                    <a:pt x="621" y="633"/>
                  </a:lnTo>
                  <a:lnTo>
                    <a:pt x="622" y="632"/>
                  </a:lnTo>
                  <a:lnTo>
                    <a:pt x="622" y="630"/>
                  </a:lnTo>
                  <a:lnTo>
                    <a:pt x="622" y="630"/>
                  </a:lnTo>
                  <a:lnTo>
                    <a:pt x="622" y="620"/>
                  </a:lnTo>
                  <a:lnTo>
                    <a:pt x="623" y="619"/>
                  </a:lnTo>
                  <a:lnTo>
                    <a:pt x="622" y="618"/>
                  </a:lnTo>
                  <a:lnTo>
                    <a:pt x="622" y="617"/>
                  </a:lnTo>
                  <a:lnTo>
                    <a:pt x="622" y="615"/>
                  </a:lnTo>
                  <a:lnTo>
                    <a:pt x="622" y="615"/>
                  </a:lnTo>
                  <a:lnTo>
                    <a:pt x="622" y="614"/>
                  </a:lnTo>
                  <a:lnTo>
                    <a:pt x="621" y="613"/>
                  </a:lnTo>
                  <a:lnTo>
                    <a:pt x="620" y="612"/>
                  </a:lnTo>
                  <a:lnTo>
                    <a:pt x="620" y="612"/>
                  </a:lnTo>
                  <a:lnTo>
                    <a:pt x="620" y="612"/>
                  </a:lnTo>
                  <a:lnTo>
                    <a:pt x="621" y="612"/>
                  </a:lnTo>
                  <a:lnTo>
                    <a:pt x="622" y="612"/>
                  </a:lnTo>
                  <a:lnTo>
                    <a:pt x="622" y="611"/>
                  </a:lnTo>
                  <a:lnTo>
                    <a:pt x="622" y="611"/>
                  </a:lnTo>
                  <a:lnTo>
                    <a:pt x="622" y="611"/>
                  </a:lnTo>
                  <a:lnTo>
                    <a:pt x="621" y="611"/>
                  </a:lnTo>
                  <a:lnTo>
                    <a:pt x="622" y="610"/>
                  </a:lnTo>
                  <a:lnTo>
                    <a:pt x="623" y="608"/>
                  </a:lnTo>
                  <a:lnTo>
                    <a:pt x="622" y="608"/>
                  </a:lnTo>
                  <a:lnTo>
                    <a:pt x="622" y="610"/>
                  </a:lnTo>
                  <a:lnTo>
                    <a:pt x="621" y="610"/>
                  </a:lnTo>
                  <a:lnTo>
                    <a:pt x="621" y="610"/>
                  </a:lnTo>
                  <a:lnTo>
                    <a:pt x="621" y="610"/>
                  </a:lnTo>
                  <a:lnTo>
                    <a:pt x="621" y="610"/>
                  </a:lnTo>
                  <a:lnTo>
                    <a:pt x="620" y="610"/>
                  </a:lnTo>
                  <a:lnTo>
                    <a:pt x="618" y="610"/>
                  </a:lnTo>
                  <a:lnTo>
                    <a:pt x="617" y="610"/>
                  </a:lnTo>
                  <a:lnTo>
                    <a:pt x="615" y="608"/>
                  </a:lnTo>
                  <a:lnTo>
                    <a:pt x="614" y="606"/>
                  </a:lnTo>
                  <a:lnTo>
                    <a:pt x="614" y="605"/>
                  </a:lnTo>
                  <a:lnTo>
                    <a:pt x="614" y="604"/>
                  </a:lnTo>
                  <a:lnTo>
                    <a:pt x="614" y="604"/>
                  </a:lnTo>
                  <a:lnTo>
                    <a:pt x="614" y="605"/>
                  </a:lnTo>
                  <a:lnTo>
                    <a:pt x="613" y="606"/>
                  </a:lnTo>
                  <a:lnTo>
                    <a:pt x="613" y="605"/>
                  </a:lnTo>
                  <a:lnTo>
                    <a:pt x="611" y="604"/>
                  </a:lnTo>
                  <a:lnTo>
                    <a:pt x="611" y="604"/>
                  </a:lnTo>
                  <a:lnTo>
                    <a:pt x="610" y="604"/>
                  </a:lnTo>
                  <a:lnTo>
                    <a:pt x="609" y="604"/>
                  </a:lnTo>
                  <a:lnTo>
                    <a:pt x="608" y="603"/>
                  </a:lnTo>
                  <a:lnTo>
                    <a:pt x="609" y="604"/>
                  </a:lnTo>
                  <a:lnTo>
                    <a:pt x="609" y="604"/>
                  </a:lnTo>
                  <a:lnTo>
                    <a:pt x="609" y="604"/>
                  </a:lnTo>
                  <a:lnTo>
                    <a:pt x="608" y="605"/>
                  </a:lnTo>
                  <a:lnTo>
                    <a:pt x="607" y="605"/>
                  </a:lnTo>
                  <a:lnTo>
                    <a:pt x="605" y="604"/>
                  </a:lnTo>
                  <a:lnTo>
                    <a:pt x="605" y="605"/>
                  </a:lnTo>
                  <a:lnTo>
                    <a:pt x="603" y="606"/>
                  </a:lnTo>
                  <a:lnTo>
                    <a:pt x="602" y="605"/>
                  </a:lnTo>
                  <a:lnTo>
                    <a:pt x="601" y="604"/>
                  </a:lnTo>
                  <a:lnTo>
                    <a:pt x="600" y="605"/>
                  </a:lnTo>
                  <a:lnTo>
                    <a:pt x="600" y="606"/>
                  </a:lnTo>
                  <a:lnTo>
                    <a:pt x="600" y="606"/>
                  </a:lnTo>
                  <a:lnTo>
                    <a:pt x="599" y="607"/>
                  </a:lnTo>
                  <a:lnTo>
                    <a:pt x="598" y="607"/>
                  </a:lnTo>
                  <a:lnTo>
                    <a:pt x="596" y="607"/>
                  </a:lnTo>
                  <a:lnTo>
                    <a:pt x="596" y="607"/>
                  </a:lnTo>
                  <a:lnTo>
                    <a:pt x="595" y="607"/>
                  </a:lnTo>
                  <a:lnTo>
                    <a:pt x="595" y="607"/>
                  </a:lnTo>
                  <a:lnTo>
                    <a:pt x="595" y="607"/>
                  </a:lnTo>
                  <a:lnTo>
                    <a:pt x="595" y="607"/>
                  </a:lnTo>
                  <a:lnTo>
                    <a:pt x="594" y="607"/>
                  </a:lnTo>
                  <a:lnTo>
                    <a:pt x="593" y="607"/>
                  </a:lnTo>
                  <a:lnTo>
                    <a:pt x="592" y="606"/>
                  </a:lnTo>
                  <a:lnTo>
                    <a:pt x="590" y="605"/>
                  </a:lnTo>
                  <a:lnTo>
                    <a:pt x="587" y="603"/>
                  </a:lnTo>
                  <a:lnTo>
                    <a:pt x="586" y="603"/>
                  </a:lnTo>
                  <a:lnTo>
                    <a:pt x="585" y="603"/>
                  </a:lnTo>
                  <a:lnTo>
                    <a:pt x="585" y="603"/>
                  </a:lnTo>
                  <a:lnTo>
                    <a:pt x="585" y="602"/>
                  </a:lnTo>
                  <a:lnTo>
                    <a:pt x="584" y="600"/>
                  </a:lnTo>
                  <a:lnTo>
                    <a:pt x="583" y="600"/>
                  </a:lnTo>
                  <a:lnTo>
                    <a:pt x="584" y="599"/>
                  </a:lnTo>
                  <a:lnTo>
                    <a:pt x="584" y="599"/>
                  </a:lnTo>
                  <a:lnTo>
                    <a:pt x="585" y="599"/>
                  </a:lnTo>
                  <a:lnTo>
                    <a:pt x="585" y="598"/>
                  </a:lnTo>
                  <a:lnTo>
                    <a:pt x="585" y="598"/>
                  </a:lnTo>
                  <a:lnTo>
                    <a:pt x="585" y="597"/>
                  </a:lnTo>
                  <a:lnTo>
                    <a:pt x="586" y="597"/>
                  </a:lnTo>
                  <a:lnTo>
                    <a:pt x="587" y="596"/>
                  </a:lnTo>
                  <a:lnTo>
                    <a:pt x="586" y="596"/>
                  </a:lnTo>
                  <a:lnTo>
                    <a:pt x="585" y="596"/>
                  </a:lnTo>
                  <a:lnTo>
                    <a:pt x="585" y="597"/>
                  </a:lnTo>
                  <a:lnTo>
                    <a:pt x="585" y="597"/>
                  </a:lnTo>
                  <a:lnTo>
                    <a:pt x="584" y="597"/>
                  </a:lnTo>
                  <a:lnTo>
                    <a:pt x="583" y="598"/>
                  </a:lnTo>
                  <a:lnTo>
                    <a:pt x="583" y="598"/>
                  </a:lnTo>
                  <a:lnTo>
                    <a:pt x="583" y="597"/>
                  </a:lnTo>
                  <a:lnTo>
                    <a:pt x="583" y="596"/>
                  </a:lnTo>
                  <a:lnTo>
                    <a:pt x="581" y="596"/>
                  </a:lnTo>
                  <a:lnTo>
                    <a:pt x="584" y="593"/>
                  </a:lnTo>
                  <a:lnTo>
                    <a:pt x="584" y="595"/>
                  </a:lnTo>
                  <a:lnTo>
                    <a:pt x="583" y="595"/>
                  </a:lnTo>
                  <a:lnTo>
                    <a:pt x="583" y="595"/>
                  </a:lnTo>
                  <a:lnTo>
                    <a:pt x="583" y="593"/>
                  </a:lnTo>
                  <a:lnTo>
                    <a:pt x="581" y="592"/>
                  </a:lnTo>
                  <a:lnTo>
                    <a:pt x="583" y="591"/>
                  </a:lnTo>
                  <a:lnTo>
                    <a:pt x="581" y="590"/>
                  </a:lnTo>
                  <a:lnTo>
                    <a:pt x="579" y="589"/>
                  </a:lnTo>
                  <a:lnTo>
                    <a:pt x="577" y="588"/>
                  </a:lnTo>
                  <a:lnTo>
                    <a:pt x="573" y="587"/>
                  </a:lnTo>
                  <a:lnTo>
                    <a:pt x="572" y="587"/>
                  </a:lnTo>
                  <a:lnTo>
                    <a:pt x="571" y="587"/>
                  </a:lnTo>
                  <a:lnTo>
                    <a:pt x="570" y="587"/>
                  </a:lnTo>
                  <a:lnTo>
                    <a:pt x="569" y="587"/>
                  </a:lnTo>
                  <a:lnTo>
                    <a:pt x="569" y="585"/>
                  </a:lnTo>
                  <a:lnTo>
                    <a:pt x="570" y="585"/>
                  </a:lnTo>
                  <a:lnTo>
                    <a:pt x="568" y="585"/>
                  </a:lnTo>
                  <a:lnTo>
                    <a:pt x="568" y="585"/>
                  </a:lnTo>
                  <a:lnTo>
                    <a:pt x="566" y="585"/>
                  </a:lnTo>
                  <a:lnTo>
                    <a:pt x="566" y="587"/>
                  </a:lnTo>
                  <a:lnTo>
                    <a:pt x="566" y="587"/>
                  </a:lnTo>
                  <a:lnTo>
                    <a:pt x="565" y="587"/>
                  </a:lnTo>
                  <a:lnTo>
                    <a:pt x="563" y="587"/>
                  </a:lnTo>
                  <a:lnTo>
                    <a:pt x="560" y="587"/>
                  </a:lnTo>
                  <a:lnTo>
                    <a:pt x="560" y="587"/>
                  </a:lnTo>
                  <a:lnTo>
                    <a:pt x="560" y="587"/>
                  </a:lnTo>
                  <a:lnTo>
                    <a:pt x="558" y="587"/>
                  </a:lnTo>
                  <a:lnTo>
                    <a:pt x="557" y="587"/>
                  </a:lnTo>
                  <a:lnTo>
                    <a:pt x="557" y="587"/>
                  </a:lnTo>
                  <a:lnTo>
                    <a:pt x="557" y="587"/>
                  </a:lnTo>
                  <a:lnTo>
                    <a:pt x="558" y="588"/>
                  </a:lnTo>
                  <a:lnTo>
                    <a:pt x="558" y="588"/>
                  </a:lnTo>
                  <a:lnTo>
                    <a:pt x="557" y="589"/>
                  </a:lnTo>
                  <a:lnTo>
                    <a:pt x="556" y="589"/>
                  </a:lnTo>
                  <a:lnTo>
                    <a:pt x="554" y="590"/>
                  </a:lnTo>
                  <a:lnTo>
                    <a:pt x="551" y="590"/>
                  </a:lnTo>
                  <a:lnTo>
                    <a:pt x="549" y="590"/>
                  </a:lnTo>
                  <a:lnTo>
                    <a:pt x="547" y="590"/>
                  </a:lnTo>
                  <a:lnTo>
                    <a:pt x="546" y="592"/>
                  </a:lnTo>
                  <a:lnTo>
                    <a:pt x="545" y="593"/>
                  </a:lnTo>
                  <a:lnTo>
                    <a:pt x="545" y="595"/>
                  </a:lnTo>
                  <a:lnTo>
                    <a:pt x="543" y="593"/>
                  </a:lnTo>
                  <a:lnTo>
                    <a:pt x="543" y="593"/>
                  </a:lnTo>
                  <a:lnTo>
                    <a:pt x="542" y="592"/>
                  </a:lnTo>
                  <a:lnTo>
                    <a:pt x="542" y="592"/>
                  </a:lnTo>
                  <a:lnTo>
                    <a:pt x="542" y="593"/>
                  </a:lnTo>
                  <a:lnTo>
                    <a:pt x="543" y="593"/>
                  </a:lnTo>
                  <a:lnTo>
                    <a:pt x="542" y="595"/>
                  </a:lnTo>
                  <a:lnTo>
                    <a:pt x="540" y="596"/>
                  </a:lnTo>
                  <a:lnTo>
                    <a:pt x="539" y="597"/>
                  </a:lnTo>
                  <a:lnTo>
                    <a:pt x="536" y="597"/>
                  </a:lnTo>
                  <a:lnTo>
                    <a:pt x="535" y="598"/>
                  </a:lnTo>
                  <a:lnTo>
                    <a:pt x="533" y="598"/>
                  </a:lnTo>
                  <a:lnTo>
                    <a:pt x="530" y="599"/>
                  </a:lnTo>
                  <a:lnTo>
                    <a:pt x="527" y="599"/>
                  </a:lnTo>
                  <a:lnTo>
                    <a:pt x="526" y="599"/>
                  </a:lnTo>
                  <a:lnTo>
                    <a:pt x="525" y="600"/>
                  </a:lnTo>
                  <a:lnTo>
                    <a:pt x="525" y="600"/>
                  </a:lnTo>
                  <a:lnTo>
                    <a:pt x="524" y="600"/>
                  </a:lnTo>
                  <a:lnTo>
                    <a:pt x="523" y="600"/>
                  </a:lnTo>
                  <a:lnTo>
                    <a:pt x="523" y="600"/>
                  </a:lnTo>
                  <a:lnTo>
                    <a:pt x="521" y="599"/>
                  </a:lnTo>
                  <a:lnTo>
                    <a:pt x="520" y="598"/>
                  </a:lnTo>
                  <a:lnTo>
                    <a:pt x="519" y="598"/>
                  </a:lnTo>
                  <a:lnTo>
                    <a:pt x="517" y="597"/>
                  </a:lnTo>
                  <a:lnTo>
                    <a:pt x="510" y="597"/>
                  </a:lnTo>
                  <a:lnTo>
                    <a:pt x="508" y="597"/>
                  </a:lnTo>
                  <a:lnTo>
                    <a:pt x="506" y="597"/>
                  </a:lnTo>
                  <a:lnTo>
                    <a:pt x="506" y="596"/>
                  </a:lnTo>
                  <a:lnTo>
                    <a:pt x="506" y="596"/>
                  </a:lnTo>
                  <a:lnTo>
                    <a:pt x="505" y="596"/>
                  </a:lnTo>
                  <a:lnTo>
                    <a:pt x="505" y="596"/>
                  </a:lnTo>
                  <a:lnTo>
                    <a:pt x="503" y="596"/>
                  </a:lnTo>
                  <a:lnTo>
                    <a:pt x="499" y="596"/>
                  </a:lnTo>
                  <a:lnTo>
                    <a:pt x="501" y="597"/>
                  </a:lnTo>
                  <a:lnTo>
                    <a:pt x="503" y="597"/>
                  </a:lnTo>
                  <a:lnTo>
                    <a:pt x="504" y="597"/>
                  </a:lnTo>
                  <a:lnTo>
                    <a:pt x="504" y="597"/>
                  </a:lnTo>
                  <a:lnTo>
                    <a:pt x="505" y="597"/>
                  </a:lnTo>
                  <a:lnTo>
                    <a:pt x="496" y="597"/>
                  </a:lnTo>
                  <a:lnTo>
                    <a:pt x="491" y="598"/>
                  </a:lnTo>
                  <a:lnTo>
                    <a:pt x="488" y="599"/>
                  </a:lnTo>
                  <a:lnTo>
                    <a:pt x="486" y="600"/>
                  </a:lnTo>
                  <a:lnTo>
                    <a:pt x="483" y="600"/>
                  </a:lnTo>
                  <a:lnTo>
                    <a:pt x="482" y="599"/>
                  </a:lnTo>
                  <a:lnTo>
                    <a:pt x="481" y="597"/>
                  </a:lnTo>
                  <a:lnTo>
                    <a:pt x="480" y="600"/>
                  </a:lnTo>
                  <a:lnTo>
                    <a:pt x="479" y="602"/>
                  </a:lnTo>
                  <a:lnTo>
                    <a:pt x="476" y="603"/>
                  </a:lnTo>
                  <a:lnTo>
                    <a:pt x="474" y="604"/>
                  </a:lnTo>
                  <a:lnTo>
                    <a:pt x="471" y="606"/>
                  </a:lnTo>
                  <a:lnTo>
                    <a:pt x="468" y="606"/>
                  </a:lnTo>
                  <a:lnTo>
                    <a:pt x="467" y="605"/>
                  </a:lnTo>
                  <a:lnTo>
                    <a:pt x="467" y="604"/>
                  </a:lnTo>
                  <a:lnTo>
                    <a:pt x="466" y="603"/>
                  </a:lnTo>
                  <a:lnTo>
                    <a:pt x="464" y="603"/>
                  </a:lnTo>
                  <a:lnTo>
                    <a:pt x="463" y="603"/>
                  </a:lnTo>
                  <a:lnTo>
                    <a:pt x="463" y="603"/>
                  </a:lnTo>
                  <a:lnTo>
                    <a:pt x="461" y="602"/>
                  </a:lnTo>
                  <a:lnTo>
                    <a:pt x="460" y="600"/>
                  </a:lnTo>
                  <a:lnTo>
                    <a:pt x="459" y="600"/>
                  </a:lnTo>
                  <a:lnTo>
                    <a:pt x="456" y="599"/>
                  </a:lnTo>
                  <a:lnTo>
                    <a:pt x="454" y="598"/>
                  </a:lnTo>
                  <a:lnTo>
                    <a:pt x="454" y="598"/>
                  </a:lnTo>
                  <a:lnTo>
                    <a:pt x="454" y="598"/>
                  </a:lnTo>
                  <a:lnTo>
                    <a:pt x="454" y="597"/>
                  </a:lnTo>
                  <a:lnTo>
                    <a:pt x="454" y="597"/>
                  </a:lnTo>
                  <a:lnTo>
                    <a:pt x="453" y="597"/>
                  </a:lnTo>
                  <a:lnTo>
                    <a:pt x="452" y="596"/>
                  </a:lnTo>
                  <a:lnTo>
                    <a:pt x="451" y="593"/>
                  </a:lnTo>
                  <a:lnTo>
                    <a:pt x="450" y="592"/>
                  </a:lnTo>
                  <a:lnTo>
                    <a:pt x="448" y="590"/>
                  </a:lnTo>
                  <a:lnTo>
                    <a:pt x="444" y="589"/>
                  </a:lnTo>
                  <a:lnTo>
                    <a:pt x="442" y="587"/>
                  </a:lnTo>
                  <a:lnTo>
                    <a:pt x="441" y="587"/>
                  </a:lnTo>
                  <a:lnTo>
                    <a:pt x="442" y="585"/>
                  </a:lnTo>
                  <a:lnTo>
                    <a:pt x="442" y="585"/>
                  </a:lnTo>
                  <a:lnTo>
                    <a:pt x="441" y="585"/>
                  </a:lnTo>
                  <a:lnTo>
                    <a:pt x="439" y="584"/>
                  </a:lnTo>
                  <a:lnTo>
                    <a:pt x="438" y="583"/>
                  </a:lnTo>
                  <a:lnTo>
                    <a:pt x="437" y="581"/>
                  </a:lnTo>
                  <a:lnTo>
                    <a:pt x="435" y="580"/>
                  </a:lnTo>
                  <a:lnTo>
                    <a:pt x="434" y="580"/>
                  </a:lnTo>
                  <a:lnTo>
                    <a:pt x="434" y="580"/>
                  </a:lnTo>
                  <a:lnTo>
                    <a:pt x="435" y="578"/>
                  </a:lnTo>
                  <a:lnTo>
                    <a:pt x="435" y="578"/>
                  </a:lnTo>
                  <a:lnTo>
                    <a:pt x="435" y="578"/>
                  </a:lnTo>
                  <a:lnTo>
                    <a:pt x="435" y="577"/>
                  </a:lnTo>
                  <a:lnTo>
                    <a:pt x="434" y="576"/>
                  </a:lnTo>
                  <a:lnTo>
                    <a:pt x="431" y="577"/>
                  </a:lnTo>
                  <a:lnTo>
                    <a:pt x="430" y="576"/>
                  </a:lnTo>
                  <a:lnTo>
                    <a:pt x="428" y="576"/>
                  </a:lnTo>
                  <a:lnTo>
                    <a:pt x="427" y="575"/>
                  </a:lnTo>
                  <a:lnTo>
                    <a:pt x="424" y="574"/>
                  </a:lnTo>
                  <a:lnTo>
                    <a:pt x="424" y="574"/>
                  </a:lnTo>
                  <a:lnTo>
                    <a:pt x="424" y="573"/>
                  </a:lnTo>
                  <a:lnTo>
                    <a:pt x="427" y="573"/>
                  </a:lnTo>
                  <a:lnTo>
                    <a:pt x="427" y="573"/>
                  </a:lnTo>
                  <a:lnTo>
                    <a:pt x="427" y="573"/>
                  </a:lnTo>
                  <a:lnTo>
                    <a:pt x="427" y="573"/>
                  </a:lnTo>
                  <a:lnTo>
                    <a:pt x="426" y="572"/>
                  </a:lnTo>
                  <a:lnTo>
                    <a:pt x="427" y="572"/>
                  </a:lnTo>
                  <a:lnTo>
                    <a:pt x="427" y="572"/>
                  </a:lnTo>
                  <a:lnTo>
                    <a:pt x="426" y="572"/>
                  </a:lnTo>
                  <a:lnTo>
                    <a:pt x="426" y="570"/>
                  </a:lnTo>
                  <a:lnTo>
                    <a:pt x="424" y="570"/>
                  </a:lnTo>
                  <a:lnTo>
                    <a:pt x="426" y="570"/>
                  </a:lnTo>
                  <a:lnTo>
                    <a:pt x="426" y="569"/>
                  </a:lnTo>
                  <a:lnTo>
                    <a:pt x="426" y="569"/>
                  </a:lnTo>
                  <a:lnTo>
                    <a:pt x="424" y="569"/>
                  </a:lnTo>
                  <a:lnTo>
                    <a:pt x="424" y="570"/>
                  </a:lnTo>
                  <a:lnTo>
                    <a:pt x="424" y="570"/>
                  </a:lnTo>
                  <a:lnTo>
                    <a:pt x="423" y="570"/>
                  </a:lnTo>
                  <a:lnTo>
                    <a:pt x="423" y="569"/>
                  </a:lnTo>
                  <a:lnTo>
                    <a:pt x="421" y="568"/>
                  </a:lnTo>
                  <a:lnTo>
                    <a:pt x="420" y="568"/>
                  </a:lnTo>
                  <a:lnTo>
                    <a:pt x="420" y="568"/>
                  </a:lnTo>
                  <a:lnTo>
                    <a:pt x="421" y="568"/>
                  </a:lnTo>
                  <a:lnTo>
                    <a:pt x="420" y="565"/>
                  </a:lnTo>
                  <a:lnTo>
                    <a:pt x="419" y="563"/>
                  </a:lnTo>
                  <a:lnTo>
                    <a:pt x="418" y="563"/>
                  </a:lnTo>
                  <a:lnTo>
                    <a:pt x="418" y="562"/>
                  </a:lnTo>
                  <a:lnTo>
                    <a:pt x="418" y="561"/>
                  </a:lnTo>
                  <a:lnTo>
                    <a:pt x="418" y="561"/>
                  </a:lnTo>
                  <a:lnTo>
                    <a:pt x="419" y="561"/>
                  </a:lnTo>
                  <a:lnTo>
                    <a:pt x="419" y="561"/>
                  </a:lnTo>
                  <a:lnTo>
                    <a:pt x="419" y="561"/>
                  </a:lnTo>
                  <a:lnTo>
                    <a:pt x="419" y="561"/>
                  </a:lnTo>
                  <a:lnTo>
                    <a:pt x="420" y="561"/>
                  </a:lnTo>
                  <a:lnTo>
                    <a:pt x="420" y="561"/>
                  </a:lnTo>
                  <a:lnTo>
                    <a:pt x="419" y="560"/>
                  </a:lnTo>
                  <a:lnTo>
                    <a:pt x="418" y="559"/>
                  </a:lnTo>
                  <a:lnTo>
                    <a:pt x="418" y="559"/>
                  </a:lnTo>
                  <a:lnTo>
                    <a:pt x="418" y="558"/>
                  </a:lnTo>
                  <a:lnTo>
                    <a:pt x="419" y="558"/>
                  </a:lnTo>
                  <a:lnTo>
                    <a:pt x="418" y="558"/>
                  </a:lnTo>
                  <a:lnTo>
                    <a:pt x="418" y="557"/>
                  </a:lnTo>
                  <a:lnTo>
                    <a:pt x="418" y="557"/>
                  </a:lnTo>
                  <a:lnTo>
                    <a:pt x="418" y="555"/>
                  </a:lnTo>
                  <a:lnTo>
                    <a:pt x="416" y="555"/>
                  </a:lnTo>
                  <a:lnTo>
                    <a:pt x="416" y="555"/>
                  </a:lnTo>
                  <a:lnTo>
                    <a:pt x="416" y="554"/>
                  </a:lnTo>
                  <a:lnTo>
                    <a:pt x="418" y="553"/>
                  </a:lnTo>
                  <a:lnTo>
                    <a:pt x="418" y="552"/>
                  </a:lnTo>
                  <a:lnTo>
                    <a:pt x="416" y="552"/>
                  </a:lnTo>
                  <a:lnTo>
                    <a:pt x="415" y="552"/>
                  </a:lnTo>
                  <a:lnTo>
                    <a:pt x="414" y="551"/>
                  </a:lnTo>
                  <a:lnTo>
                    <a:pt x="413" y="550"/>
                  </a:lnTo>
                  <a:lnTo>
                    <a:pt x="413" y="548"/>
                  </a:lnTo>
                  <a:lnTo>
                    <a:pt x="412" y="547"/>
                  </a:lnTo>
                  <a:lnTo>
                    <a:pt x="413" y="547"/>
                  </a:lnTo>
                  <a:lnTo>
                    <a:pt x="411" y="546"/>
                  </a:lnTo>
                  <a:lnTo>
                    <a:pt x="408" y="545"/>
                  </a:lnTo>
                  <a:lnTo>
                    <a:pt x="408" y="543"/>
                  </a:lnTo>
                  <a:lnTo>
                    <a:pt x="409" y="541"/>
                  </a:lnTo>
                  <a:lnTo>
                    <a:pt x="408" y="540"/>
                  </a:lnTo>
                  <a:lnTo>
                    <a:pt x="407" y="539"/>
                  </a:lnTo>
                  <a:lnTo>
                    <a:pt x="406" y="538"/>
                  </a:lnTo>
                  <a:lnTo>
                    <a:pt x="405" y="537"/>
                  </a:lnTo>
                  <a:lnTo>
                    <a:pt x="404" y="537"/>
                  </a:lnTo>
                  <a:lnTo>
                    <a:pt x="403" y="536"/>
                  </a:lnTo>
                  <a:lnTo>
                    <a:pt x="401" y="535"/>
                  </a:lnTo>
                  <a:lnTo>
                    <a:pt x="401" y="532"/>
                  </a:lnTo>
                  <a:lnTo>
                    <a:pt x="401" y="531"/>
                  </a:lnTo>
                  <a:lnTo>
                    <a:pt x="400" y="530"/>
                  </a:lnTo>
                  <a:lnTo>
                    <a:pt x="400" y="530"/>
                  </a:lnTo>
                  <a:lnTo>
                    <a:pt x="400" y="530"/>
                  </a:lnTo>
                  <a:lnTo>
                    <a:pt x="400" y="530"/>
                  </a:lnTo>
                  <a:lnTo>
                    <a:pt x="400" y="530"/>
                  </a:lnTo>
                  <a:lnTo>
                    <a:pt x="400" y="529"/>
                  </a:lnTo>
                  <a:lnTo>
                    <a:pt x="400" y="529"/>
                  </a:lnTo>
                  <a:lnTo>
                    <a:pt x="400" y="528"/>
                  </a:lnTo>
                  <a:lnTo>
                    <a:pt x="401" y="528"/>
                  </a:lnTo>
                  <a:lnTo>
                    <a:pt x="401" y="528"/>
                  </a:lnTo>
                  <a:lnTo>
                    <a:pt x="403" y="528"/>
                  </a:lnTo>
                  <a:lnTo>
                    <a:pt x="403" y="526"/>
                  </a:lnTo>
                  <a:lnTo>
                    <a:pt x="401" y="526"/>
                  </a:lnTo>
                  <a:lnTo>
                    <a:pt x="401" y="525"/>
                  </a:lnTo>
                  <a:lnTo>
                    <a:pt x="401" y="524"/>
                  </a:lnTo>
                  <a:lnTo>
                    <a:pt x="400" y="524"/>
                  </a:lnTo>
                  <a:lnTo>
                    <a:pt x="400" y="525"/>
                  </a:lnTo>
                  <a:lnTo>
                    <a:pt x="399" y="525"/>
                  </a:lnTo>
                  <a:lnTo>
                    <a:pt x="399" y="526"/>
                  </a:lnTo>
                  <a:lnTo>
                    <a:pt x="398" y="528"/>
                  </a:lnTo>
                  <a:lnTo>
                    <a:pt x="398" y="528"/>
                  </a:lnTo>
                  <a:lnTo>
                    <a:pt x="397" y="526"/>
                  </a:lnTo>
                  <a:lnTo>
                    <a:pt x="397" y="525"/>
                  </a:lnTo>
                  <a:lnTo>
                    <a:pt x="397" y="524"/>
                  </a:lnTo>
                  <a:lnTo>
                    <a:pt x="399" y="523"/>
                  </a:lnTo>
                  <a:lnTo>
                    <a:pt x="400" y="523"/>
                  </a:lnTo>
                  <a:lnTo>
                    <a:pt x="401" y="523"/>
                  </a:lnTo>
                  <a:lnTo>
                    <a:pt x="403" y="523"/>
                  </a:lnTo>
                  <a:lnTo>
                    <a:pt x="401" y="522"/>
                  </a:lnTo>
                  <a:lnTo>
                    <a:pt x="401" y="522"/>
                  </a:lnTo>
                  <a:lnTo>
                    <a:pt x="400" y="522"/>
                  </a:lnTo>
                  <a:lnTo>
                    <a:pt x="399" y="523"/>
                  </a:lnTo>
                  <a:lnTo>
                    <a:pt x="398" y="523"/>
                  </a:lnTo>
                  <a:lnTo>
                    <a:pt x="396" y="524"/>
                  </a:lnTo>
                  <a:lnTo>
                    <a:pt x="394" y="524"/>
                  </a:lnTo>
                  <a:lnTo>
                    <a:pt x="396" y="523"/>
                  </a:lnTo>
                  <a:lnTo>
                    <a:pt x="396" y="523"/>
                  </a:lnTo>
                  <a:lnTo>
                    <a:pt x="397" y="523"/>
                  </a:lnTo>
                  <a:lnTo>
                    <a:pt x="397" y="522"/>
                  </a:lnTo>
                  <a:lnTo>
                    <a:pt x="396" y="522"/>
                  </a:lnTo>
                  <a:lnTo>
                    <a:pt x="396" y="522"/>
                  </a:lnTo>
                  <a:lnTo>
                    <a:pt x="394" y="523"/>
                  </a:lnTo>
                  <a:lnTo>
                    <a:pt x="394" y="523"/>
                  </a:lnTo>
                  <a:lnTo>
                    <a:pt x="393" y="522"/>
                  </a:lnTo>
                  <a:lnTo>
                    <a:pt x="392" y="522"/>
                  </a:lnTo>
                  <a:lnTo>
                    <a:pt x="391" y="521"/>
                  </a:lnTo>
                  <a:lnTo>
                    <a:pt x="391" y="521"/>
                  </a:lnTo>
                  <a:lnTo>
                    <a:pt x="392" y="521"/>
                  </a:lnTo>
                  <a:lnTo>
                    <a:pt x="393" y="521"/>
                  </a:lnTo>
                  <a:lnTo>
                    <a:pt x="392" y="521"/>
                  </a:lnTo>
                  <a:lnTo>
                    <a:pt x="391" y="521"/>
                  </a:lnTo>
                  <a:lnTo>
                    <a:pt x="391" y="520"/>
                  </a:lnTo>
                  <a:lnTo>
                    <a:pt x="390" y="518"/>
                  </a:lnTo>
                  <a:lnTo>
                    <a:pt x="390" y="518"/>
                  </a:lnTo>
                  <a:lnTo>
                    <a:pt x="390" y="518"/>
                  </a:lnTo>
                  <a:lnTo>
                    <a:pt x="390" y="517"/>
                  </a:lnTo>
                  <a:lnTo>
                    <a:pt x="390" y="517"/>
                  </a:lnTo>
                  <a:lnTo>
                    <a:pt x="391" y="517"/>
                  </a:lnTo>
                  <a:lnTo>
                    <a:pt x="392" y="517"/>
                  </a:lnTo>
                  <a:lnTo>
                    <a:pt x="392" y="517"/>
                  </a:lnTo>
                  <a:lnTo>
                    <a:pt x="392" y="516"/>
                  </a:lnTo>
                  <a:lnTo>
                    <a:pt x="392" y="516"/>
                  </a:lnTo>
                  <a:lnTo>
                    <a:pt x="393" y="516"/>
                  </a:lnTo>
                  <a:lnTo>
                    <a:pt x="394" y="515"/>
                  </a:lnTo>
                  <a:lnTo>
                    <a:pt x="396" y="515"/>
                  </a:lnTo>
                  <a:lnTo>
                    <a:pt x="396" y="515"/>
                  </a:lnTo>
                  <a:lnTo>
                    <a:pt x="396" y="515"/>
                  </a:lnTo>
                  <a:lnTo>
                    <a:pt x="397" y="515"/>
                  </a:lnTo>
                  <a:lnTo>
                    <a:pt x="398" y="515"/>
                  </a:lnTo>
                  <a:lnTo>
                    <a:pt x="399" y="515"/>
                  </a:lnTo>
                  <a:lnTo>
                    <a:pt x="399" y="515"/>
                  </a:lnTo>
                  <a:lnTo>
                    <a:pt x="400" y="515"/>
                  </a:lnTo>
                  <a:lnTo>
                    <a:pt x="400" y="515"/>
                  </a:lnTo>
                  <a:lnTo>
                    <a:pt x="401" y="515"/>
                  </a:lnTo>
                  <a:lnTo>
                    <a:pt x="404" y="515"/>
                  </a:lnTo>
                  <a:lnTo>
                    <a:pt x="404" y="515"/>
                  </a:lnTo>
                  <a:lnTo>
                    <a:pt x="405" y="514"/>
                  </a:lnTo>
                  <a:lnTo>
                    <a:pt x="404" y="514"/>
                  </a:lnTo>
                  <a:lnTo>
                    <a:pt x="403" y="515"/>
                  </a:lnTo>
                  <a:lnTo>
                    <a:pt x="401" y="515"/>
                  </a:lnTo>
                  <a:lnTo>
                    <a:pt x="400" y="514"/>
                  </a:lnTo>
                  <a:lnTo>
                    <a:pt x="398" y="514"/>
                  </a:lnTo>
                  <a:lnTo>
                    <a:pt x="398" y="514"/>
                  </a:lnTo>
                  <a:lnTo>
                    <a:pt x="398" y="514"/>
                  </a:lnTo>
                  <a:lnTo>
                    <a:pt x="397" y="513"/>
                  </a:lnTo>
                  <a:lnTo>
                    <a:pt x="397" y="513"/>
                  </a:lnTo>
                  <a:lnTo>
                    <a:pt x="394" y="514"/>
                  </a:lnTo>
                  <a:lnTo>
                    <a:pt x="394" y="515"/>
                  </a:lnTo>
                  <a:lnTo>
                    <a:pt x="393" y="515"/>
                  </a:lnTo>
                  <a:lnTo>
                    <a:pt x="392" y="515"/>
                  </a:lnTo>
                  <a:lnTo>
                    <a:pt x="391" y="515"/>
                  </a:lnTo>
                  <a:lnTo>
                    <a:pt x="390" y="515"/>
                  </a:lnTo>
                  <a:lnTo>
                    <a:pt x="389" y="516"/>
                  </a:lnTo>
                  <a:lnTo>
                    <a:pt x="389" y="515"/>
                  </a:lnTo>
                  <a:lnTo>
                    <a:pt x="389" y="515"/>
                  </a:lnTo>
                  <a:lnTo>
                    <a:pt x="390" y="514"/>
                  </a:lnTo>
                  <a:lnTo>
                    <a:pt x="390" y="513"/>
                  </a:lnTo>
                  <a:lnTo>
                    <a:pt x="390" y="511"/>
                  </a:lnTo>
                  <a:lnTo>
                    <a:pt x="390" y="510"/>
                  </a:lnTo>
                  <a:lnTo>
                    <a:pt x="390" y="510"/>
                  </a:lnTo>
                  <a:lnTo>
                    <a:pt x="391" y="510"/>
                  </a:lnTo>
                  <a:lnTo>
                    <a:pt x="393" y="510"/>
                  </a:lnTo>
                  <a:lnTo>
                    <a:pt x="394" y="509"/>
                  </a:lnTo>
                  <a:lnTo>
                    <a:pt x="394" y="509"/>
                  </a:lnTo>
                  <a:lnTo>
                    <a:pt x="394" y="508"/>
                  </a:lnTo>
                  <a:lnTo>
                    <a:pt x="394" y="508"/>
                  </a:lnTo>
                  <a:lnTo>
                    <a:pt x="396" y="507"/>
                  </a:lnTo>
                  <a:lnTo>
                    <a:pt x="397" y="507"/>
                  </a:lnTo>
                  <a:lnTo>
                    <a:pt x="400" y="507"/>
                  </a:lnTo>
                  <a:lnTo>
                    <a:pt x="397" y="507"/>
                  </a:lnTo>
                  <a:lnTo>
                    <a:pt x="394" y="507"/>
                  </a:lnTo>
                  <a:lnTo>
                    <a:pt x="393" y="508"/>
                  </a:lnTo>
                  <a:lnTo>
                    <a:pt x="393" y="508"/>
                  </a:lnTo>
                  <a:lnTo>
                    <a:pt x="393" y="508"/>
                  </a:lnTo>
                  <a:lnTo>
                    <a:pt x="393" y="508"/>
                  </a:lnTo>
                  <a:lnTo>
                    <a:pt x="393" y="508"/>
                  </a:lnTo>
                  <a:lnTo>
                    <a:pt x="392" y="509"/>
                  </a:lnTo>
                  <a:lnTo>
                    <a:pt x="391" y="509"/>
                  </a:lnTo>
                  <a:lnTo>
                    <a:pt x="391" y="508"/>
                  </a:lnTo>
                  <a:lnTo>
                    <a:pt x="390" y="507"/>
                  </a:lnTo>
                  <a:lnTo>
                    <a:pt x="390" y="505"/>
                  </a:lnTo>
                  <a:lnTo>
                    <a:pt x="389" y="503"/>
                  </a:lnTo>
                  <a:lnTo>
                    <a:pt x="389" y="503"/>
                  </a:lnTo>
                  <a:lnTo>
                    <a:pt x="390" y="503"/>
                  </a:lnTo>
                  <a:lnTo>
                    <a:pt x="390" y="503"/>
                  </a:lnTo>
                  <a:lnTo>
                    <a:pt x="390" y="503"/>
                  </a:lnTo>
                  <a:lnTo>
                    <a:pt x="389" y="502"/>
                  </a:lnTo>
                  <a:lnTo>
                    <a:pt x="388" y="501"/>
                  </a:lnTo>
                  <a:lnTo>
                    <a:pt x="388" y="501"/>
                  </a:lnTo>
                  <a:lnTo>
                    <a:pt x="388" y="500"/>
                  </a:lnTo>
                  <a:lnTo>
                    <a:pt x="389" y="500"/>
                  </a:lnTo>
                  <a:lnTo>
                    <a:pt x="390" y="500"/>
                  </a:lnTo>
                  <a:lnTo>
                    <a:pt x="391" y="500"/>
                  </a:lnTo>
                  <a:lnTo>
                    <a:pt x="390" y="499"/>
                  </a:lnTo>
                  <a:lnTo>
                    <a:pt x="389" y="500"/>
                  </a:lnTo>
                  <a:lnTo>
                    <a:pt x="388" y="500"/>
                  </a:lnTo>
                  <a:lnTo>
                    <a:pt x="388" y="500"/>
                  </a:lnTo>
                  <a:lnTo>
                    <a:pt x="386" y="500"/>
                  </a:lnTo>
                  <a:lnTo>
                    <a:pt x="385" y="499"/>
                  </a:lnTo>
                  <a:lnTo>
                    <a:pt x="386" y="499"/>
                  </a:lnTo>
                  <a:lnTo>
                    <a:pt x="386" y="498"/>
                  </a:lnTo>
                  <a:lnTo>
                    <a:pt x="385" y="498"/>
                  </a:lnTo>
                  <a:lnTo>
                    <a:pt x="384" y="498"/>
                  </a:lnTo>
                  <a:lnTo>
                    <a:pt x="383" y="498"/>
                  </a:lnTo>
                  <a:lnTo>
                    <a:pt x="383" y="496"/>
                  </a:lnTo>
                  <a:lnTo>
                    <a:pt x="383" y="496"/>
                  </a:lnTo>
                  <a:lnTo>
                    <a:pt x="383" y="495"/>
                  </a:lnTo>
                  <a:lnTo>
                    <a:pt x="383" y="495"/>
                  </a:lnTo>
                  <a:lnTo>
                    <a:pt x="381" y="494"/>
                  </a:lnTo>
                  <a:lnTo>
                    <a:pt x="379" y="494"/>
                  </a:lnTo>
                  <a:lnTo>
                    <a:pt x="379" y="494"/>
                  </a:lnTo>
                  <a:lnTo>
                    <a:pt x="381" y="494"/>
                  </a:lnTo>
                  <a:lnTo>
                    <a:pt x="382" y="493"/>
                  </a:lnTo>
                  <a:lnTo>
                    <a:pt x="383" y="491"/>
                  </a:lnTo>
                  <a:lnTo>
                    <a:pt x="383" y="491"/>
                  </a:lnTo>
                  <a:lnTo>
                    <a:pt x="384" y="490"/>
                  </a:lnTo>
                  <a:lnTo>
                    <a:pt x="384" y="490"/>
                  </a:lnTo>
                  <a:lnTo>
                    <a:pt x="385" y="488"/>
                  </a:lnTo>
                  <a:lnTo>
                    <a:pt x="386" y="487"/>
                  </a:lnTo>
                  <a:lnTo>
                    <a:pt x="388" y="484"/>
                  </a:lnTo>
                  <a:lnTo>
                    <a:pt x="390" y="481"/>
                  </a:lnTo>
                  <a:lnTo>
                    <a:pt x="391" y="480"/>
                  </a:lnTo>
                  <a:lnTo>
                    <a:pt x="392" y="479"/>
                  </a:lnTo>
                  <a:lnTo>
                    <a:pt x="392" y="478"/>
                  </a:lnTo>
                  <a:lnTo>
                    <a:pt x="392" y="476"/>
                  </a:lnTo>
                  <a:lnTo>
                    <a:pt x="393" y="473"/>
                  </a:lnTo>
                  <a:lnTo>
                    <a:pt x="393" y="471"/>
                  </a:lnTo>
                  <a:lnTo>
                    <a:pt x="393" y="470"/>
                  </a:lnTo>
                  <a:lnTo>
                    <a:pt x="393" y="468"/>
                  </a:lnTo>
                  <a:lnTo>
                    <a:pt x="394" y="466"/>
                  </a:lnTo>
                  <a:lnTo>
                    <a:pt x="396" y="465"/>
                  </a:lnTo>
                  <a:lnTo>
                    <a:pt x="397" y="464"/>
                  </a:lnTo>
                  <a:lnTo>
                    <a:pt x="397" y="462"/>
                  </a:lnTo>
                  <a:lnTo>
                    <a:pt x="397" y="458"/>
                  </a:lnTo>
                  <a:lnTo>
                    <a:pt x="397" y="455"/>
                  </a:lnTo>
                  <a:lnTo>
                    <a:pt x="397" y="451"/>
                  </a:lnTo>
                  <a:lnTo>
                    <a:pt x="396" y="448"/>
                  </a:lnTo>
                  <a:lnTo>
                    <a:pt x="393" y="444"/>
                  </a:lnTo>
                  <a:lnTo>
                    <a:pt x="393" y="443"/>
                  </a:lnTo>
                  <a:lnTo>
                    <a:pt x="393" y="442"/>
                  </a:lnTo>
                  <a:lnTo>
                    <a:pt x="394" y="441"/>
                  </a:lnTo>
                  <a:lnTo>
                    <a:pt x="396" y="441"/>
                  </a:lnTo>
                  <a:lnTo>
                    <a:pt x="394" y="441"/>
                  </a:lnTo>
                  <a:lnTo>
                    <a:pt x="393" y="440"/>
                  </a:lnTo>
                  <a:lnTo>
                    <a:pt x="392" y="440"/>
                  </a:lnTo>
                  <a:lnTo>
                    <a:pt x="392" y="439"/>
                  </a:lnTo>
                  <a:lnTo>
                    <a:pt x="393" y="438"/>
                  </a:lnTo>
                  <a:lnTo>
                    <a:pt x="394" y="436"/>
                  </a:lnTo>
                  <a:lnTo>
                    <a:pt x="394" y="435"/>
                  </a:lnTo>
                  <a:lnTo>
                    <a:pt x="394" y="434"/>
                  </a:lnTo>
                  <a:lnTo>
                    <a:pt x="394" y="433"/>
                  </a:lnTo>
                  <a:lnTo>
                    <a:pt x="394" y="432"/>
                  </a:lnTo>
                  <a:lnTo>
                    <a:pt x="393" y="429"/>
                  </a:lnTo>
                  <a:lnTo>
                    <a:pt x="392" y="427"/>
                  </a:lnTo>
                  <a:lnTo>
                    <a:pt x="391" y="426"/>
                  </a:lnTo>
                  <a:lnTo>
                    <a:pt x="391" y="427"/>
                  </a:lnTo>
                  <a:lnTo>
                    <a:pt x="390" y="426"/>
                  </a:lnTo>
                  <a:lnTo>
                    <a:pt x="390" y="425"/>
                  </a:lnTo>
                  <a:lnTo>
                    <a:pt x="391" y="424"/>
                  </a:lnTo>
                  <a:lnTo>
                    <a:pt x="391" y="421"/>
                  </a:lnTo>
                  <a:lnTo>
                    <a:pt x="391" y="420"/>
                  </a:lnTo>
                  <a:lnTo>
                    <a:pt x="391" y="420"/>
                  </a:lnTo>
                  <a:lnTo>
                    <a:pt x="390" y="420"/>
                  </a:lnTo>
                  <a:lnTo>
                    <a:pt x="389" y="421"/>
                  </a:lnTo>
                  <a:lnTo>
                    <a:pt x="389" y="421"/>
                  </a:lnTo>
                  <a:lnTo>
                    <a:pt x="389" y="420"/>
                  </a:lnTo>
                  <a:lnTo>
                    <a:pt x="389" y="420"/>
                  </a:lnTo>
                  <a:lnTo>
                    <a:pt x="390" y="418"/>
                  </a:lnTo>
                  <a:lnTo>
                    <a:pt x="391" y="414"/>
                  </a:lnTo>
                  <a:lnTo>
                    <a:pt x="392" y="412"/>
                  </a:lnTo>
                  <a:lnTo>
                    <a:pt x="393" y="410"/>
                  </a:lnTo>
                  <a:lnTo>
                    <a:pt x="394" y="408"/>
                  </a:lnTo>
                  <a:lnTo>
                    <a:pt x="396" y="405"/>
                  </a:lnTo>
                  <a:lnTo>
                    <a:pt x="397" y="401"/>
                  </a:lnTo>
                  <a:lnTo>
                    <a:pt x="399" y="393"/>
                  </a:lnTo>
                  <a:lnTo>
                    <a:pt x="403" y="387"/>
                  </a:lnTo>
                  <a:lnTo>
                    <a:pt x="407" y="382"/>
                  </a:lnTo>
                  <a:lnTo>
                    <a:pt x="411" y="374"/>
                  </a:lnTo>
                  <a:lnTo>
                    <a:pt x="412" y="371"/>
                  </a:lnTo>
                  <a:lnTo>
                    <a:pt x="413" y="368"/>
                  </a:lnTo>
                  <a:lnTo>
                    <a:pt x="414" y="367"/>
                  </a:lnTo>
                  <a:lnTo>
                    <a:pt x="415" y="366"/>
                  </a:lnTo>
                  <a:lnTo>
                    <a:pt x="416" y="366"/>
                  </a:lnTo>
                  <a:lnTo>
                    <a:pt x="418" y="366"/>
                  </a:lnTo>
                  <a:lnTo>
                    <a:pt x="419" y="366"/>
                  </a:lnTo>
                  <a:lnTo>
                    <a:pt x="419" y="365"/>
                  </a:lnTo>
                  <a:lnTo>
                    <a:pt x="420" y="364"/>
                  </a:lnTo>
                  <a:lnTo>
                    <a:pt x="421" y="360"/>
                  </a:lnTo>
                  <a:lnTo>
                    <a:pt x="422" y="358"/>
                  </a:lnTo>
                  <a:lnTo>
                    <a:pt x="422" y="357"/>
                  </a:lnTo>
                  <a:lnTo>
                    <a:pt x="423" y="356"/>
                  </a:lnTo>
                  <a:lnTo>
                    <a:pt x="423" y="354"/>
                  </a:lnTo>
                  <a:lnTo>
                    <a:pt x="424" y="352"/>
                  </a:lnTo>
                  <a:lnTo>
                    <a:pt x="427" y="349"/>
                  </a:lnTo>
                  <a:lnTo>
                    <a:pt x="429" y="347"/>
                  </a:lnTo>
                  <a:lnTo>
                    <a:pt x="433" y="346"/>
                  </a:lnTo>
                  <a:lnTo>
                    <a:pt x="435" y="346"/>
                  </a:lnTo>
                  <a:lnTo>
                    <a:pt x="437" y="346"/>
                  </a:lnTo>
                  <a:lnTo>
                    <a:pt x="439" y="346"/>
                  </a:lnTo>
                  <a:lnTo>
                    <a:pt x="441" y="345"/>
                  </a:lnTo>
                  <a:lnTo>
                    <a:pt x="442" y="343"/>
                  </a:lnTo>
                  <a:lnTo>
                    <a:pt x="443" y="341"/>
                  </a:lnTo>
                  <a:lnTo>
                    <a:pt x="445" y="339"/>
                  </a:lnTo>
                  <a:lnTo>
                    <a:pt x="449" y="337"/>
                  </a:lnTo>
                  <a:lnTo>
                    <a:pt x="451" y="335"/>
                  </a:lnTo>
                  <a:lnTo>
                    <a:pt x="454" y="334"/>
                  </a:lnTo>
                  <a:lnTo>
                    <a:pt x="457" y="330"/>
                  </a:lnTo>
                  <a:lnTo>
                    <a:pt x="458" y="327"/>
                  </a:lnTo>
                  <a:lnTo>
                    <a:pt x="458" y="326"/>
                  </a:lnTo>
                  <a:lnTo>
                    <a:pt x="457" y="326"/>
                  </a:lnTo>
                  <a:lnTo>
                    <a:pt x="456" y="324"/>
                  </a:lnTo>
                  <a:lnTo>
                    <a:pt x="454" y="324"/>
                  </a:lnTo>
                  <a:lnTo>
                    <a:pt x="454" y="323"/>
                  </a:lnTo>
                  <a:lnTo>
                    <a:pt x="453" y="322"/>
                  </a:lnTo>
                  <a:lnTo>
                    <a:pt x="453" y="321"/>
                  </a:lnTo>
                  <a:lnTo>
                    <a:pt x="454" y="319"/>
                  </a:lnTo>
                  <a:lnTo>
                    <a:pt x="456" y="314"/>
                  </a:lnTo>
                  <a:lnTo>
                    <a:pt x="457" y="312"/>
                  </a:lnTo>
                  <a:lnTo>
                    <a:pt x="458" y="309"/>
                  </a:lnTo>
                  <a:lnTo>
                    <a:pt x="459" y="308"/>
                  </a:lnTo>
                  <a:lnTo>
                    <a:pt x="460" y="307"/>
                  </a:lnTo>
                  <a:lnTo>
                    <a:pt x="460" y="306"/>
                  </a:lnTo>
                  <a:lnTo>
                    <a:pt x="461" y="304"/>
                  </a:lnTo>
                  <a:lnTo>
                    <a:pt x="463" y="301"/>
                  </a:lnTo>
                  <a:lnTo>
                    <a:pt x="465" y="298"/>
                  </a:lnTo>
                  <a:lnTo>
                    <a:pt x="468" y="295"/>
                  </a:lnTo>
                  <a:lnTo>
                    <a:pt x="472" y="294"/>
                  </a:lnTo>
                  <a:lnTo>
                    <a:pt x="478" y="291"/>
                  </a:lnTo>
                  <a:lnTo>
                    <a:pt x="482" y="284"/>
                  </a:lnTo>
                  <a:lnTo>
                    <a:pt x="484" y="280"/>
                  </a:lnTo>
                  <a:lnTo>
                    <a:pt x="486" y="278"/>
                  </a:lnTo>
                  <a:lnTo>
                    <a:pt x="487" y="276"/>
                  </a:lnTo>
                  <a:lnTo>
                    <a:pt x="488" y="276"/>
                  </a:lnTo>
                  <a:lnTo>
                    <a:pt x="488" y="275"/>
                  </a:lnTo>
                  <a:lnTo>
                    <a:pt x="489" y="274"/>
                  </a:lnTo>
                  <a:lnTo>
                    <a:pt x="490" y="271"/>
                  </a:lnTo>
                  <a:lnTo>
                    <a:pt x="491" y="271"/>
                  </a:lnTo>
                  <a:lnTo>
                    <a:pt x="494" y="271"/>
                  </a:lnTo>
                  <a:lnTo>
                    <a:pt x="494" y="271"/>
                  </a:lnTo>
                  <a:lnTo>
                    <a:pt x="495" y="271"/>
                  </a:lnTo>
                  <a:lnTo>
                    <a:pt x="495" y="272"/>
                  </a:lnTo>
                  <a:lnTo>
                    <a:pt x="496" y="275"/>
                  </a:lnTo>
                  <a:lnTo>
                    <a:pt x="498" y="275"/>
                  </a:lnTo>
                  <a:lnTo>
                    <a:pt x="499" y="275"/>
                  </a:lnTo>
                  <a:lnTo>
                    <a:pt x="502" y="276"/>
                  </a:lnTo>
                  <a:lnTo>
                    <a:pt x="504" y="276"/>
                  </a:lnTo>
                  <a:lnTo>
                    <a:pt x="506" y="277"/>
                  </a:lnTo>
                  <a:lnTo>
                    <a:pt x="508" y="277"/>
                  </a:lnTo>
                  <a:lnTo>
                    <a:pt x="508" y="277"/>
                  </a:lnTo>
                  <a:lnTo>
                    <a:pt x="509" y="278"/>
                  </a:lnTo>
                  <a:lnTo>
                    <a:pt x="510" y="277"/>
                  </a:lnTo>
                  <a:lnTo>
                    <a:pt x="511" y="277"/>
                  </a:lnTo>
                  <a:lnTo>
                    <a:pt x="512" y="275"/>
                  </a:lnTo>
                  <a:lnTo>
                    <a:pt x="512" y="275"/>
                  </a:lnTo>
                  <a:lnTo>
                    <a:pt x="512" y="275"/>
                  </a:lnTo>
                  <a:lnTo>
                    <a:pt x="512" y="276"/>
                  </a:lnTo>
                  <a:lnTo>
                    <a:pt x="512" y="276"/>
                  </a:lnTo>
                  <a:lnTo>
                    <a:pt x="513" y="277"/>
                  </a:lnTo>
                  <a:lnTo>
                    <a:pt x="513" y="278"/>
                  </a:lnTo>
                  <a:lnTo>
                    <a:pt x="516" y="278"/>
                  </a:lnTo>
                  <a:lnTo>
                    <a:pt x="517" y="278"/>
                  </a:lnTo>
                  <a:lnTo>
                    <a:pt x="518" y="278"/>
                  </a:lnTo>
                  <a:lnTo>
                    <a:pt x="519" y="278"/>
                  </a:lnTo>
                  <a:lnTo>
                    <a:pt x="519" y="278"/>
                  </a:lnTo>
                  <a:lnTo>
                    <a:pt x="519" y="277"/>
                  </a:lnTo>
                  <a:lnTo>
                    <a:pt x="520" y="278"/>
                  </a:lnTo>
                  <a:lnTo>
                    <a:pt x="523" y="278"/>
                  </a:lnTo>
                  <a:lnTo>
                    <a:pt x="523" y="278"/>
                  </a:lnTo>
                  <a:lnTo>
                    <a:pt x="524" y="277"/>
                  </a:lnTo>
                  <a:lnTo>
                    <a:pt x="524" y="276"/>
                  </a:lnTo>
                  <a:lnTo>
                    <a:pt x="524" y="275"/>
                  </a:lnTo>
                  <a:lnTo>
                    <a:pt x="525" y="274"/>
                  </a:lnTo>
                  <a:lnTo>
                    <a:pt x="526" y="274"/>
                  </a:lnTo>
                  <a:lnTo>
                    <a:pt x="527" y="274"/>
                  </a:lnTo>
                  <a:lnTo>
                    <a:pt x="528" y="274"/>
                  </a:lnTo>
                  <a:lnTo>
                    <a:pt x="530" y="272"/>
                  </a:lnTo>
                  <a:lnTo>
                    <a:pt x="530" y="271"/>
                  </a:lnTo>
                  <a:lnTo>
                    <a:pt x="530" y="271"/>
                  </a:lnTo>
                  <a:lnTo>
                    <a:pt x="531" y="271"/>
                  </a:lnTo>
                  <a:lnTo>
                    <a:pt x="532" y="271"/>
                  </a:lnTo>
                  <a:lnTo>
                    <a:pt x="533" y="272"/>
                  </a:lnTo>
                  <a:lnTo>
                    <a:pt x="534" y="274"/>
                  </a:lnTo>
                  <a:lnTo>
                    <a:pt x="535" y="274"/>
                  </a:lnTo>
                  <a:lnTo>
                    <a:pt x="535" y="272"/>
                  </a:lnTo>
                  <a:lnTo>
                    <a:pt x="536" y="271"/>
                  </a:lnTo>
                  <a:lnTo>
                    <a:pt x="536" y="270"/>
                  </a:lnTo>
                  <a:lnTo>
                    <a:pt x="538" y="270"/>
                  </a:lnTo>
                  <a:lnTo>
                    <a:pt x="539" y="270"/>
                  </a:lnTo>
                  <a:lnTo>
                    <a:pt x="540" y="269"/>
                  </a:lnTo>
                  <a:lnTo>
                    <a:pt x="541" y="268"/>
                  </a:lnTo>
                  <a:lnTo>
                    <a:pt x="543" y="267"/>
                  </a:lnTo>
                  <a:lnTo>
                    <a:pt x="545" y="264"/>
                  </a:lnTo>
                  <a:lnTo>
                    <a:pt x="547" y="264"/>
                  </a:lnTo>
                  <a:lnTo>
                    <a:pt x="548" y="264"/>
                  </a:lnTo>
                  <a:lnTo>
                    <a:pt x="549" y="264"/>
                  </a:lnTo>
                  <a:lnTo>
                    <a:pt x="549" y="263"/>
                  </a:lnTo>
                  <a:lnTo>
                    <a:pt x="550" y="263"/>
                  </a:lnTo>
                  <a:lnTo>
                    <a:pt x="550" y="263"/>
                  </a:lnTo>
                  <a:lnTo>
                    <a:pt x="553" y="263"/>
                  </a:lnTo>
                  <a:lnTo>
                    <a:pt x="556" y="262"/>
                  </a:lnTo>
                  <a:lnTo>
                    <a:pt x="558" y="263"/>
                  </a:lnTo>
                  <a:lnTo>
                    <a:pt x="561" y="263"/>
                  </a:lnTo>
                  <a:lnTo>
                    <a:pt x="562" y="263"/>
                  </a:lnTo>
                  <a:lnTo>
                    <a:pt x="562" y="263"/>
                  </a:lnTo>
                  <a:lnTo>
                    <a:pt x="563" y="263"/>
                  </a:lnTo>
                  <a:lnTo>
                    <a:pt x="563" y="263"/>
                  </a:lnTo>
                  <a:lnTo>
                    <a:pt x="564" y="262"/>
                  </a:lnTo>
                  <a:lnTo>
                    <a:pt x="566" y="262"/>
                  </a:lnTo>
                  <a:lnTo>
                    <a:pt x="566" y="262"/>
                  </a:lnTo>
                  <a:lnTo>
                    <a:pt x="568" y="262"/>
                  </a:lnTo>
                  <a:lnTo>
                    <a:pt x="568" y="262"/>
                  </a:lnTo>
                  <a:lnTo>
                    <a:pt x="570" y="261"/>
                  </a:lnTo>
                  <a:lnTo>
                    <a:pt x="571" y="260"/>
                  </a:lnTo>
                  <a:lnTo>
                    <a:pt x="572" y="260"/>
                  </a:lnTo>
                  <a:lnTo>
                    <a:pt x="576" y="261"/>
                  </a:lnTo>
                  <a:lnTo>
                    <a:pt x="578" y="261"/>
                  </a:lnTo>
                  <a:lnTo>
                    <a:pt x="580" y="261"/>
                  </a:lnTo>
                  <a:lnTo>
                    <a:pt x="580" y="261"/>
                  </a:lnTo>
                  <a:lnTo>
                    <a:pt x="580" y="262"/>
                  </a:lnTo>
                  <a:lnTo>
                    <a:pt x="581" y="262"/>
                  </a:lnTo>
                  <a:lnTo>
                    <a:pt x="581" y="263"/>
                  </a:lnTo>
                  <a:lnTo>
                    <a:pt x="581" y="262"/>
                  </a:lnTo>
                  <a:lnTo>
                    <a:pt x="584" y="261"/>
                  </a:lnTo>
                  <a:lnTo>
                    <a:pt x="585" y="261"/>
                  </a:lnTo>
                  <a:lnTo>
                    <a:pt x="587" y="260"/>
                  </a:lnTo>
                  <a:lnTo>
                    <a:pt x="588" y="260"/>
                  </a:lnTo>
                  <a:lnTo>
                    <a:pt x="588" y="259"/>
                  </a:lnTo>
                  <a:lnTo>
                    <a:pt x="590" y="259"/>
                  </a:lnTo>
                  <a:lnTo>
                    <a:pt x="591" y="259"/>
                  </a:lnTo>
                  <a:lnTo>
                    <a:pt x="591" y="259"/>
                  </a:lnTo>
                  <a:lnTo>
                    <a:pt x="591" y="260"/>
                  </a:lnTo>
                  <a:lnTo>
                    <a:pt x="592" y="261"/>
                  </a:lnTo>
                  <a:lnTo>
                    <a:pt x="593" y="261"/>
                  </a:lnTo>
                  <a:lnTo>
                    <a:pt x="593" y="260"/>
                  </a:lnTo>
                  <a:lnTo>
                    <a:pt x="593" y="260"/>
                  </a:lnTo>
                  <a:lnTo>
                    <a:pt x="593" y="259"/>
                  </a:lnTo>
                  <a:lnTo>
                    <a:pt x="593" y="259"/>
                  </a:lnTo>
                  <a:lnTo>
                    <a:pt x="594" y="259"/>
                  </a:lnTo>
                  <a:lnTo>
                    <a:pt x="596" y="259"/>
                  </a:lnTo>
                  <a:lnTo>
                    <a:pt x="596" y="260"/>
                  </a:lnTo>
                  <a:lnTo>
                    <a:pt x="596" y="260"/>
                  </a:lnTo>
                  <a:lnTo>
                    <a:pt x="596" y="260"/>
                  </a:lnTo>
                  <a:lnTo>
                    <a:pt x="596" y="260"/>
                  </a:lnTo>
                  <a:lnTo>
                    <a:pt x="598" y="260"/>
                  </a:lnTo>
                  <a:lnTo>
                    <a:pt x="599" y="261"/>
                  </a:lnTo>
                  <a:lnTo>
                    <a:pt x="601" y="261"/>
                  </a:lnTo>
                  <a:lnTo>
                    <a:pt x="603" y="260"/>
                  </a:lnTo>
                  <a:lnTo>
                    <a:pt x="605" y="259"/>
                  </a:lnTo>
                  <a:lnTo>
                    <a:pt x="606" y="259"/>
                  </a:lnTo>
                  <a:lnTo>
                    <a:pt x="607" y="259"/>
                  </a:lnTo>
                  <a:lnTo>
                    <a:pt x="608" y="259"/>
                  </a:lnTo>
                  <a:lnTo>
                    <a:pt x="610" y="257"/>
                  </a:lnTo>
                  <a:lnTo>
                    <a:pt x="611" y="256"/>
                  </a:lnTo>
                  <a:lnTo>
                    <a:pt x="613" y="256"/>
                  </a:lnTo>
                  <a:lnTo>
                    <a:pt x="614" y="257"/>
                  </a:lnTo>
                  <a:lnTo>
                    <a:pt x="614" y="259"/>
                  </a:lnTo>
                  <a:lnTo>
                    <a:pt x="615" y="259"/>
                  </a:lnTo>
                  <a:lnTo>
                    <a:pt x="616" y="260"/>
                  </a:lnTo>
                  <a:lnTo>
                    <a:pt x="615" y="260"/>
                  </a:lnTo>
                  <a:lnTo>
                    <a:pt x="615" y="260"/>
                  </a:lnTo>
                  <a:lnTo>
                    <a:pt x="614" y="261"/>
                  </a:lnTo>
                  <a:lnTo>
                    <a:pt x="614" y="261"/>
                  </a:lnTo>
                  <a:lnTo>
                    <a:pt x="615" y="261"/>
                  </a:lnTo>
                  <a:lnTo>
                    <a:pt x="616" y="262"/>
                  </a:lnTo>
                  <a:lnTo>
                    <a:pt x="615" y="262"/>
                  </a:lnTo>
                  <a:lnTo>
                    <a:pt x="615" y="263"/>
                  </a:lnTo>
                  <a:lnTo>
                    <a:pt x="615" y="263"/>
                  </a:lnTo>
                  <a:lnTo>
                    <a:pt x="615" y="263"/>
                  </a:lnTo>
                  <a:lnTo>
                    <a:pt x="615" y="263"/>
                  </a:lnTo>
                  <a:lnTo>
                    <a:pt x="617" y="262"/>
                  </a:lnTo>
                  <a:lnTo>
                    <a:pt x="618" y="262"/>
                  </a:lnTo>
                  <a:lnTo>
                    <a:pt x="621" y="261"/>
                  </a:lnTo>
                  <a:lnTo>
                    <a:pt x="622" y="261"/>
                  </a:lnTo>
                  <a:lnTo>
                    <a:pt x="622" y="261"/>
                  </a:lnTo>
                  <a:lnTo>
                    <a:pt x="622" y="262"/>
                  </a:lnTo>
                  <a:lnTo>
                    <a:pt x="622" y="263"/>
                  </a:lnTo>
                  <a:lnTo>
                    <a:pt x="622" y="263"/>
                  </a:lnTo>
                  <a:lnTo>
                    <a:pt x="621" y="263"/>
                  </a:lnTo>
                  <a:lnTo>
                    <a:pt x="621" y="263"/>
                  </a:lnTo>
                  <a:lnTo>
                    <a:pt x="621" y="264"/>
                  </a:lnTo>
                  <a:lnTo>
                    <a:pt x="621" y="265"/>
                  </a:lnTo>
                  <a:lnTo>
                    <a:pt x="620" y="267"/>
                  </a:lnTo>
                  <a:lnTo>
                    <a:pt x="620" y="267"/>
                  </a:lnTo>
                  <a:lnTo>
                    <a:pt x="620" y="267"/>
                  </a:lnTo>
                  <a:lnTo>
                    <a:pt x="618" y="268"/>
                  </a:lnTo>
                  <a:lnTo>
                    <a:pt x="618" y="270"/>
                  </a:lnTo>
                  <a:lnTo>
                    <a:pt x="620" y="272"/>
                  </a:lnTo>
                  <a:lnTo>
                    <a:pt x="621" y="274"/>
                  </a:lnTo>
                  <a:lnTo>
                    <a:pt x="623" y="274"/>
                  </a:lnTo>
                  <a:lnTo>
                    <a:pt x="623" y="275"/>
                  </a:lnTo>
                  <a:lnTo>
                    <a:pt x="624" y="277"/>
                  </a:lnTo>
                  <a:lnTo>
                    <a:pt x="623" y="277"/>
                  </a:lnTo>
                  <a:lnTo>
                    <a:pt x="624" y="278"/>
                  </a:lnTo>
                  <a:lnTo>
                    <a:pt x="624" y="278"/>
                  </a:lnTo>
                  <a:lnTo>
                    <a:pt x="625" y="279"/>
                  </a:lnTo>
                  <a:lnTo>
                    <a:pt x="625" y="280"/>
                  </a:lnTo>
                  <a:lnTo>
                    <a:pt x="625" y="282"/>
                  </a:lnTo>
                  <a:lnTo>
                    <a:pt x="624" y="284"/>
                  </a:lnTo>
                  <a:lnTo>
                    <a:pt x="622" y="286"/>
                  </a:lnTo>
                  <a:lnTo>
                    <a:pt x="621" y="287"/>
                  </a:lnTo>
                  <a:lnTo>
                    <a:pt x="618" y="287"/>
                  </a:lnTo>
                  <a:lnTo>
                    <a:pt x="617" y="287"/>
                  </a:lnTo>
                  <a:lnTo>
                    <a:pt x="617" y="287"/>
                  </a:lnTo>
                  <a:lnTo>
                    <a:pt x="616" y="287"/>
                  </a:lnTo>
                  <a:lnTo>
                    <a:pt x="615" y="289"/>
                  </a:lnTo>
                  <a:lnTo>
                    <a:pt x="615" y="291"/>
                  </a:lnTo>
                  <a:lnTo>
                    <a:pt x="615" y="293"/>
                  </a:lnTo>
                  <a:lnTo>
                    <a:pt x="616" y="294"/>
                  </a:lnTo>
                  <a:lnTo>
                    <a:pt x="618" y="294"/>
                  </a:lnTo>
                  <a:lnTo>
                    <a:pt x="620" y="294"/>
                  </a:lnTo>
                  <a:lnTo>
                    <a:pt x="621" y="294"/>
                  </a:lnTo>
                  <a:lnTo>
                    <a:pt x="621" y="293"/>
                  </a:lnTo>
                  <a:lnTo>
                    <a:pt x="622" y="294"/>
                  </a:lnTo>
                  <a:lnTo>
                    <a:pt x="623" y="294"/>
                  </a:lnTo>
                  <a:lnTo>
                    <a:pt x="623" y="294"/>
                  </a:lnTo>
                  <a:lnTo>
                    <a:pt x="623" y="294"/>
                  </a:lnTo>
                  <a:lnTo>
                    <a:pt x="622" y="294"/>
                  </a:lnTo>
                  <a:lnTo>
                    <a:pt x="621" y="294"/>
                  </a:lnTo>
                  <a:lnTo>
                    <a:pt x="621" y="295"/>
                  </a:lnTo>
                  <a:lnTo>
                    <a:pt x="622" y="295"/>
                  </a:lnTo>
                  <a:lnTo>
                    <a:pt x="623" y="297"/>
                  </a:lnTo>
                  <a:lnTo>
                    <a:pt x="624" y="298"/>
                  </a:lnTo>
                  <a:lnTo>
                    <a:pt x="625" y="298"/>
                  </a:lnTo>
                  <a:lnTo>
                    <a:pt x="628" y="299"/>
                  </a:lnTo>
                  <a:lnTo>
                    <a:pt x="628" y="299"/>
                  </a:lnTo>
                  <a:lnTo>
                    <a:pt x="630" y="300"/>
                  </a:lnTo>
                  <a:lnTo>
                    <a:pt x="632" y="301"/>
                  </a:lnTo>
                  <a:lnTo>
                    <a:pt x="635" y="302"/>
                  </a:lnTo>
                  <a:lnTo>
                    <a:pt x="637" y="304"/>
                  </a:lnTo>
                  <a:lnTo>
                    <a:pt x="639" y="302"/>
                  </a:lnTo>
                  <a:lnTo>
                    <a:pt x="640" y="302"/>
                  </a:lnTo>
                  <a:lnTo>
                    <a:pt x="641" y="301"/>
                  </a:lnTo>
                  <a:lnTo>
                    <a:pt x="644" y="301"/>
                  </a:lnTo>
                  <a:lnTo>
                    <a:pt x="645" y="302"/>
                  </a:lnTo>
                  <a:lnTo>
                    <a:pt x="647" y="304"/>
                  </a:lnTo>
                  <a:lnTo>
                    <a:pt x="650" y="304"/>
                  </a:lnTo>
                  <a:lnTo>
                    <a:pt x="651" y="304"/>
                  </a:lnTo>
                  <a:lnTo>
                    <a:pt x="652" y="304"/>
                  </a:lnTo>
                  <a:lnTo>
                    <a:pt x="654" y="305"/>
                  </a:lnTo>
                  <a:lnTo>
                    <a:pt x="655" y="306"/>
                  </a:lnTo>
                  <a:lnTo>
                    <a:pt x="658" y="307"/>
                  </a:lnTo>
                  <a:lnTo>
                    <a:pt x="659" y="307"/>
                  </a:lnTo>
                  <a:lnTo>
                    <a:pt x="660" y="307"/>
                  </a:lnTo>
                  <a:lnTo>
                    <a:pt x="661" y="307"/>
                  </a:lnTo>
                  <a:lnTo>
                    <a:pt x="661" y="308"/>
                  </a:lnTo>
                  <a:lnTo>
                    <a:pt x="662" y="309"/>
                  </a:lnTo>
                  <a:lnTo>
                    <a:pt x="662" y="312"/>
                  </a:lnTo>
                  <a:lnTo>
                    <a:pt x="663" y="314"/>
                  </a:lnTo>
                  <a:lnTo>
                    <a:pt x="665" y="316"/>
                  </a:lnTo>
                  <a:lnTo>
                    <a:pt x="666" y="317"/>
                  </a:lnTo>
                  <a:lnTo>
                    <a:pt x="668" y="317"/>
                  </a:lnTo>
                  <a:lnTo>
                    <a:pt x="669" y="317"/>
                  </a:lnTo>
                  <a:lnTo>
                    <a:pt x="672" y="317"/>
                  </a:lnTo>
                  <a:lnTo>
                    <a:pt x="673" y="319"/>
                  </a:lnTo>
                  <a:lnTo>
                    <a:pt x="675" y="319"/>
                  </a:lnTo>
                  <a:lnTo>
                    <a:pt x="676" y="319"/>
                  </a:lnTo>
                  <a:lnTo>
                    <a:pt x="678" y="319"/>
                  </a:lnTo>
                  <a:lnTo>
                    <a:pt x="681" y="319"/>
                  </a:lnTo>
                  <a:lnTo>
                    <a:pt x="683" y="320"/>
                  </a:lnTo>
                  <a:lnTo>
                    <a:pt x="687" y="322"/>
                  </a:lnTo>
                  <a:lnTo>
                    <a:pt x="690" y="324"/>
                  </a:lnTo>
                  <a:lnTo>
                    <a:pt x="692" y="326"/>
                  </a:lnTo>
                  <a:lnTo>
                    <a:pt x="693" y="327"/>
                  </a:lnTo>
                  <a:lnTo>
                    <a:pt x="693" y="327"/>
                  </a:lnTo>
                  <a:lnTo>
                    <a:pt x="695" y="327"/>
                  </a:lnTo>
                  <a:lnTo>
                    <a:pt x="696" y="327"/>
                  </a:lnTo>
                  <a:lnTo>
                    <a:pt x="697" y="327"/>
                  </a:lnTo>
                  <a:lnTo>
                    <a:pt x="699" y="327"/>
                  </a:lnTo>
                  <a:lnTo>
                    <a:pt x="702" y="326"/>
                  </a:lnTo>
                  <a:lnTo>
                    <a:pt x="703" y="323"/>
                  </a:lnTo>
                  <a:lnTo>
                    <a:pt x="704" y="321"/>
                  </a:lnTo>
                  <a:lnTo>
                    <a:pt x="704" y="319"/>
                  </a:lnTo>
                  <a:lnTo>
                    <a:pt x="704" y="316"/>
                  </a:lnTo>
                  <a:lnTo>
                    <a:pt x="703" y="315"/>
                  </a:lnTo>
                  <a:lnTo>
                    <a:pt x="702" y="314"/>
                  </a:lnTo>
                  <a:lnTo>
                    <a:pt x="700" y="314"/>
                  </a:lnTo>
                  <a:lnTo>
                    <a:pt x="700" y="312"/>
                  </a:lnTo>
                  <a:lnTo>
                    <a:pt x="702" y="311"/>
                  </a:lnTo>
                  <a:lnTo>
                    <a:pt x="704" y="308"/>
                  </a:lnTo>
                  <a:lnTo>
                    <a:pt x="706" y="307"/>
                  </a:lnTo>
                  <a:lnTo>
                    <a:pt x="707" y="306"/>
                  </a:lnTo>
                  <a:lnTo>
                    <a:pt x="708" y="305"/>
                  </a:lnTo>
                  <a:lnTo>
                    <a:pt x="710" y="305"/>
                  </a:lnTo>
                  <a:lnTo>
                    <a:pt x="712" y="304"/>
                  </a:lnTo>
                  <a:lnTo>
                    <a:pt x="715" y="305"/>
                  </a:lnTo>
                  <a:lnTo>
                    <a:pt x="717" y="305"/>
                  </a:lnTo>
                  <a:lnTo>
                    <a:pt x="718" y="305"/>
                  </a:lnTo>
                  <a:lnTo>
                    <a:pt x="718" y="305"/>
                  </a:lnTo>
                  <a:lnTo>
                    <a:pt x="718" y="305"/>
                  </a:lnTo>
                  <a:lnTo>
                    <a:pt x="718" y="305"/>
                  </a:lnTo>
                  <a:lnTo>
                    <a:pt x="719" y="306"/>
                  </a:lnTo>
                  <a:lnTo>
                    <a:pt x="720" y="306"/>
                  </a:lnTo>
                  <a:lnTo>
                    <a:pt x="720" y="306"/>
                  </a:lnTo>
                  <a:lnTo>
                    <a:pt x="720" y="306"/>
                  </a:lnTo>
                  <a:lnTo>
                    <a:pt x="720" y="306"/>
                  </a:lnTo>
                  <a:lnTo>
                    <a:pt x="720" y="306"/>
                  </a:lnTo>
                  <a:lnTo>
                    <a:pt x="721" y="306"/>
                  </a:lnTo>
                  <a:lnTo>
                    <a:pt x="722" y="306"/>
                  </a:lnTo>
                  <a:lnTo>
                    <a:pt x="723" y="306"/>
                  </a:lnTo>
                  <a:lnTo>
                    <a:pt x="727" y="306"/>
                  </a:lnTo>
                  <a:lnTo>
                    <a:pt x="729" y="307"/>
                  </a:lnTo>
                  <a:lnTo>
                    <a:pt x="730" y="308"/>
                  </a:lnTo>
                  <a:lnTo>
                    <a:pt x="730" y="309"/>
                  </a:lnTo>
                  <a:lnTo>
                    <a:pt x="730" y="311"/>
                  </a:lnTo>
                  <a:lnTo>
                    <a:pt x="730" y="311"/>
                  </a:lnTo>
                  <a:lnTo>
                    <a:pt x="730" y="311"/>
                  </a:lnTo>
                  <a:lnTo>
                    <a:pt x="732" y="312"/>
                  </a:lnTo>
                  <a:lnTo>
                    <a:pt x="734" y="312"/>
                  </a:lnTo>
                  <a:lnTo>
                    <a:pt x="736" y="311"/>
                  </a:lnTo>
                  <a:lnTo>
                    <a:pt x="736" y="311"/>
                  </a:lnTo>
                  <a:lnTo>
                    <a:pt x="736" y="312"/>
                  </a:lnTo>
                  <a:lnTo>
                    <a:pt x="736" y="312"/>
                  </a:lnTo>
                  <a:lnTo>
                    <a:pt x="737" y="313"/>
                  </a:lnTo>
                  <a:lnTo>
                    <a:pt x="737" y="313"/>
                  </a:lnTo>
                  <a:lnTo>
                    <a:pt x="740" y="313"/>
                  </a:lnTo>
                  <a:lnTo>
                    <a:pt x="741" y="313"/>
                  </a:lnTo>
                  <a:lnTo>
                    <a:pt x="742" y="313"/>
                  </a:lnTo>
                  <a:lnTo>
                    <a:pt x="742" y="313"/>
                  </a:lnTo>
                  <a:lnTo>
                    <a:pt x="742" y="314"/>
                  </a:lnTo>
                  <a:lnTo>
                    <a:pt x="743" y="315"/>
                  </a:lnTo>
                  <a:lnTo>
                    <a:pt x="744" y="315"/>
                  </a:lnTo>
                  <a:lnTo>
                    <a:pt x="745" y="316"/>
                  </a:lnTo>
                  <a:lnTo>
                    <a:pt x="747" y="316"/>
                  </a:lnTo>
                  <a:lnTo>
                    <a:pt x="748" y="317"/>
                  </a:lnTo>
                  <a:lnTo>
                    <a:pt x="750" y="316"/>
                  </a:lnTo>
                  <a:lnTo>
                    <a:pt x="751" y="316"/>
                  </a:lnTo>
                  <a:lnTo>
                    <a:pt x="753" y="316"/>
                  </a:lnTo>
                  <a:lnTo>
                    <a:pt x="756" y="316"/>
                  </a:lnTo>
                  <a:lnTo>
                    <a:pt x="759" y="316"/>
                  </a:lnTo>
                  <a:lnTo>
                    <a:pt x="762" y="317"/>
                  </a:lnTo>
                  <a:lnTo>
                    <a:pt x="764" y="319"/>
                  </a:lnTo>
                  <a:lnTo>
                    <a:pt x="765" y="320"/>
                  </a:lnTo>
                  <a:lnTo>
                    <a:pt x="767" y="321"/>
                  </a:lnTo>
                  <a:lnTo>
                    <a:pt x="770" y="321"/>
                  </a:lnTo>
                  <a:lnTo>
                    <a:pt x="771" y="320"/>
                  </a:lnTo>
                  <a:lnTo>
                    <a:pt x="772" y="320"/>
                  </a:lnTo>
                  <a:lnTo>
                    <a:pt x="772" y="320"/>
                  </a:lnTo>
                  <a:lnTo>
                    <a:pt x="772" y="320"/>
                  </a:lnTo>
                  <a:lnTo>
                    <a:pt x="772" y="321"/>
                  </a:lnTo>
                  <a:lnTo>
                    <a:pt x="772" y="321"/>
                  </a:lnTo>
                  <a:lnTo>
                    <a:pt x="773" y="322"/>
                  </a:lnTo>
                  <a:lnTo>
                    <a:pt x="774" y="322"/>
                  </a:lnTo>
                  <a:lnTo>
                    <a:pt x="775" y="322"/>
                  </a:lnTo>
                  <a:lnTo>
                    <a:pt x="777" y="323"/>
                  </a:lnTo>
                  <a:lnTo>
                    <a:pt x="777" y="323"/>
                  </a:lnTo>
                  <a:lnTo>
                    <a:pt x="777" y="324"/>
                  </a:lnTo>
                  <a:lnTo>
                    <a:pt x="778" y="324"/>
                  </a:lnTo>
                  <a:lnTo>
                    <a:pt x="778" y="324"/>
                  </a:lnTo>
                  <a:lnTo>
                    <a:pt x="780" y="323"/>
                  </a:lnTo>
                  <a:lnTo>
                    <a:pt x="781" y="323"/>
                  </a:lnTo>
                  <a:lnTo>
                    <a:pt x="784" y="322"/>
                  </a:lnTo>
                  <a:lnTo>
                    <a:pt x="785" y="322"/>
                  </a:lnTo>
                  <a:lnTo>
                    <a:pt x="785" y="321"/>
                  </a:lnTo>
                  <a:lnTo>
                    <a:pt x="785" y="320"/>
                  </a:lnTo>
                  <a:lnTo>
                    <a:pt x="786" y="320"/>
                  </a:lnTo>
                  <a:lnTo>
                    <a:pt x="787" y="319"/>
                  </a:lnTo>
                  <a:lnTo>
                    <a:pt x="789" y="319"/>
                  </a:lnTo>
                  <a:lnTo>
                    <a:pt x="792" y="319"/>
                  </a:lnTo>
                  <a:lnTo>
                    <a:pt x="793" y="319"/>
                  </a:lnTo>
                  <a:lnTo>
                    <a:pt x="794" y="319"/>
                  </a:lnTo>
                  <a:lnTo>
                    <a:pt x="795" y="319"/>
                  </a:lnTo>
                  <a:lnTo>
                    <a:pt x="796" y="319"/>
                  </a:lnTo>
                  <a:lnTo>
                    <a:pt x="796" y="319"/>
                  </a:lnTo>
                  <a:lnTo>
                    <a:pt x="796" y="317"/>
                  </a:lnTo>
                  <a:lnTo>
                    <a:pt x="797" y="317"/>
                  </a:lnTo>
                  <a:lnTo>
                    <a:pt x="799" y="319"/>
                  </a:lnTo>
                  <a:lnTo>
                    <a:pt x="802" y="320"/>
                  </a:lnTo>
                  <a:lnTo>
                    <a:pt x="805" y="321"/>
                  </a:lnTo>
                  <a:lnTo>
                    <a:pt x="808" y="322"/>
                  </a:lnTo>
                  <a:lnTo>
                    <a:pt x="811" y="322"/>
                  </a:lnTo>
                  <a:lnTo>
                    <a:pt x="812" y="322"/>
                  </a:lnTo>
                  <a:lnTo>
                    <a:pt x="814" y="322"/>
                  </a:lnTo>
                  <a:lnTo>
                    <a:pt x="816" y="322"/>
                  </a:lnTo>
                  <a:lnTo>
                    <a:pt x="817" y="322"/>
                  </a:lnTo>
                  <a:lnTo>
                    <a:pt x="819" y="322"/>
                  </a:lnTo>
                  <a:lnTo>
                    <a:pt x="822" y="321"/>
                  </a:lnTo>
                  <a:lnTo>
                    <a:pt x="823" y="319"/>
                  </a:lnTo>
                  <a:lnTo>
                    <a:pt x="824" y="316"/>
                  </a:lnTo>
                  <a:lnTo>
                    <a:pt x="825" y="315"/>
                  </a:lnTo>
                  <a:lnTo>
                    <a:pt x="826" y="314"/>
                  </a:lnTo>
                  <a:lnTo>
                    <a:pt x="826" y="312"/>
                  </a:lnTo>
                  <a:lnTo>
                    <a:pt x="826" y="309"/>
                  </a:lnTo>
                  <a:lnTo>
                    <a:pt x="826" y="302"/>
                  </a:lnTo>
                  <a:lnTo>
                    <a:pt x="827" y="301"/>
                  </a:lnTo>
                  <a:lnTo>
                    <a:pt x="827" y="300"/>
                  </a:lnTo>
                  <a:lnTo>
                    <a:pt x="829" y="299"/>
                  </a:lnTo>
                  <a:lnTo>
                    <a:pt x="830" y="298"/>
                  </a:lnTo>
                  <a:lnTo>
                    <a:pt x="830" y="295"/>
                  </a:lnTo>
                  <a:lnTo>
                    <a:pt x="831" y="294"/>
                  </a:lnTo>
                  <a:lnTo>
                    <a:pt x="832" y="294"/>
                  </a:lnTo>
                  <a:lnTo>
                    <a:pt x="832" y="293"/>
                  </a:lnTo>
                  <a:lnTo>
                    <a:pt x="833" y="292"/>
                  </a:lnTo>
                  <a:lnTo>
                    <a:pt x="833" y="291"/>
                  </a:lnTo>
                  <a:lnTo>
                    <a:pt x="832" y="287"/>
                  </a:lnTo>
                  <a:lnTo>
                    <a:pt x="831" y="285"/>
                  </a:lnTo>
                  <a:lnTo>
                    <a:pt x="831" y="284"/>
                  </a:lnTo>
                  <a:lnTo>
                    <a:pt x="831" y="283"/>
                  </a:lnTo>
                  <a:lnTo>
                    <a:pt x="832" y="282"/>
                  </a:lnTo>
                  <a:lnTo>
                    <a:pt x="832" y="280"/>
                  </a:lnTo>
                  <a:lnTo>
                    <a:pt x="832" y="280"/>
                  </a:lnTo>
                  <a:lnTo>
                    <a:pt x="832" y="279"/>
                  </a:lnTo>
                  <a:lnTo>
                    <a:pt x="830" y="278"/>
                  </a:lnTo>
                  <a:lnTo>
                    <a:pt x="829" y="277"/>
                  </a:lnTo>
                  <a:lnTo>
                    <a:pt x="827" y="277"/>
                  </a:lnTo>
                  <a:lnTo>
                    <a:pt x="829" y="277"/>
                  </a:lnTo>
                  <a:lnTo>
                    <a:pt x="829" y="276"/>
                  </a:lnTo>
                  <a:lnTo>
                    <a:pt x="829" y="276"/>
                  </a:lnTo>
                  <a:lnTo>
                    <a:pt x="829" y="275"/>
                  </a:lnTo>
                  <a:lnTo>
                    <a:pt x="829" y="274"/>
                  </a:lnTo>
                  <a:lnTo>
                    <a:pt x="829" y="274"/>
                  </a:lnTo>
                  <a:lnTo>
                    <a:pt x="829" y="272"/>
                  </a:lnTo>
                  <a:lnTo>
                    <a:pt x="830" y="272"/>
                  </a:lnTo>
                  <a:lnTo>
                    <a:pt x="831" y="272"/>
                  </a:lnTo>
                  <a:lnTo>
                    <a:pt x="831" y="271"/>
                  </a:lnTo>
                  <a:lnTo>
                    <a:pt x="830" y="270"/>
                  </a:lnTo>
                  <a:lnTo>
                    <a:pt x="829" y="269"/>
                  </a:lnTo>
                  <a:lnTo>
                    <a:pt x="827" y="270"/>
                  </a:lnTo>
                  <a:lnTo>
                    <a:pt x="827" y="271"/>
                  </a:lnTo>
                  <a:lnTo>
                    <a:pt x="826" y="271"/>
                  </a:lnTo>
                  <a:lnTo>
                    <a:pt x="824" y="271"/>
                  </a:lnTo>
                  <a:lnTo>
                    <a:pt x="823" y="270"/>
                  </a:lnTo>
                  <a:lnTo>
                    <a:pt x="822" y="269"/>
                  </a:lnTo>
                  <a:lnTo>
                    <a:pt x="820" y="269"/>
                  </a:lnTo>
                  <a:lnTo>
                    <a:pt x="819" y="269"/>
                  </a:lnTo>
                  <a:lnTo>
                    <a:pt x="818" y="270"/>
                  </a:lnTo>
                  <a:lnTo>
                    <a:pt x="816" y="271"/>
                  </a:lnTo>
                  <a:lnTo>
                    <a:pt x="814" y="272"/>
                  </a:lnTo>
                  <a:lnTo>
                    <a:pt x="814" y="274"/>
                  </a:lnTo>
                  <a:lnTo>
                    <a:pt x="812" y="275"/>
                  </a:lnTo>
                  <a:lnTo>
                    <a:pt x="812" y="275"/>
                  </a:lnTo>
                  <a:lnTo>
                    <a:pt x="812" y="275"/>
                  </a:lnTo>
                  <a:lnTo>
                    <a:pt x="810" y="275"/>
                  </a:lnTo>
                  <a:lnTo>
                    <a:pt x="808" y="276"/>
                  </a:lnTo>
                  <a:lnTo>
                    <a:pt x="805" y="276"/>
                  </a:lnTo>
                  <a:lnTo>
                    <a:pt x="804" y="275"/>
                  </a:lnTo>
                  <a:lnTo>
                    <a:pt x="802" y="272"/>
                  </a:lnTo>
                  <a:lnTo>
                    <a:pt x="801" y="271"/>
                  </a:lnTo>
                  <a:lnTo>
                    <a:pt x="799" y="270"/>
                  </a:lnTo>
                  <a:lnTo>
                    <a:pt x="797" y="270"/>
                  </a:lnTo>
                  <a:lnTo>
                    <a:pt x="795" y="270"/>
                  </a:lnTo>
                  <a:lnTo>
                    <a:pt x="793" y="269"/>
                  </a:lnTo>
                  <a:lnTo>
                    <a:pt x="790" y="268"/>
                  </a:lnTo>
                  <a:lnTo>
                    <a:pt x="789" y="269"/>
                  </a:lnTo>
                  <a:lnTo>
                    <a:pt x="788" y="270"/>
                  </a:lnTo>
                  <a:lnTo>
                    <a:pt x="788" y="271"/>
                  </a:lnTo>
                  <a:lnTo>
                    <a:pt x="788" y="272"/>
                  </a:lnTo>
                  <a:lnTo>
                    <a:pt x="786" y="272"/>
                  </a:lnTo>
                  <a:lnTo>
                    <a:pt x="785" y="274"/>
                  </a:lnTo>
                  <a:lnTo>
                    <a:pt x="782" y="274"/>
                  </a:lnTo>
                  <a:lnTo>
                    <a:pt x="781" y="275"/>
                  </a:lnTo>
                  <a:lnTo>
                    <a:pt x="781" y="275"/>
                  </a:lnTo>
                  <a:lnTo>
                    <a:pt x="780" y="275"/>
                  </a:lnTo>
                  <a:lnTo>
                    <a:pt x="779" y="274"/>
                  </a:lnTo>
                  <a:lnTo>
                    <a:pt x="778" y="272"/>
                  </a:lnTo>
                  <a:lnTo>
                    <a:pt x="777" y="271"/>
                  </a:lnTo>
                  <a:lnTo>
                    <a:pt x="775" y="270"/>
                  </a:lnTo>
                  <a:lnTo>
                    <a:pt x="777" y="270"/>
                  </a:lnTo>
                  <a:lnTo>
                    <a:pt x="777" y="269"/>
                  </a:lnTo>
                  <a:lnTo>
                    <a:pt x="775" y="268"/>
                  </a:lnTo>
                  <a:lnTo>
                    <a:pt x="774" y="268"/>
                  </a:lnTo>
                  <a:lnTo>
                    <a:pt x="773" y="268"/>
                  </a:lnTo>
                  <a:lnTo>
                    <a:pt x="772" y="268"/>
                  </a:lnTo>
                  <a:lnTo>
                    <a:pt x="767" y="270"/>
                  </a:lnTo>
                  <a:lnTo>
                    <a:pt x="766" y="269"/>
                  </a:lnTo>
                  <a:lnTo>
                    <a:pt x="765" y="269"/>
                  </a:lnTo>
                  <a:lnTo>
                    <a:pt x="764" y="269"/>
                  </a:lnTo>
                  <a:lnTo>
                    <a:pt x="763" y="269"/>
                  </a:lnTo>
                  <a:lnTo>
                    <a:pt x="762" y="268"/>
                  </a:lnTo>
                  <a:lnTo>
                    <a:pt x="762" y="267"/>
                  </a:lnTo>
                  <a:lnTo>
                    <a:pt x="763" y="267"/>
                  </a:lnTo>
                  <a:lnTo>
                    <a:pt x="764" y="267"/>
                  </a:lnTo>
                  <a:lnTo>
                    <a:pt x="765" y="267"/>
                  </a:lnTo>
                  <a:lnTo>
                    <a:pt x="767" y="267"/>
                  </a:lnTo>
                  <a:lnTo>
                    <a:pt x="767" y="267"/>
                  </a:lnTo>
                  <a:lnTo>
                    <a:pt x="760" y="267"/>
                  </a:lnTo>
                  <a:lnTo>
                    <a:pt x="760" y="265"/>
                  </a:lnTo>
                  <a:lnTo>
                    <a:pt x="760" y="265"/>
                  </a:lnTo>
                  <a:lnTo>
                    <a:pt x="760" y="264"/>
                  </a:lnTo>
                  <a:lnTo>
                    <a:pt x="762" y="264"/>
                  </a:lnTo>
                  <a:lnTo>
                    <a:pt x="762" y="264"/>
                  </a:lnTo>
                  <a:lnTo>
                    <a:pt x="763" y="264"/>
                  </a:lnTo>
                  <a:lnTo>
                    <a:pt x="763" y="263"/>
                  </a:lnTo>
                  <a:lnTo>
                    <a:pt x="763" y="262"/>
                  </a:lnTo>
                  <a:lnTo>
                    <a:pt x="763" y="262"/>
                  </a:lnTo>
                  <a:lnTo>
                    <a:pt x="762" y="262"/>
                  </a:lnTo>
                  <a:lnTo>
                    <a:pt x="762" y="262"/>
                  </a:lnTo>
                  <a:lnTo>
                    <a:pt x="760" y="262"/>
                  </a:lnTo>
                  <a:lnTo>
                    <a:pt x="759" y="261"/>
                  </a:lnTo>
                  <a:lnTo>
                    <a:pt x="758" y="261"/>
                  </a:lnTo>
                  <a:lnTo>
                    <a:pt x="757" y="261"/>
                  </a:lnTo>
                  <a:lnTo>
                    <a:pt x="757" y="260"/>
                  </a:lnTo>
                  <a:lnTo>
                    <a:pt x="757" y="259"/>
                  </a:lnTo>
                  <a:lnTo>
                    <a:pt x="757" y="257"/>
                  </a:lnTo>
                  <a:lnTo>
                    <a:pt x="757" y="256"/>
                  </a:lnTo>
                  <a:lnTo>
                    <a:pt x="755" y="255"/>
                  </a:lnTo>
                  <a:lnTo>
                    <a:pt x="755" y="255"/>
                  </a:lnTo>
                  <a:lnTo>
                    <a:pt x="753" y="254"/>
                  </a:lnTo>
                  <a:lnTo>
                    <a:pt x="752" y="253"/>
                  </a:lnTo>
                  <a:lnTo>
                    <a:pt x="751" y="253"/>
                  </a:lnTo>
                  <a:lnTo>
                    <a:pt x="750" y="254"/>
                  </a:lnTo>
                  <a:lnTo>
                    <a:pt x="749" y="254"/>
                  </a:lnTo>
                  <a:lnTo>
                    <a:pt x="749" y="254"/>
                  </a:lnTo>
                  <a:lnTo>
                    <a:pt x="750" y="254"/>
                  </a:lnTo>
                  <a:lnTo>
                    <a:pt x="750" y="253"/>
                  </a:lnTo>
                  <a:lnTo>
                    <a:pt x="750" y="252"/>
                  </a:lnTo>
                  <a:lnTo>
                    <a:pt x="750" y="250"/>
                  </a:lnTo>
                  <a:lnTo>
                    <a:pt x="749" y="249"/>
                  </a:lnTo>
                  <a:lnTo>
                    <a:pt x="748" y="248"/>
                  </a:lnTo>
                  <a:lnTo>
                    <a:pt x="749" y="248"/>
                  </a:lnTo>
                  <a:lnTo>
                    <a:pt x="750" y="248"/>
                  </a:lnTo>
                  <a:lnTo>
                    <a:pt x="750" y="248"/>
                  </a:lnTo>
                  <a:lnTo>
                    <a:pt x="751" y="249"/>
                  </a:lnTo>
                  <a:lnTo>
                    <a:pt x="751" y="250"/>
                  </a:lnTo>
                  <a:lnTo>
                    <a:pt x="751" y="250"/>
                  </a:lnTo>
                  <a:lnTo>
                    <a:pt x="751" y="249"/>
                  </a:lnTo>
                  <a:lnTo>
                    <a:pt x="751" y="249"/>
                  </a:lnTo>
                  <a:lnTo>
                    <a:pt x="752" y="249"/>
                  </a:lnTo>
                  <a:lnTo>
                    <a:pt x="753" y="248"/>
                  </a:lnTo>
                  <a:lnTo>
                    <a:pt x="753" y="248"/>
                  </a:lnTo>
                  <a:lnTo>
                    <a:pt x="753" y="248"/>
                  </a:lnTo>
                  <a:lnTo>
                    <a:pt x="752" y="247"/>
                  </a:lnTo>
                  <a:lnTo>
                    <a:pt x="751" y="246"/>
                  </a:lnTo>
                  <a:lnTo>
                    <a:pt x="751" y="245"/>
                  </a:lnTo>
                  <a:lnTo>
                    <a:pt x="752" y="245"/>
                  </a:lnTo>
                  <a:lnTo>
                    <a:pt x="752" y="245"/>
                  </a:lnTo>
                  <a:lnTo>
                    <a:pt x="751" y="245"/>
                  </a:lnTo>
                  <a:lnTo>
                    <a:pt x="751" y="245"/>
                  </a:lnTo>
                  <a:lnTo>
                    <a:pt x="751" y="244"/>
                  </a:lnTo>
                  <a:lnTo>
                    <a:pt x="752" y="244"/>
                  </a:lnTo>
                  <a:lnTo>
                    <a:pt x="751" y="242"/>
                  </a:lnTo>
                  <a:lnTo>
                    <a:pt x="750" y="242"/>
                  </a:lnTo>
                  <a:lnTo>
                    <a:pt x="750" y="241"/>
                  </a:lnTo>
                  <a:lnTo>
                    <a:pt x="750" y="241"/>
                  </a:lnTo>
                  <a:lnTo>
                    <a:pt x="751" y="240"/>
                  </a:lnTo>
                  <a:lnTo>
                    <a:pt x="749" y="240"/>
                  </a:lnTo>
                  <a:lnTo>
                    <a:pt x="748" y="240"/>
                  </a:lnTo>
                  <a:lnTo>
                    <a:pt x="747" y="240"/>
                  </a:lnTo>
                  <a:lnTo>
                    <a:pt x="747" y="239"/>
                  </a:lnTo>
                  <a:lnTo>
                    <a:pt x="748" y="239"/>
                  </a:lnTo>
                  <a:lnTo>
                    <a:pt x="748" y="238"/>
                  </a:lnTo>
                  <a:lnTo>
                    <a:pt x="747" y="237"/>
                  </a:lnTo>
                  <a:lnTo>
                    <a:pt x="747" y="235"/>
                  </a:lnTo>
                  <a:lnTo>
                    <a:pt x="748" y="235"/>
                  </a:lnTo>
                  <a:lnTo>
                    <a:pt x="749" y="235"/>
                  </a:lnTo>
                  <a:lnTo>
                    <a:pt x="750" y="234"/>
                  </a:lnTo>
                  <a:lnTo>
                    <a:pt x="752" y="233"/>
                  </a:lnTo>
                  <a:lnTo>
                    <a:pt x="753" y="232"/>
                  </a:lnTo>
                  <a:lnTo>
                    <a:pt x="756" y="232"/>
                  </a:lnTo>
                  <a:lnTo>
                    <a:pt x="757" y="233"/>
                  </a:lnTo>
                  <a:lnTo>
                    <a:pt x="757" y="233"/>
                  </a:lnTo>
                  <a:lnTo>
                    <a:pt x="757" y="233"/>
                  </a:lnTo>
                  <a:lnTo>
                    <a:pt x="758" y="233"/>
                  </a:lnTo>
                  <a:lnTo>
                    <a:pt x="759" y="232"/>
                  </a:lnTo>
                  <a:lnTo>
                    <a:pt x="760" y="233"/>
                  </a:lnTo>
                  <a:lnTo>
                    <a:pt x="762" y="233"/>
                  </a:lnTo>
                  <a:lnTo>
                    <a:pt x="764" y="233"/>
                  </a:lnTo>
                  <a:lnTo>
                    <a:pt x="765" y="233"/>
                  </a:lnTo>
                  <a:lnTo>
                    <a:pt x="767" y="233"/>
                  </a:lnTo>
                  <a:lnTo>
                    <a:pt x="770" y="232"/>
                  </a:lnTo>
                  <a:lnTo>
                    <a:pt x="770" y="232"/>
                  </a:lnTo>
                  <a:lnTo>
                    <a:pt x="768" y="231"/>
                  </a:lnTo>
                  <a:lnTo>
                    <a:pt x="768" y="231"/>
                  </a:lnTo>
                  <a:lnTo>
                    <a:pt x="768" y="231"/>
                  </a:lnTo>
                  <a:lnTo>
                    <a:pt x="770" y="231"/>
                  </a:lnTo>
                  <a:lnTo>
                    <a:pt x="772" y="231"/>
                  </a:lnTo>
                  <a:lnTo>
                    <a:pt x="773" y="231"/>
                  </a:lnTo>
                  <a:lnTo>
                    <a:pt x="775" y="230"/>
                  </a:lnTo>
                  <a:lnTo>
                    <a:pt x="777" y="230"/>
                  </a:lnTo>
                  <a:lnTo>
                    <a:pt x="773" y="229"/>
                  </a:lnTo>
                  <a:lnTo>
                    <a:pt x="771" y="229"/>
                  </a:lnTo>
                  <a:lnTo>
                    <a:pt x="768" y="229"/>
                  </a:lnTo>
                  <a:lnTo>
                    <a:pt x="767" y="229"/>
                  </a:lnTo>
                  <a:lnTo>
                    <a:pt x="767" y="227"/>
                  </a:lnTo>
                  <a:lnTo>
                    <a:pt x="767" y="226"/>
                  </a:lnTo>
                  <a:lnTo>
                    <a:pt x="768" y="225"/>
                  </a:lnTo>
                  <a:lnTo>
                    <a:pt x="771" y="225"/>
                  </a:lnTo>
                  <a:lnTo>
                    <a:pt x="773" y="226"/>
                  </a:lnTo>
                  <a:lnTo>
                    <a:pt x="775" y="226"/>
                  </a:lnTo>
                  <a:lnTo>
                    <a:pt x="778" y="227"/>
                  </a:lnTo>
                  <a:lnTo>
                    <a:pt x="781" y="227"/>
                  </a:lnTo>
                  <a:lnTo>
                    <a:pt x="784" y="227"/>
                  </a:lnTo>
                  <a:lnTo>
                    <a:pt x="785" y="226"/>
                  </a:lnTo>
                  <a:lnTo>
                    <a:pt x="787" y="224"/>
                  </a:lnTo>
                  <a:lnTo>
                    <a:pt x="789" y="224"/>
                  </a:lnTo>
                  <a:lnTo>
                    <a:pt x="792" y="223"/>
                  </a:lnTo>
                  <a:lnTo>
                    <a:pt x="794" y="223"/>
                  </a:lnTo>
                  <a:lnTo>
                    <a:pt x="797" y="220"/>
                  </a:lnTo>
                  <a:lnTo>
                    <a:pt x="800" y="220"/>
                  </a:lnTo>
                  <a:lnTo>
                    <a:pt x="803" y="220"/>
                  </a:lnTo>
                  <a:lnTo>
                    <a:pt x="807" y="220"/>
                  </a:lnTo>
                  <a:lnTo>
                    <a:pt x="809" y="220"/>
                  </a:lnTo>
                  <a:lnTo>
                    <a:pt x="811" y="219"/>
                  </a:lnTo>
                  <a:lnTo>
                    <a:pt x="812" y="218"/>
                  </a:lnTo>
                  <a:lnTo>
                    <a:pt x="814" y="219"/>
                  </a:lnTo>
                  <a:lnTo>
                    <a:pt x="815" y="220"/>
                  </a:lnTo>
                  <a:lnTo>
                    <a:pt x="816" y="222"/>
                  </a:lnTo>
                  <a:lnTo>
                    <a:pt x="817" y="222"/>
                  </a:lnTo>
                  <a:lnTo>
                    <a:pt x="819" y="223"/>
                  </a:lnTo>
                  <a:lnTo>
                    <a:pt x="822" y="223"/>
                  </a:lnTo>
                  <a:lnTo>
                    <a:pt x="823" y="223"/>
                  </a:lnTo>
                  <a:lnTo>
                    <a:pt x="823" y="224"/>
                  </a:lnTo>
                  <a:lnTo>
                    <a:pt x="824" y="224"/>
                  </a:lnTo>
                  <a:lnTo>
                    <a:pt x="825" y="225"/>
                  </a:lnTo>
                  <a:lnTo>
                    <a:pt x="826" y="226"/>
                  </a:lnTo>
                  <a:lnTo>
                    <a:pt x="829" y="226"/>
                  </a:lnTo>
                  <a:lnTo>
                    <a:pt x="830" y="226"/>
                  </a:lnTo>
                  <a:lnTo>
                    <a:pt x="831" y="226"/>
                  </a:lnTo>
                  <a:lnTo>
                    <a:pt x="831" y="227"/>
                  </a:lnTo>
                  <a:lnTo>
                    <a:pt x="831" y="227"/>
                  </a:lnTo>
                  <a:lnTo>
                    <a:pt x="831" y="227"/>
                  </a:lnTo>
                  <a:lnTo>
                    <a:pt x="832" y="227"/>
                  </a:lnTo>
                  <a:lnTo>
                    <a:pt x="833" y="229"/>
                  </a:lnTo>
                  <a:lnTo>
                    <a:pt x="834" y="229"/>
                  </a:lnTo>
                  <a:lnTo>
                    <a:pt x="837" y="229"/>
                  </a:lnTo>
                  <a:lnTo>
                    <a:pt x="838" y="230"/>
                  </a:lnTo>
                  <a:lnTo>
                    <a:pt x="841" y="229"/>
                  </a:lnTo>
                  <a:lnTo>
                    <a:pt x="845" y="227"/>
                  </a:lnTo>
                  <a:lnTo>
                    <a:pt x="848" y="227"/>
                  </a:lnTo>
                  <a:lnTo>
                    <a:pt x="853" y="230"/>
                  </a:lnTo>
                  <a:lnTo>
                    <a:pt x="857" y="229"/>
                  </a:lnTo>
                  <a:lnTo>
                    <a:pt x="863" y="224"/>
                  </a:lnTo>
                  <a:lnTo>
                    <a:pt x="863" y="219"/>
                  </a:lnTo>
                  <a:lnTo>
                    <a:pt x="863" y="217"/>
                  </a:lnTo>
                  <a:lnTo>
                    <a:pt x="863" y="216"/>
                  </a:lnTo>
                  <a:lnTo>
                    <a:pt x="862" y="215"/>
                  </a:lnTo>
                  <a:lnTo>
                    <a:pt x="861" y="215"/>
                  </a:lnTo>
                  <a:lnTo>
                    <a:pt x="860" y="213"/>
                  </a:lnTo>
                  <a:lnTo>
                    <a:pt x="860" y="212"/>
                  </a:lnTo>
                  <a:lnTo>
                    <a:pt x="859" y="212"/>
                  </a:lnTo>
                  <a:lnTo>
                    <a:pt x="859" y="212"/>
                  </a:lnTo>
                  <a:lnTo>
                    <a:pt x="857" y="211"/>
                  </a:lnTo>
                  <a:lnTo>
                    <a:pt x="856" y="211"/>
                  </a:lnTo>
                  <a:lnTo>
                    <a:pt x="855" y="210"/>
                  </a:lnTo>
                  <a:lnTo>
                    <a:pt x="853" y="209"/>
                  </a:lnTo>
                  <a:lnTo>
                    <a:pt x="849" y="207"/>
                  </a:lnTo>
                  <a:lnTo>
                    <a:pt x="847" y="205"/>
                  </a:lnTo>
                  <a:lnTo>
                    <a:pt x="846" y="205"/>
                  </a:lnTo>
                  <a:lnTo>
                    <a:pt x="845" y="205"/>
                  </a:lnTo>
                  <a:lnTo>
                    <a:pt x="844" y="205"/>
                  </a:lnTo>
                  <a:lnTo>
                    <a:pt x="842" y="204"/>
                  </a:lnTo>
                  <a:lnTo>
                    <a:pt x="841" y="203"/>
                  </a:lnTo>
                  <a:lnTo>
                    <a:pt x="832" y="198"/>
                  </a:lnTo>
                  <a:lnTo>
                    <a:pt x="824" y="195"/>
                  </a:lnTo>
                  <a:lnTo>
                    <a:pt x="819" y="193"/>
                  </a:lnTo>
                  <a:lnTo>
                    <a:pt x="819" y="192"/>
                  </a:lnTo>
                  <a:lnTo>
                    <a:pt x="819" y="192"/>
                  </a:lnTo>
                  <a:lnTo>
                    <a:pt x="820" y="190"/>
                  </a:lnTo>
                  <a:lnTo>
                    <a:pt x="822" y="190"/>
                  </a:lnTo>
                  <a:lnTo>
                    <a:pt x="823" y="190"/>
                  </a:lnTo>
                  <a:lnTo>
                    <a:pt x="824" y="189"/>
                  </a:lnTo>
                  <a:lnTo>
                    <a:pt x="825" y="188"/>
                  </a:lnTo>
                  <a:lnTo>
                    <a:pt x="826" y="186"/>
                  </a:lnTo>
                  <a:lnTo>
                    <a:pt x="826" y="186"/>
                  </a:lnTo>
                  <a:lnTo>
                    <a:pt x="827" y="186"/>
                  </a:lnTo>
                  <a:lnTo>
                    <a:pt x="829" y="186"/>
                  </a:lnTo>
                  <a:lnTo>
                    <a:pt x="830" y="186"/>
                  </a:lnTo>
                  <a:lnTo>
                    <a:pt x="830" y="186"/>
                  </a:lnTo>
                  <a:lnTo>
                    <a:pt x="830" y="186"/>
                  </a:lnTo>
                  <a:lnTo>
                    <a:pt x="829" y="185"/>
                  </a:lnTo>
                  <a:lnTo>
                    <a:pt x="826" y="182"/>
                  </a:lnTo>
                  <a:lnTo>
                    <a:pt x="825" y="180"/>
                  </a:lnTo>
                  <a:lnTo>
                    <a:pt x="824" y="180"/>
                  </a:lnTo>
                  <a:lnTo>
                    <a:pt x="824" y="180"/>
                  </a:lnTo>
                  <a:lnTo>
                    <a:pt x="824" y="180"/>
                  </a:lnTo>
                  <a:lnTo>
                    <a:pt x="825" y="180"/>
                  </a:lnTo>
                  <a:lnTo>
                    <a:pt x="826" y="180"/>
                  </a:lnTo>
                  <a:lnTo>
                    <a:pt x="827" y="180"/>
                  </a:lnTo>
                  <a:lnTo>
                    <a:pt x="830" y="179"/>
                  </a:lnTo>
                  <a:lnTo>
                    <a:pt x="832" y="177"/>
                  </a:lnTo>
                  <a:lnTo>
                    <a:pt x="833" y="175"/>
                  </a:lnTo>
                  <a:lnTo>
                    <a:pt x="833" y="174"/>
                  </a:lnTo>
                  <a:lnTo>
                    <a:pt x="832" y="174"/>
                  </a:lnTo>
                  <a:lnTo>
                    <a:pt x="831" y="174"/>
                  </a:lnTo>
                  <a:lnTo>
                    <a:pt x="829" y="174"/>
                  </a:lnTo>
                  <a:lnTo>
                    <a:pt x="825" y="175"/>
                  </a:lnTo>
                  <a:lnTo>
                    <a:pt x="824" y="175"/>
                  </a:lnTo>
                  <a:lnTo>
                    <a:pt x="823" y="177"/>
                  </a:lnTo>
                  <a:lnTo>
                    <a:pt x="823" y="177"/>
                  </a:lnTo>
                  <a:lnTo>
                    <a:pt x="822" y="177"/>
                  </a:lnTo>
                  <a:lnTo>
                    <a:pt x="820" y="178"/>
                  </a:lnTo>
                  <a:lnTo>
                    <a:pt x="820" y="178"/>
                  </a:lnTo>
                  <a:lnTo>
                    <a:pt x="819" y="178"/>
                  </a:lnTo>
                  <a:lnTo>
                    <a:pt x="819" y="178"/>
                  </a:lnTo>
                  <a:lnTo>
                    <a:pt x="818" y="179"/>
                  </a:lnTo>
                  <a:lnTo>
                    <a:pt x="817" y="180"/>
                  </a:lnTo>
                  <a:lnTo>
                    <a:pt x="816" y="180"/>
                  </a:lnTo>
                  <a:lnTo>
                    <a:pt x="816" y="180"/>
                  </a:lnTo>
                  <a:lnTo>
                    <a:pt x="815" y="180"/>
                  </a:lnTo>
                  <a:lnTo>
                    <a:pt x="815" y="179"/>
                  </a:lnTo>
                  <a:lnTo>
                    <a:pt x="814" y="180"/>
                  </a:lnTo>
                  <a:lnTo>
                    <a:pt x="812" y="181"/>
                  </a:lnTo>
                  <a:lnTo>
                    <a:pt x="811" y="182"/>
                  </a:lnTo>
                  <a:lnTo>
                    <a:pt x="810" y="182"/>
                  </a:lnTo>
                  <a:lnTo>
                    <a:pt x="810" y="182"/>
                  </a:lnTo>
                  <a:lnTo>
                    <a:pt x="810" y="182"/>
                  </a:lnTo>
                  <a:lnTo>
                    <a:pt x="809" y="182"/>
                  </a:lnTo>
                  <a:lnTo>
                    <a:pt x="808" y="182"/>
                  </a:lnTo>
                  <a:lnTo>
                    <a:pt x="805" y="182"/>
                  </a:lnTo>
                  <a:lnTo>
                    <a:pt x="804" y="182"/>
                  </a:lnTo>
                  <a:lnTo>
                    <a:pt x="803" y="183"/>
                  </a:lnTo>
                  <a:lnTo>
                    <a:pt x="802" y="183"/>
                  </a:lnTo>
                  <a:lnTo>
                    <a:pt x="801" y="185"/>
                  </a:lnTo>
                  <a:lnTo>
                    <a:pt x="800" y="183"/>
                  </a:lnTo>
                  <a:lnTo>
                    <a:pt x="800" y="183"/>
                  </a:lnTo>
                  <a:lnTo>
                    <a:pt x="800" y="183"/>
                  </a:lnTo>
                  <a:lnTo>
                    <a:pt x="801" y="182"/>
                  </a:lnTo>
                  <a:lnTo>
                    <a:pt x="802" y="182"/>
                  </a:lnTo>
                  <a:lnTo>
                    <a:pt x="799" y="182"/>
                  </a:lnTo>
                  <a:lnTo>
                    <a:pt x="797" y="183"/>
                  </a:lnTo>
                  <a:lnTo>
                    <a:pt x="796" y="183"/>
                  </a:lnTo>
                  <a:lnTo>
                    <a:pt x="796" y="182"/>
                  </a:lnTo>
                  <a:lnTo>
                    <a:pt x="796" y="182"/>
                  </a:lnTo>
                  <a:lnTo>
                    <a:pt x="795" y="182"/>
                  </a:lnTo>
                  <a:lnTo>
                    <a:pt x="795" y="182"/>
                  </a:lnTo>
                  <a:lnTo>
                    <a:pt x="795" y="183"/>
                  </a:lnTo>
                  <a:lnTo>
                    <a:pt x="796" y="183"/>
                  </a:lnTo>
                  <a:lnTo>
                    <a:pt x="797" y="185"/>
                  </a:lnTo>
                  <a:lnTo>
                    <a:pt x="799" y="185"/>
                  </a:lnTo>
                  <a:lnTo>
                    <a:pt x="799" y="185"/>
                  </a:lnTo>
                  <a:lnTo>
                    <a:pt x="800" y="185"/>
                  </a:lnTo>
                  <a:lnTo>
                    <a:pt x="801" y="186"/>
                  </a:lnTo>
                  <a:lnTo>
                    <a:pt x="801" y="186"/>
                  </a:lnTo>
                  <a:lnTo>
                    <a:pt x="802" y="186"/>
                  </a:lnTo>
                  <a:lnTo>
                    <a:pt x="803" y="187"/>
                  </a:lnTo>
                  <a:lnTo>
                    <a:pt x="804" y="188"/>
                  </a:lnTo>
                  <a:lnTo>
                    <a:pt x="805" y="188"/>
                  </a:lnTo>
                  <a:lnTo>
                    <a:pt x="804" y="189"/>
                  </a:lnTo>
                  <a:lnTo>
                    <a:pt x="807" y="189"/>
                  </a:lnTo>
                  <a:lnTo>
                    <a:pt x="808" y="190"/>
                  </a:lnTo>
                  <a:lnTo>
                    <a:pt x="810" y="190"/>
                  </a:lnTo>
                  <a:lnTo>
                    <a:pt x="811" y="189"/>
                  </a:lnTo>
                  <a:lnTo>
                    <a:pt x="812" y="189"/>
                  </a:lnTo>
                  <a:lnTo>
                    <a:pt x="814" y="189"/>
                  </a:lnTo>
                  <a:lnTo>
                    <a:pt x="816" y="190"/>
                  </a:lnTo>
                  <a:lnTo>
                    <a:pt x="818" y="192"/>
                  </a:lnTo>
                  <a:lnTo>
                    <a:pt x="818" y="192"/>
                  </a:lnTo>
                  <a:lnTo>
                    <a:pt x="818" y="192"/>
                  </a:lnTo>
                  <a:lnTo>
                    <a:pt x="817" y="192"/>
                  </a:lnTo>
                  <a:lnTo>
                    <a:pt x="816" y="193"/>
                  </a:lnTo>
                  <a:lnTo>
                    <a:pt x="815" y="193"/>
                  </a:lnTo>
                  <a:lnTo>
                    <a:pt x="812" y="193"/>
                  </a:lnTo>
                  <a:lnTo>
                    <a:pt x="811" y="192"/>
                  </a:lnTo>
                  <a:lnTo>
                    <a:pt x="809" y="193"/>
                  </a:lnTo>
                  <a:lnTo>
                    <a:pt x="809" y="194"/>
                  </a:lnTo>
                  <a:lnTo>
                    <a:pt x="808" y="194"/>
                  </a:lnTo>
                  <a:lnTo>
                    <a:pt x="807" y="194"/>
                  </a:lnTo>
                  <a:lnTo>
                    <a:pt x="805" y="194"/>
                  </a:lnTo>
                  <a:lnTo>
                    <a:pt x="804" y="195"/>
                  </a:lnTo>
                  <a:lnTo>
                    <a:pt x="803" y="195"/>
                  </a:lnTo>
                  <a:lnTo>
                    <a:pt x="802" y="195"/>
                  </a:lnTo>
                  <a:lnTo>
                    <a:pt x="802" y="196"/>
                  </a:lnTo>
                  <a:lnTo>
                    <a:pt x="802" y="196"/>
                  </a:lnTo>
                  <a:lnTo>
                    <a:pt x="801" y="197"/>
                  </a:lnTo>
                  <a:lnTo>
                    <a:pt x="800" y="197"/>
                  </a:lnTo>
                  <a:lnTo>
                    <a:pt x="799" y="197"/>
                  </a:lnTo>
                  <a:lnTo>
                    <a:pt x="795" y="196"/>
                  </a:lnTo>
                  <a:lnTo>
                    <a:pt x="795" y="196"/>
                  </a:lnTo>
                  <a:lnTo>
                    <a:pt x="795" y="195"/>
                  </a:lnTo>
                  <a:lnTo>
                    <a:pt x="796" y="195"/>
                  </a:lnTo>
                  <a:lnTo>
                    <a:pt x="796" y="194"/>
                  </a:lnTo>
                  <a:lnTo>
                    <a:pt x="796" y="193"/>
                  </a:lnTo>
                  <a:lnTo>
                    <a:pt x="795" y="193"/>
                  </a:lnTo>
                  <a:lnTo>
                    <a:pt x="794" y="192"/>
                  </a:lnTo>
                  <a:lnTo>
                    <a:pt x="794" y="192"/>
                  </a:lnTo>
                  <a:lnTo>
                    <a:pt x="793" y="190"/>
                  </a:lnTo>
                  <a:lnTo>
                    <a:pt x="793" y="189"/>
                  </a:lnTo>
                  <a:lnTo>
                    <a:pt x="792" y="189"/>
                  </a:lnTo>
                  <a:lnTo>
                    <a:pt x="790" y="189"/>
                  </a:lnTo>
                  <a:lnTo>
                    <a:pt x="788" y="189"/>
                  </a:lnTo>
                  <a:lnTo>
                    <a:pt x="788" y="188"/>
                  </a:lnTo>
                  <a:lnTo>
                    <a:pt x="789" y="187"/>
                  </a:lnTo>
                  <a:lnTo>
                    <a:pt x="790" y="186"/>
                  </a:lnTo>
                  <a:lnTo>
                    <a:pt x="792" y="185"/>
                  </a:lnTo>
                  <a:lnTo>
                    <a:pt x="794" y="185"/>
                  </a:lnTo>
                  <a:lnTo>
                    <a:pt x="793" y="183"/>
                  </a:lnTo>
                  <a:lnTo>
                    <a:pt x="792" y="183"/>
                  </a:lnTo>
                  <a:lnTo>
                    <a:pt x="792" y="182"/>
                  </a:lnTo>
                  <a:lnTo>
                    <a:pt x="792" y="182"/>
                  </a:lnTo>
                  <a:lnTo>
                    <a:pt x="790" y="185"/>
                  </a:lnTo>
                  <a:lnTo>
                    <a:pt x="788" y="183"/>
                  </a:lnTo>
                  <a:lnTo>
                    <a:pt x="787" y="183"/>
                  </a:lnTo>
                  <a:lnTo>
                    <a:pt x="786" y="183"/>
                  </a:lnTo>
                  <a:lnTo>
                    <a:pt x="785" y="182"/>
                  </a:lnTo>
                  <a:lnTo>
                    <a:pt x="784" y="181"/>
                  </a:lnTo>
                  <a:lnTo>
                    <a:pt x="782" y="181"/>
                  </a:lnTo>
                  <a:lnTo>
                    <a:pt x="782" y="181"/>
                  </a:lnTo>
                  <a:lnTo>
                    <a:pt x="782" y="181"/>
                  </a:lnTo>
                  <a:lnTo>
                    <a:pt x="781" y="181"/>
                  </a:lnTo>
                  <a:lnTo>
                    <a:pt x="780" y="180"/>
                  </a:lnTo>
                  <a:lnTo>
                    <a:pt x="781" y="180"/>
                  </a:lnTo>
                  <a:lnTo>
                    <a:pt x="781" y="180"/>
                  </a:lnTo>
                  <a:lnTo>
                    <a:pt x="782" y="180"/>
                  </a:lnTo>
                  <a:lnTo>
                    <a:pt x="784" y="180"/>
                  </a:lnTo>
                  <a:lnTo>
                    <a:pt x="782" y="179"/>
                  </a:lnTo>
                  <a:lnTo>
                    <a:pt x="781" y="179"/>
                  </a:lnTo>
                  <a:lnTo>
                    <a:pt x="787" y="179"/>
                  </a:lnTo>
                  <a:lnTo>
                    <a:pt x="787" y="179"/>
                  </a:lnTo>
                  <a:lnTo>
                    <a:pt x="786" y="179"/>
                  </a:lnTo>
                  <a:lnTo>
                    <a:pt x="785" y="178"/>
                  </a:lnTo>
                  <a:lnTo>
                    <a:pt x="784" y="177"/>
                  </a:lnTo>
                  <a:lnTo>
                    <a:pt x="780" y="177"/>
                  </a:lnTo>
                  <a:lnTo>
                    <a:pt x="779" y="177"/>
                  </a:lnTo>
                  <a:lnTo>
                    <a:pt x="779" y="177"/>
                  </a:lnTo>
                  <a:lnTo>
                    <a:pt x="778" y="177"/>
                  </a:lnTo>
                  <a:lnTo>
                    <a:pt x="777" y="177"/>
                  </a:lnTo>
                  <a:lnTo>
                    <a:pt x="775" y="178"/>
                  </a:lnTo>
                  <a:lnTo>
                    <a:pt x="774" y="179"/>
                  </a:lnTo>
                  <a:lnTo>
                    <a:pt x="773" y="180"/>
                  </a:lnTo>
                  <a:lnTo>
                    <a:pt x="771" y="181"/>
                  </a:lnTo>
                  <a:lnTo>
                    <a:pt x="770" y="181"/>
                  </a:lnTo>
                  <a:lnTo>
                    <a:pt x="770" y="181"/>
                  </a:lnTo>
                  <a:lnTo>
                    <a:pt x="768" y="180"/>
                  </a:lnTo>
                  <a:lnTo>
                    <a:pt x="768" y="179"/>
                  </a:lnTo>
                  <a:lnTo>
                    <a:pt x="767" y="179"/>
                  </a:lnTo>
                  <a:lnTo>
                    <a:pt x="767" y="179"/>
                  </a:lnTo>
                  <a:lnTo>
                    <a:pt x="766" y="180"/>
                  </a:lnTo>
                  <a:lnTo>
                    <a:pt x="767" y="181"/>
                  </a:lnTo>
                  <a:lnTo>
                    <a:pt x="768" y="181"/>
                  </a:lnTo>
                  <a:lnTo>
                    <a:pt x="768" y="181"/>
                  </a:lnTo>
                  <a:lnTo>
                    <a:pt x="768" y="181"/>
                  </a:lnTo>
                  <a:lnTo>
                    <a:pt x="767" y="182"/>
                  </a:lnTo>
                  <a:lnTo>
                    <a:pt x="767" y="182"/>
                  </a:lnTo>
                  <a:lnTo>
                    <a:pt x="766" y="182"/>
                  </a:lnTo>
                  <a:lnTo>
                    <a:pt x="766" y="183"/>
                  </a:lnTo>
                  <a:lnTo>
                    <a:pt x="765" y="185"/>
                  </a:lnTo>
                  <a:lnTo>
                    <a:pt x="765" y="186"/>
                  </a:lnTo>
                  <a:lnTo>
                    <a:pt x="765" y="186"/>
                  </a:lnTo>
                  <a:lnTo>
                    <a:pt x="765" y="187"/>
                  </a:lnTo>
                  <a:lnTo>
                    <a:pt x="765" y="187"/>
                  </a:lnTo>
                  <a:lnTo>
                    <a:pt x="765" y="187"/>
                  </a:lnTo>
                  <a:lnTo>
                    <a:pt x="764" y="188"/>
                  </a:lnTo>
                  <a:lnTo>
                    <a:pt x="764" y="192"/>
                  </a:lnTo>
                  <a:lnTo>
                    <a:pt x="762" y="192"/>
                  </a:lnTo>
                  <a:lnTo>
                    <a:pt x="760" y="193"/>
                  </a:lnTo>
                  <a:lnTo>
                    <a:pt x="760" y="192"/>
                  </a:lnTo>
                  <a:lnTo>
                    <a:pt x="760" y="190"/>
                  </a:lnTo>
                  <a:lnTo>
                    <a:pt x="762" y="190"/>
                  </a:lnTo>
                  <a:lnTo>
                    <a:pt x="760" y="190"/>
                  </a:lnTo>
                  <a:lnTo>
                    <a:pt x="760" y="192"/>
                  </a:lnTo>
                  <a:lnTo>
                    <a:pt x="759" y="192"/>
                  </a:lnTo>
                  <a:lnTo>
                    <a:pt x="759" y="192"/>
                  </a:lnTo>
                  <a:lnTo>
                    <a:pt x="760" y="192"/>
                  </a:lnTo>
                  <a:lnTo>
                    <a:pt x="760" y="193"/>
                  </a:lnTo>
                  <a:lnTo>
                    <a:pt x="759" y="194"/>
                  </a:lnTo>
                  <a:lnTo>
                    <a:pt x="759" y="194"/>
                  </a:lnTo>
                  <a:lnTo>
                    <a:pt x="759" y="194"/>
                  </a:lnTo>
                  <a:lnTo>
                    <a:pt x="759" y="194"/>
                  </a:lnTo>
                  <a:lnTo>
                    <a:pt x="758" y="195"/>
                  </a:lnTo>
                  <a:lnTo>
                    <a:pt x="758" y="203"/>
                  </a:lnTo>
                  <a:lnTo>
                    <a:pt x="759" y="204"/>
                  </a:lnTo>
                  <a:lnTo>
                    <a:pt x="759" y="204"/>
                  </a:lnTo>
                  <a:lnTo>
                    <a:pt x="759" y="205"/>
                  </a:lnTo>
                  <a:lnTo>
                    <a:pt x="758" y="205"/>
                  </a:lnTo>
                  <a:lnTo>
                    <a:pt x="758" y="204"/>
                  </a:lnTo>
                  <a:lnTo>
                    <a:pt x="758" y="204"/>
                  </a:lnTo>
                  <a:lnTo>
                    <a:pt x="757" y="204"/>
                  </a:lnTo>
                  <a:lnTo>
                    <a:pt x="757" y="205"/>
                  </a:lnTo>
                  <a:lnTo>
                    <a:pt x="757" y="207"/>
                  </a:lnTo>
                  <a:lnTo>
                    <a:pt x="756" y="207"/>
                  </a:lnTo>
                  <a:lnTo>
                    <a:pt x="756" y="208"/>
                  </a:lnTo>
                  <a:lnTo>
                    <a:pt x="755" y="210"/>
                  </a:lnTo>
                  <a:lnTo>
                    <a:pt x="755" y="211"/>
                  </a:lnTo>
                  <a:lnTo>
                    <a:pt x="755" y="211"/>
                  </a:lnTo>
                  <a:lnTo>
                    <a:pt x="755" y="210"/>
                  </a:lnTo>
                  <a:lnTo>
                    <a:pt x="753" y="210"/>
                  </a:lnTo>
                  <a:lnTo>
                    <a:pt x="752" y="210"/>
                  </a:lnTo>
                  <a:lnTo>
                    <a:pt x="752" y="211"/>
                  </a:lnTo>
                  <a:lnTo>
                    <a:pt x="753" y="211"/>
                  </a:lnTo>
                  <a:lnTo>
                    <a:pt x="753" y="212"/>
                  </a:lnTo>
                  <a:lnTo>
                    <a:pt x="752" y="212"/>
                  </a:lnTo>
                  <a:lnTo>
                    <a:pt x="753" y="213"/>
                  </a:lnTo>
                  <a:lnTo>
                    <a:pt x="753" y="213"/>
                  </a:lnTo>
                  <a:lnTo>
                    <a:pt x="753" y="213"/>
                  </a:lnTo>
                  <a:lnTo>
                    <a:pt x="753" y="213"/>
                  </a:lnTo>
                  <a:lnTo>
                    <a:pt x="755" y="216"/>
                  </a:lnTo>
                  <a:lnTo>
                    <a:pt x="756" y="217"/>
                  </a:lnTo>
                  <a:lnTo>
                    <a:pt x="756" y="217"/>
                  </a:lnTo>
                  <a:lnTo>
                    <a:pt x="756" y="217"/>
                  </a:lnTo>
                  <a:lnTo>
                    <a:pt x="755" y="217"/>
                  </a:lnTo>
                  <a:lnTo>
                    <a:pt x="756" y="217"/>
                  </a:lnTo>
                  <a:lnTo>
                    <a:pt x="756" y="217"/>
                  </a:lnTo>
                  <a:lnTo>
                    <a:pt x="756" y="218"/>
                  </a:lnTo>
                  <a:lnTo>
                    <a:pt x="757" y="219"/>
                  </a:lnTo>
                  <a:lnTo>
                    <a:pt x="757" y="220"/>
                  </a:lnTo>
                  <a:lnTo>
                    <a:pt x="759" y="222"/>
                  </a:lnTo>
                  <a:lnTo>
                    <a:pt x="762" y="223"/>
                  </a:lnTo>
                  <a:lnTo>
                    <a:pt x="764" y="224"/>
                  </a:lnTo>
                  <a:lnTo>
                    <a:pt x="765" y="225"/>
                  </a:lnTo>
                  <a:lnTo>
                    <a:pt x="766" y="225"/>
                  </a:lnTo>
                  <a:lnTo>
                    <a:pt x="767" y="225"/>
                  </a:lnTo>
                  <a:lnTo>
                    <a:pt x="767" y="226"/>
                  </a:lnTo>
                  <a:lnTo>
                    <a:pt x="766" y="227"/>
                  </a:lnTo>
                  <a:lnTo>
                    <a:pt x="765" y="227"/>
                  </a:lnTo>
                  <a:lnTo>
                    <a:pt x="764" y="227"/>
                  </a:lnTo>
                  <a:lnTo>
                    <a:pt x="763" y="227"/>
                  </a:lnTo>
                  <a:lnTo>
                    <a:pt x="762" y="227"/>
                  </a:lnTo>
                  <a:lnTo>
                    <a:pt x="762" y="227"/>
                  </a:lnTo>
                  <a:lnTo>
                    <a:pt x="760" y="227"/>
                  </a:lnTo>
                  <a:lnTo>
                    <a:pt x="759" y="226"/>
                  </a:lnTo>
                  <a:lnTo>
                    <a:pt x="758" y="226"/>
                  </a:lnTo>
                  <a:lnTo>
                    <a:pt x="758" y="226"/>
                  </a:lnTo>
                  <a:lnTo>
                    <a:pt x="757" y="227"/>
                  </a:lnTo>
                  <a:lnTo>
                    <a:pt x="757" y="227"/>
                  </a:lnTo>
                  <a:lnTo>
                    <a:pt x="757" y="227"/>
                  </a:lnTo>
                  <a:lnTo>
                    <a:pt x="756" y="229"/>
                  </a:lnTo>
                  <a:lnTo>
                    <a:pt x="756" y="230"/>
                  </a:lnTo>
                  <a:lnTo>
                    <a:pt x="756" y="230"/>
                  </a:lnTo>
                  <a:lnTo>
                    <a:pt x="755" y="231"/>
                  </a:lnTo>
                  <a:lnTo>
                    <a:pt x="752" y="232"/>
                  </a:lnTo>
                  <a:lnTo>
                    <a:pt x="751" y="232"/>
                  </a:lnTo>
                  <a:lnTo>
                    <a:pt x="750" y="233"/>
                  </a:lnTo>
                  <a:lnTo>
                    <a:pt x="750" y="233"/>
                  </a:lnTo>
                  <a:lnTo>
                    <a:pt x="749" y="234"/>
                  </a:lnTo>
                  <a:lnTo>
                    <a:pt x="748" y="234"/>
                  </a:lnTo>
                  <a:lnTo>
                    <a:pt x="747" y="234"/>
                  </a:lnTo>
                  <a:lnTo>
                    <a:pt x="745" y="234"/>
                  </a:lnTo>
                  <a:lnTo>
                    <a:pt x="747" y="233"/>
                  </a:lnTo>
                  <a:lnTo>
                    <a:pt x="748" y="233"/>
                  </a:lnTo>
                  <a:lnTo>
                    <a:pt x="748" y="232"/>
                  </a:lnTo>
                  <a:lnTo>
                    <a:pt x="749" y="232"/>
                  </a:lnTo>
                  <a:lnTo>
                    <a:pt x="750" y="231"/>
                  </a:lnTo>
                  <a:lnTo>
                    <a:pt x="751" y="231"/>
                  </a:lnTo>
                  <a:lnTo>
                    <a:pt x="751" y="231"/>
                  </a:lnTo>
                  <a:lnTo>
                    <a:pt x="751" y="230"/>
                  </a:lnTo>
                  <a:lnTo>
                    <a:pt x="750" y="230"/>
                  </a:lnTo>
                  <a:lnTo>
                    <a:pt x="749" y="231"/>
                  </a:lnTo>
                  <a:lnTo>
                    <a:pt x="748" y="231"/>
                  </a:lnTo>
                  <a:lnTo>
                    <a:pt x="748" y="232"/>
                  </a:lnTo>
                  <a:lnTo>
                    <a:pt x="747" y="233"/>
                  </a:lnTo>
                  <a:lnTo>
                    <a:pt x="745" y="232"/>
                  </a:lnTo>
                  <a:lnTo>
                    <a:pt x="744" y="231"/>
                  </a:lnTo>
                  <a:lnTo>
                    <a:pt x="744" y="230"/>
                  </a:lnTo>
                  <a:lnTo>
                    <a:pt x="743" y="230"/>
                  </a:lnTo>
                  <a:lnTo>
                    <a:pt x="742" y="230"/>
                  </a:lnTo>
                  <a:lnTo>
                    <a:pt x="741" y="229"/>
                  </a:lnTo>
                  <a:lnTo>
                    <a:pt x="741" y="229"/>
                  </a:lnTo>
                  <a:lnTo>
                    <a:pt x="741" y="227"/>
                  </a:lnTo>
                  <a:lnTo>
                    <a:pt x="741" y="227"/>
                  </a:lnTo>
                  <a:lnTo>
                    <a:pt x="741" y="229"/>
                  </a:lnTo>
                  <a:lnTo>
                    <a:pt x="741" y="229"/>
                  </a:lnTo>
                  <a:lnTo>
                    <a:pt x="738" y="229"/>
                  </a:lnTo>
                  <a:lnTo>
                    <a:pt x="737" y="230"/>
                  </a:lnTo>
                  <a:lnTo>
                    <a:pt x="736" y="230"/>
                  </a:lnTo>
                  <a:lnTo>
                    <a:pt x="735" y="229"/>
                  </a:lnTo>
                  <a:lnTo>
                    <a:pt x="734" y="229"/>
                  </a:lnTo>
                  <a:lnTo>
                    <a:pt x="734" y="229"/>
                  </a:lnTo>
                  <a:lnTo>
                    <a:pt x="734" y="229"/>
                  </a:lnTo>
                  <a:lnTo>
                    <a:pt x="734" y="227"/>
                  </a:lnTo>
                  <a:lnTo>
                    <a:pt x="730" y="227"/>
                  </a:lnTo>
                  <a:lnTo>
                    <a:pt x="730" y="229"/>
                  </a:lnTo>
                  <a:lnTo>
                    <a:pt x="729" y="229"/>
                  </a:lnTo>
                  <a:lnTo>
                    <a:pt x="729" y="229"/>
                  </a:lnTo>
                  <a:lnTo>
                    <a:pt x="729" y="230"/>
                  </a:lnTo>
                  <a:lnTo>
                    <a:pt x="728" y="230"/>
                  </a:lnTo>
                  <a:lnTo>
                    <a:pt x="727" y="231"/>
                  </a:lnTo>
                  <a:lnTo>
                    <a:pt x="726" y="231"/>
                  </a:lnTo>
                  <a:lnTo>
                    <a:pt x="726" y="231"/>
                  </a:lnTo>
                  <a:lnTo>
                    <a:pt x="726" y="233"/>
                  </a:lnTo>
                  <a:lnTo>
                    <a:pt x="726" y="233"/>
                  </a:lnTo>
                  <a:lnTo>
                    <a:pt x="727" y="234"/>
                  </a:lnTo>
                  <a:lnTo>
                    <a:pt x="726" y="234"/>
                  </a:lnTo>
                  <a:lnTo>
                    <a:pt x="726" y="234"/>
                  </a:lnTo>
                  <a:lnTo>
                    <a:pt x="725" y="233"/>
                  </a:lnTo>
                  <a:lnTo>
                    <a:pt x="725" y="233"/>
                  </a:lnTo>
                  <a:lnTo>
                    <a:pt x="723" y="233"/>
                  </a:lnTo>
                  <a:lnTo>
                    <a:pt x="723" y="234"/>
                  </a:lnTo>
                  <a:lnTo>
                    <a:pt x="723" y="235"/>
                  </a:lnTo>
                  <a:lnTo>
                    <a:pt x="723" y="235"/>
                  </a:lnTo>
                  <a:lnTo>
                    <a:pt x="722" y="235"/>
                  </a:lnTo>
                  <a:lnTo>
                    <a:pt x="722" y="234"/>
                  </a:lnTo>
                  <a:lnTo>
                    <a:pt x="721" y="234"/>
                  </a:lnTo>
                  <a:lnTo>
                    <a:pt x="721" y="234"/>
                  </a:lnTo>
                  <a:lnTo>
                    <a:pt x="721" y="234"/>
                  </a:lnTo>
                  <a:lnTo>
                    <a:pt x="722" y="233"/>
                  </a:lnTo>
                  <a:lnTo>
                    <a:pt x="720" y="233"/>
                  </a:lnTo>
                  <a:lnTo>
                    <a:pt x="719" y="233"/>
                  </a:lnTo>
                  <a:lnTo>
                    <a:pt x="719" y="233"/>
                  </a:lnTo>
                  <a:lnTo>
                    <a:pt x="719" y="233"/>
                  </a:lnTo>
                  <a:lnTo>
                    <a:pt x="718" y="232"/>
                  </a:lnTo>
                  <a:lnTo>
                    <a:pt x="718" y="231"/>
                  </a:lnTo>
                  <a:lnTo>
                    <a:pt x="717" y="231"/>
                  </a:lnTo>
                  <a:lnTo>
                    <a:pt x="718" y="232"/>
                  </a:lnTo>
                  <a:lnTo>
                    <a:pt x="718" y="233"/>
                  </a:lnTo>
                  <a:lnTo>
                    <a:pt x="717" y="233"/>
                  </a:lnTo>
                  <a:lnTo>
                    <a:pt x="717" y="234"/>
                  </a:lnTo>
                  <a:lnTo>
                    <a:pt x="717" y="235"/>
                  </a:lnTo>
                  <a:lnTo>
                    <a:pt x="717" y="235"/>
                  </a:lnTo>
                  <a:lnTo>
                    <a:pt x="719" y="237"/>
                  </a:lnTo>
                  <a:lnTo>
                    <a:pt x="719" y="238"/>
                  </a:lnTo>
                  <a:lnTo>
                    <a:pt x="719" y="238"/>
                  </a:lnTo>
                  <a:lnTo>
                    <a:pt x="719" y="238"/>
                  </a:lnTo>
                  <a:lnTo>
                    <a:pt x="720" y="238"/>
                  </a:lnTo>
                  <a:lnTo>
                    <a:pt x="721" y="240"/>
                  </a:lnTo>
                  <a:lnTo>
                    <a:pt x="721" y="241"/>
                  </a:lnTo>
                  <a:lnTo>
                    <a:pt x="722" y="241"/>
                  </a:lnTo>
                  <a:lnTo>
                    <a:pt x="722" y="241"/>
                  </a:lnTo>
                  <a:lnTo>
                    <a:pt x="721" y="242"/>
                  </a:lnTo>
                  <a:lnTo>
                    <a:pt x="720" y="242"/>
                  </a:lnTo>
                  <a:lnTo>
                    <a:pt x="720" y="242"/>
                  </a:lnTo>
                  <a:lnTo>
                    <a:pt x="720" y="241"/>
                  </a:lnTo>
                  <a:lnTo>
                    <a:pt x="720" y="240"/>
                  </a:lnTo>
                  <a:lnTo>
                    <a:pt x="719" y="240"/>
                  </a:lnTo>
                  <a:lnTo>
                    <a:pt x="718" y="240"/>
                  </a:lnTo>
                  <a:lnTo>
                    <a:pt x="718" y="241"/>
                  </a:lnTo>
                  <a:lnTo>
                    <a:pt x="719" y="241"/>
                  </a:lnTo>
                  <a:lnTo>
                    <a:pt x="719" y="242"/>
                  </a:lnTo>
                  <a:lnTo>
                    <a:pt x="720" y="242"/>
                  </a:lnTo>
                  <a:lnTo>
                    <a:pt x="719" y="242"/>
                  </a:lnTo>
                  <a:lnTo>
                    <a:pt x="719" y="244"/>
                  </a:lnTo>
                  <a:lnTo>
                    <a:pt x="719" y="244"/>
                  </a:lnTo>
                  <a:lnTo>
                    <a:pt x="720" y="245"/>
                  </a:lnTo>
                  <a:lnTo>
                    <a:pt x="720" y="245"/>
                  </a:lnTo>
                  <a:lnTo>
                    <a:pt x="720" y="245"/>
                  </a:lnTo>
                  <a:lnTo>
                    <a:pt x="720" y="246"/>
                  </a:lnTo>
                  <a:lnTo>
                    <a:pt x="720" y="246"/>
                  </a:lnTo>
                  <a:lnTo>
                    <a:pt x="720" y="247"/>
                  </a:lnTo>
                  <a:lnTo>
                    <a:pt x="720" y="248"/>
                  </a:lnTo>
                  <a:lnTo>
                    <a:pt x="720" y="248"/>
                  </a:lnTo>
                  <a:lnTo>
                    <a:pt x="721" y="248"/>
                  </a:lnTo>
                  <a:lnTo>
                    <a:pt x="722" y="248"/>
                  </a:lnTo>
                  <a:lnTo>
                    <a:pt x="723" y="248"/>
                  </a:lnTo>
                  <a:lnTo>
                    <a:pt x="723" y="248"/>
                  </a:lnTo>
                  <a:lnTo>
                    <a:pt x="725" y="249"/>
                  </a:lnTo>
                  <a:lnTo>
                    <a:pt x="726" y="250"/>
                  </a:lnTo>
                  <a:lnTo>
                    <a:pt x="726" y="250"/>
                  </a:lnTo>
                  <a:lnTo>
                    <a:pt x="727" y="250"/>
                  </a:lnTo>
                  <a:lnTo>
                    <a:pt x="728" y="250"/>
                  </a:lnTo>
                  <a:lnTo>
                    <a:pt x="729" y="252"/>
                  </a:lnTo>
                  <a:lnTo>
                    <a:pt x="729" y="253"/>
                  </a:lnTo>
                  <a:lnTo>
                    <a:pt x="730" y="254"/>
                  </a:lnTo>
                  <a:lnTo>
                    <a:pt x="732" y="255"/>
                  </a:lnTo>
                  <a:lnTo>
                    <a:pt x="732" y="255"/>
                  </a:lnTo>
                  <a:lnTo>
                    <a:pt x="732" y="255"/>
                  </a:lnTo>
                  <a:lnTo>
                    <a:pt x="730" y="256"/>
                  </a:lnTo>
                  <a:lnTo>
                    <a:pt x="730" y="257"/>
                  </a:lnTo>
                  <a:lnTo>
                    <a:pt x="730" y="257"/>
                  </a:lnTo>
                  <a:lnTo>
                    <a:pt x="730" y="257"/>
                  </a:lnTo>
                  <a:lnTo>
                    <a:pt x="729" y="256"/>
                  </a:lnTo>
                  <a:lnTo>
                    <a:pt x="729" y="256"/>
                  </a:lnTo>
                  <a:lnTo>
                    <a:pt x="729" y="255"/>
                  </a:lnTo>
                  <a:lnTo>
                    <a:pt x="723" y="255"/>
                  </a:lnTo>
                  <a:lnTo>
                    <a:pt x="725" y="256"/>
                  </a:lnTo>
                  <a:lnTo>
                    <a:pt x="725" y="257"/>
                  </a:lnTo>
                  <a:lnTo>
                    <a:pt x="725" y="257"/>
                  </a:lnTo>
                  <a:lnTo>
                    <a:pt x="726" y="257"/>
                  </a:lnTo>
                  <a:lnTo>
                    <a:pt x="726" y="259"/>
                  </a:lnTo>
                  <a:lnTo>
                    <a:pt x="726" y="259"/>
                  </a:lnTo>
                  <a:lnTo>
                    <a:pt x="726" y="259"/>
                  </a:lnTo>
                  <a:lnTo>
                    <a:pt x="726" y="259"/>
                  </a:lnTo>
                  <a:lnTo>
                    <a:pt x="725" y="260"/>
                  </a:lnTo>
                  <a:lnTo>
                    <a:pt x="723" y="261"/>
                  </a:lnTo>
                  <a:lnTo>
                    <a:pt x="723" y="261"/>
                  </a:lnTo>
                  <a:lnTo>
                    <a:pt x="723" y="261"/>
                  </a:lnTo>
                  <a:lnTo>
                    <a:pt x="723" y="260"/>
                  </a:lnTo>
                  <a:lnTo>
                    <a:pt x="722" y="260"/>
                  </a:lnTo>
                  <a:lnTo>
                    <a:pt x="722" y="259"/>
                  </a:lnTo>
                  <a:lnTo>
                    <a:pt x="721" y="260"/>
                  </a:lnTo>
                  <a:lnTo>
                    <a:pt x="721" y="260"/>
                  </a:lnTo>
                  <a:lnTo>
                    <a:pt x="721" y="261"/>
                  </a:lnTo>
                  <a:lnTo>
                    <a:pt x="722" y="261"/>
                  </a:lnTo>
                  <a:lnTo>
                    <a:pt x="722" y="262"/>
                  </a:lnTo>
                  <a:lnTo>
                    <a:pt x="722" y="262"/>
                  </a:lnTo>
                  <a:lnTo>
                    <a:pt x="722" y="263"/>
                  </a:lnTo>
                  <a:lnTo>
                    <a:pt x="723" y="264"/>
                  </a:lnTo>
                  <a:lnTo>
                    <a:pt x="723" y="267"/>
                  </a:lnTo>
                  <a:lnTo>
                    <a:pt x="723" y="267"/>
                  </a:lnTo>
                  <a:lnTo>
                    <a:pt x="725" y="268"/>
                  </a:lnTo>
                  <a:lnTo>
                    <a:pt x="725" y="269"/>
                  </a:lnTo>
                  <a:lnTo>
                    <a:pt x="725" y="269"/>
                  </a:lnTo>
                  <a:lnTo>
                    <a:pt x="723" y="268"/>
                  </a:lnTo>
                  <a:lnTo>
                    <a:pt x="722" y="267"/>
                  </a:lnTo>
                  <a:lnTo>
                    <a:pt x="722" y="267"/>
                  </a:lnTo>
                  <a:lnTo>
                    <a:pt x="722" y="267"/>
                  </a:lnTo>
                  <a:lnTo>
                    <a:pt x="722" y="268"/>
                  </a:lnTo>
                  <a:lnTo>
                    <a:pt x="721" y="268"/>
                  </a:lnTo>
                  <a:lnTo>
                    <a:pt x="721" y="269"/>
                  </a:lnTo>
                  <a:lnTo>
                    <a:pt x="720" y="269"/>
                  </a:lnTo>
                  <a:lnTo>
                    <a:pt x="720" y="268"/>
                  </a:lnTo>
                  <a:lnTo>
                    <a:pt x="720" y="267"/>
                  </a:lnTo>
                  <a:lnTo>
                    <a:pt x="720" y="265"/>
                  </a:lnTo>
                  <a:lnTo>
                    <a:pt x="719" y="265"/>
                  </a:lnTo>
                  <a:lnTo>
                    <a:pt x="719" y="267"/>
                  </a:lnTo>
                  <a:lnTo>
                    <a:pt x="718" y="267"/>
                  </a:lnTo>
                  <a:lnTo>
                    <a:pt x="718" y="265"/>
                  </a:lnTo>
                  <a:lnTo>
                    <a:pt x="717" y="264"/>
                  </a:lnTo>
                  <a:lnTo>
                    <a:pt x="715" y="263"/>
                  </a:lnTo>
                  <a:lnTo>
                    <a:pt x="714" y="263"/>
                  </a:lnTo>
                  <a:lnTo>
                    <a:pt x="713" y="262"/>
                  </a:lnTo>
                  <a:lnTo>
                    <a:pt x="712" y="262"/>
                  </a:lnTo>
                  <a:lnTo>
                    <a:pt x="712" y="262"/>
                  </a:lnTo>
                  <a:lnTo>
                    <a:pt x="713" y="261"/>
                  </a:lnTo>
                  <a:lnTo>
                    <a:pt x="713" y="261"/>
                  </a:lnTo>
                  <a:lnTo>
                    <a:pt x="713" y="260"/>
                  </a:lnTo>
                  <a:lnTo>
                    <a:pt x="713" y="259"/>
                  </a:lnTo>
                  <a:lnTo>
                    <a:pt x="712" y="257"/>
                  </a:lnTo>
                  <a:lnTo>
                    <a:pt x="711" y="257"/>
                  </a:lnTo>
                  <a:lnTo>
                    <a:pt x="710" y="257"/>
                  </a:lnTo>
                  <a:lnTo>
                    <a:pt x="710" y="256"/>
                  </a:lnTo>
                  <a:lnTo>
                    <a:pt x="710" y="256"/>
                  </a:lnTo>
                  <a:lnTo>
                    <a:pt x="707" y="255"/>
                  </a:lnTo>
                  <a:lnTo>
                    <a:pt x="707" y="255"/>
                  </a:lnTo>
                  <a:lnTo>
                    <a:pt x="707" y="254"/>
                  </a:lnTo>
                  <a:lnTo>
                    <a:pt x="707" y="254"/>
                  </a:lnTo>
                  <a:lnTo>
                    <a:pt x="707" y="254"/>
                  </a:lnTo>
                  <a:lnTo>
                    <a:pt x="708" y="254"/>
                  </a:lnTo>
                  <a:lnTo>
                    <a:pt x="710" y="253"/>
                  </a:lnTo>
                  <a:lnTo>
                    <a:pt x="710" y="252"/>
                  </a:lnTo>
                  <a:lnTo>
                    <a:pt x="711" y="252"/>
                  </a:lnTo>
                  <a:lnTo>
                    <a:pt x="711" y="252"/>
                  </a:lnTo>
                  <a:lnTo>
                    <a:pt x="712" y="252"/>
                  </a:lnTo>
                  <a:lnTo>
                    <a:pt x="713" y="252"/>
                  </a:lnTo>
                  <a:lnTo>
                    <a:pt x="714" y="252"/>
                  </a:lnTo>
                  <a:lnTo>
                    <a:pt x="715" y="252"/>
                  </a:lnTo>
                  <a:lnTo>
                    <a:pt x="717" y="253"/>
                  </a:lnTo>
                  <a:lnTo>
                    <a:pt x="717" y="253"/>
                  </a:lnTo>
                  <a:lnTo>
                    <a:pt x="718" y="253"/>
                  </a:lnTo>
                  <a:lnTo>
                    <a:pt x="718" y="253"/>
                  </a:lnTo>
                  <a:lnTo>
                    <a:pt x="719" y="252"/>
                  </a:lnTo>
                  <a:lnTo>
                    <a:pt x="720" y="254"/>
                  </a:lnTo>
                  <a:lnTo>
                    <a:pt x="721" y="254"/>
                  </a:lnTo>
                  <a:lnTo>
                    <a:pt x="721" y="255"/>
                  </a:lnTo>
                  <a:lnTo>
                    <a:pt x="722" y="254"/>
                  </a:lnTo>
                  <a:lnTo>
                    <a:pt x="721" y="253"/>
                  </a:lnTo>
                  <a:lnTo>
                    <a:pt x="721" y="253"/>
                  </a:lnTo>
                  <a:lnTo>
                    <a:pt x="722" y="253"/>
                  </a:lnTo>
                  <a:lnTo>
                    <a:pt x="722" y="252"/>
                  </a:lnTo>
                  <a:lnTo>
                    <a:pt x="722" y="252"/>
                  </a:lnTo>
                  <a:lnTo>
                    <a:pt x="721" y="253"/>
                  </a:lnTo>
                  <a:lnTo>
                    <a:pt x="720" y="253"/>
                  </a:lnTo>
                  <a:lnTo>
                    <a:pt x="719" y="253"/>
                  </a:lnTo>
                  <a:lnTo>
                    <a:pt x="719" y="252"/>
                  </a:lnTo>
                  <a:lnTo>
                    <a:pt x="717" y="250"/>
                  </a:lnTo>
                  <a:lnTo>
                    <a:pt x="715" y="250"/>
                  </a:lnTo>
                  <a:lnTo>
                    <a:pt x="715" y="250"/>
                  </a:lnTo>
                  <a:lnTo>
                    <a:pt x="713" y="250"/>
                  </a:lnTo>
                  <a:lnTo>
                    <a:pt x="712" y="250"/>
                  </a:lnTo>
                  <a:lnTo>
                    <a:pt x="711" y="250"/>
                  </a:lnTo>
                  <a:lnTo>
                    <a:pt x="711" y="249"/>
                  </a:lnTo>
                  <a:lnTo>
                    <a:pt x="710" y="250"/>
                  </a:lnTo>
                  <a:lnTo>
                    <a:pt x="710" y="252"/>
                  </a:lnTo>
                  <a:lnTo>
                    <a:pt x="708" y="252"/>
                  </a:lnTo>
                  <a:lnTo>
                    <a:pt x="708" y="252"/>
                  </a:lnTo>
                  <a:lnTo>
                    <a:pt x="707" y="250"/>
                  </a:lnTo>
                  <a:lnTo>
                    <a:pt x="707" y="249"/>
                  </a:lnTo>
                  <a:lnTo>
                    <a:pt x="707" y="248"/>
                  </a:lnTo>
                  <a:lnTo>
                    <a:pt x="706" y="248"/>
                  </a:lnTo>
                  <a:lnTo>
                    <a:pt x="706" y="247"/>
                  </a:lnTo>
                  <a:lnTo>
                    <a:pt x="707" y="247"/>
                  </a:lnTo>
                  <a:lnTo>
                    <a:pt x="707" y="245"/>
                  </a:lnTo>
                  <a:lnTo>
                    <a:pt x="707" y="246"/>
                  </a:lnTo>
                  <a:lnTo>
                    <a:pt x="706" y="246"/>
                  </a:lnTo>
                  <a:lnTo>
                    <a:pt x="706" y="245"/>
                  </a:lnTo>
                  <a:lnTo>
                    <a:pt x="706" y="245"/>
                  </a:lnTo>
                  <a:lnTo>
                    <a:pt x="706" y="245"/>
                  </a:lnTo>
                  <a:lnTo>
                    <a:pt x="706" y="246"/>
                  </a:lnTo>
                  <a:lnTo>
                    <a:pt x="705" y="247"/>
                  </a:lnTo>
                  <a:lnTo>
                    <a:pt x="704" y="247"/>
                  </a:lnTo>
                  <a:lnTo>
                    <a:pt x="704" y="246"/>
                  </a:lnTo>
                  <a:lnTo>
                    <a:pt x="704" y="245"/>
                  </a:lnTo>
                  <a:lnTo>
                    <a:pt x="703" y="245"/>
                  </a:lnTo>
                  <a:lnTo>
                    <a:pt x="703" y="244"/>
                  </a:lnTo>
                  <a:lnTo>
                    <a:pt x="703" y="242"/>
                  </a:lnTo>
                  <a:lnTo>
                    <a:pt x="702" y="242"/>
                  </a:lnTo>
                  <a:lnTo>
                    <a:pt x="700" y="241"/>
                  </a:lnTo>
                  <a:lnTo>
                    <a:pt x="700" y="241"/>
                  </a:lnTo>
                  <a:lnTo>
                    <a:pt x="699" y="240"/>
                  </a:lnTo>
                  <a:lnTo>
                    <a:pt x="698" y="240"/>
                  </a:lnTo>
                  <a:lnTo>
                    <a:pt x="697" y="240"/>
                  </a:lnTo>
                  <a:lnTo>
                    <a:pt x="697" y="238"/>
                  </a:lnTo>
                  <a:lnTo>
                    <a:pt x="697" y="238"/>
                  </a:lnTo>
                  <a:lnTo>
                    <a:pt x="696" y="237"/>
                  </a:lnTo>
                  <a:lnTo>
                    <a:pt x="695" y="235"/>
                  </a:lnTo>
                  <a:lnTo>
                    <a:pt x="693" y="234"/>
                  </a:lnTo>
                  <a:lnTo>
                    <a:pt x="693" y="234"/>
                  </a:lnTo>
                  <a:lnTo>
                    <a:pt x="692" y="234"/>
                  </a:lnTo>
                  <a:lnTo>
                    <a:pt x="690" y="233"/>
                  </a:lnTo>
                  <a:lnTo>
                    <a:pt x="690" y="232"/>
                  </a:lnTo>
                  <a:lnTo>
                    <a:pt x="690" y="232"/>
                  </a:lnTo>
                  <a:lnTo>
                    <a:pt x="689" y="231"/>
                  </a:lnTo>
                  <a:lnTo>
                    <a:pt x="689" y="231"/>
                  </a:lnTo>
                  <a:lnTo>
                    <a:pt x="689" y="230"/>
                  </a:lnTo>
                  <a:lnTo>
                    <a:pt x="689" y="229"/>
                  </a:lnTo>
                  <a:lnTo>
                    <a:pt x="689" y="229"/>
                  </a:lnTo>
                  <a:lnTo>
                    <a:pt x="690" y="230"/>
                  </a:lnTo>
                  <a:lnTo>
                    <a:pt x="690" y="230"/>
                  </a:lnTo>
                  <a:lnTo>
                    <a:pt x="690" y="230"/>
                  </a:lnTo>
                  <a:lnTo>
                    <a:pt x="691" y="231"/>
                  </a:lnTo>
                  <a:lnTo>
                    <a:pt x="692" y="231"/>
                  </a:lnTo>
                  <a:lnTo>
                    <a:pt x="692" y="231"/>
                  </a:lnTo>
                  <a:lnTo>
                    <a:pt x="692" y="230"/>
                  </a:lnTo>
                  <a:lnTo>
                    <a:pt x="691" y="230"/>
                  </a:lnTo>
                  <a:lnTo>
                    <a:pt x="690" y="230"/>
                  </a:lnTo>
                  <a:lnTo>
                    <a:pt x="689" y="229"/>
                  </a:lnTo>
                  <a:lnTo>
                    <a:pt x="689" y="229"/>
                  </a:lnTo>
                  <a:lnTo>
                    <a:pt x="689" y="229"/>
                  </a:lnTo>
                  <a:lnTo>
                    <a:pt x="689" y="227"/>
                  </a:lnTo>
                  <a:lnTo>
                    <a:pt x="689" y="224"/>
                  </a:lnTo>
                  <a:lnTo>
                    <a:pt x="690" y="224"/>
                  </a:lnTo>
                  <a:lnTo>
                    <a:pt x="690" y="224"/>
                  </a:lnTo>
                  <a:lnTo>
                    <a:pt x="690" y="223"/>
                  </a:lnTo>
                  <a:lnTo>
                    <a:pt x="690" y="223"/>
                  </a:lnTo>
                  <a:lnTo>
                    <a:pt x="689" y="223"/>
                  </a:lnTo>
                  <a:lnTo>
                    <a:pt x="689" y="222"/>
                  </a:lnTo>
                  <a:lnTo>
                    <a:pt x="689" y="220"/>
                  </a:lnTo>
                  <a:lnTo>
                    <a:pt x="689" y="219"/>
                  </a:lnTo>
                  <a:lnTo>
                    <a:pt x="688" y="218"/>
                  </a:lnTo>
                  <a:lnTo>
                    <a:pt x="688" y="217"/>
                  </a:lnTo>
                  <a:lnTo>
                    <a:pt x="687" y="217"/>
                  </a:lnTo>
                  <a:lnTo>
                    <a:pt x="688" y="217"/>
                  </a:lnTo>
                  <a:lnTo>
                    <a:pt x="689" y="216"/>
                  </a:lnTo>
                  <a:lnTo>
                    <a:pt x="689" y="216"/>
                  </a:lnTo>
                  <a:lnTo>
                    <a:pt x="689" y="216"/>
                  </a:lnTo>
                  <a:lnTo>
                    <a:pt x="687" y="216"/>
                  </a:lnTo>
                  <a:lnTo>
                    <a:pt x="685" y="215"/>
                  </a:lnTo>
                  <a:lnTo>
                    <a:pt x="685" y="213"/>
                  </a:lnTo>
                  <a:lnTo>
                    <a:pt x="684" y="213"/>
                  </a:lnTo>
                  <a:lnTo>
                    <a:pt x="683" y="213"/>
                  </a:lnTo>
                  <a:lnTo>
                    <a:pt x="682" y="213"/>
                  </a:lnTo>
                  <a:lnTo>
                    <a:pt x="682" y="212"/>
                  </a:lnTo>
                  <a:lnTo>
                    <a:pt x="681" y="212"/>
                  </a:lnTo>
                  <a:lnTo>
                    <a:pt x="680" y="212"/>
                  </a:lnTo>
                  <a:lnTo>
                    <a:pt x="680" y="211"/>
                  </a:lnTo>
                  <a:lnTo>
                    <a:pt x="680" y="210"/>
                  </a:lnTo>
                  <a:lnTo>
                    <a:pt x="681" y="210"/>
                  </a:lnTo>
                  <a:lnTo>
                    <a:pt x="682" y="210"/>
                  </a:lnTo>
                  <a:lnTo>
                    <a:pt x="678" y="210"/>
                  </a:lnTo>
                  <a:lnTo>
                    <a:pt x="676" y="209"/>
                  </a:lnTo>
                  <a:lnTo>
                    <a:pt x="674" y="209"/>
                  </a:lnTo>
                  <a:lnTo>
                    <a:pt x="673" y="209"/>
                  </a:lnTo>
                  <a:lnTo>
                    <a:pt x="672" y="209"/>
                  </a:lnTo>
                  <a:lnTo>
                    <a:pt x="670" y="208"/>
                  </a:lnTo>
                  <a:lnTo>
                    <a:pt x="670" y="208"/>
                  </a:lnTo>
                  <a:lnTo>
                    <a:pt x="672" y="208"/>
                  </a:lnTo>
                  <a:lnTo>
                    <a:pt x="672" y="208"/>
                  </a:lnTo>
                  <a:lnTo>
                    <a:pt x="672" y="207"/>
                  </a:lnTo>
                  <a:lnTo>
                    <a:pt x="669" y="207"/>
                  </a:lnTo>
                  <a:lnTo>
                    <a:pt x="668" y="205"/>
                  </a:lnTo>
                  <a:lnTo>
                    <a:pt x="666" y="203"/>
                  </a:lnTo>
                  <a:lnTo>
                    <a:pt x="666" y="203"/>
                  </a:lnTo>
                  <a:lnTo>
                    <a:pt x="665" y="203"/>
                  </a:lnTo>
                  <a:lnTo>
                    <a:pt x="665" y="203"/>
                  </a:lnTo>
                  <a:lnTo>
                    <a:pt x="665" y="203"/>
                  </a:lnTo>
                  <a:lnTo>
                    <a:pt x="663" y="204"/>
                  </a:lnTo>
                  <a:lnTo>
                    <a:pt x="662" y="203"/>
                  </a:lnTo>
                  <a:lnTo>
                    <a:pt x="661" y="202"/>
                  </a:lnTo>
                  <a:lnTo>
                    <a:pt x="661" y="202"/>
                  </a:lnTo>
                  <a:lnTo>
                    <a:pt x="661" y="201"/>
                  </a:lnTo>
                  <a:lnTo>
                    <a:pt x="660" y="201"/>
                  </a:lnTo>
                  <a:lnTo>
                    <a:pt x="659" y="200"/>
                  </a:lnTo>
                  <a:lnTo>
                    <a:pt x="655" y="198"/>
                  </a:lnTo>
                  <a:lnTo>
                    <a:pt x="654" y="197"/>
                  </a:lnTo>
                  <a:lnTo>
                    <a:pt x="653" y="196"/>
                  </a:lnTo>
                  <a:lnTo>
                    <a:pt x="654" y="196"/>
                  </a:lnTo>
                  <a:lnTo>
                    <a:pt x="654" y="195"/>
                  </a:lnTo>
                  <a:lnTo>
                    <a:pt x="655" y="195"/>
                  </a:lnTo>
                  <a:lnTo>
                    <a:pt x="654" y="195"/>
                  </a:lnTo>
                  <a:lnTo>
                    <a:pt x="654" y="195"/>
                  </a:lnTo>
                  <a:lnTo>
                    <a:pt x="652" y="194"/>
                  </a:lnTo>
                  <a:lnTo>
                    <a:pt x="650" y="193"/>
                  </a:lnTo>
                  <a:lnTo>
                    <a:pt x="648" y="192"/>
                  </a:lnTo>
                  <a:lnTo>
                    <a:pt x="648" y="192"/>
                  </a:lnTo>
                  <a:lnTo>
                    <a:pt x="648" y="189"/>
                  </a:lnTo>
                  <a:lnTo>
                    <a:pt x="647" y="188"/>
                  </a:lnTo>
                  <a:lnTo>
                    <a:pt x="646" y="187"/>
                  </a:lnTo>
                  <a:lnTo>
                    <a:pt x="646" y="187"/>
                  </a:lnTo>
                  <a:lnTo>
                    <a:pt x="646" y="186"/>
                  </a:lnTo>
                  <a:lnTo>
                    <a:pt x="645" y="188"/>
                  </a:lnTo>
                  <a:lnTo>
                    <a:pt x="645" y="189"/>
                  </a:lnTo>
                  <a:lnTo>
                    <a:pt x="645" y="189"/>
                  </a:lnTo>
                  <a:lnTo>
                    <a:pt x="644" y="190"/>
                  </a:lnTo>
                  <a:lnTo>
                    <a:pt x="643" y="190"/>
                  </a:lnTo>
                  <a:lnTo>
                    <a:pt x="643" y="190"/>
                  </a:lnTo>
                  <a:lnTo>
                    <a:pt x="641" y="189"/>
                  </a:lnTo>
                  <a:lnTo>
                    <a:pt x="641" y="188"/>
                  </a:lnTo>
                  <a:lnTo>
                    <a:pt x="640" y="186"/>
                  </a:lnTo>
                  <a:lnTo>
                    <a:pt x="639" y="185"/>
                  </a:lnTo>
                  <a:lnTo>
                    <a:pt x="640" y="183"/>
                  </a:lnTo>
                  <a:lnTo>
                    <a:pt x="641" y="183"/>
                  </a:lnTo>
                  <a:lnTo>
                    <a:pt x="640" y="183"/>
                  </a:lnTo>
                  <a:lnTo>
                    <a:pt x="639" y="185"/>
                  </a:lnTo>
                  <a:lnTo>
                    <a:pt x="639" y="183"/>
                  </a:lnTo>
                  <a:lnTo>
                    <a:pt x="639" y="183"/>
                  </a:lnTo>
                  <a:lnTo>
                    <a:pt x="639" y="182"/>
                  </a:lnTo>
                  <a:lnTo>
                    <a:pt x="639" y="182"/>
                  </a:lnTo>
                  <a:lnTo>
                    <a:pt x="638" y="182"/>
                  </a:lnTo>
                  <a:lnTo>
                    <a:pt x="638" y="183"/>
                  </a:lnTo>
                  <a:lnTo>
                    <a:pt x="637" y="183"/>
                  </a:lnTo>
                  <a:lnTo>
                    <a:pt x="636" y="185"/>
                  </a:lnTo>
                  <a:lnTo>
                    <a:pt x="635" y="185"/>
                  </a:lnTo>
                  <a:lnTo>
                    <a:pt x="632" y="185"/>
                  </a:lnTo>
                  <a:lnTo>
                    <a:pt x="631" y="185"/>
                  </a:lnTo>
                  <a:lnTo>
                    <a:pt x="630" y="185"/>
                  </a:lnTo>
                  <a:lnTo>
                    <a:pt x="631" y="186"/>
                  </a:lnTo>
                  <a:lnTo>
                    <a:pt x="632" y="187"/>
                  </a:lnTo>
                  <a:lnTo>
                    <a:pt x="632" y="188"/>
                  </a:lnTo>
                  <a:lnTo>
                    <a:pt x="632" y="189"/>
                  </a:lnTo>
                  <a:lnTo>
                    <a:pt x="631" y="189"/>
                  </a:lnTo>
                  <a:lnTo>
                    <a:pt x="631" y="192"/>
                  </a:lnTo>
                  <a:lnTo>
                    <a:pt x="631" y="193"/>
                  </a:lnTo>
                  <a:lnTo>
                    <a:pt x="632" y="194"/>
                  </a:lnTo>
                  <a:lnTo>
                    <a:pt x="632" y="195"/>
                  </a:lnTo>
                  <a:lnTo>
                    <a:pt x="632" y="196"/>
                  </a:lnTo>
                  <a:lnTo>
                    <a:pt x="633" y="197"/>
                  </a:lnTo>
                  <a:lnTo>
                    <a:pt x="636" y="197"/>
                  </a:lnTo>
                  <a:lnTo>
                    <a:pt x="637" y="197"/>
                  </a:lnTo>
                  <a:lnTo>
                    <a:pt x="638" y="198"/>
                  </a:lnTo>
                  <a:lnTo>
                    <a:pt x="639" y="200"/>
                  </a:lnTo>
                  <a:lnTo>
                    <a:pt x="640" y="202"/>
                  </a:lnTo>
                  <a:lnTo>
                    <a:pt x="641" y="203"/>
                  </a:lnTo>
                  <a:lnTo>
                    <a:pt x="643" y="205"/>
                  </a:lnTo>
                  <a:lnTo>
                    <a:pt x="644" y="207"/>
                  </a:lnTo>
                  <a:lnTo>
                    <a:pt x="645" y="209"/>
                  </a:lnTo>
                  <a:lnTo>
                    <a:pt x="646" y="210"/>
                  </a:lnTo>
                  <a:lnTo>
                    <a:pt x="647" y="212"/>
                  </a:lnTo>
                  <a:lnTo>
                    <a:pt x="648" y="213"/>
                  </a:lnTo>
                  <a:lnTo>
                    <a:pt x="650" y="215"/>
                  </a:lnTo>
                  <a:lnTo>
                    <a:pt x="652" y="216"/>
                  </a:lnTo>
                  <a:lnTo>
                    <a:pt x="655" y="216"/>
                  </a:lnTo>
                  <a:lnTo>
                    <a:pt x="657" y="216"/>
                  </a:lnTo>
                  <a:lnTo>
                    <a:pt x="658" y="216"/>
                  </a:lnTo>
                  <a:lnTo>
                    <a:pt x="659" y="217"/>
                  </a:lnTo>
                  <a:lnTo>
                    <a:pt x="661" y="217"/>
                  </a:lnTo>
                  <a:lnTo>
                    <a:pt x="661" y="217"/>
                  </a:lnTo>
                  <a:lnTo>
                    <a:pt x="662" y="218"/>
                  </a:lnTo>
                  <a:lnTo>
                    <a:pt x="662" y="219"/>
                  </a:lnTo>
                  <a:lnTo>
                    <a:pt x="662" y="219"/>
                  </a:lnTo>
                  <a:lnTo>
                    <a:pt x="661" y="219"/>
                  </a:lnTo>
                  <a:lnTo>
                    <a:pt x="661" y="219"/>
                  </a:lnTo>
                  <a:lnTo>
                    <a:pt x="660" y="219"/>
                  </a:lnTo>
                  <a:lnTo>
                    <a:pt x="661" y="220"/>
                  </a:lnTo>
                  <a:lnTo>
                    <a:pt x="662" y="220"/>
                  </a:lnTo>
                  <a:lnTo>
                    <a:pt x="665" y="222"/>
                  </a:lnTo>
                  <a:lnTo>
                    <a:pt x="667" y="223"/>
                  </a:lnTo>
                  <a:lnTo>
                    <a:pt x="668" y="223"/>
                  </a:lnTo>
                  <a:lnTo>
                    <a:pt x="669" y="224"/>
                  </a:lnTo>
                  <a:lnTo>
                    <a:pt x="672" y="225"/>
                  </a:lnTo>
                  <a:lnTo>
                    <a:pt x="673" y="226"/>
                  </a:lnTo>
                  <a:lnTo>
                    <a:pt x="674" y="227"/>
                  </a:lnTo>
                  <a:lnTo>
                    <a:pt x="675" y="227"/>
                  </a:lnTo>
                  <a:lnTo>
                    <a:pt x="675" y="227"/>
                  </a:lnTo>
                  <a:lnTo>
                    <a:pt x="676" y="229"/>
                  </a:lnTo>
                  <a:lnTo>
                    <a:pt x="678" y="230"/>
                  </a:lnTo>
                  <a:lnTo>
                    <a:pt x="680" y="231"/>
                  </a:lnTo>
                  <a:lnTo>
                    <a:pt x="681" y="232"/>
                  </a:lnTo>
                  <a:lnTo>
                    <a:pt x="681" y="233"/>
                  </a:lnTo>
                  <a:lnTo>
                    <a:pt x="680" y="233"/>
                  </a:lnTo>
                  <a:lnTo>
                    <a:pt x="680" y="233"/>
                  </a:lnTo>
                  <a:lnTo>
                    <a:pt x="681" y="234"/>
                  </a:lnTo>
                  <a:lnTo>
                    <a:pt x="681" y="234"/>
                  </a:lnTo>
                  <a:lnTo>
                    <a:pt x="680" y="234"/>
                  </a:lnTo>
                  <a:lnTo>
                    <a:pt x="678" y="234"/>
                  </a:lnTo>
                  <a:lnTo>
                    <a:pt x="678" y="233"/>
                  </a:lnTo>
                  <a:lnTo>
                    <a:pt x="677" y="232"/>
                  </a:lnTo>
                  <a:lnTo>
                    <a:pt x="676" y="231"/>
                  </a:lnTo>
                  <a:lnTo>
                    <a:pt x="673" y="231"/>
                  </a:lnTo>
                  <a:lnTo>
                    <a:pt x="672" y="230"/>
                  </a:lnTo>
                  <a:lnTo>
                    <a:pt x="672" y="230"/>
                  </a:lnTo>
                  <a:lnTo>
                    <a:pt x="672" y="230"/>
                  </a:lnTo>
                  <a:lnTo>
                    <a:pt x="672" y="231"/>
                  </a:lnTo>
                  <a:lnTo>
                    <a:pt x="670" y="232"/>
                  </a:lnTo>
                  <a:lnTo>
                    <a:pt x="669" y="232"/>
                  </a:lnTo>
                  <a:lnTo>
                    <a:pt x="669" y="233"/>
                  </a:lnTo>
                  <a:lnTo>
                    <a:pt x="669" y="233"/>
                  </a:lnTo>
                  <a:lnTo>
                    <a:pt x="669" y="234"/>
                  </a:lnTo>
                  <a:lnTo>
                    <a:pt x="669" y="235"/>
                  </a:lnTo>
                  <a:lnTo>
                    <a:pt x="669" y="237"/>
                  </a:lnTo>
                  <a:lnTo>
                    <a:pt x="669" y="237"/>
                  </a:lnTo>
                  <a:lnTo>
                    <a:pt x="669" y="237"/>
                  </a:lnTo>
                  <a:lnTo>
                    <a:pt x="670" y="237"/>
                  </a:lnTo>
                  <a:lnTo>
                    <a:pt x="672" y="238"/>
                  </a:lnTo>
                  <a:lnTo>
                    <a:pt x="672" y="239"/>
                  </a:lnTo>
                  <a:lnTo>
                    <a:pt x="673" y="240"/>
                  </a:lnTo>
                  <a:lnTo>
                    <a:pt x="673" y="240"/>
                  </a:lnTo>
                  <a:lnTo>
                    <a:pt x="674" y="240"/>
                  </a:lnTo>
                  <a:lnTo>
                    <a:pt x="674" y="241"/>
                  </a:lnTo>
                  <a:lnTo>
                    <a:pt x="675" y="241"/>
                  </a:lnTo>
                  <a:lnTo>
                    <a:pt x="674" y="242"/>
                  </a:lnTo>
                  <a:lnTo>
                    <a:pt x="673" y="242"/>
                  </a:lnTo>
                  <a:lnTo>
                    <a:pt x="672" y="242"/>
                  </a:lnTo>
                  <a:lnTo>
                    <a:pt x="672" y="244"/>
                  </a:lnTo>
                  <a:lnTo>
                    <a:pt x="672" y="245"/>
                  </a:lnTo>
                  <a:lnTo>
                    <a:pt x="670" y="246"/>
                  </a:lnTo>
                  <a:lnTo>
                    <a:pt x="670" y="247"/>
                  </a:lnTo>
                  <a:lnTo>
                    <a:pt x="669" y="248"/>
                  </a:lnTo>
                  <a:lnTo>
                    <a:pt x="668" y="250"/>
                  </a:lnTo>
                  <a:lnTo>
                    <a:pt x="667" y="252"/>
                  </a:lnTo>
                  <a:lnTo>
                    <a:pt x="666" y="253"/>
                  </a:lnTo>
                  <a:lnTo>
                    <a:pt x="665" y="254"/>
                  </a:lnTo>
                  <a:lnTo>
                    <a:pt x="663" y="254"/>
                  </a:lnTo>
                  <a:lnTo>
                    <a:pt x="662" y="253"/>
                  </a:lnTo>
                  <a:lnTo>
                    <a:pt x="661" y="252"/>
                  </a:lnTo>
                  <a:lnTo>
                    <a:pt x="662" y="250"/>
                  </a:lnTo>
                  <a:lnTo>
                    <a:pt x="663" y="248"/>
                  </a:lnTo>
                  <a:lnTo>
                    <a:pt x="662" y="247"/>
                  </a:lnTo>
                  <a:lnTo>
                    <a:pt x="662" y="247"/>
                  </a:lnTo>
                  <a:lnTo>
                    <a:pt x="662" y="246"/>
                  </a:lnTo>
                  <a:lnTo>
                    <a:pt x="662" y="245"/>
                  </a:lnTo>
                  <a:lnTo>
                    <a:pt x="663" y="245"/>
                  </a:lnTo>
                  <a:lnTo>
                    <a:pt x="665" y="244"/>
                  </a:lnTo>
                  <a:lnTo>
                    <a:pt x="665" y="244"/>
                  </a:lnTo>
                  <a:lnTo>
                    <a:pt x="665" y="242"/>
                  </a:lnTo>
                  <a:lnTo>
                    <a:pt x="665" y="241"/>
                  </a:lnTo>
                  <a:lnTo>
                    <a:pt x="662" y="240"/>
                  </a:lnTo>
                  <a:lnTo>
                    <a:pt x="661" y="238"/>
                  </a:lnTo>
                  <a:lnTo>
                    <a:pt x="661" y="237"/>
                  </a:lnTo>
                  <a:lnTo>
                    <a:pt x="660" y="234"/>
                  </a:lnTo>
                  <a:lnTo>
                    <a:pt x="660" y="233"/>
                  </a:lnTo>
                  <a:lnTo>
                    <a:pt x="660" y="233"/>
                  </a:lnTo>
                  <a:lnTo>
                    <a:pt x="660" y="233"/>
                  </a:lnTo>
                  <a:lnTo>
                    <a:pt x="659" y="233"/>
                  </a:lnTo>
                  <a:lnTo>
                    <a:pt x="658" y="233"/>
                  </a:lnTo>
                  <a:lnTo>
                    <a:pt x="658" y="233"/>
                  </a:lnTo>
                  <a:lnTo>
                    <a:pt x="657" y="233"/>
                  </a:lnTo>
                  <a:lnTo>
                    <a:pt x="655" y="233"/>
                  </a:lnTo>
                  <a:lnTo>
                    <a:pt x="654" y="233"/>
                  </a:lnTo>
                  <a:lnTo>
                    <a:pt x="653" y="232"/>
                  </a:lnTo>
                  <a:lnTo>
                    <a:pt x="653" y="232"/>
                  </a:lnTo>
                  <a:lnTo>
                    <a:pt x="654" y="231"/>
                  </a:lnTo>
                  <a:lnTo>
                    <a:pt x="653" y="230"/>
                  </a:lnTo>
                  <a:lnTo>
                    <a:pt x="652" y="230"/>
                  </a:lnTo>
                  <a:lnTo>
                    <a:pt x="652" y="229"/>
                  </a:lnTo>
                  <a:lnTo>
                    <a:pt x="651" y="229"/>
                  </a:lnTo>
                  <a:lnTo>
                    <a:pt x="650" y="230"/>
                  </a:lnTo>
                  <a:lnTo>
                    <a:pt x="650" y="229"/>
                  </a:lnTo>
                  <a:lnTo>
                    <a:pt x="648" y="227"/>
                  </a:lnTo>
                  <a:lnTo>
                    <a:pt x="647" y="226"/>
                  </a:lnTo>
                  <a:lnTo>
                    <a:pt x="646" y="226"/>
                  </a:lnTo>
                  <a:lnTo>
                    <a:pt x="645" y="226"/>
                  </a:lnTo>
                  <a:lnTo>
                    <a:pt x="644" y="226"/>
                  </a:lnTo>
                  <a:lnTo>
                    <a:pt x="644" y="225"/>
                  </a:lnTo>
                  <a:lnTo>
                    <a:pt x="643" y="224"/>
                  </a:lnTo>
                  <a:lnTo>
                    <a:pt x="641" y="224"/>
                  </a:lnTo>
                  <a:lnTo>
                    <a:pt x="639" y="224"/>
                  </a:lnTo>
                  <a:lnTo>
                    <a:pt x="638" y="223"/>
                  </a:lnTo>
                  <a:lnTo>
                    <a:pt x="637" y="222"/>
                  </a:lnTo>
                  <a:lnTo>
                    <a:pt x="636" y="220"/>
                  </a:lnTo>
                  <a:lnTo>
                    <a:pt x="633" y="219"/>
                  </a:lnTo>
                  <a:lnTo>
                    <a:pt x="632" y="219"/>
                  </a:lnTo>
                  <a:lnTo>
                    <a:pt x="631" y="217"/>
                  </a:lnTo>
                  <a:lnTo>
                    <a:pt x="631" y="216"/>
                  </a:lnTo>
                  <a:lnTo>
                    <a:pt x="630" y="216"/>
                  </a:lnTo>
                  <a:lnTo>
                    <a:pt x="629" y="215"/>
                  </a:lnTo>
                  <a:lnTo>
                    <a:pt x="628" y="213"/>
                  </a:lnTo>
                  <a:lnTo>
                    <a:pt x="628" y="213"/>
                  </a:lnTo>
                  <a:lnTo>
                    <a:pt x="628" y="212"/>
                  </a:lnTo>
                  <a:lnTo>
                    <a:pt x="626" y="212"/>
                  </a:lnTo>
                  <a:lnTo>
                    <a:pt x="625" y="212"/>
                  </a:lnTo>
                  <a:lnTo>
                    <a:pt x="624" y="212"/>
                  </a:lnTo>
                  <a:lnTo>
                    <a:pt x="624" y="212"/>
                  </a:lnTo>
                  <a:lnTo>
                    <a:pt x="623" y="211"/>
                  </a:lnTo>
                  <a:lnTo>
                    <a:pt x="622" y="210"/>
                  </a:lnTo>
                  <a:lnTo>
                    <a:pt x="622" y="209"/>
                  </a:lnTo>
                  <a:lnTo>
                    <a:pt x="621" y="207"/>
                  </a:lnTo>
                  <a:lnTo>
                    <a:pt x="620" y="205"/>
                  </a:lnTo>
                  <a:lnTo>
                    <a:pt x="618" y="205"/>
                  </a:lnTo>
                  <a:lnTo>
                    <a:pt x="618" y="204"/>
                  </a:lnTo>
                  <a:lnTo>
                    <a:pt x="617" y="204"/>
                  </a:lnTo>
                  <a:lnTo>
                    <a:pt x="617" y="203"/>
                  </a:lnTo>
                  <a:lnTo>
                    <a:pt x="615" y="202"/>
                  </a:lnTo>
                  <a:lnTo>
                    <a:pt x="615" y="201"/>
                  </a:lnTo>
                  <a:lnTo>
                    <a:pt x="614" y="200"/>
                  </a:lnTo>
                  <a:lnTo>
                    <a:pt x="614" y="198"/>
                  </a:lnTo>
                  <a:lnTo>
                    <a:pt x="613" y="197"/>
                  </a:lnTo>
                  <a:lnTo>
                    <a:pt x="610" y="196"/>
                  </a:lnTo>
                  <a:lnTo>
                    <a:pt x="607" y="194"/>
                  </a:lnTo>
                  <a:lnTo>
                    <a:pt x="603" y="194"/>
                  </a:lnTo>
                  <a:lnTo>
                    <a:pt x="601" y="194"/>
                  </a:lnTo>
                  <a:lnTo>
                    <a:pt x="600" y="195"/>
                  </a:lnTo>
                  <a:lnTo>
                    <a:pt x="598" y="196"/>
                  </a:lnTo>
                  <a:lnTo>
                    <a:pt x="596" y="197"/>
                  </a:lnTo>
                  <a:lnTo>
                    <a:pt x="594" y="198"/>
                  </a:lnTo>
                  <a:lnTo>
                    <a:pt x="593" y="200"/>
                  </a:lnTo>
                  <a:lnTo>
                    <a:pt x="588" y="200"/>
                  </a:lnTo>
                  <a:lnTo>
                    <a:pt x="588" y="200"/>
                  </a:lnTo>
                  <a:lnTo>
                    <a:pt x="587" y="201"/>
                  </a:lnTo>
                  <a:lnTo>
                    <a:pt x="587" y="201"/>
                  </a:lnTo>
                  <a:lnTo>
                    <a:pt x="587" y="202"/>
                  </a:lnTo>
                  <a:lnTo>
                    <a:pt x="587" y="202"/>
                  </a:lnTo>
                  <a:lnTo>
                    <a:pt x="587" y="202"/>
                  </a:lnTo>
                  <a:lnTo>
                    <a:pt x="586" y="202"/>
                  </a:lnTo>
                  <a:lnTo>
                    <a:pt x="585" y="203"/>
                  </a:lnTo>
                  <a:lnTo>
                    <a:pt x="585" y="204"/>
                  </a:lnTo>
                  <a:lnTo>
                    <a:pt x="584" y="204"/>
                  </a:lnTo>
                  <a:lnTo>
                    <a:pt x="583" y="205"/>
                  </a:lnTo>
                  <a:lnTo>
                    <a:pt x="581" y="205"/>
                  </a:lnTo>
                  <a:lnTo>
                    <a:pt x="581" y="205"/>
                  </a:lnTo>
                  <a:lnTo>
                    <a:pt x="580" y="204"/>
                  </a:lnTo>
                  <a:lnTo>
                    <a:pt x="579" y="204"/>
                  </a:lnTo>
                  <a:lnTo>
                    <a:pt x="578" y="203"/>
                  </a:lnTo>
                  <a:lnTo>
                    <a:pt x="578" y="203"/>
                  </a:lnTo>
                  <a:lnTo>
                    <a:pt x="577" y="202"/>
                  </a:lnTo>
                  <a:lnTo>
                    <a:pt x="576" y="202"/>
                  </a:lnTo>
                  <a:lnTo>
                    <a:pt x="575" y="202"/>
                  </a:lnTo>
                  <a:lnTo>
                    <a:pt x="575" y="201"/>
                  </a:lnTo>
                  <a:lnTo>
                    <a:pt x="575" y="201"/>
                  </a:lnTo>
                  <a:lnTo>
                    <a:pt x="575" y="201"/>
                  </a:lnTo>
                  <a:lnTo>
                    <a:pt x="573" y="202"/>
                  </a:lnTo>
                  <a:lnTo>
                    <a:pt x="570" y="202"/>
                  </a:lnTo>
                  <a:lnTo>
                    <a:pt x="569" y="202"/>
                  </a:lnTo>
                  <a:lnTo>
                    <a:pt x="568" y="203"/>
                  </a:lnTo>
                  <a:lnTo>
                    <a:pt x="568" y="202"/>
                  </a:lnTo>
                  <a:lnTo>
                    <a:pt x="566" y="202"/>
                  </a:lnTo>
                  <a:lnTo>
                    <a:pt x="566" y="202"/>
                  </a:lnTo>
                  <a:lnTo>
                    <a:pt x="565" y="203"/>
                  </a:lnTo>
                  <a:lnTo>
                    <a:pt x="564" y="204"/>
                  </a:lnTo>
                  <a:lnTo>
                    <a:pt x="563" y="205"/>
                  </a:lnTo>
                  <a:lnTo>
                    <a:pt x="561" y="205"/>
                  </a:lnTo>
                  <a:lnTo>
                    <a:pt x="561" y="207"/>
                  </a:lnTo>
                  <a:lnTo>
                    <a:pt x="561" y="207"/>
                  </a:lnTo>
                  <a:lnTo>
                    <a:pt x="560" y="208"/>
                  </a:lnTo>
                  <a:lnTo>
                    <a:pt x="560" y="209"/>
                  </a:lnTo>
                  <a:lnTo>
                    <a:pt x="560" y="210"/>
                  </a:lnTo>
                  <a:lnTo>
                    <a:pt x="561" y="210"/>
                  </a:lnTo>
                  <a:lnTo>
                    <a:pt x="561" y="211"/>
                  </a:lnTo>
                  <a:lnTo>
                    <a:pt x="561" y="211"/>
                  </a:lnTo>
                  <a:lnTo>
                    <a:pt x="560" y="212"/>
                  </a:lnTo>
                  <a:lnTo>
                    <a:pt x="558" y="212"/>
                  </a:lnTo>
                  <a:lnTo>
                    <a:pt x="560" y="212"/>
                  </a:lnTo>
                  <a:lnTo>
                    <a:pt x="560" y="212"/>
                  </a:lnTo>
                  <a:lnTo>
                    <a:pt x="561" y="212"/>
                  </a:lnTo>
                  <a:lnTo>
                    <a:pt x="561" y="213"/>
                  </a:lnTo>
                  <a:lnTo>
                    <a:pt x="561" y="215"/>
                  </a:lnTo>
                  <a:lnTo>
                    <a:pt x="560" y="216"/>
                  </a:lnTo>
                  <a:lnTo>
                    <a:pt x="560" y="216"/>
                  </a:lnTo>
                  <a:lnTo>
                    <a:pt x="560" y="216"/>
                  </a:lnTo>
                  <a:lnTo>
                    <a:pt x="560" y="216"/>
                  </a:lnTo>
                  <a:lnTo>
                    <a:pt x="560" y="216"/>
                  </a:lnTo>
                  <a:lnTo>
                    <a:pt x="558" y="217"/>
                  </a:lnTo>
                  <a:lnTo>
                    <a:pt x="557" y="217"/>
                  </a:lnTo>
                  <a:lnTo>
                    <a:pt x="556" y="218"/>
                  </a:lnTo>
                  <a:lnTo>
                    <a:pt x="554" y="218"/>
                  </a:lnTo>
                  <a:lnTo>
                    <a:pt x="553" y="219"/>
                  </a:lnTo>
                  <a:lnTo>
                    <a:pt x="553" y="220"/>
                  </a:lnTo>
                  <a:lnTo>
                    <a:pt x="551" y="220"/>
                  </a:lnTo>
                  <a:lnTo>
                    <a:pt x="550" y="220"/>
                  </a:lnTo>
                  <a:lnTo>
                    <a:pt x="549" y="222"/>
                  </a:lnTo>
                  <a:lnTo>
                    <a:pt x="547" y="223"/>
                  </a:lnTo>
                  <a:lnTo>
                    <a:pt x="545" y="224"/>
                  </a:lnTo>
                  <a:lnTo>
                    <a:pt x="542" y="225"/>
                  </a:lnTo>
                  <a:lnTo>
                    <a:pt x="542" y="226"/>
                  </a:lnTo>
                  <a:lnTo>
                    <a:pt x="541" y="226"/>
                  </a:lnTo>
                  <a:lnTo>
                    <a:pt x="541" y="226"/>
                  </a:lnTo>
                  <a:lnTo>
                    <a:pt x="541" y="226"/>
                  </a:lnTo>
                  <a:lnTo>
                    <a:pt x="542" y="227"/>
                  </a:lnTo>
                  <a:lnTo>
                    <a:pt x="541" y="229"/>
                  </a:lnTo>
                  <a:lnTo>
                    <a:pt x="540" y="229"/>
                  </a:lnTo>
                  <a:lnTo>
                    <a:pt x="540" y="229"/>
                  </a:lnTo>
                  <a:lnTo>
                    <a:pt x="540" y="227"/>
                  </a:lnTo>
                  <a:lnTo>
                    <a:pt x="540" y="229"/>
                  </a:lnTo>
                  <a:lnTo>
                    <a:pt x="539" y="229"/>
                  </a:lnTo>
                  <a:lnTo>
                    <a:pt x="538" y="231"/>
                  </a:lnTo>
                  <a:lnTo>
                    <a:pt x="535" y="233"/>
                  </a:lnTo>
                  <a:lnTo>
                    <a:pt x="534" y="233"/>
                  </a:lnTo>
                  <a:lnTo>
                    <a:pt x="534" y="233"/>
                  </a:lnTo>
                  <a:lnTo>
                    <a:pt x="533" y="233"/>
                  </a:lnTo>
                  <a:lnTo>
                    <a:pt x="533" y="234"/>
                  </a:lnTo>
                  <a:lnTo>
                    <a:pt x="532" y="237"/>
                  </a:lnTo>
                  <a:lnTo>
                    <a:pt x="531" y="238"/>
                  </a:lnTo>
                  <a:lnTo>
                    <a:pt x="532" y="239"/>
                  </a:lnTo>
                  <a:lnTo>
                    <a:pt x="532" y="240"/>
                  </a:lnTo>
                  <a:lnTo>
                    <a:pt x="533" y="241"/>
                  </a:lnTo>
                  <a:lnTo>
                    <a:pt x="535" y="241"/>
                  </a:lnTo>
                  <a:lnTo>
                    <a:pt x="535" y="242"/>
                  </a:lnTo>
                  <a:lnTo>
                    <a:pt x="535" y="244"/>
                  </a:lnTo>
                  <a:lnTo>
                    <a:pt x="535" y="245"/>
                  </a:lnTo>
                  <a:lnTo>
                    <a:pt x="535" y="245"/>
                  </a:lnTo>
                  <a:lnTo>
                    <a:pt x="534" y="246"/>
                  </a:lnTo>
                  <a:lnTo>
                    <a:pt x="533" y="247"/>
                  </a:lnTo>
                  <a:lnTo>
                    <a:pt x="533" y="248"/>
                  </a:lnTo>
                  <a:lnTo>
                    <a:pt x="533" y="248"/>
                  </a:lnTo>
                  <a:lnTo>
                    <a:pt x="532" y="248"/>
                  </a:lnTo>
                  <a:lnTo>
                    <a:pt x="532" y="248"/>
                  </a:lnTo>
                  <a:lnTo>
                    <a:pt x="532" y="249"/>
                  </a:lnTo>
                  <a:lnTo>
                    <a:pt x="532" y="250"/>
                  </a:lnTo>
                  <a:lnTo>
                    <a:pt x="532" y="250"/>
                  </a:lnTo>
                  <a:lnTo>
                    <a:pt x="532" y="252"/>
                  </a:lnTo>
                  <a:lnTo>
                    <a:pt x="531" y="253"/>
                  </a:lnTo>
                  <a:lnTo>
                    <a:pt x="531" y="254"/>
                  </a:lnTo>
                  <a:lnTo>
                    <a:pt x="530" y="254"/>
                  </a:lnTo>
                  <a:lnTo>
                    <a:pt x="528" y="254"/>
                  </a:lnTo>
                  <a:lnTo>
                    <a:pt x="527" y="254"/>
                  </a:lnTo>
                  <a:lnTo>
                    <a:pt x="527" y="255"/>
                  </a:lnTo>
                  <a:lnTo>
                    <a:pt x="526" y="255"/>
                  </a:lnTo>
                  <a:lnTo>
                    <a:pt x="526" y="256"/>
                  </a:lnTo>
                  <a:lnTo>
                    <a:pt x="525" y="256"/>
                  </a:lnTo>
                  <a:lnTo>
                    <a:pt x="524" y="257"/>
                  </a:lnTo>
                  <a:lnTo>
                    <a:pt x="523" y="257"/>
                  </a:lnTo>
                  <a:lnTo>
                    <a:pt x="523" y="259"/>
                  </a:lnTo>
                  <a:lnTo>
                    <a:pt x="521" y="261"/>
                  </a:lnTo>
                  <a:lnTo>
                    <a:pt x="521" y="262"/>
                  </a:lnTo>
                  <a:lnTo>
                    <a:pt x="520" y="262"/>
                  </a:lnTo>
                  <a:lnTo>
                    <a:pt x="520" y="262"/>
                  </a:lnTo>
                  <a:lnTo>
                    <a:pt x="519" y="262"/>
                  </a:lnTo>
                  <a:lnTo>
                    <a:pt x="518" y="262"/>
                  </a:lnTo>
                  <a:lnTo>
                    <a:pt x="517" y="262"/>
                  </a:lnTo>
                  <a:lnTo>
                    <a:pt x="513" y="262"/>
                  </a:lnTo>
                  <a:lnTo>
                    <a:pt x="512" y="263"/>
                  </a:lnTo>
                  <a:lnTo>
                    <a:pt x="511" y="263"/>
                  </a:lnTo>
                  <a:lnTo>
                    <a:pt x="510" y="263"/>
                  </a:lnTo>
                  <a:lnTo>
                    <a:pt x="509" y="264"/>
                  </a:lnTo>
                  <a:lnTo>
                    <a:pt x="506" y="265"/>
                  </a:lnTo>
                  <a:lnTo>
                    <a:pt x="505" y="265"/>
                  </a:lnTo>
                  <a:lnTo>
                    <a:pt x="505" y="265"/>
                  </a:lnTo>
                  <a:lnTo>
                    <a:pt x="505" y="267"/>
                  </a:lnTo>
                  <a:lnTo>
                    <a:pt x="503" y="267"/>
                  </a:lnTo>
                  <a:lnTo>
                    <a:pt x="501" y="267"/>
                  </a:lnTo>
                  <a:lnTo>
                    <a:pt x="498" y="268"/>
                  </a:lnTo>
                  <a:lnTo>
                    <a:pt x="496" y="268"/>
                  </a:lnTo>
                  <a:lnTo>
                    <a:pt x="496" y="269"/>
                  </a:lnTo>
                  <a:lnTo>
                    <a:pt x="496" y="269"/>
                  </a:lnTo>
                  <a:lnTo>
                    <a:pt x="495" y="269"/>
                  </a:lnTo>
                  <a:lnTo>
                    <a:pt x="495" y="270"/>
                  </a:lnTo>
                  <a:lnTo>
                    <a:pt x="493" y="270"/>
                  </a:lnTo>
                  <a:lnTo>
                    <a:pt x="491" y="269"/>
                  </a:lnTo>
                  <a:lnTo>
                    <a:pt x="490" y="269"/>
                  </a:lnTo>
                  <a:lnTo>
                    <a:pt x="489" y="268"/>
                  </a:lnTo>
                  <a:lnTo>
                    <a:pt x="489" y="268"/>
                  </a:lnTo>
                  <a:lnTo>
                    <a:pt x="489" y="268"/>
                  </a:lnTo>
                  <a:lnTo>
                    <a:pt x="489" y="267"/>
                  </a:lnTo>
                  <a:lnTo>
                    <a:pt x="489" y="267"/>
                  </a:lnTo>
                  <a:lnTo>
                    <a:pt x="489" y="267"/>
                  </a:lnTo>
                  <a:lnTo>
                    <a:pt x="489" y="265"/>
                  </a:lnTo>
                  <a:lnTo>
                    <a:pt x="489" y="265"/>
                  </a:lnTo>
                  <a:lnTo>
                    <a:pt x="489" y="265"/>
                  </a:lnTo>
                  <a:lnTo>
                    <a:pt x="488" y="264"/>
                  </a:lnTo>
                  <a:lnTo>
                    <a:pt x="488" y="264"/>
                  </a:lnTo>
                  <a:lnTo>
                    <a:pt x="488" y="264"/>
                  </a:lnTo>
                  <a:lnTo>
                    <a:pt x="488" y="263"/>
                  </a:lnTo>
                  <a:lnTo>
                    <a:pt x="488" y="263"/>
                  </a:lnTo>
                  <a:lnTo>
                    <a:pt x="488" y="264"/>
                  </a:lnTo>
                  <a:lnTo>
                    <a:pt x="488" y="264"/>
                  </a:lnTo>
                  <a:lnTo>
                    <a:pt x="488" y="264"/>
                  </a:lnTo>
                  <a:lnTo>
                    <a:pt x="488" y="264"/>
                  </a:lnTo>
                  <a:lnTo>
                    <a:pt x="487" y="264"/>
                  </a:lnTo>
                  <a:lnTo>
                    <a:pt x="487" y="263"/>
                  </a:lnTo>
                  <a:lnTo>
                    <a:pt x="486" y="262"/>
                  </a:lnTo>
                  <a:lnTo>
                    <a:pt x="482" y="261"/>
                  </a:lnTo>
                  <a:lnTo>
                    <a:pt x="482" y="261"/>
                  </a:lnTo>
                  <a:lnTo>
                    <a:pt x="481" y="261"/>
                  </a:lnTo>
                  <a:lnTo>
                    <a:pt x="481" y="260"/>
                  </a:lnTo>
                  <a:lnTo>
                    <a:pt x="481" y="260"/>
                  </a:lnTo>
                  <a:lnTo>
                    <a:pt x="481" y="261"/>
                  </a:lnTo>
                  <a:lnTo>
                    <a:pt x="478" y="261"/>
                  </a:lnTo>
                  <a:lnTo>
                    <a:pt x="475" y="261"/>
                  </a:lnTo>
                  <a:lnTo>
                    <a:pt x="474" y="260"/>
                  </a:lnTo>
                  <a:lnTo>
                    <a:pt x="474" y="260"/>
                  </a:lnTo>
                  <a:lnTo>
                    <a:pt x="474" y="259"/>
                  </a:lnTo>
                  <a:lnTo>
                    <a:pt x="473" y="261"/>
                  </a:lnTo>
                  <a:lnTo>
                    <a:pt x="473" y="261"/>
                  </a:lnTo>
                  <a:lnTo>
                    <a:pt x="472" y="261"/>
                  </a:lnTo>
                  <a:lnTo>
                    <a:pt x="469" y="261"/>
                  </a:lnTo>
                  <a:lnTo>
                    <a:pt x="468" y="262"/>
                  </a:lnTo>
                  <a:lnTo>
                    <a:pt x="467" y="262"/>
                  </a:lnTo>
                  <a:lnTo>
                    <a:pt x="466" y="261"/>
                  </a:lnTo>
                  <a:lnTo>
                    <a:pt x="461" y="261"/>
                  </a:lnTo>
                  <a:lnTo>
                    <a:pt x="461" y="261"/>
                  </a:lnTo>
                  <a:lnTo>
                    <a:pt x="460" y="261"/>
                  </a:lnTo>
                  <a:lnTo>
                    <a:pt x="460" y="260"/>
                  </a:lnTo>
                  <a:lnTo>
                    <a:pt x="461" y="259"/>
                  </a:lnTo>
                  <a:lnTo>
                    <a:pt x="463" y="259"/>
                  </a:lnTo>
                  <a:lnTo>
                    <a:pt x="463" y="259"/>
                  </a:lnTo>
                  <a:lnTo>
                    <a:pt x="463" y="257"/>
                  </a:lnTo>
                  <a:lnTo>
                    <a:pt x="463" y="257"/>
                  </a:lnTo>
                  <a:lnTo>
                    <a:pt x="463" y="256"/>
                  </a:lnTo>
                  <a:lnTo>
                    <a:pt x="464" y="255"/>
                  </a:lnTo>
                  <a:lnTo>
                    <a:pt x="464" y="255"/>
                  </a:lnTo>
                  <a:lnTo>
                    <a:pt x="465" y="254"/>
                  </a:lnTo>
                  <a:lnTo>
                    <a:pt x="465" y="254"/>
                  </a:lnTo>
                  <a:lnTo>
                    <a:pt x="464" y="254"/>
                  </a:lnTo>
                  <a:lnTo>
                    <a:pt x="464" y="254"/>
                  </a:lnTo>
                  <a:lnTo>
                    <a:pt x="464" y="254"/>
                  </a:lnTo>
                  <a:lnTo>
                    <a:pt x="463" y="254"/>
                  </a:lnTo>
                  <a:lnTo>
                    <a:pt x="464" y="253"/>
                  </a:lnTo>
                  <a:lnTo>
                    <a:pt x="464" y="252"/>
                  </a:lnTo>
                  <a:lnTo>
                    <a:pt x="464" y="250"/>
                  </a:lnTo>
                  <a:lnTo>
                    <a:pt x="463" y="248"/>
                  </a:lnTo>
                  <a:lnTo>
                    <a:pt x="464" y="247"/>
                  </a:lnTo>
                  <a:lnTo>
                    <a:pt x="464" y="247"/>
                  </a:lnTo>
                  <a:lnTo>
                    <a:pt x="464" y="247"/>
                  </a:lnTo>
                  <a:lnTo>
                    <a:pt x="465" y="247"/>
                  </a:lnTo>
                  <a:lnTo>
                    <a:pt x="464" y="247"/>
                  </a:lnTo>
                  <a:lnTo>
                    <a:pt x="464" y="247"/>
                  </a:lnTo>
                  <a:lnTo>
                    <a:pt x="463" y="247"/>
                  </a:lnTo>
                  <a:lnTo>
                    <a:pt x="461" y="248"/>
                  </a:lnTo>
                  <a:lnTo>
                    <a:pt x="461" y="247"/>
                  </a:lnTo>
                  <a:lnTo>
                    <a:pt x="461" y="247"/>
                  </a:lnTo>
                  <a:lnTo>
                    <a:pt x="461" y="245"/>
                  </a:lnTo>
                  <a:lnTo>
                    <a:pt x="461" y="245"/>
                  </a:lnTo>
                  <a:lnTo>
                    <a:pt x="461" y="245"/>
                  </a:lnTo>
                  <a:lnTo>
                    <a:pt x="460" y="245"/>
                  </a:lnTo>
                  <a:lnTo>
                    <a:pt x="459" y="245"/>
                  </a:lnTo>
                  <a:lnTo>
                    <a:pt x="459" y="238"/>
                  </a:lnTo>
                  <a:lnTo>
                    <a:pt x="460" y="239"/>
                  </a:lnTo>
                  <a:lnTo>
                    <a:pt x="461" y="239"/>
                  </a:lnTo>
                  <a:lnTo>
                    <a:pt x="461" y="238"/>
                  </a:lnTo>
                  <a:lnTo>
                    <a:pt x="461" y="237"/>
                  </a:lnTo>
                  <a:lnTo>
                    <a:pt x="463" y="235"/>
                  </a:lnTo>
                  <a:lnTo>
                    <a:pt x="463" y="234"/>
                  </a:lnTo>
                  <a:lnTo>
                    <a:pt x="463" y="234"/>
                  </a:lnTo>
                  <a:lnTo>
                    <a:pt x="463" y="233"/>
                  </a:lnTo>
                  <a:lnTo>
                    <a:pt x="463" y="233"/>
                  </a:lnTo>
                  <a:lnTo>
                    <a:pt x="463" y="231"/>
                  </a:lnTo>
                  <a:lnTo>
                    <a:pt x="464" y="230"/>
                  </a:lnTo>
                  <a:lnTo>
                    <a:pt x="464" y="229"/>
                  </a:lnTo>
                  <a:lnTo>
                    <a:pt x="465" y="227"/>
                  </a:lnTo>
                  <a:lnTo>
                    <a:pt x="465" y="226"/>
                  </a:lnTo>
                  <a:lnTo>
                    <a:pt x="465" y="225"/>
                  </a:lnTo>
                  <a:lnTo>
                    <a:pt x="466" y="223"/>
                  </a:lnTo>
                  <a:lnTo>
                    <a:pt x="466" y="220"/>
                  </a:lnTo>
                  <a:lnTo>
                    <a:pt x="466" y="219"/>
                  </a:lnTo>
                  <a:lnTo>
                    <a:pt x="466" y="219"/>
                  </a:lnTo>
                  <a:lnTo>
                    <a:pt x="466" y="218"/>
                  </a:lnTo>
                  <a:lnTo>
                    <a:pt x="466" y="217"/>
                  </a:lnTo>
                  <a:lnTo>
                    <a:pt x="466" y="217"/>
                  </a:lnTo>
                  <a:lnTo>
                    <a:pt x="466" y="217"/>
                  </a:lnTo>
                  <a:lnTo>
                    <a:pt x="466" y="217"/>
                  </a:lnTo>
                  <a:lnTo>
                    <a:pt x="466" y="216"/>
                  </a:lnTo>
                  <a:lnTo>
                    <a:pt x="466" y="213"/>
                  </a:lnTo>
                  <a:lnTo>
                    <a:pt x="466" y="213"/>
                  </a:lnTo>
                  <a:lnTo>
                    <a:pt x="465" y="212"/>
                  </a:lnTo>
                  <a:lnTo>
                    <a:pt x="465" y="212"/>
                  </a:lnTo>
                  <a:lnTo>
                    <a:pt x="465" y="212"/>
                  </a:lnTo>
                  <a:lnTo>
                    <a:pt x="466" y="212"/>
                  </a:lnTo>
                  <a:lnTo>
                    <a:pt x="466" y="212"/>
                  </a:lnTo>
                  <a:lnTo>
                    <a:pt x="466" y="212"/>
                  </a:lnTo>
                  <a:lnTo>
                    <a:pt x="467" y="211"/>
                  </a:lnTo>
                  <a:lnTo>
                    <a:pt x="467" y="211"/>
                  </a:lnTo>
                  <a:lnTo>
                    <a:pt x="467" y="211"/>
                  </a:lnTo>
                  <a:lnTo>
                    <a:pt x="466" y="212"/>
                  </a:lnTo>
                  <a:lnTo>
                    <a:pt x="466" y="211"/>
                  </a:lnTo>
                  <a:lnTo>
                    <a:pt x="466" y="211"/>
                  </a:lnTo>
                  <a:lnTo>
                    <a:pt x="466" y="210"/>
                  </a:lnTo>
                  <a:lnTo>
                    <a:pt x="466" y="209"/>
                  </a:lnTo>
                  <a:lnTo>
                    <a:pt x="466" y="208"/>
                  </a:lnTo>
                  <a:lnTo>
                    <a:pt x="465" y="208"/>
                  </a:lnTo>
                  <a:lnTo>
                    <a:pt x="465" y="208"/>
                  </a:lnTo>
                  <a:lnTo>
                    <a:pt x="465" y="207"/>
                  </a:lnTo>
                  <a:lnTo>
                    <a:pt x="465" y="205"/>
                  </a:lnTo>
                  <a:lnTo>
                    <a:pt x="465" y="205"/>
                  </a:lnTo>
                  <a:lnTo>
                    <a:pt x="464" y="205"/>
                  </a:lnTo>
                  <a:lnTo>
                    <a:pt x="464" y="205"/>
                  </a:lnTo>
                  <a:lnTo>
                    <a:pt x="463" y="205"/>
                  </a:lnTo>
                  <a:lnTo>
                    <a:pt x="464" y="205"/>
                  </a:lnTo>
                  <a:lnTo>
                    <a:pt x="464" y="204"/>
                  </a:lnTo>
                  <a:lnTo>
                    <a:pt x="464" y="204"/>
                  </a:lnTo>
                  <a:lnTo>
                    <a:pt x="463" y="203"/>
                  </a:lnTo>
                  <a:lnTo>
                    <a:pt x="465" y="203"/>
                  </a:lnTo>
                  <a:lnTo>
                    <a:pt x="466" y="202"/>
                  </a:lnTo>
                  <a:lnTo>
                    <a:pt x="466" y="202"/>
                  </a:lnTo>
                  <a:lnTo>
                    <a:pt x="466" y="202"/>
                  </a:lnTo>
                  <a:lnTo>
                    <a:pt x="467" y="202"/>
                  </a:lnTo>
                  <a:lnTo>
                    <a:pt x="468" y="202"/>
                  </a:lnTo>
                  <a:lnTo>
                    <a:pt x="469" y="202"/>
                  </a:lnTo>
                  <a:lnTo>
                    <a:pt x="471" y="202"/>
                  </a:lnTo>
                  <a:lnTo>
                    <a:pt x="471" y="200"/>
                  </a:lnTo>
                  <a:lnTo>
                    <a:pt x="472" y="200"/>
                  </a:lnTo>
                  <a:lnTo>
                    <a:pt x="473" y="198"/>
                  </a:lnTo>
                  <a:lnTo>
                    <a:pt x="473" y="198"/>
                  </a:lnTo>
                  <a:lnTo>
                    <a:pt x="474" y="198"/>
                  </a:lnTo>
                  <a:lnTo>
                    <a:pt x="474" y="198"/>
                  </a:lnTo>
                  <a:lnTo>
                    <a:pt x="474" y="198"/>
                  </a:lnTo>
                  <a:lnTo>
                    <a:pt x="474" y="198"/>
                  </a:lnTo>
                  <a:lnTo>
                    <a:pt x="474" y="200"/>
                  </a:lnTo>
                  <a:lnTo>
                    <a:pt x="474" y="200"/>
                  </a:lnTo>
                  <a:lnTo>
                    <a:pt x="474" y="200"/>
                  </a:lnTo>
                  <a:lnTo>
                    <a:pt x="475" y="200"/>
                  </a:lnTo>
                  <a:lnTo>
                    <a:pt x="478" y="201"/>
                  </a:lnTo>
                  <a:lnTo>
                    <a:pt x="479" y="202"/>
                  </a:lnTo>
                  <a:lnTo>
                    <a:pt x="480" y="202"/>
                  </a:lnTo>
                  <a:lnTo>
                    <a:pt x="482" y="201"/>
                  </a:lnTo>
                  <a:lnTo>
                    <a:pt x="484" y="201"/>
                  </a:lnTo>
                  <a:lnTo>
                    <a:pt x="486" y="200"/>
                  </a:lnTo>
                  <a:lnTo>
                    <a:pt x="489" y="200"/>
                  </a:lnTo>
                  <a:lnTo>
                    <a:pt x="491" y="201"/>
                  </a:lnTo>
                  <a:lnTo>
                    <a:pt x="493" y="201"/>
                  </a:lnTo>
                  <a:lnTo>
                    <a:pt x="495" y="202"/>
                  </a:lnTo>
                  <a:lnTo>
                    <a:pt x="498" y="202"/>
                  </a:lnTo>
                  <a:lnTo>
                    <a:pt x="501" y="201"/>
                  </a:lnTo>
                  <a:lnTo>
                    <a:pt x="502" y="201"/>
                  </a:lnTo>
                  <a:lnTo>
                    <a:pt x="504" y="201"/>
                  </a:lnTo>
                  <a:lnTo>
                    <a:pt x="505" y="202"/>
                  </a:lnTo>
                  <a:lnTo>
                    <a:pt x="506" y="202"/>
                  </a:lnTo>
                  <a:lnTo>
                    <a:pt x="508" y="202"/>
                  </a:lnTo>
                  <a:lnTo>
                    <a:pt x="509" y="202"/>
                  </a:lnTo>
                  <a:lnTo>
                    <a:pt x="509" y="201"/>
                  </a:lnTo>
                  <a:lnTo>
                    <a:pt x="510" y="201"/>
                  </a:lnTo>
                  <a:lnTo>
                    <a:pt x="510" y="202"/>
                  </a:lnTo>
                  <a:lnTo>
                    <a:pt x="520" y="202"/>
                  </a:lnTo>
                  <a:lnTo>
                    <a:pt x="521" y="202"/>
                  </a:lnTo>
                  <a:lnTo>
                    <a:pt x="523" y="201"/>
                  </a:lnTo>
                  <a:lnTo>
                    <a:pt x="523" y="200"/>
                  </a:lnTo>
                  <a:lnTo>
                    <a:pt x="524" y="198"/>
                  </a:lnTo>
                  <a:lnTo>
                    <a:pt x="524" y="196"/>
                  </a:lnTo>
                  <a:lnTo>
                    <a:pt x="525" y="194"/>
                  </a:lnTo>
                  <a:lnTo>
                    <a:pt x="526" y="193"/>
                  </a:lnTo>
                  <a:lnTo>
                    <a:pt x="526" y="192"/>
                  </a:lnTo>
                  <a:lnTo>
                    <a:pt x="526" y="189"/>
                  </a:lnTo>
                  <a:lnTo>
                    <a:pt x="527" y="187"/>
                  </a:lnTo>
                  <a:lnTo>
                    <a:pt x="527" y="186"/>
                  </a:lnTo>
                  <a:lnTo>
                    <a:pt x="528" y="185"/>
                  </a:lnTo>
                  <a:lnTo>
                    <a:pt x="528" y="185"/>
                  </a:lnTo>
                  <a:lnTo>
                    <a:pt x="530" y="186"/>
                  </a:lnTo>
                  <a:lnTo>
                    <a:pt x="531" y="187"/>
                  </a:lnTo>
                  <a:lnTo>
                    <a:pt x="532" y="188"/>
                  </a:lnTo>
                  <a:lnTo>
                    <a:pt x="531" y="186"/>
                  </a:lnTo>
                  <a:lnTo>
                    <a:pt x="530" y="185"/>
                  </a:lnTo>
                  <a:lnTo>
                    <a:pt x="528" y="183"/>
                  </a:lnTo>
                  <a:lnTo>
                    <a:pt x="527" y="182"/>
                  </a:lnTo>
                  <a:lnTo>
                    <a:pt x="527" y="182"/>
                  </a:lnTo>
                  <a:lnTo>
                    <a:pt x="527" y="181"/>
                  </a:lnTo>
                  <a:lnTo>
                    <a:pt x="528" y="180"/>
                  </a:lnTo>
                  <a:lnTo>
                    <a:pt x="530" y="180"/>
                  </a:lnTo>
                  <a:lnTo>
                    <a:pt x="528" y="180"/>
                  </a:lnTo>
                  <a:lnTo>
                    <a:pt x="527" y="179"/>
                  </a:lnTo>
                  <a:lnTo>
                    <a:pt x="528" y="178"/>
                  </a:lnTo>
                  <a:lnTo>
                    <a:pt x="528" y="177"/>
                  </a:lnTo>
                  <a:lnTo>
                    <a:pt x="528" y="177"/>
                  </a:lnTo>
                  <a:lnTo>
                    <a:pt x="528" y="177"/>
                  </a:lnTo>
                  <a:lnTo>
                    <a:pt x="527" y="177"/>
                  </a:lnTo>
                  <a:lnTo>
                    <a:pt x="527" y="177"/>
                  </a:lnTo>
                  <a:lnTo>
                    <a:pt x="527" y="177"/>
                  </a:lnTo>
                  <a:lnTo>
                    <a:pt x="527" y="175"/>
                  </a:lnTo>
                  <a:lnTo>
                    <a:pt x="526" y="175"/>
                  </a:lnTo>
                  <a:lnTo>
                    <a:pt x="524" y="174"/>
                  </a:lnTo>
                  <a:lnTo>
                    <a:pt x="523" y="174"/>
                  </a:lnTo>
                  <a:lnTo>
                    <a:pt x="521" y="173"/>
                  </a:lnTo>
                  <a:lnTo>
                    <a:pt x="520" y="173"/>
                  </a:lnTo>
                  <a:lnTo>
                    <a:pt x="519" y="172"/>
                  </a:lnTo>
                  <a:lnTo>
                    <a:pt x="519" y="171"/>
                  </a:lnTo>
                  <a:lnTo>
                    <a:pt x="519" y="170"/>
                  </a:lnTo>
                  <a:lnTo>
                    <a:pt x="520" y="170"/>
                  </a:lnTo>
                  <a:lnTo>
                    <a:pt x="519" y="168"/>
                  </a:lnTo>
                  <a:lnTo>
                    <a:pt x="519" y="168"/>
                  </a:lnTo>
                  <a:lnTo>
                    <a:pt x="519" y="168"/>
                  </a:lnTo>
                  <a:lnTo>
                    <a:pt x="520" y="168"/>
                  </a:lnTo>
                  <a:lnTo>
                    <a:pt x="520" y="168"/>
                  </a:lnTo>
                  <a:lnTo>
                    <a:pt x="519" y="168"/>
                  </a:lnTo>
                  <a:lnTo>
                    <a:pt x="518" y="168"/>
                  </a:lnTo>
                  <a:lnTo>
                    <a:pt x="518" y="167"/>
                  </a:lnTo>
                  <a:lnTo>
                    <a:pt x="517" y="167"/>
                  </a:lnTo>
                  <a:lnTo>
                    <a:pt x="517" y="166"/>
                  </a:lnTo>
                  <a:lnTo>
                    <a:pt x="518" y="166"/>
                  </a:lnTo>
                  <a:lnTo>
                    <a:pt x="518" y="166"/>
                  </a:lnTo>
                  <a:lnTo>
                    <a:pt x="517" y="165"/>
                  </a:lnTo>
                  <a:lnTo>
                    <a:pt x="516" y="165"/>
                  </a:lnTo>
                  <a:lnTo>
                    <a:pt x="516" y="165"/>
                  </a:lnTo>
                  <a:lnTo>
                    <a:pt x="516" y="164"/>
                  </a:lnTo>
                  <a:lnTo>
                    <a:pt x="515" y="164"/>
                  </a:lnTo>
                  <a:lnTo>
                    <a:pt x="513" y="163"/>
                  </a:lnTo>
                  <a:lnTo>
                    <a:pt x="513" y="164"/>
                  </a:lnTo>
                  <a:lnTo>
                    <a:pt x="512" y="164"/>
                  </a:lnTo>
                  <a:lnTo>
                    <a:pt x="512" y="165"/>
                  </a:lnTo>
                  <a:lnTo>
                    <a:pt x="511" y="165"/>
                  </a:lnTo>
                  <a:lnTo>
                    <a:pt x="510" y="163"/>
                  </a:lnTo>
                  <a:lnTo>
                    <a:pt x="510" y="163"/>
                  </a:lnTo>
                  <a:lnTo>
                    <a:pt x="509" y="163"/>
                  </a:lnTo>
                  <a:lnTo>
                    <a:pt x="506" y="162"/>
                  </a:lnTo>
                  <a:lnTo>
                    <a:pt x="506" y="160"/>
                  </a:lnTo>
                  <a:lnTo>
                    <a:pt x="505" y="160"/>
                  </a:lnTo>
                  <a:lnTo>
                    <a:pt x="504" y="162"/>
                  </a:lnTo>
                  <a:lnTo>
                    <a:pt x="503" y="162"/>
                  </a:lnTo>
                  <a:lnTo>
                    <a:pt x="503" y="162"/>
                  </a:lnTo>
                  <a:lnTo>
                    <a:pt x="502" y="160"/>
                  </a:lnTo>
                  <a:lnTo>
                    <a:pt x="502" y="159"/>
                  </a:lnTo>
                  <a:lnTo>
                    <a:pt x="501" y="159"/>
                  </a:lnTo>
                  <a:lnTo>
                    <a:pt x="501" y="159"/>
                  </a:lnTo>
                  <a:lnTo>
                    <a:pt x="502" y="158"/>
                  </a:lnTo>
                  <a:lnTo>
                    <a:pt x="503" y="158"/>
                  </a:lnTo>
                  <a:lnTo>
                    <a:pt x="502" y="158"/>
                  </a:lnTo>
                  <a:lnTo>
                    <a:pt x="502" y="158"/>
                  </a:lnTo>
                  <a:lnTo>
                    <a:pt x="502" y="157"/>
                  </a:lnTo>
                  <a:lnTo>
                    <a:pt x="501" y="157"/>
                  </a:lnTo>
                  <a:lnTo>
                    <a:pt x="501" y="157"/>
                  </a:lnTo>
                  <a:lnTo>
                    <a:pt x="499" y="156"/>
                  </a:lnTo>
                  <a:lnTo>
                    <a:pt x="499" y="155"/>
                  </a:lnTo>
                  <a:lnTo>
                    <a:pt x="501" y="155"/>
                  </a:lnTo>
                  <a:lnTo>
                    <a:pt x="502" y="155"/>
                  </a:lnTo>
                  <a:lnTo>
                    <a:pt x="503" y="155"/>
                  </a:lnTo>
                  <a:lnTo>
                    <a:pt x="505" y="155"/>
                  </a:lnTo>
                  <a:lnTo>
                    <a:pt x="506" y="155"/>
                  </a:lnTo>
                  <a:lnTo>
                    <a:pt x="506" y="155"/>
                  </a:lnTo>
                  <a:lnTo>
                    <a:pt x="506" y="153"/>
                  </a:lnTo>
                  <a:lnTo>
                    <a:pt x="508" y="152"/>
                  </a:lnTo>
                  <a:lnTo>
                    <a:pt x="509" y="152"/>
                  </a:lnTo>
                  <a:lnTo>
                    <a:pt x="512" y="152"/>
                  </a:lnTo>
                  <a:lnTo>
                    <a:pt x="512" y="155"/>
                  </a:lnTo>
                  <a:lnTo>
                    <a:pt x="513" y="155"/>
                  </a:lnTo>
                  <a:lnTo>
                    <a:pt x="515" y="155"/>
                  </a:lnTo>
                  <a:lnTo>
                    <a:pt x="516" y="155"/>
                  </a:lnTo>
                  <a:lnTo>
                    <a:pt x="517" y="155"/>
                  </a:lnTo>
                  <a:lnTo>
                    <a:pt x="518" y="156"/>
                  </a:lnTo>
                  <a:lnTo>
                    <a:pt x="518" y="156"/>
                  </a:lnTo>
                  <a:lnTo>
                    <a:pt x="519" y="156"/>
                  </a:lnTo>
                  <a:lnTo>
                    <a:pt x="520" y="156"/>
                  </a:lnTo>
                  <a:lnTo>
                    <a:pt x="521" y="156"/>
                  </a:lnTo>
                  <a:lnTo>
                    <a:pt x="521" y="156"/>
                  </a:lnTo>
                  <a:lnTo>
                    <a:pt x="521" y="155"/>
                  </a:lnTo>
                  <a:lnTo>
                    <a:pt x="520" y="155"/>
                  </a:lnTo>
                  <a:lnTo>
                    <a:pt x="521" y="153"/>
                  </a:lnTo>
                  <a:lnTo>
                    <a:pt x="521" y="152"/>
                  </a:lnTo>
                  <a:lnTo>
                    <a:pt x="521" y="152"/>
                  </a:lnTo>
                  <a:lnTo>
                    <a:pt x="523" y="151"/>
                  </a:lnTo>
                  <a:lnTo>
                    <a:pt x="523" y="151"/>
                  </a:lnTo>
                  <a:lnTo>
                    <a:pt x="523" y="150"/>
                  </a:lnTo>
                  <a:lnTo>
                    <a:pt x="521" y="150"/>
                  </a:lnTo>
                  <a:lnTo>
                    <a:pt x="520" y="149"/>
                  </a:lnTo>
                  <a:lnTo>
                    <a:pt x="520" y="145"/>
                  </a:lnTo>
                  <a:lnTo>
                    <a:pt x="524" y="145"/>
                  </a:lnTo>
                  <a:lnTo>
                    <a:pt x="525" y="147"/>
                  </a:lnTo>
                  <a:lnTo>
                    <a:pt x="525" y="148"/>
                  </a:lnTo>
                  <a:lnTo>
                    <a:pt x="526" y="148"/>
                  </a:lnTo>
                  <a:lnTo>
                    <a:pt x="526" y="149"/>
                  </a:lnTo>
                  <a:lnTo>
                    <a:pt x="526" y="150"/>
                  </a:lnTo>
                  <a:lnTo>
                    <a:pt x="526" y="150"/>
                  </a:lnTo>
                  <a:lnTo>
                    <a:pt x="527" y="151"/>
                  </a:lnTo>
                  <a:lnTo>
                    <a:pt x="527" y="151"/>
                  </a:lnTo>
                  <a:lnTo>
                    <a:pt x="528" y="150"/>
                  </a:lnTo>
                  <a:lnTo>
                    <a:pt x="528" y="149"/>
                  </a:lnTo>
                  <a:lnTo>
                    <a:pt x="530" y="149"/>
                  </a:lnTo>
                  <a:lnTo>
                    <a:pt x="531" y="149"/>
                  </a:lnTo>
                  <a:lnTo>
                    <a:pt x="532" y="149"/>
                  </a:lnTo>
                  <a:lnTo>
                    <a:pt x="532" y="148"/>
                  </a:lnTo>
                  <a:lnTo>
                    <a:pt x="533" y="148"/>
                  </a:lnTo>
                  <a:lnTo>
                    <a:pt x="534" y="149"/>
                  </a:lnTo>
                  <a:lnTo>
                    <a:pt x="535" y="149"/>
                  </a:lnTo>
                  <a:lnTo>
                    <a:pt x="535" y="149"/>
                  </a:lnTo>
                  <a:lnTo>
                    <a:pt x="535" y="148"/>
                  </a:lnTo>
                  <a:lnTo>
                    <a:pt x="534" y="148"/>
                  </a:lnTo>
                  <a:lnTo>
                    <a:pt x="534" y="148"/>
                  </a:lnTo>
                  <a:lnTo>
                    <a:pt x="534" y="147"/>
                  </a:lnTo>
                  <a:lnTo>
                    <a:pt x="535" y="145"/>
                  </a:lnTo>
                  <a:lnTo>
                    <a:pt x="536" y="145"/>
                  </a:lnTo>
                  <a:lnTo>
                    <a:pt x="538" y="144"/>
                  </a:lnTo>
                  <a:lnTo>
                    <a:pt x="539" y="144"/>
                  </a:lnTo>
                  <a:lnTo>
                    <a:pt x="539" y="144"/>
                  </a:lnTo>
                  <a:lnTo>
                    <a:pt x="540" y="144"/>
                  </a:lnTo>
                  <a:lnTo>
                    <a:pt x="542" y="144"/>
                  </a:lnTo>
                  <a:lnTo>
                    <a:pt x="543" y="144"/>
                  </a:lnTo>
                  <a:lnTo>
                    <a:pt x="545" y="143"/>
                  </a:lnTo>
                  <a:lnTo>
                    <a:pt x="546" y="142"/>
                  </a:lnTo>
                  <a:lnTo>
                    <a:pt x="546" y="141"/>
                  </a:lnTo>
                  <a:lnTo>
                    <a:pt x="546" y="141"/>
                  </a:lnTo>
                  <a:lnTo>
                    <a:pt x="546" y="141"/>
                  </a:lnTo>
                  <a:lnTo>
                    <a:pt x="546" y="141"/>
                  </a:lnTo>
                  <a:lnTo>
                    <a:pt x="546" y="140"/>
                  </a:lnTo>
                  <a:lnTo>
                    <a:pt x="546" y="138"/>
                  </a:lnTo>
                  <a:lnTo>
                    <a:pt x="547" y="138"/>
                  </a:lnTo>
                  <a:lnTo>
                    <a:pt x="547" y="138"/>
                  </a:lnTo>
                  <a:lnTo>
                    <a:pt x="547" y="138"/>
                  </a:lnTo>
                  <a:lnTo>
                    <a:pt x="547" y="138"/>
                  </a:lnTo>
                  <a:lnTo>
                    <a:pt x="548" y="137"/>
                  </a:lnTo>
                  <a:lnTo>
                    <a:pt x="549" y="137"/>
                  </a:lnTo>
                  <a:lnTo>
                    <a:pt x="553" y="137"/>
                  </a:lnTo>
                  <a:lnTo>
                    <a:pt x="554" y="137"/>
                  </a:lnTo>
                  <a:lnTo>
                    <a:pt x="554" y="136"/>
                  </a:lnTo>
                  <a:lnTo>
                    <a:pt x="555" y="135"/>
                  </a:lnTo>
                  <a:lnTo>
                    <a:pt x="556" y="135"/>
                  </a:lnTo>
                  <a:lnTo>
                    <a:pt x="557" y="134"/>
                  </a:lnTo>
                  <a:lnTo>
                    <a:pt x="560" y="133"/>
                  </a:lnTo>
                  <a:lnTo>
                    <a:pt x="561" y="131"/>
                  </a:lnTo>
                  <a:lnTo>
                    <a:pt x="562" y="131"/>
                  </a:lnTo>
                  <a:lnTo>
                    <a:pt x="563" y="133"/>
                  </a:lnTo>
                  <a:lnTo>
                    <a:pt x="563" y="134"/>
                  </a:lnTo>
                  <a:lnTo>
                    <a:pt x="563" y="134"/>
                  </a:lnTo>
                  <a:lnTo>
                    <a:pt x="564" y="134"/>
                  </a:lnTo>
                  <a:lnTo>
                    <a:pt x="564" y="133"/>
                  </a:lnTo>
                  <a:lnTo>
                    <a:pt x="565" y="133"/>
                  </a:lnTo>
                  <a:lnTo>
                    <a:pt x="566" y="134"/>
                  </a:lnTo>
                  <a:lnTo>
                    <a:pt x="566" y="134"/>
                  </a:lnTo>
                  <a:lnTo>
                    <a:pt x="566" y="133"/>
                  </a:lnTo>
                  <a:lnTo>
                    <a:pt x="566" y="133"/>
                  </a:lnTo>
                  <a:lnTo>
                    <a:pt x="568" y="134"/>
                  </a:lnTo>
                  <a:lnTo>
                    <a:pt x="568" y="133"/>
                  </a:lnTo>
                  <a:lnTo>
                    <a:pt x="568" y="131"/>
                  </a:lnTo>
                  <a:lnTo>
                    <a:pt x="566" y="131"/>
                  </a:lnTo>
                  <a:lnTo>
                    <a:pt x="566" y="131"/>
                  </a:lnTo>
                  <a:lnTo>
                    <a:pt x="564" y="131"/>
                  </a:lnTo>
                  <a:lnTo>
                    <a:pt x="565" y="131"/>
                  </a:lnTo>
                  <a:lnTo>
                    <a:pt x="566" y="131"/>
                  </a:lnTo>
                  <a:lnTo>
                    <a:pt x="566" y="131"/>
                  </a:lnTo>
                  <a:lnTo>
                    <a:pt x="566" y="130"/>
                  </a:lnTo>
                  <a:lnTo>
                    <a:pt x="566" y="130"/>
                  </a:lnTo>
                  <a:lnTo>
                    <a:pt x="565" y="130"/>
                  </a:lnTo>
                  <a:lnTo>
                    <a:pt x="565" y="129"/>
                  </a:lnTo>
                  <a:lnTo>
                    <a:pt x="564" y="128"/>
                  </a:lnTo>
                  <a:lnTo>
                    <a:pt x="565" y="128"/>
                  </a:lnTo>
                  <a:lnTo>
                    <a:pt x="566" y="127"/>
                  </a:lnTo>
                  <a:lnTo>
                    <a:pt x="566" y="126"/>
                  </a:lnTo>
                  <a:lnTo>
                    <a:pt x="568" y="125"/>
                  </a:lnTo>
                  <a:lnTo>
                    <a:pt x="568" y="123"/>
                  </a:lnTo>
                  <a:lnTo>
                    <a:pt x="569" y="122"/>
                  </a:lnTo>
                  <a:lnTo>
                    <a:pt x="569" y="121"/>
                  </a:lnTo>
                  <a:lnTo>
                    <a:pt x="570" y="121"/>
                  </a:lnTo>
                  <a:lnTo>
                    <a:pt x="570" y="122"/>
                  </a:lnTo>
                  <a:lnTo>
                    <a:pt x="571" y="122"/>
                  </a:lnTo>
                  <a:lnTo>
                    <a:pt x="571" y="121"/>
                  </a:lnTo>
                  <a:lnTo>
                    <a:pt x="571" y="121"/>
                  </a:lnTo>
                  <a:lnTo>
                    <a:pt x="571" y="123"/>
                  </a:lnTo>
                  <a:lnTo>
                    <a:pt x="572" y="123"/>
                  </a:lnTo>
                  <a:lnTo>
                    <a:pt x="572" y="123"/>
                  </a:lnTo>
                  <a:lnTo>
                    <a:pt x="572" y="125"/>
                  </a:lnTo>
                  <a:lnTo>
                    <a:pt x="571" y="125"/>
                  </a:lnTo>
                  <a:lnTo>
                    <a:pt x="571" y="127"/>
                  </a:lnTo>
                  <a:lnTo>
                    <a:pt x="573" y="127"/>
                  </a:lnTo>
                  <a:lnTo>
                    <a:pt x="573" y="126"/>
                  </a:lnTo>
                  <a:lnTo>
                    <a:pt x="573" y="125"/>
                  </a:lnTo>
                  <a:lnTo>
                    <a:pt x="575" y="125"/>
                  </a:lnTo>
                  <a:lnTo>
                    <a:pt x="575" y="123"/>
                  </a:lnTo>
                  <a:lnTo>
                    <a:pt x="576" y="122"/>
                  </a:lnTo>
                  <a:lnTo>
                    <a:pt x="576" y="122"/>
                  </a:lnTo>
                  <a:lnTo>
                    <a:pt x="576" y="121"/>
                  </a:lnTo>
                  <a:lnTo>
                    <a:pt x="575" y="121"/>
                  </a:lnTo>
                  <a:lnTo>
                    <a:pt x="573" y="121"/>
                  </a:lnTo>
                  <a:lnTo>
                    <a:pt x="573" y="121"/>
                  </a:lnTo>
                  <a:lnTo>
                    <a:pt x="573" y="120"/>
                  </a:lnTo>
                  <a:lnTo>
                    <a:pt x="575" y="120"/>
                  </a:lnTo>
                  <a:lnTo>
                    <a:pt x="575" y="119"/>
                  </a:lnTo>
                  <a:lnTo>
                    <a:pt x="575" y="118"/>
                  </a:lnTo>
                  <a:lnTo>
                    <a:pt x="578" y="118"/>
                  </a:lnTo>
                  <a:lnTo>
                    <a:pt x="579" y="119"/>
                  </a:lnTo>
                  <a:lnTo>
                    <a:pt x="580" y="119"/>
                  </a:lnTo>
                  <a:lnTo>
                    <a:pt x="581" y="118"/>
                  </a:lnTo>
                  <a:lnTo>
                    <a:pt x="581" y="118"/>
                  </a:lnTo>
                  <a:lnTo>
                    <a:pt x="581" y="120"/>
                  </a:lnTo>
                  <a:lnTo>
                    <a:pt x="583" y="119"/>
                  </a:lnTo>
                  <a:lnTo>
                    <a:pt x="583" y="118"/>
                  </a:lnTo>
                  <a:lnTo>
                    <a:pt x="583" y="118"/>
                  </a:lnTo>
                  <a:lnTo>
                    <a:pt x="584" y="118"/>
                  </a:lnTo>
                  <a:lnTo>
                    <a:pt x="585" y="118"/>
                  </a:lnTo>
                  <a:lnTo>
                    <a:pt x="586" y="116"/>
                  </a:lnTo>
                  <a:lnTo>
                    <a:pt x="586" y="116"/>
                  </a:lnTo>
                  <a:lnTo>
                    <a:pt x="586" y="116"/>
                  </a:lnTo>
                  <a:lnTo>
                    <a:pt x="587" y="116"/>
                  </a:lnTo>
                  <a:lnTo>
                    <a:pt x="591" y="116"/>
                  </a:lnTo>
                  <a:lnTo>
                    <a:pt x="591" y="118"/>
                  </a:lnTo>
                  <a:lnTo>
                    <a:pt x="593" y="118"/>
                  </a:lnTo>
                  <a:lnTo>
                    <a:pt x="592" y="118"/>
                  </a:lnTo>
                  <a:lnTo>
                    <a:pt x="592" y="118"/>
                  </a:lnTo>
                  <a:lnTo>
                    <a:pt x="592" y="118"/>
                  </a:lnTo>
                  <a:lnTo>
                    <a:pt x="593" y="116"/>
                  </a:lnTo>
                  <a:lnTo>
                    <a:pt x="593" y="116"/>
                  </a:lnTo>
                  <a:lnTo>
                    <a:pt x="593" y="116"/>
                  </a:lnTo>
                  <a:lnTo>
                    <a:pt x="594" y="116"/>
                  </a:lnTo>
                  <a:lnTo>
                    <a:pt x="594" y="118"/>
                  </a:lnTo>
                  <a:lnTo>
                    <a:pt x="594" y="116"/>
                  </a:lnTo>
                  <a:lnTo>
                    <a:pt x="594" y="115"/>
                  </a:lnTo>
                  <a:lnTo>
                    <a:pt x="594" y="114"/>
                  </a:lnTo>
                  <a:lnTo>
                    <a:pt x="595" y="114"/>
                  </a:lnTo>
                  <a:lnTo>
                    <a:pt x="596" y="114"/>
                  </a:lnTo>
                  <a:lnTo>
                    <a:pt x="596" y="114"/>
                  </a:lnTo>
                  <a:lnTo>
                    <a:pt x="598" y="114"/>
                  </a:lnTo>
                  <a:lnTo>
                    <a:pt x="599" y="113"/>
                  </a:lnTo>
                  <a:lnTo>
                    <a:pt x="600" y="114"/>
                  </a:lnTo>
                  <a:lnTo>
                    <a:pt x="600" y="114"/>
                  </a:lnTo>
                  <a:lnTo>
                    <a:pt x="600" y="115"/>
                  </a:lnTo>
                  <a:lnTo>
                    <a:pt x="600" y="115"/>
                  </a:lnTo>
                  <a:lnTo>
                    <a:pt x="601" y="116"/>
                  </a:lnTo>
                  <a:lnTo>
                    <a:pt x="601" y="115"/>
                  </a:lnTo>
                  <a:lnTo>
                    <a:pt x="600" y="114"/>
                  </a:lnTo>
                  <a:lnTo>
                    <a:pt x="599" y="114"/>
                  </a:lnTo>
                  <a:lnTo>
                    <a:pt x="598" y="113"/>
                  </a:lnTo>
                  <a:lnTo>
                    <a:pt x="596" y="113"/>
                  </a:lnTo>
                  <a:lnTo>
                    <a:pt x="596" y="112"/>
                  </a:lnTo>
                  <a:lnTo>
                    <a:pt x="596" y="112"/>
                  </a:lnTo>
                  <a:lnTo>
                    <a:pt x="596" y="111"/>
                  </a:lnTo>
                  <a:lnTo>
                    <a:pt x="596" y="111"/>
                  </a:lnTo>
                  <a:lnTo>
                    <a:pt x="595" y="110"/>
                  </a:lnTo>
                  <a:lnTo>
                    <a:pt x="595" y="110"/>
                  </a:lnTo>
                  <a:lnTo>
                    <a:pt x="594" y="110"/>
                  </a:lnTo>
                  <a:lnTo>
                    <a:pt x="594" y="110"/>
                  </a:lnTo>
                  <a:lnTo>
                    <a:pt x="594" y="108"/>
                  </a:lnTo>
                  <a:lnTo>
                    <a:pt x="593" y="107"/>
                  </a:lnTo>
                  <a:lnTo>
                    <a:pt x="593" y="106"/>
                  </a:lnTo>
                  <a:lnTo>
                    <a:pt x="593" y="106"/>
                  </a:lnTo>
                  <a:lnTo>
                    <a:pt x="593" y="105"/>
                  </a:lnTo>
                  <a:lnTo>
                    <a:pt x="593" y="104"/>
                  </a:lnTo>
                  <a:lnTo>
                    <a:pt x="593" y="104"/>
                  </a:lnTo>
                  <a:lnTo>
                    <a:pt x="593" y="104"/>
                  </a:lnTo>
                  <a:lnTo>
                    <a:pt x="592" y="103"/>
                  </a:lnTo>
                  <a:lnTo>
                    <a:pt x="592" y="103"/>
                  </a:lnTo>
                  <a:lnTo>
                    <a:pt x="591" y="103"/>
                  </a:lnTo>
                  <a:lnTo>
                    <a:pt x="591" y="103"/>
                  </a:lnTo>
                  <a:lnTo>
                    <a:pt x="591" y="101"/>
                  </a:lnTo>
                  <a:lnTo>
                    <a:pt x="590" y="101"/>
                  </a:lnTo>
                  <a:lnTo>
                    <a:pt x="590" y="100"/>
                  </a:lnTo>
                  <a:lnTo>
                    <a:pt x="591" y="100"/>
                  </a:lnTo>
                  <a:lnTo>
                    <a:pt x="591" y="99"/>
                  </a:lnTo>
                  <a:lnTo>
                    <a:pt x="590" y="98"/>
                  </a:lnTo>
                  <a:lnTo>
                    <a:pt x="590" y="98"/>
                  </a:lnTo>
                  <a:lnTo>
                    <a:pt x="590" y="98"/>
                  </a:lnTo>
                  <a:lnTo>
                    <a:pt x="588" y="97"/>
                  </a:lnTo>
                  <a:lnTo>
                    <a:pt x="588" y="93"/>
                  </a:lnTo>
                  <a:lnTo>
                    <a:pt x="588" y="93"/>
                  </a:lnTo>
                  <a:lnTo>
                    <a:pt x="587" y="92"/>
                  </a:lnTo>
                  <a:lnTo>
                    <a:pt x="587" y="92"/>
                  </a:lnTo>
                  <a:lnTo>
                    <a:pt x="587" y="92"/>
                  </a:lnTo>
                  <a:lnTo>
                    <a:pt x="588" y="91"/>
                  </a:lnTo>
                  <a:lnTo>
                    <a:pt x="588" y="91"/>
                  </a:lnTo>
                  <a:lnTo>
                    <a:pt x="590" y="91"/>
                  </a:lnTo>
                  <a:lnTo>
                    <a:pt x="591" y="92"/>
                  </a:lnTo>
                  <a:lnTo>
                    <a:pt x="591" y="92"/>
                  </a:lnTo>
                  <a:lnTo>
                    <a:pt x="592" y="93"/>
                  </a:lnTo>
                  <a:lnTo>
                    <a:pt x="592" y="92"/>
                  </a:lnTo>
                  <a:lnTo>
                    <a:pt x="593" y="92"/>
                  </a:lnTo>
                  <a:lnTo>
                    <a:pt x="592" y="91"/>
                  </a:lnTo>
                  <a:lnTo>
                    <a:pt x="592" y="91"/>
                  </a:lnTo>
                  <a:lnTo>
                    <a:pt x="592" y="91"/>
                  </a:lnTo>
                  <a:lnTo>
                    <a:pt x="593" y="90"/>
                  </a:lnTo>
                  <a:lnTo>
                    <a:pt x="594" y="90"/>
                  </a:lnTo>
                  <a:lnTo>
                    <a:pt x="594" y="90"/>
                  </a:lnTo>
                  <a:lnTo>
                    <a:pt x="594" y="92"/>
                  </a:lnTo>
                  <a:lnTo>
                    <a:pt x="593" y="92"/>
                  </a:lnTo>
                  <a:lnTo>
                    <a:pt x="593" y="92"/>
                  </a:lnTo>
                  <a:lnTo>
                    <a:pt x="594" y="92"/>
                  </a:lnTo>
                  <a:lnTo>
                    <a:pt x="594" y="92"/>
                  </a:lnTo>
                  <a:lnTo>
                    <a:pt x="594" y="91"/>
                  </a:lnTo>
                  <a:lnTo>
                    <a:pt x="594" y="91"/>
                  </a:lnTo>
                  <a:lnTo>
                    <a:pt x="595" y="90"/>
                  </a:lnTo>
                  <a:lnTo>
                    <a:pt x="596" y="90"/>
                  </a:lnTo>
                  <a:lnTo>
                    <a:pt x="598" y="90"/>
                  </a:lnTo>
                  <a:lnTo>
                    <a:pt x="599" y="90"/>
                  </a:lnTo>
                  <a:lnTo>
                    <a:pt x="599" y="91"/>
                  </a:lnTo>
                  <a:lnTo>
                    <a:pt x="600" y="92"/>
                  </a:lnTo>
                  <a:lnTo>
                    <a:pt x="600" y="92"/>
                  </a:lnTo>
                  <a:lnTo>
                    <a:pt x="600" y="92"/>
                  </a:lnTo>
                  <a:lnTo>
                    <a:pt x="600" y="93"/>
                  </a:lnTo>
                  <a:lnTo>
                    <a:pt x="600" y="93"/>
                  </a:lnTo>
                  <a:lnTo>
                    <a:pt x="600" y="93"/>
                  </a:lnTo>
                  <a:lnTo>
                    <a:pt x="600" y="93"/>
                  </a:lnTo>
                  <a:lnTo>
                    <a:pt x="601" y="95"/>
                  </a:lnTo>
                  <a:lnTo>
                    <a:pt x="601" y="95"/>
                  </a:lnTo>
                  <a:lnTo>
                    <a:pt x="601" y="95"/>
                  </a:lnTo>
                  <a:lnTo>
                    <a:pt x="601" y="96"/>
                  </a:lnTo>
                  <a:lnTo>
                    <a:pt x="601" y="95"/>
                  </a:lnTo>
                  <a:lnTo>
                    <a:pt x="602" y="95"/>
                  </a:lnTo>
                  <a:lnTo>
                    <a:pt x="603" y="95"/>
                  </a:lnTo>
                  <a:lnTo>
                    <a:pt x="605" y="95"/>
                  </a:lnTo>
                  <a:lnTo>
                    <a:pt x="605" y="96"/>
                  </a:lnTo>
                  <a:lnTo>
                    <a:pt x="606" y="96"/>
                  </a:lnTo>
                  <a:lnTo>
                    <a:pt x="605" y="97"/>
                  </a:lnTo>
                  <a:lnTo>
                    <a:pt x="605" y="97"/>
                  </a:lnTo>
                  <a:lnTo>
                    <a:pt x="603" y="97"/>
                  </a:lnTo>
                  <a:lnTo>
                    <a:pt x="602" y="97"/>
                  </a:lnTo>
                  <a:lnTo>
                    <a:pt x="602" y="98"/>
                  </a:lnTo>
                  <a:lnTo>
                    <a:pt x="602" y="98"/>
                  </a:lnTo>
                  <a:lnTo>
                    <a:pt x="601" y="99"/>
                  </a:lnTo>
                  <a:lnTo>
                    <a:pt x="600" y="99"/>
                  </a:lnTo>
                  <a:lnTo>
                    <a:pt x="600" y="100"/>
                  </a:lnTo>
                  <a:lnTo>
                    <a:pt x="600" y="100"/>
                  </a:lnTo>
                  <a:lnTo>
                    <a:pt x="599" y="100"/>
                  </a:lnTo>
                  <a:lnTo>
                    <a:pt x="599" y="101"/>
                  </a:lnTo>
                  <a:lnTo>
                    <a:pt x="599" y="101"/>
                  </a:lnTo>
                  <a:lnTo>
                    <a:pt x="598" y="103"/>
                  </a:lnTo>
                  <a:lnTo>
                    <a:pt x="596" y="103"/>
                  </a:lnTo>
                  <a:lnTo>
                    <a:pt x="596" y="104"/>
                  </a:lnTo>
                  <a:lnTo>
                    <a:pt x="598" y="104"/>
                  </a:lnTo>
                  <a:lnTo>
                    <a:pt x="598" y="106"/>
                  </a:lnTo>
                  <a:lnTo>
                    <a:pt x="600" y="106"/>
                  </a:lnTo>
                  <a:lnTo>
                    <a:pt x="600" y="107"/>
                  </a:lnTo>
                  <a:lnTo>
                    <a:pt x="600" y="107"/>
                  </a:lnTo>
                  <a:lnTo>
                    <a:pt x="600" y="107"/>
                  </a:lnTo>
                  <a:lnTo>
                    <a:pt x="601" y="108"/>
                  </a:lnTo>
                  <a:lnTo>
                    <a:pt x="601" y="110"/>
                  </a:lnTo>
                  <a:lnTo>
                    <a:pt x="601" y="108"/>
                  </a:lnTo>
                  <a:lnTo>
                    <a:pt x="602" y="108"/>
                  </a:lnTo>
                  <a:lnTo>
                    <a:pt x="602" y="108"/>
                  </a:lnTo>
                  <a:lnTo>
                    <a:pt x="603" y="110"/>
                  </a:lnTo>
                  <a:lnTo>
                    <a:pt x="607" y="110"/>
                  </a:lnTo>
                  <a:lnTo>
                    <a:pt x="608" y="111"/>
                  </a:lnTo>
                  <a:lnTo>
                    <a:pt x="608" y="111"/>
                  </a:lnTo>
                  <a:lnTo>
                    <a:pt x="608" y="112"/>
                  </a:lnTo>
                  <a:lnTo>
                    <a:pt x="607" y="112"/>
                  </a:lnTo>
                  <a:lnTo>
                    <a:pt x="607" y="112"/>
                  </a:lnTo>
                  <a:lnTo>
                    <a:pt x="606" y="112"/>
                  </a:lnTo>
                  <a:lnTo>
                    <a:pt x="607" y="113"/>
                  </a:lnTo>
                  <a:lnTo>
                    <a:pt x="610" y="113"/>
                  </a:lnTo>
                  <a:lnTo>
                    <a:pt x="611" y="113"/>
                  </a:lnTo>
                  <a:lnTo>
                    <a:pt x="613" y="113"/>
                  </a:lnTo>
                  <a:lnTo>
                    <a:pt x="613" y="113"/>
                  </a:lnTo>
                  <a:lnTo>
                    <a:pt x="614" y="113"/>
                  </a:lnTo>
                  <a:lnTo>
                    <a:pt x="617" y="113"/>
                  </a:lnTo>
                  <a:lnTo>
                    <a:pt x="617" y="113"/>
                  </a:lnTo>
                  <a:lnTo>
                    <a:pt x="618" y="113"/>
                  </a:lnTo>
                  <a:lnTo>
                    <a:pt x="620" y="113"/>
                  </a:lnTo>
                  <a:lnTo>
                    <a:pt x="621" y="113"/>
                  </a:lnTo>
                  <a:lnTo>
                    <a:pt x="622" y="112"/>
                  </a:lnTo>
                  <a:lnTo>
                    <a:pt x="622" y="112"/>
                  </a:lnTo>
                  <a:lnTo>
                    <a:pt x="623" y="111"/>
                  </a:lnTo>
                  <a:lnTo>
                    <a:pt x="624" y="111"/>
                  </a:lnTo>
                  <a:lnTo>
                    <a:pt x="623" y="112"/>
                  </a:lnTo>
                  <a:lnTo>
                    <a:pt x="623" y="112"/>
                  </a:lnTo>
                  <a:lnTo>
                    <a:pt x="623" y="113"/>
                  </a:lnTo>
                  <a:lnTo>
                    <a:pt x="624" y="113"/>
                  </a:lnTo>
                  <a:lnTo>
                    <a:pt x="625" y="111"/>
                  </a:lnTo>
                  <a:lnTo>
                    <a:pt x="626" y="111"/>
                  </a:lnTo>
                  <a:lnTo>
                    <a:pt x="628" y="111"/>
                  </a:lnTo>
                  <a:lnTo>
                    <a:pt x="628" y="112"/>
                  </a:lnTo>
                  <a:lnTo>
                    <a:pt x="629" y="113"/>
                  </a:lnTo>
                  <a:lnTo>
                    <a:pt x="630" y="112"/>
                  </a:lnTo>
                  <a:lnTo>
                    <a:pt x="630" y="112"/>
                  </a:lnTo>
                  <a:lnTo>
                    <a:pt x="630" y="111"/>
                  </a:lnTo>
                  <a:lnTo>
                    <a:pt x="630" y="111"/>
                  </a:lnTo>
                  <a:lnTo>
                    <a:pt x="631" y="111"/>
                  </a:lnTo>
                  <a:lnTo>
                    <a:pt x="631" y="111"/>
                  </a:lnTo>
                  <a:lnTo>
                    <a:pt x="632" y="112"/>
                  </a:lnTo>
                  <a:lnTo>
                    <a:pt x="632" y="112"/>
                  </a:lnTo>
                  <a:lnTo>
                    <a:pt x="632" y="113"/>
                  </a:lnTo>
                  <a:lnTo>
                    <a:pt x="633" y="113"/>
                  </a:lnTo>
                  <a:lnTo>
                    <a:pt x="633" y="114"/>
                  </a:lnTo>
                  <a:lnTo>
                    <a:pt x="635" y="114"/>
                  </a:lnTo>
                  <a:lnTo>
                    <a:pt x="636" y="114"/>
                  </a:lnTo>
                  <a:lnTo>
                    <a:pt x="637" y="114"/>
                  </a:lnTo>
                  <a:lnTo>
                    <a:pt x="637" y="114"/>
                  </a:lnTo>
                  <a:lnTo>
                    <a:pt x="637" y="113"/>
                  </a:lnTo>
                  <a:lnTo>
                    <a:pt x="638" y="113"/>
                  </a:lnTo>
                  <a:lnTo>
                    <a:pt x="639" y="113"/>
                  </a:lnTo>
                  <a:lnTo>
                    <a:pt x="641" y="112"/>
                  </a:lnTo>
                  <a:lnTo>
                    <a:pt x="643" y="112"/>
                  </a:lnTo>
                  <a:lnTo>
                    <a:pt x="644" y="111"/>
                  </a:lnTo>
                  <a:lnTo>
                    <a:pt x="646" y="111"/>
                  </a:lnTo>
                  <a:lnTo>
                    <a:pt x="648" y="111"/>
                  </a:lnTo>
                  <a:lnTo>
                    <a:pt x="651" y="112"/>
                  </a:lnTo>
                  <a:lnTo>
                    <a:pt x="652" y="112"/>
                  </a:lnTo>
                  <a:lnTo>
                    <a:pt x="654" y="111"/>
                  </a:lnTo>
                  <a:lnTo>
                    <a:pt x="654" y="110"/>
                  </a:lnTo>
                  <a:lnTo>
                    <a:pt x="655" y="110"/>
                  </a:lnTo>
                  <a:lnTo>
                    <a:pt x="657" y="108"/>
                  </a:lnTo>
                  <a:lnTo>
                    <a:pt x="659" y="107"/>
                  </a:lnTo>
                  <a:lnTo>
                    <a:pt x="661" y="107"/>
                  </a:lnTo>
                  <a:lnTo>
                    <a:pt x="663" y="107"/>
                  </a:lnTo>
                  <a:lnTo>
                    <a:pt x="666" y="108"/>
                  </a:lnTo>
                  <a:lnTo>
                    <a:pt x="668" y="110"/>
                  </a:lnTo>
                  <a:lnTo>
                    <a:pt x="669" y="110"/>
                  </a:lnTo>
                  <a:lnTo>
                    <a:pt x="670" y="110"/>
                  </a:lnTo>
                  <a:lnTo>
                    <a:pt x="670" y="111"/>
                  </a:lnTo>
                  <a:lnTo>
                    <a:pt x="672" y="111"/>
                  </a:lnTo>
                  <a:lnTo>
                    <a:pt x="669" y="111"/>
                  </a:lnTo>
                  <a:lnTo>
                    <a:pt x="669" y="111"/>
                  </a:lnTo>
                  <a:lnTo>
                    <a:pt x="668" y="111"/>
                  </a:lnTo>
                  <a:lnTo>
                    <a:pt x="668" y="110"/>
                  </a:lnTo>
                  <a:lnTo>
                    <a:pt x="668" y="111"/>
                  </a:lnTo>
                  <a:lnTo>
                    <a:pt x="668" y="111"/>
                  </a:lnTo>
                  <a:lnTo>
                    <a:pt x="668" y="111"/>
                  </a:lnTo>
                  <a:lnTo>
                    <a:pt x="668" y="112"/>
                  </a:lnTo>
                  <a:lnTo>
                    <a:pt x="669" y="113"/>
                  </a:lnTo>
                  <a:lnTo>
                    <a:pt x="673" y="113"/>
                  </a:lnTo>
                  <a:lnTo>
                    <a:pt x="673" y="113"/>
                  </a:lnTo>
                  <a:lnTo>
                    <a:pt x="674" y="113"/>
                  </a:lnTo>
                  <a:lnTo>
                    <a:pt x="674" y="112"/>
                  </a:lnTo>
                  <a:lnTo>
                    <a:pt x="675" y="111"/>
                  </a:lnTo>
                  <a:lnTo>
                    <a:pt x="675" y="110"/>
                  </a:lnTo>
                  <a:lnTo>
                    <a:pt x="678" y="110"/>
                  </a:lnTo>
                  <a:lnTo>
                    <a:pt x="678" y="108"/>
                  </a:lnTo>
                  <a:lnTo>
                    <a:pt x="680" y="108"/>
                  </a:lnTo>
                  <a:lnTo>
                    <a:pt x="681" y="107"/>
                  </a:lnTo>
                  <a:lnTo>
                    <a:pt x="682" y="107"/>
                  </a:lnTo>
                  <a:lnTo>
                    <a:pt x="682" y="106"/>
                  </a:lnTo>
                  <a:lnTo>
                    <a:pt x="682" y="106"/>
                  </a:lnTo>
                  <a:lnTo>
                    <a:pt x="682" y="107"/>
                  </a:lnTo>
                  <a:lnTo>
                    <a:pt x="682" y="108"/>
                  </a:lnTo>
                  <a:lnTo>
                    <a:pt x="682" y="108"/>
                  </a:lnTo>
                  <a:lnTo>
                    <a:pt x="682" y="110"/>
                  </a:lnTo>
                  <a:lnTo>
                    <a:pt x="682" y="108"/>
                  </a:lnTo>
                  <a:lnTo>
                    <a:pt x="683" y="107"/>
                  </a:lnTo>
                  <a:lnTo>
                    <a:pt x="683" y="106"/>
                  </a:lnTo>
                  <a:lnTo>
                    <a:pt x="683" y="106"/>
                  </a:lnTo>
                  <a:lnTo>
                    <a:pt x="683" y="105"/>
                  </a:lnTo>
                  <a:lnTo>
                    <a:pt x="683" y="104"/>
                  </a:lnTo>
                  <a:lnTo>
                    <a:pt x="683" y="103"/>
                  </a:lnTo>
                  <a:lnTo>
                    <a:pt x="682" y="100"/>
                  </a:lnTo>
                  <a:lnTo>
                    <a:pt x="682" y="99"/>
                  </a:lnTo>
                  <a:lnTo>
                    <a:pt x="682" y="98"/>
                  </a:lnTo>
                  <a:lnTo>
                    <a:pt x="682" y="97"/>
                  </a:lnTo>
                  <a:lnTo>
                    <a:pt x="683" y="96"/>
                  </a:lnTo>
                  <a:lnTo>
                    <a:pt x="684" y="95"/>
                  </a:lnTo>
                  <a:lnTo>
                    <a:pt x="683" y="93"/>
                  </a:lnTo>
                  <a:lnTo>
                    <a:pt x="683" y="92"/>
                  </a:lnTo>
                  <a:lnTo>
                    <a:pt x="683" y="91"/>
                  </a:lnTo>
                  <a:lnTo>
                    <a:pt x="683" y="90"/>
                  </a:lnTo>
                  <a:lnTo>
                    <a:pt x="684" y="89"/>
                  </a:lnTo>
                  <a:lnTo>
                    <a:pt x="685" y="89"/>
                  </a:lnTo>
                  <a:lnTo>
                    <a:pt x="685" y="89"/>
                  </a:lnTo>
                  <a:lnTo>
                    <a:pt x="687" y="88"/>
                  </a:lnTo>
                  <a:lnTo>
                    <a:pt x="689" y="86"/>
                  </a:lnTo>
                  <a:lnTo>
                    <a:pt x="690" y="86"/>
                  </a:lnTo>
                  <a:lnTo>
                    <a:pt x="690" y="86"/>
                  </a:lnTo>
                  <a:lnTo>
                    <a:pt x="690" y="88"/>
                  </a:lnTo>
                  <a:lnTo>
                    <a:pt x="690" y="88"/>
                  </a:lnTo>
                  <a:lnTo>
                    <a:pt x="690" y="88"/>
                  </a:lnTo>
                  <a:lnTo>
                    <a:pt x="691" y="89"/>
                  </a:lnTo>
                  <a:lnTo>
                    <a:pt x="692" y="89"/>
                  </a:lnTo>
                  <a:lnTo>
                    <a:pt x="692" y="90"/>
                  </a:lnTo>
                  <a:lnTo>
                    <a:pt x="693" y="90"/>
                  </a:lnTo>
                  <a:lnTo>
                    <a:pt x="695" y="90"/>
                  </a:lnTo>
                  <a:lnTo>
                    <a:pt x="696" y="92"/>
                  </a:lnTo>
                  <a:lnTo>
                    <a:pt x="696" y="93"/>
                  </a:lnTo>
                  <a:lnTo>
                    <a:pt x="697" y="93"/>
                  </a:lnTo>
                  <a:lnTo>
                    <a:pt x="698" y="93"/>
                  </a:lnTo>
                  <a:lnTo>
                    <a:pt x="699" y="95"/>
                  </a:lnTo>
                  <a:lnTo>
                    <a:pt x="700" y="95"/>
                  </a:lnTo>
                  <a:lnTo>
                    <a:pt x="700" y="93"/>
                  </a:lnTo>
                  <a:lnTo>
                    <a:pt x="702" y="93"/>
                  </a:lnTo>
                  <a:lnTo>
                    <a:pt x="702" y="93"/>
                  </a:lnTo>
                  <a:lnTo>
                    <a:pt x="703" y="93"/>
                  </a:lnTo>
                  <a:lnTo>
                    <a:pt x="704" y="92"/>
                  </a:lnTo>
                  <a:lnTo>
                    <a:pt x="704" y="90"/>
                  </a:lnTo>
                  <a:lnTo>
                    <a:pt x="703" y="88"/>
                  </a:lnTo>
                  <a:lnTo>
                    <a:pt x="703" y="86"/>
                  </a:lnTo>
                  <a:lnTo>
                    <a:pt x="703" y="85"/>
                  </a:lnTo>
                  <a:lnTo>
                    <a:pt x="702" y="84"/>
                  </a:lnTo>
                  <a:lnTo>
                    <a:pt x="702" y="84"/>
                  </a:lnTo>
                  <a:lnTo>
                    <a:pt x="700" y="84"/>
                  </a:lnTo>
                  <a:lnTo>
                    <a:pt x="700" y="85"/>
                  </a:lnTo>
                  <a:lnTo>
                    <a:pt x="700" y="85"/>
                  </a:lnTo>
                  <a:lnTo>
                    <a:pt x="699" y="85"/>
                  </a:lnTo>
                  <a:lnTo>
                    <a:pt x="699" y="84"/>
                  </a:lnTo>
                  <a:lnTo>
                    <a:pt x="698" y="84"/>
                  </a:lnTo>
                  <a:lnTo>
                    <a:pt x="697" y="83"/>
                  </a:lnTo>
                  <a:lnTo>
                    <a:pt x="696" y="82"/>
                  </a:lnTo>
                  <a:lnTo>
                    <a:pt x="696" y="81"/>
                  </a:lnTo>
                  <a:lnTo>
                    <a:pt x="697" y="81"/>
                  </a:lnTo>
                  <a:lnTo>
                    <a:pt x="697" y="81"/>
                  </a:lnTo>
                  <a:lnTo>
                    <a:pt x="696" y="80"/>
                  </a:lnTo>
                  <a:lnTo>
                    <a:pt x="695" y="80"/>
                  </a:lnTo>
                  <a:lnTo>
                    <a:pt x="696" y="77"/>
                  </a:lnTo>
                  <a:lnTo>
                    <a:pt x="696" y="77"/>
                  </a:lnTo>
                  <a:lnTo>
                    <a:pt x="695" y="77"/>
                  </a:lnTo>
                  <a:lnTo>
                    <a:pt x="695" y="77"/>
                  </a:lnTo>
                  <a:lnTo>
                    <a:pt x="696" y="76"/>
                  </a:lnTo>
                  <a:lnTo>
                    <a:pt x="697" y="76"/>
                  </a:lnTo>
                  <a:lnTo>
                    <a:pt x="698" y="75"/>
                  </a:lnTo>
                  <a:lnTo>
                    <a:pt x="698" y="75"/>
                  </a:lnTo>
                  <a:lnTo>
                    <a:pt x="699" y="75"/>
                  </a:lnTo>
                  <a:lnTo>
                    <a:pt x="700" y="76"/>
                  </a:lnTo>
                  <a:lnTo>
                    <a:pt x="702" y="76"/>
                  </a:lnTo>
                  <a:lnTo>
                    <a:pt x="702" y="75"/>
                  </a:lnTo>
                  <a:lnTo>
                    <a:pt x="703" y="74"/>
                  </a:lnTo>
                  <a:lnTo>
                    <a:pt x="704" y="75"/>
                  </a:lnTo>
                  <a:lnTo>
                    <a:pt x="704" y="75"/>
                  </a:lnTo>
                  <a:lnTo>
                    <a:pt x="705" y="75"/>
                  </a:lnTo>
                  <a:lnTo>
                    <a:pt x="706" y="74"/>
                  </a:lnTo>
                  <a:lnTo>
                    <a:pt x="707" y="75"/>
                  </a:lnTo>
                  <a:lnTo>
                    <a:pt x="707" y="75"/>
                  </a:lnTo>
                  <a:lnTo>
                    <a:pt x="707" y="75"/>
                  </a:lnTo>
                  <a:lnTo>
                    <a:pt x="707" y="75"/>
                  </a:lnTo>
                  <a:lnTo>
                    <a:pt x="707" y="74"/>
                  </a:lnTo>
                  <a:lnTo>
                    <a:pt x="710" y="75"/>
                  </a:lnTo>
                  <a:lnTo>
                    <a:pt x="710" y="75"/>
                  </a:lnTo>
                  <a:lnTo>
                    <a:pt x="711" y="75"/>
                  </a:lnTo>
                  <a:lnTo>
                    <a:pt x="712" y="75"/>
                  </a:lnTo>
                  <a:lnTo>
                    <a:pt x="713" y="76"/>
                  </a:lnTo>
                  <a:lnTo>
                    <a:pt x="714" y="77"/>
                  </a:lnTo>
                  <a:lnTo>
                    <a:pt x="715" y="77"/>
                  </a:lnTo>
                  <a:lnTo>
                    <a:pt x="717" y="77"/>
                  </a:lnTo>
                  <a:lnTo>
                    <a:pt x="718" y="77"/>
                  </a:lnTo>
                  <a:lnTo>
                    <a:pt x="719" y="77"/>
                  </a:lnTo>
                  <a:lnTo>
                    <a:pt x="720" y="77"/>
                  </a:lnTo>
                  <a:lnTo>
                    <a:pt x="723" y="77"/>
                  </a:lnTo>
                  <a:lnTo>
                    <a:pt x="723" y="77"/>
                  </a:lnTo>
                  <a:lnTo>
                    <a:pt x="723" y="76"/>
                  </a:lnTo>
                  <a:lnTo>
                    <a:pt x="722" y="75"/>
                  </a:lnTo>
                  <a:lnTo>
                    <a:pt x="723" y="74"/>
                  </a:lnTo>
                  <a:lnTo>
                    <a:pt x="723" y="75"/>
                  </a:lnTo>
                  <a:lnTo>
                    <a:pt x="725" y="75"/>
                  </a:lnTo>
                  <a:lnTo>
                    <a:pt x="725" y="76"/>
                  </a:lnTo>
                  <a:lnTo>
                    <a:pt x="725" y="76"/>
                  </a:lnTo>
                  <a:lnTo>
                    <a:pt x="726" y="76"/>
                  </a:lnTo>
                  <a:lnTo>
                    <a:pt x="726" y="75"/>
                  </a:lnTo>
                  <a:lnTo>
                    <a:pt x="726" y="75"/>
                  </a:lnTo>
                  <a:lnTo>
                    <a:pt x="727" y="75"/>
                  </a:lnTo>
                  <a:lnTo>
                    <a:pt x="728" y="75"/>
                  </a:lnTo>
                  <a:lnTo>
                    <a:pt x="729" y="75"/>
                  </a:lnTo>
                  <a:lnTo>
                    <a:pt x="730" y="74"/>
                  </a:lnTo>
                  <a:lnTo>
                    <a:pt x="730" y="74"/>
                  </a:lnTo>
                  <a:lnTo>
                    <a:pt x="732" y="74"/>
                  </a:lnTo>
                  <a:lnTo>
                    <a:pt x="734" y="74"/>
                  </a:lnTo>
                  <a:lnTo>
                    <a:pt x="736" y="74"/>
                  </a:lnTo>
                  <a:lnTo>
                    <a:pt x="737" y="74"/>
                  </a:lnTo>
                  <a:lnTo>
                    <a:pt x="738" y="74"/>
                  </a:lnTo>
                  <a:lnTo>
                    <a:pt x="738" y="73"/>
                  </a:lnTo>
                  <a:lnTo>
                    <a:pt x="737" y="73"/>
                  </a:lnTo>
                  <a:lnTo>
                    <a:pt x="736" y="73"/>
                  </a:lnTo>
                  <a:lnTo>
                    <a:pt x="736" y="71"/>
                  </a:lnTo>
                  <a:lnTo>
                    <a:pt x="734" y="71"/>
                  </a:lnTo>
                  <a:lnTo>
                    <a:pt x="733" y="70"/>
                  </a:lnTo>
                  <a:lnTo>
                    <a:pt x="732" y="71"/>
                  </a:lnTo>
                  <a:lnTo>
                    <a:pt x="729" y="70"/>
                  </a:lnTo>
                  <a:lnTo>
                    <a:pt x="728" y="70"/>
                  </a:lnTo>
                  <a:lnTo>
                    <a:pt x="727" y="70"/>
                  </a:lnTo>
                  <a:lnTo>
                    <a:pt x="726" y="70"/>
                  </a:lnTo>
                  <a:lnTo>
                    <a:pt x="723" y="70"/>
                  </a:lnTo>
                  <a:lnTo>
                    <a:pt x="722" y="69"/>
                  </a:lnTo>
                  <a:lnTo>
                    <a:pt x="722" y="69"/>
                  </a:lnTo>
                  <a:lnTo>
                    <a:pt x="722" y="69"/>
                  </a:lnTo>
                  <a:lnTo>
                    <a:pt x="723" y="68"/>
                  </a:lnTo>
                  <a:lnTo>
                    <a:pt x="723" y="68"/>
                  </a:lnTo>
                  <a:lnTo>
                    <a:pt x="723" y="68"/>
                  </a:lnTo>
                  <a:lnTo>
                    <a:pt x="723" y="68"/>
                  </a:lnTo>
                  <a:lnTo>
                    <a:pt x="722" y="68"/>
                  </a:lnTo>
                  <a:lnTo>
                    <a:pt x="720" y="69"/>
                  </a:lnTo>
                  <a:lnTo>
                    <a:pt x="717" y="69"/>
                  </a:lnTo>
                  <a:lnTo>
                    <a:pt x="715" y="68"/>
                  </a:lnTo>
                  <a:lnTo>
                    <a:pt x="714" y="68"/>
                  </a:lnTo>
                  <a:lnTo>
                    <a:pt x="713" y="67"/>
                  </a:lnTo>
                  <a:lnTo>
                    <a:pt x="712" y="67"/>
                  </a:lnTo>
                  <a:lnTo>
                    <a:pt x="711" y="67"/>
                  </a:lnTo>
                  <a:lnTo>
                    <a:pt x="708" y="68"/>
                  </a:lnTo>
                  <a:lnTo>
                    <a:pt x="707" y="69"/>
                  </a:lnTo>
                  <a:lnTo>
                    <a:pt x="706" y="69"/>
                  </a:lnTo>
                  <a:lnTo>
                    <a:pt x="705" y="68"/>
                  </a:lnTo>
                  <a:lnTo>
                    <a:pt x="704" y="68"/>
                  </a:lnTo>
                  <a:lnTo>
                    <a:pt x="703" y="69"/>
                  </a:lnTo>
                  <a:lnTo>
                    <a:pt x="700" y="69"/>
                  </a:lnTo>
                  <a:lnTo>
                    <a:pt x="699" y="69"/>
                  </a:lnTo>
                  <a:lnTo>
                    <a:pt x="699" y="69"/>
                  </a:lnTo>
                  <a:lnTo>
                    <a:pt x="698" y="68"/>
                  </a:lnTo>
                  <a:lnTo>
                    <a:pt x="697" y="69"/>
                  </a:lnTo>
                  <a:lnTo>
                    <a:pt x="696" y="70"/>
                  </a:lnTo>
                  <a:lnTo>
                    <a:pt x="696" y="69"/>
                  </a:lnTo>
                  <a:lnTo>
                    <a:pt x="695" y="69"/>
                  </a:lnTo>
                  <a:lnTo>
                    <a:pt x="692" y="69"/>
                  </a:lnTo>
                  <a:lnTo>
                    <a:pt x="690" y="70"/>
                  </a:lnTo>
                  <a:lnTo>
                    <a:pt x="689" y="70"/>
                  </a:lnTo>
                  <a:lnTo>
                    <a:pt x="689" y="70"/>
                  </a:lnTo>
                  <a:lnTo>
                    <a:pt x="689" y="70"/>
                  </a:lnTo>
                  <a:lnTo>
                    <a:pt x="689" y="70"/>
                  </a:lnTo>
                  <a:lnTo>
                    <a:pt x="689" y="70"/>
                  </a:lnTo>
                  <a:lnTo>
                    <a:pt x="687" y="71"/>
                  </a:lnTo>
                  <a:lnTo>
                    <a:pt x="684" y="71"/>
                  </a:lnTo>
                  <a:lnTo>
                    <a:pt x="684" y="73"/>
                  </a:lnTo>
                  <a:lnTo>
                    <a:pt x="683" y="73"/>
                  </a:lnTo>
                  <a:lnTo>
                    <a:pt x="683" y="73"/>
                  </a:lnTo>
                  <a:lnTo>
                    <a:pt x="683" y="71"/>
                  </a:lnTo>
                  <a:lnTo>
                    <a:pt x="683" y="71"/>
                  </a:lnTo>
                  <a:lnTo>
                    <a:pt x="684" y="70"/>
                  </a:lnTo>
                  <a:lnTo>
                    <a:pt x="684" y="70"/>
                  </a:lnTo>
                  <a:lnTo>
                    <a:pt x="683" y="70"/>
                  </a:lnTo>
                  <a:lnTo>
                    <a:pt x="682" y="70"/>
                  </a:lnTo>
                  <a:lnTo>
                    <a:pt x="681" y="70"/>
                  </a:lnTo>
                  <a:lnTo>
                    <a:pt x="681" y="69"/>
                  </a:lnTo>
                  <a:lnTo>
                    <a:pt x="682" y="68"/>
                  </a:lnTo>
                  <a:lnTo>
                    <a:pt x="682" y="67"/>
                  </a:lnTo>
                  <a:lnTo>
                    <a:pt x="680" y="68"/>
                  </a:lnTo>
                  <a:lnTo>
                    <a:pt x="678" y="68"/>
                  </a:lnTo>
                  <a:lnTo>
                    <a:pt x="677" y="68"/>
                  </a:lnTo>
                  <a:lnTo>
                    <a:pt x="677" y="68"/>
                  </a:lnTo>
                  <a:lnTo>
                    <a:pt x="677" y="67"/>
                  </a:lnTo>
                  <a:lnTo>
                    <a:pt x="677" y="67"/>
                  </a:lnTo>
                  <a:lnTo>
                    <a:pt x="677" y="66"/>
                  </a:lnTo>
                  <a:lnTo>
                    <a:pt x="676" y="66"/>
                  </a:lnTo>
                  <a:lnTo>
                    <a:pt x="675" y="66"/>
                  </a:lnTo>
                  <a:lnTo>
                    <a:pt x="674" y="66"/>
                  </a:lnTo>
                  <a:lnTo>
                    <a:pt x="674" y="66"/>
                  </a:lnTo>
                  <a:lnTo>
                    <a:pt x="675" y="65"/>
                  </a:lnTo>
                  <a:lnTo>
                    <a:pt x="675" y="63"/>
                  </a:lnTo>
                  <a:lnTo>
                    <a:pt x="674" y="62"/>
                  </a:lnTo>
                  <a:lnTo>
                    <a:pt x="674" y="62"/>
                  </a:lnTo>
                  <a:lnTo>
                    <a:pt x="674" y="61"/>
                  </a:lnTo>
                  <a:lnTo>
                    <a:pt x="673" y="60"/>
                  </a:lnTo>
                  <a:lnTo>
                    <a:pt x="673" y="60"/>
                  </a:lnTo>
                  <a:lnTo>
                    <a:pt x="673" y="60"/>
                  </a:lnTo>
                  <a:lnTo>
                    <a:pt x="673" y="59"/>
                  </a:lnTo>
                  <a:lnTo>
                    <a:pt x="673" y="59"/>
                  </a:lnTo>
                  <a:lnTo>
                    <a:pt x="672" y="59"/>
                  </a:lnTo>
                  <a:lnTo>
                    <a:pt x="672" y="58"/>
                  </a:lnTo>
                  <a:lnTo>
                    <a:pt x="672" y="56"/>
                  </a:lnTo>
                  <a:lnTo>
                    <a:pt x="670" y="56"/>
                  </a:lnTo>
                  <a:lnTo>
                    <a:pt x="670" y="56"/>
                  </a:lnTo>
                  <a:lnTo>
                    <a:pt x="672" y="56"/>
                  </a:lnTo>
                  <a:lnTo>
                    <a:pt x="672" y="56"/>
                  </a:lnTo>
                  <a:lnTo>
                    <a:pt x="672" y="55"/>
                  </a:lnTo>
                  <a:lnTo>
                    <a:pt x="670" y="54"/>
                  </a:lnTo>
                  <a:lnTo>
                    <a:pt x="670" y="54"/>
                  </a:lnTo>
                  <a:lnTo>
                    <a:pt x="672" y="54"/>
                  </a:lnTo>
                  <a:lnTo>
                    <a:pt x="672" y="54"/>
                  </a:lnTo>
                  <a:lnTo>
                    <a:pt x="672" y="53"/>
                  </a:lnTo>
                  <a:lnTo>
                    <a:pt x="670" y="53"/>
                  </a:lnTo>
                  <a:lnTo>
                    <a:pt x="670" y="53"/>
                  </a:lnTo>
                  <a:lnTo>
                    <a:pt x="670" y="52"/>
                  </a:lnTo>
                  <a:lnTo>
                    <a:pt x="672" y="52"/>
                  </a:lnTo>
                  <a:lnTo>
                    <a:pt x="672" y="52"/>
                  </a:lnTo>
                  <a:lnTo>
                    <a:pt x="672" y="52"/>
                  </a:lnTo>
                  <a:lnTo>
                    <a:pt x="673" y="52"/>
                  </a:lnTo>
                  <a:lnTo>
                    <a:pt x="673" y="52"/>
                  </a:lnTo>
                  <a:lnTo>
                    <a:pt x="673" y="52"/>
                  </a:lnTo>
                  <a:lnTo>
                    <a:pt x="673" y="51"/>
                  </a:lnTo>
                  <a:lnTo>
                    <a:pt x="673" y="51"/>
                  </a:lnTo>
                  <a:lnTo>
                    <a:pt x="673" y="50"/>
                  </a:lnTo>
                  <a:lnTo>
                    <a:pt x="675" y="50"/>
                  </a:lnTo>
                  <a:lnTo>
                    <a:pt x="675" y="51"/>
                  </a:lnTo>
                  <a:lnTo>
                    <a:pt x="676" y="50"/>
                  </a:lnTo>
                  <a:lnTo>
                    <a:pt x="676" y="50"/>
                  </a:lnTo>
                  <a:lnTo>
                    <a:pt x="677" y="48"/>
                  </a:lnTo>
                  <a:lnTo>
                    <a:pt x="678" y="48"/>
                  </a:lnTo>
                  <a:lnTo>
                    <a:pt x="678" y="48"/>
                  </a:lnTo>
                  <a:lnTo>
                    <a:pt x="680" y="48"/>
                  </a:lnTo>
                  <a:lnTo>
                    <a:pt x="680" y="47"/>
                  </a:lnTo>
                  <a:lnTo>
                    <a:pt x="680" y="46"/>
                  </a:lnTo>
                  <a:lnTo>
                    <a:pt x="681" y="46"/>
                  </a:lnTo>
                  <a:lnTo>
                    <a:pt x="682" y="46"/>
                  </a:lnTo>
                  <a:lnTo>
                    <a:pt x="682" y="47"/>
                  </a:lnTo>
                  <a:lnTo>
                    <a:pt x="682" y="47"/>
                  </a:lnTo>
                  <a:lnTo>
                    <a:pt x="682" y="46"/>
                  </a:lnTo>
                  <a:lnTo>
                    <a:pt x="683" y="46"/>
                  </a:lnTo>
                  <a:lnTo>
                    <a:pt x="683" y="46"/>
                  </a:lnTo>
                  <a:lnTo>
                    <a:pt x="683" y="45"/>
                  </a:lnTo>
                  <a:lnTo>
                    <a:pt x="684" y="45"/>
                  </a:lnTo>
                  <a:lnTo>
                    <a:pt x="685" y="45"/>
                  </a:lnTo>
                  <a:lnTo>
                    <a:pt x="687" y="44"/>
                  </a:lnTo>
                  <a:lnTo>
                    <a:pt x="687" y="44"/>
                  </a:lnTo>
                  <a:lnTo>
                    <a:pt x="688" y="43"/>
                  </a:lnTo>
                  <a:lnTo>
                    <a:pt x="689" y="43"/>
                  </a:lnTo>
                  <a:lnTo>
                    <a:pt x="690" y="43"/>
                  </a:lnTo>
                  <a:lnTo>
                    <a:pt x="690" y="43"/>
                  </a:lnTo>
                  <a:lnTo>
                    <a:pt x="691" y="43"/>
                  </a:lnTo>
                  <a:lnTo>
                    <a:pt x="692" y="41"/>
                  </a:lnTo>
                  <a:lnTo>
                    <a:pt x="692" y="40"/>
                  </a:lnTo>
                  <a:lnTo>
                    <a:pt x="693" y="40"/>
                  </a:lnTo>
                  <a:lnTo>
                    <a:pt x="693" y="41"/>
                  </a:lnTo>
                  <a:lnTo>
                    <a:pt x="693" y="41"/>
                  </a:lnTo>
                  <a:lnTo>
                    <a:pt x="693" y="41"/>
                  </a:lnTo>
                  <a:lnTo>
                    <a:pt x="695" y="41"/>
                  </a:lnTo>
                  <a:lnTo>
                    <a:pt x="695" y="40"/>
                  </a:lnTo>
                  <a:lnTo>
                    <a:pt x="695" y="39"/>
                  </a:lnTo>
                  <a:lnTo>
                    <a:pt x="693" y="38"/>
                  </a:lnTo>
                  <a:lnTo>
                    <a:pt x="693" y="37"/>
                  </a:lnTo>
                  <a:lnTo>
                    <a:pt x="691" y="36"/>
                  </a:lnTo>
                  <a:lnTo>
                    <a:pt x="689" y="36"/>
                  </a:lnTo>
                  <a:lnTo>
                    <a:pt x="687" y="34"/>
                  </a:lnTo>
                  <a:lnTo>
                    <a:pt x="685" y="34"/>
                  </a:lnTo>
                  <a:lnTo>
                    <a:pt x="683" y="34"/>
                  </a:lnTo>
                  <a:lnTo>
                    <a:pt x="682" y="34"/>
                  </a:lnTo>
                  <a:lnTo>
                    <a:pt x="681" y="34"/>
                  </a:lnTo>
                  <a:lnTo>
                    <a:pt x="680" y="34"/>
                  </a:lnTo>
                  <a:lnTo>
                    <a:pt x="680" y="34"/>
                  </a:lnTo>
                  <a:lnTo>
                    <a:pt x="680" y="36"/>
                  </a:lnTo>
                  <a:lnTo>
                    <a:pt x="680" y="36"/>
                  </a:lnTo>
                  <a:lnTo>
                    <a:pt x="678" y="34"/>
                  </a:lnTo>
                  <a:lnTo>
                    <a:pt x="677" y="34"/>
                  </a:lnTo>
                  <a:lnTo>
                    <a:pt x="676" y="33"/>
                  </a:lnTo>
                  <a:lnTo>
                    <a:pt x="675" y="34"/>
                  </a:lnTo>
                  <a:lnTo>
                    <a:pt x="674" y="33"/>
                  </a:lnTo>
                  <a:lnTo>
                    <a:pt x="673" y="33"/>
                  </a:lnTo>
                  <a:lnTo>
                    <a:pt x="673" y="33"/>
                  </a:lnTo>
                  <a:lnTo>
                    <a:pt x="673" y="34"/>
                  </a:lnTo>
                  <a:lnTo>
                    <a:pt x="673" y="34"/>
                  </a:lnTo>
                  <a:lnTo>
                    <a:pt x="672" y="34"/>
                  </a:lnTo>
                  <a:lnTo>
                    <a:pt x="670" y="36"/>
                  </a:lnTo>
                  <a:lnTo>
                    <a:pt x="669" y="36"/>
                  </a:lnTo>
                  <a:lnTo>
                    <a:pt x="669" y="37"/>
                  </a:lnTo>
                  <a:lnTo>
                    <a:pt x="669" y="38"/>
                  </a:lnTo>
                  <a:lnTo>
                    <a:pt x="669" y="38"/>
                  </a:lnTo>
                  <a:lnTo>
                    <a:pt x="670" y="39"/>
                  </a:lnTo>
                  <a:lnTo>
                    <a:pt x="669" y="41"/>
                  </a:lnTo>
                  <a:lnTo>
                    <a:pt x="668" y="41"/>
                  </a:lnTo>
                  <a:lnTo>
                    <a:pt x="668" y="43"/>
                  </a:lnTo>
                  <a:lnTo>
                    <a:pt x="667" y="43"/>
                  </a:lnTo>
                  <a:lnTo>
                    <a:pt x="667" y="43"/>
                  </a:lnTo>
                  <a:lnTo>
                    <a:pt x="666" y="45"/>
                  </a:lnTo>
                  <a:lnTo>
                    <a:pt x="665" y="46"/>
                  </a:lnTo>
                  <a:lnTo>
                    <a:pt x="663" y="46"/>
                  </a:lnTo>
                  <a:lnTo>
                    <a:pt x="662" y="46"/>
                  </a:lnTo>
                  <a:lnTo>
                    <a:pt x="661" y="46"/>
                  </a:lnTo>
                  <a:lnTo>
                    <a:pt x="661" y="46"/>
                  </a:lnTo>
                  <a:lnTo>
                    <a:pt x="660" y="47"/>
                  </a:lnTo>
                  <a:lnTo>
                    <a:pt x="659" y="48"/>
                  </a:lnTo>
                  <a:lnTo>
                    <a:pt x="659" y="47"/>
                  </a:lnTo>
                  <a:lnTo>
                    <a:pt x="658" y="47"/>
                  </a:lnTo>
                  <a:lnTo>
                    <a:pt x="658" y="48"/>
                  </a:lnTo>
                  <a:lnTo>
                    <a:pt x="655" y="48"/>
                  </a:lnTo>
                  <a:lnTo>
                    <a:pt x="654" y="50"/>
                  </a:lnTo>
                  <a:lnTo>
                    <a:pt x="653" y="50"/>
                  </a:lnTo>
                  <a:lnTo>
                    <a:pt x="652" y="50"/>
                  </a:lnTo>
                  <a:lnTo>
                    <a:pt x="651" y="51"/>
                  </a:lnTo>
                  <a:lnTo>
                    <a:pt x="651" y="51"/>
                  </a:lnTo>
                  <a:lnTo>
                    <a:pt x="650" y="50"/>
                  </a:lnTo>
                  <a:lnTo>
                    <a:pt x="650" y="51"/>
                  </a:lnTo>
                  <a:lnTo>
                    <a:pt x="648" y="52"/>
                  </a:lnTo>
                  <a:lnTo>
                    <a:pt x="648" y="52"/>
                  </a:lnTo>
                  <a:lnTo>
                    <a:pt x="647" y="52"/>
                  </a:lnTo>
                  <a:lnTo>
                    <a:pt x="647" y="51"/>
                  </a:lnTo>
                  <a:lnTo>
                    <a:pt x="646" y="51"/>
                  </a:lnTo>
                  <a:lnTo>
                    <a:pt x="646" y="51"/>
                  </a:lnTo>
                  <a:lnTo>
                    <a:pt x="646" y="51"/>
                  </a:lnTo>
                  <a:lnTo>
                    <a:pt x="646" y="52"/>
                  </a:lnTo>
                  <a:lnTo>
                    <a:pt x="646" y="54"/>
                  </a:lnTo>
                  <a:lnTo>
                    <a:pt x="646" y="55"/>
                  </a:lnTo>
                  <a:lnTo>
                    <a:pt x="646" y="58"/>
                  </a:lnTo>
                  <a:lnTo>
                    <a:pt x="646" y="59"/>
                  </a:lnTo>
                  <a:lnTo>
                    <a:pt x="646" y="60"/>
                  </a:lnTo>
                  <a:lnTo>
                    <a:pt x="646" y="60"/>
                  </a:lnTo>
                  <a:lnTo>
                    <a:pt x="646" y="61"/>
                  </a:lnTo>
                  <a:lnTo>
                    <a:pt x="646" y="62"/>
                  </a:lnTo>
                  <a:lnTo>
                    <a:pt x="646" y="63"/>
                  </a:lnTo>
                  <a:lnTo>
                    <a:pt x="648" y="66"/>
                  </a:lnTo>
                  <a:lnTo>
                    <a:pt x="650" y="67"/>
                  </a:lnTo>
                  <a:lnTo>
                    <a:pt x="651" y="67"/>
                  </a:lnTo>
                  <a:lnTo>
                    <a:pt x="651" y="67"/>
                  </a:lnTo>
                  <a:lnTo>
                    <a:pt x="651" y="67"/>
                  </a:lnTo>
                  <a:lnTo>
                    <a:pt x="651" y="66"/>
                  </a:lnTo>
                  <a:lnTo>
                    <a:pt x="651" y="66"/>
                  </a:lnTo>
                  <a:lnTo>
                    <a:pt x="652" y="66"/>
                  </a:lnTo>
                  <a:lnTo>
                    <a:pt x="653" y="67"/>
                  </a:lnTo>
                  <a:lnTo>
                    <a:pt x="653" y="67"/>
                  </a:lnTo>
                  <a:lnTo>
                    <a:pt x="653" y="68"/>
                  </a:lnTo>
                  <a:lnTo>
                    <a:pt x="654" y="68"/>
                  </a:lnTo>
                  <a:lnTo>
                    <a:pt x="655" y="69"/>
                  </a:lnTo>
                  <a:lnTo>
                    <a:pt x="658" y="69"/>
                  </a:lnTo>
                  <a:lnTo>
                    <a:pt x="658" y="70"/>
                  </a:lnTo>
                  <a:lnTo>
                    <a:pt x="658" y="70"/>
                  </a:lnTo>
                  <a:lnTo>
                    <a:pt x="658" y="70"/>
                  </a:lnTo>
                  <a:lnTo>
                    <a:pt x="657" y="71"/>
                  </a:lnTo>
                  <a:lnTo>
                    <a:pt x="657" y="71"/>
                  </a:lnTo>
                  <a:lnTo>
                    <a:pt x="655" y="73"/>
                  </a:lnTo>
                  <a:lnTo>
                    <a:pt x="654" y="73"/>
                  </a:lnTo>
                  <a:lnTo>
                    <a:pt x="653" y="73"/>
                  </a:lnTo>
                  <a:lnTo>
                    <a:pt x="653" y="73"/>
                  </a:lnTo>
                  <a:lnTo>
                    <a:pt x="652" y="71"/>
                  </a:lnTo>
                  <a:lnTo>
                    <a:pt x="651" y="70"/>
                  </a:lnTo>
                  <a:lnTo>
                    <a:pt x="650" y="70"/>
                  </a:lnTo>
                  <a:lnTo>
                    <a:pt x="652" y="71"/>
                  </a:lnTo>
                  <a:lnTo>
                    <a:pt x="653" y="73"/>
                  </a:lnTo>
                  <a:lnTo>
                    <a:pt x="654" y="73"/>
                  </a:lnTo>
                  <a:lnTo>
                    <a:pt x="654" y="73"/>
                  </a:lnTo>
                  <a:lnTo>
                    <a:pt x="654" y="73"/>
                  </a:lnTo>
                  <a:lnTo>
                    <a:pt x="655" y="74"/>
                  </a:lnTo>
                  <a:lnTo>
                    <a:pt x="657" y="73"/>
                  </a:lnTo>
                  <a:lnTo>
                    <a:pt x="659" y="73"/>
                  </a:lnTo>
                  <a:lnTo>
                    <a:pt x="658" y="75"/>
                  </a:lnTo>
                  <a:lnTo>
                    <a:pt x="657" y="75"/>
                  </a:lnTo>
                  <a:lnTo>
                    <a:pt x="655" y="76"/>
                  </a:lnTo>
                  <a:lnTo>
                    <a:pt x="655" y="75"/>
                  </a:lnTo>
                  <a:lnTo>
                    <a:pt x="654" y="75"/>
                  </a:lnTo>
                  <a:lnTo>
                    <a:pt x="654" y="76"/>
                  </a:lnTo>
                  <a:lnTo>
                    <a:pt x="653" y="77"/>
                  </a:lnTo>
                  <a:lnTo>
                    <a:pt x="653" y="76"/>
                  </a:lnTo>
                  <a:lnTo>
                    <a:pt x="652" y="76"/>
                  </a:lnTo>
                  <a:lnTo>
                    <a:pt x="650" y="76"/>
                  </a:lnTo>
                  <a:lnTo>
                    <a:pt x="651" y="77"/>
                  </a:lnTo>
                  <a:lnTo>
                    <a:pt x="651" y="77"/>
                  </a:lnTo>
                  <a:lnTo>
                    <a:pt x="650" y="77"/>
                  </a:lnTo>
                  <a:lnTo>
                    <a:pt x="648" y="77"/>
                  </a:lnTo>
                  <a:lnTo>
                    <a:pt x="647" y="77"/>
                  </a:lnTo>
                  <a:lnTo>
                    <a:pt x="645" y="77"/>
                  </a:lnTo>
                  <a:lnTo>
                    <a:pt x="644" y="77"/>
                  </a:lnTo>
                  <a:lnTo>
                    <a:pt x="643" y="77"/>
                  </a:lnTo>
                  <a:lnTo>
                    <a:pt x="646" y="77"/>
                  </a:lnTo>
                  <a:lnTo>
                    <a:pt x="647" y="78"/>
                  </a:lnTo>
                  <a:lnTo>
                    <a:pt x="647" y="78"/>
                  </a:lnTo>
                  <a:lnTo>
                    <a:pt x="646" y="80"/>
                  </a:lnTo>
                  <a:lnTo>
                    <a:pt x="647" y="81"/>
                  </a:lnTo>
                  <a:lnTo>
                    <a:pt x="647" y="81"/>
                  </a:lnTo>
                  <a:lnTo>
                    <a:pt x="647" y="82"/>
                  </a:lnTo>
                  <a:lnTo>
                    <a:pt x="646" y="83"/>
                  </a:lnTo>
                  <a:lnTo>
                    <a:pt x="646" y="83"/>
                  </a:lnTo>
                  <a:lnTo>
                    <a:pt x="646" y="84"/>
                  </a:lnTo>
                  <a:lnTo>
                    <a:pt x="647" y="85"/>
                  </a:lnTo>
                  <a:lnTo>
                    <a:pt x="647" y="86"/>
                  </a:lnTo>
                  <a:lnTo>
                    <a:pt x="646" y="88"/>
                  </a:lnTo>
                  <a:lnTo>
                    <a:pt x="646" y="90"/>
                  </a:lnTo>
                  <a:lnTo>
                    <a:pt x="646" y="91"/>
                  </a:lnTo>
                  <a:lnTo>
                    <a:pt x="646" y="92"/>
                  </a:lnTo>
                  <a:lnTo>
                    <a:pt x="645" y="93"/>
                  </a:lnTo>
                  <a:lnTo>
                    <a:pt x="645" y="95"/>
                  </a:lnTo>
                  <a:lnTo>
                    <a:pt x="645" y="96"/>
                  </a:lnTo>
                  <a:lnTo>
                    <a:pt x="644" y="97"/>
                  </a:lnTo>
                  <a:lnTo>
                    <a:pt x="643" y="98"/>
                  </a:lnTo>
                  <a:lnTo>
                    <a:pt x="641" y="99"/>
                  </a:lnTo>
                  <a:lnTo>
                    <a:pt x="640" y="98"/>
                  </a:lnTo>
                  <a:lnTo>
                    <a:pt x="639" y="97"/>
                  </a:lnTo>
                  <a:lnTo>
                    <a:pt x="638" y="97"/>
                  </a:lnTo>
                  <a:lnTo>
                    <a:pt x="636" y="97"/>
                  </a:lnTo>
                  <a:lnTo>
                    <a:pt x="636" y="97"/>
                  </a:lnTo>
                  <a:lnTo>
                    <a:pt x="636" y="97"/>
                  </a:lnTo>
                  <a:lnTo>
                    <a:pt x="636" y="97"/>
                  </a:lnTo>
                  <a:lnTo>
                    <a:pt x="636" y="97"/>
                  </a:lnTo>
                  <a:lnTo>
                    <a:pt x="635" y="99"/>
                  </a:lnTo>
                  <a:lnTo>
                    <a:pt x="633" y="100"/>
                  </a:lnTo>
                  <a:lnTo>
                    <a:pt x="633" y="101"/>
                  </a:lnTo>
                  <a:lnTo>
                    <a:pt x="633" y="101"/>
                  </a:lnTo>
                  <a:lnTo>
                    <a:pt x="635" y="101"/>
                  </a:lnTo>
                  <a:lnTo>
                    <a:pt x="635" y="101"/>
                  </a:lnTo>
                  <a:lnTo>
                    <a:pt x="635" y="103"/>
                  </a:lnTo>
                  <a:lnTo>
                    <a:pt x="632" y="103"/>
                  </a:lnTo>
                  <a:lnTo>
                    <a:pt x="631" y="103"/>
                  </a:lnTo>
                  <a:lnTo>
                    <a:pt x="629" y="103"/>
                  </a:lnTo>
                  <a:lnTo>
                    <a:pt x="628" y="103"/>
                  </a:lnTo>
                  <a:lnTo>
                    <a:pt x="625" y="103"/>
                  </a:lnTo>
                  <a:lnTo>
                    <a:pt x="624" y="104"/>
                  </a:lnTo>
                  <a:lnTo>
                    <a:pt x="623" y="103"/>
                  </a:lnTo>
                  <a:lnTo>
                    <a:pt x="623" y="101"/>
                  </a:lnTo>
                  <a:lnTo>
                    <a:pt x="622" y="100"/>
                  </a:lnTo>
                  <a:lnTo>
                    <a:pt x="622" y="99"/>
                  </a:lnTo>
                  <a:lnTo>
                    <a:pt x="621" y="99"/>
                  </a:lnTo>
                  <a:lnTo>
                    <a:pt x="620" y="98"/>
                  </a:lnTo>
                  <a:lnTo>
                    <a:pt x="618" y="97"/>
                  </a:lnTo>
                  <a:lnTo>
                    <a:pt x="618" y="96"/>
                  </a:lnTo>
                  <a:lnTo>
                    <a:pt x="618" y="96"/>
                  </a:lnTo>
                  <a:lnTo>
                    <a:pt x="620" y="96"/>
                  </a:lnTo>
                  <a:lnTo>
                    <a:pt x="621" y="96"/>
                  </a:lnTo>
                  <a:lnTo>
                    <a:pt x="621" y="95"/>
                  </a:lnTo>
                  <a:lnTo>
                    <a:pt x="621" y="93"/>
                  </a:lnTo>
                  <a:lnTo>
                    <a:pt x="620" y="93"/>
                  </a:lnTo>
                  <a:lnTo>
                    <a:pt x="618" y="93"/>
                  </a:lnTo>
                  <a:lnTo>
                    <a:pt x="618" y="93"/>
                  </a:lnTo>
                  <a:lnTo>
                    <a:pt x="618" y="92"/>
                  </a:lnTo>
                  <a:lnTo>
                    <a:pt x="617" y="92"/>
                  </a:lnTo>
                  <a:lnTo>
                    <a:pt x="616" y="90"/>
                  </a:lnTo>
                  <a:lnTo>
                    <a:pt x="615" y="88"/>
                  </a:lnTo>
                  <a:lnTo>
                    <a:pt x="614" y="86"/>
                  </a:lnTo>
                  <a:lnTo>
                    <a:pt x="613" y="85"/>
                  </a:lnTo>
                  <a:lnTo>
                    <a:pt x="613" y="85"/>
                  </a:lnTo>
                  <a:lnTo>
                    <a:pt x="613" y="85"/>
                  </a:lnTo>
                  <a:lnTo>
                    <a:pt x="613" y="86"/>
                  </a:lnTo>
                  <a:lnTo>
                    <a:pt x="613" y="85"/>
                  </a:lnTo>
                  <a:lnTo>
                    <a:pt x="611" y="84"/>
                  </a:lnTo>
                  <a:lnTo>
                    <a:pt x="611" y="83"/>
                  </a:lnTo>
                  <a:lnTo>
                    <a:pt x="611" y="83"/>
                  </a:lnTo>
                  <a:lnTo>
                    <a:pt x="610" y="83"/>
                  </a:lnTo>
                  <a:lnTo>
                    <a:pt x="610" y="83"/>
                  </a:lnTo>
                  <a:lnTo>
                    <a:pt x="610" y="83"/>
                  </a:lnTo>
                  <a:lnTo>
                    <a:pt x="609" y="82"/>
                  </a:lnTo>
                  <a:lnTo>
                    <a:pt x="609" y="81"/>
                  </a:lnTo>
                  <a:lnTo>
                    <a:pt x="609" y="81"/>
                  </a:lnTo>
                  <a:lnTo>
                    <a:pt x="608" y="81"/>
                  </a:lnTo>
                  <a:lnTo>
                    <a:pt x="608" y="80"/>
                  </a:lnTo>
                  <a:lnTo>
                    <a:pt x="607" y="77"/>
                  </a:lnTo>
                  <a:lnTo>
                    <a:pt x="606" y="77"/>
                  </a:lnTo>
                  <a:lnTo>
                    <a:pt x="605" y="76"/>
                  </a:lnTo>
                  <a:lnTo>
                    <a:pt x="605" y="76"/>
                  </a:lnTo>
                  <a:lnTo>
                    <a:pt x="607" y="76"/>
                  </a:lnTo>
                  <a:lnTo>
                    <a:pt x="606" y="75"/>
                  </a:lnTo>
                  <a:lnTo>
                    <a:pt x="605" y="76"/>
                  </a:lnTo>
                  <a:lnTo>
                    <a:pt x="603" y="76"/>
                  </a:lnTo>
                  <a:lnTo>
                    <a:pt x="603" y="76"/>
                  </a:lnTo>
                  <a:lnTo>
                    <a:pt x="603" y="74"/>
                  </a:lnTo>
                  <a:lnTo>
                    <a:pt x="602" y="73"/>
                  </a:lnTo>
                  <a:lnTo>
                    <a:pt x="601" y="70"/>
                  </a:lnTo>
                  <a:lnTo>
                    <a:pt x="601" y="69"/>
                  </a:lnTo>
                  <a:lnTo>
                    <a:pt x="601" y="70"/>
                  </a:lnTo>
                  <a:lnTo>
                    <a:pt x="601" y="71"/>
                  </a:lnTo>
                  <a:lnTo>
                    <a:pt x="601" y="73"/>
                  </a:lnTo>
                  <a:lnTo>
                    <a:pt x="600" y="73"/>
                  </a:lnTo>
                  <a:lnTo>
                    <a:pt x="600" y="73"/>
                  </a:lnTo>
                  <a:lnTo>
                    <a:pt x="600" y="74"/>
                  </a:lnTo>
                  <a:lnTo>
                    <a:pt x="601" y="75"/>
                  </a:lnTo>
                  <a:lnTo>
                    <a:pt x="600" y="76"/>
                  </a:lnTo>
                  <a:lnTo>
                    <a:pt x="600" y="76"/>
                  </a:lnTo>
                  <a:lnTo>
                    <a:pt x="599" y="76"/>
                  </a:lnTo>
                  <a:lnTo>
                    <a:pt x="598" y="76"/>
                  </a:lnTo>
                  <a:lnTo>
                    <a:pt x="598" y="77"/>
                  </a:lnTo>
                  <a:lnTo>
                    <a:pt x="596" y="76"/>
                  </a:lnTo>
                  <a:lnTo>
                    <a:pt x="594" y="76"/>
                  </a:lnTo>
                  <a:lnTo>
                    <a:pt x="595" y="77"/>
                  </a:lnTo>
                  <a:lnTo>
                    <a:pt x="594" y="78"/>
                  </a:lnTo>
                  <a:lnTo>
                    <a:pt x="594" y="80"/>
                  </a:lnTo>
                  <a:lnTo>
                    <a:pt x="593" y="80"/>
                  </a:lnTo>
                  <a:lnTo>
                    <a:pt x="592" y="81"/>
                  </a:lnTo>
                  <a:lnTo>
                    <a:pt x="591" y="82"/>
                  </a:lnTo>
                  <a:lnTo>
                    <a:pt x="590" y="83"/>
                  </a:lnTo>
                  <a:lnTo>
                    <a:pt x="587" y="83"/>
                  </a:lnTo>
                  <a:lnTo>
                    <a:pt x="585" y="83"/>
                  </a:lnTo>
                  <a:lnTo>
                    <a:pt x="584" y="83"/>
                  </a:lnTo>
                  <a:lnTo>
                    <a:pt x="583" y="84"/>
                  </a:lnTo>
                  <a:lnTo>
                    <a:pt x="581" y="84"/>
                  </a:lnTo>
                  <a:lnTo>
                    <a:pt x="580" y="83"/>
                  </a:lnTo>
                  <a:lnTo>
                    <a:pt x="579" y="83"/>
                  </a:lnTo>
                  <a:lnTo>
                    <a:pt x="578" y="83"/>
                  </a:lnTo>
                  <a:lnTo>
                    <a:pt x="578" y="83"/>
                  </a:lnTo>
                  <a:lnTo>
                    <a:pt x="576" y="82"/>
                  </a:lnTo>
                  <a:lnTo>
                    <a:pt x="575" y="82"/>
                  </a:lnTo>
                  <a:lnTo>
                    <a:pt x="573" y="81"/>
                  </a:lnTo>
                  <a:lnTo>
                    <a:pt x="573" y="81"/>
                  </a:lnTo>
                  <a:lnTo>
                    <a:pt x="575" y="80"/>
                  </a:lnTo>
                  <a:lnTo>
                    <a:pt x="572" y="81"/>
                  </a:lnTo>
                  <a:lnTo>
                    <a:pt x="571" y="80"/>
                  </a:lnTo>
                  <a:lnTo>
                    <a:pt x="570" y="80"/>
                  </a:lnTo>
                  <a:lnTo>
                    <a:pt x="570" y="77"/>
                  </a:lnTo>
                  <a:lnTo>
                    <a:pt x="569" y="77"/>
                  </a:lnTo>
                  <a:lnTo>
                    <a:pt x="568" y="76"/>
                  </a:lnTo>
                  <a:lnTo>
                    <a:pt x="566" y="76"/>
                  </a:lnTo>
                  <a:lnTo>
                    <a:pt x="565" y="75"/>
                  </a:lnTo>
                  <a:lnTo>
                    <a:pt x="566" y="74"/>
                  </a:lnTo>
                  <a:lnTo>
                    <a:pt x="568" y="73"/>
                  </a:lnTo>
                  <a:lnTo>
                    <a:pt x="568" y="73"/>
                  </a:lnTo>
                  <a:lnTo>
                    <a:pt x="569" y="74"/>
                  </a:lnTo>
                  <a:lnTo>
                    <a:pt x="570" y="74"/>
                  </a:lnTo>
                  <a:lnTo>
                    <a:pt x="571" y="74"/>
                  </a:lnTo>
                  <a:lnTo>
                    <a:pt x="570" y="73"/>
                  </a:lnTo>
                  <a:lnTo>
                    <a:pt x="570" y="73"/>
                  </a:lnTo>
                  <a:lnTo>
                    <a:pt x="570" y="71"/>
                  </a:lnTo>
                  <a:lnTo>
                    <a:pt x="570" y="71"/>
                  </a:lnTo>
                  <a:lnTo>
                    <a:pt x="571" y="70"/>
                  </a:lnTo>
                  <a:lnTo>
                    <a:pt x="573" y="69"/>
                  </a:lnTo>
                  <a:lnTo>
                    <a:pt x="571" y="70"/>
                  </a:lnTo>
                  <a:lnTo>
                    <a:pt x="570" y="70"/>
                  </a:lnTo>
                  <a:lnTo>
                    <a:pt x="569" y="70"/>
                  </a:lnTo>
                  <a:lnTo>
                    <a:pt x="569" y="70"/>
                  </a:lnTo>
                  <a:lnTo>
                    <a:pt x="568" y="70"/>
                  </a:lnTo>
                  <a:lnTo>
                    <a:pt x="566" y="71"/>
                  </a:lnTo>
                  <a:lnTo>
                    <a:pt x="566" y="71"/>
                  </a:lnTo>
                  <a:lnTo>
                    <a:pt x="566" y="71"/>
                  </a:lnTo>
                  <a:lnTo>
                    <a:pt x="566" y="71"/>
                  </a:lnTo>
                  <a:lnTo>
                    <a:pt x="566" y="71"/>
                  </a:lnTo>
                  <a:lnTo>
                    <a:pt x="565" y="71"/>
                  </a:lnTo>
                  <a:lnTo>
                    <a:pt x="564" y="73"/>
                  </a:lnTo>
                  <a:lnTo>
                    <a:pt x="564" y="70"/>
                  </a:lnTo>
                  <a:lnTo>
                    <a:pt x="564" y="69"/>
                  </a:lnTo>
                  <a:lnTo>
                    <a:pt x="565" y="67"/>
                  </a:lnTo>
                  <a:lnTo>
                    <a:pt x="565" y="67"/>
                  </a:lnTo>
                  <a:lnTo>
                    <a:pt x="566" y="67"/>
                  </a:lnTo>
                  <a:lnTo>
                    <a:pt x="568" y="68"/>
                  </a:lnTo>
                  <a:lnTo>
                    <a:pt x="569" y="68"/>
                  </a:lnTo>
                  <a:lnTo>
                    <a:pt x="569" y="68"/>
                  </a:lnTo>
                  <a:lnTo>
                    <a:pt x="568" y="67"/>
                  </a:lnTo>
                  <a:lnTo>
                    <a:pt x="568" y="67"/>
                  </a:lnTo>
                  <a:lnTo>
                    <a:pt x="568" y="67"/>
                  </a:lnTo>
                  <a:lnTo>
                    <a:pt x="566" y="67"/>
                  </a:lnTo>
                  <a:lnTo>
                    <a:pt x="566" y="66"/>
                  </a:lnTo>
                  <a:lnTo>
                    <a:pt x="566" y="65"/>
                  </a:lnTo>
                  <a:lnTo>
                    <a:pt x="565" y="66"/>
                  </a:lnTo>
                  <a:lnTo>
                    <a:pt x="565" y="66"/>
                  </a:lnTo>
                  <a:lnTo>
                    <a:pt x="564" y="66"/>
                  </a:lnTo>
                  <a:lnTo>
                    <a:pt x="564" y="63"/>
                  </a:lnTo>
                  <a:lnTo>
                    <a:pt x="564" y="65"/>
                  </a:lnTo>
                  <a:lnTo>
                    <a:pt x="564" y="65"/>
                  </a:lnTo>
                  <a:lnTo>
                    <a:pt x="563" y="66"/>
                  </a:lnTo>
                  <a:lnTo>
                    <a:pt x="563" y="65"/>
                  </a:lnTo>
                  <a:lnTo>
                    <a:pt x="563" y="63"/>
                  </a:lnTo>
                  <a:lnTo>
                    <a:pt x="563" y="63"/>
                  </a:lnTo>
                  <a:lnTo>
                    <a:pt x="564" y="63"/>
                  </a:lnTo>
                  <a:lnTo>
                    <a:pt x="565" y="62"/>
                  </a:lnTo>
                  <a:lnTo>
                    <a:pt x="566" y="62"/>
                  </a:lnTo>
                  <a:lnTo>
                    <a:pt x="564" y="62"/>
                  </a:lnTo>
                  <a:lnTo>
                    <a:pt x="563" y="62"/>
                  </a:lnTo>
                  <a:lnTo>
                    <a:pt x="562" y="61"/>
                  </a:lnTo>
                  <a:lnTo>
                    <a:pt x="563" y="60"/>
                  </a:lnTo>
                  <a:lnTo>
                    <a:pt x="563" y="60"/>
                  </a:lnTo>
                  <a:lnTo>
                    <a:pt x="563" y="60"/>
                  </a:lnTo>
                  <a:lnTo>
                    <a:pt x="562" y="60"/>
                  </a:lnTo>
                  <a:lnTo>
                    <a:pt x="562" y="59"/>
                  </a:lnTo>
                  <a:lnTo>
                    <a:pt x="562" y="59"/>
                  </a:lnTo>
                  <a:lnTo>
                    <a:pt x="563" y="59"/>
                  </a:lnTo>
                  <a:lnTo>
                    <a:pt x="570" y="59"/>
                  </a:lnTo>
                  <a:lnTo>
                    <a:pt x="571" y="59"/>
                  </a:lnTo>
                  <a:lnTo>
                    <a:pt x="572" y="59"/>
                  </a:lnTo>
                  <a:lnTo>
                    <a:pt x="573" y="59"/>
                  </a:lnTo>
                  <a:lnTo>
                    <a:pt x="575" y="59"/>
                  </a:lnTo>
                  <a:lnTo>
                    <a:pt x="577" y="59"/>
                  </a:lnTo>
                  <a:lnTo>
                    <a:pt x="578" y="59"/>
                  </a:lnTo>
                  <a:lnTo>
                    <a:pt x="578" y="58"/>
                  </a:lnTo>
                  <a:lnTo>
                    <a:pt x="578" y="58"/>
                  </a:lnTo>
                  <a:lnTo>
                    <a:pt x="578" y="56"/>
                  </a:lnTo>
                  <a:lnTo>
                    <a:pt x="578" y="58"/>
                  </a:lnTo>
                  <a:lnTo>
                    <a:pt x="577" y="58"/>
                  </a:lnTo>
                  <a:lnTo>
                    <a:pt x="576" y="59"/>
                  </a:lnTo>
                  <a:lnTo>
                    <a:pt x="573" y="59"/>
                  </a:lnTo>
                  <a:lnTo>
                    <a:pt x="572" y="58"/>
                  </a:lnTo>
                  <a:lnTo>
                    <a:pt x="571" y="58"/>
                  </a:lnTo>
                  <a:lnTo>
                    <a:pt x="571" y="58"/>
                  </a:lnTo>
                  <a:lnTo>
                    <a:pt x="571" y="58"/>
                  </a:lnTo>
                  <a:lnTo>
                    <a:pt x="571" y="59"/>
                  </a:lnTo>
                  <a:lnTo>
                    <a:pt x="570" y="59"/>
                  </a:lnTo>
                  <a:lnTo>
                    <a:pt x="568" y="58"/>
                  </a:lnTo>
                  <a:lnTo>
                    <a:pt x="566" y="58"/>
                  </a:lnTo>
                  <a:lnTo>
                    <a:pt x="566" y="58"/>
                  </a:lnTo>
                  <a:lnTo>
                    <a:pt x="565" y="59"/>
                  </a:lnTo>
                  <a:lnTo>
                    <a:pt x="564" y="59"/>
                  </a:lnTo>
                  <a:lnTo>
                    <a:pt x="563" y="58"/>
                  </a:lnTo>
                  <a:lnTo>
                    <a:pt x="562" y="58"/>
                  </a:lnTo>
                  <a:lnTo>
                    <a:pt x="562" y="56"/>
                  </a:lnTo>
                  <a:lnTo>
                    <a:pt x="564" y="55"/>
                  </a:lnTo>
                  <a:lnTo>
                    <a:pt x="566" y="55"/>
                  </a:lnTo>
                  <a:lnTo>
                    <a:pt x="564" y="55"/>
                  </a:lnTo>
                  <a:lnTo>
                    <a:pt x="563" y="54"/>
                  </a:lnTo>
                  <a:lnTo>
                    <a:pt x="563" y="53"/>
                  </a:lnTo>
                  <a:lnTo>
                    <a:pt x="564" y="52"/>
                  </a:lnTo>
                  <a:lnTo>
                    <a:pt x="565" y="52"/>
                  </a:lnTo>
                  <a:lnTo>
                    <a:pt x="566" y="52"/>
                  </a:lnTo>
                  <a:lnTo>
                    <a:pt x="566" y="52"/>
                  </a:lnTo>
                  <a:lnTo>
                    <a:pt x="568" y="52"/>
                  </a:lnTo>
                  <a:lnTo>
                    <a:pt x="570" y="51"/>
                  </a:lnTo>
                  <a:lnTo>
                    <a:pt x="571" y="50"/>
                  </a:lnTo>
                  <a:lnTo>
                    <a:pt x="573" y="48"/>
                  </a:lnTo>
                  <a:lnTo>
                    <a:pt x="575" y="48"/>
                  </a:lnTo>
                  <a:lnTo>
                    <a:pt x="576" y="47"/>
                  </a:lnTo>
                  <a:lnTo>
                    <a:pt x="577" y="47"/>
                  </a:lnTo>
                  <a:lnTo>
                    <a:pt x="578" y="48"/>
                  </a:lnTo>
                  <a:lnTo>
                    <a:pt x="578" y="47"/>
                  </a:lnTo>
                  <a:lnTo>
                    <a:pt x="577" y="46"/>
                  </a:lnTo>
                  <a:lnTo>
                    <a:pt x="578" y="46"/>
                  </a:lnTo>
                  <a:lnTo>
                    <a:pt x="578" y="46"/>
                  </a:lnTo>
                  <a:lnTo>
                    <a:pt x="580" y="45"/>
                  </a:lnTo>
                  <a:lnTo>
                    <a:pt x="581" y="45"/>
                  </a:lnTo>
                  <a:lnTo>
                    <a:pt x="583" y="45"/>
                  </a:lnTo>
                  <a:lnTo>
                    <a:pt x="584" y="46"/>
                  </a:lnTo>
                  <a:lnTo>
                    <a:pt x="584" y="45"/>
                  </a:lnTo>
                  <a:lnTo>
                    <a:pt x="586" y="44"/>
                  </a:lnTo>
                  <a:lnTo>
                    <a:pt x="587" y="44"/>
                  </a:lnTo>
                  <a:lnTo>
                    <a:pt x="588" y="45"/>
                  </a:lnTo>
                  <a:lnTo>
                    <a:pt x="590" y="44"/>
                  </a:lnTo>
                  <a:lnTo>
                    <a:pt x="591" y="43"/>
                  </a:lnTo>
                  <a:lnTo>
                    <a:pt x="591" y="43"/>
                  </a:lnTo>
                  <a:lnTo>
                    <a:pt x="592" y="43"/>
                  </a:lnTo>
                  <a:lnTo>
                    <a:pt x="593" y="43"/>
                  </a:lnTo>
                  <a:lnTo>
                    <a:pt x="593" y="41"/>
                  </a:lnTo>
                  <a:lnTo>
                    <a:pt x="593" y="41"/>
                  </a:lnTo>
                  <a:lnTo>
                    <a:pt x="594" y="41"/>
                  </a:lnTo>
                  <a:lnTo>
                    <a:pt x="594" y="41"/>
                  </a:lnTo>
                  <a:lnTo>
                    <a:pt x="596" y="43"/>
                  </a:lnTo>
                  <a:lnTo>
                    <a:pt x="598" y="44"/>
                  </a:lnTo>
                  <a:lnTo>
                    <a:pt x="599" y="44"/>
                  </a:lnTo>
                  <a:lnTo>
                    <a:pt x="599" y="44"/>
                  </a:lnTo>
                  <a:lnTo>
                    <a:pt x="600" y="44"/>
                  </a:lnTo>
                  <a:lnTo>
                    <a:pt x="601" y="45"/>
                  </a:lnTo>
                  <a:lnTo>
                    <a:pt x="600" y="44"/>
                  </a:lnTo>
                  <a:lnTo>
                    <a:pt x="601" y="43"/>
                  </a:lnTo>
                  <a:lnTo>
                    <a:pt x="602" y="43"/>
                  </a:lnTo>
                  <a:lnTo>
                    <a:pt x="603" y="41"/>
                  </a:lnTo>
                  <a:lnTo>
                    <a:pt x="600" y="41"/>
                  </a:lnTo>
                  <a:lnTo>
                    <a:pt x="599" y="43"/>
                  </a:lnTo>
                  <a:lnTo>
                    <a:pt x="598" y="43"/>
                  </a:lnTo>
                  <a:lnTo>
                    <a:pt x="596" y="41"/>
                  </a:lnTo>
                  <a:lnTo>
                    <a:pt x="596" y="41"/>
                  </a:lnTo>
                  <a:lnTo>
                    <a:pt x="596" y="41"/>
                  </a:lnTo>
                  <a:lnTo>
                    <a:pt x="596" y="41"/>
                  </a:lnTo>
                  <a:lnTo>
                    <a:pt x="595" y="40"/>
                  </a:lnTo>
                  <a:lnTo>
                    <a:pt x="595" y="40"/>
                  </a:lnTo>
                  <a:lnTo>
                    <a:pt x="596" y="39"/>
                  </a:lnTo>
                  <a:lnTo>
                    <a:pt x="598" y="39"/>
                  </a:lnTo>
                  <a:lnTo>
                    <a:pt x="599" y="38"/>
                  </a:lnTo>
                  <a:lnTo>
                    <a:pt x="600" y="38"/>
                  </a:lnTo>
                  <a:lnTo>
                    <a:pt x="601" y="38"/>
                  </a:lnTo>
                  <a:lnTo>
                    <a:pt x="602" y="37"/>
                  </a:lnTo>
                  <a:lnTo>
                    <a:pt x="602" y="37"/>
                  </a:lnTo>
                  <a:lnTo>
                    <a:pt x="603" y="36"/>
                  </a:lnTo>
                  <a:lnTo>
                    <a:pt x="605" y="34"/>
                  </a:lnTo>
                  <a:lnTo>
                    <a:pt x="606" y="33"/>
                  </a:lnTo>
                  <a:lnTo>
                    <a:pt x="606" y="33"/>
                  </a:lnTo>
                  <a:lnTo>
                    <a:pt x="607" y="32"/>
                  </a:lnTo>
                  <a:lnTo>
                    <a:pt x="608" y="31"/>
                  </a:lnTo>
                  <a:lnTo>
                    <a:pt x="609" y="30"/>
                  </a:lnTo>
                  <a:lnTo>
                    <a:pt x="610" y="30"/>
                  </a:lnTo>
                  <a:lnTo>
                    <a:pt x="611" y="29"/>
                  </a:lnTo>
                  <a:lnTo>
                    <a:pt x="611" y="29"/>
                  </a:lnTo>
                  <a:lnTo>
                    <a:pt x="614" y="28"/>
                  </a:lnTo>
                  <a:lnTo>
                    <a:pt x="614" y="26"/>
                  </a:lnTo>
                  <a:lnTo>
                    <a:pt x="614" y="26"/>
                  </a:lnTo>
                  <a:lnTo>
                    <a:pt x="615" y="25"/>
                  </a:lnTo>
                  <a:lnTo>
                    <a:pt x="615" y="25"/>
                  </a:lnTo>
                  <a:lnTo>
                    <a:pt x="616" y="25"/>
                  </a:lnTo>
                  <a:lnTo>
                    <a:pt x="616" y="24"/>
                  </a:lnTo>
                  <a:lnTo>
                    <a:pt x="616" y="24"/>
                  </a:lnTo>
                  <a:lnTo>
                    <a:pt x="617" y="24"/>
                  </a:lnTo>
                  <a:lnTo>
                    <a:pt x="618" y="23"/>
                  </a:lnTo>
                  <a:lnTo>
                    <a:pt x="620" y="22"/>
                  </a:lnTo>
                  <a:lnTo>
                    <a:pt x="620" y="22"/>
                  </a:lnTo>
                  <a:lnTo>
                    <a:pt x="621" y="21"/>
                  </a:lnTo>
                  <a:lnTo>
                    <a:pt x="622" y="21"/>
                  </a:lnTo>
                  <a:lnTo>
                    <a:pt x="625" y="21"/>
                  </a:lnTo>
                  <a:lnTo>
                    <a:pt x="628" y="19"/>
                  </a:lnTo>
                  <a:lnTo>
                    <a:pt x="629" y="19"/>
                  </a:lnTo>
                  <a:lnTo>
                    <a:pt x="629" y="19"/>
                  </a:lnTo>
                  <a:lnTo>
                    <a:pt x="629" y="18"/>
                  </a:lnTo>
                  <a:lnTo>
                    <a:pt x="629" y="17"/>
                  </a:lnTo>
                  <a:lnTo>
                    <a:pt x="629" y="17"/>
                  </a:lnTo>
                  <a:lnTo>
                    <a:pt x="630" y="16"/>
                  </a:lnTo>
                  <a:lnTo>
                    <a:pt x="631" y="16"/>
                  </a:lnTo>
                  <a:lnTo>
                    <a:pt x="631" y="15"/>
                  </a:lnTo>
                  <a:lnTo>
                    <a:pt x="632" y="15"/>
                  </a:lnTo>
                  <a:lnTo>
                    <a:pt x="635" y="14"/>
                  </a:lnTo>
                  <a:lnTo>
                    <a:pt x="635" y="14"/>
                  </a:lnTo>
                  <a:lnTo>
                    <a:pt x="636" y="14"/>
                  </a:lnTo>
                  <a:lnTo>
                    <a:pt x="637" y="14"/>
                  </a:lnTo>
                  <a:lnTo>
                    <a:pt x="638" y="14"/>
                  </a:lnTo>
                  <a:lnTo>
                    <a:pt x="638" y="13"/>
                  </a:lnTo>
                  <a:lnTo>
                    <a:pt x="639" y="13"/>
                  </a:lnTo>
                  <a:lnTo>
                    <a:pt x="639" y="11"/>
                  </a:lnTo>
                  <a:lnTo>
                    <a:pt x="639" y="11"/>
                  </a:lnTo>
                  <a:lnTo>
                    <a:pt x="639" y="11"/>
                  </a:lnTo>
                  <a:lnTo>
                    <a:pt x="641" y="11"/>
                  </a:lnTo>
                  <a:lnTo>
                    <a:pt x="643" y="10"/>
                  </a:lnTo>
                  <a:lnTo>
                    <a:pt x="645" y="9"/>
                  </a:lnTo>
                  <a:lnTo>
                    <a:pt x="647" y="9"/>
                  </a:lnTo>
                  <a:lnTo>
                    <a:pt x="648" y="10"/>
                  </a:lnTo>
                  <a:lnTo>
                    <a:pt x="650" y="9"/>
                  </a:lnTo>
                  <a:lnTo>
                    <a:pt x="651" y="9"/>
                  </a:lnTo>
                  <a:lnTo>
                    <a:pt x="652" y="8"/>
                  </a:lnTo>
                  <a:lnTo>
                    <a:pt x="654" y="8"/>
                  </a:lnTo>
                  <a:lnTo>
                    <a:pt x="654" y="9"/>
                  </a:lnTo>
                  <a:lnTo>
                    <a:pt x="655" y="9"/>
                  </a:lnTo>
                  <a:lnTo>
                    <a:pt x="657" y="8"/>
                  </a:lnTo>
                  <a:lnTo>
                    <a:pt x="659" y="8"/>
                  </a:lnTo>
                  <a:lnTo>
                    <a:pt x="661" y="8"/>
                  </a:lnTo>
                  <a:lnTo>
                    <a:pt x="662" y="8"/>
                  </a:lnTo>
                  <a:lnTo>
                    <a:pt x="662" y="7"/>
                  </a:lnTo>
                  <a:lnTo>
                    <a:pt x="662" y="7"/>
                  </a:lnTo>
                  <a:lnTo>
                    <a:pt x="662" y="7"/>
                  </a:lnTo>
                  <a:lnTo>
                    <a:pt x="662" y="7"/>
                  </a:lnTo>
                  <a:lnTo>
                    <a:pt x="663" y="6"/>
                  </a:lnTo>
                  <a:lnTo>
                    <a:pt x="665" y="6"/>
                  </a:lnTo>
                  <a:lnTo>
                    <a:pt x="666" y="6"/>
                  </a:lnTo>
                  <a:lnTo>
                    <a:pt x="666" y="6"/>
                  </a:lnTo>
                  <a:lnTo>
                    <a:pt x="668" y="7"/>
                  </a:lnTo>
                  <a:lnTo>
                    <a:pt x="673" y="7"/>
                  </a:lnTo>
                  <a:lnTo>
                    <a:pt x="674" y="6"/>
                  </a:lnTo>
                  <a:lnTo>
                    <a:pt x="675" y="4"/>
                  </a:lnTo>
                  <a:lnTo>
                    <a:pt x="676" y="4"/>
                  </a:lnTo>
                  <a:lnTo>
                    <a:pt x="677" y="3"/>
                  </a:lnTo>
                  <a:lnTo>
                    <a:pt x="678" y="3"/>
                  </a:lnTo>
                  <a:lnTo>
                    <a:pt x="680" y="4"/>
                  </a:lnTo>
                  <a:lnTo>
                    <a:pt x="681" y="2"/>
                  </a:lnTo>
                  <a:lnTo>
                    <a:pt x="683" y="2"/>
                  </a:lnTo>
                  <a:lnTo>
                    <a:pt x="684" y="3"/>
                  </a:lnTo>
                  <a:lnTo>
                    <a:pt x="685" y="7"/>
                  </a:lnTo>
                  <a:lnTo>
                    <a:pt x="687" y="4"/>
                  </a:lnTo>
                  <a:lnTo>
                    <a:pt x="687" y="3"/>
                  </a:lnTo>
                  <a:lnTo>
                    <a:pt x="685" y="3"/>
                  </a:lnTo>
                  <a:lnTo>
                    <a:pt x="685" y="3"/>
                  </a:lnTo>
                  <a:lnTo>
                    <a:pt x="685" y="3"/>
                  </a:lnTo>
                  <a:lnTo>
                    <a:pt x="685" y="2"/>
                  </a:lnTo>
                  <a:lnTo>
                    <a:pt x="685" y="2"/>
                  </a:lnTo>
                  <a:lnTo>
                    <a:pt x="687" y="1"/>
                  </a:lnTo>
                  <a:lnTo>
                    <a:pt x="688" y="0"/>
                  </a:lnTo>
                  <a:lnTo>
                    <a:pt x="689"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11"/>
            <p:cNvSpPr>
              <a:spLocks noEditPoints="1"/>
            </p:cNvSpPr>
            <p:nvPr/>
          </p:nvSpPr>
          <p:spPr bwMode="auto">
            <a:xfrm>
              <a:off x="4460" y="1889"/>
              <a:ext cx="179" cy="375"/>
            </a:xfrm>
            <a:custGeom>
              <a:avLst/>
              <a:gdLst>
                <a:gd name="T0" fmla="*/ 303 w 539"/>
                <a:gd name="T1" fmla="*/ 10 h 1124"/>
                <a:gd name="T2" fmla="*/ 357 w 539"/>
                <a:gd name="T3" fmla="*/ 14 h 1124"/>
                <a:gd name="T4" fmla="*/ 318 w 539"/>
                <a:gd name="T5" fmla="*/ 33 h 1124"/>
                <a:gd name="T6" fmla="*/ 280 w 539"/>
                <a:gd name="T7" fmla="*/ 50 h 1124"/>
                <a:gd name="T8" fmla="*/ 232 w 539"/>
                <a:gd name="T9" fmla="*/ 67 h 1124"/>
                <a:gd name="T10" fmla="*/ 213 w 539"/>
                <a:gd name="T11" fmla="*/ 98 h 1124"/>
                <a:gd name="T12" fmla="*/ 266 w 539"/>
                <a:gd name="T13" fmla="*/ 119 h 1124"/>
                <a:gd name="T14" fmla="*/ 276 w 539"/>
                <a:gd name="T15" fmla="*/ 138 h 1124"/>
                <a:gd name="T16" fmla="*/ 321 w 539"/>
                <a:gd name="T17" fmla="*/ 82 h 1124"/>
                <a:gd name="T18" fmla="*/ 385 w 539"/>
                <a:gd name="T19" fmla="*/ 63 h 1124"/>
                <a:gd name="T20" fmla="*/ 379 w 539"/>
                <a:gd name="T21" fmla="*/ 88 h 1124"/>
                <a:gd name="T22" fmla="*/ 425 w 539"/>
                <a:gd name="T23" fmla="*/ 75 h 1124"/>
                <a:gd name="T24" fmla="*/ 442 w 539"/>
                <a:gd name="T25" fmla="*/ 108 h 1124"/>
                <a:gd name="T26" fmla="*/ 455 w 539"/>
                <a:gd name="T27" fmla="*/ 125 h 1124"/>
                <a:gd name="T28" fmla="*/ 366 w 539"/>
                <a:gd name="T29" fmla="*/ 150 h 1124"/>
                <a:gd name="T30" fmla="*/ 372 w 539"/>
                <a:gd name="T31" fmla="*/ 163 h 1124"/>
                <a:gd name="T32" fmla="*/ 392 w 539"/>
                <a:gd name="T33" fmla="*/ 185 h 1124"/>
                <a:gd name="T34" fmla="*/ 366 w 539"/>
                <a:gd name="T35" fmla="*/ 190 h 1124"/>
                <a:gd name="T36" fmla="*/ 330 w 539"/>
                <a:gd name="T37" fmla="*/ 197 h 1124"/>
                <a:gd name="T38" fmla="*/ 283 w 539"/>
                <a:gd name="T39" fmla="*/ 226 h 1124"/>
                <a:gd name="T40" fmla="*/ 254 w 539"/>
                <a:gd name="T41" fmla="*/ 245 h 1124"/>
                <a:gd name="T42" fmla="*/ 245 w 539"/>
                <a:gd name="T43" fmla="*/ 252 h 1124"/>
                <a:gd name="T44" fmla="*/ 243 w 539"/>
                <a:gd name="T45" fmla="*/ 281 h 1124"/>
                <a:gd name="T46" fmla="*/ 198 w 539"/>
                <a:gd name="T47" fmla="*/ 309 h 1124"/>
                <a:gd name="T48" fmla="*/ 182 w 539"/>
                <a:gd name="T49" fmla="*/ 365 h 1124"/>
                <a:gd name="T50" fmla="*/ 163 w 539"/>
                <a:gd name="T51" fmla="*/ 366 h 1124"/>
                <a:gd name="T52" fmla="*/ 140 w 539"/>
                <a:gd name="T53" fmla="*/ 331 h 1124"/>
                <a:gd name="T54" fmla="*/ 110 w 539"/>
                <a:gd name="T55" fmla="*/ 342 h 1124"/>
                <a:gd name="T56" fmla="*/ 65 w 539"/>
                <a:gd name="T57" fmla="*/ 343 h 1124"/>
                <a:gd name="T58" fmla="*/ 33 w 539"/>
                <a:gd name="T59" fmla="*/ 372 h 1124"/>
                <a:gd name="T60" fmla="*/ 50 w 539"/>
                <a:gd name="T61" fmla="*/ 453 h 1124"/>
                <a:gd name="T62" fmla="*/ 108 w 539"/>
                <a:gd name="T63" fmla="*/ 421 h 1124"/>
                <a:gd name="T64" fmla="*/ 93 w 539"/>
                <a:gd name="T65" fmla="*/ 460 h 1124"/>
                <a:gd name="T66" fmla="*/ 119 w 539"/>
                <a:gd name="T67" fmla="*/ 483 h 1124"/>
                <a:gd name="T68" fmla="*/ 124 w 539"/>
                <a:gd name="T69" fmla="*/ 517 h 1124"/>
                <a:gd name="T70" fmla="*/ 155 w 539"/>
                <a:gd name="T71" fmla="*/ 550 h 1124"/>
                <a:gd name="T72" fmla="*/ 184 w 539"/>
                <a:gd name="T73" fmla="*/ 555 h 1124"/>
                <a:gd name="T74" fmla="*/ 228 w 539"/>
                <a:gd name="T75" fmla="*/ 516 h 1124"/>
                <a:gd name="T76" fmla="*/ 232 w 539"/>
                <a:gd name="T77" fmla="*/ 539 h 1124"/>
                <a:gd name="T78" fmla="*/ 263 w 539"/>
                <a:gd name="T79" fmla="*/ 532 h 1124"/>
                <a:gd name="T80" fmla="*/ 325 w 539"/>
                <a:gd name="T81" fmla="*/ 552 h 1124"/>
                <a:gd name="T82" fmla="*/ 363 w 539"/>
                <a:gd name="T83" fmla="*/ 585 h 1124"/>
                <a:gd name="T84" fmla="*/ 406 w 539"/>
                <a:gd name="T85" fmla="*/ 628 h 1124"/>
                <a:gd name="T86" fmla="*/ 437 w 539"/>
                <a:gd name="T87" fmla="*/ 990 h 1124"/>
                <a:gd name="T88" fmla="*/ 414 w 539"/>
                <a:gd name="T89" fmla="*/ 1025 h 1124"/>
                <a:gd name="T90" fmla="*/ 360 w 539"/>
                <a:gd name="T91" fmla="*/ 1062 h 1124"/>
                <a:gd name="T92" fmla="*/ 367 w 539"/>
                <a:gd name="T93" fmla="*/ 1086 h 1124"/>
                <a:gd name="T94" fmla="*/ 304 w 539"/>
                <a:gd name="T95" fmla="*/ 1076 h 1124"/>
                <a:gd name="T96" fmla="*/ 280 w 539"/>
                <a:gd name="T97" fmla="*/ 1024 h 1124"/>
                <a:gd name="T98" fmla="*/ 272 w 539"/>
                <a:gd name="T99" fmla="*/ 957 h 1124"/>
                <a:gd name="T100" fmla="*/ 265 w 539"/>
                <a:gd name="T101" fmla="*/ 881 h 1124"/>
                <a:gd name="T102" fmla="*/ 203 w 539"/>
                <a:gd name="T103" fmla="*/ 808 h 1124"/>
                <a:gd name="T104" fmla="*/ 145 w 539"/>
                <a:gd name="T105" fmla="*/ 711 h 1124"/>
                <a:gd name="T106" fmla="*/ 146 w 539"/>
                <a:gd name="T107" fmla="*/ 674 h 1124"/>
                <a:gd name="T108" fmla="*/ 155 w 539"/>
                <a:gd name="T109" fmla="*/ 637 h 1124"/>
                <a:gd name="T110" fmla="*/ 176 w 539"/>
                <a:gd name="T111" fmla="*/ 596 h 1124"/>
                <a:gd name="T112" fmla="*/ 169 w 539"/>
                <a:gd name="T113" fmla="*/ 558 h 1124"/>
                <a:gd name="T114" fmla="*/ 131 w 539"/>
                <a:gd name="T115" fmla="*/ 559 h 1124"/>
                <a:gd name="T116" fmla="*/ 109 w 539"/>
                <a:gd name="T117" fmla="*/ 545 h 1124"/>
                <a:gd name="T118" fmla="*/ 80 w 539"/>
                <a:gd name="T119" fmla="*/ 508 h 1124"/>
                <a:gd name="T120" fmla="*/ 20 w 539"/>
                <a:gd name="T121" fmla="*/ 483 h 1124"/>
                <a:gd name="T122" fmla="*/ 260 w 539"/>
                <a:gd name="T123" fmla="*/ 24 h 1124"/>
                <a:gd name="T124" fmla="*/ 285 w 539"/>
                <a:gd name="T125" fmla="*/ 20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9" h="1124">
                  <a:moveTo>
                    <a:pt x="239" y="20"/>
                  </a:moveTo>
                  <a:lnTo>
                    <a:pt x="239" y="20"/>
                  </a:lnTo>
                  <a:lnTo>
                    <a:pt x="239" y="21"/>
                  </a:lnTo>
                  <a:lnTo>
                    <a:pt x="239" y="21"/>
                  </a:lnTo>
                  <a:lnTo>
                    <a:pt x="238" y="21"/>
                  </a:lnTo>
                  <a:lnTo>
                    <a:pt x="238" y="21"/>
                  </a:lnTo>
                  <a:lnTo>
                    <a:pt x="239" y="20"/>
                  </a:lnTo>
                  <a:lnTo>
                    <a:pt x="239" y="20"/>
                  </a:lnTo>
                  <a:lnTo>
                    <a:pt x="239" y="20"/>
                  </a:lnTo>
                  <a:close/>
                  <a:moveTo>
                    <a:pt x="527" y="7"/>
                  </a:moveTo>
                  <a:lnTo>
                    <a:pt x="535" y="7"/>
                  </a:lnTo>
                  <a:lnTo>
                    <a:pt x="536" y="7"/>
                  </a:lnTo>
                  <a:lnTo>
                    <a:pt x="537" y="8"/>
                  </a:lnTo>
                  <a:lnTo>
                    <a:pt x="537" y="8"/>
                  </a:lnTo>
                  <a:lnTo>
                    <a:pt x="538" y="9"/>
                  </a:lnTo>
                  <a:lnTo>
                    <a:pt x="539" y="9"/>
                  </a:lnTo>
                  <a:lnTo>
                    <a:pt x="539" y="10"/>
                  </a:lnTo>
                  <a:lnTo>
                    <a:pt x="539" y="11"/>
                  </a:lnTo>
                  <a:lnTo>
                    <a:pt x="538" y="13"/>
                  </a:lnTo>
                  <a:lnTo>
                    <a:pt x="536" y="13"/>
                  </a:lnTo>
                  <a:lnTo>
                    <a:pt x="535" y="13"/>
                  </a:lnTo>
                  <a:lnTo>
                    <a:pt x="535" y="11"/>
                  </a:lnTo>
                  <a:lnTo>
                    <a:pt x="534" y="10"/>
                  </a:lnTo>
                  <a:lnTo>
                    <a:pt x="530" y="10"/>
                  </a:lnTo>
                  <a:lnTo>
                    <a:pt x="529" y="10"/>
                  </a:lnTo>
                  <a:lnTo>
                    <a:pt x="528" y="9"/>
                  </a:lnTo>
                  <a:lnTo>
                    <a:pt x="528" y="9"/>
                  </a:lnTo>
                  <a:lnTo>
                    <a:pt x="527" y="9"/>
                  </a:lnTo>
                  <a:lnTo>
                    <a:pt x="526" y="9"/>
                  </a:lnTo>
                  <a:lnTo>
                    <a:pt x="524" y="8"/>
                  </a:lnTo>
                  <a:lnTo>
                    <a:pt x="526" y="8"/>
                  </a:lnTo>
                  <a:lnTo>
                    <a:pt x="527" y="7"/>
                  </a:lnTo>
                  <a:close/>
                  <a:moveTo>
                    <a:pt x="300" y="0"/>
                  </a:moveTo>
                  <a:lnTo>
                    <a:pt x="303" y="0"/>
                  </a:lnTo>
                  <a:lnTo>
                    <a:pt x="305" y="1"/>
                  </a:lnTo>
                  <a:lnTo>
                    <a:pt x="306" y="2"/>
                  </a:lnTo>
                  <a:lnTo>
                    <a:pt x="306" y="3"/>
                  </a:lnTo>
                  <a:lnTo>
                    <a:pt x="306" y="6"/>
                  </a:lnTo>
                  <a:lnTo>
                    <a:pt x="306" y="7"/>
                  </a:lnTo>
                  <a:lnTo>
                    <a:pt x="307" y="7"/>
                  </a:lnTo>
                  <a:lnTo>
                    <a:pt x="309" y="8"/>
                  </a:lnTo>
                  <a:lnTo>
                    <a:pt x="309" y="8"/>
                  </a:lnTo>
                  <a:lnTo>
                    <a:pt x="307" y="9"/>
                  </a:lnTo>
                  <a:lnTo>
                    <a:pt x="306" y="9"/>
                  </a:lnTo>
                  <a:lnTo>
                    <a:pt x="305" y="9"/>
                  </a:lnTo>
                  <a:lnTo>
                    <a:pt x="305" y="9"/>
                  </a:lnTo>
                  <a:lnTo>
                    <a:pt x="305" y="9"/>
                  </a:lnTo>
                  <a:lnTo>
                    <a:pt x="304" y="8"/>
                  </a:lnTo>
                  <a:lnTo>
                    <a:pt x="303" y="9"/>
                  </a:lnTo>
                  <a:lnTo>
                    <a:pt x="302" y="9"/>
                  </a:lnTo>
                  <a:lnTo>
                    <a:pt x="302" y="10"/>
                  </a:lnTo>
                  <a:lnTo>
                    <a:pt x="303" y="10"/>
                  </a:lnTo>
                  <a:lnTo>
                    <a:pt x="303" y="11"/>
                  </a:lnTo>
                  <a:lnTo>
                    <a:pt x="304" y="11"/>
                  </a:lnTo>
                  <a:lnTo>
                    <a:pt x="304" y="13"/>
                  </a:lnTo>
                  <a:lnTo>
                    <a:pt x="303" y="13"/>
                  </a:lnTo>
                  <a:lnTo>
                    <a:pt x="300" y="14"/>
                  </a:lnTo>
                  <a:lnTo>
                    <a:pt x="303" y="14"/>
                  </a:lnTo>
                  <a:lnTo>
                    <a:pt x="304" y="15"/>
                  </a:lnTo>
                  <a:lnTo>
                    <a:pt x="305" y="15"/>
                  </a:lnTo>
                  <a:lnTo>
                    <a:pt x="305" y="15"/>
                  </a:lnTo>
                  <a:lnTo>
                    <a:pt x="305" y="16"/>
                  </a:lnTo>
                  <a:lnTo>
                    <a:pt x="304" y="17"/>
                  </a:lnTo>
                  <a:lnTo>
                    <a:pt x="303" y="20"/>
                  </a:lnTo>
                  <a:lnTo>
                    <a:pt x="305" y="18"/>
                  </a:lnTo>
                  <a:lnTo>
                    <a:pt x="306" y="18"/>
                  </a:lnTo>
                  <a:lnTo>
                    <a:pt x="309" y="18"/>
                  </a:lnTo>
                  <a:lnTo>
                    <a:pt x="310" y="17"/>
                  </a:lnTo>
                  <a:lnTo>
                    <a:pt x="311" y="16"/>
                  </a:lnTo>
                  <a:lnTo>
                    <a:pt x="313" y="15"/>
                  </a:lnTo>
                  <a:lnTo>
                    <a:pt x="315" y="15"/>
                  </a:lnTo>
                  <a:lnTo>
                    <a:pt x="317" y="16"/>
                  </a:lnTo>
                  <a:lnTo>
                    <a:pt x="318" y="17"/>
                  </a:lnTo>
                  <a:lnTo>
                    <a:pt x="318" y="18"/>
                  </a:lnTo>
                  <a:lnTo>
                    <a:pt x="317" y="20"/>
                  </a:lnTo>
                  <a:lnTo>
                    <a:pt x="315" y="21"/>
                  </a:lnTo>
                  <a:lnTo>
                    <a:pt x="315" y="22"/>
                  </a:lnTo>
                  <a:lnTo>
                    <a:pt x="315" y="23"/>
                  </a:lnTo>
                  <a:lnTo>
                    <a:pt x="315" y="24"/>
                  </a:lnTo>
                  <a:lnTo>
                    <a:pt x="315" y="25"/>
                  </a:lnTo>
                  <a:lnTo>
                    <a:pt x="314" y="26"/>
                  </a:lnTo>
                  <a:lnTo>
                    <a:pt x="319" y="24"/>
                  </a:lnTo>
                  <a:lnTo>
                    <a:pt x="322" y="22"/>
                  </a:lnTo>
                  <a:lnTo>
                    <a:pt x="325" y="21"/>
                  </a:lnTo>
                  <a:lnTo>
                    <a:pt x="328" y="21"/>
                  </a:lnTo>
                  <a:lnTo>
                    <a:pt x="329" y="21"/>
                  </a:lnTo>
                  <a:lnTo>
                    <a:pt x="330" y="20"/>
                  </a:lnTo>
                  <a:lnTo>
                    <a:pt x="333" y="17"/>
                  </a:lnTo>
                  <a:lnTo>
                    <a:pt x="334" y="17"/>
                  </a:lnTo>
                  <a:lnTo>
                    <a:pt x="335" y="16"/>
                  </a:lnTo>
                  <a:lnTo>
                    <a:pt x="336" y="16"/>
                  </a:lnTo>
                  <a:lnTo>
                    <a:pt x="337" y="16"/>
                  </a:lnTo>
                  <a:lnTo>
                    <a:pt x="336" y="15"/>
                  </a:lnTo>
                  <a:lnTo>
                    <a:pt x="336" y="14"/>
                  </a:lnTo>
                  <a:lnTo>
                    <a:pt x="336" y="13"/>
                  </a:lnTo>
                  <a:lnTo>
                    <a:pt x="337" y="11"/>
                  </a:lnTo>
                  <a:lnTo>
                    <a:pt x="340" y="10"/>
                  </a:lnTo>
                  <a:lnTo>
                    <a:pt x="342" y="10"/>
                  </a:lnTo>
                  <a:lnTo>
                    <a:pt x="344" y="10"/>
                  </a:lnTo>
                  <a:lnTo>
                    <a:pt x="348" y="11"/>
                  </a:lnTo>
                  <a:lnTo>
                    <a:pt x="351" y="11"/>
                  </a:lnTo>
                  <a:lnTo>
                    <a:pt x="354" y="11"/>
                  </a:lnTo>
                  <a:lnTo>
                    <a:pt x="355" y="13"/>
                  </a:lnTo>
                  <a:lnTo>
                    <a:pt x="357" y="14"/>
                  </a:lnTo>
                  <a:lnTo>
                    <a:pt x="359" y="15"/>
                  </a:lnTo>
                  <a:lnTo>
                    <a:pt x="360" y="15"/>
                  </a:lnTo>
                  <a:lnTo>
                    <a:pt x="360" y="16"/>
                  </a:lnTo>
                  <a:lnTo>
                    <a:pt x="360" y="16"/>
                  </a:lnTo>
                  <a:lnTo>
                    <a:pt x="358" y="17"/>
                  </a:lnTo>
                  <a:lnTo>
                    <a:pt x="358" y="18"/>
                  </a:lnTo>
                  <a:lnTo>
                    <a:pt x="357" y="18"/>
                  </a:lnTo>
                  <a:lnTo>
                    <a:pt x="357" y="18"/>
                  </a:lnTo>
                  <a:lnTo>
                    <a:pt x="355" y="17"/>
                  </a:lnTo>
                  <a:lnTo>
                    <a:pt x="354" y="18"/>
                  </a:lnTo>
                  <a:lnTo>
                    <a:pt x="352" y="18"/>
                  </a:lnTo>
                  <a:lnTo>
                    <a:pt x="352" y="20"/>
                  </a:lnTo>
                  <a:lnTo>
                    <a:pt x="354" y="21"/>
                  </a:lnTo>
                  <a:lnTo>
                    <a:pt x="354" y="21"/>
                  </a:lnTo>
                  <a:lnTo>
                    <a:pt x="352" y="22"/>
                  </a:lnTo>
                  <a:lnTo>
                    <a:pt x="352" y="23"/>
                  </a:lnTo>
                  <a:lnTo>
                    <a:pt x="352" y="24"/>
                  </a:lnTo>
                  <a:lnTo>
                    <a:pt x="352" y="24"/>
                  </a:lnTo>
                  <a:lnTo>
                    <a:pt x="354" y="24"/>
                  </a:lnTo>
                  <a:lnTo>
                    <a:pt x="352" y="25"/>
                  </a:lnTo>
                  <a:lnTo>
                    <a:pt x="351" y="26"/>
                  </a:lnTo>
                  <a:lnTo>
                    <a:pt x="350" y="29"/>
                  </a:lnTo>
                  <a:lnTo>
                    <a:pt x="347" y="29"/>
                  </a:lnTo>
                  <a:lnTo>
                    <a:pt x="345" y="30"/>
                  </a:lnTo>
                  <a:lnTo>
                    <a:pt x="343" y="30"/>
                  </a:lnTo>
                  <a:lnTo>
                    <a:pt x="342" y="30"/>
                  </a:lnTo>
                  <a:lnTo>
                    <a:pt x="341" y="30"/>
                  </a:lnTo>
                  <a:lnTo>
                    <a:pt x="340" y="30"/>
                  </a:lnTo>
                  <a:lnTo>
                    <a:pt x="337" y="30"/>
                  </a:lnTo>
                  <a:lnTo>
                    <a:pt x="336" y="31"/>
                  </a:lnTo>
                  <a:lnTo>
                    <a:pt x="335" y="31"/>
                  </a:lnTo>
                  <a:lnTo>
                    <a:pt x="334" y="31"/>
                  </a:lnTo>
                  <a:lnTo>
                    <a:pt x="333" y="31"/>
                  </a:lnTo>
                  <a:lnTo>
                    <a:pt x="330" y="32"/>
                  </a:lnTo>
                  <a:lnTo>
                    <a:pt x="328" y="32"/>
                  </a:lnTo>
                  <a:lnTo>
                    <a:pt x="327" y="31"/>
                  </a:lnTo>
                  <a:lnTo>
                    <a:pt x="326" y="30"/>
                  </a:lnTo>
                  <a:lnTo>
                    <a:pt x="325" y="29"/>
                  </a:lnTo>
                  <a:lnTo>
                    <a:pt x="324" y="29"/>
                  </a:lnTo>
                  <a:lnTo>
                    <a:pt x="324" y="29"/>
                  </a:lnTo>
                  <a:lnTo>
                    <a:pt x="324" y="29"/>
                  </a:lnTo>
                  <a:lnTo>
                    <a:pt x="325" y="30"/>
                  </a:lnTo>
                  <a:lnTo>
                    <a:pt x="325" y="30"/>
                  </a:lnTo>
                  <a:lnTo>
                    <a:pt x="326" y="32"/>
                  </a:lnTo>
                  <a:lnTo>
                    <a:pt x="326" y="32"/>
                  </a:lnTo>
                  <a:lnTo>
                    <a:pt x="326" y="33"/>
                  </a:lnTo>
                  <a:lnTo>
                    <a:pt x="325" y="33"/>
                  </a:lnTo>
                  <a:lnTo>
                    <a:pt x="324" y="33"/>
                  </a:lnTo>
                  <a:lnTo>
                    <a:pt x="321" y="33"/>
                  </a:lnTo>
                  <a:lnTo>
                    <a:pt x="320" y="33"/>
                  </a:lnTo>
                  <a:lnTo>
                    <a:pt x="319" y="33"/>
                  </a:lnTo>
                  <a:lnTo>
                    <a:pt x="318" y="33"/>
                  </a:lnTo>
                  <a:lnTo>
                    <a:pt x="318" y="32"/>
                  </a:lnTo>
                  <a:lnTo>
                    <a:pt x="318" y="31"/>
                  </a:lnTo>
                  <a:lnTo>
                    <a:pt x="317" y="31"/>
                  </a:lnTo>
                  <a:lnTo>
                    <a:pt x="315" y="31"/>
                  </a:lnTo>
                  <a:lnTo>
                    <a:pt x="314" y="31"/>
                  </a:lnTo>
                  <a:lnTo>
                    <a:pt x="311" y="32"/>
                  </a:lnTo>
                  <a:lnTo>
                    <a:pt x="310" y="32"/>
                  </a:lnTo>
                  <a:lnTo>
                    <a:pt x="310" y="32"/>
                  </a:lnTo>
                  <a:lnTo>
                    <a:pt x="310" y="33"/>
                  </a:lnTo>
                  <a:lnTo>
                    <a:pt x="311" y="33"/>
                  </a:lnTo>
                  <a:lnTo>
                    <a:pt x="312" y="33"/>
                  </a:lnTo>
                  <a:lnTo>
                    <a:pt x="313" y="35"/>
                  </a:lnTo>
                  <a:lnTo>
                    <a:pt x="313" y="35"/>
                  </a:lnTo>
                  <a:lnTo>
                    <a:pt x="312" y="36"/>
                  </a:lnTo>
                  <a:lnTo>
                    <a:pt x="310" y="36"/>
                  </a:lnTo>
                  <a:lnTo>
                    <a:pt x="306" y="37"/>
                  </a:lnTo>
                  <a:lnTo>
                    <a:pt x="303" y="38"/>
                  </a:lnTo>
                  <a:lnTo>
                    <a:pt x="300" y="39"/>
                  </a:lnTo>
                  <a:lnTo>
                    <a:pt x="299" y="40"/>
                  </a:lnTo>
                  <a:lnTo>
                    <a:pt x="299" y="40"/>
                  </a:lnTo>
                  <a:lnTo>
                    <a:pt x="298" y="40"/>
                  </a:lnTo>
                  <a:lnTo>
                    <a:pt x="296" y="40"/>
                  </a:lnTo>
                  <a:lnTo>
                    <a:pt x="294" y="40"/>
                  </a:lnTo>
                  <a:lnTo>
                    <a:pt x="291" y="40"/>
                  </a:lnTo>
                  <a:lnTo>
                    <a:pt x="290" y="39"/>
                  </a:lnTo>
                  <a:lnTo>
                    <a:pt x="290" y="39"/>
                  </a:lnTo>
                  <a:lnTo>
                    <a:pt x="289" y="38"/>
                  </a:lnTo>
                  <a:lnTo>
                    <a:pt x="289" y="37"/>
                  </a:lnTo>
                  <a:lnTo>
                    <a:pt x="288" y="37"/>
                  </a:lnTo>
                  <a:lnTo>
                    <a:pt x="285" y="37"/>
                  </a:lnTo>
                  <a:lnTo>
                    <a:pt x="283" y="37"/>
                  </a:lnTo>
                  <a:lnTo>
                    <a:pt x="285" y="37"/>
                  </a:lnTo>
                  <a:lnTo>
                    <a:pt x="288" y="38"/>
                  </a:lnTo>
                  <a:lnTo>
                    <a:pt x="288" y="38"/>
                  </a:lnTo>
                  <a:lnTo>
                    <a:pt x="289" y="39"/>
                  </a:lnTo>
                  <a:lnTo>
                    <a:pt x="289" y="39"/>
                  </a:lnTo>
                  <a:lnTo>
                    <a:pt x="290" y="40"/>
                  </a:lnTo>
                  <a:lnTo>
                    <a:pt x="292" y="40"/>
                  </a:lnTo>
                  <a:lnTo>
                    <a:pt x="295" y="41"/>
                  </a:lnTo>
                  <a:lnTo>
                    <a:pt x="296" y="41"/>
                  </a:lnTo>
                  <a:lnTo>
                    <a:pt x="298" y="41"/>
                  </a:lnTo>
                  <a:lnTo>
                    <a:pt x="299" y="41"/>
                  </a:lnTo>
                  <a:lnTo>
                    <a:pt x="299" y="41"/>
                  </a:lnTo>
                  <a:lnTo>
                    <a:pt x="299" y="43"/>
                  </a:lnTo>
                  <a:lnTo>
                    <a:pt x="297" y="44"/>
                  </a:lnTo>
                  <a:lnTo>
                    <a:pt x="294" y="45"/>
                  </a:lnTo>
                  <a:lnTo>
                    <a:pt x="291" y="46"/>
                  </a:lnTo>
                  <a:lnTo>
                    <a:pt x="289" y="47"/>
                  </a:lnTo>
                  <a:lnTo>
                    <a:pt x="287" y="48"/>
                  </a:lnTo>
                  <a:lnTo>
                    <a:pt x="283" y="50"/>
                  </a:lnTo>
                  <a:lnTo>
                    <a:pt x="281" y="50"/>
                  </a:lnTo>
                  <a:lnTo>
                    <a:pt x="280" y="50"/>
                  </a:lnTo>
                  <a:lnTo>
                    <a:pt x="279" y="50"/>
                  </a:lnTo>
                  <a:lnTo>
                    <a:pt x="276" y="48"/>
                  </a:lnTo>
                  <a:lnTo>
                    <a:pt x="275" y="47"/>
                  </a:lnTo>
                  <a:lnTo>
                    <a:pt x="274" y="48"/>
                  </a:lnTo>
                  <a:lnTo>
                    <a:pt x="274" y="50"/>
                  </a:lnTo>
                  <a:lnTo>
                    <a:pt x="273" y="50"/>
                  </a:lnTo>
                  <a:lnTo>
                    <a:pt x="272" y="51"/>
                  </a:lnTo>
                  <a:lnTo>
                    <a:pt x="269" y="51"/>
                  </a:lnTo>
                  <a:lnTo>
                    <a:pt x="268" y="51"/>
                  </a:lnTo>
                  <a:lnTo>
                    <a:pt x="267" y="51"/>
                  </a:lnTo>
                  <a:lnTo>
                    <a:pt x="266" y="51"/>
                  </a:lnTo>
                  <a:lnTo>
                    <a:pt x="263" y="51"/>
                  </a:lnTo>
                  <a:lnTo>
                    <a:pt x="261" y="50"/>
                  </a:lnTo>
                  <a:lnTo>
                    <a:pt x="257" y="51"/>
                  </a:lnTo>
                  <a:lnTo>
                    <a:pt x="252" y="51"/>
                  </a:lnTo>
                  <a:lnTo>
                    <a:pt x="255" y="51"/>
                  </a:lnTo>
                  <a:lnTo>
                    <a:pt x="257" y="51"/>
                  </a:lnTo>
                  <a:lnTo>
                    <a:pt x="258" y="51"/>
                  </a:lnTo>
                  <a:lnTo>
                    <a:pt x="257" y="52"/>
                  </a:lnTo>
                  <a:lnTo>
                    <a:pt x="255" y="53"/>
                  </a:lnTo>
                  <a:lnTo>
                    <a:pt x="259" y="52"/>
                  </a:lnTo>
                  <a:lnTo>
                    <a:pt x="261" y="51"/>
                  </a:lnTo>
                  <a:lnTo>
                    <a:pt x="262" y="51"/>
                  </a:lnTo>
                  <a:lnTo>
                    <a:pt x="263" y="51"/>
                  </a:lnTo>
                  <a:lnTo>
                    <a:pt x="265" y="52"/>
                  </a:lnTo>
                  <a:lnTo>
                    <a:pt x="266" y="53"/>
                  </a:lnTo>
                  <a:lnTo>
                    <a:pt x="266" y="54"/>
                  </a:lnTo>
                  <a:lnTo>
                    <a:pt x="266" y="54"/>
                  </a:lnTo>
                  <a:lnTo>
                    <a:pt x="265" y="55"/>
                  </a:lnTo>
                  <a:lnTo>
                    <a:pt x="262" y="56"/>
                  </a:lnTo>
                  <a:lnTo>
                    <a:pt x="259" y="56"/>
                  </a:lnTo>
                  <a:lnTo>
                    <a:pt x="255" y="55"/>
                  </a:lnTo>
                  <a:lnTo>
                    <a:pt x="254" y="55"/>
                  </a:lnTo>
                  <a:lnTo>
                    <a:pt x="253" y="55"/>
                  </a:lnTo>
                  <a:lnTo>
                    <a:pt x="253" y="56"/>
                  </a:lnTo>
                  <a:lnTo>
                    <a:pt x="254" y="56"/>
                  </a:lnTo>
                  <a:lnTo>
                    <a:pt x="254" y="56"/>
                  </a:lnTo>
                  <a:lnTo>
                    <a:pt x="255" y="58"/>
                  </a:lnTo>
                  <a:lnTo>
                    <a:pt x="254" y="58"/>
                  </a:lnTo>
                  <a:lnTo>
                    <a:pt x="253" y="58"/>
                  </a:lnTo>
                  <a:lnTo>
                    <a:pt x="250" y="59"/>
                  </a:lnTo>
                  <a:lnTo>
                    <a:pt x="247" y="60"/>
                  </a:lnTo>
                  <a:lnTo>
                    <a:pt x="246" y="60"/>
                  </a:lnTo>
                  <a:lnTo>
                    <a:pt x="246" y="61"/>
                  </a:lnTo>
                  <a:lnTo>
                    <a:pt x="245" y="61"/>
                  </a:lnTo>
                  <a:lnTo>
                    <a:pt x="245" y="61"/>
                  </a:lnTo>
                  <a:lnTo>
                    <a:pt x="243" y="62"/>
                  </a:lnTo>
                  <a:lnTo>
                    <a:pt x="240" y="63"/>
                  </a:lnTo>
                  <a:lnTo>
                    <a:pt x="238" y="66"/>
                  </a:lnTo>
                  <a:lnTo>
                    <a:pt x="236" y="67"/>
                  </a:lnTo>
                  <a:lnTo>
                    <a:pt x="233" y="67"/>
                  </a:lnTo>
                  <a:lnTo>
                    <a:pt x="232" y="67"/>
                  </a:lnTo>
                  <a:lnTo>
                    <a:pt x="231" y="67"/>
                  </a:lnTo>
                  <a:lnTo>
                    <a:pt x="230" y="67"/>
                  </a:lnTo>
                  <a:lnTo>
                    <a:pt x="230" y="67"/>
                  </a:lnTo>
                  <a:lnTo>
                    <a:pt x="230" y="68"/>
                  </a:lnTo>
                  <a:lnTo>
                    <a:pt x="230" y="69"/>
                  </a:lnTo>
                  <a:lnTo>
                    <a:pt x="229" y="69"/>
                  </a:lnTo>
                  <a:lnTo>
                    <a:pt x="227" y="70"/>
                  </a:lnTo>
                  <a:lnTo>
                    <a:pt x="224" y="72"/>
                  </a:lnTo>
                  <a:lnTo>
                    <a:pt x="222" y="73"/>
                  </a:lnTo>
                  <a:lnTo>
                    <a:pt x="222" y="73"/>
                  </a:lnTo>
                  <a:lnTo>
                    <a:pt x="222" y="74"/>
                  </a:lnTo>
                  <a:lnTo>
                    <a:pt x="222" y="74"/>
                  </a:lnTo>
                  <a:lnTo>
                    <a:pt x="222" y="74"/>
                  </a:lnTo>
                  <a:lnTo>
                    <a:pt x="222" y="75"/>
                  </a:lnTo>
                  <a:lnTo>
                    <a:pt x="221" y="75"/>
                  </a:lnTo>
                  <a:lnTo>
                    <a:pt x="218" y="75"/>
                  </a:lnTo>
                  <a:lnTo>
                    <a:pt x="218" y="75"/>
                  </a:lnTo>
                  <a:lnTo>
                    <a:pt x="218" y="76"/>
                  </a:lnTo>
                  <a:lnTo>
                    <a:pt x="218" y="76"/>
                  </a:lnTo>
                  <a:lnTo>
                    <a:pt x="218" y="76"/>
                  </a:lnTo>
                  <a:lnTo>
                    <a:pt x="217" y="77"/>
                  </a:lnTo>
                  <a:lnTo>
                    <a:pt x="215" y="78"/>
                  </a:lnTo>
                  <a:lnTo>
                    <a:pt x="213" y="80"/>
                  </a:lnTo>
                  <a:lnTo>
                    <a:pt x="213" y="81"/>
                  </a:lnTo>
                  <a:lnTo>
                    <a:pt x="212" y="83"/>
                  </a:lnTo>
                  <a:lnTo>
                    <a:pt x="212" y="84"/>
                  </a:lnTo>
                  <a:lnTo>
                    <a:pt x="210" y="85"/>
                  </a:lnTo>
                  <a:lnTo>
                    <a:pt x="209" y="87"/>
                  </a:lnTo>
                  <a:lnTo>
                    <a:pt x="209" y="87"/>
                  </a:lnTo>
                  <a:lnTo>
                    <a:pt x="208" y="88"/>
                  </a:lnTo>
                  <a:lnTo>
                    <a:pt x="209" y="87"/>
                  </a:lnTo>
                  <a:lnTo>
                    <a:pt x="209" y="87"/>
                  </a:lnTo>
                  <a:lnTo>
                    <a:pt x="210" y="88"/>
                  </a:lnTo>
                  <a:lnTo>
                    <a:pt x="210" y="89"/>
                  </a:lnTo>
                  <a:lnTo>
                    <a:pt x="212" y="88"/>
                  </a:lnTo>
                  <a:lnTo>
                    <a:pt x="214" y="88"/>
                  </a:lnTo>
                  <a:lnTo>
                    <a:pt x="215" y="88"/>
                  </a:lnTo>
                  <a:lnTo>
                    <a:pt x="217" y="88"/>
                  </a:lnTo>
                  <a:lnTo>
                    <a:pt x="217" y="89"/>
                  </a:lnTo>
                  <a:lnTo>
                    <a:pt x="218" y="90"/>
                  </a:lnTo>
                  <a:lnTo>
                    <a:pt x="218" y="91"/>
                  </a:lnTo>
                  <a:lnTo>
                    <a:pt x="218" y="91"/>
                  </a:lnTo>
                  <a:lnTo>
                    <a:pt x="218" y="92"/>
                  </a:lnTo>
                  <a:lnTo>
                    <a:pt x="220" y="93"/>
                  </a:lnTo>
                  <a:lnTo>
                    <a:pt x="220" y="95"/>
                  </a:lnTo>
                  <a:lnTo>
                    <a:pt x="220" y="96"/>
                  </a:lnTo>
                  <a:lnTo>
                    <a:pt x="218" y="96"/>
                  </a:lnTo>
                  <a:lnTo>
                    <a:pt x="217" y="98"/>
                  </a:lnTo>
                  <a:lnTo>
                    <a:pt x="215" y="98"/>
                  </a:lnTo>
                  <a:lnTo>
                    <a:pt x="215" y="99"/>
                  </a:lnTo>
                  <a:lnTo>
                    <a:pt x="214" y="98"/>
                  </a:lnTo>
                  <a:lnTo>
                    <a:pt x="213" y="98"/>
                  </a:lnTo>
                  <a:lnTo>
                    <a:pt x="212" y="99"/>
                  </a:lnTo>
                  <a:lnTo>
                    <a:pt x="210" y="99"/>
                  </a:lnTo>
                  <a:lnTo>
                    <a:pt x="215" y="99"/>
                  </a:lnTo>
                  <a:lnTo>
                    <a:pt x="217" y="99"/>
                  </a:lnTo>
                  <a:lnTo>
                    <a:pt x="220" y="99"/>
                  </a:lnTo>
                  <a:lnTo>
                    <a:pt x="222" y="98"/>
                  </a:lnTo>
                  <a:lnTo>
                    <a:pt x="224" y="97"/>
                  </a:lnTo>
                  <a:lnTo>
                    <a:pt x="227" y="97"/>
                  </a:lnTo>
                  <a:lnTo>
                    <a:pt x="228" y="97"/>
                  </a:lnTo>
                  <a:lnTo>
                    <a:pt x="229" y="98"/>
                  </a:lnTo>
                  <a:lnTo>
                    <a:pt x="230" y="99"/>
                  </a:lnTo>
                  <a:lnTo>
                    <a:pt x="231" y="100"/>
                  </a:lnTo>
                  <a:lnTo>
                    <a:pt x="233" y="100"/>
                  </a:lnTo>
                  <a:lnTo>
                    <a:pt x="237" y="100"/>
                  </a:lnTo>
                  <a:lnTo>
                    <a:pt x="239" y="102"/>
                  </a:lnTo>
                  <a:lnTo>
                    <a:pt x="240" y="102"/>
                  </a:lnTo>
                  <a:lnTo>
                    <a:pt x="242" y="103"/>
                  </a:lnTo>
                  <a:lnTo>
                    <a:pt x="242" y="105"/>
                  </a:lnTo>
                  <a:lnTo>
                    <a:pt x="243" y="105"/>
                  </a:lnTo>
                  <a:lnTo>
                    <a:pt x="243" y="105"/>
                  </a:lnTo>
                  <a:lnTo>
                    <a:pt x="245" y="105"/>
                  </a:lnTo>
                  <a:lnTo>
                    <a:pt x="246" y="105"/>
                  </a:lnTo>
                  <a:lnTo>
                    <a:pt x="248" y="106"/>
                  </a:lnTo>
                  <a:lnTo>
                    <a:pt x="250" y="106"/>
                  </a:lnTo>
                  <a:lnTo>
                    <a:pt x="251" y="107"/>
                  </a:lnTo>
                  <a:lnTo>
                    <a:pt x="252" y="107"/>
                  </a:lnTo>
                  <a:lnTo>
                    <a:pt x="252" y="107"/>
                  </a:lnTo>
                  <a:lnTo>
                    <a:pt x="252" y="108"/>
                  </a:lnTo>
                  <a:lnTo>
                    <a:pt x="252" y="110"/>
                  </a:lnTo>
                  <a:lnTo>
                    <a:pt x="252" y="111"/>
                  </a:lnTo>
                  <a:lnTo>
                    <a:pt x="254" y="111"/>
                  </a:lnTo>
                  <a:lnTo>
                    <a:pt x="257" y="111"/>
                  </a:lnTo>
                  <a:lnTo>
                    <a:pt x="260" y="110"/>
                  </a:lnTo>
                  <a:lnTo>
                    <a:pt x="262" y="110"/>
                  </a:lnTo>
                  <a:lnTo>
                    <a:pt x="265" y="110"/>
                  </a:lnTo>
                  <a:lnTo>
                    <a:pt x="266" y="110"/>
                  </a:lnTo>
                  <a:lnTo>
                    <a:pt x="267" y="111"/>
                  </a:lnTo>
                  <a:lnTo>
                    <a:pt x="268" y="111"/>
                  </a:lnTo>
                  <a:lnTo>
                    <a:pt x="269" y="111"/>
                  </a:lnTo>
                  <a:lnTo>
                    <a:pt x="270" y="112"/>
                  </a:lnTo>
                  <a:lnTo>
                    <a:pt x="272" y="112"/>
                  </a:lnTo>
                  <a:lnTo>
                    <a:pt x="270" y="112"/>
                  </a:lnTo>
                  <a:lnTo>
                    <a:pt x="269" y="114"/>
                  </a:lnTo>
                  <a:lnTo>
                    <a:pt x="268" y="115"/>
                  </a:lnTo>
                  <a:lnTo>
                    <a:pt x="267" y="115"/>
                  </a:lnTo>
                  <a:lnTo>
                    <a:pt x="267" y="115"/>
                  </a:lnTo>
                  <a:lnTo>
                    <a:pt x="267" y="117"/>
                  </a:lnTo>
                  <a:lnTo>
                    <a:pt x="268" y="117"/>
                  </a:lnTo>
                  <a:lnTo>
                    <a:pt x="268" y="117"/>
                  </a:lnTo>
                  <a:lnTo>
                    <a:pt x="268" y="118"/>
                  </a:lnTo>
                  <a:lnTo>
                    <a:pt x="267" y="119"/>
                  </a:lnTo>
                  <a:lnTo>
                    <a:pt x="266" y="119"/>
                  </a:lnTo>
                  <a:lnTo>
                    <a:pt x="266" y="119"/>
                  </a:lnTo>
                  <a:lnTo>
                    <a:pt x="265" y="119"/>
                  </a:lnTo>
                  <a:lnTo>
                    <a:pt x="263" y="119"/>
                  </a:lnTo>
                  <a:lnTo>
                    <a:pt x="263" y="120"/>
                  </a:lnTo>
                  <a:lnTo>
                    <a:pt x="262" y="120"/>
                  </a:lnTo>
                  <a:lnTo>
                    <a:pt x="261" y="119"/>
                  </a:lnTo>
                  <a:lnTo>
                    <a:pt x="259" y="119"/>
                  </a:lnTo>
                  <a:lnTo>
                    <a:pt x="260" y="120"/>
                  </a:lnTo>
                  <a:lnTo>
                    <a:pt x="261" y="120"/>
                  </a:lnTo>
                  <a:lnTo>
                    <a:pt x="263" y="121"/>
                  </a:lnTo>
                  <a:lnTo>
                    <a:pt x="265" y="121"/>
                  </a:lnTo>
                  <a:lnTo>
                    <a:pt x="266" y="121"/>
                  </a:lnTo>
                  <a:lnTo>
                    <a:pt x="266" y="122"/>
                  </a:lnTo>
                  <a:lnTo>
                    <a:pt x="265" y="125"/>
                  </a:lnTo>
                  <a:lnTo>
                    <a:pt x="265" y="125"/>
                  </a:lnTo>
                  <a:lnTo>
                    <a:pt x="265" y="126"/>
                  </a:lnTo>
                  <a:lnTo>
                    <a:pt x="263" y="126"/>
                  </a:lnTo>
                  <a:lnTo>
                    <a:pt x="260" y="126"/>
                  </a:lnTo>
                  <a:lnTo>
                    <a:pt x="263" y="127"/>
                  </a:lnTo>
                  <a:lnTo>
                    <a:pt x="265" y="128"/>
                  </a:lnTo>
                  <a:lnTo>
                    <a:pt x="266" y="129"/>
                  </a:lnTo>
                  <a:lnTo>
                    <a:pt x="266" y="130"/>
                  </a:lnTo>
                  <a:lnTo>
                    <a:pt x="266" y="133"/>
                  </a:lnTo>
                  <a:lnTo>
                    <a:pt x="266" y="134"/>
                  </a:lnTo>
                  <a:lnTo>
                    <a:pt x="266" y="134"/>
                  </a:lnTo>
                  <a:lnTo>
                    <a:pt x="266" y="135"/>
                  </a:lnTo>
                  <a:lnTo>
                    <a:pt x="267" y="135"/>
                  </a:lnTo>
                  <a:lnTo>
                    <a:pt x="267" y="136"/>
                  </a:lnTo>
                  <a:lnTo>
                    <a:pt x="266" y="136"/>
                  </a:lnTo>
                  <a:lnTo>
                    <a:pt x="265" y="137"/>
                  </a:lnTo>
                  <a:lnTo>
                    <a:pt x="263" y="138"/>
                  </a:lnTo>
                  <a:lnTo>
                    <a:pt x="262" y="140"/>
                  </a:lnTo>
                  <a:lnTo>
                    <a:pt x="263" y="138"/>
                  </a:lnTo>
                  <a:lnTo>
                    <a:pt x="266" y="137"/>
                  </a:lnTo>
                  <a:lnTo>
                    <a:pt x="268" y="136"/>
                  </a:lnTo>
                  <a:lnTo>
                    <a:pt x="268" y="136"/>
                  </a:lnTo>
                  <a:lnTo>
                    <a:pt x="269" y="137"/>
                  </a:lnTo>
                  <a:lnTo>
                    <a:pt x="269" y="138"/>
                  </a:lnTo>
                  <a:lnTo>
                    <a:pt x="269" y="140"/>
                  </a:lnTo>
                  <a:lnTo>
                    <a:pt x="269" y="141"/>
                  </a:lnTo>
                  <a:lnTo>
                    <a:pt x="269" y="142"/>
                  </a:lnTo>
                  <a:lnTo>
                    <a:pt x="269" y="142"/>
                  </a:lnTo>
                  <a:lnTo>
                    <a:pt x="269" y="142"/>
                  </a:lnTo>
                  <a:lnTo>
                    <a:pt x="270" y="142"/>
                  </a:lnTo>
                  <a:lnTo>
                    <a:pt x="272" y="142"/>
                  </a:lnTo>
                  <a:lnTo>
                    <a:pt x="273" y="142"/>
                  </a:lnTo>
                  <a:lnTo>
                    <a:pt x="273" y="142"/>
                  </a:lnTo>
                  <a:lnTo>
                    <a:pt x="273" y="142"/>
                  </a:lnTo>
                  <a:lnTo>
                    <a:pt x="273" y="141"/>
                  </a:lnTo>
                  <a:lnTo>
                    <a:pt x="273" y="140"/>
                  </a:lnTo>
                  <a:lnTo>
                    <a:pt x="274" y="140"/>
                  </a:lnTo>
                  <a:lnTo>
                    <a:pt x="276" y="138"/>
                  </a:lnTo>
                  <a:lnTo>
                    <a:pt x="279" y="138"/>
                  </a:lnTo>
                  <a:lnTo>
                    <a:pt x="280" y="137"/>
                  </a:lnTo>
                  <a:lnTo>
                    <a:pt x="280" y="138"/>
                  </a:lnTo>
                  <a:lnTo>
                    <a:pt x="280" y="138"/>
                  </a:lnTo>
                  <a:lnTo>
                    <a:pt x="280" y="140"/>
                  </a:lnTo>
                  <a:lnTo>
                    <a:pt x="281" y="141"/>
                  </a:lnTo>
                  <a:lnTo>
                    <a:pt x="282" y="142"/>
                  </a:lnTo>
                  <a:lnTo>
                    <a:pt x="283" y="143"/>
                  </a:lnTo>
                  <a:lnTo>
                    <a:pt x="282" y="142"/>
                  </a:lnTo>
                  <a:lnTo>
                    <a:pt x="282" y="141"/>
                  </a:lnTo>
                  <a:lnTo>
                    <a:pt x="283" y="140"/>
                  </a:lnTo>
                  <a:lnTo>
                    <a:pt x="285" y="140"/>
                  </a:lnTo>
                  <a:lnTo>
                    <a:pt x="283" y="140"/>
                  </a:lnTo>
                  <a:lnTo>
                    <a:pt x="282" y="140"/>
                  </a:lnTo>
                  <a:lnTo>
                    <a:pt x="282" y="138"/>
                  </a:lnTo>
                  <a:lnTo>
                    <a:pt x="282" y="136"/>
                  </a:lnTo>
                  <a:lnTo>
                    <a:pt x="282" y="136"/>
                  </a:lnTo>
                  <a:lnTo>
                    <a:pt x="283" y="135"/>
                  </a:lnTo>
                  <a:lnTo>
                    <a:pt x="285" y="135"/>
                  </a:lnTo>
                  <a:lnTo>
                    <a:pt x="287" y="135"/>
                  </a:lnTo>
                  <a:lnTo>
                    <a:pt x="289" y="134"/>
                  </a:lnTo>
                  <a:lnTo>
                    <a:pt x="290" y="132"/>
                  </a:lnTo>
                  <a:lnTo>
                    <a:pt x="290" y="129"/>
                  </a:lnTo>
                  <a:lnTo>
                    <a:pt x="290" y="127"/>
                  </a:lnTo>
                  <a:lnTo>
                    <a:pt x="291" y="126"/>
                  </a:lnTo>
                  <a:lnTo>
                    <a:pt x="291" y="125"/>
                  </a:lnTo>
                  <a:lnTo>
                    <a:pt x="292" y="125"/>
                  </a:lnTo>
                  <a:lnTo>
                    <a:pt x="292" y="121"/>
                  </a:lnTo>
                  <a:lnTo>
                    <a:pt x="291" y="119"/>
                  </a:lnTo>
                  <a:lnTo>
                    <a:pt x="291" y="118"/>
                  </a:lnTo>
                  <a:lnTo>
                    <a:pt x="291" y="118"/>
                  </a:lnTo>
                  <a:lnTo>
                    <a:pt x="291" y="118"/>
                  </a:lnTo>
                  <a:lnTo>
                    <a:pt x="290" y="118"/>
                  </a:lnTo>
                  <a:lnTo>
                    <a:pt x="290" y="118"/>
                  </a:lnTo>
                  <a:lnTo>
                    <a:pt x="290" y="118"/>
                  </a:lnTo>
                  <a:lnTo>
                    <a:pt x="290" y="117"/>
                  </a:lnTo>
                  <a:lnTo>
                    <a:pt x="289" y="117"/>
                  </a:lnTo>
                  <a:lnTo>
                    <a:pt x="289" y="117"/>
                  </a:lnTo>
                  <a:lnTo>
                    <a:pt x="288" y="115"/>
                  </a:lnTo>
                  <a:lnTo>
                    <a:pt x="288" y="115"/>
                  </a:lnTo>
                  <a:lnTo>
                    <a:pt x="289" y="114"/>
                  </a:lnTo>
                  <a:lnTo>
                    <a:pt x="292" y="113"/>
                  </a:lnTo>
                  <a:lnTo>
                    <a:pt x="299" y="112"/>
                  </a:lnTo>
                  <a:lnTo>
                    <a:pt x="310" y="108"/>
                  </a:lnTo>
                  <a:lnTo>
                    <a:pt x="320" y="102"/>
                  </a:lnTo>
                  <a:lnTo>
                    <a:pt x="325" y="95"/>
                  </a:lnTo>
                  <a:lnTo>
                    <a:pt x="326" y="90"/>
                  </a:lnTo>
                  <a:lnTo>
                    <a:pt x="324" y="88"/>
                  </a:lnTo>
                  <a:lnTo>
                    <a:pt x="321" y="85"/>
                  </a:lnTo>
                  <a:lnTo>
                    <a:pt x="320" y="84"/>
                  </a:lnTo>
                  <a:lnTo>
                    <a:pt x="320" y="82"/>
                  </a:lnTo>
                  <a:lnTo>
                    <a:pt x="321" y="82"/>
                  </a:lnTo>
                  <a:lnTo>
                    <a:pt x="321" y="82"/>
                  </a:lnTo>
                  <a:lnTo>
                    <a:pt x="321" y="82"/>
                  </a:lnTo>
                  <a:lnTo>
                    <a:pt x="321" y="81"/>
                  </a:lnTo>
                  <a:lnTo>
                    <a:pt x="321" y="81"/>
                  </a:lnTo>
                  <a:lnTo>
                    <a:pt x="322" y="80"/>
                  </a:lnTo>
                  <a:lnTo>
                    <a:pt x="324" y="78"/>
                  </a:lnTo>
                  <a:lnTo>
                    <a:pt x="327" y="77"/>
                  </a:lnTo>
                  <a:lnTo>
                    <a:pt x="328" y="76"/>
                  </a:lnTo>
                  <a:lnTo>
                    <a:pt x="329" y="76"/>
                  </a:lnTo>
                  <a:lnTo>
                    <a:pt x="329" y="76"/>
                  </a:lnTo>
                  <a:lnTo>
                    <a:pt x="329" y="76"/>
                  </a:lnTo>
                  <a:lnTo>
                    <a:pt x="329" y="76"/>
                  </a:lnTo>
                  <a:lnTo>
                    <a:pt x="330" y="76"/>
                  </a:lnTo>
                  <a:lnTo>
                    <a:pt x="333" y="75"/>
                  </a:lnTo>
                  <a:lnTo>
                    <a:pt x="333" y="75"/>
                  </a:lnTo>
                  <a:lnTo>
                    <a:pt x="333" y="74"/>
                  </a:lnTo>
                  <a:lnTo>
                    <a:pt x="333" y="74"/>
                  </a:lnTo>
                  <a:lnTo>
                    <a:pt x="333" y="73"/>
                  </a:lnTo>
                  <a:lnTo>
                    <a:pt x="332" y="73"/>
                  </a:lnTo>
                  <a:lnTo>
                    <a:pt x="333" y="72"/>
                  </a:lnTo>
                  <a:lnTo>
                    <a:pt x="334" y="70"/>
                  </a:lnTo>
                  <a:lnTo>
                    <a:pt x="336" y="69"/>
                  </a:lnTo>
                  <a:lnTo>
                    <a:pt x="337" y="68"/>
                  </a:lnTo>
                  <a:lnTo>
                    <a:pt x="337" y="68"/>
                  </a:lnTo>
                  <a:lnTo>
                    <a:pt x="336" y="68"/>
                  </a:lnTo>
                  <a:lnTo>
                    <a:pt x="336" y="68"/>
                  </a:lnTo>
                  <a:lnTo>
                    <a:pt x="335" y="68"/>
                  </a:lnTo>
                  <a:lnTo>
                    <a:pt x="335" y="67"/>
                  </a:lnTo>
                  <a:lnTo>
                    <a:pt x="336" y="66"/>
                  </a:lnTo>
                  <a:lnTo>
                    <a:pt x="337" y="65"/>
                  </a:lnTo>
                  <a:lnTo>
                    <a:pt x="340" y="63"/>
                  </a:lnTo>
                  <a:lnTo>
                    <a:pt x="341" y="61"/>
                  </a:lnTo>
                  <a:lnTo>
                    <a:pt x="341" y="59"/>
                  </a:lnTo>
                  <a:lnTo>
                    <a:pt x="342" y="58"/>
                  </a:lnTo>
                  <a:lnTo>
                    <a:pt x="342" y="55"/>
                  </a:lnTo>
                  <a:lnTo>
                    <a:pt x="344" y="54"/>
                  </a:lnTo>
                  <a:lnTo>
                    <a:pt x="349" y="54"/>
                  </a:lnTo>
                  <a:lnTo>
                    <a:pt x="354" y="54"/>
                  </a:lnTo>
                  <a:lnTo>
                    <a:pt x="357" y="55"/>
                  </a:lnTo>
                  <a:lnTo>
                    <a:pt x="360" y="56"/>
                  </a:lnTo>
                  <a:lnTo>
                    <a:pt x="365" y="56"/>
                  </a:lnTo>
                  <a:lnTo>
                    <a:pt x="369" y="55"/>
                  </a:lnTo>
                  <a:lnTo>
                    <a:pt x="371" y="54"/>
                  </a:lnTo>
                  <a:lnTo>
                    <a:pt x="374" y="54"/>
                  </a:lnTo>
                  <a:lnTo>
                    <a:pt x="379" y="58"/>
                  </a:lnTo>
                  <a:lnTo>
                    <a:pt x="379" y="60"/>
                  </a:lnTo>
                  <a:lnTo>
                    <a:pt x="379" y="61"/>
                  </a:lnTo>
                  <a:lnTo>
                    <a:pt x="380" y="62"/>
                  </a:lnTo>
                  <a:lnTo>
                    <a:pt x="381" y="62"/>
                  </a:lnTo>
                  <a:lnTo>
                    <a:pt x="382" y="62"/>
                  </a:lnTo>
                  <a:lnTo>
                    <a:pt x="382" y="63"/>
                  </a:lnTo>
                  <a:lnTo>
                    <a:pt x="385" y="63"/>
                  </a:lnTo>
                  <a:lnTo>
                    <a:pt x="385" y="63"/>
                  </a:lnTo>
                  <a:lnTo>
                    <a:pt x="386" y="63"/>
                  </a:lnTo>
                  <a:lnTo>
                    <a:pt x="386" y="62"/>
                  </a:lnTo>
                  <a:lnTo>
                    <a:pt x="387" y="62"/>
                  </a:lnTo>
                  <a:lnTo>
                    <a:pt x="388" y="63"/>
                  </a:lnTo>
                  <a:lnTo>
                    <a:pt x="388" y="63"/>
                  </a:lnTo>
                  <a:lnTo>
                    <a:pt x="388" y="65"/>
                  </a:lnTo>
                  <a:lnTo>
                    <a:pt x="388" y="65"/>
                  </a:lnTo>
                  <a:lnTo>
                    <a:pt x="388" y="66"/>
                  </a:lnTo>
                  <a:lnTo>
                    <a:pt x="388" y="67"/>
                  </a:lnTo>
                  <a:lnTo>
                    <a:pt x="390" y="66"/>
                  </a:lnTo>
                  <a:lnTo>
                    <a:pt x="392" y="66"/>
                  </a:lnTo>
                  <a:lnTo>
                    <a:pt x="394" y="65"/>
                  </a:lnTo>
                  <a:lnTo>
                    <a:pt x="394" y="66"/>
                  </a:lnTo>
                  <a:lnTo>
                    <a:pt x="394" y="67"/>
                  </a:lnTo>
                  <a:lnTo>
                    <a:pt x="394" y="67"/>
                  </a:lnTo>
                  <a:lnTo>
                    <a:pt x="393" y="67"/>
                  </a:lnTo>
                  <a:lnTo>
                    <a:pt x="390" y="68"/>
                  </a:lnTo>
                  <a:lnTo>
                    <a:pt x="388" y="69"/>
                  </a:lnTo>
                  <a:lnTo>
                    <a:pt x="387" y="69"/>
                  </a:lnTo>
                  <a:lnTo>
                    <a:pt x="387" y="70"/>
                  </a:lnTo>
                  <a:lnTo>
                    <a:pt x="387" y="70"/>
                  </a:lnTo>
                  <a:lnTo>
                    <a:pt x="388" y="72"/>
                  </a:lnTo>
                  <a:lnTo>
                    <a:pt x="388" y="72"/>
                  </a:lnTo>
                  <a:lnTo>
                    <a:pt x="388" y="73"/>
                  </a:lnTo>
                  <a:lnTo>
                    <a:pt x="386" y="73"/>
                  </a:lnTo>
                  <a:lnTo>
                    <a:pt x="382" y="74"/>
                  </a:lnTo>
                  <a:lnTo>
                    <a:pt x="386" y="74"/>
                  </a:lnTo>
                  <a:lnTo>
                    <a:pt x="387" y="75"/>
                  </a:lnTo>
                  <a:lnTo>
                    <a:pt x="386" y="77"/>
                  </a:lnTo>
                  <a:lnTo>
                    <a:pt x="384" y="78"/>
                  </a:lnTo>
                  <a:lnTo>
                    <a:pt x="382" y="80"/>
                  </a:lnTo>
                  <a:lnTo>
                    <a:pt x="380" y="80"/>
                  </a:lnTo>
                  <a:lnTo>
                    <a:pt x="379" y="81"/>
                  </a:lnTo>
                  <a:lnTo>
                    <a:pt x="379" y="82"/>
                  </a:lnTo>
                  <a:lnTo>
                    <a:pt x="384" y="81"/>
                  </a:lnTo>
                  <a:lnTo>
                    <a:pt x="386" y="81"/>
                  </a:lnTo>
                  <a:lnTo>
                    <a:pt x="387" y="81"/>
                  </a:lnTo>
                  <a:lnTo>
                    <a:pt x="388" y="81"/>
                  </a:lnTo>
                  <a:lnTo>
                    <a:pt x="386" y="82"/>
                  </a:lnTo>
                  <a:lnTo>
                    <a:pt x="384" y="84"/>
                  </a:lnTo>
                  <a:lnTo>
                    <a:pt x="382" y="85"/>
                  </a:lnTo>
                  <a:lnTo>
                    <a:pt x="381" y="85"/>
                  </a:lnTo>
                  <a:lnTo>
                    <a:pt x="380" y="85"/>
                  </a:lnTo>
                  <a:lnTo>
                    <a:pt x="380" y="85"/>
                  </a:lnTo>
                  <a:lnTo>
                    <a:pt x="381" y="84"/>
                  </a:lnTo>
                  <a:lnTo>
                    <a:pt x="380" y="85"/>
                  </a:lnTo>
                  <a:lnTo>
                    <a:pt x="379" y="85"/>
                  </a:lnTo>
                  <a:lnTo>
                    <a:pt x="378" y="87"/>
                  </a:lnTo>
                  <a:lnTo>
                    <a:pt x="375" y="88"/>
                  </a:lnTo>
                  <a:lnTo>
                    <a:pt x="377" y="88"/>
                  </a:lnTo>
                  <a:lnTo>
                    <a:pt x="379" y="88"/>
                  </a:lnTo>
                  <a:lnTo>
                    <a:pt x="379" y="88"/>
                  </a:lnTo>
                  <a:lnTo>
                    <a:pt x="380" y="89"/>
                  </a:lnTo>
                  <a:lnTo>
                    <a:pt x="379" y="89"/>
                  </a:lnTo>
                  <a:lnTo>
                    <a:pt x="382" y="88"/>
                  </a:lnTo>
                  <a:lnTo>
                    <a:pt x="385" y="85"/>
                  </a:lnTo>
                  <a:lnTo>
                    <a:pt x="387" y="84"/>
                  </a:lnTo>
                  <a:lnTo>
                    <a:pt x="389" y="84"/>
                  </a:lnTo>
                  <a:lnTo>
                    <a:pt x="390" y="84"/>
                  </a:lnTo>
                  <a:lnTo>
                    <a:pt x="392" y="84"/>
                  </a:lnTo>
                  <a:lnTo>
                    <a:pt x="392" y="85"/>
                  </a:lnTo>
                  <a:lnTo>
                    <a:pt x="392" y="87"/>
                  </a:lnTo>
                  <a:lnTo>
                    <a:pt x="392" y="87"/>
                  </a:lnTo>
                  <a:lnTo>
                    <a:pt x="393" y="87"/>
                  </a:lnTo>
                  <a:lnTo>
                    <a:pt x="393" y="87"/>
                  </a:lnTo>
                  <a:lnTo>
                    <a:pt x="394" y="88"/>
                  </a:lnTo>
                  <a:lnTo>
                    <a:pt x="395" y="85"/>
                  </a:lnTo>
                  <a:lnTo>
                    <a:pt x="396" y="84"/>
                  </a:lnTo>
                  <a:lnTo>
                    <a:pt x="399" y="83"/>
                  </a:lnTo>
                  <a:lnTo>
                    <a:pt x="401" y="82"/>
                  </a:lnTo>
                  <a:lnTo>
                    <a:pt x="402" y="81"/>
                  </a:lnTo>
                  <a:lnTo>
                    <a:pt x="403" y="80"/>
                  </a:lnTo>
                  <a:lnTo>
                    <a:pt x="404" y="80"/>
                  </a:lnTo>
                  <a:lnTo>
                    <a:pt x="404" y="81"/>
                  </a:lnTo>
                  <a:lnTo>
                    <a:pt x="404" y="81"/>
                  </a:lnTo>
                  <a:lnTo>
                    <a:pt x="404" y="82"/>
                  </a:lnTo>
                  <a:lnTo>
                    <a:pt x="406" y="83"/>
                  </a:lnTo>
                  <a:lnTo>
                    <a:pt x="406" y="82"/>
                  </a:lnTo>
                  <a:lnTo>
                    <a:pt x="406" y="82"/>
                  </a:lnTo>
                  <a:lnTo>
                    <a:pt x="406" y="81"/>
                  </a:lnTo>
                  <a:lnTo>
                    <a:pt x="407" y="80"/>
                  </a:lnTo>
                  <a:lnTo>
                    <a:pt x="408" y="80"/>
                  </a:lnTo>
                  <a:lnTo>
                    <a:pt x="409" y="78"/>
                  </a:lnTo>
                  <a:lnTo>
                    <a:pt x="411" y="77"/>
                  </a:lnTo>
                  <a:lnTo>
                    <a:pt x="411" y="76"/>
                  </a:lnTo>
                  <a:lnTo>
                    <a:pt x="411" y="75"/>
                  </a:lnTo>
                  <a:lnTo>
                    <a:pt x="411" y="74"/>
                  </a:lnTo>
                  <a:lnTo>
                    <a:pt x="411" y="73"/>
                  </a:lnTo>
                  <a:lnTo>
                    <a:pt x="412" y="72"/>
                  </a:lnTo>
                  <a:lnTo>
                    <a:pt x="415" y="70"/>
                  </a:lnTo>
                  <a:lnTo>
                    <a:pt x="416" y="69"/>
                  </a:lnTo>
                  <a:lnTo>
                    <a:pt x="417" y="68"/>
                  </a:lnTo>
                  <a:lnTo>
                    <a:pt x="418" y="67"/>
                  </a:lnTo>
                  <a:lnTo>
                    <a:pt x="419" y="67"/>
                  </a:lnTo>
                  <a:lnTo>
                    <a:pt x="419" y="68"/>
                  </a:lnTo>
                  <a:lnTo>
                    <a:pt x="421" y="69"/>
                  </a:lnTo>
                  <a:lnTo>
                    <a:pt x="422" y="70"/>
                  </a:lnTo>
                  <a:lnTo>
                    <a:pt x="423" y="70"/>
                  </a:lnTo>
                  <a:lnTo>
                    <a:pt x="423" y="72"/>
                  </a:lnTo>
                  <a:lnTo>
                    <a:pt x="424" y="73"/>
                  </a:lnTo>
                  <a:lnTo>
                    <a:pt x="424" y="74"/>
                  </a:lnTo>
                  <a:lnTo>
                    <a:pt x="425" y="74"/>
                  </a:lnTo>
                  <a:lnTo>
                    <a:pt x="425" y="75"/>
                  </a:lnTo>
                  <a:lnTo>
                    <a:pt x="424" y="76"/>
                  </a:lnTo>
                  <a:lnTo>
                    <a:pt x="425" y="77"/>
                  </a:lnTo>
                  <a:lnTo>
                    <a:pt x="425" y="77"/>
                  </a:lnTo>
                  <a:lnTo>
                    <a:pt x="426" y="78"/>
                  </a:lnTo>
                  <a:lnTo>
                    <a:pt x="426" y="78"/>
                  </a:lnTo>
                  <a:lnTo>
                    <a:pt x="426" y="81"/>
                  </a:lnTo>
                  <a:lnTo>
                    <a:pt x="426" y="82"/>
                  </a:lnTo>
                  <a:lnTo>
                    <a:pt x="427" y="82"/>
                  </a:lnTo>
                  <a:lnTo>
                    <a:pt x="429" y="83"/>
                  </a:lnTo>
                  <a:lnTo>
                    <a:pt x="429" y="84"/>
                  </a:lnTo>
                  <a:lnTo>
                    <a:pt x="429" y="85"/>
                  </a:lnTo>
                  <a:lnTo>
                    <a:pt x="430" y="87"/>
                  </a:lnTo>
                  <a:lnTo>
                    <a:pt x="431" y="88"/>
                  </a:lnTo>
                  <a:lnTo>
                    <a:pt x="431" y="89"/>
                  </a:lnTo>
                  <a:lnTo>
                    <a:pt x="429" y="90"/>
                  </a:lnTo>
                  <a:lnTo>
                    <a:pt x="426" y="92"/>
                  </a:lnTo>
                  <a:lnTo>
                    <a:pt x="423" y="92"/>
                  </a:lnTo>
                  <a:lnTo>
                    <a:pt x="424" y="92"/>
                  </a:lnTo>
                  <a:lnTo>
                    <a:pt x="426" y="92"/>
                  </a:lnTo>
                  <a:lnTo>
                    <a:pt x="427" y="92"/>
                  </a:lnTo>
                  <a:lnTo>
                    <a:pt x="430" y="91"/>
                  </a:lnTo>
                  <a:lnTo>
                    <a:pt x="432" y="91"/>
                  </a:lnTo>
                  <a:lnTo>
                    <a:pt x="432" y="92"/>
                  </a:lnTo>
                  <a:lnTo>
                    <a:pt x="431" y="92"/>
                  </a:lnTo>
                  <a:lnTo>
                    <a:pt x="431" y="93"/>
                  </a:lnTo>
                  <a:lnTo>
                    <a:pt x="430" y="95"/>
                  </a:lnTo>
                  <a:lnTo>
                    <a:pt x="430" y="97"/>
                  </a:lnTo>
                  <a:lnTo>
                    <a:pt x="430" y="98"/>
                  </a:lnTo>
                  <a:lnTo>
                    <a:pt x="431" y="99"/>
                  </a:lnTo>
                  <a:lnTo>
                    <a:pt x="431" y="100"/>
                  </a:lnTo>
                  <a:lnTo>
                    <a:pt x="431" y="102"/>
                  </a:lnTo>
                  <a:lnTo>
                    <a:pt x="431" y="103"/>
                  </a:lnTo>
                  <a:lnTo>
                    <a:pt x="431" y="103"/>
                  </a:lnTo>
                  <a:lnTo>
                    <a:pt x="432" y="104"/>
                  </a:lnTo>
                  <a:lnTo>
                    <a:pt x="433" y="103"/>
                  </a:lnTo>
                  <a:lnTo>
                    <a:pt x="434" y="103"/>
                  </a:lnTo>
                  <a:lnTo>
                    <a:pt x="434" y="103"/>
                  </a:lnTo>
                  <a:lnTo>
                    <a:pt x="434" y="104"/>
                  </a:lnTo>
                  <a:lnTo>
                    <a:pt x="434" y="105"/>
                  </a:lnTo>
                  <a:lnTo>
                    <a:pt x="434" y="105"/>
                  </a:lnTo>
                  <a:lnTo>
                    <a:pt x="434" y="105"/>
                  </a:lnTo>
                  <a:lnTo>
                    <a:pt x="436" y="105"/>
                  </a:lnTo>
                  <a:lnTo>
                    <a:pt x="438" y="105"/>
                  </a:lnTo>
                  <a:lnTo>
                    <a:pt x="438" y="105"/>
                  </a:lnTo>
                  <a:lnTo>
                    <a:pt x="439" y="106"/>
                  </a:lnTo>
                  <a:lnTo>
                    <a:pt x="438" y="106"/>
                  </a:lnTo>
                  <a:lnTo>
                    <a:pt x="438" y="106"/>
                  </a:lnTo>
                  <a:lnTo>
                    <a:pt x="439" y="106"/>
                  </a:lnTo>
                  <a:lnTo>
                    <a:pt x="440" y="107"/>
                  </a:lnTo>
                  <a:lnTo>
                    <a:pt x="441" y="107"/>
                  </a:lnTo>
                  <a:lnTo>
                    <a:pt x="441" y="108"/>
                  </a:lnTo>
                  <a:lnTo>
                    <a:pt x="442" y="108"/>
                  </a:lnTo>
                  <a:lnTo>
                    <a:pt x="442" y="108"/>
                  </a:lnTo>
                  <a:lnTo>
                    <a:pt x="444" y="108"/>
                  </a:lnTo>
                  <a:lnTo>
                    <a:pt x="446" y="108"/>
                  </a:lnTo>
                  <a:lnTo>
                    <a:pt x="447" y="108"/>
                  </a:lnTo>
                  <a:lnTo>
                    <a:pt x="448" y="110"/>
                  </a:lnTo>
                  <a:lnTo>
                    <a:pt x="449" y="111"/>
                  </a:lnTo>
                  <a:lnTo>
                    <a:pt x="449" y="111"/>
                  </a:lnTo>
                  <a:lnTo>
                    <a:pt x="447" y="112"/>
                  </a:lnTo>
                  <a:lnTo>
                    <a:pt x="444" y="112"/>
                  </a:lnTo>
                  <a:lnTo>
                    <a:pt x="441" y="113"/>
                  </a:lnTo>
                  <a:lnTo>
                    <a:pt x="439" y="113"/>
                  </a:lnTo>
                  <a:lnTo>
                    <a:pt x="436" y="113"/>
                  </a:lnTo>
                  <a:lnTo>
                    <a:pt x="432" y="114"/>
                  </a:lnTo>
                  <a:lnTo>
                    <a:pt x="430" y="114"/>
                  </a:lnTo>
                  <a:lnTo>
                    <a:pt x="429" y="114"/>
                  </a:lnTo>
                  <a:lnTo>
                    <a:pt x="429" y="114"/>
                  </a:lnTo>
                  <a:lnTo>
                    <a:pt x="429" y="114"/>
                  </a:lnTo>
                  <a:lnTo>
                    <a:pt x="429" y="114"/>
                  </a:lnTo>
                  <a:lnTo>
                    <a:pt x="429" y="115"/>
                  </a:lnTo>
                  <a:lnTo>
                    <a:pt x="427" y="117"/>
                  </a:lnTo>
                  <a:lnTo>
                    <a:pt x="425" y="118"/>
                  </a:lnTo>
                  <a:lnTo>
                    <a:pt x="429" y="118"/>
                  </a:lnTo>
                  <a:lnTo>
                    <a:pt x="433" y="118"/>
                  </a:lnTo>
                  <a:lnTo>
                    <a:pt x="437" y="115"/>
                  </a:lnTo>
                  <a:lnTo>
                    <a:pt x="440" y="114"/>
                  </a:lnTo>
                  <a:lnTo>
                    <a:pt x="442" y="113"/>
                  </a:lnTo>
                  <a:lnTo>
                    <a:pt x="445" y="112"/>
                  </a:lnTo>
                  <a:lnTo>
                    <a:pt x="447" y="113"/>
                  </a:lnTo>
                  <a:lnTo>
                    <a:pt x="449" y="114"/>
                  </a:lnTo>
                  <a:lnTo>
                    <a:pt x="449" y="114"/>
                  </a:lnTo>
                  <a:lnTo>
                    <a:pt x="449" y="115"/>
                  </a:lnTo>
                  <a:lnTo>
                    <a:pt x="449" y="115"/>
                  </a:lnTo>
                  <a:lnTo>
                    <a:pt x="449" y="117"/>
                  </a:lnTo>
                  <a:lnTo>
                    <a:pt x="449" y="118"/>
                  </a:lnTo>
                  <a:lnTo>
                    <a:pt x="449" y="117"/>
                  </a:lnTo>
                  <a:lnTo>
                    <a:pt x="449" y="117"/>
                  </a:lnTo>
                  <a:lnTo>
                    <a:pt x="451" y="115"/>
                  </a:lnTo>
                  <a:lnTo>
                    <a:pt x="453" y="115"/>
                  </a:lnTo>
                  <a:lnTo>
                    <a:pt x="455" y="115"/>
                  </a:lnTo>
                  <a:lnTo>
                    <a:pt x="456" y="117"/>
                  </a:lnTo>
                  <a:lnTo>
                    <a:pt x="456" y="118"/>
                  </a:lnTo>
                  <a:lnTo>
                    <a:pt x="456" y="119"/>
                  </a:lnTo>
                  <a:lnTo>
                    <a:pt x="455" y="121"/>
                  </a:lnTo>
                  <a:lnTo>
                    <a:pt x="454" y="121"/>
                  </a:lnTo>
                  <a:lnTo>
                    <a:pt x="454" y="121"/>
                  </a:lnTo>
                  <a:lnTo>
                    <a:pt x="455" y="121"/>
                  </a:lnTo>
                  <a:lnTo>
                    <a:pt x="455" y="122"/>
                  </a:lnTo>
                  <a:lnTo>
                    <a:pt x="455" y="122"/>
                  </a:lnTo>
                  <a:lnTo>
                    <a:pt x="455" y="122"/>
                  </a:lnTo>
                  <a:lnTo>
                    <a:pt x="454" y="123"/>
                  </a:lnTo>
                  <a:lnTo>
                    <a:pt x="455" y="123"/>
                  </a:lnTo>
                  <a:lnTo>
                    <a:pt x="455" y="125"/>
                  </a:lnTo>
                  <a:lnTo>
                    <a:pt x="456" y="126"/>
                  </a:lnTo>
                  <a:lnTo>
                    <a:pt x="456" y="126"/>
                  </a:lnTo>
                  <a:lnTo>
                    <a:pt x="456" y="127"/>
                  </a:lnTo>
                  <a:lnTo>
                    <a:pt x="455" y="128"/>
                  </a:lnTo>
                  <a:lnTo>
                    <a:pt x="453" y="129"/>
                  </a:lnTo>
                  <a:lnTo>
                    <a:pt x="451" y="130"/>
                  </a:lnTo>
                  <a:lnTo>
                    <a:pt x="449" y="132"/>
                  </a:lnTo>
                  <a:lnTo>
                    <a:pt x="448" y="132"/>
                  </a:lnTo>
                  <a:lnTo>
                    <a:pt x="448" y="132"/>
                  </a:lnTo>
                  <a:lnTo>
                    <a:pt x="447" y="130"/>
                  </a:lnTo>
                  <a:lnTo>
                    <a:pt x="447" y="130"/>
                  </a:lnTo>
                  <a:lnTo>
                    <a:pt x="446" y="130"/>
                  </a:lnTo>
                  <a:lnTo>
                    <a:pt x="445" y="132"/>
                  </a:lnTo>
                  <a:lnTo>
                    <a:pt x="442" y="133"/>
                  </a:lnTo>
                  <a:lnTo>
                    <a:pt x="439" y="134"/>
                  </a:lnTo>
                  <a:lnTo>
                    <a:pt x="437" y="135"/>
                  </a:lnTo>
                  <a:lnTo>
                    <a:pt x="437" y="135"/>
                  </a:lnTo>
                  <a:lnTo>
                    <a:pt x="437" y="136"/>
                  </a:lnTo>
                  <a:lnTo>
                    <a:pt x="437" y="137"/>
                  </a:lnTo>
                  <a:lnTo>
                    <a:pt x="437" y="136"/>
                  </a:lnTo>
                  <a:lnTo>
                    <a:pt x="436" y="136"/>
                  </a:lnTo>
                  <a:lnTo>
                    <a:pt x="433" y="136"/>
                  </a:lnTo>
                  <a:lnTo>
                    <a:pt x="432" y="138"/>
                  </a:lnTo>
                  <a:lnTo>
                    <a:pt x="432" y="140"/>
                  </a:lnTo>
                  <a:lnTo>
                    <a:pt x="432" y="140"/>
                  </a:lnTo>
                  <a:lnTo>
                    <a:pt x="431" y="140"/>
                  </a:lnTo>
                  <a:lnTo>
                    <a:pt x="430" y="140"/>
                  </a:lnTo>
                  <a:lnTo>
                    <a:pt x="429" y="140"/>
                  </a:lnTo>
                  <a:lnTo>
                    <a:pt x="426" y="141"/>
                  </a:lnTo>
                  <a:lnTo>
                    <a:pt x="423" y="142"/>
                  </a:lnTo>
                  <a:lnTo>
                    <a:pt x="419" y="143"/>
                  </a:lnTo>
                  <a:lnTo>
                    <a:pt x="417" y="144"/>
                  </a:lnTo>
                  <a:lnTo>
                    <a:pt x="416" y="144"/>
                  </a:lnTo>
                  <a:lnTo>
                    <a:pt x="415" y="144"/>
                  </a:lnTo>
                  <a:lnTo>
                    <a:pt x="415" y="143"/>
                  </a:lnTo>
                  <a:lnTo>
                    <a:pt x="414" y="143"/>
                  </a:lnTo>
                  <a:lnTo>
                    <a:pt x="412" y="143"/>
                  </a:lnTo>
                  <a:lnTo>
                    <a:pt x="410" y="143"/>
                  </a:lnTo>
                  <a:lnTo>
                    <a:pt x="408" y="143"/>
                  </a:lnTo>
                  <a:lnTo>
                    <a:pt x="404" y="144"/>
                  </a:lnTo>
                  <a:lnTo>
                    <a:pt x="402" y="143"/>
                  </a:lnTo>
                  <a:lnTo>
                    <a:pt x="401" y="143"/>
                  </a:lnTo>
                  <a:lnTo>
                    <a:pt x="396" y="143"/>
                  </a:lnTo>
                  <a:lnTo>
                    <a:pt x="386" y="143"/>
                  </a:lnTo>
                  <a:lnTo>
                    <a:pt x="380" y="144"/>
                  </a:lnTo>
                  <a:lnTo>
                    <a:pt x="375" y="145"/>
                  </a:lnTo>
                  <a:lnTo>
                    <a:pt x="372" y="145"/>
                  </a:lnTo>
                  <a:lnTo>
                    <a:pt x="371" y="147"/>
                  </a:lnTo>
                  <a:lnTo>
                    <a:pt x="370" y="148"/>
                  </a:lnTo>
                  <a:lnTo>
                    <a:pt x="369" y="149"/>
                  </a:lnTo>
                  <a:lnTo>
                    <a:pt x="369" y="149"/>
                  </a:lnTo>
                  <a:lnTo>
                    <a:pt x="366" y="150"/>
                  </a:lnTo>
                  <a:lnTo>
                    <a:pt x="364" y="150"/>
                  </a:lnTo>
                  <a:lnTo>
                    <a:pt x="362" y="151"/>
                  </a:lnTo>
                  <a:lnTo>
                    <a:pt x="358" y="152"/>
                  </a:lnTo>
                  <a:lnTo>
                    <a:pt x="357" y="153"/>
                  </a:lnTo>
                  <a:lnTo>
                    <a:pt x="356" y="155"/>
                  </a:lnTo>
                  <a:lnTo>
                    <a:pt x="355" y="156"/>
                  </a:lnTo>
                  <a:lnTo>
                    <a:pt x="354" y="156"/>
                  </a:lnTo>
                  <a:lnTo>
                    <a:pt x="351" y="156"/>
                  </a:lnTo>
                  <a:lnTo>
                    <a:pt x="351" y="155"/>
                  </a:lnTo>
                  <a:lnTo>
                    <a:pt x="351" y="156"/>
                  </a:lnTo>
                  <a:lnTo>
                    <a:pt x="351" y="156"/>
                  </a:lnTo>
                  <a:lnTo>
                    <a:pt x="350" y="157"/>
                  </a:lnTo>
                  <a:lnTo>
                    <a:pt x="348" y="157"/>
                  </a:lnTo>
                  <a:lnTo>
                    <a:pt x="343" y="159"/>
                  </a:lnTo>
                  <a:lnTo>
                    <a:pt x="337" y="164"/>
                  </a:lnTo>
                  <a:lnTo>
                    <a:pt x="333" y="167"/>
                  </a:lnTo>
                  <a:lnTo>
                    <a:pt x="329" y="170"/>
                  </a:lnTo>
                  <a:lnTo>
                    <a:pt x="327" y="170"/>
                  </a:lnTo>
                  <a:lnTo>
                    <a:pt x="327" y="171"/>
                  </a:lnTo>
                  <a:lnTo>
                    <a:pt x="326" y="172"/>
                  </a:lnTo>
                  <a:lnTo>
                    <a:pt x="325" y="172"/>
                  </a:lnTo>
                  <a:lnTo>
                    <a:pt x="322" y="173"/>
                  </a:lnTo>
                  <a:lnTo>
                    <a:pt x="320" y="174"/>
                  </a:lnTo>
                  <a:lnTo>
                    <a:pt x="321" y="174"/>
                  </a:lnTo>
                  <a:lnTo>
                    <a:pt x="322" y="174"/>
                  </a:lnTo>
                  <a:lnTo>
                    <a:pt x="324" y="174"/>
                  </a:lnTo>
                  <a:lnTo>
                    <a:pt x="326" y="173"/>
                  </a:lnTo>
                  <a:lnTo>
                    <a:pt x="327" y="172"/>
                  </a:lnTo>
                  <a:lnTo>
                    <a:pt x="330" y="170"/>
                  </a:lnTo>
                  <a:lnTo>
                    <a:pt x="337" y="166"/>
                  </a:lnTo>
                  <a:lnTo>
                    <a:pt x="348" y="162"/>
                  </a:lnTo>
                  <a:lnTo>
                    <a:pt x="358" y="158"/>
                  </a:lnTo>
                  <a:lnTo>
                    <a:pt x="367" y="156"/>
                  </a:lnTo>
                  <a:lnTo>
                    <a:pt x="372" y="155"/>
                  </a:lnTo>
                  <a:lnTo>
                    <a:pt x="375" y="155"/>
                  </a:lnTo>
                  <a:lnTo>
                    <a:pt x="379" y="156"/>
                  </a:lnTo>
                  <a:lnTo>
                    <a:pt x="380" y="156"/>
                  </a:lnTo>
                  <a:lnTo>
                    <a:pt x="379" y="157"/>
                  </a:lnTo>
                  <a:lnTo>
                    <a:pt x="379" y="158"/>
                  </a:lnTo>
                  <a:lnTo>
                    <a:pt x="379" y="158"/>
                  </a:lnTo>
                  <a:lnTo>
                    <a:pt x="379" y="157"/>
                  </a:lnTo>
                  <a:lnTo>
                    <a:pt x="378" y="157"/>
                  </a:lnTo>
                  <a:lnTo>
                    <a:pt x="378" y="158"/>
                  </a:lnTo>
                  <a:lnTo>
                    <a:pt x="379" y="159"/>
                  </a:lnTo>
                  <a:lnTo>
                    <a:pt x="380" y="159"/>
                  </a:lnTo>
                  <a:lnTo>
                    <a:pt x="379" y="159"/>
                  </a:lnTo>
                  <a:lnTo>
                    <a:pt x="379" y="159"/>
                  </a:lnTo>
                  <a:lnTo>
                    <a:pt x="378" y="160"/>
                  </a:lnTo>
                  <a:lnTo>
                    <a:pt x="378" y="160"/>
                  </a:lnTo>
                  <a:lnTo>
                    <a:pt x="377" y="160"/>
                  </a:lnTo>
                  <a:lnTo>
                    <a:pt x="374" y="162"/>
                  </a:lnTo>
                  <a:lnTo>
                    <a:pt x="372" y="163"/>
                  </a:lnTo>
                  <a:lnTo>
                    <a:pt x="371" y="164"/>
                  </a:lnTo>
                  <a:lnTo>
                    <a:pt x="370" y="164"/>
                  </a:lnTo>
                  <a:lnTo>
                    <a:pt x="369" y="164"/>
                  </a:lnTo>
                  <a:lnTo>
                    <a:pt x="367" y="164"/>
                  </a:lnTo>
                  <a:lnTo>
                    <a:pt x="366" y="164"/>
                  </a:lnTo>
                  <a:lnTo>
                    <a:pt x="365" y="164"/>
                  </a:lnTo>
                  <a:lnTo>
                    <a:pt x="364" y="164"/>
                  </a:lnTo>
                  <a:lnTo>
                    <a:pt x="365" y="164"/>
                  </a:lnTo>
                  <a:lnTo>
                    <a:pt x="365" y="164"/>
                  </a:lnTo>
                  <a:lnTo>
                    <a:pt x="366" y="165"/>
                  </a:lnTo>
                  <a:lnTo>
                    <a:pt x="367" y="166"/>
                  </a:lnTo>
                  <a:lnTo>
                    <a:pt x="367" y="166"/>
                  </a:lnTo>
                  <a:lnTo>
                    <a:pt x="369" y="165"/>
                  </a:lnTo>
                  <a:lnTo>
                    <a:pt x="370" y="165"/>
                  </a:lnTo>
                  <a:lnTo>
                    <a:pt x="371" y="165"/>
                  </a:lnTo>
                  <a:lnTo>
                    <a:pt x="371" y="166"/>
                  </a:lnTo>
                  <a:lnTo>
                    <a:pt x="371" y="166"/>
                  </a:lnTo>
                  <a:lnTo>
                    <a:pt x="371" y="167"/>
                  </a:lnTo>
                  <a:lnTo>
                    <a:pt x="370" y="169"/>
                  </a:lnTo>
                  <a:lnTo>
                    <a:pt x="369" y="170"/>
                  </a:lnTo>
                  <a:lnTo>
                    <a:pt x="365" y="171"/>
                  </a:lnTo>
                  <a:lnTo>
                    <a:pt x="367" y="171"/>
                  </a:lnTo>
                  <a:lnTo>
                    <a:pt x="369" y="172"/>
                  </a:lnTo>
                  <a:lnTo>
                    <a:pt x="370" y="174"/>
                  </a:lnTo>
                  <a:lnTo>
                    <a:pt x="371" y="177"/>
                  </a:lnTo>
                  <a:lnTo>
                    <a:pt x="371" y="180"/>
                  </a:lnTo>
                  <a:lnTo>
                    <a:pt x="372" y="180"/>
                  </a:lnTo>
                  <a:lnTo>
                    <a:pt x="373" y="180"/>
                  </a:lnTo>
                  <a:lnTo>
                    <a:pt x="374" y="181"/>
                  </a:lnTo>
                  <a:lnTo>
                    <a:pt x="374" y="182"/>
                  </a:lnTo>
                  <a:lnTo>
                    <a:pt x="375" y="182"/>
                  </a:lnTo>
                  <a:lnTo>
                    <a:pt x="377" y="184"/>
                  </a:lnTo>
                  <a:lnTo>
                    <a:pt x="379" y="184"/>
                  </a:lnTo>
                  <a:lnTo>
                    <a:pt x="381" y="184"/>
                  </a:lnTo>
                  <a:lnTo>
                    <a:pt x="382" y="184"/>
                  </a:lnTo>
                  <a:lnTo>
                    <a:pt x="382" y="185"/>
                  </a:lnTo>
                  <a:lnTo>
                    <a:pt x="382" y="185"/>
                  </a:lnTo>
                  <a:lnTo>
                    <a:pt x="382" y="185"/>
                  </a:lnTo>
                  <a:lnTo>
                    <a:pt x="382" y="185"/>
                  </a:lnTo>
                  <a:lnTo>
                    <a:pt x="384" y="185"/>
                  </a:lnTo>
                  <a:lnTo>
                    <a:pt x="385" y="184"/>
                  </a:lnTo>
                  <a:lnTo>
                    <a:pt x="387" y="184"/>
                  </a:lnTo>
                  <a:lnTo>
                    <a:pt x="388" y="184"/>
                  </a:lnTo>
                  <a:lnTo>
                    <a:pt x="388" y="184"/>
                  </a:lnTo>
                  <a:lnTo>
                    <a:pt x="388" y="184"/>
                  </a:lnTo>
                  <a:lnTo>
                    <a:pt x="388" y="185"/>
                  </a:lnTo>
                  <a:lnTo>
                    <a:pt x="388" y="185"/>
                  </a:lnTo>
                  <a:lnTo>
                    <a:pt x="388" y="185"/>
                  </a:lnTo>
                  <a:lnTo>
                    <a:pt x="390" y="184"/>
                  </a:lnTo>
                  <a:lnTo>
                    <a:pt x="390" y="184"/>
                  </a:lnTo>
                  <a:lnTo>
                    <a:pt x="392" y="185"/>
                  </a:lnTo>
                  <a:lnTo>
                    <a:pt x="392" y="185"/>
                  </a:lnTo>
                  <a:lnTo>
                    <a:pt x="392" y="185"/>
                  </a:lnTo>
                  <a:lnTo>
                    <a:pt x="392" y="186"/>
                  </a:lnTo>
                  <a:lnTo>
                    <a:pt x="390" y="187"/>
                  </a:lnTo>
                  <a:lnTo>
                    <a:pt x="388" y="188"/>
                  </a:lnTo>
                  <a:lnTo>
                    <a:pt x="386" y="188"/>
                  </a:lnTo>
                  <a:lnTo>
                    <a:pt x="385" y="189"/>
                  </a:lnTo>
                  <a:lnTo>
                    <a:pt x="382" y="192"/>
                  </a:lnTo>
                  <a:lnTo>
                    <a:pt x="381" y="192"/>
                  </a:lnTo>
                  <a:lnTo>
                    <a:pt x="380" y="193"/>
                  </a:lnTo>
                  <a:lnTo>
                    <a:pt x="378" y="192"/>
                  </a:lnTo>
                  <a:lnTo>
                    <a:pt x="377" y="193"/>
                  </a:lnTo>
                  <a:lnTo>
                    <a:pt x="375" y="193"/>
                  </a:lnTo>
                  <a:lnTo>
                    <a:pt x="375" y="194"/>
                  </a:lnTo>
                  <a:lnTo>
                    <a:pt x="375" y="194"/>
                  </a:lnTo>
                  <a:lnTo>
                    <a:pt x="375" y="194"/>
                  </a:lnTo>
                  <a:lnTo>
                    <a:pt x="374" y="194"/>
                  </a:lnTo>
                  <a:lnTo>
                    <a:pt x="372" y="194"/>
                  </a:lnTo>
                  <a:lnTo>
                    <a:pt x="371" y="194"/>
                  </a:lnTo>
                  <a:lnTo>
                    <a:pt x="370" y="194"/>
                  </a:lnTo>
                  <a:lnTo>
                    <a:pt x="370" y="194"/>
                  </a:lnTo>
                  <a:lnTo>
                    <a:pt x="369" y="194"/>
                  </a:lnTo>
                  <a:lnTo>
                    <a:pt x="369" y="195"/>
                  </a:lnTo>
                  <a:lnTo>
                    <a:pt x="367" y="195"/>
                  </a:lnTo>
                  <a:lnTo>
                    <a:pt x="365" y="195"/>
                  </a:lnTo>
                  <a:lnTo>
                    <a:pt x="364" y="196"/>
                  </a:lnTo>
                  <a:lnTo>
                    <a:pt x="363" y="196"/>
                  </a:lnTo>
                  <a:lnTo>
                    <a:pt x="363" y="196"/>
                  </a:lnTo>
                  <a:lnTo>
                    <a:pt x="363" y="197"/>
                  </a:lnTo>
                  <a:lnTo>
                    <a:pt x="363" y="199"/>
                  </a:lnTo>
                  <a:lnTo>
                    <a:pt x="362" y="199"/>
                  </a:lnTo>
                  <a:lnTo>
                    <a:pt x="359" y="201"/>
                  </a:lnTo>
                  <a:lnTo>
                    <a:pt x="358" y="202"/>
                  </a:lnTo>
                  <a:lnTo>
                    <a:pt x="356" y="203"/>
                  </a:lnTo>
                  <a:lnTo>
                    <a:pt x="355" y="203"/>
                  </a:lnTo>
                  <a:lnTo>
                    <a:pt x="354" y="203"/>
                  </a:lnTo>
                  <a:lnTo>
                    <a:pt x="354" y="202"/>
                  </a:lnTo>
                  <a:lnTo>
                    <a:pt x="354" y="203"/>
                  </a:lnTo>
                  <a:lnTo>
                    <a:pt x="352" y="204"/>
                  </a:lnTo>
                  <a:lnTo>
                    <a:pt x="351" y="204"/>
                  </a:lnTo>
                  <a:lnTo>
                    <a:pt x="351" y="204"/>
                  </a:lnTo>
                  <a:lnTo>
                    <a:pt x="350" y="203"/>
                  </a:lnTo>
                  <a:lnTo>
                    <a:pt x="350" y="202"/>
                  </a:lnTo>
                  <a:lnTo>
                    <a:pt x="350" y="201"/>
                  </a:lnTo>
                  <a:lnTo>
                    <a:pt x="349" y="201"/>
                  </a:lnTo>
                  <a:lnTo>
                    <a:pt x="350" y="200"/>
                  </a:lnTo>
                  <a:lnTo>
                    <a:pt x="351" y="197"/>
                  </a:lnTo>
                  <a:lnTo>
                    <a:pt x="354" y="195"/>
                  </a:lnTo>
                  <a:lnTo>
                    <a:pt x="357" y="192"/>
                  </a:lnTo>
                  <a:lnTo>
                    <a:pt x="359" y="190"/>
                  </a:lnTo>
                  <a:lnTo>
                    <a:pt x="362" y="190"/>
                  </a:lnTo>
                  <a:lnTo>
                    <a:pt x="365" y="190"/>
                  </a:lnTo>
                  <a:lnTo>
                    <a:pt x="366" y="190"/>
                  </a:lnTo>
                  <a:lnTo>
                    <a:pt x="367" y="190"/>
                  </a:lnTo>
                  <a:lnTo>
                    <a:pt x="367" y="190"/>
                  </a:lnTo>
                  <a:lnTo>
                    <a:pt x="367" y="190"/>
                  </a:lnTo>
                  <a:lnTo>
                    <a:pt x="367" y="190"/>
                  </a:lnTo>
                  <a:lnTo>
                    <a:pt x="367" y="189"/>
                  </a:lnTo>
                  <a:lnTo>
                    <a:pt x="369" y="189"/>
                  </a:lnTo>
                  <a:lnTo>
                    <a:pt x="370" y="189"/>
                  </a:lnTo>
                  <a:lnTo>
                    <a:pt x="372" y="189"/>
                  </a:lnTo>
                  <a:lnTo>
                    <a:pt x="375" y="188"/>
                  </a:lnTo>
                  <a:lnTo>
                    <a:pt x="367" y="188"/>
                  </a:lnTo>
                  <a:lnTo>
                    <a:pt x="366" y="188"/>
                  </a:lnTo>
                  <a:lnTo>
                    <a:pt x="364" y="188"/>
                  </a:lnTo>
                  <a:lnTo>
                    <a:pt x="363" y="189"/>
                  </a:lnTo>
                  <a:lnTo>
                    <a:pt x="362" y="189"/>
                  </a:lnTo>
                  <a:lnTo>
                    <a:pt x="360" y="188"/>
                  </a:lnTo>
                  <a:lnTo>
                    <a:pt x="360" y="188"/>
                  </a:lnTo>
                  <a:lnTo>
                    <a:pt x="362" y="188"/>
                  </a:lnTo>
                  <a:lnTo>
                    <a:pt x="363" y="187"/>
                  </a:lnTo>
                  <a:lnTo>
                    <a:pt x="365" y="186"/>
                  </a:lnTo>
                  <a:lnTo>
                    <a:pt x="365" y="185"/>
                  </a:lnTo>
                  <a:lnTo>
                    <a:pt x="365" y="185"/>
                  </a:lnTo>
                  <a:lnTo>
                    <a:pt x="364" y="184"/>
                  </a:lnTo>
                  <a:lnTo>
                    <a:pt x="364" y="185"/>
                  </a:lnTo>
                  <a:lnTo>
                    <a:pt x="365" y="185"/>
                  </a:lnTo>
                  <a:lnTo>
                    <a:pt x="364" y="186"/>
                  </a:lnTo>
                  <a:lnTo>
                    <a:pt x="363" y="186"/>
                  </a:lnTo>
                  <a:lnTo>
                    <a:pt x="362" y="187"/>
                  </a:lnTo>
                  <a:lnTo>
                    <a:pt x="358" y="188"/>
                  </a:lnTo>
                  <a:lnTo>
                    <a:pt x="356" y="189"/>
                  </a:lnTo>
                  <a:lnTo>
                    <a:pt x="354" y="190"/>
                  </a:lnTo>
                  <a:lnTo>
                    <a:pt x="351" y="190"/>
                  </a:lnTo>
                  <a:lnTo>
                    <a:pt x="350" y="190"/>
                  </a:lnTo>
                  <a:lnTo>
                    <a:pt x="350" y="190"/>
                  </a:lnTo>
                  <a:lnTo>
                    <a:pt x="350" y="190"/>
                  </a:lnTo>
                  <a:lnTo>
                    <a:pt x="350" y="192"/>
                  </a:lnTo>
                  <a:lnTo>
                    <a:pt x="349" y="193"/>
                  </a:lnTo>
                  <a:lnTo>
                    <a:pt x="347" y="194"/>
                  </a:lnTo>
                  <a:lnTo>
                    <a:pt x="344" y="195"/>
                  </a:lnTo>
                  <a:lnTo>
                    <a:pt x="342" y="196"/>
                  </a:lnTo>
                  <a:lnTo>
                    <a:pt x="340" y="197"/>
                  </a:lnTo>
                  <a:lnTo>
                    <a:pt x="340" y="197"/>
                  </a:lnTo>
                  <a:lnTo>
                    <a:pt x="339" y="197"/>
                  </a:lnTo>
                  <a:lnTo>
                    <a:pt x="337" y="196"/>
                  </a:lnTo>
                  <a:lnTo>
                    <a:pt x="336" y="196"/>
                  </a:lnTo>
                  <a:lnTo>
                    <a:pt x="335" y="196"/>
                  </a:lnTo>
                  <a:lnTo>
                    <a:pt x="334" y="196"/>
                  </a:lnTo>
                  <a:lnTo>
                    <a:pt x="333" y="197"/>
                  </a:lnTo>
                  <a:lnTo>
                    <a:pt x="332" y="199"/>
                  </a:lnTo>
                  <a:lnTo>
                    <a:pt x="332" y="200"/>
                  </a:lnTo>
                  <a:lnTo>
                    <a:pt x="330" y="199"/>
                  </a:lnTo>
                  <a:lnTo>
                    <a:pt x="330" y="199"/>
                  </a:lnTo>
                  <a:lnTo>
                    <a:pt x="330" y="197"/>
                  </a:lnTo>
                  <a:lnTo>
                    <a:pt x="330" y="197"/>
                  </a:lnTo>
                  <a:lnTo>
                    <a:pt x="330" y="197"/>
                  </a:lnTo>
                  <a:lnTo>
                    <a:pt x="329" y="200"/>
                  </a:lnTo>
                  <a:lnTo>
                    <a:pt x="328" y="201"/>
                  </a:lnTo>
                  <a:lnTo>
                    <a:pt x="327" y="201"/>
                  </a:lnTo>
                  <a:lnTo>
                    <a:pt x="327" y="201"/>
                  </a:lnTo>
                  <a:lnTo>
                    <a:pt x="326" y="201"/>
                  </a:lnTo>
                  <a:lnTo>
                    <a:pt x="325" y="201"/>
                  </a:lnTo>
                  <a:lnTo>
                    <a:pt x="324" y="201"/>
                  </a:lnTo>
                  <a:lnTo>
                    <a:pt x="321" y="202"/>
                  </a:lnTo>
                  <a:lnTo>
                    <a:pt x="319" y="203"/>
                  </a:lnTo>
                  <a:lnTo>
                    <a:pt x="318" y="204"/>
                  </a:lnTo>
                  <a:lnTo>
                    <a:pt x="315" y="204"/>
                  </a:lnTo>
                  <a:lnTo>
                    <a:pt x="314" y="207"/>
                  </a:lnTo>
                  <a:lnTo>
                    <a:pt x="313" y="208"/>
                  </a:lnTo>
                  <a:lnTo>
                    <a:pt x="312" y="209"/>
                  </a:lnTo>
                  <a:lnTo>
                    <a:pt x="312" y="209"/>
                  </a:lnTo>
                  <a:lnTo>
                    <a:pt x="311" y="210"/>
                  </a:lnTo>
                  <a:lnTo>
                    <a:pt x="311" y="210"/>
                  </a:lnTo>
                  <a:lnTo>
                    <a:pt x="310" y="211"/>
                  </a:lnTo>
                  <a:lnTo>
                    <a:pt x="307" y="214"/>
                  </a:lnTo>
                  <a:lnTo>
                    <a:pt x="307" y="215"/>
                  </a:lnTo>
                  <a:lnTo>
                    <a:pt x="306" y="216"/>
                  </a:lnTo>
                  <a:lnTo>
                    <a:pt x="307" y="217"/>
                  </a:lnTo>
                  <a:lnTo>
                    <a:pt x="307" y="218"/>
                  </a:lnTo>
                  <a:lnTo>
                    <a:pt x="309" y="219"/>
                  </a:lnTo>
                  <a:lnTo>
                    <a:pt x="309" y="219"/>
                  </a:lnTo>
                  <a:lnTo>
                    <a:pt x="310" y="219"/>
                  </a:lnTo>
                  <a:lnTo>
                    <a:pt x="310" y="219"/>
                  </a:lnTo>
                  <a:lnTo>
                    <a:pt x="311" y="219"/>
                  </a:lnTo>
                  <a:lnTo>
                    <a:pt x="311" y="219"/>
                  </a:lnTo>
                  <a:lnTo>
                    <a:pt x="311" y="220"/>
                  </a:lnTo>
                  <a:lnTo>
                    <a:pt x="310" y="222"/>
                  </a:lnTo>
                  <a:lnTo>
                    <a:pt x="309" y="220"/>
                  </a:lnTo>
                  <a:lnTo>
                    <a:pt x="307" y="220"/>
                  </a:lnTo>
                  <a:lnTo>
                    <a:pt x="305" y="220"/>
                  </a:lnTo>
                  <a:lnTo>
                    <a:pt x="304" y="220"/>
                  </a:lnTo>
                  <a:lnTo>
                    <a:pt x="303" y="222"/>
                  </a:lnTo>
                  <a:lnTo>
                    <a:pt x="303" y="222"/>
                  </a:lnTo>
                  <a:lnTo>
                    <a:pt x="302" y="222"/>
                  </a:lnTo>
                  <a:lnTo>
                    <a:pt x="300" y="223"/>
                  </a:lnTo>
                  <a:lnTo>
                    <a:pt x="299" y="224"/>
                  </a:lnTo>
                  <a:lnTo>
                    <a:pt x="297" y="225"/>
                  </a:lnTo>
                  <a:lnTo>
                    <a:pt x="296" y="225"/>
                  </a:lnTo>
                  <a:lnTo>
                    <a:pt x="295" y="225"/>
                  </a:lnTo>
                  <a:lnTo>
                    <a:pt x="294" y="224"/>
                  </a:lnTo>
                  <a:lnTo>
                    <a:pt x="294" y="225"/>
                  </a:lnTo>
                  <a:lnTo>
                    <a:pt x="292" y="225"/>
                  </a:lnTo>
                  <a:lnTo>
                    <a:pt x="291" y="225"/>
                  </a:lnTo>
                  <a:lnTo>
                    <a:pt x="289" y="225"/>
                  </a:lnTo>
                  <a:lnTo>
                    <a:pt x="285" y="225"/>
                  </a:lnTo>
                  <a:lnTo>
                    <a:pt x="283" y="226"/>
                  </a:lnTo>
                  <a:lnTo>
                    <a:pt x="282" y="227"/>
                  </a:lnTo>
                  <a:lnTo>
                    <a:pt x="281" y="229"/>
                  </a:lnTo>
                  <a:lnTo>
                    <a:pt x="281" y="230"/>
                  </a:lnTo>
                  <a:lnTo>
                    <a:pt x="280" y="231"/>
                  </a:lnTo>
                  <a:lnTo>
                    <a:pt x="279" y="231"/>
                  </a:lnTo>
                  <a:lnTo>
                    <a:pt x="279" y="231"/>
                  </a:lnTo>
                  <a:lnTo>
                    <a:pt x="277" y="232"/>
                  </a:lnTo>
                  <a:lnTo>
                    <a:pt x="276" y="232"/>
                  </a:lnTo>
                  <a:lnTo>
                    <a:pt x="276" y="233"/>
                  </a:lnTo>
                  <a:lnTo>
                    <a:pt x="276" y="233"/>
                  </a:lnTo>
                  <a:lnTo>
                    <a:pt x="276" y="233"/>
                  </a:lnTo>
                  <a:lnTo>
                    <a:pt x="277" y="233"/>
                  </a:lnTo>
                  <a:lnTo>
                    <a:pt x="277" y="234"/>
                  </a:lnTo>
                  <a:lnTo>
                    <a:pt x="277" y="234"/>
                  </a:lnTo>
                  <a:lnTo>
                    <a:pt x="276" y="235"/>
                  </a:lnTo>
                  <a:lnTo>
                    <a:pt x="274" y="237"/>
                  </a:lnTo>
                  <a:lnTo>
                    <a:pt x="273" y="238"/>
                  </a:lnTo>
                  <a:lnTo>
                    <a:pt x="272" y="238"/>
                  </a:lnTo>
                  <a:lnTo>
                    <a:pt x="272" y="239"/>
                  </a:lnTo>
                  <a:lnTo>
                    <a:pt x="270" y="240"/>
                  </a:lnTo>
                  <a:lnTo>
                    <a:pt x="269" y="240"/>
                  </a:lnTo>
                  <a:lnTo>
                    <a:pt x="268" y="239"/>
                  </a:lnTo>
                  <a:lnTo>
                    <a:pt x="268" y="238"/>
                  </a:lnTo>
                  <a:lnTo>
                    <a:pt x="268" y="239"/>
                  </a:lnTo>
                  <a:lnTo>
                    <a:pt x="268" y="239"/>
                  </a:lnTo>
                  <a:lnTo>
                    <a:pt x="268" y="240"/>
                  </a:lnTo>
                  <a:lnTo>
                    <a:pt x="269" y="241"/>
                  </a:lnTo>
                  <a:lnTo>
                    <a:pt x="268" y="241"/>
                  </a:lnTo>
                  <a:lnTo>
                    <a:pt x="267" y="241"/>
                  </a:lnTo>
                  <a:lnTo>
                    <a:pt x="267" y="241"/>
                  </a:lnTo>
                  <a:lnTo>
                    <a:pt x="267" y="241"/>
                  </a:lnTo>
                  <a:lnTo>
                    <a:pt x="267" y="241"/>
                  </a:lnTo>
                  <a:lnTo>
                    <a:pt x="266" y="242"/>
                  </a:lnTo>
                  <a:lnTo>
                    <a:pt x="265" y="244"/>
                  </a:lnTo>
                  <a:lnTo>
                    <a:pt x="265" y="245"/>
                  </a:lnTo>
                  <a:lnTo>
                    <a:pt x="263" y="245"/>
                  </a:lnTo>
                  <a:lnTo>
                    <a:pt x="263" y="245"/>
                  </a:lnTo>
                  <a:lnTo>
                    <a:pt x="262" y="245"/>
                  </a:lnTo>
                  <a:lnTo>
                    <a:pt x="260" y="246"/>
                  </a:lnTo>
                  <a:lnTo>
                    <a:pt x="260" y="247"/>
                  </a:lnTo>
                  <a:lnTo>
                    <a:pt x="259" y="248"/>
                  </a:lnTo>
                  <a:lnTo>
                    <a:pt x="259" y="249"/>
                  </a:lnTo>
                  <a:lnTo>
                    <a:pt x="259" y="249"/>
                  </a:lnTo>
                  <a:lnTo>
                    <a:pt x="259" y="248"/>
                  </a:lnTo>
                  <a:lnTo>
                    <a:pt x="258" y="246"/>
                  </a:lnTo>
                  <a:lnTo>
                    <a:pt x="257" y="246"/>
                  </a:lnTo>
                  <a:lnTo>
                    <a:pt x="257" y="245"/>
                  </a:lnTo>
                  <a:lnTo>
                    <a:pt x="255" y="245"/>
                  </a:lnTo>
                  <a:lnTo>
                    <a:pt x="255" y="242"/>
                  </a:lnTo>
                  <a:lnTo>
                    <a:pt x="255" y="244"/>
                  </a:lnTo>
                  <a:lnTo>
                    <a:pt x="254" y="245"/>
                  </a:lnTo>
                  <a:lnTo>
                    <a:pt x="254" y="245"/>
                  </a:lnTo>
                  <a:lnTo>
                    <a:pt x="255" y="246"/>
                  </a:lnTo>
                  <a:lnTo>
                    <a:pt x="257" y="247"/>
                  </a:lnTo>
                  <a:lnTo>
                    <a:pt x="257" y="248"/>
                  </a:lnTo>
                  <a:lnTo>
                    <a:pt x="257" y="248"/>
                  </a:lnTo>
                  <a:lnTo>
                    <a:pt x="257" y="249"/>
                  </a:lnTo>
                  <a:lnTo>
                    <a:pt x="257" y="249"/>
                  </a:lnTo>
                  <a:lnTo>
                    <a:pt x="258" y="251"/>
                  </a:lnTo>
                  <a:lnTo>
                    <a:pt x="258" y="253"/>
                  </a:lnTo>
                  <a:lnTo>
                    <a:pt x="258" y="254"/>
                  </a:lnTo>
                  <a:lnTo>
                    <a:pt x="257" y="256"/>
                  </a:lnTo>
                  <a:lnTo>
                    <a:pt x="255" y="256"/>
                  </a:lnTo>
                  <a:lnTo>
                    <a:pt x="255" y="256"/>
                  </a:lnTo>
                  <a:lnTo>
                    <a:pt x="257" y="254"/>
                  </a:lnTo>
                  <a:lnTo>
                    <a:pt x="257" y="254"/>
                  </a:lnTo>
                  <a:lnTo>
                    <a:pt x="257" y="253"/>
                  </a:lnTo>
                  <a:lnTo>
                    <a:pt x="255" y="253"/>
                  </a:lnTo>
                  <a:lnTo>
                    <a:pt x="254" y="255"/>
                  </a:lnTo>
                  <a:lnTo>
                    <a:pt x="253" y="257"/>
                  </a:lnTo>
                  <a:lnTo>
                    <a:pt x="252" y="260"/>
                  </a:lnTo>
                  <a:lnTo>
                    <a:pt x="251" y="261"/>
                  </a:lnTo>
                  <a:lnTo>
                    <a:pt x="248" y="262"/>
                  </a:lnTo>
                  <a:lnTo>
                    <a:pt x="247" y="262"/>
                  </a:lnTo>
                  <a:lnTo>
                    <a:pt x="247" y="262"/>
                  </a:lnTo>
                  <a:lnTo>
                    <a:pt x="248" y="261"/>
                  </a:lnTo>
                  <a:lnTo>
                    <a:pt x="250" y="260"/>
                  </a:lnTo>
                  <a:lnTo>
                    <a:pt x="251" y="259"/>
                  </a:lnTo>
                  <a:lnTo>
                    <a:pt x="250" y="257"/>
                  </a:lnTo>
                  <a:lnTo>
                    <a:pt x="250" y="257"/>
                  </a:lnTo>
                  <a:lnTo>
                    <a:pt x="248" y="256"/>
                  </a:lnTo>
                  <a:lnTo>
                    <a:pt x="248" y="255"/>
                  </a:lnTo>
                  <a:lnTo>
                    <a:pt x="248" y="255"/>
                  </a:lnTo>
                  <a:lnTo>
                    <a:pt x="248" y="254"/>
                  </a:lnTo>
                  <a:lnTo>
                    <a:pt x="248" y="253"/>
                  </a:lnTo>
                  <a:lnTo>
                    <a:pt x="248" y="253"/>
                  </a:lnTo>
                  <a:lnTo>
                    <a:pt x="247" y="252"/>
                  </a:lnTo>
                  <a:lnTo>
                    <a:pt x="248" y="249"/>
                  </a:lnTo>
                  <a:lnTo>
                    <a:pt x="248" y="249"/>
                  </a:lnTo>
                  <a:lnTo>
                    <a:pt x="248" y="249"/>
                  </a:lnTo>
                  <a:lnTo>
                    <a:pt x="248" y="248"/>
                  </a:lnTo>
                  <a:lnTo>
                    <a:pt x="248" y="248"/>
                  </a:lnTo>
                  <a:lnTo>
                    <a:pt x="248" y="247"/>
                  </a:lnTo>
                  <a:lnTo>
                    <a:pt x="250" y="246"/>
                  </a:lnTo>
                  <a:lnTo>
                    <a:pt x="252" y="246"/>
                  </a:lnTo>
                  <a:lnTo>
                    <a:pt x="251" y="245"/>
                  </a:lnTo>
                  <a:lnTo>
                    <a:pt x="251" y="245"/>
                  </a:lnTo>
                  <a:lnTo>
                    <a:pt x="248" y="246"/>
                  </a:lnTo>
                  <a:lnTo>
                    <a:pt x="246" y="246"/>
                  </a:lnTo>
                  <a:lnTo>
                    <a:pt x="246" y="247"/>
                  </a:lnTo>
                  <a:lnTo>
                    <a:pt x="245" y="249"/>
                  </a:lnTo>
                  <a:lnTo>
                    <a:pt x="245" y="251"/>
                  </a:lnTo>
                  <a:lnTo>
                    <a:pt x="245" y="252"/>
                  </a:lnTo>
                  <a:lnTo>
                    <a:pt x="245" y="252"/>
                  </a:lnTo>
                  <a:lnTo>
                    <a:pt x="245" y="252"/>
                  </a:lnTo>
                  <a:lnTo>
                    <a:pt x="245" y="252"/>
                  </a:lnTo>
                  <a:lnTo>
                    <a:pt x="245" y="253"/>
                  </a:lnTo>
                  <a:lnTo>
                    <a:pt x="245" y="254"/>
                  </a:lnTo>
                  <a:lnTo>
                    <a:pt x="244" y="254"/>
                  </a:lnTo>
                  <a:lnTo>
                    <a:pt x="244" y="254"/>
                  </a:lnTo>
                  <a:lnTo>
                    <a:pt x="242" y="253"/>
                  </a:lnTo>
                  <a:lnTo>
                    <a:pt x="243" y="254"/>
                  </a:lnTo>
                  <a:lnTo>
                    <a:pt x="244" y="254"/>
                  </a:lnTo>
                  <a:lnTo>
                    <a:pt x="244" y="254"/>
                  </a:lnTo>
                  <a:lnTo>
                    <a:pt x="244" y="254"/>
                  </a:lnTo>
                  <a:lnTo>
                    <a:pt x="244" y="255"/>
                  </a:lnTo>
                  <a:lnTo>
                    <a:pt x="244" y="256"/>
                  </a:lnTo>
                  <a:lnTo>
                    <a:pt x="244" y="257"/>
                  </a:lnTo>
                  <a:lnTo>
                    <a:pt x="245" y="259"/>
                  </a:lnTo>
                  <a:lnTo>
                    <a:pt x="242" y="259"/>
                  </a:lnTo>
                  <a:lnTo>
                    <a:pt x="243" y="260"/>
                  </a:lnTo>
                  <a:lnTo>
                    <a:pt x="244" y="260"/>
                  </a:lnTo>
                  <a:lnTo>
                    <a:pt x="245" y="261"/>
                  </a:lnTo>
                  <a:lnTo>
                    <a:pt x="244" y="261"/>
                  </a:lnTo>
                  <a:lnTo>
                    <a:pt x="243" y="262"/>
                  </a:lnTo>
                  <a:lnTo>
                    <a:pt x="244" y="262"/>
                  </a:lnTo>
                  <a:lnTo>
                    <a:pt x="245" y="262"/>
                  </a:lnTo>
                  <a:lnTo>
                    <a:pt x="245" y="263"/>
                  </a:lnTo>
                  <a:lnTo>
                    <a:pt x="245" y="266"/>
                  </a:lnTo>
                  <a:lnTo>
                    <a:pt x="245" y="267"/>
                  </a:lnTo>
                  <a:lnTo>
                    <a:pt x="245" y="269"/>
                  </a:lnTo>
                  <a:lnTo>
                    <a:pt x="246" y="271"/>
                  </a:lnTo>
                  <a:lnTo>
                    <a:pt x="246" y="272"/>
                  </a:lnTo>
                  <a:lnTo>
                    <a:pt x="246" y="275"/>
                  </a:lnTo>
                  <a:lnTo>
                    <a:pt x="245" y="276"/>
                  </a:lnTo>
                  <a:lnTo>
                    <a:pt x="243" y="276"/>
                  </a:lnTo>
                  <a:lnTo>
                    <a:pt x="242" y="276"/>
                  </a:lnTo>
                  <a:lnTo>
                    <a:pt x="240" y="277"/>
                  </a:lnTo>
                  <a:lnTo>
                    <a:pt x="239" y="277"/>
                  </a:lnTo>
                  <a:lnTo>
                    <a:pt x="238" y="276"/>
                  </a:lnTo>
                  <a:lnTo>
                    <a:pt x="238" y="276"/>
                  </a:lnTo>
                  <a:lnTo>
                    <a:pt x="237" y="276"/>
                  </a:lnTo>
                  <a:lnTo>
                    <a:pt x="237" y="277"/>
                  </a:lnTo>
                  <a:lnTo>
                    <a:pt x="238" y="277"/>
                  </a:lnTo>
                  <a:lnTo>
                    <a:pt x="239" y="277"/>
                  </a:lnTo>
                  <a:lnTo>
                    <a:pt x="242" y="278"/>
                  </a:lnTo>
                  <a:lnTo>
                    <a:pt x="242" y="278"/>
                  </a:lnTo>
                  <a:lnTo>
                    <a:pt x="242" y="278"/>
                  </a:lnTo>
                  <a:lnTo>
                    <a:pt x="243" y="278"/>
                  </a:lnTo>
                  <a:lnTo>
                    <a:pt x="243" y="277"/>
                  </a:lnTo>
                  <a:lnTo>
                    <a:pt x="244" y="277"/>
                  </a:lnTo>
                  <a:lnTo>
                    <a:pt x="244" y="277"/>
                  </a:lnTo>
                  <a:lnTo>
                    <a:pt x="244" y="278"/>
                  </a:lnTo>
                  <a:lnTo>
                    <a:pt x="244" y="279"/>
                  </a:lnTo>
                  <a:lnTo>
                    <a:pt x="243" y="279"/>
                  </a:lnTo>
                  <a:lnTo>
                    <a:pt x="243" y="281"/>
                  </a:lnTo>
                  <a:lnTo>
                    <a:pt x="242" y="281"/>
                  </a:lnTo>
                  <a:lnTo>
                    <a:pt x="242" y="282"/>
                  </a:lnTo>
                  <a:lnTo>
                    <a:pt x="242" y="282"/>
                  </a:lnTo>
                  <a:lnTo>
                    <a:pt x="240" y="282"/>
                  </a:lnTo>
                  <a:lnTo>
                    <a:pt x="238" y="281"/>
                  </a:lnTo>
                  <a:lnTo>
                    <a:pt x="236" y="281"/>
                  </a:lnTo>
                  <a:lnTo>
                    <a:pt x="236" y="281"/>
                  </a:lnTo>
                  <a:lnTo>
                    <a:pt x="236" y="281"/>
                  </a:lnTo>
                  <a:lnTo>
                    <a:pt x="237" y="281"/>
                  </a:lnTo>
                  <a:lnTo>
                    <a:pt x="237" y="282"/>
                  </a:lnTo>
                  <a:lnTo>
                    <a:pt x="237" y="282"/>
                  </a:lnTo>
                  <a:lnTo>
                    <a:pt x="236" y="283"/>
                  </a:lnTo>
                  <a:lnTo>
                    <a:pt x="235" y="284"/>
                  </a:lnTo>
                  <a:lnTo>
                    <a:pt x="236" y="284"/>
                  </a:lnTo>
                  <a:lnTo>
                    <a:pt x="236" y="284"/>
                  </a:lnTo>
                  <a:lnTo>
                    <a:pt x="237" y="284"/>
                  </a:lnTo>
                  <a:lnTo>
                    <a:pt x="238" y="284"/>
                  </a:lnTo>
                  <a:lnTo>
                    <a:pt x="238" y="284"/>
                  </a:lnTo>
                  <a:lnTo>
                    <a:pt x="238" y="284"/>
                  </a:lnTo>
                  <a:lnTo>
                    <a:pt x="237" y="285"/>
                  </a:lnTo>
                  <a:lnTo>
                    <a:pt x="237" y="285"/>
                  </a:lnTo>
                  <a:lnTo>
                    <a:pt x="237" y="286"/>
                  </a:lnTo>
                  <a:lnTo>
                    <a:pt x="236" y="287"/>
                  </a:lnTo>
                  <a:lnTo>
                    <a:pt x="235" y="287"/>
                  </a:lnTo>
                  <a:lnTo>
                    <a:pt x="232" y="289"/>
                  </a:lnTo>
                  <a:lnTo>
                    <a:pt x="230" y="289"/>
                  </a:lnTo>
                  <a:lnTo>
                    <a:pt x="229" y="290"/>
                  </a:lnTo>
                  <a:lnTo>
                    <a:pt x="228" y="291"/>
                  </a:lnTo>
                  <a:lnTo>
                    <a:pt x="227" y="291"/>
                  </a:lnTo>
                  <a:lnTo>
                    <a:pt x="227" y="292"/>
                  </a:lnTo>
                  <a:lnTo>
                    <a:pt x="225" y="292"/>
                  </a:lnTo>
                  <a:lnTo>
                    <a:pt x="224" y="292"/>
                  </a:lnTo>
                  <a:lnTo>
                    <a:pt x="223" y="293"/>
                  </a:lnTo>
                  <a:lnTo>
                    <a:pt x="221" y="296"/>
                  </a:lnTo>
                  <a:lnTo>
                    <a:pt x="220" y="297"/>
                  </a:lnTo>
                  <a:lnTo>
                    <a:pt x="218" y="298"/>
                  </a:lnTo>
                  <a:lnTo>
                    <a:pt x="217" y="299"/>
                  </a:lnTo>
                  <a:lnTo>
                    <a:pt x="214" y="298"/>
                  </a:lnTo>
                  <a:lnTo>
                    <a:pt x="212" y="299"/>
                  </a:lnTo>
                  <a:lnTo>
                    <a:pt x="209" y="300"/>
                  </a:lnTo>
                  <a:lnTo>
                    <a:pt x="208" y="302"/>
                  </a:lnTo>
                  <a:lnTo>
                    <a:pt x="207" y="304"/>
                  </a:lnTo>
                  <a:lnTo>
                    <a:pt x="206" y="305"/>
                  </a:lnTo>
                  <a:lnTo>
                    <a:pt x="206" y="305"/>
                  </a:lnTo>
                  <a:lnTo>
                    <a:pt x="206" y="305"/>
                  </a:lnTo>
                  <a:lnTo>
                    <a:pt x="205" y="306"/>
                  </a:lnTo>
                  <a:lnTo>
                    <a:pt x="205" y="306"/>
                  </a:lnTo>
                  <a:lnTo>
                    <a:pt x="202" y="307"/>
                  </a:lnTo>
                  <a:lnTo>
                    <a:pt x="201" y="309"/>
                  </a:lnTo>
                  <a:lnTo>
                    <a:pt x="200" y="309"/>
                  </a:lnTo>
                  <a:lnTo>
                    <a:pt x="199" y="309"/>
                  </a:lnTo>
                  <a:lnTo>
                    <a:pt x="198" y="309"/>
                  </a:lnTo>
                  <a:lnTo>
                    <a:pt x="198" y="308"/>
                  </a:lnTo>
                  <a:lnTo>
                    <a:pt x="198" y="308"/>
                  </a:lnTo>
                  <a:lnTo>
                    <a:pt x="198" y="309"/>
                  </a:lnTo>
                  <a:lnTo>
                    <a:pt x="197" y="311"/>
                  </a:lnTo>
                  <a:lnTo>
                    <a:pt x="194" y="311"/>
                  </a:lnTo>
                  <a:lnTo>
                    <a:pt x="193" y="311"/>
                  </a:lnTo>
                  <a:lnTo>
                    <a:pt x="193" y="309"/>
                  </a:lnTo>
                  <a:lnTo>
                    <a:pt x="192" y="309"/>
                  </a:lnTo>
                  <a:lnTo>
                    <a:pt x="192" y="309"/>
                  </a:lnTo>
                  <a:lnTo>
                    <a:pt x="192" y="311"/>
                  </a:lnTo>
                  <a:lnTo>
                    <a:pt x="193" y="312"/>
                  </a:lnTo>
                  <a:lnTo>
                    <a:pt x="193" y="312"/>
                  </a:lnTo>
                  <a:lnTo>
                    <a:pt x="192" y="313"/>
                  </a:lnTo>
                  <a:lnTo>
                    <a:pt x="192" y="313"/>
                  </a:lnTo>
                  <a:lnTo>
                    <a:pt x="192" y="314"/>
                  </a:lnTo>
                  <a:lnTo>
                    <a:pt x="192" y="315"/>
                  </a:lnTo>
                  <a:lnTo>
                    <a:pt x="192" y="315"/>
                  </a:lnTo>
                  <a:lnTo>
                    <a:pt x="191" y="315"/>
                  </a:lnTo>
                  <a:lnTo>
                    <a:pt x="190" y="315"/>
                  </a:lnTo>
                  <a:lnTo>
                    <a:pt x="188" y="316"/>
                  </a:lnTo>
                  <a:lnTo>
                    <a:pt x="187" y="317"/>
                  </a:lnTo>
                  <a:lnTo>
                    <a:pt x="184" y="321"/>
                  </a:lnTo>
                  <a:lnTo>
                    <a:pt x="183" y="324"/>
                  </a:lnTo>
                  <a:lnTo>
                    <a:pt x="182" y="327"/>
                  </a:lnTo>
                  <a:lnTo>
                    <a:pt x="180" y="328"/>
                  </a:lnTo>
                  <a:lnTo>
                    <a:pt x="180" y="329"/>
                  </a:lnTo>
                  <a:lnTo>
                    <a:pt x="180" y="330"/>
                  </a:lnTo>
                  <a:lnTo>
                    <a:pt x="180" y="330"/>
                  </a:lnTo>
                  <a:lnTo>
                    <a:pt x="180" y="331"/>
                  </a:lnTo>
                  <a:lnTo>
                    <a:pt x="180" y="331"/>
                  </a:lnTo>
                  <a:lnTo>
                    <a:pt x="179" y="334"/>
                  </a:lnTo>
                  <a:lnTo>
                    <a:pt x="179" y="336"/>
                  </a:lnTo>
                  <a:lnTo>
                    <a:pt x="179" y="339"/>
                  </a:lnTo>
                  <a:lnTo>
                    <a:pt x="179" y="343"/>
                  </a:lnTo>
                  <a:lnTo>
                    <a:pt x="180" y="345"/>
                  </a:lnTo>
                  <a:lnTo>
                    <a:pt x="180" y="349"/>
                  </a:lnTo>
                  <a:lnTo>
                    <a:pt x="180" y="351"/>
                  </a:lnTo>
                  <a:lnTo>
                    <a:pt x="180" y="354"/>
                  </a:lnTo>
                  <a:lnTo>
                    <a:pt x="182" y="357"/>
                  </a:lnTo>
                  <a:lnTo>
                    <a:pt x="182" y="359"/>
                  </a:lnTo>
                  <a:lnTo>
                    <a:pt x="182" y="359"/>
                  </a:lnTo>
                  <a:lnTo>
                    <a:pt x="182" y="359"/>
                  </a:lnTo>
                  <a:lnTo>
                    <a:pt x="180" y="358"/>
                  </a:lnTo>
                  <a:lnTo>
                    <a:pt x="180" y="356"/>
                  </a:lnTo>
                  <a:lnTo>
                    <a:pt x="180" y="354"/>
                  </a:lnTo>
                  <a:lnTo>
                    <a:pt x="180" y="353"/>
                  </a:lnTo>
                  <a:lnTo>
                    <a:pt x="180" y="353"/>
                  </a:lnTo>
                  <a:lnTo>
                    <a:pt x="180" y="354"/>
                  </a:lnTo>
                  <a:lnTo>
                    <a:pt x="180" y="358"/>
                  </a:lnTo>
                  <a:lnTo>
                    <a:pt x="182" y="361"/>
                  </a:lnTo>
                  <a:lnTo>
                    <a:pt x="182" y="364"/>
                  </a:lnTo>
                  <a:lnTo>
                    <a:pt x="182" y="365"/>
                  </a:lnTo>
                  <a:lnTo>
                    <a:pt x="183" y="366"/>
                  </a:lnTo>
                  <a:lnTo>
                    <a:pt x="183" y="368"/>
                  </a:lnTo>
                  <a:lnTo>
                    <a:pt x="182" y="371"/>
                  </a:lnTo>
                  <a:lnTo>
                    <a:pt x="180" y="374"/>
                  </a:lnTo>
                  <a:lnTo>
                    <a:pt x="178" y="378"/>
                  </a:lnTo>
                  <a:lnTo>
                    <a:pt x="178" y="379"/>
                  </a:lnTo>
                  <a:lnTo>
                    <a:pt x="178" y="380"/>
                  </a:lnTo>
                  <a:lnTo>
                    <a:pt x="178" y="381"/>
                  </a:lnTo>
                  <a:lnTo>
                    <a:pt x="179" y="381"/>
                  </a:lnTo>
                  <a:lnTo>
                    <a:pt x="179" y="382"/>
                  </a:lnTo>
                  <a:lnTo>
                    <a:pt x="178" y="382"/>
                  </a:lnTo>
                  <a:lnTo>
                    <a:pt x="178" y="382"/>
                  </a:lnTo>
                  <a:lnTo>
                    <a:pt x="177" y="382"/>
                  </a:lnTo>
                  <a:lnTo>
                    <a:pt x="177" y="382"/>
                  </a:lnTo>
                  <a:lnTo>
                    <a:pt x="176" y="382"/>
                  </a:lnTo>
                  <a:lnTo>
                    <a:pt x="175" y="382"/>
                  </a:lnTo>
                  <a:lnTo>
                    <a:pt x="175" y="383"/>
                  </a:lnTo>
                  <a:lnTo>
                    <a:pt x="173" y="383"/>
                  </a:lnTo>
                  <a:lnTo>
                    <a:pt x="173" y="383"/>
                  </a:lnTo>
                  <a:lnTo>
                    <a:pt x="173" y="383"/>
                  </a:lnTo>
                  <a:lnTo>
                    <a:pt x="171" y="384"/>
                  </a:lnTo>
                  <a:lnTo>
                    <a:pt x="170" y="384"/>
                  </a:lnTo>
                  <a:lnTo>
                    <a:pt x="169" y="384"/>
                  </a:lnTo>
                  <a:lnTo>
                    <a:pt x="168" y="383"/>
                  </a:lnTo>
                  <a:lnTo>
                    <a:pt x="168" y="382"/>
                  </a:lnTo>
                  <a:lnTo>
                    <a:pt x="168" y="382"/>
                  </a:lnTo>
                  <a:lnTo>
                    <a:pt x="168" y="382"/>
                  </a:lnTo>
                  <a:lnTo>
                    <a:pt x="169" y="382"/>
                  </a:lnTo>
                  <a:lnTo>
                    <a:pt x="170" y="382"/>
                  </a:lnTo>
                  <a:lnTo>
                    <a:pt x="170" y="382"/>
                  </a:lnTo>
                  <a:lnTo>
                    <a:pt x="170" y="381"/>
                  </a:lnTo>
                  <a:lnTo>
                    <a:pt x="170" y="381"/>
                  </a:lnTo>
                  <a:lnTo>
                    <a:pt x="171" y="381"/>
                  </a:lnTo>
                  <a:lnTo>
                    <a:pt x="172" y="380"/>
                  </a:lnTo>
                  <a:lnTo>
                    <a:pt x="171" y="380"/>
                  </a:lnTo>
                  <a:lnTo>
                    <a:pt x="170" y="379"/>
                  </a:lnTo>
                  <a:lnTo>
                    <a:pt x="169" y="378"/>
                  </a:lnTo>
                  <a:lnTo>
                    <a:pt x="168" y="378"/>
                  </a:lnTo>
                  <a:lnTo>
                    <a:pt x="168" y="376"/>
                  </a:lnTo>
                  <a:lnTo>
                    <a:pt x="167" y="376"/>
                  </a:lnTo>
                  <a:lnTo>
                    <a:pt x="167" y="375"/>
                  </a:lnTo>
                  <a:lnTo>
                    <a:pt x="165" y="375"/>
                  </a:lnTo>
                  <a:lnTo>
                    <a:pt x="164" y="374"/>
                  </a:lnTo>
                  <a:lnTo>
                    <a:pt x="164" y="372"/>
                  </a:lnTo>
                  <a:lnTo>
                    <a:pt x="164" y="371"/>
                  </a:lnTo>
                  <a:lnTo>
                    <a:pt x="164" y="369"/>
                  </a:lnTo>
                  <a:lnTo>
                    <a:pt x="164" y="368"/>
                  </a:lnTo>
                  <a:lnTo>
                    <a:pt x="164" y="366"/>
                  </a:lnTo>
                  <a:lnTo>
                    <a:pt x="165" y="366"/>
                  </a:lnTo>
                  <a:lnTo>
                    <a:pt x="165" y="365"/>
                  </a:lnTo>
                  <a:lnTo>
                    <a:pt x="164" y="366"/>
                  </a:lnTo>
                  <a:lnTo>
                    <a:pt x="163" y="366"/>
                  </a:lnTo>
                  <a:lnTo>
                    <a:pt x="162" y="364"/>
                  </a:lnTo>
                  <a:lnTo>
                    <a:pt x="161" y="361"/>
                  </a:lnTo>
                  <a:lnTo>
                    <a:pt x="161" y="360"/>
                  </a:lnTo>
                  <a:lnTo>
                    <a:pt x="162" y="359"/>
                  </a:lnTo>
                  <a:lnTo>
                    <a:pt x="162" y="358"/>
                  </a:lnTo>
                  <a:lnTo>
                    <a:pt x="163" y="357"/>
                  </a:lnTo>
                  <a:lnTo>
                    <a:pt x="163" y="356"/>
                  </a:lnTo>
                  <a:lnTo>
                    <a:pt x="162" y="354"/>
                  </a:lnTo>
                  <a:lnTo>
                    <a:pt x="163" y="353"/>
                  </a:lnTo>
                  <a:lnTo>
                    <a:pt x="164" y="351"/>
                  </a:lnTo>
                  <a:lnTo>
                    <a:pt x="164" y="349"/>
                  </a:lnTo>
                  <a:lnTo>
                    <a:pt x="165" y="346"/>
                  </a:lnTo>
                  <a:lnTo>
                    <a:pt x="165" y="345"/>
                  </a:lnTo>
                  <a:lnTo>
                    <a:pt x="164" y="344"/>
                  </a:lnTo>
                  <a:lnTo>
                    <a:pt x="163" y="343"/>
                  </a:lnTo>
                  <a:lnTo>
                    <a:pt x="163" y="342"/>
                  </a:lnTo>
                  <a:lnTo>
                    <a:pt x="163" y="341"/>
                  </a:lnTo>
                  <a:lnTo>
                    <a:pt x="163" y="339"/>
                  </a:lnTo>
                  <a:lnTo>
                    <a:pt x="162" y="339"/>
                  </a:lnTo>
                  <a:lnTo>
                    <a:pt x="161" y="338"/>
                  </a:lnTo>
                  <a:lnTo>
                    <a:pt x="161" y="338"/>
                  </a:lnTo>
                  <a:lnTo>
                    <a:pt x="160" y="337"/>
                  </a:lnTo>
                  <a:lnTo>
                    <a:pt x="160" y="337"/>
                  </a:lnTo>
                  <a:lnTo>
                    <a:pt x="158" y="336"/>
                  </a:lnTo>
                  <a:lnTo>
                    <a:pt x="157" y="336"/>
                  </a:lnTo>
                  <a:lnTo>
                    <a:pt x="156" y="336"/>
                  </a:lnTo>
                  <a:lnTo>
                    <a:pt x="154" y="337"/>
                  </a:lnTo>
                  <a:lnTo>
                    <a:pt x="152" y="338"/>
                  </a:lnTo>
                  <a:lnTo>
                    <a:pt x="150" y="338"/>
                  </a:lnTo>
                  <a:lnTo>
                    <a:pt x="150" y="338"/>
                  </a:lnTo>
                  <a:lnTo>
                    <a:pt x="149" y="338"/>
                  </a:lnTo>
                  <a:lnTo>
                    <a:pt x="149" y="338"/>
                  </a:lnTo>
                  <a:lnTo>
                    <a:pt x="148" y="338"/>
                  </a:lnTo>
                  <a:lnTo>
                    <a:pt x="147" y="338"/>
                  </a:lnTo>
                  <a:lnTo>
                    <a:pt x="146" y="339"/>
                  </a:lnTo>
                  <a:lnTo>
                    <a:pt x="145" y="339"/>
                  </a:lnTo>
                  <a:lnTo>
                    <a:pt x="145" y="339"/>
                  </a:lnTo>
                  <a:lnTo>
                    <a:pt x="146" y="338"/>
                  </a:lnTo>
                  <a:lnTo>
                    <a:pt x="146" y="338"/>
                  </a:lnTo>
                  <a:lnTo>
                    <a:pt x="146" y="337"/>
                  </a:lnTo>
                  <a:lnTo>
                    <a:pt x="143" y="337"/>
                  </a:lnTo>
                  <a:lnTo>
                    <a:pt x="141" y="336"/>
                  </a:lnTo>
                  <a:lnTo>
                    <a:pt x="137" y="335"/>
                  </a:lnTo>
                  <a:lnTo>
                    <a:pt x="134" y="334"/>
                  </a:lnTo>
                  <a:lnTo>
                    <a:pt x="133" y="334"/>
                  </a:lnTo>
                  <a:lnTo>
                    <a:pt x="134" y="333"/>
                  </a:lnTo>
                  <a:lnTo>
                    <a:pt x="135" y="333"/>
                  </a:lnTo>
                  <a:lnTo>
                    <a:pt x="137" y="333"/>
                  </a:lnTo>
                  <a:lnTo>
                    <a:pt x="138" y="333"/>
                  </a:lnTo>
                  <a:lnTo>
                    <a:pt x="139" y="333"/>
                  </a:lnTo>
                  <a:lnTo>
                    <a:pt x="140" y="333"/>
                  </a:lnTo>
                  <a:lnTo>
                    <a:pt x="140" y="331"/>
                  </a:lnTo>
                  <a:lnTo>
                    <a:pt x="139" y="331"/>
                  </a:lnTo>
                  <a:lnTo>
                    <a:pt x="138" y="331"/>
                  </a:lnTo>
                  <a:lnTo>
                    <a:pt x="135" y="331"/>
                  </a:lnTo>
                  <a:lnTo>
                    <a:pt x="134" y="333"/>
                  </a:lnTo>
                  <a:lnTo>
                    <a:pt x="133" y="333"/>
                  </a:lnTo>
                  <a:lnTo>
                    <a:pt x="132" y="333"/>
                  </a:lnTo>
                  <a:lnTo>
                    <a:pt x="133" y="334"/>
                  </a:lnTo>
                  <a:lnTo>
                    <a:pt x="133" y="334"/>
                  </a:lnTo>
                  <a:lnTo>
                    <a:pt x="132" y="334"/>
                  </a:lnTo>
                  <a:lnTo>
                    <a:pt x="130" y="334"/>
                  </a:lnTo>
                  <a:lnTo>
                    <a:pt x="127" y="334"/>
                  </a:lnTo>
                  <a:lnTo>
                    <a:pt x="126" y="334"/>
                  </a:lnTo>
                  <a:lnTo>
                    <a:pt x="124" y="334"/>
                  </a:lnTo>
                  <a:lnTo>
                    <a:pt x="124" y="334"/>
                  </a:lnTo>
                  <a:lnTo>
                    <a:pt x="124" y="334"/>
                  </a:lnTo>
                  <a:lnTo>
                    <a:pt x="123" y="334"/>
                  </a:lnTo>
                  <a:lnTo>
                    <a:pt x="120" y="335"/>
                  </a:lnTo>
                  <a:lnTo>
                    <a:pt x="119" y="336"/>
                  </a:lnTo>
                  <a:lnTo>
                    <a:pt x="119" y="335"/>
                  </a:lnTo>
                  <a:lnTo>
                    <a:pt x="118" y="334"/>
                  </a:lnTo>
                  <a:lnTo>
                    <a:pt x="119" y="333"/>
                  </a:lnTo>
                  <a:lnTo>
                    <a:pt x="119" y="333"/>
                  </a:lnTo>
                  <a:lnTo>
                    <a:pt x="119" y="331"/>
                  </a:lnTo>
                  <a:lnTo>
                    <a:pt x="119" y="331"/>
                  </a:lnTo>
                  <a:lnTo>
                    <a:pt x="118" y="333"/>
                  </a:lnTo>
                  <a:lnTo>
                    <a:pt x="118" y="334"/>
                  </a:lnTo>
                  <a:lnTo>
                    <a:pt x="117" y="335"/>
                  </a:lnTo>
                  <a:lnTo>
                    <a:pt x="117" y="336"/>
                  </a:lnTo>
                  <a:lnTo>
                    <a:pt x="116" y="336"/>
                  </a:lnTo>
                  <a:lnTo>
                    <a:pt x="115" y="336"/>
                  </a:lnTo>
                  <a:lnTo>
                    <a:pt x="113" y="335"/>
                  </a:lnTo>
                  <a:lnTo>
                    <a:pt x="112" y="335"/>
                  </a:lnTo>
                  <a:lnTo>
                    <a:pt x="110" y="336"/>
                  </a:lnTo>
                  <a:lnTo>
                    <a:pt x="109" y="336"/>
                  </a:lnTo>
                  <a:lnTo>
                    <a:pt x="106" y="336"/>
                  </a:lnTo>
                  <a:lnTo>
                    <a:pt x="105" y="335"/>
                  </a:lnTo>
                  <a:lnTo>
                    <a:pt x="105" y="334"/>
                  </a:lnTo>
                  <a:lnTo>
                    <a:pt x="104" y="334"/>
                  </a:lnTo>
                  <a:lnTo>
                    <a:pt x="103" y="335"/>
                  </a:lnTo>
                  <a:lnTo>
                    <a:pt x="103" y="337"/>
                  </a:lnTo>
                  <a:lnTo>
                    <a:pt x="103" y="337"/>
                  </a:lnTo>
                  <a:lnTo>
                    <a:pt x="104" y="338"/>
                  </a:lnTo>
                  <a:lnTo>
                    <a:pt x="105" y="338"/>
                  </a:lnTo>
                  <a:lnTo>
                    <a:pt x="108" y="338"/>
                  </a:lnTo>
                  <a:lnTo>
                    <a:pt x="108" y="338"/>
                  </a:lnTo>
                  <a:lnTo>
                    <a:pt x="109" y="339"/>
                  </a:lnTo>
                  <a:lnTo>
                    <a:pt x="109" y="341"/>
                  </a:lnTo>
                  <a:lnTo>
                    <a:pt x="108" y="342"/>
                  </a:lnTo>
                  <a:lnTo>
                    <a:pt x="109" y="342"/>
                  </a:lnTo>
                  <a:lnTo>
                    <a:pt x="109" y="342"/>
                  </a:lnTo>
                  <a:lnTo>
                    <a:pt x="110" y="342"/>
                  </a:lnTo>
                  <a:lnTo>
                    <a:pt x="110" y="342"/>
                  </a:lnTo>
                  <a:lnTo>
                    <a:pt x="110" y="343"/>
                  </a:lnTo>
                  <a:lnTo>
                    <a:pt x="110" y="344"/>
                  </a:lnTo>
                  <a:lnTo>
                    <a:pt x="111" y="344"/>
                  </a:lnTo>
                  <a:lnTo>
                    <a:pt x="111" y="345"/>
                  </a:lnTo>
                  <a:lnTo>
                    <a:pt x="111" y="345"/>
                  </a:lnTo>
                  <a:lnTo>
                    <a:pt x="110" y="345"/>
                  </a:lnTo>
                  <a:lnTo>
                    <a:pt x="109" y="346"/>
                  </a:lnTo>
                  <a:lnTo>
                    <a:pt x="108" y="346"/>
                  </a:lnTo>
                  <a:lnTo>
                    <a:pt x="108" y="346"/>
                  </a:lnTo>
                  <a:lnTo>
                    <a:pt x="108" y="345"/>
                  </a:lnTo>
                  <a:lnTo>
                    <a:pt x="106" y="345"/>
                  </a:lnTo>
                  <a:lnTo>
                    <a:pt x="105" y="345"/>
                  </a:lnTo>
                  <a:lnTo>
                    <a:pt x="105" y="345"/>
                  </a:lnTo>
                  <a:lnTo>
                    <a:pt x="104" y="346"/>
                  </a:lnTo>
                  <a:lnTo>
                    <a:pt x="104" y="346"/>
                  </a:lnTo>
                  <a:lnTo>
                    <a:pt x="103" y="345"/>
                  </a:lnTo>
                  <a:lnTo>
                    <a:pt x="102" y="345"/>
                  </a:lnTo>
                  <a:lnTo>
                    <a:pt x="100" y="345"/>
                  </a:lnTo>
                  <a:lnTo>
                    <a:pt x="97" y="345"/>
                  </a:lnTo>
                  <a:lnTo>
                    <a:pt x="96" y="344"/>
                  </a:lnTo>
                  <a:lnTo>
                    <a:pt x="95" y="344"/>
                  </a:lnTo>
                  <a:lnTo>
                    <a:pt x="95" y="343"/>
                  </a:lnTo>
                  <a:lnTo>
                    <a:pt x="94" y="343"/>
                  </a:lnTo>
                  <a:lnTo>
                    <a:pt x="94" y="343"/>
                  </a:lnTo>
                  <a:lnTo>
                    <a:pt x="93" y="342"/>
                  </a:lnTo>
                  <a:lnTo>
                    <a:pt x="91" y="342"/>
                  </a:lnTo>
                  <a:lnTo>
                    <a:pt x="91" y="342"/>
                  </a:lnTo>
                  <a:lnTo>
                    <a:pt x="90" y="342"/>
                  </a:lnTo>
                  <a:lnTo>
                    <a:pt x="89" y="342"/>
                  </a:lnTo>
                  <a:lnTo>
                    <a:pt x="87" y="343"/>
                  </a:lnTo>
                  <a:lnTo>
                    <a:pt x="86" y="342"/>
                  </a:lnTo>
                  <a:lnTo>
                    <a:pt x="85" y="341"/>
                  </a:lnTo>
                  <a:lnTo>
                    <a:pt x="82" y="341"/>
                  </a:lnTo>
                  <a:lnTo>
                    <a:pt x="81" y="339"/>
                  </a:lnTo>
                  <a:lnTo>
                    <a:pt x="79" y="339"/>
                  </a:lnTo>
                  <a:lnTo>
                    <a:pt x="76" y="341"/>
                  </a:lnTo>
                  <a:lnTo>
                    <a:pt x="73" y="342"/>
                  </a:lnTo>
                  <a:lnTo>
                    <a:pt x="71" y="343"/>
                  </a:lnTo>
                  <a:lnTo>
                    <a:pt x="70" y="344"/>
                  </a:lnTo>
                  <a:lnTo>
                    <a:pt x="67" y="345"/>
                  </a:lnTo>
                  <a:lnTo>
                    <a:pt x="66" y="346"/>
                  </a:lnTo>
                  <a:lnTo>
                    <a:pt x="66" y="346"/>
                  </a:lnTo>
                  <a:lnTo>
                    <a:pt x="66" y="345"/>
                  </a:lnTo>
                  <a:lnTo>
                    <a:pt x="67" y="345"/>
                  </a:lnTo>
                  <a:lnTo>
                    <a:pt x="67" y="344"/>
                  </a:lnTo>
                  <a:lnTo>
                    <a:pt x="67" y="344"/>
                  </a:lnTo>
                  <a:lnTo>
                    <a:pt x="66" y="343"/>
                  </a:lnTo>
                  <a:lnTo>
                    <a:pt x="67" y="342"/>
                  </a:lnTo>
                  <a:lnTo>
                    <a:pt x="68" y="341"/>
                  </a:lnTo>
                  <a:lnTo>
                    <a:pt x="66" y="342"/>
                  </a:lnTo>
                  <a:lnTo>
                    <a:pt x="65" y="343"/>
                  </a:lnTo>
                  <a:lnTo>
                    <a:pt x="65" y="343"/>
                  </a:lnTo>
                  <a:lnTo>
                    <a:pt x="65" y="344"/>
                  </a:lnTo>
                  <a:lnTo>
                    <a:pt x="65" y="344"/>
                  </a:lnTo>
                  <a:lnTo>
                    <a:pt x="65" y="344"/>
                  </a:lnTo>
                  <a:lnTo>
                    <a:pt x="65" y="344"/>
                  </a:lnTo>
                  <a:lnTo>
                    <a:pt x="65" y="345"/>
                  </a:lnTo>
                  <a:lnTo>
                    <a:pt x="65" y="345"/>
                  </a:lnTo>
                  <a:lnTo>
                    <a:pt x="65" y="346"/>
                  </a:lnTo>
                  <a:lnTo>
                    <a:pt x="65" y="346"/>
                  </a:lnTo>
                  <a:lnTo>
                    <a:pt x="64" y="346"/>
                  </a:lnTo>
                  <a:lnTo>
                    <a:pt x="61" y="348"/>
                  </a:lnTo>
                  <a:lnTo>
                    <a:pt x="59" y="349"/>
                  </a:lnTo>
                  <a:lnTo>
                    <a:pt x="58" y="350"/>
                  </a:lnTo>
                  <a:lnTo>
                    <a:pt x="58" y="351"/>
                  </a:lnTo>
                  <a:lnTo>
                    <a:pt x="57" y="351"/>
                  </a:lnTo>
                  <a:lnTo>
                    <a:pt x="56" y="351"/>
                  </a:lnTo>
                  <a:lnTo>
                    <a:pt x="55" y="351"/>
                  </a:lnTo>
                  <a:lnTo>
                    <a:pt x="53" y="352"/>
                  </a:lnTo>
                  <a:lnTo>
                    <a:pt x="53" y="352"/>
                  </a:lnTo>
                  <a:lnTo>
                    <a:pt x="52" y="352"/>
                  </a:lnTo>
                  <a:lnTo>
                    <a:pt x="52" y="352"/>
                  </a:lnTo>
                  <a:lnTo>
                    <a:pt x="51" y="352"/>
                  </a:lnTo>
                  <a:lnTo>
                    <a:pt x="51" y="353"/>
                  </a:lnTo>
                  <a:lnTo>
                    <a:pt x="51" y="353"/>
                  </a:lnTo>
                  <a:lnTo>
                    <a:pt x="51" y="352"/>
                  </a:lnTo>
                  <a:lnTo>
                    <a:pt x="50" y="353"/>
                  </a:lnTo>
                  <a:lnTo>
                    <a:pt x="50" y="353"/>
                  </a:lnTo>
                  <a:lnTo>
                    <a:pt x="50" y="354"/>
                  </a:lnTo>
                  <a:lnTo>
                    <a:pt x="50" y="356"/>
                  </a:lnTo>
                  <a:lnTo>
                    <a:pt x="49" y="357"/>
                  </a:lnTo>
                  <a:lnTo>
                    <a:pt x="48" y="356"/>
                  </a:lnTo>
                  <a:lnTo>
                    <a:pt x="46" y="357"/>
                  </a:lnTo>
                  <a:lnTo>
                    <a:pt x="46" y="358"/>
                  </a:lnTo>
                  <a:lnTo>
                    <a:pt x="45" y="359"/>
                  </a:lnTo>
                  <a:lnTo>
                    <a:pt x="44" y="359"/>
                  </a:lnTo>
                  <a:lnTo>
                    <a:pt x="43" y="360"/>
                  </a:lnTo>
                  <a:lnTo>
                    <a:pt x="42" y="363"/>
                  </a:lnTo>
                  <a:lnTo>
                    <a:pt x="41" y="363"/>
                  </a:lnTo>
                  <a:lnTo>
                    <a:pt x="41" y="364"/>
                  </a:lnTo>
                  <a:lnTo>
                    <a:pt x="41" y="363"/>
                  </a:lnTo>
                  <a:lnTo>
                    <a:pt x="38" y="364"/>
                  </a:lnTo>
                  <a:lnTo>
                    <a:pt x="38" y="364"/>
                  </a:lnTo>
                  <a:lnTo>
                    <a:pt x="38" y="364"/>
                  </a:lnTo>
                  <a:lnTo>
                    <a:pt x="38" y="365"/>
                  </a:lnTo>
                  <a:lnTo>
                    <a:pt x="37" y="365"/>
                  </a:lnTo>
                  <a:lnTo>
                    <a:pt x="36" y="365"/>
                  </a:lnTo>
                  <a:lnTo>
                    <a:pt x="36" y="365"/>
                  </a:lnTo>
                  <a:lnTo>
                    <a:pt x="36" y="366"/>
                  </a:lnTo>
                  <a:lnTo>
                    <a:pt x="36" y="367"/>
                  </a:lnTo>
                  <a:lnTo>
                    <a:pt x="35" y="368"/>
                  </a:lnTo>
                  <a:lnTo>
                    <a:pt x="35" y="369"/>
                  </a:lnTo>
                  <a:lnTo>
                    <a:pt x="34" y="371"/>
                  </a:lnTo>
                  <a:lnTo>
                    <a:pt x="33" y="372"/>
                  </a:lnTo>
                  <a:lnTo>
                    <a:pt x="33" y="373"/>
                  </a:lnTo>
                  <a:lnTo>
                    <a:pt x="34" y="374"/>
                  </a:lnTo>
                  <a:lnTo>
                    <a:pt x="34" y="374"/>
                  </a:lnTo>
                  <a:lnTo>
                    <a:pt x="34" y="375"/>
                  </a:lnTo>
                  <a:lnTo>
                    <a:pt x="33" y="378"/>
                  </a:lnTo>
                  <a:lnTo>
                    <a:pt x="31" y="381"/>
                  </a:lnTo>
                  <a:lnTo>
                    <a:pt x="31" y="381"/>
                  </a:lnTo>
                  <a:lnTo>
                    <a:pt x="31" y="382"/>
                  </a:lnTo>
                  <a:lnTo>
                    <a:pt x="31" y="383"/>
                  </a:lnTo>
                  <a:lnTo>
                    <a:pt x="31" y="384"/>
                  </a:lnTo>
                  <a:lnTo>
                    <a:pt x="30" y="387"/>
                  </a:lnTo>
                  <a:lnTo>
                    <a:pt x="28" y="389"/>
                  </a:lnTo>
                  <a:lnTo>
                    <a:pt x="25" y="397"/>
                  </a:lnTo>
                  <a:lnTo>
                    <a:pt x="23" y="405"/>
                  </a:lnTo>
                  <a:lnTo>
                    <a:pt x="21" y="413"/>
                  </a:lnTo>
                  <a:lnTo>
                    <a:pt x="20" y="416"/>
                  </a:lnTo>
                  <a:lnTo>
                    <a:pt x="20" y="418"/>
                  </a:lnTo>
                  <a:lnTo>
                    <a:pt x="20" y="419"/>
                  </a:lnTo>
                  <a:lnTo>
                    <a:pt x="21" y="421"/>
                  </a:lnTo>
                  <a:lnTo>
                    <a:pt x="22" y="423"/>
                  </a:lnTo>
                  <a:lnTo>
                    <a:pt x="22" y="425"/>
                  </a:lnTo>
                  <a:lnTo>
                    <a:pt x="21" y="426"/>
                  </a:lnTo>
                  <a:lnTo>
                    <a:pt x="21" y="428"/>
                  </a:lnTo>
                  <a:lnTo>
                    <a:pt x="21" y="432"/>
                  </a:lnTo>
                  <a:lnTo>
                    <a:pt x="22" y="435"/>
                  </a:lnTo>
                  <a:lnTo>
                    <a:pt x="23" y="439"/>
                  </a:lnTo>
                  <a:lnTo>
                    <a:pt x="25" y="441"/>
                  </a:lnTo>
                  <a:lnTo>
                    <a:pt x="26" y="443"/>
                  </a:lnTo>
                  <a:lnTo>
                    <a:pt x="26" y="446"/>
                  </a:lnTo>
                  <a:lnTo>
                    <a:pt x="27" y="446"/>
                  </a:lnTo>
                  <a:lnTo>
                    <a:pt x="27" y="447"/>
                  </a:lnTo>
                  <a:lnTo>
                    <a:pt x="27" y="447"/>
                  </a:lnTo>
                  <a:lnTo>
                    <a:pt x="28" y="447"/>
                  </a:lnTo>
                  <a:lnTo>
                    <a:pt x="29" y="448"/>
                  </a:lnTo>
                  <a:lnTo>
                    <a:pt x="29" y="449"/>
                  </a:lnTo>
                  <a:lnTo>
                    <a:pt x="28" y="450"/>
                  </a:lnTo>
                  <a:lnTo>
                    <a:pt x="29" y="451"/>
                  </a:lnTo>
                  <a:lnTo>
                    <a:pt x="29" y="451"/>
                  </a:lnTo>
                  <a:lnTo>
                    <a:pt x="31" y="451"/>
                  </a:lnTo>
                  <a:lnTo>
                    <a:pt x="33" y="453"/>
                  </a:lnTo>
                  <a:lnTo>
                    <a:pt x="34" y="453"/>
                  </a:lnTo>
                  <a:lnTo>
                    <a:pt x="34" y="453"/>
                  </a:lnTo>
                  <a:lnTo>
                    <a:pt x="35" y="454"/>
                  </a:lnTo>
                  <a:lnTo>
                    <a:pt x="35" y="454"/>
                  </a:lnTo>
                  <a:lnTo>
                    <a:pt x="36" y="454"/>
                  </a:lnTo>
                  <a:lnTo>
                    <a:pt x="38" y="455"/>
                  </a:lnTo>
                  <a:lnTo>
                    <a:pt x="40" y="455"/>
                  </a:lnTo>
                  <a:lnTo>
                    <a:pt x="42" y="455"/>
                  </a:lnTo>
                  <a:lnTo>
                    <a:pt x="44" y="454"/>
                  </a:lnTo>
                  <a:lnTo>
                    <a:pt x="46" y="453"/>
                  </a:lnTo>
                  <a:lnTo>
                    <a:pt x="48" y="453"/>
                  </a:lnTo>
                  <a:lnTo>
                    <a:pt x="50" y="453"/>
                  </a:lnTo>
                  <a:lnTo>
                    <a:pt x="53" y="451"/>
                  </a:lnTo>
                  <a:lnTo>
                    <a:pt x="56" y="450"/>
                  </a:lnTo>
                  <a:lnTo>
                    <a:pt x="58" y="449"/>
                  </a:lnTo>
                  <a:lnTo>
                    <a:pt x="60" y="449"/>
                  </a:lnTo>
                  <a:lnTo>
                    <a:pt x="61" y="449"/>
                  </a:lnTo>
                  <a:lnTo>
                    <a:pt x="63" y="448"/>
                  </a:lnTo>
                  <a:lnTo>
                    <a:pt x="65" y="448"/>
                  </a:lnTo>
                  <a:lnTo>
                    <a:pt x="66" y="448"/>
                  </a:lnTo>
                  <a:lnTo>
                    <a:pt x="67" y="448"/>
                  </a:lnTo>
                  <a:lnTo>
                    <a:pt x="66" y="448"/>
                  </a:lnTo>
                  <a:lnTo>
                    <a:pt x="65" y="448"/>
                  </a:lnTo>
                  <a:lnTo>
                    <a:pt x="64" y="449"/>
                  </a:lnTo>
                  <a:lnTo>
                    <a:pt x="64" y="450"/>
                  </a:lnTo>
                  <a:lnTo>
                    <a:pt x="64" y="451"/>
                  </a:lnTo>
                  <a:lnTo>
                    <a:pt x="65" y="451"/>
                  </a:lnTo>
                  <a:lnTo>
                    <a:pt x="66" y="450"/>
                  </a:lnTo>
                  <a:lnTo>
                    <a:pt x="68" y="449"/>
                  </a:lnTo>
                  <a:lnTo>
                    <a:pt x="68" y="448"/>
                  </a:lnTo>
                  <a:lnTo>
                    <a:pt x="68" y="448"/>
                  </a:lnTo>
                  <a:lnTo>
                    <a:pt x="68" y="448"/>
                  </a:lnTo>
                  <a:lnTo>
                    <a:pt x="68" y="447"/>
                  </a:lnTo>
                  <a:lnTo>
                    <a:pt x="68" y="447"/>
                  </a:lnTo>
                  <a:lnTo>
                    <a:pt x="70" y="446"/>
                  </a:lnTo>
                  <a:lnTo>
                    <a:pt x="72" y="445"/>
                  </a:lnTo>
                  <a:lnTo>
                    <a:pt x="72" y="445"/>
                  </a:lnTo>
                  <a:lnTo>
                    <a:pt x="73" y="443"/>
                  </a:lnTo>
                  <a:lnTo>
                    <a:pt x="73" y="441"/>
                  </a:lnTo>
                  <a:lnTo>
                    <a:pt x="73" y="440"/>
                  </a:lnTo>
                  <a:lnTo>
                    <a:pt x="74" y="439"/>
                  </a:lnTo>
                  <a:lnTo>
                    <a:pt x="75" y="438"/>
                  </a:lnTo>
                  <a:lnTo>
                    <a:pt x="76" y="438"/>
                  </a:lnTo>
                  <a:lnTo>
                    <a:pt x="76" y="435"/>
                  </a:lnTo>
                  <a:lnTo>
                    <a:pt x="76" y="433"/>
                  </a:lnTo>
                  <a:lnTo>
                    <a:pt x="76" y="431"/>
                  </a:lnTo>
                  <a:lnTo>
                    <a:pt x="76" y="427"/>
                  </a:lnTo>
                  <a:lnTo>
                    <a:pt x="78" y="426"/>
                  </a:lnTo>
                  <a:lnTo>
                    <a:pt x="80" y="425"/>
                  </a:lnTo>
                  <a:lnTo>
                    <a:pt x="82" y="424"/>
                  </a:lnTo>
                  <a:lnTo>
                    <a:pt x="85" y="424"/>
                  </a:lnTo>
                  <a:lnTo>
                    <a:pt x="88" y="423"/>
                  </a:lnTo>
                  <a:lnTo>
                    <a:pt x="89" y="423"/>
                  </a:lnTo>
                  <a:lnTo>
                    <a:pt x="91" y="423"/>
                  </a:lnTo>
                  <a:lnTo>
                    <a:pt x="93" y="423"/>
                  </a:lnTo>
                  <a:lnTo>
                    <a:pt x="94" y="423"/>
                  </a:lnTo>
                  <a:lnTo>
                    <a:pt x="96" y="423"/>
                  </a:lnTo>
                  <a:lnTo>
                    <a:pt x="98" y="421"/>
                  </a:lnTo>
                  <a:lnTo>
                    <a:pt x="102" y="423"/>
                  </a:lnTo>
                  <a:lnTo>
                    <a:pt x="103" y="423"/>
                  </a:lnTo>
                  <a:lnTo>
                    <a:pt x="105" y="421"/>
                  </a:lnTo>
                  <a:lnTo>
                    <a:pt x="105" y="421"/>
                  </a:lnTo>
                  <a:lnTo>
                    <a:pt x="106" y="420"/>
                  </a:lnTo>
                  <a:lnTo>
                    <a:pt x="108" y="421"/>
                  </a:lnTo>
                  <a:lnTo>
                    <a:pt x="109" y="423"/>
                  </a:lnTo>
                  <a:lnTo>
                    <a:pt x="109" y="424"/>
                  </a:lnTo>
                  <a:lnTo>
                    <a:pt x="109" y="424"/>
                  </a:lnTo>
                  <a:lnTo>
                    <a:pt x="109" y="424"/>
                  </a:lnTo>
                  <a:lnTo>
                    <a:pt x="110" y="424"/>
                  </a:lnTo>
                  <a:lnTo>
                    <a:pt x="110" y="425"/>
                  </a:lnTo>
                  <a:lnTo>
                    <a:pt x="110" y="426"/>
                  </a:lnTo>
                  <a:lnTo>
                    <a:pt x="111" y="427"/>
                  </a:lnTo>
                  <a:lnTo>
                    <a:pt x="110" y="428"/>
                  </a:lnTo>
                  <a:lnTo>
                    <a:pt x="109" y="430"/>
                  </a:lnTo>
                  <a:lnTo>
                    <a:pt x="108" y="431"/>
                  </a:lnTo>
                  <a:lnTo>
                    <a:pt x="106" y="433"/>
                  </a:lnTo>
                  <a:lnTo>
                    <a:pt x="106" y="434"/>
                  </a:lnTo>
                  <a:lnTo>
                    <a:pt x="105" y="435"/>
                  </a:lnTo>
                  <a:lnTo>
                    <a:pt x="105" y="436"/>
                  </a:lnTo>
                  <a:lnTo>
                    <a:pt x="105" y="438"/>
                  </a:lnTo>
                  <a:lnTo>
                    <a:pt x="103" y="438"/>
                  </a:lnTo>
                  <a:lnTo>
                    <a:pt x="102" y="439"/>
                  </a:lnTo>
                  <a:lnTo>
                    <a:pt x="102" y="439"/>
                  </a:lnTo>
                  <a:lnTo>
                    <a:pt x="102" y="439"/>
                  </a:lnTo>
                  <a:lnTo>
                    <a:pt x="103" y="438"/>
                  </a:lnTo>
                  <a:lnTo>
                    <a:pt x="103" y="438"/>
                  </a:lnTo>
                  <a:lnTo>
                    <a:pt x="104" y="439"/>
                  </a:lnTo>
                  <a:lnTo>
                    <a:pt x="104" y="439"/>
                  </a:lnTo>
                  <a:lnTo>
                    <a:pt x="103" y="440"/>
                  </a:lnTo>
                  <a:lnTo>
                    <a:pt x="102" y="441"/>
                  </a:lnTo>
                  <a:lnTo>
                    <a:pt x="100" y="445"/>
                  </a:lnTo>
                  <a:lnTo>
                    <a:pt x="98" y="447"/>
                  </a:lnTo>
                  <a:lnTo>
                    <a:pt x="98" y="449"/>
                  </a:lnTo>
                  <a:lnTo>
                    <a:pt x="97" y="453"/>
                  </a:lnTo>
                  <a:lnTo>
                    <a:pt x="96" y="454"/>
                  </a:lnTo>
                  <a:lnTo>
                    <a:pt x="96" y="454"/>
                  </a:lnTo>
                  <a:lnTo>
                    <a:pt x="96" y="455"/>
                  </a:lnTo>
                  <a:lnTo>
                    <a:pt x="96" y="456"/>
                  </a:lnTo>
                  <a:lnTo>
                    <a:pt x="96" y="457"/>
                  </a:lnTo>
                  <a:lnTo>
                    <a:pt x="96" y="458"/>
                  </a:lnTo>
                  <a:lnTo>
                    <a:pt x="95" y="460"/>
                  </a:lnTo>
                  <a:lnTo>
                    <a:pt x="95" y="457"/>
                  </a:lnTo>
                  <a:lnTo>
                    <a:pt x="95" y="456"/>
                  </a:lnTo>
                  <a:lnTo>
                    <a:pt x="95" y="455"/>
                  </a:lnTo>
                  <a:lnTo>
                    <a:pt x="94" y="454"/>
                  </a:lnTo>
                  <a:lnTo>
                    <a:pt x="94" y="454"/>
                  </a:lnTo>
                  <a:lnTo>
                    <a:pt x="95" y="451"/>
                  </a:lnTo>
                  <a:lnTo>
                    <a:pt x="93" y="453"/>
                  </a:lnTo>
                  <a:lnTo>
                    <a:pt x="93" y="454"/>
                  </a:lnTo>
                  <a:lnTo>
                    <a:pt x="91" y="455"/>
                  </a:lnTo>
                  <a:lnTo>
                    <a:pt x="91" y="455"/>
                  </a:lnTo>
                  <a:lnTo>
                    <a:pt x="93" y="455"/>
                  </a:lnTo>
                  <a:lnTo>
                    <a:pt x="93" y="456"/>
                  </a:lnTo>
                  <a:lnTo>
                    <a:pt x="94" y="456"/>
                  </a:lnTo>
                  <a:lnTo>
                    <a:pt x="93" y="458"/>
                  </a:lnTo>
                  <a:lnTo>
                    <a:pt x="93" y="460"/>
                  </a:lnTo>
                  <a:lnTo>
                    <a:pt x="91" y="461"/>
                  </a:lnTo>
                  <a:lnTo>
                    <a:pt x="91" y="463"/>
                  </a:lnTo>
                  <a:lnTo>
                    <a:pt x="91" y="464"/>
                  </a:lnTo>
                  <a:lnTo>
                    <a:pt x="90" y="468"/>
                  </a:lnTo>
                  <a:lnTo>
                    <a:pt x="89" y="471"/>
                  </a:lnTo>
                  <a:lnTo>
                    <a:pt x="88" y="473"/>
                  </a:lnTo>
                  <a:lnTo>
                    <a:pt x="86" y="475"/>
                  </a:lnTo>
                  <a:lnTo>
                    <a:pt x="85" y="476"/>
                  </a:lnTo>
                  <a:lnTo>
                    <a:pt x="83" y="476"/>
                  </a:lnTo>
                  <a:lnTo>
                    <a:pt x="82" y="477"/>
                  </a:lnTo>
                  <a:lnTo>
                    <a:pt x="82" y="478"/>
                  </a:lnTo>
                  <a:lnTo>
                    <a:pt x="82" y="479"/>
                  </a:lnTo>
                  <a:lnTo>
                    <a:pt x="82" y="480"/>
                  </a:lnTo>
                  <a:lnTo>
                    <a:pt x="83" y="479"/>
                  </a:lnTo>
                  <a:lnTo>
                    <a:pt x="85" y="479"/>
                  </a:lnTo>
                  <a:lnTo>
                    <a:pt x="86" y="480"/>
                  </a:lnTo>
                  <a:lnTo>
                    <a:pt x="87" y="480"/>
                  </a:lnTo>
                  <a:lnTo>
                    <a:pt x="88" y="480"/>
                  </a:lnTo>
                  <a:lnTo>
                    <a:pt x="89" y="480"/>
                  </a:lnTo>
                  <a:lnTo>
                    <a:pt x="89" y="480"/>
                  </a:lnTo>
                  <a:lnTo>
                    <a:pt x="91" y="480"/>
                  </a:lnTo>
                  <a:lnTo>
                    <a:pt x="91" y="479"/>
                  </a:lnTo>
                  <a:lnTo>
                    <a:pt x="90" y="479"/>
                  </a:lnTo>
                  <a:lnTo>
                    <a:pt x="90" y="479"/>
                  </a:lnTo>
                  <a:lnTo>
                    <a:pt x="91" y="478"/>
                  </a:lnTo>
                  <a:lnTo>
                    <a:pt x="91" y="478"/>
                  </a:lnTo>
                  <a:lnTo>
                    <a:pt x="93" y="479"/>
                  </a:lnTo>
                  <a:lnTo>
                    <a:pt x="95" y="480"/>
                  </a:lnTo>
                  <a:lnTo>
                    <a:pt x="96" y="480"/>
                  </a:lnTo>
                  <a:lnTo>
                    <a:pt x="98" y="480"/>
                  </a:lnTo>
                  <a:lnTo>
                    <a:pt x="102" y="479"/>
                  </a:lnTo>
                  <a:lnTo>
                    <a:pt x="104" y="479"/>
                  </a:lnTo>
                  <a:lnTo>
                    <a:pt x="108" y="478"/>
                  </a:lnTo>
                  <a:lnTo>
                    <a:pt x="110" y="478"/>
                  </a:lnTo>
                  <a:lnTo>
                    <a:pt x="112" y="478"/>
                  </a:lnTo>
                  <a:lnTo>
                    <a:pt x="113" y="479"/>
                  </a:lnTo>
                  <a:lnTo>
                    <a:pt x="115" y="479"/>
                  </a:lnTo>
                  <a:lnTo>
                    <a:pt x="115" y="479"/>
                  </a:lnTo>
                  <a:lnTo>
                    <a:pt x="113" y="478"/>
                  </a:lnTo>
                  <a:lnTo>
                    <a:pt x="113" y="478"/>
                  </a:lnTo>
                  <a:lnTo>
                    <a:pt x="115" y="479"/>
                  </a:lnTo>
                  <a:lnTo>
                    <a:pt x="116" y="479"/>
                  </a:lnTo>
                  <a:lnTo>
                    <a:pt x="117" y="479"/>
                  </a:lnTo>
                  <a:lnTo>
                    <a:pt x="118" y="479"/>
                  </a:lnTo>
                  <a:lnTo>
                    <a:pt x="120" y="480"/>
                  </a:lnTo>
                  <a:lnTo>
                    <a:pt x="123" y="480"/>
                  </a:lnTo>
                  <a:lnTo>
                    <a:pt x="124" y="480"/>
                  </a:lnTo>
                  <a:lnTo>
                    <a:pt x="124" y="480"/>
                  </a:lnTo>
                  <a:lnTo>
                    <a:pt x="123" y="480"/>
                  </a:lnTo>
                  <a:lnTo>
                    <a:pt x="121" y="481"/>
                  </a:lnTo>
                  <a:lnTo>
                    <a:pt x="120" y="481"/>
                  </a:lnTo>
                  <a:lnTo>
                    <a:pt x="119" y="483"/>
                  </a:lnTo>
                  <a:lnTo>
                    <a:pt x="119" y="483"/>
                  </a:lnTo>
                  <a:lnTo>
                    <a:pt x="119" y="483"/>
                  </a:lnTo>
                  <a:lnTo>
                    <a:pt x="120" y="483"/>
                  </a:lnTo>
                  <a:lnTo>
                    <a:pt x="123" y="484"/>
                  </a:lnTo>
                  <a:lnTo>
                    <a:pt x="124" y="484"/>
                  </a:lnTo>
                  <a:lnTo>
                    <a:pt x="125" y="484"/>
                  </a:lnTo>
                  <a:lnTo>
                    <a:pt x="125" y="484"/>
                  </a:lnTo>
                  <a:lnTo>
                    <a:pt x="124" y="483"/>
                  </a:lnTo>
                  <a:lnTo>
                    <a:pt x="124" y="483"/>
                  </a:lnTo>
                  <a:lnTo>
                    <a:pt x="124" y="483"/>
                  </a:lnTo>
                  <a:lnTo>
                    <a:pt x="125" y="483"/>
                  </a:lnTo>
                  <a:lnTo>
                    <a:pt x="126" y="484"/>
                  </a:lnTo>
                  <a:lnTo>
                    <a:pt x="128" y="485"/>
                  </a:lnTo>
                  <a:lnTo>
                    <a:pt x="130" y="485"/>
                  </a:lnTo>
                  <a:lnTo>
                    <a:pt x="130" y="486"/>
                  </a:lnTo>
                  <a:lnTo>
                    <a:pt x="131" y="486"/>
                  </a:lnTo>
                  <a:lnTo>
                    <a:pt x="131" y="487"/>
                  </a:lnTo>
                  <a:lnTo>
                    <a:pt x="132" y="487"/>
                  </a:lnTo>
                  <a:lnTo>
                    <a:pt x="131" y="488"/>
                  </a:lnTo>
                  <a:lnTo>
                    <a:pt x="130" y="490"/>
                  </a:lnTo>
                  <a:lnTo>
                    <a:pt x="128" y="490"/>
                  </a:lnTo>
                  <a:lnTo>
                    <a:pt x="128" y="491"/>
                  </a:lnTo>
                  <a:lnTo>
                    <a:pt x="130" y="491"/>
                  </a:lnTo>
                  <a:lnTo>
                    <a:pt x="130" y="492"/>
                  </a:lnTo>
                  <a:lnTo>
                    <a:pt x="130" y="494"/>
                  </a:lnTo>
                  <a:lnTo>
                    <a:pt x="130" y="497"/>
                  </a:lnTo>
                  <a:lnTo>
                    <a:pt x="128" y="499"/>
                  </a:lnTo>
                  <a:lnTo>
                    <a:pt x="127" y="499"/>
                  </a:lnTo>
                  <a:lnTo>
                    <a:pt x="128" y="500"/>
                  </a:lnTo>
                  <a:lnTo>
                    <a:pt x="128" y="500"/>
                  </a:lnTo>
                  <a:lnTo>
                    <a:pt x="127" y="502"/>
                  </a:lnTo>
                  <a:lnTo>
                    <a:pt x="126" y="505"/>
                  </a:lnTo>
                  <a:lnTo>
                    <a:pt x="126" y="507"/>
                  </a:lnTo>
                  <a:lnTo>
                    <a:pt x="126" y="509"/>
                  </a:lnTo>
                  <a:lnTo>
                    <a:pt x="126" y="512"/>
                  </a:lnTo>
                  <a:lnTo>
                    <a:pt x="126" y="513"/>
                  </a:lnTo>
                  <a:lnTo>
                    <a:pt x="125" y="513"/>
                  </a:lnTo>
                  <a:lnTo>
                    <a:pt x="124" y="513"/>
                  </a:lnTo>
                  <a:lnTo>
                    <a:pt x="124" y="514"/>
                  </a:lnTo>
                  <a:lnTo>
                    <a:pt x="124" y="514"/>
                  </a:lnTo>
                  <a:lnTo>
                    <a:pt x="125" y="513"/>
                  </a:lnTo>
                  <a:lnTo>
                    <a:pt x="125" y="513"/>
                  </a:lnTo>
                  <a:lnTo>
                    <a:pt x="125" y="513"/>
                  </a:lnTo>
                  <a:lnTo>
                    <a:pt x="125" y="514"/>
                  </a:lnTo>
                  <a:lnTo>
                    <a:pt x="125" y="514"/>
                  </a:lnTo>
                  <a:lnTo>
                    <a:pt x="124" y="515"/>
                  </a:lnTo>
                  <a:lnTo>
                    <a:pt x="124" y="516"/>
                  </a:lnTo>
                  <a:lnTo>
                    <a:pt x="125" y="516"/>
                  </a:lnTo>
                  <a:lnTo>
                    <a:pt x="125" y="517"/>
                  </a:lnTo>
                  <a:lnTo>
                    <a:pt x="125" y="517"/>
                  </a:lnTo>
                  <a:lnTo>
                    <a:pt x="124" y="516"/>
                  </a:lnTo>
                  <a:lnTo>
                    <a:pt x="124" y="517"/>
                  </a:lnTo>
                  <a:lnTo>
                    <a:pt x="124" y="517"/>
                  </a:lnTo>
                  <a:lnTo>
                    <a:pt x="124" y="518"/>
                  </a:lnTo>
                  <a:lnTo>
                    <a:pt x="124" y="520"/>
                  </a:lnTo>
                  <a:lnTo>
                    <a:pt x="124" y="520"/>
                  </a:lnTo>
                  <a:lnTo>
                    <a:pt x="125" y="521"/>
                  </a:lnTo>
                  <a:lnTo>
                    <a:pt x="125" y="522"/>
                  </a:lnTo>
                  <a:lnTo>
                    <a:pt x="125" y="524"/>
                  </a:lnTo>
                  <a:lnTo>
                    <a:pt x="124" y="525"/>
                  </a:lnTo>
                  <a:lnTo>
                    <a:pt x="123" y="525"/>
                  </a:lnTo>
                  <a:lnTo>
                    <a:pt x="123" y="527"/>
                  </a:lnTo>
                  <a:lnTo>
                    <a:pt x="123" y="528"/>
                  </a:lnTo>
                  <a:lnTo>
                    <a:pt x="123" y="530"/>
                  </a:lnTo>
                  <a:lnTo>
                    <a:pt x="124" y="531"/>
                  </a:lnTo>
                  <a:lnTo>
                    <a:pt x="124" y="532"/>
                  </a:lnTo>
                  <a:lnTo>
                    <a:pt x="124" y="533"/>
                  </a:lnTo>
                  <a:lnTo>
                    <a:pt x="124" y="533"/>
                  </a:lnTo>
                  <a:lnTo>
                    <a:pt x="124" y="533"/>
                  </a:lnTo>
                  <a:lnTo>
                    <a:pt x="124" y="535"/>
                  </a:lnTo>
                  <a:lnTo>
                    <a:pt x="124" y="536"/>
                  </a:lnTo>
                  <a:lnTo>
                    <a:pt x="125" y="538"/>
                  </a:lnTo>
                  <a:lnTo>
                    <a:pt x="126" y="540"/>
                  </a:lnTo>
                  <a:lnTo>
                    <a:pt x="128" y="543"/>
                  </a:lnTo>
                  <a:lnTo>
                    <a:pt x="130" y="544"/>
                  </a:lnTo>
                  <a:lnTo>
                    <a:pt x="131" y="545"/>
                  </a:lnTo>
                  <a:lnTo>
                    <a:pt x="132" y="546"/>
                  </a:lnTo>
                  <a:lnTo>
                    <a:pt x="133" y="546"/>
                  </a:lnTo>
                  <a:lnTo>
                    <a:pt x="133" y="547"/>
                  </a:lnTo>
                  <a:lnTo>
                    <a:pt x="133" y="548"/>
                  </a:lnTo>
                  <a:lnTo>
                    <a:pt x="133" y="548"/>
                  </a:lnTo>
                  <a:lnTo>
                    <a:pt x="133" y="550"/>
                  </a:lnTo>
                  <a:lnTo>
                    <a:pt x="133" y="550"/>
                  </a:lnTo>
                  <a:lnTo>
                    <a:pt x="132" y="551"/>
                  </a:lnTo>
                  <a:lnTo>
                    <a:pt x="133" y="552"/>
                  </a:lnTo>
                  <a:lnTo>
                    <a:pt x="134" y="551"/>
                  </a:lnTo>
                  <a:lnTo>
                    <a:pt x="134" y="551"/>
                  </a:lnTo>
                  <a:lnTo>
                    <a:pt x="134" y="551"/>
                  </a:lnTo>
                  <a:lnTo>
                    <a:pt x="134" y="550"/>
                  </a:lnTo>
                  <a:lnTo>
                    <a:pt x="134" y="550"/>
                  </a:lnTo>
                  <a:lnTo>
                    <a:pt x="138" y="552"/>
                  </a:lnTo>
                  <a:lnTo>
                    <a:pt x="139" y="552"/>
                  </a:lnTo>
                  <a:lnTo>
                    <a:pt x="141" y="553"/>
                  </a:lnTo>
                  <a:lnTo>
                    <a:pt x="143" y="553"/>
                  </a:lnTo>
                  <a:lnTo>
                    <a:pt x="146" y="552"/>
                  </a:lnTo>
                  <a:lnTo>
                    <a:pt x="147" y="552"/>
                  </a:lnTo>
                  <a:lnTo>
                    <a:pt x="148" y="551"/>
                  </a:lnTo>
                  <a:lnTo>
                    <a:pt x="150" y="551"/>
                  </a:lnTo>
                  <a:lnTo>
                    <a:pt x="153" y="551"/>
                  </a:lnTo>
                  <a:lnTo>
                    <a:pt x="154" y="550"/>
                  </a:lnTo>
                  <a:lnTo>
                    <a:pt x="154" y="548"/>
                  </a:lnTo>
                  <a:lnTo>
                    <a:pt x="155" y="548"/>
                  </a:lnTo>
                  <a:lnTo>
                    <a:pt x="155" y="548"/>
                  </a:lnTo>
                  <a:lnTo>
                    <a:pt x="155" y="550"/>
                  </a:lnTo>
                  <a:lnTo>
                    <a:pt x="154" y="552"/>
                  </a:lnTo>
                  <a:lnTo>
                    <a:pt x="154" y="553"/>
                  </a:lnTo>
                  <a:lnTo>
                    <a:pt x="155" y="553"/>
                  </a:lnTo>
                  <a:lnTo>
                    <a:pt x="156" y="552"/>
                  </a:lnTo>
                  <a:lnTo>
                    <a:pt x="157" y="552"/>
                  </a:lnTo>
                  <a:lnTo>
                    <a:pt x="158" y="552"/>
                  </a:lnTo>
                  <a:lnTo>
                    <a:pt x="158" y="551"/>
                  </a:lnTo>
                  <a:lnTo>
                    <a:pt x="158" y="551"/>
                  </a:lnTo>
                  <a:lnTo>
                    <a:pt x="157" y="551"/>
                  </a:lnTo>
                  <a:lnTo>
                    <a:pt x="156" y="550"/>
                  </a:lnTo>
                  <a:lnTo>
                    <a:pt x="156" y="548"/>
                  </a:lnTo>
                  <a:lnTo>
                    <a:pt x="157" y="548"/>
                  </a:lnTo>
                  <a:lnTo>
                    <a:pt x="158" y="547"/>
                  </a:lnTo>
                  <a:lnTo>
                    <a:pt x="160" y="546"/>
                  </a:lnTo>
                  <a:lnTo>
                    <a:pt x="163" y="546"/>
                  </a:lnTo>
                  <a:lnTo>
                    <a:pt x="164" y="547"/>
                  </a:lnTo>
                  <a:lnTo>
                    <a:pt x="165" y="547"/>
                  </a:lnTo>
                  <a:lnTo>
                    <a:pt x="165" y="547"/>
                  </a:lnTo>
                  <a:lnTo>
                    <a:pt x="167" y="547"/>
                  </a:lnTo>
                  <a:lnTo>
                    <a:pt x="168" y="547"/>
                  </a:lnTo>
                  <a:lnTo>
                    <a:pt x="170" y="548"/>
                  </a:lnTo>
                  <a:lnTo>
                    <a:pt x="171" y="550"/>
                  </a:lnTo>
                  <a:lnTo>
                    <a:pt x="172" y="550"/>
                  </a:lnTo>
                  <a:lnTo>
                    <a:pt x="172" y="551"/>
                  </a:lnTo>
                  <a:lnTo>
                    <a:pt x="171" y="551"/>
                  </a:lnTo>
                  <a:lnTo>
                    <a:pt x="171" y="551"/>
                  </a:lnTo>
                  <a:lnTo>
                    <a:pt x="171" y="551"/>
                  </a:lnTo>
                  <a:lnTo>
                    <a:pt x="171" y="552"/>
                  </a:lnTo>
                  <a:lnTo>
                    <a:pt x="172" y="552"/>
                  </a:lnTo>
                  <a:lnTo>
                    <a:pt x="173" y="552"/>
                  </a:lnTo>
                  <a:lnTo>
                    <a:pt x="173" y="553"/>
                  </a:lnTo>
                  <a:lnTo>
                    <a:pt x="175" y="553"/>
                  </a:lnTo>
                  <a:lnTo>
                    <a:pt x="177" y="555"/>
                  </a:lnTo>
                  <a:lnTo>
                    <a:pt x="177" y="555"/>
                  </a:lnTo>
                  <a:lnTo>
                    <a:pt x="177" y="555"/>
                  </a:lnTo>
                  <a:lnTo>
                    <a:pt x="178" y="557"/>
                  </a:lnTo>
                  <a:lnTo>
                    <a:pt x="179" y="558"/>
                  </a:lnTo>
                  <a:lnTo>
                    <a:pt x="180" y="559"/>
                  </a:lnTo>
                  <a:lnTo>
                    <a:pt x="182" y="562"/>
                  </a:lnTo>
                  <a:lnTo>
                    <a:pt x="182" y="560"/>
                  </a:lnTo>
                  <a:lnTo>
                    <a:pt x="182" y="560"/>
                  </a:lnTo>
                  <a:lnTo>
                    <a:pt x="182" y="559"/>
                  </a:lnTo>
                  <a:lnTo>
                    <a:pt x="182" y="559"/>
                  </a:lnTo>
                  <a:lnTo>
                    <a:pt x="182" y="559"/>
                  </a:lnTo>
                  <a:lnTo>
                    <a:pt x="183" y="558"/>
                  </a:lnTo>
                  <a:lnTo>
                    <a:pt x="182" y="557"/>
                  </a:lnTo>
                  <a:lnTo>
                    <a:pt x="182" y="557"/>
                  </a:lnTo>
                  <a:lnTo>
                    <a:pt x="180" y="555"/>
                  </a:lnTo>
                  <a:lnTo>
                    <a:pt x="180" y="555"/>
                  </a:lnTo>
                  <a:lnTo>
                    <a:pt x="182" y="555"/>
                  </a:lnTo>
                  <a:lnTo>
                    <a:pt x="183" y="555"/>
                  </a:lnTo>
                  <a:lnTo>
                    <a:pt x="184" y="555"/>
                  </a:lnTo>
                  <a:lnTo>
                    <a:pt x="184" y="554"/>
                  </a:lnTo>
                  <a:lnTo>
                    <a:pt x="185" y="552"/>
                  </a:lnTo>
                  <a:lnTo>
                    <a:pt x="186" y="548"/>
                  </a:lnTo>
                  <a:lnTo>
                    <a:pt x="188" y="548"/>
                  </a:lnTo>
                  <a:lnTo>
                    <a:pt x="190" y="547"/>
                  </a:lnTo>
                  <a:lnTo>
                    <a:pt x="191" y="547"/>
                  </a:lnTo>
                  <a:lnTo>
                    <a:pt x="191" y="548"/>
                  </a:lnTo>
                  <a:lnTo>
                    <a:pt x="192" y="546"/>
                  </a:lnTo>
                  <a:lnTo>
                    <a:pt x="192" y="546"/>
                  </a:lnTo>
                  <a:lnTo>
                    <a:pt x="192" y="545"/>
                  </a:lnTo>
                  <a:lnTo>
                    <a:pt x="192" y="545"/>
                  </a:lnTo>
                  <a:lnTo>
                    <a:pt x="191" y="544"/>
                  </a:lnTo>
                  <a:lnTo>
                    <a:pt x="191" y="543"/>
                  </a:lnTo>
                  <a:lnTo>
                    <a:pt x="192" y="542"/>
                  </a:lnTo>
                  <a:lnTo>
                    <a:pt x="192" y="540"/>
                  </a:lnTo>
                  <a:lnTo>
                    <a:pt x="192" y="538"/>
                  </a:lnTo>
                  <a:lnTo>
                    <a:pt x="192" y="537"/>
                  </a:lnTo>
                  <a:lnTo>
                    <a:pt x="192" y="536"/>
                  </a:lnTo>
                  <a:lnTo>
                    <a:pt x="194" y="536"/>
                  </a:lnTo>
                  <a:lnTo>
                    <a:pt x="195" y="535"/>
                  </a:lnTo>
                  <a:lnTo>
                    <a:pt x="197" y="533"/>
                  </a:lnTo>
                  <a:lnTo>
                    <a:pt x="198" y="531"/>
                  </a:lnTo>
                  <a:lnTo>
                    <a:pt x="199" y="530"/>
                  </a:lnTo>
                  <a:lnTo>
                    <a:pt x="201" y="530"/>
                  </a:lnTo>
                  <a:lnTo>
                    <a:pt x="202" y="530"/>
                  </a:lnTo>
                  <a:lnTo>
                    <a:pt x="202" y="530"/>
                  </a:lnTo>
                  <a:lnTo>
                    <a:pt x="202" y="531"/>
                  </a:lnTo>
                  <a:lnTo>
                    <a:pt x="202" y="531"/>
                  </a:lnTo>
                  <a:lnTo>
                    <a:pt x="202" y="531"/>
                  </a:lnTo>
                  <a:lnTo>
                    <a:pt x="202" y="532"/>
                  </a:lnTo>
                  <a:lnTo>
                    <a:pt x="202" y="532"/>
                  </a:lnTo>
                  <a:lnTo>
                    <a:pt x="203" y="531"/>
                  </a:lnTo>
                  <a:lnTo>
                    <a:pt x="205" y="530"/>
                  </a:lnTo>
                  <a:lnTo>
                    <a:pt x="206" y="529"/>
                  </a:lnTo>
                  <a:lnTo>
                    <a:pt x="207" y="528"/>
                  </a:lnTo>
                  <a:lnTo>
                    <a:pt x="208" y="527"/>
                  </a:lnTo>
                  <a:lnTo>
                    <a:pt x="209" y="527"/>
                  </a:lnTo>
                  <a:lnTo>
                    <a:pt x="210" y="527"/>
                  </a:lnTo>
                  <a:lnTo>
                    <a:pt x="212" y="527"/>
                  </a:lnTo>
                  <a:lnTo>
                    <a:pt x="213" y="527"/>
                  </a:lnTo>
                  <a:lnTo>
                    <a:pt x="215" y="525"/>
                  </a:lnTo>
                  <a:lnTo>
                    <a:pt x="217" y="524"/>
                  </a:lnTo>
                  <a:lnTo>
                    <a:pt x="221" y="522"/>
                  </a:lnTo>
                  <a:lnTo>
                    <a:pt x="223" y="521"/>
                  </a:lnTo>
                  <a:lnTo>
                    <a:pt x="224" y="520"/>
                  </a:lnTo>
                  <a:lnTo>
                    <a:pt x="224" y="518"/>
                  </a:lnTo>
                  <a:lnTo>
                    <a:pt x="224" y="517"/>
                  </a:lnTo>
                  <a:lnTo>
                    <a:pt x="224" y="517"/>
                  </a:lnTo>
                  <a:lnTo>
                    <a:pt x="224" y="517"/>
                  </a:lnTo>
                  <a:lnTo>
                    <a:pt x="224" y="516"/>
                  </a:lnTo>
                  <a:lnTo>
                    <a:pt x="225" y="516"/>
                  </a:lnTo>
                  <a:lnTo>
                    <a:pt x="228" y="516"/>
                  </a:lnTo>
                  <a:lnTo>
                    <a:pt x="228" y="516"/>
                  </a:lnTo>
                  <a:lnTo>
                    <a:pt x="229" y="516"/>
                  </a:lnTo>
                  <a:lnTo>
                    <a:pt x="229" y="516"/>
                  </a:lnTo>
                  <a:lnTo>
                    <a:pt x="231" y="516"/>
                  </a:lnTo>
                  <a:lnTo>
                    <a:pt x="232" y="517"/>
                  </a:lnTo>
                  <a:lnTo>
                    <a:pt x="233" y="517"/>
                  </a:lnTo>
                  <a:lnTo>
                    <a:pt x="232" y="520"/>
                  </a:lnTo>
                  <a:lnTo>
                    <a:pt x="231" y="522"/>
                  </a:lnTo>
                  <a:lnTo>
                    <a:pt x="231" y="522"/>
                  </a:lnTo>
                  <a:lnTo>
                    <a:pt x="231" y="522"/>
                  </a:lnTo>
                  <a:lnTo>
                    <a:pt x="231" y="522"/>
                  </a:lnTo>
                  <a:lnTo>
                    <a:pt x="231" y="523"/>
                  </a:lnTo>
                  <a:lnTo>
                    <a:pt x="229" y="523"/>
                  </a:lnTo>
                  <a:lnTo>
                    <a:pt x="228" y="524"/>
                  </a:lnTo>
                  <a:lnTo>
                    <a:pt x="227" y="525"/>
                  </a:lnTo>
                  <a:lnTo>
                    <a:pt x="227" y="527"/>
                  </a:lnTo>
                  <a:lnTo>
                    <a:pt x="228" y="529"/>
                  </a:lnTo>
                  <a:lnTo>
                    <a:pt x="229" y="529"/>
                  </a:lnTo>
                  <a:lnTo>
                    <a:pt x="230" y="530"/>
                  </a:lnTo>
                  <a:lnTo>
                    <a:pt x="231" y="530"/>
                  </a:lnTo>
                  <a:lnTo>
                    <a:pt x="231" y="532"/>
                  </a:lnTo>
                  <a:lnTo>
                    <a:pt x="231" y="533"/>
                  </a:lnTo>
                  <a:lnTo>
                    <a:pt x="230" y="533"/>
                  </a:lnTo>
                  <a:lnTo>
                    <a:pt x="229" y="533"/>
                  </a:lnTo>
                  <a:lnTo>
                    <a:pt x="229" y="533"/>
                  </a:lnTo>
                  <a:lnTo>
                    <a:pt x="228" y="533"/>
                  </a:lnTo>
                  <a:lnTo>
                    <a:pt x="228" y="535"/>
                  </a:lnTo>
                  <a:lnTo>
                    <a:pt x="229" y="536"/>
                  </a:lnTo>
                  <a:lnTo>
                    <a:pt x="229" y="537"/>
                  </a:lnTo>
                  <a:lnTo>
                    <a:pt x="229" y="538"/>
                  </a:lnTo>
                  <a:lnTo>
                    <a:pt x="228" y="538"/>
                  </a:lnTo>
                  <a:lnTo>
                    <a:pt x="227" y="538"/>
                  </a:lnTo>
                  <a:lnTo>
                    <a:pt x="225" y="539"/>
                  </a:lnTo>
                  <a:lnTo>
                    <a:pt x="224" y="539"/>
                  </a:lnTo>
                  <a:lnTo>
                    <a:pt x="224" y="540"/>
                  </a:lnTo>
                  <a:lnTo>
                    <a:pt x="223" y="543"/>
                  </a:lnTo>
                  <a:lnTo>
                    <a:pt x="224" y="544"/>
                  </a:lnTo>
                  <a:lnTo>
                    <a:pt x="224" y="545"/>
                  </a:lnTo>
                  <a:lnTo>
                    <a:pt x="225" y="545"/>
                  </a:lnTo>
                  <a:lnTo>
                    <a:pt x="227" y="546"/>
                  </a:lnTo>
                  <a:lnTo>
                    <a:pt x="227" y="546"/>
                  </a:lnTo>
                  <a:lnTo>
                    <a:pt x="228" y="548"/>
                  </a:lnTo>
                  <a:lnTo>
                    <a:pt x="228" y="548"/>
                  </a:lnTo>
                  <a:lnTo>
                    <a:pt x="229" y="550"/>
                  </a:lnTo>
                  <a:lnTo>
                    <a:pt x="230" y="550"/>
                  </a:lnTo>
                  <a:lnTo>
                    <a:pt x="231" y="548"/>
                  </a:lnTo>
                  <a:lnTo>
                    <a:pt x="233" y="547"/>
                  </a:lnTo>
                  <a:lnTo>
                    <a:pt x="233" y="547"/>
                  </a:lnTo>
                  <a:lnTo>
                    <a:pt x="235" y="546"/>
                  </a:lnTo>
                  <a:lnTo>
                    <a:pt x="235" y="543"/>
                  </a:lnTo>
                  <a:lnTo>
                    <a:pt x="233" y="540"/>
                  </a:lnTo>
                  <a:lnTo>
                    <a:pt x="232" y="539"/>
                  </a:lnTo>
                  <a:lnTo>
                    <a:pt x="232" y="539"/>
                  </a:lnTo>
                  <a:lnTo>
                    <a:pt x="232" y="539"/>
                  </a:lnTo>
                  <a:lnTo>
                    <a:pt x="231" y="538"/>
                  </a:lnTo>
                  <a:lnTo>
                    <a:pt x="230" y="537"/>
                  </a:lnTo>
                  <a:lnTo>
                    <a:pt x="231" y="536"/>
                  </a:lnTo>
                  <a:lnTo>
                    <a:pt x="231" y="535"/>
                  </a:lnTo>
                  <a:lnTo>
                    <a:pt x="231" y="535"/>
                  </a:lnTo>
                  <a:lnTo>
                    <a:pt x="231" y="533"/>
                  </a:lnTo>
                  <a:lnTo>
                    <a:pt x="232" y="532"/>
                  </a:lnTo>
                  <a:lnTo>
                    <a:pt x="232" y="530"/>
                  </a:lnTo>
                  <a:lnTo>
                    <a:pt x="235" y="529"/>
                  </a:lnTo>
                  <a:lnTo>
                    <a:pt x="237" y="528"/>
                  </a:lnTo>
                  <a:lnTo>
                    <a:pt x="239" y="527"/>
                  </a:lnTo>
                  <a:lnTo>
                    <a:pt x="242" y="527"/>
                  </a:lnTo>
                  <a:lnTo>
                    <a:pt x="243" y="525"/>
                  </a:lnTo>
                  <a:lnTo>
                    <a:pt x="244" y="524"/>
                  </a:lnTo>
                  <a:lnTo>
                    <a:pt x="244" y="524"/>
                  </a:lnTo>
                  <a:lnTo>
                    <a:pt x="245" y="523"/>
                  </a:lnTo>
                  <a:lnTo>
                    <a:pt x="246" y="524"/>
                  </a:lnTo>
                  <a:lnTo>
                    <a:pt x="246" y="523"/>
                  </a:lnTo>
                  <a:lnTo>
                    <a:pt x="246" y="523"/>
                  </a:lnTo>
                  <a:lnTo>
                    <a:pt x="246" y="522"/>
                  </a:lnTo>
                  <a:lnTo>
                    <a:pt x="245" y="522"/>
                  </a:lnTo>
                  <a:lnTo>
                    <a:pt x="243" y="522"/>
                  </a:lnTo>
                  <a:lnTo>
                    <a:pt x="242" y="522"/>
                  </a:lnTo>
                  <a:lnTo>
                    <a:pt x="242" y="522"/>
                  </a:lnTo>
                  <a:lnTo>
                    <a:pt x="242" y="521"/>
                  </a:lnTo>
                  <a:lnTo>
                    <a:pt x="242" y="520"/>
                  </a:lnTo>
                  <a:lnTo>
                    <a:pt x="242" y="518"/>
                  </a:lnTo>
                  <a:lnTo>
                    <a:pt x="243" y="517"/>
                  </a:lnTo>
                  <a:lnTo>
                    <a:pt x="245" y="517"/>
                  </a:lnTo>
                  <a:lnTo>
                    <a:pt x="246" y="518"/>
                  </a:lnTo>
                  <a:lnTo>
                    <a:pt x="246" y="520"/>
                  </a:lnTo>
                  <a:lnTo>
                    <a:pt x="247" y="522"/>
                  </a:lnTo>
                  <a:lnTo>
                    <a:pt x="247" y="523"/>
                  </a:lnTo>
                  <a:lnTo>
                    <a:pt x="248" y="524"/>
                  </a:lnTo>
                  <a:lnTo>
                    <a:pt x="250" y="524"/>
                  </a:lnTo>
                  <a:lnTo>
                    <a:pt x="252" y="525"/>
                  </a:lnTo>
                  <a:lnTo>
                    <a:pt x="253" y="525"/>
                  </a:lnTo>
                  <a:lnTo>
                    <a:pt x="254" y="524"/>
                  </a:lnTo>
                  <a:lnTo>
                    <a:pt x="254" y="524"/>
                  </a:lnTo>
                  <a:lnTo>
                    <a:pt x="255" y="524"/>
                  </a:lnTo>
                  <a:lnTo>
                    <a:pt x="257" y="525"/>
                  </a:lnTo>
                  <a:lnTo>
                    <a:pt x="258" y="527"/>
                  </a:lnTo>
                  <a:lnTo>
                    <a:pt x="259" y="528"/>
                  </a:lnTo>
                  <a:lnTo>
                    <a:pt x="260" y="529"/>
                  </a:lnTo>
                  <a:lnTo>
                    <a:pt x="260" y="530"/>
                  </a:lnTo>
                  <a:lnTo>
                    <a:pt x="259" y="530"/>
                  </a:lnTo>
                  <a:lnTo>
                    <a:pt x="259" y="531"/>
                  </a:lnTo>
                  <a:lnTo>
                    <a:pt x="259" y="531"/>
                  </a:lnTo>
                  <a:lnTo>
                    <a:pt x="261" y="532"/>
                  </a:lnTo>
                  <a:lnTo>
                    <a:pt x="263" y="532"/>
                  </a:lnTo>
                  <a:lnTo>
                    <a:pt x="268" y="532"/>
                  </a:lnTo>
                  <a:lnTo>
                    <a:pt x="272" y="532"/>
                  </a:lnTo>
                  <a:lnTo>
                    <a:pt x="275" y="532"/>
                  </a:lnTo>
                  <a:lnTo>
                    <a:pt x="279" y="532"/>
                  </a:lnTo>
                  <a:lnTo>
                    <a:pt x="281" y="533"/>
                  </a:lnTo>
                  <a:lnTo>
                    <a:pt x="282" y="533"/>
                  </a:lnTo>
                  <a:lnTo>
                    <a:pt x="281" y="535"/>
                  </a:lnTo>
                  <a:lnTo>
                    <a:pt x="281" y="536"/>
                  </a:lnTo>
                  <a:lnTo>
                    <a:pt x="282" y="537"/>
                  </a:lnTo>
                  <a:lnTo>
                    <a:pt x="284" y="537"/>
                  </a:lnTo>
                  <a:lnTo>
                    <a:pt x="288" y="537"/>
                  </a:lnTo>
                  <a:lnTo>
                    <a:pt x="292" y="537"/>
                  </a:lnTo>
                  <a:lnTo>
                    <a:pt x="295" y="537"/>
                  </a:lnTo>
                  <a:lnTo>
                    <a:pt x="296" y="536"/>
                  </a:lnTo>
                  <a:lnTo>
                    <a:pt x="297" y="536"/>
                  </a:lnTo>
                  <a:lnTo>
                    <a:pt x="297" y="535"/>
                  </a:lnTo>
                  <a:lnTo>
                    <a:pt x="297" y="533"/>
                  </a:lnTo>
                  <a:lnTo>
                    <a:pt x="298" y="533"/>
                  </a:lnTo>
                  <a:lnTo>
                    <a:pt x="300" y="532"/>
                  </a:lnTo>
                  <a:lnTo>
                    <a:pt x="303" y="532"/>
                  </a:lnTo>
                  <a:lnTo>
                    <a:pt x="304" y="532"/>
                  </a:lnTo>
                  <a:lnTo>
                    <a:pt x="305" y="531"/>
                  </a:lnTo>
                  <a:lnTo>
                    <a:pt x="306" y="531"/>
                  </a:lnTo>
                  <a:lnTo>
                    <a:pt x="307" y="531"/>
                  </a:lnTo>
                  <a:lnTo>
                    <a:pt x="310" y="532"/>
                  </a:lnTo>
                  <a:lnTo>
                    <a:pt x="314" y="532"/>
                  </a:lnTo>
                  <a:lnTo>
                    <a:pt x="314" y="532"/>
                  </a:lnTo>
                  <a:lnTo>
                    <a:pt x="312" y="533"/>
                  </a:lnTo>
                  <a:lnTo>
                    <a:pt x="310" y="533"/>
                  </a:lnTo>
                  <a:lnTo>
                    <a:pt x="306" y="533"/>
                  </a:lnTo>
                  <a:lnTo>
                    <a:pt x="306" y="535"/>
                  </a:lnTo>
                  <a:lnTo>
                    <a:pt x="307" y="535"/>
                  </a:lnTo>
                  <a:lnTo>
                    <a:pt x="307" y="536"/>
                  </a:lnTo>
                  <a:lnTo>
                    <a:pt x="309" y="538"/>
                  </a:lnTo>
                  <a:lnTo>
                    <a:pt x="310" y="540"/>
                  </a:lnTo>
                  <a:lnTo>
                    <a:pt x="311" y="540"/>
                  </a:lnTo>
                  <a:lnTo>
                    <a:pt x="313" y="540"/>
                  </a:lnTo>
                  <a:lnTo>
                    <a:pt x="315" y="542"/>
                  </a:lnTo>
                  <a:lnTo>
                    <a:pt x="317" y="543"/>
                  </a:lnTo>
                  <a:lnTo>
                    <a:pt x="317" y="544"/>
                  </a:lnTo>
                  <a:lnTo>
                    <a:pt x="319" y="545"/>
                  </a:lnTo>
                  <a:lnTo>
                    <a:pt x="320" y="546"/>
                  </a:lnTo>
                  <a:lnTo>
                    <a:pt x="321" y="547"/>
                  </a:lnTo>
                  <a:lnTo>
                    <a:pt x="321" y="550"/>
                  </a:lnTo>
                  <a:lnTo>
                    <a:pt x="322" y="551"/>
                  </a:lnTo>
                  <a:lnTo>
                    <a:pt x="322" y="551"/>
                  </a:lnTo>
                  <a:lnTo>
                    <a:pt x="324" y="551"/>
                  </a:lnTo>
                  <a:lnTo>
                    <a:pt x="324" y="551"/>
                  </a:lnTo>
                  <a:lnTo>
                    <a:pt x="324" y="552"/>
                  </a:lnTo>
                  <a:lnTo>
                    <a:pt x="324" y="552"/>
                  </a:lnTo>
                  <a:lnTo>
                    <a:pt x="324" y="552"/>
                  </a:lnTo>
                  <a:lnTo>
                    <a:pt x="325" y="552"/>
                  </a:lnTo>
                  <a:lnTo>
                    <a:pt x="325" y="553"/>
                  </a:lnTo>
                  <a:lnTo>
                    <a:pt x="326" y="554"/>
                  </a:lnTo>
                  <a:lnTo>
                    <a:pt x="326" y="554"/>
                  </a:lnTo>
                  <a:lnTo>
                    <a:pt x="325" y="555"/>
                  </a:lnTo>
                  <a:lnTo>
                    <a:pt x="325" y="555"/>
                  </a:lnTo>
                  <a:lnTo>
                    <a:pt x="322" y="555"/>
                  </a:lnTo>
                  <a:lnTo>
                    <a:pt x="320" y="555"/>
                  </a:lnTo>
                  <a:lnTo>
                    <a:pt x="322" y="555"/>
                  </a:lnTo>
                  <a:lnTo>
                    <a:pt x="325" y="557"/>
                  </a:lnTo>
                  <a:lnTo>
                    <a:pt x="326" y="557"/>
                  </a:lnTo>
                  <a:lnTo>
                    <a:pt x="326" y="555"/>
                  </a:lnTo>
                  <a:lnTo>
                    <a:pt x="327" y="557"/>
                  </a:lnTo>
                  <a:lnTo>
                    <a:pt x="328" y="557"/>
                  </a:lnTo>
                  <a:lnTo>
                    <a:pt x="330" y="559"/>
                  </a:lnTo>
                  <a:lnTo>
                    <a:pt x="333" y="558"/>
                  </a:lnTo>
                  <a:lnTo>
                    <a:pt x="334" y="558"/>
                  </a:lnTo>
                  <a:lnTo>
                    <a:pt x="336" y="559"/>
                  </a:lnTo>
                  <a:lnTo>
                    <a:pt x="339" y="561"/>
                  </a:lnTo>
                  <a:lnTo>
                    <a:pt x="341" y="563"/>
                  </a:lnTo>
                  <a:lnTo>
                    <a:pt x="343" y="566"/>
                  </a:lnTo>
                  <a:lnTo>
                    <a:pt x="344" y="567"/>
                  </a:lnTo>
                  <a:lnTo>
                    <a:pt x="345" y="569"/>
                  </a:lnTo>
                  <a:lnTo>
                    <a:pt x="345" y="570"/>
                  </a:lnTo>
                  <a:lnTo>
                    <a:pt x="345" y="572"/>
                  </a:lnTo>
                  <a:lnTo>
                    <a:pt x="344" y="574"/>
                  </a:lnTo>
                  <a:lnTo>
                    <a:pt x="345" y="574"/>
                  </a:lnTo>
                  <a:lnTo>
                    <a:pt x="345" y="574"/>
                  </a:lnTo>
                  <a:lnTo>
                    <a:pt x="345" y="574"/>
                  </a:lnTo>
                  <a:lnTo>
                    <a:pt x="347" y="574"/>
                  </a:lnTo>
                  <a:lnTo>
                    <a:pt x="348" y="575"/>
                  </a:lnTo>
                  <a:lnTo>
                    <a:pt x="350" y="576"/>
                  </a:lnTo>
                  <a:lnTo>
                    <a:pt x="351" y="577"/>
                  </a:lnTo>
                  <a:lnTo>
                    <a:pt x="351" y="579"/>
                  </a:lnTo>
                  <a:lnTo>
                    <a:pt x="351" y="580"/>
                  </a:lnTo>
                  <a:lnTo>
                    <a:pt x="351" y="580"/>
                  </a:lnTo>
                  <a:lnTo>
                    <a:pt x="352" y="581"/>
                  </a:lnTo>
                  <a:lnTo>
                    <a:pt x="354" y="581"/>
                  </a:lnTo>
                  <a:lnTo>
                    <a:pt x="355" y="582"/>
                  </a:lnTo>
                  <a:lnTo>
                    <a:pt x="355" y="583"/>
                  </a:lnTo>
                  <a:lnTo>
                    <a:pt x="354" y="584"/>
                  </a:lnTo>
                  <a:lnTo>
                    <a:pt x="354" y="587"/>
                  </a:lnTo>
                  <a:lnTo>
                    <a:pt x="352" y="588"/>
                  </a:lnTo>
                  <a:lnTo>
                    <a:pt x="351" y="589"/>
                  </a:lnTo>
                  <a:lnTo>
                    <a:pt x="351" y="590"/>
                  </a:lnTo>
                  <a:lnTo>
                    <a:pt x="351" y="589"/>
                  </a:lnTo>
                  <a:lnTo>
                    <a:pt x="352" y="589"/>
                  </a:lnTo>
                  <a:lnTo>
                    <a:pt x="354" y="587"/>
                  </a:lnTo>
                  <a:lnTo>
                    <a:pt x="355" y="584"/>
                  </a:lnTo>
                  <a:lnTo>
                    <a:pt x="357" y="583"/>
                  </a:lnTo>
                  <a:lnTo>
                    <a:pt x="359" y="584"/>
                  </a:lnTo>
                  <a:lnTo>
                    <a:pt x="362" y="584"/>
                  </a:lnTo>
                  <a:lnTo>
                    <a:pt x="363" y="585"/>
                  </a:lnTo>
                  <a:lnTo>
                    <a:pt x="365" y="587"/>
                  </a:lnTo>
                  <a:lnTo>
                    <a:pt x="367" y="587"/>
                  </a:lnTo>
                  <a:lnTo>
                    <a:pt x="369" y="585"/>
                  </a:lnTo>
                  <a:lnTo>
                    <a:pt x="370" y="585"/>
                  </a:lnTo>
                  <a:lnTo>
                    <a:pt x="371" y="585"/>
                  </a:lnTo>
                  <a:lnTo>
                    <a:pt x="372" y="587"/>
                  </a:lnTo>
                  <a:lnTo>
                    <a:pt x="372" y="587"/>
                  </a:lnTo>
                  <a:lnTo>
                    <a:pt x="374" y="585"/>
                  </a:lnTo>
                  <a:lnTo>
                    <a:pt x="375" y="585"/>
                  </a:lnTo>
                  <a:lnTo>
                    <a:pt x="377" y="585"/>
                  </a:lnTo>
                  <a:lnTo>
                    <a:pt x="378" y="584"/>
                  </a:lnTo>
                  <a:lnTo>
                    <a:pt x="385" y="587"/>
                  </a:lnTo>
                  <a:lnTo>
                    <a:pt x="385" y="587"/>
                  </a:lnTo>
                  <a:lnTo>
                    <a:pt x="387" y="587"/>
                  </a:lnTo>
                  <a:lnTo>
                    <a:pt x="388" y="588"/>
                  </a:lnTo>
                  <a:lnTo>
                    <a:pt x="389" y="589"/>
                  </a:lnTo>
                  <a:lnTo>
                    <a:pt x="390" y="589"/>
                  </a:lnTo>
                  <a:lnTo>
                    <a:pt x="393" y="589"/>
                  </a:lnTo>
                  <a:lnTo>
                    <a:pt x="394" y="590"/>
                  </a:lnTo>
                  <a:lnTo>
                    <a:pt x="395" y="591"/>
                  </a:lnTo>
                  <a:lnTo>
                    <a:pt x="396" y="592"/>
                  </a:lnTo>
                  <a:lnTo>
                    <a:pt x="396" y="594"/>
                  </a:lnTo>
                  <a:lnTo>
                    <a:pt x="397" y="594"/>
                  </a:lnTo>
                  <a:lnTo>
                    <a:pt x="397" y="594"/>
                  </a:lnTo>
                  <a:lnTo>
                    <a:pt x="399" y="595"/>
                  </a:lnTo>
                  <a:lnTo>
                    <a:pt x="400" y="596"/>
                  </a:lnTo>
                  <a:lnTo>
                    <a:pt x="401" y="596"/>
                  </a:lnTo>
                  <a:lnTo>
                    <a:pt x="401" y="596"/>
                  </a:lnTo>
                  <a:lnTo>
                    <a:pt x="402" y="597"/>
                  </a:lnTo>
                  <a:lnTo>
                    <a:pt x="402" y="598"/>
                  </a:lnTo>
                  <a:lnTo>
                    <a:pt x="403" y="599"/>
                  </a:lnTo>
                  <a:lnTo>
                    <a:pt x="403" y="599"/>
                  </a:lnTo>
                  <a:lnTo>
                    <a:pt x="403" y="600"/>
                  </a:lnTo>
                  <a:lnTo>
                    <a:pt x="404" y="602"/>
                  </a:lnTo>
                  <a:lnTo>
                    <a:pt x="404" y="602"/>
                  </a:lnTo>
                  <a:lnTo>
                    <a:pt x="404" y="602"/>
                  </a:lnTo>
                  <a:lnTo>
                    <a:pt x="406" y="602"/>
                  </a:lnTo>
                  <a:lnTo>
                    <a:pt x="407" y="603"/>
                  </a:lnTo>
                  <a:lnTo>
                    <a:pt x="408" y="605"/>
                  </a:lnTo>
                  <a:lnTo>
                    <a:pt x="409" y="607"/>
                  </a:lnTo>
                  <a:lnTo>
                    <a:pt x="409" y="607"/>
                  </a:lnTo>
                  <a:lnTo>
                    <a:pt x="410" y="607"/>
                  </a:lnTo>
                  <a:lnTo>
                    <a:pt x="410" y="606"/>
                  </a:lnTo>
                  <a:lnTo>
                    <a:pt x="410" y="606"/>
                  </a:lnTo>
                  <a:lnTo>
                    <a:pt x="410" y="605"/>
                  </a:lnTo>
                  <a:lnTo>
                    <a:pt x="410" y="606"/>
                  </a:lnTo>
                  <a:lnTo>
                    <a:pt x="411" y="607"/>
                  </a:lnTo>
                  <a:lnTo>
                    <a:pt x="411" y="614"/>
                  </a:lnTo>
                  <a:lnTo>
                    <a:pt x="409" y="617"/>
                  </a:lnTo>
                  <a:lnTo>
                    <a:pt x="407" y="620"/>
                  </a:lnTo>
                  <a:lnTo>
                    <a:pt x="406" y="625"/>
                  </a:lnTo>
                  <a:lnTo>
                    <a:pt x="406" y="628"/>
                  </a:lnTo>
                  <a:lnTo>
                    <a:pt x="406" y="663"/>
                  </a:lnTo>
                  <a:lnTo>
                    <a:pt x="404" y="663"/>
                  </a:lnTo>
                  <a:lnTo>
                    <a:pt x="404" y="663"/>
                  </a:lnTo>
                  <a:lnTo>
                    <a:pt x="404" y="664"/>
                  </a:lnTo>
                  <a:lnTo>
                    <a:pt x="404" y="664"/>
                  </a:lnTo>
                  <a:lnTo>
                    <a:pt x="406" y="665"/>
                  </a:lnTo>
                  <a:lnTo>
                    <a:pt x="406" y="665"/>
                  </a:lnTo>
                  <a:lnTo>
                    <a:pt x="406" y="665"/>
                  </a:lnTo>
                  <a:lnTo>
                    <a:pt x="406" y="667"/>
                  </a:lnTo>
                  <a:lnTo>
                    <a:pt x="406" y="671"/>
                  </a:lnTo>
                  <a:lnTo>
                    <a:pt x="406" y="677"/>
                  </a:lnTo>
                  <a:lnTo>
                    <a:pt x="406" y="686"/>
                  </a:lnTo>
                  <a:lnTo>
                    <a:pt x="406" y="697"/>
                  </a:lnTo>
                  <a:lnTo>
                    <a:pt x="404" y="714"/>
                  </a:lnTo>
                  <a:lnTo>
                    <a:pt x="404" y="734"/>
                  </a:lnTo>
                  <a:lnTo>
                    <a:pt x="403" y="760"/>
                  </a:lnTo>
                  <a:lnTo>
                    <a:pt x="403" y="792"/>
                  </a:lnTo>
                  <a:lnTo>
                    <a:pt x="402" y="829"/>
                  </a:lnTo>
                  <a:lnTo>
                    <a:pt x="402" y="874"/>
                  </a:lnTo>
                  <a:lnTo>
                    <a:pt x="401" y="926"/>
                  </a:lnTo>
                  <a:lnTo>
                    <a:pt x="401" y="931"/>
                  </a:lnTo>
                  <a:lnTo>
                    <a:pt x="402" y="934"/>
                  </a:lnTo>
                  <a:lnTo>
                    <a:pt x="404" y="938"/>
                  </a:lnTo>
                  <a:lnTo>
                    <a:pt x="408" y="942"/>
                  </a:lnTo>
                  <a:lnTo>
                    <a:pt x="410" y="946"/>
                  </a:lnTo>
                  <a:lnTo>
                    <a:pt x="414" y="948"/>
                  </a:lnTo>
                  <a:lnTo>
                    <a:pt x="418" y="949"/>
                  </a:lnTo>
                  <a:lnTo>
                    <a:pt x="423" y="950"/>
                  </a:lnTo>
                  <a:lnTo>
                    <a:pt x="423" y="950"/>
                  </a:lnTo>
                  <a:lnTo>
                    <a:pt x="425" y="950"/>
                  </a:lnTo>
                  <a:lnTo>
                    <a:pt x="430" y="952"/>
                  </a:lnTo>
                  <a:lnTo>
                    <a:pt x="438" y="952"/>
                  </a:lnTo>
                  <a:lnTo>
                    <a:pt x="453" y="953"/>
                  </a:lnTo>
                  <a:lnTo>
                    <a:pt x="449" y="955"/>
                  </a:lnTo>
                  <a:lnTo>
                    <a:pt x="448" y="957"/>
                  </a:lnTo>
                  <a:lnTo>
                    <a:pt x="447" y="958"/>
                  </a:lnTo>
                  <a:lnTo>
                    <a:pt x="447" y="960"/>
                  </a:lnTo>
                  <a:lnTo>
                    <a:pt x="447" y="962"/>
                  </a:lnTo>
                  <a:lnTo>
                    <a:pt x="448" y="963"/>
                  </a:lnTo>
                  <a:lnTo>
                    <a:pt x="447" y="964"/>
                  </a:lnTo>
                  <a:lnTo>
                    <a:pt x="446" y="967"/>
                  </a:lnTo>
                  <a:lnTo>
                    <a:pt x="445" y="970"/>
                  </a:lnTo>
                  <a:lnTo>
                    <a:pt x="445" y="973"/>
                  </a:lnTo>
                  <a:lnTo>
                    <a:pt x="445" y="976"/>
                  </a:lnTo>
                  <a:lnTo>
                    <a:pt x="445" y="978"/>
                  </a:lnTo>
                  <a:lnTo>
                    <a:pt x="444" y="982"/>
                  </a:lnTo>
                  <a:lnTo>
                    <a:pt x="440" y="984"/>
                  </a:lnTo>
                  <a:lnTo>
                    <a:pt x="439" y="985"/>
                  </a:lnTo>
                  <a:lnTo>
                    <a:pt x="438" y="986"/>
                  </a:lnTo>
                  <a:lnTo>
                    <a:pt x="437" y="987"/>
                  </a:lnTo>
                  <a:lnTo>
                    <a:pt x="437" y="988"/>
                  </a:lnTo>
                  <a:lnTo>
                    <a:pt x="437" y="990"/>
                  </a:lnTo>
                  <a:lnTo>
                    <a:pt x="437" y="991"/>
                  </a:lnTo>
                  <a:lnTo>
                    <a:pt x="437" y="993"/>
                  </a:lnTo>
                  <a:lnTo>
                    <a:pt x="434" y="994"/>
                  </a:lnTo>
                  <a:lnTo>
                    <a:pt x="432" y="997"/>
                  </a:lnTo>
                  <a:lnTo>
                    <a:pt x="429" y="1000"/>
                  </a:lnTo>
                  <a:lnTo>
                    <a:pt x="426" y="1002"/>
                  </a:lnTo>
                  <a:lnTo>
                    <a:pt x="423" y="1005"/>
                  </a:lnTo>
                  <a:lnTo>
                    <a:pt x="419" y="1006"/>
                  </a:lnTo>
                  <a:lnTo>
                    <a:pt x="416" y="1007"/>
                  </a:lnTo>
                  <a:lnTo>
                    <a:pt x="414" y="1006"/>
                  </a:lnTo>
                  <a:lnTo>
                    <a:pt x="411" y="1005"/>
                  </a:lnTo>
                  <a:lnTo>
                    <a:pt x="409" y="1004"/>
                  </a:lnTo>
                  <a:lnTo>
                    <a:pt x="407" y="1004"/>
                  </a:lnTo>
                  <a:lnTo>
                    <a:pt x="406" y="1004"/>
                  </a:lnTo>
                  <a:lnTo>
                    <a:pt x="404" y="1004"/>
                  </a:lnTo>
                  <a:lnTo>
                    <a:pt x="403" y="1004"/>
                  </a:lnTo>
                  <a:lnTo>
                    <a:pt x="402" y="1004"/>
                  </a:lnTo>
                  <a:lnTo>
                    <a:pt x="401" y="1002"/>
                  </a:lnTo>
                  <a:lnTo>
                    <a:pt x="400" y="1002"/>
                  </a:lnTo>
                  <a:lnTo>
                    <a:pt x="397" y="1001"/>
                  </a:lnTo>
                  <a:lnTo>
                    <a:pt x="395" y="1001"/>
                  </a:lnTo>
                  <a:lnTo>
                    <a:pt x="394" y="1000"/>
                  </a:lnTo>
                  <a:lnTo>
                    <a:pt x="392" y="1000"/>
                  </a:lnTo>
                  <a:lnTo>
                    <a:pt x="390" y="998"/>
                  </a:lnTo>
                  <a:lnTo>
                    <a:pt x="389" y="995"/>
                  </a:lnTo>
                  <a:lnTo>
                    <a:pt x="388" y="991"/>
                  </a:lnTo>
                  <a:lnTo>
                    <a:pt x="387" y="994"/>
                  </a:lnTo>
                  <a:lnTo>
                    <a:pt x="387" y="995"/>
                  </a:lnTo>
                  <a:lnTo>
                    <a:pt x="388" y="998"/>
                  </a:lnTo>
                  <a:lnTo>
                    <a:pt x="389" y="999"/>
                  </a:lnTo>
                  <a:lnTo>
                    <a:pt x="389" y="1000"/>
                  </a:lnTo>
                  <a:lnTo>
                    <a:pt x="389" y="1000"/>
                  </a:lnTo>
                  <a:lnTo>
                    <a:pt x="389" y="1001"/>
                  </a:lnTo>
                  <a:lnTo>
                    <a:pt x="388" y="1001"/>
                  </a:lnTo>
                  <a:lnTo>
                    <a:pt x="388" y="1002"/>
                  </a:lnTo>
                  <a:lnTo>
                    <a:pt x="389" y="1002"/>
                  </a:lnTo>
                  <a:lnTo>
                    <a:pt x="392" y="1004"/>
                  </a:lnTo>
                  <a:lnTo>
                    <a:pt x="394" y="1005"/>
                  </a:lnTo>
                  <a:lnTo>
                    <a:pt x="397" y="1006"/>
                  </a:lnTo>
                  <a:lnTo>
                    <a:pt x="401" y="1008"/>
                  </a:lnTo>
                  <a:lnTo>
                    <a:pt x="403" y="1009"/>
                  </a:lnTo>
                  <a:lnTo>
                    <a:pt x="406" y="1012"/>
                  </a:lnTo>
                  <a:lnTo>
                    <a:pt x="406" y="1014"/>
                  </a:lnTo>
                  <a:lnTo>
                    <a:pt x="406" y="1017"/>
                  </a:lnTo>
                  <a:lnTo>
                    <a:pt x="407" y="1019"/>
                  </a:lnTo>
                  <a:lnTo>
                    <a:pt x="408" y="1021"/>
                  </a:lnTo>
                  <a:lnTo>
                    <a:pt x="409" y="1021"/>
                  </a:lnTo>
                  <a:lnTo>
                    <a:pt x="410" y="1022"/>
                  </a:lnTo>
                  <a:lnTo>
                    <a:pt x="411" y="1022"/>
                  </a:lnTo>
                  <a:lnTo>
                    <a:pt x="412" y="1022"/>
                  </a:lnTo>
                  <a:lnTo>
                    <a:pt x="412" y="1022"/>
                  </a:lnTo>
                  <a:lnTo>
                    <a:pt x="414" y="1025"/>
                  </a:lnTo>
                  <a:lnTo>
                    <a:pt x="414" y="1027"/>
                  </a:lnTo>
                  <a:lnTo>
                    <a:pt x="414" y="1028"/>
                  </a:lnTo>
                  <a:lnTo>
                    <a:pt x="412" y="1029"/>
                  </a:lnTo>
                  <a:lnTo>
                    <a:pt x="411" y="1030"/>
                  </a:lnTo>
                  <a:lnTo>
                    <a:pt x="411" y="1031"/>
                  </a:lnTo>
                  <a:lnTo>
                    <a:pt x="409" y="1036"/>
                  </a:lnTo>
                  <a:lnTo>
                    <a:pt x="408" y="1038"/>
                  </a:lnTo>
                  <a:lnTo>
                    <a:pt x="406" y="1039"/>
                  </a:lnTo>
                  <a:lnTo>
                    <a:pt x="403" y="1040"/>
                  </a:lnTo>
                  <a:lnTo>
                    <a:pt x="401" y="1040"/>
                  </a:lnTo>
                  <a:lnTo>
                    <a:pt x="399" y="1042"/>
                  </a:lnTo>
                  <a:lnTo>
                    <a:pt x="390" y="1045"/>
                  </a:lnTo>
                  <a:lnTo>
                    <a:pt x="385" y="1046"/>
                  </a:lnTo>
                  <a:lnTo>
                    <a:pt x="381" y="1045"/>
                  </a:lnTo>
                  <a:lnTo>
                    <a:pt x="379" y="1045"/>
                  </a:lnTo>
                  <a:lnTo>
                    <a:pt x="378" y="1045"/>
                  </a:lnTo>
                  <a:lnTo>
                    <a:pt x="377" y="1044"/>
                  </a:lnTo>
                  <a:lnTo>
                    <a:pt x="377" y="1043"/>
                  </a:lnTo>
                  <a:lnTo>
                    <a:pt x="377" y="1043"/>
                  </a:lnTo>
                  <a:lnTo>
                    <a:pt x="375" y="1043"/>
                  </a:lnTo>
                  <a:lnTo>
                    <a:pt x="375" y="1044"/>
                  </a:lnTo>
                  <a:lnTo>
                    <a:pt x="374" y="1044"/>
                  </a:lnTo>
                  <a:lnTo>
                    <a:pt x="374" y="1045"/>
                  </a:lnTo>
                  <a:lnTo>
                    <a:pt x="374" y="1046"/>
                  </a:lnTo>
                  <a:lnTo>
                    <a:pt x="375" y="1046"/>
                  </a:lnTo>
                  <a:lnTo>
                    <a:pt x="377" y="1047"/>
                  </a:lnTo>
                  <a:lnTo>
                    <a:pt x="377" y="1047"/>
                  </a:lnTo>
                  <a:lnTo>
                    <a:pt x="377" y="1049"/>
                  </a:lnTo>
                  <a:lnTo>
                    <a:pt x="377" y="1050"/>
                  </a:lnTo>
                  <a:lnTo>
                    <a:pt x="378" y="1050"/>
                  </a:lnTo>
                  <a:lnTo>
                    <a:pt x="379" y="1052"/>
                  </a:lnTo>
                  <a:lnTo>
                    <a:pt x="380" y="1052"/>
                  </a:lnTo>
                  <a:lnTo>
                    <a:pt x="379" y="1053"/>
                  </a:lnTo>
                  <a:lnTo>
                    <a:pt x="378" y="1053"/>
                  </a:lnTo>
                  <a:lnTo>
                    <a:pt x="377" y="1054"/>
                  </a:lnTo>
                  <a:lnTo>
                    <a:pt x="377" y="1055"/>
                  </a:lnTo>
                  <a:lnTo>
                    <a:pt x="377" y="1058"/>
                  </a:lnTo>
                  <a:lnTo>
                    <a:pt x="377" y="1059"/>
                  </a:lnTo>
                  <a:lnTo>
                    <a:pt x="378" y="1060"/>
                  </a:lnTo>
                  <a:lnTo>
                    <a:pt x="379" y="1061"/>
                  </a:lnTo>
                  <a:lnTo>
                    <a:pt x="378" y="1062"/>
                  </a:lnTo>
                  <a:lnTo>
                    <a:pt x="377" y="1064"/>
                  </a:lnTo>
                  <a:lnTo>
                    <a:pt x="374" y="1065"/>
                  </a:lnTo>
                  <a:lnTo>
                    <a:pt x="371" y="1066"/>
                  </a:lnTo>
                  <a:lnTo>
                    <a:pt x="369" y="1066"/>
                  </a:lnTo>
                  <a:lnTo>
                    <a:pt x="367" y="1066"/>
                  </a:lnTo>
                  <a:lnTo>
                    <a:pt x="364" y="1065"/>
                  </a:lnTo>
                  <a:lnTo>
                    <a:pt x="362" y="1064"/>
                  </a:lnTo>
                  <a:lnTo>
                    <a:pt x="360" y="1064"/>
                  </a:lnTo>
                  <a:lnTo>
                    <a:pt x="359" y="1064"/>
                  </a:lnTo>
                  <a:lnTo>
                    <a:pt x="360" y="1062"/>
                  </a:lnTo>
                  <a:lnTo>
                    <a:pt x="360" y="1062"/>
                  </a:lnTo>
                  <a:lnTo>
                    <a:pt x="359" y="1061"/>
                  </a:lnTo>
                  <a:lnTo>
                    <a:pt x="358" y="1062"/>
                  </a:lnTo>
                  <a:lnTo>
                    <a:pt x="357" y="1062"/>
                  </a:lnTo>
                  <a:lnTo>
                    <a:pt x="357" y="1064"/>
                  </a:lnTo>
                  <a:lnTo>
                    <a:pt x="357" y="1065"/>
                  </a:lnTo>
                  <a:lnTo>
                    <a:pt x="358" y="1066"/>
                  </a:lnTo>
                  <a:lnTo>
                    <a:pt x="360" y="1068"/>
                  </a:lnTo>
                  <a:lnTo>
                    <a:pt x="362" y="1069"/>
                  </a:lnTo>
                  <a:lnTo>
                    <a:pt x="363" y="1072"/>
                  </a:lnTo>
                  <a:lnTo>
                    <a:pt x="362" y="1073"/>
                  </a:lnTo>
                  <a:lnTo>
                    <a:pt x="362" y="1074"/>
                  </a:lnTo>
                  <a:lnTo>
                    <a:pt x="362" y="1075"/>
                  </a:lnTo>
                  <a:lnTo>
                    <a:pt x="363" y="1076"/>
                  </a:lnTo>
                  <a:lnTo>
                    <a:pt x="365" y="1076"/>
                  </a:lnTo>
                  <a:lnTo>
                    <a:pt x="366" y="1076"/>
                  </a:lnTo>
                  <a:lnTo>
                    <a:pt x="366" y="1077"/>
                  </a:lnTo>
                  <a:lnTo>
                    <a:pt x="367" y="1077"/>
                  </a:lnTo>
                  <a:lnTo>
                    <a:pt x="369" y="1076"/>
                  </a:lnTo>
                  <a:lnTo>
                    <a:pt x="370" y="1075"/>
                  </a:lnTo>
                  <a:lnTo>
                    <a:pt x="370" y="1075"/>
                  </a:lnTo>
                  <a:lnTo>
                    <a:pt x="370" y="1075"/>
                  </a:lnTo>
                  <a:lnTo>
                    <a:pt x="369" y="1075"/>
                  </a:lnTo>
                  <a:lnTo>
                    <a:pt x="369" y="1075"/>
                  </a:lnTo>
                  <a:lnTo>
                    <a:pt x="371" y="1075"/>
                  </a:lnTo>
                  <a:lnTo>
                    <a:pt x="373" y="1075"/>
                  </a:lnTo>
                  <a:lnTo>
                    <a:pt x="373" y="1075"/>
                  </a:lnTo>
                  <a:lnTo>
                    <a:pt x="373" y="1076"/>
                  </a:lnTo>
                  <a:lnTo>
                    <a:pt x="373" y="1076"/>
                  </a:lnTo>
                  <a:lnTo>
                    <a:pt x="373" y="1077"/>
                  </a:lnTo>
                  <a:lnTo>
                    <a:pt x="372" y="1079"/>
                  </a:lnTo>
                  <a:lnTo>
                    <a:pt x="373" y="1079"/>
                  </a:lnTo>
                  <a:lnTo>
                    <a:pt x="373" y="1080"/>
                  </a:lnTo>
                  <a:lnTo>
                    <a:pt x="372" y="1081"/>
                  </a:lnTo>
                  <a:lnTo>
                    <a:pt x="371" y="1081"/>
                  </a:lnTo>
                  <a:lnTo>
                    <a:pt x="371" y="1080"/>
                  </a:lnTo>
                  <a:lnTo>
                    <a:pt x="370" y="1080"/>
                  </a:lnTo>
                  <a:lnTo>
                    <a:pt x="369" y="1079"/>
                  </a:lnTo>
                  <a:lnTo>
                    <a:pt x="367" y="1080"/>
                  </a:lnTo>
                  <a:lnTo>
                    <a:pt x="365" y="1080"/>
                  </a:lnTo>
                  <a:lnTo>
                    <a:pt x="364" y="1080"/>
                  </a:lnTo>
                  <a:lnTo>
                    <a:pt x="364" y="1080"/>
                  </a:lnTo>
                  <a:lnTo>
                    <a:pt x="364" y="1080"/>
                  </a:lnTo>
                  <a:lnTo>
                    <a:pt x="366" y="1081"/>
                  </a:lnTo>
                  <a:lnTo>
                    <a:pt x="367" y="1081"/>
                  </a:lnTo>
                  <a:lnTo>
                    <a:pt x="370" y="1081"/>
                  </a:lnTo>
                  <a:lnTo>
                    <a:pt x="371" y="1082"/>
                  </a:lnTo>
                  <a:lnTo>
                    <a:pt x="371" y="1082"/>
                  </a:lnTo>
                  <a:lnTo>
                    <a:pt x="370" y="1082"/>
                  </a:lnTo>
                  <a:lnTo>
                    <a:pt x="369" y="1083"/>
                  </a:lnTo>
                  <a:lnTo>
                    <a:pt x="367" y="1083"/>
                  </a:lnTo>
                  <a:lnTo>
                    <a:pt x="367" y="1083"/>
                  </a:lnTo>
                  <a:lnTo>
                    <a:pt x="367" y="1086"/>
                  </a:lnTo>
                  <a:lnTo>
                    <a:pt x="367" y="1087"/>
                  </a:lnTo>
                  <a:lnTo>
                    <a:pt x="367" y="1087"/>
                  </a:lnTo>
                  <a:lnTo>
                    <a:pt x="367" y="1088"/>
                  </a:lnTo>
                  <a:lnTo>
                    <a:pt x="366" y="1088"/>
                  </a:lnTo>
                  <a:lnTo>
                    <a:pt x="366" y="1089"/>
                  </a:lnTo>
                  <a:lnTo>
                    <a:pt x="367" y="1090"/>
                  </a:lnTo>
                  <a:lnTo>
                    <a:pt x="369" y="1092"/>
                  </a:lnTo>
                  <a:lnTo>
                    <a:pt x="369" y="1094"/>
                  </a:lnTo>
                  <a:lnTo>
                    <a:pt x="367" y="1094"/>
                  </a:lnTo>
                  <a:lnTo>
                    <a:pt x="367" y="1095"/>
                  </a:lnTo>
                  <a:lnTo>
                    <a:pt x="366" y="1095"/>
                  </a:lnTo>
                  <a:lnTo>
                    <a:pt x="366" y="1096"/>
                  </a:lnTo>
                  <a:lnTo>
                    <a:pt x="367" y="1097"/>
                  </a:lnTo>
                  <a:lnTo>
                    <a:pt x="367" y="1098"/>
                  </a:lnTo>
                  <a:lnTo>
                    <a:pt x="367" y="1099"/>
                  </a:lnTo>
                  <a:lnTo>
                    <a:pt x="366" y="1099"/>
                  </a:lnTo>
                  <a:lnTo>
                    <a:pt x="364" y="1099"/>
                  </a:lnTo>
                  <a:lnTo>
                    <a:pt x="363" y="1099"/>
                  </a:lnTo>
                  <a:lnTo>
                    <a:pt x="362" y="1101"/>
                  </a:lnTo>
                  <a:lnTo>
                    <a:pt x="360" y="1101"/>
                  </a:lnTo>
                  <a:lnTo>
                    <a:pt x="359" y="1102"/>
                  </a:lnTo>
                  <a:lnTo>
                    <a:pt x="359" y="1103"/>
                  </a:lnTo>
                  <a:lnTo>
                    <a:pt x="358" y="1103"/>
                  </a:lnTo>
                  <a:lnTo>
                    <a:pt x="357" y="1104"/>
                  </a:lnTo>
                  <a:lnTo>
                    <a:pt x="357" y="1106"/>
                  </a:lnTo>
                  <a:lnTo>
                    <a:pt x="356" y="1109"/>
                  </a:lnTo>
                  <a:lnTo>
                    <a:pt x="356" y="1110"/>
                  </a:lnTo>
                  <a:lnTo>
                    <a:pt x="357" y="1111"/>
                  </a:lnTo>
                  <a:lnTo>
                    <a:pt x="358" y="1112"/>
                  </a:lnTo>
                  <a:lnTo>
                    <a:pt x="359" y="1113"/>
                  </a:lnTo>
                  <a:lnTo>
                    <a:pt x="360" y="1113"/>
                  </a:lnTo>
                  <a:lnTo>
                    <a:pt x="362" y="1114"/>
                  </a:lnTo>
                  <a:lnTo>
                    <a:pt x="364" y="1117"/>
                  </a:lnTo>
                  <a:lnTo>
                    <a:pt x="365" y="1118"/>
                  </a:lnTo>
                  <a:lnTo>
                    <a:pt x="366" y="1118"/>
                  </a:lnTo>
                  <a:lnTo>
                    <a:pt x="367" y="1118"/>
                  </a:lnTo>
                  <a:lnTo>
                    <a:pt x="369" y="1117"/>
                  </a:lnTo>
                  <a:lnTo>
                    <a:pt x="370" y="1117"/>
                  </a:lnTo>
                  <a:lnTo>
                    <a:pt x="371" y="1118"/>
                  </a:lnTo>
                  <a:lnTo>
                    <a:pt x="372" y="1120"/>
                  </a:lnTo>
                  <a:lnTo>
                    <a:pt x="373" y="1121"/>
                  </a:lnTo>
                  <a:lnTo>
                    <a:pt x="373" y="1122"/>
                  </a:lnTo>
                  <a:lnTo>
                    <a:pt x="373" y="1124"/>
                  </a:lnTo>
                  <a:lnTo>
                    <a:pt x="373" y="1124"/>
                  </a:lnTo>
                  <a:lnTo>
                    <a:pt x="372" y="1124"/>
                  </a:lnTo>
                  <a:lnTo>
                    <a:pt x="355" y="1113"/>
                  </a:lnTo>
                  <a:lnTo>
                    <a:pt x="337" y="1103"/>
                  </a:lnTo>
                  <a:lnTo>
                    <a:pt x="321" y="1091"/>
                  </a:lnTo>
                  <a:lnTo>
                    <a:pt x="304" y="1080"/>
                  </a:lnTo>
                  <a:lnTo>
                    <a:pt x="303" y="1079"/>
                  </a:lnTo>
                  <a:lnTo>
                    <a:pt x="303" y="1077"/>
                  </a:lnTo>
                  <a:lnTo>
                    <a:pt x="304" y="1076"/>
                  </a:lnTo>
                  <a:lnTo>
                    <a:pt x="304" y="1076"/>
                  </a:lnTo>
                  <a:lnTo>
                    <a:pt x="304" y="1075"/>
                  </a:lnTo>
                  <a:lnTo>
                    <a:pt x="303" y="1075"/>
                  </a:lnTo>
                  <a:lnTo>
                    <a:pt x="302" y="1073"/>
                  </a:lnTo>
                  <a:lnTo>
                    <a:pt x="302" y="1072"/>
                  </a:lnTo>
                  <a:lnTo>
                    <a:pt x="302" y="1070"/>
                  </a:lnTo>
                  <a:lnTo>
                    <a:pt x="300" y="1070"/>
                  </a:lnTo>
                  <a:lnTo>
                    <a:pt x="299" y="1069"/>
                  </a:lnTo>
                  <a:lnTo>
                    <a:pt x="298" y="1068"/>
                  </a:lnTo>
                  <a:lnTo>
                    <a:pt x="297" y="1068"/>
                  </a:lnTo>
                  <a:lnTo>
                    <a:pt x="297" y="1068"/>
                  </a:lnTo>
                  <a:lnTo>
                    <a:pt x="296" y="1069"/>
                  </a:lnTo>
                  <a:lnTo>
                    <a:pt x="296" y="1069"/>
                  </a:lnTo>
                  <a:lnTo>
                    <a:pt x="295" y="1068"/>
                  </a:lnTo>
                  <a:lnTo>
                    <a:pt x="295" y="1068"/>
                  </a:lnTo>
                  <a:lnTo>
                    <a:pt x="294" y="1068"/>
                  </a:lnTo>
                  <a:lnTo>
                    <a:pt x="294" y="1069"/>
                  </a:lnTo>
                  <a:lnTo>
                    <a:pt x="294" y="1069"/>
                  </a:lnTo>
                  <a:lnTo>
                    <a:pt x="292" y="1067"/>
                  </a:lnTo>
                  <a:lnTo>
                    <a:pt x="292" y="1065"/>
                  </a:lnTo>
                  <a:lnTo>
                    <a:pt x="292" y="1064"/>
                  </a:lnTo>
                  <a:lnTo>
                    <a:pt x="292" y="1061"/>
                  </a:lnTo>
                  <a:lnTo>
                    <a:pt x="291" y="1060"/>
                  </a:lnTo>
                  <a:lnTo>
                    <a:pt x="290" y="1057"/>
                  </a:lnTo>
                  <a:lnTo>
                    <a:pt x="289" y="1055"/>
                  </a:lnTo>
                  <a:lnTo>
                    <a:pt x="289" y="1054"/>
                  </a:lnTo>
                  <a:lnTo>
                    <a:pt x="289" y="1054"/>
                  </a:lnTo>
                  <a:lnTo>
                    <a:pt x="289" y="1053"/>
                  </a:lnTo>
                  <a:lnTo>
                    <a:pt x="290" y="1053"/>
                  </a:lnTo>
                  <a:lnTo>
                    <a:pt x="291" y="1052"/>
                  </a:lnTo>
                  <a:lnTo>
                    <a:pt x="291" y="1051"/>
                  </a:lnTo>
                  <a:lnTo>
                    <a:pt x="291" y="1050"/>
                  </a:lnTo>
                  <a:lnTo>
                    <a:pt x="290" y="1047"/>
                  </a:lnTo>
                  <a:lnTo>
                    <a:pt x="289" y="1045"/>
                  </a:lnTo>
                  <a:lnTo>
                    <a:pt x="287" y="1043"/>
                  </a:lnTo>
                  <a:lnTo>
                    <a:pt x="287" y="1040"/>
                  </a:lnTo>
                  <a:lnTo>
                    <a:pt x="285" y="1038"/>
                  </a:lnTo>
                  <a:lnTo>
                    <a:pt x="285" y="1036"/>
                  </a:lnTo>
                  <a:lnTo>
                    <a:pt x="284" y="1036"/>
                  </a:lnTo>
                  <a:lnTo>
                    <a:pt x="284" y="1036"/>
                  </a:lnTo>
                  <a:lnTo>
                    <a:pt x="284" y="1036"/>
                  </a:lnTo>
                  <a:lnTo>
                    <a:pt x="284" y="1035"/>
                  </a:lnTo>
                  <a:lnTo>
                    <a:pt x="283" y="1035"/>
                  </a:lnTo>
                  <a:lnTo>
                    <a:pt x="282" y="1032"/>
                  </a:lnTo>
                  <a:lnTo>
                    <a:pt x="280" y="1030"/>
                  </a:lnTo>
                  <a:lnTo>
                    <a:pt x="279" y="1029"/>
                  </a:lnTo>
                  <a:lnTo>
                    <a:pt x="279" y="1027"/>
                  </a:lnTo>
                  <a:lnTo>
                    <a:pt x="279" y="1025"/>
                  </a:lnTo>
                  <a:lnTo>
                    <a:pt x="279" y="1024"/>
                  </a:lnTo>
                  <a:lnTo>
                    <a:pt x="280" y="1024"/>
                  </a:lnTo>
                  <a:lnTo>
                    <a:pt x="280" y="1024"/>
                  </a:lnTo>
                  <a:lnTo>
                    <a:pt x="280" y="1024"/>
                  </a:lnTo>
                  <a:lnTo>
                    <a:pt x="280" y="1025"/>
                  </a:lnTo>
                  <a:lnTo>
                    <a:pt x="280" y="1027"/>
                  </a:lnTo>
                  <a:lnTo>
                    <a:pt x="281" y="1027"/>
                  </a:lnTo>
                  <a:lnTo>
                    <a:pt x="282" y="1028"/>
                  </a:lnTo>
                  <a:lnTo>
                    <a:pt x="282" y="1028"/>
                  </a:lnTo>
                  <a:lnTo>
                    <a:pt x="283" y="1027"/>
                  </a:lnTo>
                  <a:lnTo>
                    <a:pt x="283" y="1025"/>
                  </a:lnTo>
                  <a:lnTo>
                    <a:pt x="282" y="1024"/>
                  </a:lnTo>
                  <a:lnTo>
                    <a:pt x="281" y="1022"/>
                  </a:lnTo>
                  <a:lnTo>
                    <a:pt x="281" y="1021"/>
                  </a:lnTo>
                  <a:lnTo>
                    <a:pt x="282" y="1020"/>
                  </a:lnTo>
                  <a:lnTo>
                    <a:pt x="282" y="1020"/>
                  </a:lnTo>
                  <a:lnTo>
                    <a:pt x="282" y="1020"/>
                  </a:lnTo>
                  <a:lnTo>
                    <a:pt x="282" y="1019"/>
                  </a:lnTo>
                  <a:lnTo>
                    <a:pt x="281" y="1017"/>
                  </a:lnTo>
                  <a:lnTo>
                    <a:pt x="281" y="1016"/>
                  </a:lnTo>
                  <a:lnTo>
                    <a:pt x="281" y="1015"/>
                  </a:lnTo>
                  <a:lnTo>
                    <a:pt x="282" y="1015"/>
                  </a:lnTo>
                  <a:lnTo>
                    <a:pt x="282" y="1015"/>
                  </a:lnTo>
                  <a:lnTo>
                    <a:pt x="282" y="1014"/>
                  </a:lnTo>
                  <a:lnTo>
                    <a:pt x="282" y="1012"/>
                  </a:lnTo>
                  <a:lnTo>
                    <a:pt x="281" y="1010"/>
                  </a:lnTo>
                  <a:lnTo>
                    <a:pt x="281" y="1009"/>
                  </a:lnTo>
                  <a:lnTo>
                    <a:pt x="281" y="1009"/>
                  </a:lnTo>
                  <a:lnTo>
                    <a:pt x="282" y="1009"/>
                  </a:lnTo>
                  <a:lnTo>
                    <a:pt x="283" y="1009"/>
                  </a:lnTo>
                  <a:lnTo>
                    <a:pt x="283" y="1008"/>
                  </a:lnTo>
                  <a:lnTo>
                    <a:pt x="283" y="1007"/>
                  </a:lnTo>
                  <a:lnTo>
                    <a:pt x="283" y="1005"/>
                  </a:lnTo>
                  <a:lnTo>
                    <a:pt x="283" y="1002"/>
                  </a:lnTo>
                  <a:lnTo>
                    <a:pt x="283" y="1000"/>
                  </a:lnTo>
                  <a:lnTo>
                    <a:pt x="283" y="998"/>
                  </a:lnTo>
                  <a:lnTo>
                    <a:pt x="283" y="997"/>
                  </a:lnTo>
                  <a:lnTo>
                    <a:pt x="284" y="995"/>
                  </a:lnTo>
                  <a:lnTo>
                    <a:pt x="283" y="993"/>
                  </a:lnTo>
                  <a:lnTo>
                    <a:pt x="282" y="991"/>
                  </a:lnTo>
                  <a:lnTo>
                    <a:pt x="281" y="988"/>
                  </a:lnTo>
                  <a:lnTo>
                    <a:pt x="281" y="987"/>
                  </a:lnTo>
                  <a:lnTo>
                    <a:pt x="280" y="985"/>
                  </a:lnTo>
                  <a:lnTo>
                    <a:pt x="280" y="984"/>
                  </a:lnTo>
                  <a:lnTo>
                    <a:pt x="279" y="980"/>
                  </a:lnTo>
                  <a:lnTo>
                    <a:pt x="274" y="971"/>
                  </a:lnTo>
                  <a:lnTo>
                    <a:pt x="272" y="963"/>
                  </a:lnTo>
                  <a:lnTo>
                    <a:pt x="272" y="957"/>
                  </a:lnTo>
                  <a:lnTo>
                    <a:pt x="270" y="957"/>
                  </a:lnTo>
                  <a:lnTo>
                    <a:pt x="270" y="957"/>
                  </a:lnTo>
                  <a:lnTo>
                    <a:pt x="272" y="957"/>
                  </a:lnTo>
                  <a:lnTo>
                    <a:pt x="272" y="958"/>
                  </a:lnTo>
                  <a:lnTo>
                    <a:pt x="273" y="958"/>
                  </a:lnTo>
                  <a:lnTo>
                    <a:pt x="273" y="957"/>
                  </a:lnTo>
                  <a:lnTo>
                    <a:pt x="273" y="957"/>
                  </a:lnTo>
                  <a:lnTo>
                    <a:pt x="272" y="957"/>
                  </a:lnTo>
                  <a:lnTo>
                    <a:pt x="272" y="957"/>
                  </a:lnTo>
                  <a:lnTo>
                    <a:pt x="273" y="956"/>
                  </a:lnTo>
                  <a:lnTo>
                    <a:pt x="273" y="955"/>
                  </a:lnTo>
                  <a:lnTo>
                    <a:pt x="274" y="956"/>
                  </a:lnTo>
                  <a:lnTo>
                    <a:pt x="274" y="956"/>
                  </a:lnTo>
                  <a:lnTo>
                    <a:pt x="274" y="956"/>
                  </a:lnTo>
                  <a:lnTo>
                    <a:pt x="275" y="956"/>
                  </a:lnTo>
                  <a:lnTo>
                    <a:pt x="274" y="955"/>
                  </a:lnTo>
                  <a:lnTo>
                    <a:pt x="274" y="954"/>
                  </a:lnTo>
                  <a:lnTo>
                    <a:pt x="274" y="954"/>
                  </a:lnTo>
                  <a:lnTo>
                    <a:pt x="273" y="954"/>
                  </a:lnTo>
                  <a:lnTo>
                    <a:pt x="273" y="953"/>
                  </a:lnTo>
                  <a:lnTo>
                    <a:pt x="273" y="952"/>
                  </a:lnTo>
                  <a:lnTo>
                    <a:pt x="273" y="950"/>
                  </a:lnTo>
                  <a:lnTo>
                    <a:pt x="272" y="950"/>
                  </a:lnTo>
                  <a:lnTo>
                    <a:pt x="270" y="950"/>
                  </a:lnTo>
                  <a:lnTo>
                    <a:pt x="270" y="949"/>
                  </a:lnTo>
                  <a:lnTo>
                    <a:pt x="269" y="948"/>
                  </a:lnTo>
                  <a:lnTo>
                    <a:pt x="269" y="947"/>
                  </a:lnTo>
                  <a:lnTo>
                    <a:pt x="269" y="945"/>
                  </a:lnTo>
                  <a:lnTo>
                    <a:pt x="269" y="940"/>
                  </a:lnTo>
                  <a:lnTo>
                    <a:pt x="269" y="922"/>
                  </a:lnTo>
                  <a:lnTo>
                    <a:pt x="269" y="917"/>
                  </a:lnTo>
                  <a:lnTo>
                    <a:pt x="269" y="915"/>
                  </a:lnTo>
                  <a:lnTo>
                    <a:pt x="270" y="913"/>
                  </a:lnTo>
                  <a:lnTo>
                    <a:pt x="270" y="912"/>
                  </a:lnTo>
                  <a:lnTo>
                    <a:pt x="270" y="911"/>
                  </a:lnTo>
                  <a:lnTo>
                    <a:pt x="269" y="911"/>
                  </a:lnTo>
                  <a:lnTo>
                    <a:pt x="268" y="910"/>
                  </a:lnTo>
                  <a:lnTo>
                    <a:pt x="268" y="909"/>
                  </a:lnTo>
                  <a:lnTo>
                    <a:pt x="268" y="908"/>
                  </a:lnTo>
                  <a:lnTo>
                    <a:pt x="268" y="908"/>
                  </a:lnTo>
                  <a:lnTo>
                    <a:pt x="269" y="906"/>
                  </a:lnTo>
                  <a:lnTo>
                    <a:pt x="268" y="905"/>
                  </a:lnTo>
                  <a:lnTo>
                    <a:pt x="268" y="904"/>
                  </a:lnTo>
                  <a:lnTo>
                    <a:pt x="267" y="902"/>
                  </a:lnTo>
                  <a:lnTo>
                    <a:pt x="267" y="900"/>
                  </a:lnTo>
                  <a:lnTo>
                    <a:pt x="267" y="898"/>
                  </a:lnTo>
                  <a:lnTo>
                    <a:pt x="266" y="897"/>
                  </a:lnTo>
                  <a:lnTo>
                    <a:pt x="266" y="895"/>
                  </a:lnTo>
                  <a:lnTo>
                    <a:pt x="263" y="894"/>
                  </a:lnTo>
                  <a:lnTo>
                    <a:pt x="263" y="893"/>
                  </a:lnTo>
                  <a:lnTo>
                    <a:pt x="262" y="891"/>
                  </a:lnTo>
                  <a:lnTo>
                    <a:pt x="263" y="891"/>
                  </a:lnTo>
                  <a:lnTo>
                    <a:pt x="263" y="891"/>
                  </a:lnTo>
                  <a:lnTo>
                    <a:pt x="265" y="891"/>
                  </a:lnTo>
                  <a:lnTo>
                    <a:pt x="265" y="890"/>
                  </a:lnTo>
                  <a:lnTo>
                    <a:pt x="266" y="888"/>
                  </a:lnTo>
                  <a:lnTo>
                    <a:pt x="266" y="885"/>
                  </a:lnTo>
                  <a:lnTo>
                    <a:pt x="266" y="882"/>
                  </a:lnTo>
                  <a:lnTo>
                    <a:pt x="265" y="881"/>
                  </a:lnTo>
                  <a:lnTo>
                    <a:pt x="265" y="881"/>
                  </a:lnTo>
                  <a:lnTo>
                    <a:pt x="263" y="881"/>
                  </a:lnTo>
                  <a:lnTo>
                    <a:pt x="263" y="881"/>
                  </a:lnTo>
                  <a:lnTo>
                    <a:pt x="263" y="881"/>
                  </a:lnTo>
                  <a:lnTo>
                    <a:pt x="263" y="879"/>
                  </a:lnTo>
                  <a:lnTo>
                    <a:pt x="265" y="876"/>
                  </a:lnTo>
                  <a:lnTo>
                    <a:pt x="265" y="875"/>
                  </a:lnTo>
                  <a:lnTo>
                    <a:pt x="265" y="874"/>
                  </a:lnTo>
                  <a:lnTo>
                    <a:pt x="265" y="874"/>
                  </a:lnTo>
                  <a:lnTo>
                    <a:pt x="263" y="873"/>
                  </a:lnTo>
                  <a:lnTo>
                    <a:pt x="263" y="871"/>
                  </a:lnTo>
                  <a:lnTo>
                    <a:pt x="262" y="868"/>
                  </a:lnTo>
                  <a:lnTo>
                    <a:pt x="261" y="867"/>
                  </a:lnTo>
                  <a:lnTo>
                    <a:pt x="261" y="866"/>
                  </a:lnTo>
                  <a:lnTo>
                    <a:pt x="261" y="866"/>
                  </a:lnTo>
                  <a:lnTo>
                    <a:pt x="261" y="866"/>
                  </a:lnTo>
                  <a:lnTo>
                    <a:pt x="262" y="866"/>
                  </a:lnTo>
                  <a:lnTo>
                    <a:pt x="262" y="866"/>
                  </a:lnTo>
                  <a:lnTo>
                    <a:pt x="262" y="866"/>
                  </a:lnTo>
                  <a:lnTo>
                    <a:pt x="262" y="865"/>
                  </a:lnTo>
                  <a:lnTo>
                    <a:pt x="261" y="861"/>
                  </a:lnTo>
                  <a:lnTo>
                    <a:pt x="260" y="859"/>
                  </a:lnTo>
                  <a:lnTo>
                    <a:pt x="260" y="857"/>
                  </a:lnTo>
                  <a:lnTo>
                    <a:pt x="259" y="855"/>
                  </a:lnTo>
                  <a:lnTo>
                    <a:pt x="258" y="853"/>
                  </a:lnTo>
                  <a:lnTo>
                    <a:pt x="258" y="852"/>
                  </a:lnTo>
                  <a:lnTo>
                    <a:pt x="258" y="851"/>
                  </a:lnTo>
                  <a:lnTo>
                    <a:pt x="258" y="850"/>
                  </a:lnTo>
                  <a:lnTo>
                    <a:pt x="258" y="850"/>
                  </a:lnTo>
                  <a:lnTo>
                    <a:pt x="258" y="849"/>
                  </a:lnTo>
                  <a:lnTo>
                    <a:pt x="257" y="848"/>
                  </a:lnTo>
                  <a:lnTo>
                    <a:pt x="255" y="845"/>
                  </a:lnTo>
                  <a:lnTo>
                    <a:pt x="255" y="844"/>
                  </a:lnTo>
                  <a:lnTo>
                    <a:pt x="254" y="843"/>
                  </a:lnTo>
                  <a:lnTo>
                    <a:pt x="254" y="843"/>
                  </a:lnTo>
                  <a:lnTo>
                    <a:pt x="254" y="843"/>
                  </a:lnTo>
                  <a:lnTo>
                    <a:pt x="253" y="843"/>
                  </a:lnTo>
                  <a:lnTo>
                    <a:pt x="251" y="841"/>
                  </a:lnTo>
                  <a:lnTo>
                    <a:pt x="248" y="838"/>
                  </a:lnTo>
                  <a:lnTo>
                    <a:pt x="246" y="836"/>
                  </a:lnTo>
                  <a:lnTo>
                    <a:pt x="245" y="834"/>
                  </a:lnTo>
                  <a:lnTo>
                    <a:pt x="242" y="830"/>
                  </a:lnTo>
                  <a:lnTo>
                    <a:pt x="236" y="827"/>
                  </a:lnTo>
                  <a:lnTo>
                    <a:pt x="229" y="823"/>
                  </a:lnTo>
                  <a:lnTo>
                    <a:pt x="225" y="822"/>
                  </a:lnTo>
                  <a:lnTo>
                    <a:pt x="222" y="820"/>
                  </a:lnTo>
                  <a:lnTo>
                    <a:pt x="218" y="818"/>
                  </a:lnTo>
                  <a:lnTo>
                    <a:pt x="215" y="816"/>
                  </a:lnTo>
                  <a:lnTo>
                    <a:pt x="213" y="815"/>
                  </a:lnTo>
                  <a:lnTo>
                    <a:pt x="210" y="813"/>
                  </a:lnTo>
                  <a:lnTo>
                    <a:pt x="208" y="812"/>
                  </a:lnTo>
                  <a:lnTo>
                    <a:pt x="206" y="809"/>
                  </a:lnTo>
                  <a:lnTo>
                    <a:pt x="203" y="808"/>
                  </a:lnTo>
                  <a:lnTo>
                    <a:pt x="202" y="807"/>
                  </a:lnTo>
                  <a:lnTo>
                    <a:pt x="201" y="805"/>
                  </a:lnTo>
                  <a:lnTo>
                    <a:pt x="198" y="801"/>
                  </a:lnTo>
                  <a:lnTo>
                    <a:pt x="195" y="800"/>
                  </a:lnTo>
                  <a:lnTo>
                    <a:pt x="193" y="798"/>
                  </a:lnTo>
                  <a:lnTo>
                    <a:pt x="191" y="796"/>
                  </a:lnTo>
                  <a:lnTo>
                    <a:pt x="191" y="794"/>
                  </a:lnTo>
                  <a:lnTo>
                    <a:pt x="191" y="794"/>
                  </a:lnTo>
                  <a:lnTo>
                    <a:pt x="191" y="794"/>
                  </a:lnTo>
                  <a:lnTo>
                    <a:pt x="192" y="796"/>
                  </a:lnTo>
                  <a:lnTo>
                    <a:pt x="193" y="796"/>
                  </a:lnTo>
                  <a:lnTo>
                    <a:pt x="194" y="796"/>
                  </a:lnTo>
                  <a:lnTo>
                    <a:pt x="194" y="796"/>
                  </a:lnTo>
                  <a:lnTo>
                    <a:pt x="193" y="793"/>
                  </a:lnTo>
                  <a:lnTo>
                    <a:pt x="192" y="792"/>
                  </a:lnTo>
                  <a:lnTo>
                    <a:pt x="191" y="790"/>
                  </a:lnTo>
                  <a:lnTo>
                    <a:pt x="190" y="788"/>
                  </a:lnTo>
                  <a:lnTo>
                    <a:pt x="188" y="785"/>
                  </a:lnTo>
                  <a:lnTo>
                    <a:pt x="188" y="783"/>
                  </a:lnTo>
                  <a:lnTo>
                    <a:pt x="190" y="782"/>
                  </a:lnTo>
                  <a:lnTo>
                    <a:pt x="190" y="781"/>
                  </a:lnTo>
                  <a:lnTo>
                    <a:pt x="188" y="781"/>
                  </a:lnTo>
                  <a:lnTo>
                    <a:pt x="187" y="779"/>
                  </a:lnTo>
                  <a:lnTo>
                    <a:pt x="186" y="778"/>
                  </a:lnTo>
                  <a:lnTo>
                    <a:pt x="185" y="776"/>
                  </a:lnTo>
                  <a:lnTo>
                    <a:pt x="185" y="774"/>
                  </a:lnTo>
                  <a:lnTo>
                    <a:pt x="184" y="771"/>
                  </a:lnTo>
                  <a:lnTo>
                    <a:pt x="183" y="770"/>
                  </a:lnTo>
                  <a:lnTo>
                    <a:pt x="182" y="768"/>
                  </a:lnTo>
                  <a:lnTo>
                    <a:pt x="180" y="764"/>
                  </a:lnTo>
                  <a:lnTo>
                    <a:pt x="175" y="754"/>
                  </a:lnTo>
                  <a:lnTo>
                    <a:pt x="170" y="741"/>
                  </a:lnTo>
                  <a:lnTo>
                    <a:pt x="169" y="739"/>
                  </a:lnTo>
                  <a:lnTo>
                    <a:pt x="167" y="737"/>
                  </a:lnTo>
                  <a:lnTo>
                    <a:pt x="167" y="736"/>
                  </a:lnTo>
                  <a:lnTo>
                    <a:pt x="165" y="736"/>
                  </a:lnTo>
                  <a:lnTo>
                    <a:pt x="165" y="736"/>
                  </a:lnTo>
                  <a:lnTo>
                    <a:pt x="164" y="736"/>
                  </a:lnTo>
                  <a:lnTo>
                    <a:pt x="164" y="734"/>
                  </a:lnTo>
                  <a:lnTo>
                    <a:pt x="163" y="732"/>
                  </a:lnTo>
                  <a:lnTo>
                    <a:pt x="161" y="730"/>
                  </a:lnTo>
                  <a:lnTo>
                    <a:pt x="158" y="729"/>
                  </a:lnTo>
                  <a:lnTo>
                    <a:pt x="157" y="726"/>
                  </a:lnTo>
                  <a:lnTo>
                    <a:pt x="157" y="724"/>
                  </a:lnTo>
                  <a:lnTo>
                    <a:pt x="156" y="724"/>
                  </a:lnTo>
                  <a:lnTo>
                    <a:pt x="155" y="723"/>
                  </a:lnTo>
                  <a:lnTo>
                    <a:pt x="154" y="723"/>
                  </a:lnTo>
                  <a:lnTo>
                    <a:pt x="153" y="722"/>
                  </a:lnTo>
                  <a:lnTo>
                    <a:pt x="150" y="719"/>
                  </a:lnTo>
                  <a:lnTo>
                    <a:pt x="147" y="717"/>
                  </a:lnTo>
                  <a:lnTo>
                    <a:pt x="146" y="714"/>
                  </a:lnTo>
                  <a:lnTo>
                    <a:pt x="145" y="711"/>
                  </a:lnTo>
                  <a:lnTo>
                    <a:pt x="145" y="710"/>
                  </a:lnTo>
                  <a:lnTo>
                    <a:pt x="145" y="709"/>
                  </a:lnTo>
                  <a:lnTo>
                    <a:pt x="146" y="708"/>
                  </a:lnTo>
                  <a:lnTo>
                    <a:pt x="145" y="707"/>
                  </a:lnTo>
                  <a:lnTo>
                    <a:pt x="143" y="707"/>
                  </a:lnTo>
                  <a:lnTo>
                    <a:pt x="143" y="706"/>
                  </a:lnTo>
                  <a:lnTo>
                    <a:pt x="145" y="706"/>
                  </a:lnTo>
                  <a:lnTo>
                    <a:pt x="145" y="704"/>
                  </a:lnTo>
                  <a:lnTo>
                    <a:pt x="143" y="703"/>
                  </a:lnTo>
                  <a:lnTo>
                    <a:pt x="141" y="701"/>
                  </a:lnTo>
                  <a:lnTo>
                    <a:pt x="140" y="700"/>
                  </a:lnTo>
                  <a:lnTo>
                    <a:pt x="140" y="697"/>
                  </a:lnTo>
                  <a:lnTo>
                    <a:pt x="140" y="697"/>
                  </a:lnTo>
                  <a:lnTo>
                    <a:pt x="140" y="696"/>
                  </a:lnTo>
                  <a:lnTo>
                    <a:pt x="140" y="696"/>
                  </a:lnTo>
                  <a:lnTo>
                    <a:pt x="141" y="696"/>
                  </a:lnTo>
                  <a:lnTo>
                    <a:pt x="141" y="696"/>
                  </a:lnTo>
                  <a:lnTo>
                    <a:pt x="141" y="696"/>
                  </a:lnTo>
                  <a:lnTo>
                    <a:pt x="141" y="694"/>
                  </a:lnTo>
                  <a:lnTo>
                    <a:pt x="141" y="693"/>
                  </a:lnTo>
                  <a:lnTo>
                    <a:pt x="142" y="693"/>
                  </a:lnTo>
                  <a:lnTo>
                    <a:pt x="142" y="692"/>
                  </a:lnTo>
                  <a:lnTo>
                    <a:pt x="141" y="691"/>
                  </a:lnTo>
                  <a:lnTo>
                    <a:pt x="141" y="691"/>
                  </a:lnTo>
                  <a:lnTo>
                    <a:pt x="142" y="689"/>
                  </a:lnTo>
                  <a:lnTo>
                    <a:pt x="143" y="688"/>
                  </a:lnTo>
                  <a:lnTo>
                    <a:pt x="145" y="687"/>
                  </a:lnTo>
                  <a:lnTo>
                    <a:pt x="146" y="686"/>
                  </a:lnTo>
                  <a:lnTo>
                    <a:pt x="147" y="686"/>
                  </a:lnTo>
                  <a:lnTo>
                    <a:pt x="148" y="686"/>
                  </a:lnTo>
                  <a:lnTo>
                    <a:pt x="148" y="686"/>
                  </a:lnTo>
                  <a:lnTo>
                    <a:pt x="149" y="684"/>
                  </a:lnTo>
                  <a:lnTo>
                    <a:pt x="150" y="681"/>
                  </a:lnTo>
                  <a:lnTo>
                    <a:pt x="153" y="679"/>
                  </a:lnTo>
                  <a:lnTo>
                    <a:pt x="154" y="677"/>
                  </a:lnTo>
                  <a:lnTo>
                    <a:pt x="154" y="677"/>
                  </a:lnTo>
                  <a:lnTo>
                    <a:pt x="154" y="676"/>
                  </a:lnTo>
                  <a:lnTo>
                    <a:pt x="153" y="674"/>
                  </a:lnTo>
                  <a:lnTo>
                    <a:pt x="153" y="674"/>
                  </a:lnTo>
                  <a:lnTo>
                    <a:pt x="153" y="673"/>
                  </a:lnTo>
                  <a:lnTo>
                    <a:pt x="152" y="673"/>
                  </a:lnTo>
                  <a:lnTo>
                    <a:pt x="152" y="673"/>
                  </a:lnTo>
                  <a:lnTo>
                    <a:pt x="150" y="673"/>
                  </a:lnTo>
                  <a:lnTo>
                    <a:pt x="149" y="674"/>
                  </a:lnTo>
                  <a:lnTo>
                    <a:pt x="149" y="676"/>
                  </a:lnTo>
                  <a:lnTo>
                    <a:pt x="149" y="677"/>
                  </a:lnTo>
                  <a:lnTo>
                    <a:pt x="148" y="677"/>
                  </a:lnTo>
                  <a:lnTo>
                    <a:pt x="148" y="677"/>
                  </a:lnTo>
                  <a:lnTo>
                    <a:pt x="148" y="677"/>
                  </a:lnTo>
                  <a:lnTo>
                    <a:pt x="147" y="676"/>
                  </a:lnTo>
                  <a:lnTo>
                    <a:pt x="147" y="674"/>
                  </a:lnTo>
                  <a:lnTo>
                    <a:pt x="146" y="674"/>
                  </a:lnTo>
                  <a:lnTo>
                    <a:pt x="146" y="674"/>
                  </a:lnTo>
                  <a:lnTo>
                    <a:pt x="146" y="674"/>
                  </a:lnTo>
                  <a:lnTo>
                    <a:pt x="146" y="674"/>
                  </a:lnTo>
                  <a:lnTo>
                    <a:pt x="147" y="673"/>
                  </a:lnTo>
                  <a:lnTo>
                    <a:pt x="147" y="673"/>
                  </a:lnTo>
                  <a:lnTo>
                    <a:pt x="147" y="672"/>
                  </a:lnTo>
                  <a:lnTo>
                    <a:pt x="146" y="672"/>
                  </a:lnTo>
                  <a:lnTo>
                    <a:pt x="146" y="672"/>
                  </a:lnTo>
                  <a:lnTo>
                    <a:pt x="146" y="672"/>
                  </a:lnTo>
                  <a:lnTo>
                    <a:pt x="146" y="671"/>
                  </a:lnTo>
                  <a:lnTo>
                    <a:pt x="146" y="671"/>
                  </a:lnTo>
                  <a:lnTo>
                    <a:pt x="145" y="670"/>
                  </a:lnTo>
                  <a:lnTo>
                    <a:pt x="145" y="670"/>
                  </a:lnTo>
                  <a:lnTo>
                    <a:pt x="145" y="669"/>
                  </a:lnTo>
                  <a:lnTo>
                    <a:pt x="146" y="669"/>
                  </a:lnTo>
                  <a:lnTo>
                    <a:pt x="146" y="667"/>
                  </a:lnTo>
                  <a:lnTo>
                    <a:pt x="146" y="666"/>
                  </a:lnTo>
                  <a:lnTo>
                    <a:pt x="146" y="665"/>
                  </a:lnTo>
                  <a:lnTo>
                    <a:pt x="146" y="665"/>
                  </a:lnTo>
                  <a:lnTo>
                    <a:pt x="147" y="665"/>
                  </a:lnTo>
                  <a:lnTo>
                    <a:pt x="146" y="665"/>
                  </a:lnTo>
                  <a:lnTo>
                    <a:pt x="146" y="664"/>
                  </a:lnTo>
                  <a:lnTo>
                    <a:pt x="146" y="664"/>
                  </a:lnTo>
                  <a:lnTo>
                    <a:pt x="146" y="663"/>
                  </a:lnTo>
                  <a:lnTo>
                    <a:pt x="146" y="663"/>
                  </a:lnTo>
                  <a:lnTo>
                    <a:pt x="143" y="663"/>
                  </a:lnTo>
                  <a:lnTo>
                    <a:pt x="143" y="662"/>
                  </a:lnTo>
                  <a:lnTo>
                    <a:pt x="145" y="659"/>
                  </a:lnTo>
                  <a:lnTo>
                    <a:pt x="146" y="657"/>
                  </a:lnTo>
                  <a:lnTo>
                    <a:pt x="147" y="655"/>
                  </a:lnTo>
                  <a:lnTo>
                    <a:pt x="149" y="652"/>
                  </a:lnTo>
                  <a:lnTo>
                    <a:pt x="149" y="650"/>
                  </a:lnTo>
                  <a:lnTo>
                    <a:pt x="150" y="649"/>
                  </a:lnTo>
                  <a:lnTo>
                    <a:pt x="150" y="648"/>
                  </a:lnTo>
                  <a:lnTo>
                    <a:pt x="149" y="648"/>
                  </a:lnTo>
                  <a:lnTo>
                    <a:pt x="149" y="648"/>
                  </a:lnTo>
                  <a:lnTo>
                    <a:pt x="149" y="647"/>
                  </a:lnTo>
                  <a:lnTo>
                    <a:pt x="149" y="647"/>
                  </a:lnTo>
                  <a:lnTo>
                    <a:pt x="150" y="645"/>
                  </a:lnTo>
                  <a:lnTo>
                    <a:pt x="150" y="644"/>
                  </a:lnTo>
                  <a:lnTo>
                    <a:pt x="150" y="643"/>
                  </a:lnTo>
                  <a:lnTo>
                    <a:pt x="150" y="642"/>
                  </a:lnTo>
                  <a:lnTo>
                    <a:pt x="150" y="642"/>
                  </a:lnTo>
                  <a:lnTo>
                    <a:pt x="149" y="643"/>
                  </a:lnTo>
                  <a:lnTo>
                    <a:pt x="149" y="642"/>
                  </a:lnTo>
                  <a:lnTo>
                    <a:pt x="149" y="642"/>
                  </a:lnTo>
                  <a:lnTo>
                    <a:pt x="149" y="641"/>
                  </a:lnTo>
                  <a:lnTo>
                    <a:pt x="150" y="641"/>
                  </a:lnTo>
                  <a:lnTo>
                    <a:pt x="152" y="641"/>
                  </a:lnTo>
                  <a:lnTo>
                    <a:pt x="153" y="640"/>
                  </a:lnTo>
                  <a:lnTo>
                    <a:pt x="154" y="639"/>
                  </a:lnTo>
                  <a:lnTo>
                    <a:pt x="155" y="637"/>
                  </a:lnTo>
                  <a:lnTo>
                    <a:pt x="156" y="637"/>
                  </a:lnTo>
                  <a:lnTo>
                    <a:pt x="158" y="637"/>
                  </a:lnTo>
                  <a:lnTo>
                    <a:pt x="160" y="635"/>
                  </a:lnTo>
                  <a:lnTo>
                    <a:pt x="160" y="635"/>
                  </a:lnTo>
                  <a:lnTo>
                    <a:pt x="160" y="635"/>
                  </a:lnTo>
                  <a:lnTo>
                    <a:pt x="158" y="635"/>
                  </a:lnTo>
                  <a:lnTo>
                    <a:pt x="158" y="635"/>
                  </a:lnTo>
                  <a:lnTo>
                    <a:pt x="158" y="635"/>
                  </a:lnTo>
                  <a:lnTo>
                    <a:pt x="158" y="634"/>
                  </a:lnTo>
                  <a:lnTo>
                    <a:pt x="160" y="634"/>
                  </a:lnTo>
                  <a:lnTo>
                    <a:pt x="161" y="632"/>
                  </a:lnTo>
                  <a:lnTo>
                    <a:pt x="162" y="630"/>
                  </a:lnTo>
                  <a:lnTo>
                    <a:pt x="163" y="630"/>
                  </a:lnTo>
                  <a:lnTo>
                    <a:pt x="164" y="630"/>
                  </a:lnTo>
                  <a:lnTo>
                    <a:pt x="164" y="630"/>
                  </a:lnTo>
                  <a:lnTo>
                    <a:pt x="164" y="629"/>
                  </a:lnTo>
                  <a:lnTo>
                    <a:pt x="164" y="628"/>
                  </a:lnTo>
                  <a:lnTo>
                    <a:pt x="164" y="627"/>
                  </a:lnTo>
                  <a:lnTo>
                    <a:pt x="163" y="626"/>
                  </a:lnTo>
                  <a:lnTo>
                    <a:pt x="163" y="626"/>
                  </a:lnTo>
                  <a:lnTo>
                    <a:pt x="162" y="625"/>
                  </a:lnTo>
                  <a:lnTo>
                    <a:pt x="163" y="622"/>
                  </a:lnTo>
                  <a:lnTo>
                    <a:pt x="164" y="621"/>
                  </a:lnTo>
                  <a:lnTo>
                    <a:pt x="167" y="621"/>
                  </a:lnTo>
                  <a:lnTo>
                    <a:pt x="168" y="620"/>
                  </a:lnTo>
                  <a:lnTo>
                    <a:pt x="170" y="620"/>
                  </a:lnTo>
                  <a:lnTo>
                    <a:pt x="171" y="620"/>
                  </a:lnTo>
                  <a:lnTo>
                    <a:pt x="171" y="619"/>
                  </a:lnTo>
                  <a:lnTo>
                    <a:pt x="171" y="618"/>
                  </a:lnTo>
                  <a:lnTo>
                    <a:pt x="172" y="617"/>
                  </a:lnTo>
                  <a:lnTo>
                    <a:pt x="173" y="615"/>
                  </a:lnTo>
                  <a:lnTo>
                    <a:pt x="175" y="614"/>
                  </a:lnTo>
                  <a:lnTo>
                    <a:pt x="176" y="612"/>
                  </a:lnTo>
                  <a:lnTo>
                    <a:pt x="178" y="610"/>
                  </a:lnTo>
                  <a:lnTo>
                    <a:pt x="180" y="609"/>
                  </a:lnTo>
                  <a:lnTo>
                    <a:pt x="179" y="609"/>
                  </a:lnTo>
                  <a:lnTo>
                    <a:pt x="178" y="607"/>
                  </a:lnTo>
                  <a:lnTo>
                    <a:pt x="179" y="607"/>
                  </a:lnTo>
                  <a:lnTo>
                    <a:pt x="179" y="607"/>
                  </a:lnTo>
                  <a:lnTo>
                    <a:pt x="178" y="607"/>
                  </a:lnTo>
                  <a:lnTo>
                    <a:pt x="178" y="607"/>
                  </a:lnTo>
                  <a:lnTo>
                    <a:pt x="178" y="607"/>
                  </a:lnTo>
                  <a:lnTo>
                    <a:pt x="178" y="609"/>
                  </a:lnTo>
                  <a:lnTo>
                    <a:pt x="177" y="607"/>
                  </a:lnTo>
                  <a:lnTo>
                    <a:pt x="177" y="607"/>
                  </a:lnTo>
                  <a:lnTo>
                    <a:pt x="175" y="606"/>
                  </a:lnTo>
                  <a:lnTo>
                    <a:pt x="175" y="605"/>
                  </a:lnTo>
                  <a:lnTo>
                    <a:pt x="175" y="603"/>
                  </a:lnTo>
                  <a:lnTo>
                    <a:pt x="175" y="602"/>
                  </a:lnTo>
                  <a:lnTo>
                    <a:pt x="176" y="600"/>
                  </a:lnTo>
                  <a:lnTo>
                    <a:pt x="176" y="598"/>
                  </a:lnTo>
                  <a:lnTo>
                    <a:pt x="176" y="596"/>
                  </a:lnTo>
                  <a:lnTo>
                    <a:pt x="175" y="594"/>
                  </a:lnTo>
                  <a:lnTo>
                    <a:pt x="175" y="591"/>
                  </a:lnTo>
                  <a:lnTo>
                    <a:pt x="173" y="589"/>
                  </a:lnTo>
                  <a:lnTo>
                    <a:pt x="173" y="589"/>
                  </a:lnTo>
                  <a:lnTo>
                    <a:pt x="172" y="589"/>
                  </a:lnTo>
                  <a:lnTo>
                    <a:pt x="173" y="588"/>
                  </a:lnTo>
                  <a:lnTo>
                    <a:pt x="173" y="587"/>
                  </a:lnTo>
                  <a:lnTo>
                    <a:pt x="175" y="587"/>
                  </a:lnTo>
                  <a:lnTo>
                    <a:pt x="175" y="585"/>
                  </a:lnTo>
                  <a:lnTo>
                    <a:pt x="176" y="584"/>
                  </a:lnTo>
                  <a:lnTo>
                    <a:pt x="175" y="583"/>
                  </a:lnTo>
                  <a:lnTo>
                    <a:pt x="175" y="581"/>
                  </a:lnTo>
                  <a:lnTo>
                    <a:pt x="175" y="580"/>
                  </a:lnTo>
                  <a:lnTo>
                    <a:pt x="175" y="580"/>
                  </a:lnTo>
                  <a:lnTo>
                    <a:pt x="175" y="580"/>
                  </a:lnTo>
                  <a:lnTo>
                    <a:pt x="175" y="580"/>
                  </a:lnTo>
                  <a:lnTo>
                    <a:pt x="175" y="580"/>
                  </a:lnTo>
                  <a:lnTo>
                    <a:pt x="175" y="577"/>
                  </a:lnTo>
                  <a:lnTo>
                    <a:pt x="175" y="576"/>
                  </a:lnTo>
                  <a:lnTo>
                    <a:pt x="173" y="575"/>
                  </a:lnTo>
                  <a:lnTo>
                    <a:pt x="173" y="576"/>
                  </a:lnTo>
                  <a:lnTo>
                    <a:pt x="173" y="576"/>
                  </a:lnTo>
                  <a:lnTo>
                    <a:pt x="172" y="574"/>
                  </a:lnTo>
                  <a:lnTo>
                    <a:pt x="171" y="574"/>
                  </a:lnTo>
                  <a:lnTo>
                    <a:pt x="170" y="573"/>
                  </a:lnTo>
                  <a:lnTo>
                    <a:pt x="170" y="573"/>
                  </a:lnTo>
                  <a:lnTo>
                    <a:pt x="170" y="570"/>
                  </a:lnTo>
                  <a:lnTo>
                    <a:pt x="170" y="570"/>
                  </a:lnTo>
                  <a:lnTo>
                    <a:pt x="169" y="569"/>
                  </a:lnTo>
                  <a:lnTo>
                    <a:pt x="169" y="569"/>
                  </a:lnTo>
                  <a:lnTo>
                    <a:pt x="168" y="568"/>
                  </a:lnTo>
                  <a:lnTo>
                    <a:pt x="168" y="567"/>
                  </a:lnTo>
                  <a:lnTo>
                    <a:pt x="169" y="566"/>
                  </a:lnTo>
                  <a:lnTo>
                    <a:pt x="169" y="565"/>
                  </a:lnTo>
                  <a:lnTo>
                    <a:pt x="168" y="563"/>
                  </a:lnTo>
                  <a:lnTo>
                    <a:pt x="169" y="563"/>
                  </a:lnTo>
                  <a:lnTo>
                    <a:pt x="170" y="562"/>
                  </a:lnTo>
                  <a:lnTo>
                    <a:pt x="170" y="561"/>
                  </a:lnTo>
                  <a:lnTo>
                    <a:pt x="170" y="560"/>
                  </a:lnTo>
                  <a:lnTo>
                    <a:pt x="171" y="560"/>
                  </a:lnTo>
                  <a:lnTo>
                    <a:pt x="171" y="560"/>
                  </a:lnTo>
                  <a:lnTo>
                    <a:pt x="172" y="560"/>
                  </a:lnTo>
                  <a:lnTo>
                    <a:pt x="173" y="560"/>
                  </a:lnTo>
                  <a:lnTo>
                    <a:pt x="173" y="559"/>
                  </a:lnTo>
                  <a:lnTo>
                    <a:pt x="173" y="557"/>
                  </a:lnTo>
                  <a:lnTo>
                    <a:pt x="172" y="558"/>
                  </a:lnTo>
                  <a:lnTo>
                    <a:pt x="171" y="559"/>
                  </a:lnTo>
                  <a:lnTo>
                    <a:pt x="170" y="559"/>
                  </a:lnTo>
                  <a:lnTo>
                    <a:pt x="168" y="560"/>
                  </a:lnTo>
                  <a:lnTo>
                    <a:pt x="168" y="559"/>
                  </a:lnTo>
                  <a:lnTo>
                    <a:pt x="169" y="558"/>
                  </a:lnTo>
                  <a:lnTo>
                    <a:pt x="169" y="558"/>
                  </a:lnTo>
                  <a:lnTo>
                    <a:pt x="168" y="557"/>
                  </a:lnTo>
                  <a:lnTo>
                    <a:pt x="167" y="557"/>
                  </a:lnTo>
                  <a:lnTo>
                    <a:pt x="165" y="557"/>
                  </a:lnTo>
                  <a:lnTo>
                    <a:pt x="164" y="557"/>
                  </a:lnTo>
                  <a:lnTo>
                    <a:pt x="164" y="557"/>
                  </a:lnTo>
                  <a:lnTo>
                    <a:pt x="164" y="555"/>
                  </a:lnTo>
                  <a:lnTo>
                    <a:pt x="163" y="554"/>
                  </a:lnTo>
                  <a:lnTo>
                    <a:pt x="162" y="554"/>
                  </a:lnTo>
                  <a:lnTo>
                    <a:pt x="160" y="555"/>
                  </a:lnTo>
                  <a:lnTo>
                    <a:pt x="157" y="555"/>
                  </a:lnTo>
                  <a:lnTo>
                    <a:pt x="155" y="555"/>
                  </a:lnTo>
                  <a:lnTo>
                    <a:pt x="155" y="555"/>
                  </a:lnTo>
                  <a:lnTo>
                    <a:pt x="156" y="557"/>
                  </a:lnTo>
                  <a:lnTo>
                    <a:pt x="155" y="557"/>
                  </a:lnTo>
                  <a:lnTo>
                    <a:pt x="155" y="557"/>
                  </a:lnTo>
                  <a:lnTo>
                    <a:pt x="154" y="558"/>
                  </a:lnTo>
                  <a:lnTo>
                    <a:pt x="152" y="559"/>
                  </a:lnTo>
                  <a:lnTo>
                    <a:pt x="149" y="562"/>
                  </a:lnTo>
                  <a:lnTo>
                    <a:pt x="148" y="562"/>
                  </a:lnTo>
                  <a:lnTo>
                    <a:pt x="148" y="563"/>
                  </a:lnTo>
                  <a:lnTo>
                    <a:pt x="149" y="563"/>
                  </a:lnTo>
                  <a:lnTo>
                    <a:pt x="150" y="565"/>
                  </a:lnTo>
                  <a:lnTo>
                    <a:pt x="150" y="566"/>
                  </a:lnTo>
                  <a:lnTo>
                    <a:pt x="150" y="566"/>
                  </a:lnTo>
                  <a:lnTo>
                    <a:pt x="150" y="566"/>
                  </a:lnTo>
                  <a:lnTo>
                    <a:pt x="150" y="567"/>
                  </a:lnTo>
                  <a:lnTo>
                    <a:pt x="150" y="567"/>
                  </a:lnTo>
                  <a:lnTo>
                    <a:pt x="150" y="567"/>
                  </a:lnTo>
                  <a:lnTo>
                    <a:pt x="150" y="569"/>
                  </a:lnTo>
                  <a:lnTo>
                    <a:pt x="149" y="569"/>
                  </a:lnTo>
                  <a:lnTo>
                    <a:pt x="147" y="570"/>
                  </a:lnTo>
                  <a:lnTo>
                    <a:pt x="146" y="569"/>
                  </a:lnTo>
                  <a:lnTo>
                    <a:pt x="146" y="569"/>
                  </a:lnTo>
                  <a:lnTo>
                    <a:pt x="143" y="568"/>
                  </a:lnTo>
                  <a:lnTo>
                    <a:pt x="143" y="566"/>
                  </a:lnTo>
                  <a:lnTo>
                    <a:pt x="142" y="565"/>
                  </a:lnTo>
                  <a:lnTo>
                    <a:pt x="143" y="563"/>
                  </a:lnTo>
                  <a:lnTo>
                    <a:pt x="142" y="565"/>
                  </a:lnTo>
                  <a:lnTo>
                    <a:pt x="142" y="566"/>
                  </a:lnTo>
                  <a:lnTo>
                    <a:pt x="142" y="567"/>
                  </a:lnTo>
                  <a:lnTo>
                    <a:pt x="141" y="567"/>
                  </a:lnTo>
                  <a:lnTo>
                    <a:pt x="141" y="567"/>
                  </a:lnTo>
                  <a:lnTo>
                    <a:pt x="140" y="566"/>
                  </a:lnTo>
                  <a:lnTo>
                    <a:pt x="139" y="565"/>
                  </a:lnTo>
                  <a:lnTo>
                    <a:pt x="138" y="563"/>
                  </a:lnTo>
                  <a:lnTo>
                    <a:pt x="138" y="562"/>
                  </a:lnTo>
                  <a:lnTo>
                    <a:pt x="137" y="561"/>
                  </a:lnTo>
                  <a:lnTo>
                    <a:pt x="135" y="560"/>
                  </a:lnTo>
                  <a:lnTo>
                    <a:pt x="133" y="560"/>
                  </a:lnTo>
                  <a:lnTo>
                    <a:pt x="132" y="560"/>
                  </a:lnTo>
                  <a:lnTo>
                    <a:pt x="131" y="560"/>
                  </a:lnTo>
                  <a:lnTo>
                    <a:pt x="131" y="559"/>
                  </a:lnTo>
                  <a:lnTo>
                    <a:pt x="131" y="559"/>
                  </a:lnTo>
                  <a:lnTo>
                    <a:pt x="130" y="559"/>
                  </a:lnTo>
                  <a:lnTo>
                    <a:pt x="130" y="559"/>
                  </a:lnTo>
                  <a:lnTo>
                    <a:pt x="128" y="559"/>
                  </a:lnTo>
                  <a:lnTo>
                    <a:pt x="127" y="560"/>
                  </a:lnTo>
                  <a:lnTo>
                    <a:pt x="127" y="561"/>
                  </a:lnTo>
                  <a:lnTo>
                    <a:pt x="127" y="561"/>
                  </a:lnTo>
                  <a:lnTo>
                    <a:pt x="126" y="562"/>
                  </a:lnTo>
                  <a:lnTo>
                    <a:pt x="126" y="562"/>
                  </a:lnTo>
                  <a:lnTo>
                    <a:pt x="126" y="560"/>
                  </a:lnTo>
                  <a:lnTo>
                    <a:pt x="126" y="560"/>
                  </a:lnTo>
                  <a:lnTo>
                    <a:pt x="125" y="559"/>
                  </a:lnTo>
                  <a:lnTo>
                    <a:pt x="124" y="559"/>
                  </a:lnTo>
                  <a:lnTo>
                    <a:pt x="124" y="558"/>
                  </a:lnTo>
                  <a:lnTo>
                    <a:pt x="124" y="558"/>
                  </a:lnTo>
                  <a:lnTo>
                    <a:pt x="125" y="558"/>
                  </a:lnTo>
                  <a:lnTo>
                    <a:pt x="125" y="557"/>
                  </a:lnTo>
                  <a:lnTo>
                    <a:pt x="124" y="557"/>
                  </a:lnTo>
                  <a:lnTo>
                    <a:pt x="123" y="555"/>
                  </a:lnTo>
                  <a:lnTo>
                    <a:pt x="121" y="555"/>
                  </a:lnTo>
                  <a:lnTo>
                    <a:pt x="121" y="555"/>
                  </a:lnTo>
                  <a:lnTo>
                    <a:pt x="123" y="557"/>
                  </a:lnTo>
                  <a:lnTo>
                    <a:pt x="123" y="558"/>
                  </a:lnTo>
                  <a:lnTo>
                    <a:pt x="123" y="558"/>
                  </a:lnTo>
                  <a:lnTo>
                    <a:pt x="121" y="558"/>
                  </a:lnTo>
                  <a:lnTo>
                    <a:pt x="120" y="557"/>
                  </a:lnTo>
                  <a:lnTo>
                    <a:pt x="119" y="557"/>
                  </a:lnTo>
                  <a:lnTo>
                    <a:pt x="119" y="557"/>
                  </a:lnTo>
                  <a:lnTo>
                    <a:pt x="119" y="555"/>
                  </a:lnTo>
                  <a:lnTo>
                    <a:pt x="120" y="555"/>
                  </a:lnTo>
                  <a:lnTo>
                    <a:pt x="120" y="554"/>
                  </a:lnTo>
                  <a:lnTo>
                    <a:pt x="120" y="554"/>
                  </a:lnTo>
                  <a:lnTo>
                    <a:pt x="120" y="553"/>
                  </a:lnTo>
                  <a:lnTo>
                    <a:pt x="120" y="552"/>
                  </a:lnTo>
                  <a:lnTo>
                    <a:pt x="118" y="550"/>
                  </a:lnTo>
                  <a:lnTo>
                    <a:pt x="116" y="548"/>
                  </a:lnTo>
                  <a:lnTo>
                    <a:pt x="115" y="547"/>
                  </a:lnTo>
                  <a:lnTo>
                    <a:pt x="112" y="546"/>
                  </a:lnTo>
                  <a:lnTo>
                    <a:pt x="111" y="545"/>
                  </a:lnTo>
                  <a:lnTo>
                    <a:pt x="111" y="545"/>
                  </a:lnTo>
                  <a:lnTo>
                    <a:pt x="111" y="544"/>
                  </a:lnTo>
                  <a:lnTo>
                    <a:pt x="111" y="544"/>
                  </a:lnTo>
                  <a:lnTo>
                    <a:pt x="110" y="544"/>
                  </a:lnTo>
                  <a:lnTo>
                    <a:pt x="109" y="543"/>
                  </a:lnTo>
                  <a:lnTo>
                    <a:pt x="106" y="542"/>
                  </a:lnTo>
                  <a:lnTo>
                    <a:pt x="106" y="542"/>
                  </a:lnTo>
                  <a:lnTo>
                    <a:pt x="106" y="543"/>
                  </a:lnTo>
                  <a:lnTo>
                    <a:pt x="108" y="543"/>
                  </a:lnTo>
                  <a:lnTo>
                    <a:pt x="109" y="543"/>
                  </a:lnTo>
                  <a:lnTo>
                    <a:pt x="109" y="544"/>
                  </a:lnTo>
                  <a:lnTo>
                    <a:pt x="109" y="544"/>
                  </a:lnTo>
                  <a:lnTo>
                    <a:pt x="109" y="545"/>
                  </a:lnTo>
                  <a:lnTo>
                    <a:pt x="108" y="545"/>
                  </a:lnTo>
                  <a:lnTo>
                    <a:pt x="106" y="545"/>
                  </a:lnTo>
                  <a:lnTo>
                    <a:pt x="105" y="544"/>
                  </a:lnTo>
                  <a:lnTo>
                    <a:pt x="103" y="544"/>
                  </a:lnTo>
                  <a:lnTo>
                    <a:pt x="102" y="543"/>
                  </a:lnTo>
                  <a:lnTo>
                    <a:pt x="102" y="542"/>
                  </a:lnTo>
                  <a:lnTo>
                    <a:pt x="103" y="539"/>
                  </a:lnTo>
                  <a:lnTo>
                    <a:pt x="103" y="539"/>
                  </a:lnTo>
                  <a:lnTo>
                    <a:pt x="103" y="538"/>
                  </a:lnTo>
                  <a:lnTo>
                    <a:pt x="103" y="537"/>
                  </a:lnTo>
                  <a:lnTo>
                    <a:pt x="103" y="536"/>
                  </a:lnTo>
                  <a:lnTo>
                    <a:pt x="103" y="535"/>
                  </a:lnTo>
                  <a:lnTo>
                    <a:pt x="102" y="535"/>
                  </a:lnTo>
                  <a:lnTo>
                    <a:pt x="101" y="535"/>
                  </a:lnTo>
                  <a:lnTo>
                    <a:pt x="100" y="533"/>
                  </a:lnTo>
                  <a:lnTo>
                    <a:pt x="100" y="533"/>
                  </a:lnTo>
                  <a:lnTo>
                    <a:pt x="101" y="533"/>
                  </a:lnTo>
                  <a:lnTo>
                    <a:pt x="102" y="533"/>
                  </a:lnTo>
                  <a:lnTo>
                    <a:pt x="103" y="533"/>
                  </a:lnTo>
                  <a:lnTo>
                    <a:pt x="103" y="532"/>
                  </a:lnTo>
                  <a:lnTo>
                    <a:pt x="102" y="531"/>
                  </a:lnTo>
                  <a:lnTo>
                    <a:pt x="102" y="530"/>
                  </a:lnTo>
                  <a:lnTo>
                    <a:pt x="101" y="529"/>
                  </a:lnTo>
                  <a:lnTo>
                    <a:pt x="101" y="528"/>
                  </a:lnTo>
                  <a:lnTo>
                    <a:pt x="100" y="527"/>
                  </a:lnTo>
                  <a:lnTo>
                    <a:pt x="98" y="525"/>
                  </a:lnTo>
                  <a:lnTo>
                    <a:pt x="96" y="524"/>
                  </a:lnTo>
                  <a:lnTo>
                    <a:pt x="95" y="522"/>
                  </a:lnTo>
                  <a:lnTo>
                    <a:pt x="94" y="520"/>
                  </a:lnTo>
                  <a:lnTo>
                    <a:pt x="94" y="517"/>
                  </a:lnTo>
                  <a:lnTo>
                    <a:pt x="93" y="515"/>
                  </a:lnTo>
                  <a:lnTo>
                    <a:pt x="93" y="513"/>
                  </a:lnTo>
                  <a:lnTo>
                    <a:pt x="91" y="512"/>
                  </a:lnTo>
                  <a:lnTo>
                    <a:pt x="90" y="510"/>
                  </a:lnTo>
                  <a:lnTo>
                    <a:pt x="89" y="509"/>
                  </a:lnTo>
                  <a:lnTo>
                    <a:pt x="90" y="508"/>
                  </a:lnTo>
                  <a:lnTo>
                    <a:pt x="90" y="508"/>
                  </a:lnTo>
                  <a:lnTo>
                    <a:pt x="91" y="509"/>
                  </a:lnTo>
                  <a:lnTo>
                    <a:pt x="93" y="509"/>
                  </a:lnTo>
                  <a:lnTo>
                    <a:pt x="93" y="509"/>
                  </a:lnTo>
                  <a:lnTo>
                    <a:pt x="93" y="509"/>
                  </a:lnTo>
                  <a:lnTo>
                    <a:pt x="91" y="508"/>
                  </a:lnTo>
                  <a:lnTo>
                    <a:pt x="91" y="508"/>
                  </a:lnTo>
                  <a:lnTo>
                    <a:pt x="90" y="508"/>
                  </a:lnTo>
                  <a:lnTo>
                    <a:pt x="90" y="507"/>
                  </a:lnTo>
                  <a:lnTo>
                    <a:pt x="90" y="506"/>
                  </a:lnTo>
                  <a:lnTo>
                    <a:pt x="89" y="506"/>
                  </a:lnTo>
                  <a:lnTo>
                    <a:pt x="89" y="506"/>
                  </a:lnTo>
                  <a:lnTo>
                    <a:pt x="88" y="506"/>
                  </a:lnTo>
                  <a:lnTo>
                    <a:pt x="85" y="507"/>
                  </a:lnTo>
                  <a:lnTo>
                    <a:pt x="81" y="508"/>
                  </a:lnTo>
                  <a:lnTo>
                    <a:pt x="80" y="508"/>
                  </a:lnTo>
                  <a:lnTo>
                    <a:pt x="79" y="507"/>
                  </a:lnTo>
                  <a:lnTo>
                    <a:pt x="78" y="507"/>
                  </a:lnTo>
                  <a:lnTo>
                    <a:pt x="75" y="506"/>
                  </a:lnTo>
                  <a:lnTo>
                    <a:pt x="74" y="505"/>
                  </a:lnTo>
                  <a:lnTo>
                    <a:pt x="72" y="505"/>
                  </a:lnTo>
                  <a:lnTo>
                    <a:pt x="70" y="505"/>
                  </a:lnTo>
                  <a:lnTo>
                    <a:pt x="68" y="505"/>
                  </a:lnTo>
                  <a:lnTo>
                    <a:pt x="68" y="503"/>
                  </a:lnTo>
                  <a:lnTo>
                    <a:pt x="68" y="503"/>
                  </a:lnTo>
                  <a:lnTo>
                    <a:pt x="66" y="502"/>
                  </a:lnTo>
                  <a:lnTo>
                    <a:pt x="63" y="502"/>
                  </a:lnTo>
                  <a:lnTo>
                    <a:pt x="60" y="501"/>
                  </a:lnTo>
                  <a:lnTo>
                    <a:pt x="58" y="501"/>
                  </a:lnTo>
                  <a:lnTo>
                    <a:pt x="57" y="500"/>
                  </a:lnTo>
                  <a:lnTo>
                    <a:pt x="55" y="499"/>
                  </a:lnTo>
                  <a:lnTo>
                    <a:pt x="53" y="497"/>
                  </a:lnTo>
                  <a:lnTo>
                    <a:pt x="51" y="494"/>
                  </a:lnTo>
                  <a:lnTo>
                    <a:pt x="50" y="493"/>
                  </a:lnTo>
                  <a:lnTo>
                    <a:pt x="50" y="492"/>
                  </a:lnTo>
                  <a:lnTo>
                    <a:pt x="49" y="491"/>
                  </a:lnTo>
                  <a:lnTo>
                    <a:pt x="49" y="490"/>
                  </a:lnTo>
                  <a:lnTo>
                    <a:pt x="46" y="487"/>
                  </a:lnTo>
                  <a:lnTo>
                    <a:pt x="44" y="485"/>
                  </a:lnTo>
                  <a:lnTo>
                    <a:pt x="41" y="483"/>
                  </a:lnTo>
                  <a:lnTo>
                    <a:pt x="40" y="481"/>
                  </a:lnTo>
                  <a:lnTo>
                    <a:pt x="37" y="480"/>
                  </a:lnTo>
                  <a:lnTo>
                    <a:pt x="36" y="480"/>
                  </a:lnTo>
                  <a:lnTo>
                    <a:pt x="35" y="480"/>
                  </a:lnTo>
                  <a:lnTo>
                    <a:pt x="34" y="480"/>
                  </a:lnTo>
                  <a:lnTo>
                    <a:pt x="34" y="480"/>
                  </a:lnTo>
                  <a:lnTo>
                    <a:pt x="34" y="479"/>
                  </a:lnTo>
                  <a:lnTo>
                    <a:pt x="35" y="479"/>
                  </a:lnTo>
                  <a:lnTo>
                    <a:pt x="35" y="478"/>
                  </a:lnTo>
                  <a:lnTo>
                    <a:pt x="34" y="478"/>
                  </a:lnTo>
                  <a:lnTo>
                    <a:pt x="34" y="478"/>
                  </a:lnTo>
                  <a:lnTo>
                    <a:pt x="33" y="478"/>
                  </a:lnTo>
                  <a:lnTo>
                    <a:pt x="31" y="478"/>
                  </a:lnTo>
                  <a:lnTo>
                    <a:pt x="30" y="477"/>
                  </a:lnTo>
                  <a:lnTo>
                    <a:pt x="30" y="478"/>
                  </a:lnTo>
                  <a:lnTo>
                    <a:pt x="29" y="479"/>
                  </a:lnTo>
                  <a:lnTo>
                    <a:pt x="30" y="479"/>
                  </a:lnTo>
                  <a:lnTo>
                    <a:pt x="30" y="480"/>
                  </a:lnTo>
                  <a:lnTo>
                    <a:pt x="31" y="480"/>
                  </a:lnTo>
                  <a:lnTo>
                    <a:pt x="30" y="480"/>
                  </a:lnTo>
                  <a:lnTo>
                    <a:pt x="28" y="480"/>
                  </a:lnTo>
                  <a:lnTo>
                    <a:pt x="27" y="480"/>
                  </a:lnTo>
                  <a:lnTo>
                    <a:pt x="27" y="480"/>
                  </a:lnTo>
                  <a:lnTo>
                    <a:pt x="26" y="481"/>
                  </a:lnTo>
                  <a:lnTo>
                    <a:pt x="25" y="481"/>
                  </a:lnTo>
                  <a:lnTo>
                    <a:pt x="23" y="481"/>
                  </a:lnTo>
                  <a:lnTo>
                    <a:pt x="21" y="481"/>
                  </a:lnTo>
                  <a:lnTo>
                    <a:pt x="20" y="483"/>
                  </a:lnTo>
                  <a:lnTo>
                    <a:pt x="19" y="483"/>
                  </a:lnTo>
                  <a:lnTo>
                    <a:pt x="19" y="484"/>
                  </a:lnTo>
                  <a:lnTo>
                    <a:pt x="18" y="484"/>
                  </a:lnTo>
                  <a:lnTo>
                    <a:pt x="16" y="484"/>
                  </a:lnTo>
                  <a:lnTo>
                    <a:pt x="14" y="483"/>
                  </a:lnTo>
                  <a:lnTo>
                    <a:pt x="12" y="481"/>
                  </a:lnTo>
                  <a:lnTo>
                    <a:pt x="11" y="483"/>
                  </a:lnTo>
                  <a:lnTo>
                    <a:pt x="10" y="483"/>
                  </a:lnTo>
                  <a:lnTo>
                    <a:pt x="7" y="481"/>
                  </a:lnTo>
                  <a:lnTo>
                    <a:pt x="5" y="481"/>
                  </a:lnTo>
                  <a:lnTo>
                    <a:pt x="4" y="480"/>
                  </a:lnTo>
                  <a:lnTo>
                    <a:pt x="4" y="479"/>
                  </a:lnTo>
                  <a:lnTo>
                    <a:pt x="3" y="478"/>
                  </a:lnTo>
                  <a:lnTo>
                    <a:pt x="1" y="478"/>
                  </a:lnTo>
                  <a:lnTo>
                    <a:pt x="0" y="478"/>
                  </a:lnTo>
                  <a:lnTo>
                    <a:pt x="8" y="417"/>
                  </a:lnTo>
                  <a:lnTo>
                    <a:pt x="21" y="358"/>
                  </a:lnTo>
                  <a:lnTo>
                    <a:pt x="40" y="301"/>
                  </a:lnTo>
                  <a:lnTo>
                    <a:pt x="61" y="246"/>
                  </a:lnTo>
                  <a:lnTo>
                    <a:pt x="89" y="194"/>
                  </a:lnTo>
                  <a:lnTo>
                    <a:pt x="102" y="175"/>
                  </a:lnTo>
                  <a:lnTo>
                    <a:pt x="113" y="159"/>
                  </a:lnTo>
                  <a:lnTo>
                    <a:pt x="127" y="141"/>
                  </a:lnTo>
                  <a:lnTo>
                    <a:pt x="140" y="125"/>
                  </a:lnTo>
                  <a:lnTo>
                    <a:pt x="154" y="106"/>
                  </a:lnTo>
                  <a:lnTo>
                    <a:pt x="168" y="89"/>
                  </a:lnTo>
                  <a:lnTo>
                    <a:pt x="182" y="75"/>
                  </a:lnTo>
                  <a:lnTo>
                    <a:pt x="194" y="60"/>
                  </a:lnTo>
                  <a:lnTo>
                    <a:pt x="213" y="43"/>
                  </a:lnTo>
                  <a:lnTo>
                    <a:pt x="232" y="26"/>
                  </a:lnTo>
                  <a:lnTo>
                    <a:pt x="236" y="25"/>
                  </a:lnTo>
                  <a:lnTo>
                    <a:pt x="239" y="24"/>
                  </a:lnTo>
                  <a:lnTo>
                    <a:pt x="242" y="24"/>
                  </a:lnTo>
                  <a:lnTo>
                    <a:pt x="245" y="24"/>
                  </a:lnTo>
                  <a:lnTo>
                    <a:pt x="246" y="26"/>
                  </a:lnTo>
                  <a:lnTo>
                    <a:pt x="247" y="26"/>
                  </a:lnTo>
                  <a:lnTo>
                    <a:pt x="247" y="26"/>
                  </a:lnTo>
                  <a:lnTo>
                    <a:pt x="248" y="25"/>
                  </a:lnTo>
                  <a:lnTo>
                    <a:pt x="250" y="25"/>
                  </a:lnTo>
                  <a:lnTo>
                    <a:pt x="252" y="24"/>
                  </a:lnTo>
                  <a:lnTo>
                    <a:pt x="253" y="24"/>
                  </a:lnTo>
                  <a:lnTo>
                    <a:pt x="254" y="24"/>
                  </a:lnTo>
                  <a:lnTo>
                    <a:pt x="254" y="23"/>
                  </a:lnTo>
                  <a:lnTo>
                    <a:pt x="255" y="23"/>
                  </a:lnTo>
                  <a:lnTo>
                    <a:pt x="255" y="23"/>
                  </a:lnTo>
                  <a:lnTo>
                    <a:pt x="257" y="24"/>
                  </a:lnTo>
                  <a:lnTo>
                    <a:pt x="258" y="25"/>
                  </a:lnTo>
                  <a:lnTo>
                    <a:pt x="259" y="26"/>
                  </a:lnTo>
                  <a:lnTo>
                    <a:pt x="260" y="26"/>
                  </a:lnTo>
                  <a:lnTo>
                    <a:pt x="260" y="26"/>
                  </a:lnTo>
                  <a:lnTo>
                    <a:pt x="260" y="24"/>
                  </a:lnTo>
                  <a:lnTo>
                    <a:pt x="260" y="24"/>
                  </a:lnTo>
                  <a:lnTo>
                    <a:pt x="260" y="24"/>
                  </a:lnTo>
                  <a:lnTo>
                    <a:pt x="259" y="24"/>
                  </a:lnTo>
                  <a:lnTo>
                    <a:pt x="258" y="24"/>
                  </a:lnTo>
                  <a:lnTo>
                    <a:pt x="257" y="23"/>
                  </a:lnTo>
                  <a:lnTo>
                    <a:pt x="255" y="21"/>
                  </a:lnTo>
                  <a:lnTo>
                    <a:pt x="258" y="22"/>
                  </a:lnTo>
                  <a:lnTo>
                    <a:pt x="259" y="22"/>
                  </a:lnTo>
                  <a:lnTo>
                    <a:pt x="260" y="21"/>
                  </a:lnTo>
                  <a:lnTo>
                    <a:pt x="260" y="21"/>
                  </a:lnTo>
                  <a:lnTo>
                    <a:pt x="261" y="20"/>
                  </a:lnTo>
                  <a:lnTo>
                    <a:pt x="261" y="21"/>
                  </a:lnTo>
                  <a:lnTo>
                    <a:pt x="262" y="21"/>
                  </a:lnTo>
                  <a:lnTo>
                    <a:pt x="263" y="22"/>
                  </a:lnTo>
                  <a:lnTo>
                    <a:pt x="265" y="22"/>
                  </a:lnTo>
                  <a:lnTo>
                    <a:pt x="265" y="22"/>
                  </a:lnTo>
                  <a:lnTo>
                    <a:pt x="266" y="22"/>
                  </a:lnTo>
                  <a:lnTo>
                    <a:pt x="266" y="22"/>
                  </a:lnTo>
                  <a:lnTo>
                    <a:pt x="263" y="23"/>
                  </a:lnTo>
                  <a:lnTo>
                    <a:pt x="263" y="24"/>
                  </a:lnTo>
                  <a:lnTo>
                    <a:pt x="263" y="25"/>
                  </a:lnTo>
                  <a:lnTo>
                    <a:pt x="263" y="25"/>
                  </a:lnTo>
                  <a:lnTo>
                    <a:pt x="263" y="25"/>
                  </a:lnTo>
                  <a:lnTo>
                    <a:pt x="263" y="26"/>
                  </a:lnTo>
                  <a:lnTo>
                    <a:pt x="262" y="26"/>
                  </a:lnTo>
                  <a:lnTo>
                    <a:pt x="260" y="29"/>
                  </a:lnTo>
                  <a:lnTo>
                    <a:pt x="263" y="28"/>
                  </a:lnTo>
                  <a:lnTo>
                    <a:pt x="265" y="26"/>
                  </a:lnTo>
                  <a:lnTo>
                    <a:pt x="266" y="26"/>
                  </a:lnTo>
                  <a:lnTo>
                    <a:pt x="266" y="25"/>
                  </a:lnTo>
                  <a:lnTo>
                    <a:pt x="266" y="24"/>
                  </a:lnTo>
                  <a:lnTo>
                    <a:pt x="268" y="23"/>
                  </a:lnTo>
                  <a:lnTo>
                    <a:pt x="269" y="23"/>
                  </a:lnTo>
                  <a:lnTo>
                    <a:pt x="270" y="23"/>
                  </a:lnTo>
                  <a:lnTo>
                    <a:pt x="272" y="23"/>
                  </a:lnTo>
                  <a:lnTo>
                    <a:pt x="273" y="23"/>
                  </a:lnTo>
                  <a:lnTo>
                    <a:pt x="275" y="23"/>
                  </a:lnTo>
                  <a:lnTo>
                    <a:pt x="279" y="23"/>
                  </a:lnTo>
                  <a:lnTo>
                    <a:pt x="281" y="23"/>
                  </a:lnTo>
                  <a:lnTo>
                    <a:pt x="283" y="22"/>
                  </a:lnTo>
                  <a:lnTo>
                    <a:pt x="284" y="22"/>
                  </a:lnTo>
                  <a:lnTo>
                    <a:pt x="285" y="22"/>
                  </a:lnTo>
                  <a:lnTo>
                    <a:pt x="285" y="21"/>
                  </a:lnTo>
                  <a:lnTo>
                    <a:pt x="284" y="21"/>
                  </a:lnTo>
                  <a:lnTo>
                    <a:pt x="283" y="21"/>
                  </a:lnTo>
                  <a:lnTo>
                    <a:pt x="283" y="22"/>
                  </a:lnTo>
                  <a:lnTo>
                    <a:pt x="282" y="22"/>
                  </a:lnTo>
                  <a:lnTo>
                    <a:pt x="282" y="21"/>
                  </a:lnTo>
                  <a:lnTo>
                    <a:pt x="281" y="21"/>
                  </a:lnTo>
                  <a:lnTo>
                    <a:pt x="282" y="21"/>
                  </a:lnTo>
                  <a:lnTo>
                    <a:pt x="283" y="20"/>
                  </a:lnTo>
                  <a:lnTo>
                    <a:pt x="284" y="20"/>
                  </a:lnTo>
                  <a:lnTo>
                    <a:pt x="285" y="20"/>
                  </a:lnTo>
                  <a:lnTo>
                    <a:pt x="287" y="20"/>
                  </a:lnTo>
                  <a:lnTo>
                    <a:pt x="288" y="20"/>
                  </a:lnTo>
                  <a:lnTo>
                    <a:pt x="290" y="18"/>
                  </a:lnTo>
                  <a:lnTo>
                    <a:pt x="291" y="17"/>
                  </a:lnTo>
                  <a:lnTo>
                    <a:pt x="294" y="17"/>
                  </a:lnTo>
                  <a:lnTo>
                    <a:pt x="294" y="16"/>
                  </a:lnTo>
                  <a:lnTo>
                    <a:pt x="294" y="16"/>
                  </a:lnTo>
                  <a:lnTo>
                    <a:pt x="292" y="16"/>
                  </a:lnTo>
                  <a:lnTo>
                    <a:pt x="291" y="16"/>
                  </a:lnTo>
                  <a:lnTo>
                    <a:pt x="289" y="17"/>
                  </a:lnTo>
                  <a:lnTo>
                    <a:pt x="287" y="17"/>
                  </a:lnTo>
                  <a:lnTo>
                    <a:pt x="284" y="18"/>
                  </a:lnTo>
                  <a:lnTo>
                    <a:pt x="283" y="17"/>
                  </a:lnTo>
                  <a:lnTo>
                    <a:pt x="282" y="17"/>
                  </a:lnTo>
                  <a:lnTo>
                    <a:pt x="281" y="17"/>
                  </a:lnTo>
                  <a:lnTo>
                    <a:pt x="281" y="17"/>
                  </a:lnTo>
                  <a:lnTo>
                    <a:pt x="280" y="17"/>
                  </a:lnTo>
                  <a:lnTo>
                    <a:pt x="280" y="17"/>
                  </a:lnTo>
                  <a:lnTo>
                    <a:pt x="279" y="17"/>
                  </a:lnTo>
                  <a:lnTo>
                    <a:pt x="276" y="16"/>
                  </a:lnTo>
                  <a:lnTo>
                    <a:pt x="276" y="14"/>
                  </a:lnTo>
                  <a:lnTo>
                    <a:pt x="276" y="14"/>
                  </a:lnTo>
                  <a:lnTo>
                    <a:pt x="277" y="13"/>
                  </a:lnTo>
                  <a:lnTo>
                    <a:pt x="280" y="11"/>
                  </a:lnTo>
                  <a:lnTo>
                    <a:pt x="281" y="11"/>
                  </a:lnTo>
                  <a:lnTo>
                    <a:pt x="282" y="10"/>
                  </a:lnTo>
                  <a:lnTo>
                    <a:pt x="283" y="10"/>
                  </a:lnTo>
                  <a:lnTo>
                    <a:pt x="283" y="9"/>
                  </a:lnTo>
                  <a:lnTo>
                    <a:pt x="284" y="8"/>
                  </a:lnTo>
                  <a:lnTo>
                    <a:pt x="285" y="7"/>
                  </a:lnTo>
                  <a:lnTo>
                    <a:pt x="288" y="7"/>
                  </a:lnTo>
                  <a:lnTo>
                    <a:pt x="290" y="6"/>
                  </a:lnTo>
                  <a:lnTo>
                    <a:pt x="291" y="5"/>
                  </a:lnTo>
                  <a:lnTo>
                    <a:pt x="291" y="3"/>
                  </a:lnTo>
                  <a:lnTo>
                    <a:pt x="291" y="5"/>
                  </a:lnTo>
                  <a:lnTo>
                    <a:pt x="291" y="5"/>
                  </a:lnTo>
                  <a:lnTo>
                    <a:pt x="292" y="5"/>
                  </a:lnTo>
                  <a:lnTo>
                    <a:pt x="294" y="3"/>
                  </a:lnTo>
                  <a:lnTo>
                    <a:pt x="295" y="3"/>
                  </a:lnTo>
                  <a:lnTo>
                    <a:pt x="295" y="3"/>
                  </a:lnTo>
                  <a:lnTo>
                    <a:pt x="295" y="3"/>
                  </a:lnTo>
                  <a:lnTo>
                    <a:pt x="294" y="2"/>
                  </a:lnTo>
                  <a:lnTo>
                    <a:pt x="294" y="2"/>
                  </a:lnTo>
                  <a:lnTo>
                    <a:pt x="294" y="2"/>
                  </a:lnTo>
                  <a:lnTo>
                    <a:pt x="295" y="1"/>
                  </a:lnTo>
                  <a:lnTo>
                    <a:pt x="297" y="0"/>
                  </a:lnTo>
                  <a:lnTo>
                    <a:pt x="30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2"/>
            <p:cNvSpPr>
              <a:spLocks noEditPoints="1"/>
            </p:cNvSpPr>
            <p:nvPr/>
          </p:nvSpPr>
          <p:spPr bwMode="auto">
            <a:xfrm>
              <a:off x="4547" y="1873"/>
              <a:ext cx="166" cy="40"/>
            </a:xfrm>
            <a:custGeom>
              <a:avLst/>
              <a:gdLst>
                <a:gd name="T0" fmla="*/ 46 w 498"/>
                <a:gd name="T1" fmla="*/ 43 h 120"/>
                <a:gd name="T2" fmla="*/ 27 w 498"/>
                <a:gd name="T3" fmla="*/ 51 h 120"/>
                <a:gd name="T4" fmla="*/ 17 w 498"/>
                <a:gd name="T5" fmla="*/ 43 h 120"/>
                <a:gd name="T6" fmla="*/ 134 w 498"/>
                <a:gd name="T7" fmla="*/ 45 h 120"/>
                <a:gd name="T8" fmla="*/ 163 w 498"/>
                <a:gd name="T9" fmla="*/ 48 h 120"/>
                <a:gd name="T10" fmla="*/ 189 w 498"/>
                <a:gd name="T11" fmla="*/ 56 h 120"/>
                <a:gd name="T12" fmla="*/ 196 w 498"/>
                <a:gd name="T13" fmla="*/ 66 h 120"/>
                <a:gd name="T14" fmla="*/ 206 w 498"/>
                <a:gd name="T15" fmla="*/ 74 h 120"/>
                <a:gd name="T16" fmla="*/ 186 w 498"/>
                <a:gd name="T17" fmla="*/ 83 h 120"/>
                <a:gd name="T18" fmla="*/ 173 w 498"/>
                <a:gd name="T19" fmla="*/ 79 h 120"/>
                <a:gd name="T20" fmla="*/ 171 w 498"/>
                <a:gd name="T21" fmla="*/ 90 h 120"/>
                <a:gd name="T22" fmla="*/ 156 w 498"/>
                <a:gd name="T23" fmla="*/ 97 h 120"/>
                <a:gd name="T24" fmla="*/ 138 w 498"/>
                <a:gd name="T25" fmla="*/ 104 h 120"/>
                <a:gd name="T26" fmla="*/ 109 w 498"/>
                <a:gd name="T27" fmla="*/ 96 h 120"/>
                <a:gd name="T28" fmla="*/ 89 w 498"/>
                <a:gd name="T29" fmla="*/ 95 h 120"/>
                <a:gd name="T30" fmla="*/ 115 w 498"/>
                <a:gd name="T31" fmla="*/ 86 h 120"/>
                <a:gd name="T32" fmla="*/ 137 w 498"/>
                <a:gd name="T33" fmla="*/ 85 h 120"/>
                <a:gd name="T34" fmla="*/ 132 w 498"/>
                <a:gd name="T35" fmla="*/ 75 h 120"/>
                <a:gd name="T36" fmla="*/ 132 w 498"/>
                <a:gd name="T37" fmla="*/ 61 h 120"/>
                <a:gd name="T38" fmla="*/ 108 w 498"/>
                <a:gd name="T39" fmla="*/ 58 h 120"/>
                <a:gd name="T40" fmla="*/ 88 w 498"/>
                <a:gd name="T41" fmla="*/ 59 h 120"/>
                <a:gd name="T42" fmla="*/ 73 w 498"/>
                <a:gd name="T43" fmla="*/ 45 h 120"/>
                <a:gd name="T44" fmla="*/ 96 w 498"/>
                <a:gd name="T45" fmla="*/ 46 h 120"/>
                <a:gd name="T46" fmla="*/ 132 w 498"/>
                <a:gd name="T47" fmla="*/ 45 h 120"/>
                <a:gd name="T48" fmla="*/ 55 w 498"/>
                <a:gd name="T49" fmla="*/ 36 h 120"/>
                <a:gd name="T50" fmla="*/ 103 w 498"/>
                <a:gd name="T51" fmla="*/ 33 h 120"/>
                <a:gd name="T52" fmla="*/ 127 w 498"/>
                <a:gd name="T53" fmla="*/ 35 h 120"/>
                <a:gd name="T54" fmla="*/ 84 w 498"/>
                <a:gd name="T55" fmla="*/ 40 h 120"/>
                <a:gd name="T56" fmla="*/ 40 w 498"/>
                <a:gd name="T57" fmla="*/ 28 h 120"/>
                <a:gd name="T58" fmla="*/ 31 w 498"/>
                <a:gd name="T59" fmla="*/ 35 h 120"/>
                <a:gd name="T60" fmla="*/ 63 w 498"/>
                <a:gd name="T61" fmla="*/ 24 h 120"/>
                <a:gd name="T62" fmla="*/ 57 w 498"/>
                <a:gd name="T63" fmla="*/ 19 h 120"/>
                <a:gd name="T64" fmla="*/ 104 w 498"/>
                <a:gd name="T65" fmla="*/ 21 h 120"/>
                <a:gd name="T66" fmla="*/ 122 w 498"/>
                <a:gd name="T67" fmla="*/ 8 h 120"/>
                <a:gd name="T68" fmla="*/ 467 w 498"/>
                <a:gd name="T69" fmla="*/ 7 h 120"/>
                <a:gd name="T70" fmla="*/ 484 w 498"/>
                <a:gd name="T71" fmla="*/ 7 h 120"/>
                <a:gd name="T72" fmla="*/ 483 w 498"/>
                <a:gd name="T73" fmla="*/ 21 h 120"/>
                <a:gd name="T74" fmla="*/ 478 w 498"/>
                <a:gd name="T75" fmla="*/ 36 h 120"/>
                <a:gd name="T76" fmla="*/ 448 w 498"/>
                <a:gd name="T77" fmla="*/ 43 h 120"/>
                <a:gd name="T78" fmla="*/ 442 w 498"/>
                <a:gd name="T79" fmla="*/ 46 h 120"/>
                <a:gd name="T80" fmla="*/ 437 w 498"/>
                <a:gd name="T81" fmla="*/ 55 h 120"/>
                <a:gd name="T82" fmla="*/ 430 w 498"/>
                <a:gd name="T83" fmla="*/ 64 h 120"/>
                <a:gd name="T84" fmla="*/ 387 w 498"/>
                <a:gd name="T85" fmla="*/ 70 h 120"/>
                <a:gd name="T86" fmla="*/ 346 w 498"/>
                <a:gd name="T87" fmla="*/ 80 h 120"/>
                <a:gd name="T88" fmla="*/ 319 w 498"/>
                <a:gd name="T89" fmla="*/ 100 h 120"/>
                <a:gd name="T90" fmla="*/ 294 w 498"/>
                <a:gd name="T91" fmla="*/ 119 h 120"/>
                <a:gd name="T92" fmla="*/ 269 w 498"/>
                <a:gd name="T93" fmla="*/ 109 h 120"/>
                <a:gd name="T94" fmla="*/ 258 w 498"/>
                <a:gd name="T95" fmla="*/ 83 h 120"/>
                <a:gd name="T96" fmla="*/ 278 w 498"/>
                <a:gd name="T97" fmla="*/ 67 h 120"/>
                <a:gd name="T98" fmla="*/ 272 w 498"/>
                <a:gd name="T99" fmla="*/ 53 h 120"/>
                <a:gd name="T100" fmla="*/ 275 w 498"/>
                <a:gd name="T101" fmla="*/ 50 h 120"/>
                <a:gd name="T102" fmla="*/ 271 w 498"/>
                <a:gd name="T103" fmla="*/ 33 h 120"/>
                <a:gd name="T104" fmla="*/ 220 w 498"/>
                <a:gd name="T105" fmla="*/ 30 h 120"/>
                <a:gd name="T106" fmla="*/ 228 w 498"/>
                <a:gd name="T107" fmla="*/ 19 h 120"/>
                <a:gd name="T108" fmla="*/ 291 w 498"/>
                <a:gd name="T109" fmla="*/ 9 h 120"/>
                <a:gd name="T110" fmla="*/ 360 w 498"/>
                <a:gd name="T111" fmla="*/ 5 h 120"/>
                <a:gd name="T112" fmla="*/ 249 w 498"/>
                <a:gd name="T113" fmla="*/ 1 h 120"/>
                <a:gd name="T114" fmla="*/ 188 w 498"/>
                <a:gd name="T115" fmla="*/ 20 h 120"/>
                <a:gd name="T116" fmla="*/ 145 w 498"/>
                <a:gd name="T117" fmla="*/ 29 h 120"/>
                <a:gd name="T118" fmla="*/ 109 w 498"/>
                <a:gd name="T119" fmla="*/ 24 h 120"/>
                <a:gd name="T120" fmla="*/ 134 w 498"/>
                <a:gd name="T121" fmla="*/ 16 h 120"/>
                <a:gd name="T122" fmla="*/ 169 w 498"/>
                <a:gd name="T123" fmla="*/ 8 h 120"/>
                <a:gd name="T124" fmla="*/ 176 w 498"/>
                <a:gd name="T125" fmla="*/ 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8" h="120">
                  <a:moveTo>
                    <a:pt x="54" y="41"/>
                  </a:moveTo>
                  <a:lnTo>
                    <a:pt x="57" y="41"/>
                  </a:lnTo>
                  <a:lnTo>
                    <a:pt x="59" y="42"/>
                  </a:lnTo>
                  <a:lnTo>
                    <a:pt x="62" y="42"/>
                  </a:lnTo>
                  <a:lnTo>
                    <a:pt x="67" y="42"/>
                  </a:lnTo>
                  <a:lnTo>
                    <a:pt x="64" y="43"/>
                  </a:lnTo>
                  <a:lnTo>
                    <a:pt x="61" y="45"/>
                  </a:lnTo>
                  <a:lnTo>
                    <a:pt x="58" y="46"/>
                  </a:lnTo>
                  <a:lnTo>
                    <a:pt x="57" y="48"/>
                  </a:lnTo>
                  <a:lnTo>
                    <a:pt x="55" y="48"/>
                  </a:lnTo>
                  <a:lnTo>
                    <a:pt x="52" y="48"/>
                  </a:lnTo>
                  <a:lnTo>
                    <a:pt x="48" y="46"/>
                  </a:lnTo>
                  <a:lnTo>
                    <a:pt x="47" y="46"/>
                  </a:lnTo>
                  <a:lnTo>
                    <a:pt x="46" y="46"/>
                  </a:lnTo>
                  <a:lnTo>
                    <a:pt x="46" y="46"/>
                  </a:lnTo>
                  <a:lnTo>
                    <a:pt x="46" y="46"/>
                  </a:lnTo>
                  <a:lnTo>
                    <a:pt x="47" y="48"/>
                  </a:lnTo>
                  <a:lnTo>
                    <a:pt x="47" y="49"/>
                  </a:lnTo>
                  <a:lnTo>
                    <a:pt x="47" y="49"/>
                  </a:lnTo>
                  <a:lnTo>
                    <a:pt x="47" y="49"/>
                  </a:lnTo>
                  <a:lnTo>
                    <a:pt x="46" y="50"/>
                  </a:lnTo>
                  <a:lnTo>
                    <a:pt x="46" y="50"/>
                  </a:lnTo>
                  <a:lnTo>
                    <a:pt x="44" y="50"/>
                  </a:lnTo>
                  <a:lnTo>
                    <a:pt x="43" y="50"/>
                  </a:lnTo>
                  <a:lnTo>
                    <a:pt x="42" y="50"/>
                  </a:lnTo>
                  <a:lnTo>
                    <a:pt x="42" y="50"/>
                  </a:lnTo>
                  <a:lnTo>
                    <a:pt x="41" y="49"/>
                  </a:lnTo>
                  <a:lnTo>
                    <a:pt x="41" y="49"/>
                  </a:lnTo>
                  <a:lnTo>
                    <a:pt x="41" y="48"/>
                  </a:lnTo>
                  <a:lnTo>
                    <a:pt x="42" y="48"/>
                  </a:lnTo>
                  <a:lnTo>
                    <a:pt x="43" y="46"/>
                  </a:lnTo>
                  <a:lnTo>
                    <a:pt x="43" y="45"/>
                  </a:lnTo>
                  <a:lnTo>
                    <a:pt x="43" y="43"/>
                  </a:lnTo>
                  <a:lnTo>
                    <a:pt x="44" y="43"/>
                  </a:lnTo>
                  <a:lnTo>
                    <a:pt x="46" y="43"/>
                  </a:lnTo>
                  <a:lnTo>
                    <a:pt x="47" y="42"/>
                  </a:lnTo>
                  <a:lnTo>
                    <a:pt x="48" y="42"/>
                  </a:lnTo>
                  <a:lnTo>
                    <a:pt x="51" y="41"/>
                  </a:lnTo>
                  <a:lnTo>
                    <a:pt x="54" y="41"/>
                  </a:lnTo>
                  <a:close/>
                  <a:moveTo>
                    <a:pt x="34" y="41"/>
                  </a:moveTo>
                  <a:lnTo>
                    <a:pt x="35" y="41"/>
                  </a:lnTo>
                  <a:lnTo>
                    <a:pt x="36" y="42"/>
                  </a:lnTo>
                  <a:lnTo>
                    <a:pt x="36" y="42"/>
                  </a:lnTo>
                  <a:lnTo>
                    <a:pt x="36" y="42"/>
                  </a:lnTo>
                  <a:lnTo>
                    <a:pt x="35" y="43"/>
                  </a:lnTo>
                  <a:lnTo>
                    <a:pt x="34" y="43"/>
                  </a:lnTo>
                  <a:lnTo>
                    <a:pt x="34" y="43"/>
                  </a:lnTo>
                  <a:lnTo>
                    <a:pt x="33" y="43"/>
                  </a:lnTo>
                  <a:lnTo>
                    <a:pt x="33" y="43"/>
                  </a:lnTo>
                  <a:lnTo>
                    <a:pt x="34" y="43"/>
                  </a:lnTo>
                  <a:lnTo>
                    <a:pt x="34" y="43"/>
                  </a:lnTo>
                  <a:lnTo>
                    <a:pt x="35" y="43"/>
                  </a:lnTo>
                  <a:lnTo>
                    <a:pt x="36" y="43"/>
                  </a:lnTo>
                  <a:lnTo>
                    <a:pt x="37" y="43"/>
                  </a:lnTo>
                  <a:lnTo>
                    <a:pt x="37" y="44"/>
                  </a:lnTo>
                  <a:lnTo>
                    <a:pt x="36" y="45"/>
                  </a:lnTo>
                  <a:lnTo>
                    <a:pt x="34" y="46"/>
                  </a:lnTo>
                  <a:lnTo>
                    <a:pt x="33" y="46"/>
                  </a:lnTo>
                  <a:lnTo>
                    <a:pt x="31" y="46"/>
                  </a:lnTo>
                  <a:lnTo>
                    <a:pt x="29" y="46"/>
                  </a:lnTo>
                  <a:lnTo>
                    <a:pt x="29" y="48"/>
                  </a:lnTo>
                  <a:lnTo>
                    <a:pt x="31" y="48"/>
                  </a:lnTo>
                  <a:lnTo>
                    <a:pt x="31" y="49"/>
                  </a:lnTo>
                  <a:lnTo>
                    <a:pt x="32" y="49"/>
                  </a:lnTo>
                  <a:lnTo>
                    <a:pt x="31" y="50"/>
                  </a:lnTo>
                  <a:lnTo>
                    <a:pt x="29" y="50"/>
                  </a:lnTo>
                  <a:lnTo>
                    <a:pt x="28" y="50"/>
                  </a:lnTo>
                  <a:lnTo>
                    <a:pt x="28" y="50"/>
                  </a:lnTo>
                  <a:lnTo>
                    <a:pt x="28" y="51"/>
                  </a:lnTo>
                  <a:lnTo>
                    <a:pt x="27" y="51"/>
                  </a:lnTo>
                  <a:lnTo>
                    <a:pt x="26" y="52"/>
                  </a:lnTo>
                  <a:lnTo>
                    <a:pt x="25" y="53"/>
                  </a:lnTo>
                  <a:lnTo>
                    <a:pt x="24" y="53"/>
                  </a:lnTo>
                  <a:lnTo>
                    <a:pt x="22" y="53"/>
                  </a:lnTo>
                  <a:lnTo>
                    <a:pt x="22" y="52"/>
                  </a:lnTo>
                  <a:lnTo>
                    <a:pt x="21" y="53"/>
                  </a:lnTo>
                  <a:lnTo>
                    <a:pt x="20" y="53"/>
                  </a:lnTo>
                  <a:lnTo>
                    <a:pt x="19" y="55"/>
                  </a:lnTo>
                  <a:lnTo>
                    <a:pt x="18" y="55"/>
                  </a:lnTo>
                  <a:lnTo>
                    <a:pt x="16" y="53"/>
                  </a:lnTo>
                  <a:lnTo>
                    <a:pt x="14" y="53"/>
                  </a:lnTo>
                  <a:lnTo>
                    <a:pt x="13" y="53"/>
                  </a:lnTo>
                  <a:lnTo>
                    <a:pt x="12" y="53"/>
                  </a:lnTo>
                  <a:lnTo>
                    <a:pt x="11" y="53"/>
                  </a:lnTo>
                  <a:lnTo>
                    <a:pt x="10" y="53"/>
                  </a:lnTo>
                  <a:lnTo>
                    <a:pt x="9" y="52"/>
                  </a:lnTo>
                  <a:lnTo>
                    <a:pt x="7" y="51"/>
                  </a:lnTo>
                  <a:lnTo>
                    <a:pt x="6" y="51"/>
                  </a:lnTo>
                  <a:lnTo>
                    <a:pt x="5" y="52"/>
                  </a:lnTo>
                  <a:lnTo>
                    <a:pt x="4" y="52"/>
                  </a:lnTo>
                  <a:lnTo>
                    <a:pt x="4" y="51"/>
                  </a:lnTo>
                  <a:lnTo>
                    <a:pt x="3" y="51"/>
                  </a:lnTo>
                  <a:lnTo>
                    <a:pt x="0" y="50"/>
                  </a:lnTo>
                  <a:lnTo>
                    <a:pt x="3" y="49"/>
                  </a:lnTo>
                  <a:lnTo>
                    <a:pt x="5" y="48"/>
                  </a:lnTo>
                  <a:lnTo>
                    <a:pt x="6" y="46"/>
                  </a:lnTo>
                  <a:lnTo>
                    <a:pt x="17" y="46"/>
                  </a:lnTo>
                  <a:lnTo>
                    <a:pt x="17" y="46"/>
                  </a:lnTo>
                  <a:lnTo>
                    <a:pt x="16" y="46"/>
                  </a:lnTo>
                  <a:lnTo>
                    <a:pt x="14" y="45"/>
                  </a:lnTo>
                  <a:lnTo>
                    <a:pt x="13" y="45"/>
                  </a:lnTo>
                  <a:lnTo>
                    <a:pt x="13" y="44"/>
                  </a:lnTo>
                  <a:lnTo>
                    <a:pt x="13" y="43"/>
                  </a:lnTo>
                  <a:lnTo>
                    <a:pt x="16" y="43"/>
                  </a:lnTo>
                  <a:lnTo>
                    <a:pt x="17" y="43"/>
                  </a:lnTo>
                  <a:lnTo>
                    <a:pt x="18" y="43"/>
                  </a:lnTo>
                  <a:lnTo>
                    <a:pt x="19" y="43"/>
                  </a:lnTo>
                  <a:lnTo>
                    <a:pt x="21" y="43"/>
                  </a:lnTo>
                  <a:lnTo>
                    <a:pt x="22" y="43"/>
                  </a:lnTo>
                  <a:lnTo>
                    <a:pt x="24" y="43"/>
                  </a:lnTo>
                  <a:lnTo>
                    <a:pt x="26" y="42"/>
                  </a:lnTo>
                  <a:lnTo>
                    <a:pt x="27" y="42"/>
                  </a:lnTo>
                  <a:lnTo>
                    <a:pt x="28" y="42"/>
                  </a:lnTo>
                  <a:lnTo>
                    <a:pt x="31" y="41"/>
                  </a:lnTo>
                  <a:lnTo>
                    <a:pt x="33" y="41"/>
                  </a:lnTo>
                  <a:lnTo>
                    <a:pt x="34" y="41"/>
                  </a:lnTo>
                  <a:close/>
                  <a:moveTo>
                    <a:pt x="125" y="40"/>
                  </a:moveTo>
                  <a:lnTo>
                    <a:pt x="126" y="40"/>
                  </a:lnTo>
                  <a:lnTo>
                    <a:pt x="127" y="41"/>
                  </a:lnTo>
                  <a:lnTo>
                    <a:pt x="127" y="41"/>
                  </a:lnTo>
                  <a:lnTo>
                    <a:pt x="127" y="42"/>
                  </a:lnTo>
                  <a:lnTo>
                    <a:pt x="129" y="42"/>
                  </a:lnTo>
                  <a:lnTo>
                    <a:pt x="129" y="43"/>
                  </a:lnTo>
                  <a:lnTo>
                    <a:pt x="127" y="44"/>
                  </a:lnTo>
                  <a:lnTo>
                    <a:pt x="127" y="44"/>
                  </a:lnTo>
                  <a:lnTo>
                    <a:pt x="127" y="45"/>
                  </a:lnTo>
                  <a:lnTo>
                    <a:pt x="129" y="45"/>
                  </a:lnTo>
                  <a:lnTo>
                    <a:pt x="130" y="45"/>
                  </a:lnTo>
                  <a:lnTo>
                    <a:pt x="130" y="45"/>
                  </a:lnTo>
                  <a:lnTo>
                    <a:pt x="130" y="46"/>
                  </a:lnTo>
                  <a:lnTo>
                    <a:pt x="129" y="48"/>
                  </a:lnTo>
                  <a:lnTo>
                    <a:pt x="127" y="49"/>
                  </a:lnTo>
                  <a:lnTo>
                    <a:pt x="126" y="50"/>
                  </a:lnTo>
                  <a:lnTo>
                    <a:pt x="127" y="50"/>
                  </a:lnTo>
                  <a:lnTo>
                    <a:pt x="129" y="50"/>
                  </a:lnTo>
                  <a:lnTo>
                    <a:pt x="131" y="49"/>
                  </a:lnTo>
                  <a:lnTo>
                    <a:pt x="132" y="46"/>
                  </a:lnTo>
                  <a:lnTo>
                    <a:pt x="133" y="45"/>
                  </a:lnTo>
                  <a:lnTo>
                    <a:pt x="134" y="45"/>
                  </a:lnTo>
                  <a:lnTo>
                    <a:pt x="134" y="45"/>
                  </a:lnTo>
                  <a:lnTo>
                    <a:pt x="134" y="46"/>
                  </a:lnTo>
                  <a:lnTo>
                    <a:pt x="136" y="46"/>
                  </a:lnTo>
                  <a:lnTo>
                    <a:pt x="137" y="46"/>
                  </a:lnTo>
                  <a:lnTo>
                    <a:pt x="138" y="45"/>
                  </a:lnTo>
                  <a:lnTo>
                    <a:pt x="139" y="44"/>
                  </a:lnTo>
                  <a:lnTo>
                    <a:pt x="140" y="44"/>
                  </a:lnTo>
                  <a:lnTo>
                    <a:pt x="140" y="45"/>
                  </a:lnTo>
                  <a:lnTo>
                    <a:pt x="140" y="45"/>
                  </a:lnTo>
                  <a:lnTo>
                    <a:pt x="141" y="46"/>
                  </a:lnTo>
                  <a:lnTo>
                    <a:pt x="141" y="48"/>
                  </a:lnTo>
                  <a:lnTo>
                    <a:pt x="141" y="46"/>
                  </a:lnTo>
                  <a:lnTo>
                    <a:pt x="143" y="48"/>
                  </a:lnTo>
                  <a:lnTo>
                    <a:pt x="145" y="49"/>
                  </a:lnTo>
                  <a:lnTo>
                    <a:pt x="146" y="50"/>
                  </a:lnTo>
                  <a:lnTo>
                    <a:pt x="145" y="49"/>
                  </a:lnTo>
                  <a:lnTo>
                    <a:pt x="145" y="49"/>
                  </a:lnTo>
                  <a:lnTo>
                    <a:pt x="146" y="48"/>
                  </a:lnTo>
                  <a:lnTo>
                    <a:pt x="146" y="48"/>
                  </a:lnTo>
                  <a:lnTo>
                    <a:pt x="147" y="48"/>
                  </a:lnTo>
                  <a:lnTo>
                    <a:pt x="147" y="48"/>
                  </a:lnTo>
                  <a:lnTo>
                    <a:pt x="146" y="46"/>
                  </a:lnTo>
                  <a:lnTo>
                    <a:pt x="145" y="45"/>
                  </a:lnTo>
                  <a:lnTo>
                    <a:pt x="145" y="44"/>
                  </a:lnTo>
                  <a:lnTo>
                    <a:pt x="145" y="44"/>
                  </a:lnTo>
                  <a:lnTo>
                    <a:pt x="147" y="44"/>
                  </a:lnTo>
                  <a:lnTo>
                    <a:pt x="148" y="43"/>
                  </a:lnTo>
                  <a:lnTo>
                    <a:pt x="151" y="43"/>
                  </a:lnTo>
                  <a:lnTo>
                    <a:pt x="153" y="43"/>
                  </a:lnTo>
                  <a:lnTo>
                    <a:pt x="155" y="44"/>
                  </a:lnTo>
                  <a:lnTo>
                    <a:pt x="158" y="44"/>
                  </a:lnTo>
                  <a:lnTo>
                    <a:pt x="159" y="45"/>
                  </a:lnTo>
                  <a:lnTo>
                    <a:pt x="160" y="46"/>
                  </a:lnTo>
                  <a:lnTo>
                    <a:pt x="160" y="46"/>
                  </a:lnTo>
                  <a:lnTo>
                    <a:pt x="162" y="48"/>
                  </a:lnTo>
                  <a:lnTo>
                    <a:pt x="163" y="48"/>
                  </a:lnTo>
                  <a:lnTo>
                    <a:pt x="166" y="49"/>
                  </a:lnTo>
                  <a:lnTo>
                    <a:pt x="167" y="49"/>
                  </a:lnTo>
                  <a:lnTo>
                    <a:pt x="169" y="48"/>
                  </a:lnTo>
                  <a:lnTo>
                    <a:pt x="171" y="48"/>
                  </a:lnTo>
                  <a:lnTo>
                    <a:pt x="173" y="49"/>
                  </a:lnTo>
                  <a:lnTo>
                    <a:pt x="173" y="49"/>
                  </a:lnTo>
                  <a:lnTo>
                    <a:pt x="174" y="49"/>
                  </a:lnTo>
                  <a:lnTo>
                    <a:pt x="174" y="49"/>
                  </a:lnTo>
                  <a:lnTo>
                    <a:pt x="175" y="49"/>
                  </a:lnTo>
                  <a:lnTo>
                    <a:pt x="176" y="49"/>
                  </a:lnTo>
                  <a:lnTo>
                    <a:pt x="176" y="50"/>
                  </a:lnTo>
                  <a:lnTo>
                    <a:pt x="176" y="51"/>
                  </a:lnTo>
                  <a:lnTo>
                    <a:pt x="176" y="52"/>
                  </a:lnTo>
                  <a:lnTo>
                    <a:pt x="176" y="52"/>
                  </a:lnTo>
                  <a:lnTo>
                    <a:pt x="177" y="52"/>
                  </a:lnTo>
                  <a:lnTo>
                    <a:pt x="179" y="51"/>
                  </a:lnTo>
                  <a:lnTo>
                    <a:pt x="181" y="51"/>
                  </a:lnTo>
                  <a:lnTo>
                    <a:pt x="182" y="52"/>
                  </a:lnTo>
                  <a:lnTo>
                    <a:pt x="183" y="52"/>
                  </a:lnTo>
                  <a:lnTo>
                    <a:pt x="183" y="52"/>
                  </a:lnTo>
                  <a:lnTo>
                    <a:pt x="183" y="52"/>
                  </a:lnTo>
                  <a:lnTo>
                    <a:pt x="182" y="53"/>
                  </a:lnTo>
                  <a:lnTo>
                    <a:pt x="179" y="55"/>
                  </a:lnTo>
                  <a:lnTo>
                    <a:pt x="177" y="56"/>
                  </a:lnTo>
                  <a:lnTo>
                    <a:pt x="177" y="57"/>
                  </a:lnTo>
                  <a:lnTo>
                    <a:pt x="176" y="57"/>
                  </a:lnTo>
                  <a:lnTo>
                    <a:pt x="177" y="57"/>
                  </a:lnTo>
                  <a:lnTo>
                    <a:pt x="179" y="56"/>
                  </a:lnTo>
                  <a:lnTo>
                    <a:pt x="182" y="55"/>
                  </a:lnTo>
                  <a:lnTo>
                    <a:pt x="184" y="53"/>
                  </a:lnTo>
                  <a:lnTo>
                    <a:pt x="185" y="53"/>
                  </a:lnTo>
                  <a:lnTo>
                    <a:pt x="189" y="53"/>
                  </a:lnTo>
                  <a:lnTo>
                    <a:pt x="189" y="55"/>
                  </a:lnTo>
                  <a:lnTo>
                    <a:pt x="189" y="56"/>
                  </a:lnTo>
                  <a:lnTo>
                    <a:pt x="189" y="56"/>
                  </a:lnTo>
                  <a:lnTo>
                    <a:pt x="189" y="57"/>
                  </a:lnTo>
                  <a:lnTo>
                    <a:pt x="190" y="59"/>
                  </a:lnTo>
                  <a:lnTo>
                    <a:pt x="190" y="59"/>
                  </a:lnTo>
                  <a:lnTo>
                    <a:pt x="190" y="60"/>
                  </a:lnTo>
                  <a:lnTo>
                    <a:pt x="188" y="60"/>
                  </a:lnTo>
                  <a:lnTo>
                    <a:pt x="185" y="60"/>
                  </a:lnTo>
                  <a:lnTo>
                    <a:pt x="183" y="61"/>
                  </a:lnTo>
                  <a:lnTo>
                    <a:pt x="181" y="61"/>
                  </a:lnTo>
                  <a:lnTo>
                    <a:pt x="179" y="61"/>
                  </a:lnTo>
                  <a:lnTo>
                    <a:pt x="179" y="63"/>
                  </a:lnTo>
                  <a:lnTo>
                    <a:pt x="182" y="63"/>
                  </a:lnTo>
                  <a:lnTo>
                    <a:pt x="185" y="61"/>
                  </a:lnTo>
                  <a:lnTo>
                    <a:pt x="188" y="61"/>
                  </a:lnTo>
                  <a:lnTo>
                    <a:pt x="190" y="61"/>
                  </a:lnTo>
                  <a:lnTo>
                    <a:pt x="192" y="63"/>
                  </a:lnTo>
                  <a:lnTo>
                    <a:pt x="192" y="63"/>
                  </a:lnTo>
                  <a:lnTo>
                    <a:pt x="191" y="64"/>
                  </a:lnTo>
                  <a:lnTo>
                    <a:pt x="190" y="64"/>
                  </a:lnTo>
                  <a:lnTo>
                    <a:pt x="189" y="64"/>
                  </a:lnTo>
                  <a:lnTo>
                    <a:pt x="188" y="64"/>
                  </a:lnTo>
                  <a:lnTo>
                    <a:pt x="186" y="64"/>
                  </a:lnTo>
                  <a:lnTo>
                    <a:pt x="188" y="64"/>
                  </a:lnTo>
                  <a:lnTo>
                    <a:pt x="189" y="64"/>
                  </a:lnTo>
                  <a:lnTo>
                    <a:pt x="189" y="64"/>
                  </a:lnTo>
                  <a:lnTo>
                    <a:pt x="190" y="65"/>
                  </a:lnTo>
                  <a:lnTo>
                    <a:pt x="190" y="65"/>
                  </a:lnTo>
                  <a:lnTo>
                    <a:pt x="192" y="64"/>
                  </a:lnTo>
                  <a:lnTo>
                    <a:pt x="193" y="64"/>
                  </a:lnTo>
                  <a:lnTo>
                    <a:pt x="194" y="64"/>
                  </a:lnTo>
                  <a:lnTo>
                    <a:pt x="194" y="65"/>
                  </a:lnTo>
                  <a:lnTo>
                    <a:pt x="194" y="65"/>
                  </a:lnTo>
                  <a:lnTo>
                    <a:pt x="194" y="66"/>
                  </a:lnTo>
                  <a:lnTo>
                    <a:pt x="194" y="66"/>
                  </a:lnTo>
                  <a:lnTo>
                    <a:pt x="196" y="66"/>
                  </a:lnTo>
                  <a:lnTo>
                    <a:pt x="196" y="66"/>
                  </a:lnTo>
                  <a:lnTo>
                    <a:pt x="196" y="66"/>
                  </a:lnTo>
                  <a:lnTo>
                    <a:pt x="197" y="67"/>
                  </a:lnTo>
                  <a:lnTo>
                    <a:pt x="197" y="67"/>
                  </a:lnTo>
                  <a:lnTo>
                    <a:pt x="197" y="68"/>
                  </a:lnTo>
                  <a:lnTo>
                    <a:pt x="199" y="67"/>
                  </a:lnTo>
                  <a:lnTo>
                    <a:pt x="199" y="67"/>
                  </a:lnTo>
                  <a:lnTo>
                    <a:pt x="199" y="67"/>
                  </a:lnTo>
                  <a:lnTo>
                    <a:pt x="200" y="68"/>
                  </a:lnTo>
                  <a:lnTo>
                    <a:pt x="200" y="70"/>
                  </a:lnTo>
                  <a:lnTo>
                    <a:pt x="203" y="70"/>
                  </a:lnTo>
                  <a:lnTo>
                    <a:pt x="204" y="68"/>
                  </a:lnTo>
                  <a:lnTo>
                    <a:pt x="204" y="68"/>
                  </a:lnTo>
                  <a:lnTo>
                    <a:pt x="204" y="70"/>
                  </a:lnTo>
                  <a:lnTo>
                    <a:pt x="204" y="70"/>
                  </a:lnTo>
                  <a:lnTo>
                    <a:pt x="204" y="71"/>
                  </a:lnTo>
                  <a:lnTo>
                    <a:pt x="205" y="71"/>
                  </a:lnTo>
                  <a:lnTo>
                    <a:pt x="205" y="71"/>
                  </a:lnTo>
                  <a:lnTo>
                    <a:pt x="207" y="70"/>
                  </a:lnTo>
                  <a:lnTo>
                    <a:pt x="209" y="68"/>
                  </a:lnTo>
                  <a:lnTo>
                    <a:pt x="209" y="68"/>
                  </a:lnTo>
                  <a:lnTo>
                    <a:pt x="211" y="70"/>
                  </a:lnTo>
                  <a:lnTo>
                    <a:pt x="211" y="71"/>
                  </a:lnTo>
                  <a:lnTo>
                    <a:pt x="213" y="71"/>
                  </a:lnTo>
                  <a:lnTo>
                    <a:pt x="214" y="72"/>
                  </a:lnTo>
                  <a:lnTo>
                    <a:pt x="213" y="72"/>
                  </a:lnTo>
                  <a:lnTo>
                    <a:pt x="213" y="72"/>
                  </a:lnTo>
                  <a:lnTo>
                    <a:pt x="212" y="73"/>
                  </a:lnTo>
                  <a:lnTo>
                    <a:pt x="211" y="73"/>
                  </a:lnTo>
                  <a:lnTo>
                    <a:pt x="211" y="73"/>
                  </a:lnTo>
                  <a:lnTo>
                    <a:pt x="211" y="74"/>
                  </a:lnTo>
                  <a:lnTo>
                    <a:pt x="211" y="75"/>
                  </a:lnTo>
                  <a:lnTo>
                    <a:pt x="211" y="75"/>
                  </a:lnTo>
                  <a:lnTo>
                    <a:pt x="209" y="74"/>
                  </a:lnTo>
                  <a:lnTo>
                    <a:pt x="207" y="74"/>
                  </a:lnTo>
                  <a:lnTo>
                    <a:pt x="206" y="74"/>
                  </a:lnTo>
                  <a:lnTo>
                    <a:pt x="205" y="73"/>
                  </a:lnTo>
                  <a:lnTo>
                    <a:pt x="204" y="74"/>
                  </a:lnTo>
                  <a:lnTo>
                    <a:pt x="204" y="74"/>
                  </a:lnTo>
                  <a:lnTo>
                    <a:pt x="204" y="75"/>
                  </a:lnTo>
                  <a:lnTo>
                    <a:pt x="204" y="76"/>
                  </a:lnTo>
                  <a:lnTo>
                    <a:pt x="203" y="76"/>
                  </a:lnTo>
                  <a:lnTo>
                    <a:pt x="200" y="76"/>
                  </a:lnTo>
                  <a:lnTo>
                    <a:pt x="199" y="76"/>
                  </a:lnTo>
                  <a:lnTo>
                    <a:pt x="198" y="76"/>
                  </a:lnTo>
                  <a:lnTo>
                    <a:pt x="199" y="76"/>
                  </a:lnTo>
                  <a:lnTo>
                    <a:pt x="199" y="78"/>
                  </a:lnTo>
                  <a:lnTo>
                    <a:pt x="198" y="78"/>
                  </a:lnTo>
                  <a:lnTo>
                    <a:pt x="197" y="79"/>
                  </a:lnTo>
                  <a:lnTo>
                    <a:pt x="196" y="79"/>
                  </a:lnTo>
                  <a:lnTo>
                    <a:pt x="194" y="79"/>
                  </a:lnTo>
                  <a:lnTo>
                    <a:pt x="193" y="79"/>
                  </a:lnTo>
                  <a:lnTo>
                    <a:pt x="193" y="80"/>
                  </a:lnTo>
                  <a:lnTo>
                    <a:pt x="193" y="80"/>
                  </a:lnTo>
                  <a:lnTo>
                    <a:pt x="193" y="80"/>
                  </a:lnTo>
                  <a:lnTo>
                    <a:pt x="192" y="80"/>
                  </a:lnTo>
                  <a:lnTo>
                    <a:pt x="191" y="79"/>
                  </a:lnTo>
                  <a:lnTo>
                    <a:pt x="190" y="79"/>
                  </a:lnTo>
                  <a:lnTo>
                    <a:pt x="190" y="79"/>
                  </a:lnTo>
                  <a:lnTo>
                    <a:pt x="190" y="80"/>
                  </a:lnTo>
                  <a:lnTo>
                    <a:pt x="190" y="81"/>
                  </a:lnTo>
                  <a:lnTo>
                    <a:pt x="190" y="82"/>
                  </a:lnTo>
                  <a:lnTo>
                    <a:pt x="190" y="82"/>
                  </a:lnTo>
                  <a:lnTo>
                    <a:pt x="189" y="82"/>
                  </a:lnTo>
                  <a:lnTo>
                    <a:pt x="188" y="81"/>
                  </a:lnTo>
                  <a:lnTo>
                    <a:pt x="188" y="81"/>
                  </a:lnTo>
                  <a:lnTo>
                    <a:pt x="189" y="82"/>
                  </a:lnTo>
                  <a:lnTo>
                    <a:pt x="189" y="82"/>
                  </a:lnTo>
                  <a:lnTo>
                    <a:pt x="189" y="83"/>
                  </a:lnTo>
                  <a:lnTo>
                    <a:pt x="188" y="83"/>
                  </a:lnTo>
                  <a:lnTo>
                    <a:pt x="186" y="83"/>
                  </a:lnTo>
                  <a:lnTo>
                    <a:pt x="185" y="83"/>
                  </a:lnTo>
                  <a:lnTo>
                    <a:pt x="185" y="83"/>
                  </a:lnTo>
                  <a:lnTo>
                    <a:pt x="184" y="83"/>
                  </a:lnTo>
                  <a:lnTo>
                    <a:pt x="185" y="85"/>
                  </a:lnTo>
                  <a:lnTo>
                    <a:pt x="186" y="86"/>
                  </a:lnTo>
                  <a:lnTo>
                    <a:pt x="186" y="86"/>
                  </a:lnTo>
                  <a:lnTo>
                    <a:pt x="186" y="87"/>
                  </a:lnTo>
                  <a:lnTo>
                    <a:pt x="184" y="87"/>
                  </a:lnTo>
                  <a:lnTo>
                    <a:pt x="183" y="87"/>
                  </a:lnTo>
                  <a:lnTo>
                    <a:pt x="183" y="87"/>
                  </a:lnTo>
                  <a:lnTo>
                    <a:pt x="182" y="86"/>
                  </a:lnTo>
                  <a:lnTo>
                    <a:pt x="182" y="86"/>
                  </a:lnTo>
                  <a:lnTo>
                    <a:pt x="182" y="85"/>
                  </a:lnTo>
                  <a:lnTo>
                    <a:pt x="181" y="86"/>
                  </a:lnTo>
                  <a:lnTo>
                    <a:pt x="181" y="85"/>
                  </a:lnTo>
                  <a:lnTo>
                    <a:pt x="181" y="85"/>
                  </a:lnTo>
                  <a:lnTo>
                    <a:pt x="181" y="85"/>
                  </a:lnTo>
                  <a:lnTo>
                    <a:pt x="181" y="83"/>
                  </a:lnTo>
                  <a:lnTo>
                    <a:pt x="179" y="83"/>
                  </a:lnTo>
                  <a:lnTo>
                    <a:pt x="178" y="82"/>
                  </a:lnTo>
                  <a:lnTo>
                    <a:pt x="178" y="81"/>
                  </a:lnTo>
                  <a:lnTo>
                    <a:pt x="178" y="80"/>
                  </a:lnTo>
                  <a:lnTo>
                    <a:pt x="179" y="79"/>
                  </a:lnTo>
                  <a:lnTo>
                    <a:pt x="179" y="78"/>
                  </a:lnTo>
                  <a:lnTo>
                    <a:pt x="179" y="78"/>
                  </a:lnTo>
                  <a:lnTo>
                    <a:pt x="179" y="79"/>
                  </a:lnTo>
                  <a:lnTo>
                    <a:pt x="177" y="80"/>
                  </a:lnTo>
                  <a:lnTo>
                    <a:pt x="176" y="81"/>
                  </a:lnTo>
                  <a:lnTo>
                    <a:pt x="174" y="82"/>
                  </a:lnTo>
                  <a:lnTo>
                    <a:pt x="174" y="81"/>
                  </a:lnTo>
                  <a:lnTo>
                    <a:pt x="174" y="81"/>
                  </a:lnTo>
                  <a:lnTo>
                    <a:pt x="173" y="81"/>
                  </a:lnTo>
                  <a:lnTo>
                    <a:pt x="173" y="81"/>
                  </a:lnTo>
                  <a:lnTo>
                    <a:pt x="173" y="80"/>
                  </a:lnTo>
                  <a:lnTo>
                    <a:pt x="173" y="79"/>
                  </a:lnTo>
                  <a:lnTo>
                    <a:pt x="171" y="79"/>
                  </a:lnTo>
                  <a:lnTo>
                    <a:pt x="170" y="79"/>
                  </a:lnTo>
                  <a:lnTo>
                    <a:pt x="169" y="80"/>
                  </a:lnTo>
                  <a:lnTo>
                    <a:pt x="168" y="80"/>
                  </a:lnTo>
                  <a:lnTo>
                    <a:pt x="167" y="80"/>
                  </a:lnTo>
                  <a:lnTo>
                    <a:pt x="166" y="80"/>
                  </a:lnTo>
                  <a:lnTo>
                    <a:pt x="166" y="79"/>
                  </a:lnTo>
                  <a:lnTo>
                    <a:pt x="163" y="79"/>
                  </a:lnTo>
                  <a:lnTo>
                    <a:pt x="163" y="78"/>
                  </a:lnTo>
                  <a:lnTo>
                    <a:pt x="163" y="79"/>
                  </a:lnTo>
                  <a:lnTo>
                    <a:pt x="164" y="79"/>
                  </a:lnTo>
                  <a:lnTo>
                    <a:pt x="164" y="80"/>
                  </a:lnTo>
                  <a:lnTo>
                    <a:pt x="166" y="81"/>
                  </a:lnTo>
                  <a:lnTo>
                    <a:pt x="164" y="81"/>
                  </a:lnTo>
                  <a:lnTo>
                    <a:pt x="164" y="82"/>
                  </a:lnTo>
                  <a:lnTo>
                    <a:pt x="162" y="82"/>
                  </a:lnTo>
                  <a:lnTo>
                    <a:pt x="161" y="81"/>
                  </a:lnTo>
                  <a:lnTo>
                    <a:pt x="161" y="81"/>
                  </a:lnTo>
                  <a:lnTo>
                    <a:pt x="161" y="81"/>
                  </a:lnTo>
                  <a:lnTo>
                    <a:pt x="161" y="82"/>
                  </a:lnTo>
                  <a:lnTo>
                    <a:pt x="162" y="82"/>
                  </a:lnTo>
                  <a:lnTo>
                    <a:pt x="162" y="83"/>
                  </a:lnTo>
                  <a:lnTo>
                    <a:pt x="162" y="83"/>
                  </a:lnTo>
                  <a:lnTo>
                    <a:pt x="161" y="85"/>
                  </a:lnTo>
                  <a:lnTo>
                    <a:pt x="160" y="85"/>
                  </a:lnTo>
                  <a:lnTo>
                    <a:pt x="161" y="85"/>
                  </a:lnTo>
                  <a:lnTo>
                    <a:pt x="162" y="86"/>
                  </a:lnTo>
                  <a:lnTo>
                    <a:pt x="163" y="86"/>
                  </a:lnTo>
                  <a:lnTo>
                    <a:pt x="166" y="86"/>
                  </a:lnTo>
                  <a:lnTo>
                    <a:pt x="166" y="86"/>
                  </a:lnTo>
                  <a:lnTo>
                    <a:pt x="167" y="87"/>
                  </a:lnTo>
                  <a:lnTo>
                    <a:pt x="168" y="88"/>
                  </a:lnTo>
                  <a:lnTo>
                    <a:pt x="169" y="89"/>
                  </a:lnTo>
                  <a:lnTo>
                    <a:pt x="170" y="89"/>
                  </a:lnTo>
                  <a:lnTo>
                    <a:pt x="171" y="90"/>
                  </a:lnTo>
                  <a:lnTo>
                    <a:pt x="170" y="90"/>
                  </a:lnTo>
                  <a:lnTo>
                    <a:pt x="170" y="90"/>
                  </a:lnTo>
                  <a:lnTo>
                    <a:pt x="170" y="90"/>
                  </a:lnTo>
                  <a:lnTo>
                    <a:pt x="170" y="90"/>
                  </a:lnTo>
                  <a:lnTo>
                    <a:pt x="170" y="90"/>
                  </a:lnTo>
                  <a:lnTo>
                    <a:pt x="171" y="91"/>
                  </a:lnTo>
                  <a:lnTo>
                    <a:pt x="171" y="93"/>
                  </a:lnTo>
                  <a:lnTo>
                    <a:pt x="170" y="93"/>
                  </a:lnTo>
                  <a:lnTo>
                    <a:pt x="170" y="94"/>
                  </a:lnTo>
                  <a:lnTo>
                    <a:pt x="170" y="94"/>
                  </a:lnTo>
                  <a:lnTo>
                    <a:pt x="171" y="95"/>
                  </a:lnTo>
                  <a:lnTo>
                    <a:pt x="171" y="96"/>
                  </a:lnTo>
                  <a:lnTo>
                    <a:pt x="171" y="96"/>
                  </a:lnTo>
                  <a:lnTo>
                    <a:pt x="170" y="97"/>
                  </a:lnTo>
                  <a:lnTo>
                    <a:pt x="169" y="97"/>
                  </a:lnTo>
                  <a:lnTo>
                    <a:pt x="168" y="97"/>
                  </a:lnTo>
                  <a:lnTo>
                    <a:pt x="167" y="96"/>
                  </a:lnTo>
                  <a:lnTo>
                    <a:pt x="166" y="97"/>
                  </a:lnTo>
                  <a:lnTo>
                    <a:pt x="166" y="97"/>
                  </a:lnTo>
                  <a:lnTo>
                    <a:pt x="164" y="97"/>
                  </a:lnTo>
                  <a:lnTo>
                    <a:pt x="163" y="96"/>
                  </a:lnTo>
                  <a:lnTo>
                    <a:pt x="161" y="95"/>
                  </a:lnTo>
                  <a:lnTo>
                    <a:pt x="161" y="95"/>
                  </a:lnTo>
                  <a:lnTo>
                    <a:pt x="160" y="96"/>
                  </a:lnTo>
                  <a:lnTo>
                    <a:pt x="159" y="96"/>
                  </a:lnTo>
                  <a:lnTo>
                    <a:pt x="156" y="96"/>
                  </a:lnTo>
                  <a:lnTo>
                    <a:pt x="153" y="95"/>
                  </a:lnTo>
                  <a:lnTo>
                    <a:pt x="149" y="94"/>
                  </a:lnTo>
                  <a:lnTo>
                    <a:pt x="153" y="95"/>
                  </a:lnTo>
                  <a:lnTo>
                    <a:pt x="154" y="96"/>
                  </a:lnTo>
                  <a:lnTo>
                    <a:pt x="154" y="97"/>
                  </a:lnTo>
                  <a:lnTo>
                    <a:pt x="154" y="97"/>
                  </a:lnTo>
                  <a:lnTo>
                    <a:pt x="154" y="98"/>
                  </a:lnTo>
                  <a:lnTo>
                    <a:pt x="155" y="97"/>
                  </a:lnTo>
                  <a:lnTo>
                    <a:pt x="156" y="97"/>
                  </a:lnTo>
                  <a:lnTo>
                    <a:pt x="158" y="98"/>
                  </a:lnTo>
                  <a:lnTo>
                    <a:pt x="159" y="100"/>
                  </a:lnTo>
                  <a:lnTo>
                    <a:pt x="159" y="100"/>
                  </a:lnTo>
                  <a:lnTo>
                    <a:pt x="159" y="101"/>
                  </a:lnTo>
                  <a:lnTo>
                    <a:pt x="160" y="101"/>
                  </a:lnTo>
                  <a:lnTo>
                    <a:pt x="162" y="101"/>
                  </a:lnTo>
                  <a:lnTo>
                    <a:pt x="163" y="102"/>
                  </a:lnTo>
                  <a:lnTo>
                    <a:pt x="163" y="102"/>
                  </a:lnTo>
                  <a:lnTo>
                    <a:pt x="162" y="103"/>
                  </a:lnTo>
                  <a:lnTo>
                    <a:pt x="161" y="103"/>
                  </a:lnTo>
                  <a:lnTo>
                    <a:pt x="162" y="104"/>
                  </a:lnTo>
                  <a:lnTo>
                    <a:pt x="162" y="104"/>
                  </a:lnTo>
                  <a:lnTo>
                    <a:pt x="162" y="105"/>
                  </a:lnTo>
                  <a:lnTo>
                    <a:pt x="162" y="106"/>
                  </a:lnTo>
                  <a:lnTo>
                    <a:pt x="161" y="106"/>
                  </a:lnTo>
                  <a:lnTo>
                    <a:pt x="159" y="106"/>
                  </a:lnTo>
                  <a:lnTo>
                    <a:pt x="158" y="105"/>
                  </a:lnTo>
                  <a:lnTo>
                    <a:pt x="156" y="104"/>
                  </a:lnTo>
                  <a:lnTo>
                    <a:pt x="155" y="104"/>
                  </a:lnTo>
                  <a:lnTo>
                    <a:pt x="154" y="105"/>
                  </a:lnTo>
                  <a:lnTo>
                    <a:pt x="152" y="105"/>
                  </a:lnTo>
                  <a:lnTo>
                    <a:pt x="149" y="105"/>
                  </a:lnTo>
                  <a:lnTo>
                    <a:pt x="147" y="104"/>
                  </a:lnTo>
                  <a:lnTo>
                    <a:pt x="145" y="103"/>
                  </a:lnTo>
                  <a:lnTo>
                    <a:pt x="145" y="103"/>
                  </a:lnTo>
                  <a:lnTo>
                    <a:pt x="144" y="102"/>
                  </a:lnTo>
                  <a:lnTo>
                    <a:pt x="141" y="102"/>
                  </a:lnTo>
                  <a:lnTo>
                    <a:pt x="140" y="102"/>
                  </a:lnTo>
                  <a:lnTo>
                    <a:pt x="139" y="103"/>
                  </a:lnTo>
                  <a:lnTo>
                    <a:pt x="139" y="102"/>
                  </a:lnTo>
                  <a:lnTo>
                    <a:pt x="138" y="102"/>
                  </a:lnTo>
                  <a:lnTo>
                    <a:pt x="138" y="102"/>
                  </a:lnTo>
                  <a:lnTo>
                    <a:pt x="138" y="102"/>
                  </a:lnTo>
                  <a:lnTo>
                    <a:pt x="138" y="102"/>
                  </a:lnTo>
                  <a:lnTo>
                    <a:pt x="138" y="104"/>
                  </a:lnTo>
                  <a:lnTo>
                    <a:pt x="137" y="105"/>
                  </a:lnTo>
                  <a:lnTo>
                    <a:pt x="136" y="104"/>
                  </a:lnTo>
                  <a:lnTo>
                    <a:pt x="134" y="104"/>
                  </a:lnTo>
                  <a:lnTo>
                    <a:pt x="132" y="103"/>
                  </a:lnTo>
                  <a:lnTo>
                    <a:pt x="129" y="103"/>
                  </a:lnTo>
                  <a:lnTo>
                    <a:pt x="127" y="102"/>
                  </a:lnTo>
                  <a:lnTo>
                    <a:pt x="127" y="102"/>
                  </a:lnTo>
                  <a:lnTo>
                    <a:pt x="127" y="101"/>
                  </a:lnTo>
                  <a:lnTo>
                    <a:pt x="127" y="101"/>
                  </a:lnTo>
                  <a:lnTo>
                    <a:pt x="127" y="101"/>
                  </a:lnTo>
                  <a:lnTo>
                    <a:pt x="127" y="101"/>
                  </a:lnTo>
                  <a:lnTo>
                    <a:pt x="125" y="102"/>
                  </a:lnTo>
                  <a:lnTo>
                    <a:pt x="124" y="102"/>
                  </a:lnTo>
                  <a:lnTo>
                    <a:pt x="123" y="101"/>
                  </a:lnTo>
                  <a:lnTo>
                    <a:pt x="122" y="100"/>
                  </a:lnTo>
                  <a:lnTo>
                    <a:pt x="121" y="98"/>
                  </a:lnTo>
                  <a:lnTo>
                    <a:pt x="118" y="97"/>
                  </a:lnTo>
                  <a:lnTo>
                    <a:pt x="116" y="97"/>
                  </a:lnTo>
                  <a:lnTo>
                    <a:pt x="112" y="97"/>
                  </a:lnTo>
                  <a:lnTo>
                    <a:pt x="112" y="96"/>
                  </a:lnTo>
                  <a:lnTo>
                    <a:pt x="112" y="96"/>
                  </a:lnTo>
                  <a:lnTo>
                    <a:pt x="112" y="95"/>
                  </a:lnTo>
                  <a:lnTo>
                    <a:pt x="114" y="94"/>
                  </a:lnTo>
                  <a:lnTo>
                    <a:pt x="114" y="94"/>
                  </a:lnTo>
                  <a:lnTo>
                    <a:pt x="114" y="94"/>
                  </a:lnTo>
                  <a:lnTo>
                    <a:pt x="112" y="94"/>
                  </a:lnTo>
                  <a:lnTo>
                    <a:pt x="111" y="95"/>
                  </a:lnTo>
                  <a:lnTo>
                    <a:pt x="110" y="94"/>
                  </a:lnTo>
                  <a:lnTo>
                    <a:pt x="109" y="94"/>
                  </a:lnTo>
                  <a:lnTo>
                    <a:pt x="108" y="93"/>
                  </a:lnTo>
                  <a:lnTo>
                    <a:pt x="107" y="91"/>
                  </a:lnTo>
                  <a:lnTo>
                    <a:pt x="107" y="93"/>
                  </a:lnTo>
                  <a:lnTo>
                    <a:pt x="108" y="93"/>
                  </a:lnTo>
                  <a:lnTo>
                    <a:pt x="108" y="95"/>
                  </a:lnTo>
                  <a:lnTo>
                    <a:pt x="109" y="96"/>
                  </a:lnTo>
                  <a:lnTo>
                    <a:pt x="109" y="96"/>
                  </a:lnTo>
                  <a:lnTo>
                    <a:pt x="109" y="96"/>
                  </a:lnTo>
                  <a:lnTo>
                    <a:pt x="107" y="96"/>
                  </a:lnTo>
                  <a:lnTo>
                    <a:pt x="106" y="95"/>
                  </a:lnTo>
                  <a:lnTo>
                    <a:pt x="103" y="95"/>
                  </a:lnTo>
                  <a:lnTo>
                    <a:pt x="102" y="94"/>
                  </a:lnTo>
                  <a:lnTo>
                    <a:pt x="102" y="94"/>
                  </a:lnTo>
                  <a:lnTo>
                    <a:pt x="102" y="94"/>
                  </a:lnTo>
                  <a:lnTo>
                    <a:pt x="102" y="94"/>
                  </a:lnTo>
                  <a:lnTo>
                    <a:pt x="102" y="94"/>
                  </a:lnTo>
                  <a:lnTo>
                    <a:pt x="103" y="95"/>
                  </a:lnTo>
                  <a:lnTo>
                    <a:pt x="102" y="95"/>
                  </a:lnTo>
                  <a:lnTo>
                    <a:pt x="101" y="95"/>
                  </a:lnTo>
                  <a:lnTo>
                    <a:pt x="100" y="95"/>
                  </a:lnTo>
                  <a:lnTo>
                    <a:pt x="99" y="95"/>
                  </a:lnTo>
                  <a:lnTo>
                    <a:pt x="99" y="96"/>
                  </a:lnTo>
                  <a:lnTo>
                    <a:pt x="100" y="96"/>
                  </a:lnTo>
                  <a:lnTo>
                    <a:pt x="99" y="96"/>
                  </a:lnTo>
                  <a:lnTo>
                    <a:pt x="97" y="96"/>
                  </a:lnTo>
                  <a:lnTo>
                    <a:pt x="96" y="96"/>
                  </a:lnTo>
                  <a:lnTo>
                    <a:pt x="97" y="97"/>
                  </a:lnTo>
                  <a:lnTo>
                    <a:pt x="97" y="98"/>
                  </a:lnTo>
                  <a:lnTo>
                    <a:pt x="97" y="98"/>
                  </a:lnTo>
                  <a:lnTo>
                    <a:pt x="96" y="98"/>
                  </a:lnTo>
                  <a:lnTo>
                    <a:pt x="95" y="97"/>
                  </a:lnTo>
                  <a:lnTo>
                    <a:pt x="94" y="97"/>
                  </a:lnTo>
                  <a:lnTo>
                    <a:pt x="94" y="97"/>
                  </a:lnTo>
                  <a:lnTo>
                    <a:pt x="93" y="97"/>
                  </a:lnTo>
                  <a:lnTo>
                    <a:pt x="92" y="97"/>
                  </a:lnTo>
                  <a:lnTo>
                    <a:pt x="91" y="97"/>
                  </a:lnTo>
                  <a:lnTo>
                    <a:pt x="89" y="96"/>
                  </a:lnTo>
                  <a:lnTo>
                    <a:pt x="91" y="96"/>
                  </a:lnTo>
                  <a:lnTo>
                    <a:pt x="91" y="95"/>
                  </a:lnTo>
                  <a:lnTo>
                    <a:pt x="89" y="95"/>
                  </a:lnTo>
                  <a:lnTo>
                    <a:pt x="89" y="95"/>
                  </a:lnTo>
                  <a:lnTo>
                    <a:pt x="89" y="94"/>
                  </a:lnTo>
                  <a:lnTo>
                    <a:pt x="91" y="93"/>
                  </a:lnTo>
                  <a:lnTo>
                    <a:pt x="92" y="91"/>
                  </a:lnTo>
                  <a:lnTo>
                    <a:pt x="92" y="90"/>
                  </a:lnTo>
                  <a:lnTo>
                    <a:pt x="93" y="90"/>
                  </a:lnTo>
                  <a:lnTo>
                    <a:pt x="94" y="89"/>
                  </a:lnTo>
                  <a:lnTo>
                    <a:pt x="94" y="89"/>
                  </a:lnTo>
                  <a:lnTo>
                    <a:pt x="94" y="89"/>
                  </a:lnTo>
                  <a:lnTo>
                    <a:pt x="92" y="89"/>
                  </a:lnTo>
                  <a:lnTo>
                    <a:pt x="91" y="88"/>
                  </a:lnTo>
                  <a:lnTo>
                    <a:pt x="92" y="88"/>
                  </a:lnTo>
                  <a:lnTo>
                    <a:pt x="92" y="87"/>
                  </a:lnTo>
                  <a:lnTo>
                    <a:pt x="94" y="88"/>
                  </a:lnTo>
                  <a:lnTo>
                    <a:pt x="95" y="88"/>
                  </a:lnTo>
                  <a:lnTo>
                    <a:pt x="97" y="88"/>
                  </a:lnTo>
                  <a:lnTo>
                    <a:pt x="99" y="88"/>
                  </a:lnTo>
                  <a:lnTo>
                    <a:pt x="100" y="88"/>
                  </a:lnTo>
                  <a:lnTo>
                    <a:pt x="100" y="88"/>
                  </a:lnTo>
                  <a:lnTo>
                    <a:pt x="99" y="87"/>
                  </a:lnTo>
                  <a:lnTo>
                    <a:pt x="97" y="86"/>
                  </a:lnTo>
                  <a:lnTo>
                    <a:pt x="97" y="86"/>
                  </a:lnTo>
                  <a:lnTo>
                    <a:pt x="99" y="86"/>
                  </a:lnTo>
                  <a:lnTo>
                    <a:pt x="100" y="86"/>
                  </a:lnTo>
                  <a:lnTo>
                    <a:pt x="102" y="86"/>
                  </a:lnTo>
                  <a:lnTo>
                    <a:pt x="104" y="86"/>
                  </a:lnTo>
                  <a:lnTo>
                    <a:pt x="106" y="86"/>
                  </a:lnTo>
                  <a:lnTo>
                    <a:pt x="108" y="86"/>
                  </a:lnTo>
                  <a:lnTo>
                    <a:pt x="108" y="86"/>
                  </a:lnTo>
                  <a:lnTo>
                    <a:pt x="108" y="86"/>
                  </a:lnTo>
                  <a:lnTo>
                    <a:pt x="108" y="85"/>
                  </a:lnTo>
                  <a:lnTo>
                    <a:pt x="109" y="85"/>
                  </a:lnTo>
                  <a:lnTo>
                    <a:pt x="110" y="85"/>
                  </a:lnTo>
                  <a:lnTo>
                    <a:pt x="111" y="86"/>
                  </a:lnTo>
                  <a:lnTo>
                    <a:pt x="114" y="86"/>
                  </a:lnTo>
                  <a:lnTo>
                    <a:pt x="115" y="86"/>
                  </a:lnTo>
                  <a:lnTo>
                    <a:pt x="115" y="86"/>
                  </a:lnTo>
                  <a:lnTo>
                    <a:pt x="115" y="86"/>
                  </a:lnTo>
                  <a:lnTo>
                    <a:pt x="115" y="85"/>
                  </a:lnTo>
                  <a:lnTo>
                    <a:pt x="115" y="85"/>
                  </a:lnTo>
                  <a:lnTo>
                    <a:pt x="117" y="85"/>
                  </a:lnTo>
                  <a:lnTo>
                    <a:pt x="118" y="85"/>
                  </a:lnTo>
                  <a:lnTo>
                    <a:pt x="119" y="85"/>
                  </a:lnTo>
                  <a:lnTo>
                    <a:pt x="121" y="85"/>
                  </a:lnTo>
                  <a:lnTo>
                    <a:pt x="119" y="83"/>
                  </a:lnTo>
                  <a:lnTo>
                    <a:pt x="121" y="82"/>
                  </a:lnTo>
                  <a:lnTo>
                    <a:pt x="122" y="82"/>
                  </a:lnTo>
                  <a:lnTo>
                    <a:pt x="123" y="83"/>
                  </a:lnTo>
                  <a:lnTo>
                    <a:pt x="125" y="83"/>
                  </a:lnTo>
                  <a:lnTo>
                    <a:pt x="129" y="83"/>
                  </a:lnTo>
                  <a:lnTo>
                    <a:pt x="127" y="82"/>
                  </a:lnTo>
                  <a:lnTo>
                    <a:pt x="125" y="82"/>
                  </a:lnTo>
                  <a:lnTo>
                    <a:pt x="124" y="81"/>
                  </a:lnTo>
                  <a:lnTo>
                    <a:pt x="122" y="81"/>
                  </a:lnTo>
                  <a:lnTo>
                    <a:pt x="122" y="80"/>
                  </a:lnTo>
                  <a:lnTo>
                    <a:pt x="123" y="79"/>
                  </a:lnTo>
                  <a:lnTo>
                    <a:pt x="125" y="79"/>
                  </a:lnTo>
                  <a:lnTo>
                    <a:pt x="127" y="79"/>
                  </a:lnTo>
                  <a:lnTo>
                    <a:pt x="129" y="79"/>
                  </a:lnTo>
                  <a:lnTo>
                    <a:pt x="130" y="78"/>
                  </a:lnTo>
                  <a:lnTo>
                    <a:pt x="132" y="78"/>
                  </a:lnTo>
                  <a:lnTo>
                    <a:pt x="134" y="78"/>
                  </a:lnTo>
                  <a:lnTo>
                    <a:pt x="136" y="78"/>
                  </a:lnTo>
                  <a:lnTo>
                    <a:pt x="137" y="79"/>
                  </a:lnTo>
                  <a:lnTo>
                    <a:pt x="138" y="79"/>
                  </a:lnTo>
                  <a:lnTo>
                    <a:pt x="139" y="80"/>
                  </a:lnTo>
                  <a:lnTo>
                    <a:pt x="138" y="81"/>
                  </a:lnTo>
                  <a:lnTo>
                    <a:pt x="138" y="82"/>
                  </a:lnTo>
                  <a:lnTo>
                    <a:pt x="137" y="82"/>
                  </a:lnTo>
                  <a:lnTo>
                    <a:pt x="137" y="83"/>
                  </a:lnTo>
                  <a:lnTo>
                    <a:pt x="137" y="85"/>
                  </a:lnTo>
                  <a:lnTo>
                    <a:pt x="136" y="86"/>
                  </a:lnTo>
                  <a:lnTo>
                    <a:pt x="136" y="85"/>
                  </a:lnTo>
                  <a:lnTo>
                    <a:pt x="137" y="85"/>
                  </a:lnTo>
                  <a:lnTo>
                    <a:pt x="139" y="83"/>
                  </a:lnTo>
                  <a:lnTo>
                    <a:pt x="141" y="82"/>
                  </a:lnTo>
                  <a:lnTo>
                    <a:pt x="143" y="81"/>
                  </a:lnTo>
                  <a:lnTo>
                    <a:pt x="144" y="81"/>
                  </a:lnTo>
                  <a:lnTo>
                    <a:pt x="145" y="81"/>
                  </a:lnTo>
                  <a:lnTo>
                    <a:pt x="146" y="81"/>
                  </a:lnTo>
                  <a:lnTo>
                    <a:pt x="148" y="80"/>
                  </a:lnTo>
                  <a:lnTo>
                    <a:pt x="149" y="80"/>
                  </a:lnTo>
                  <a:lnTo>
                    <a:pt x="151" y="80"/>
                  </a:lnTo>
                  <a:lnTo>
                    <a:pt x="152" y="79"/>
                  </a:lnTo>
                  <a:lnTo>
                    <a:pt x="153" y="79"/>
                  </a:lnTo>
                  <a:lnTo>
                    <a:pt x="152" y="79"/>
                  </a:lnTo>
                  <a:lnTo>
                    <a:pt x="149" y="79"/>
                  </a:lnTo>
                  <a:lnTo>
                    <a:pt x="147" y="78"/>
                  </a:lnTo>
                  <a:lnTo>
                    <a:pt x="147" y="78"/>
                  </a:lnTo>
                  <a:lnTo>
                    <a:pt x="146" y="76"/>
                  </a:lnTo>
                  <a:lnTo>
                    <a:pt x="146" y="74"/>
                  </a:lnTo>
                  <a:lnTo>
                    <a:pt x="146" y="74"/>
                  </a:lnTo>
                  <a:lnTo>
                    <a:pt x="145" y="74"/>
                  </a:lnTo>
                  <a:lnTo>
                    <a:pt x="144" y="75"/>
                  </a:lnTo>
                  <a:lnTo>
                    <a:pt x="143" y="76"/>
                  </a:lnTo>
                  <a:lnTo>
                    <a:pt x="141" y="79"/>
                  </a:lnTo>
                  <a:lnTo>
                    <a:pt x="139" y="79"/>
                  </a:lnTo>
                  <a:lnTo>
                    <a:pt x="137" y="79"/>
                  </a:lnTo>
                  <a:lnTo>
                    <a:pt x="137" y="79"/>
                  </a:lnTo>
                  <a:lnTo>
                    <a:pt x="136" y="79"/>
                  </a:lnTo>
                  <a:lnTo>
                    <a:pt x="136" y="78"/>
                  </a:lnTo>
                  <a:lnTo>
                    <a:pt x="134" y="78"/>
                  </a:lnTo>
                  <a:lnTo>
                    <a:pt x="132" y="76"/>
                  </a:lnTo>
                  <a:lnTo>
                    <a:pt x="131" y="76"/>
                  </a:lnTo>
                  <a:lnTo>
                    <a:pt x="131" y="76"/>
                  </a:lnTo>
                  <a:lnTo>
                    <a:pt x="132" y="75"/>
                  </a:lnTo>
                  <a:lnTo>
                    <a:pt x="133" y="74"/>
                  </a:lnTo>
                  <a:lnTo>
                    <a:pt x="136" y="74"/>
                  </a:lnTo>
                  <a:lnTo>
                    <a:pt x="138" y="73"/>
                  </a:lnTo>
                  <a:lnTo>
                    <a:pt x="139" y="72"/>
                  </a:lnTo>
                  <a:lnTo>
                    <a:pt x="140" y="72"/>
                  </a:lnTo>
                  <a:lnTo>
                    <a:pt x="141" y="72"/>
                  </a:lnTo>
                  <a:lnTo>
                    <a:pt x="143" y="72"/>
                  </a:lnTo>
                  <a:lnTo>
                    <a:pt x="145" y="71"/>
                  </a:lnTo>
                  <a:lnTo>
                    <a:pt x="146" y="71"/>
                  </a:lnTo>
                  <a:lnTo>
                    <a:pt x="146" y="71"/>
                  </a:lnTo>
                  <a:lnTo>
                    <a:pt x="146" y="70"/>
                  </a:lnTo>
                  <a:lnTo>
                    <a:pt x="145" y="68"/>
                  </a:lnTo>
                  <a:lnTo>
                    <a:pt x="145" y="67"/>
                  </a:lnTo>
                  <a:lnTo>
                    <a:pt x="145" y="66"/>
                  </a:lnTo>
                  <a:lnTo>
                    <a:pt x="144" y="65"/>
                  </a:lnTo>
                  <a:lnTo>
                    <a:pt x="144" y="65"/>
                  </a:lnTo>
                  <a:lnTo>
                    <a:pt x="143" y="65"/>
                  </a:lnTo>
                  <a:lnTo>
                    <a:pt x="141" y="64"/>
                  </a:lnTo>
                  <a:lnTo>
                    <a:pt x="139" y="64"/>
                  </a:lnTo>
                  <a:lnTo>
                    <a:pt x="137" y="64"/>
                  </a:lnTo>
                  <a:lnTo>
                    <a:pt x="136" y="63"/>
                  </a:lnTo>
                  <a:lnTo>
                    <a:pt x="134" y="63"/>
                  </a:lnTo>
                  <a:lnTo>
                    <a:pt x="134" y="64"/>
                  </a:lnTo>
                  <a:lnTo>
                    <a:pt x="134" y="65"/>
                  </a:lnTo>
                  <a:lnTo>
                    <a:pt x="133" y="66"/>
                  </a:lnTo>
                  <a:lnTo>
                    <a:pt x="132" y="66"/>
                  </a:lnTo>
                  <a:lnTo>
                    <a:pt x="131" y="66"/>
                  </a:lnTo>
                  <a:lnTo>
                    <a:pt x="130" y="65"/>
                  </a:lnTo>
                  <a:lnTo>
                    <a:pt x="131" y="64"/>
                  </a:lnTo>
                  <a:lnTo>
                    <a:pt x="132" y="63"/>
                  </a:lnTo>
                  <a:lnTo>
                    <a:pt x="134" y="63"/>
                  </a:lnTo>
                  <a:lnTo>
                    <a:pt x="134" y="63"/>
                  </a:lnTo>
                  <a:lnTo>
                    <a:pt x="134" y="61"/>
                  </a:lnTo>
                  <a:lnTo>
                    <a:pt x="133" y="61"/>
                  </a:lnTo>
                  <a:lnTo>
                    <a:pt x="132" y="61"/>
                  </a:lnTo>
                  <a:lnTo>
                    <a:pt x="131" y="60"/>
                  </a:lnTo>
                  <a:lnTo>
                    <a:pt x="129" y="60"/>
                  </a:lnTo>
                  <a:lnTo>
                    <a:pt x="129" y="60"/>
                  </a:lnTo>
                  <a:lnTo>
                    <a:pt x="129" y="59"/>
                  </a:lnTo>
                  <a:lnTo>
                    <a:pt x="129" y="59"/>
                  </a:lnTo>
                  <a:lnTo>
                    <a:pt x="129" y="58"/>
                  </a:lnTo>
                  <a:lnTo>
                    <a:pt x="127" y="59"/>
                  </a:lnTo>
                  <a:lnTo>
                    <a:pt x="126" y="59"/>
                  </a:lnTo>
                  <a:lnTo>
                    <a:pt x="126" y="58"/>
                  </a:lnTo>
                  <a:lnTo>
                    <a:pt x="125" y="58"/>
                  </a:lnTo>
                  <a:lnTo>
                    <a:pt x="124" y="58"/>
                  </a:lnTo>
                  <a:lnTo>
                    <a:pt x="122" y="57"/>
                  </a:lnTo>
                  <a:lnTo>
                    <a:pt x="121" y="57"/>
                  </a:lnTo>
                  <a:lnTo>
                    <a:pt x="119" y="56"/>
                  </a:lnTo>
                  <a:lnTo>
                    <a:pt x="119" y="56"/>
                  </a:lnTo>
                  <a:lnTo>
                    <a:pt x="119" y="56"/>
                  </a:lnTo>
                  <a:lnTo>
                    <a:pt x="119" y="55"/>
                  </a:lnTo>
                  <a:lnTo>
                    <a:pt x="119" y="56"/>
                  </a:lnTo>
                  <a:lnTo>
                    <a:pt x="119" y="56"/>
                  </a:lnTo>
                  <a:lnTo>
                    <a:pt x="118" y="57"/>
                  </a:lnTo>
                  <a:lnTo>
                    <a:pt x="117" y="57"/>
                  </a:lnTo>
                  <a:lnTo>
                    <a:pt x="116" y="56"/>
                  </a:lnTo>
                  <a:lnTo>
                    <a:pt x="115" y="55"/>
                  </a:lnTo>
                  <a:lnTo>
                    <a:pt x="114" y="55"/>
                  </a:lnTo>
                  <a:lnTo>
                    <a:pt x="112" y="53"/>
                  </a:lnTo>
                  <a:lnTo>
                    <a:pt x="114" y="55"/>
                  </a:lnTo>
                  <a:lnTo>
                    <a:pt x="114" y="56"/>
                  </a:lnTo>
                  <a:lnTo>
                    <a:pt x="115" y="57"/>
                  </a:lnTo>
                  <a:lnTo>
                    <a:pt x="115" y="58"/>
                  </a:lnTo>
                  <a:lnTo>
                    <a:pt x="114" y="59"/>
                  </a:lnTo>
                  <a:lnTo>
                    <a:pt x="112" y="59"/>
                  </a:lnTo>
                  <a:lnTo>
                    <a:pt x="111" y="59"/>
                  </a:lnTo>
                  <a:lnTo>
                    <a:pt x="110" y="59"/>
                  </a:lnTo>
                  <a:lnTo>
                    <a:pt x="109" y="58"/>
                  </a:lnTo>
                  <a:lnTo>
                    <a:pt x="108" y="58"/>
                  </a:lnTo>
                  <a:lnTo>
                    <a:pt x="106" y="57"/>
                  </a:lnTo>
                  <a:lnTo>
                    <a:pt x="106" y="58"/>
                  </a:lnTo>
                  <a:lnTo>
                    <a:pt x="107" y="59"/>
                  </a:lnTo>
                  <a:lnTo>
                    <a:pt x="108" y="59"/>
                  </a:lnTo>
                  <a:lnTo>
                    <a:pt x="108" y="60"/>
                  </a:lnTo>
                  <a:lnTo>
                    <a:pt x="109" y="60"/>
                  </a:lnTo>
                  <a:lnTo>
                    <a:pt x="108" y="60"/>
                  </a:lnTo>
                  <a:lnTo>
                    <a:pt x="107" y="61"/>
                  </a:lnTo>
                  <a:lnTo>
                    <a:pt x="106" y="61"/>
                  </a:lnTo>
                  <a:lnTo>
                    <a:pt x="104" y="61"/>
                  </a:lnTo>
                  <a:lnTo>
                    <a:pt x="104" y="60"/>
                  </a:lnTo>
                  <a:lnTo>
                    <a:pt x="102" y="59"/>
                  </a:lnTo>
                  <a:lnTo>
                    <a:pt x="102" y="58"/>
                  </a:lnTo>
                  <a:lnTo>
                    <a:pt x="102" y="59"/>
                  </a:lnTo>
                  <a:lnTo>
                    <a:pt x="102" y="60"/>
                  </a:lnTo>
                  <a:lnTo>
                    <a:pt x="101" y="61"/>
                  </a:lnTo>
                  <a:lnTo>
                    <a:pt x="101" y="63"/>
                  </a:lnTo>
                  <a:lnTo>
                    <a:pt x="100" y="63"/>
                  </a:lnTo>
                  <a:lnTo>
                    <a:pt x="99" y="61"/>
                  </a:lnTo>
                  <a:lnTo>
                    <a:pt x="99" y="60"/>
                  </a:lnTo>
                  <a:lnTo>
                    <a:pt x="97" y="60"/>
                  </a:lnTo>
                  <a:lnTo>
                    <a:pt x="95" y="60"/>
                  </a:lnTo>
                  <a:lnTo>
                    <a:pt x="95" y="60"/>
                  </a:lnTo>
                  <a:lnTo>
                    <a:pt x="94" y="60"/>
                  </a:lnTo>
                  <a:lnTo>
                    <a:pt x="94" y="59"/>
                  </a:lnTo>
                  <a:lnTo>
                    <a:pt x="94" y="59"/>
                  </a:lnTo>
                  <a:lnTo>
                    <a:pt x="92" y="59"/>
                  </a:lnTo>
                  <a:lnTo>
                    <a:pt x="91" y="60"/>
                  </a:lnTo>
                  <a:lnTo>
                    <a:pt x="91" y="59"/>
                  </a:lnTo>
                  <a:lnTo>
                    <a:pt x="91" y="58"/>
                  </a:lnTo>
                  <a:lnTo>
                    <a:pt x="92" y="57"/>
                  </a:lnTo>
                  <a:lnTo>
                    <a:pt x="92" y="57"/>
                  </a:lnTo>
                  <a:lnTo>
                    <a:pt x="92" y="58"/>
                  </a:lnTo>
                  <a:lnTo>
                    <a:pt x="91" y="58"/>
                  </a:lnTo>
                  <a:lnTo>
                    <a:pt x="88" y="59"/>
                  </a:lnTo>
                  <a:lnTo>
                    <a:pt x="87" y="60"/>
                  </a:lnTo>
                  <a:lnTo>
                    <a:pt x="87" y="59"/>
                  </a:lnTo>
                  <a:lnTo>
                    <a:pt x="85" y="59"/>
                  </a:lnTo>
                  <a:lnTo>
                    <a:pt x="84" y="59"/>
                  </a:lnTo>
                  <a:lnTo>
                    <a:pt x="81" y="59"/>
                  </a:lnTo>
                  <a:lnTo>
                    <a:pt x="81" y="58"/>
                  </a:lnTo>
                  <a:lnTo>
                    <a:pt x="80" y="58"/>
                  </a:lnTo>
                  <a:lnTo>
                    <a:pt x="79" y="58"/>
                  </a:lnTo>
                  <a:lnTo>
                    <a:pt x="78" y="59"/>
                  </a:lnTo>
                  <a:lnTo>
                    <a:pt x="77" y="59"/>
                  </a:lnTo>
                  <a:lnTo>
                    <a:pt x="76" y="60"/>
                  </a:lnTo>
                  <a:lnTo>
                    <a:pt x="74" y="60"/>
                  </a:lnTo>
                  <a:lnTo>
                    <a:pt x="74" y="60"/>
                  </a:lnTo>
                  <a:lnTo>
                    <a:pt x="72" y="60"/>
                  </a:lnTo>
                  <a:lnTo>
                    <a:pt x="70" y="60"/>
                  </a:lnTo>
                  <a:lnTo>
                    <a:pt x="67" y="61"/>
                  </a:lnTo>
                  <a:lnTo>
                    <a:pt x="65" y="60"/>
                  </a:lnTo>
                  <a:lnTo>
                    <a:pt x="63" y="60"/>
                  </a:lnTo>
                  <a:lnTo>
                    <a:pt x="62" y="59"/>
                  </a:lnTo>
                  <a:lnTo>
                    <a:pt x="61" y="58"/>
                  </a:lnTo>
                  <a:lnTo>
                    <a:pt x="61" y="57"/>
                  </a:lnTo>
                  <a:lnTo>
                    <a:pt x="62" y="56"/>
                  </a:lnTo>
                  <a:lnTo>
                    <a:pt x="64" y="56"/>
                  </a:lnTo>
                  <a:lnTo>
                    <a:pt x="65" y="56"/>
                  </a:lnTo>
                  <a:lnTo>
                    <a:pt x="65" y="56"/>
                  </a:lnTo>
                  <a:lnTo>
                    <a:pt x="64" y="55"/>
                  </a:lnTo>
                  <a:lnTo>
                    <a:pt x="63" y="53"/>
                  </a:lnTo>
                  <a:lnTo>
                    <a:pt x="63" y="53"/>
                  </a:lnTo>
                  <a:lnTo>
                    <a:pt x="64" y="52"/>
                  </a:lnTo>
                  <a:lnTo>
                    <a:pt x="66" y="50"/>
                  </a:lnTo>
                  <a:lnTo>
                    <a:pt x="69" y="50"/>
                  </a:lnTo>
                  <a:lnTo>
                    <a:pt x="70" y="49"/>
                  </a:lnTo>
                  <a:lnTo>
                    <a:pt x="70" y="48"/>
                  </a:lnTo>
                  <a:lnTo>
                    <a:pt x="71" y="46"/>
                  </a:lnTo>
                  <a:lnTo>
                    <a:pt x="73" y="45"/>
                  </a:lnTo>
                  <a:lnTo>
                    <a:pt x="74" y="44"/>
                  </a:lnTo>
                  <a:lnTo>
                    <a:pt x="77" y="44"/>
                  </a:lnTo>
                  <a:lnTo>
                    <a:pt x="78" y="43"/>
                  </a:lnTo>
                  <a:lnTo>
                    <a:pt x="81" y="42"/>
                  </a:lnTo>
                  <a:lnTo>
                    <a:pt x="85" y="42"/>
                  </a:lnTo>
                  <a:lnTo>
                    <a:pt x="87" y="42"/>
                  </a:lnTo>
                  <a:lnTo>
                    <a:pt x="92" y="42"/>
                  </a:lnTo>
                  <a:lnTo>
                    <a:pt x="94" y="42"/>
                  </a:lnTo>
                  <a:lnTo>
                    <a:pt x="95" y="42"/>
                  </a:lnTo>
                  <a:lnTo>
                    <a:pt x="95" y="43"/>
                  </a:lnTo>
                  <a:lnTo>
                    <a:pt x="94" y="44"/>
                  </a:lnTo>
                  <a:lnTo>
                    <a:pt x="92" y="45"/>
                  </a:lnTo>
                  <a:lnTo>
                    <a:pt x="91" y="46"/>
                  </a:lnTo>
                  <a:lnTo>
                    <a:pt x="91" y="48"/>
                  </a:lnTo>
                  <a:lnTo>
                    <a:pt x="88" y="49"/>
                  </a:lnTo>
                  <a:lnTo>
                    <a:pt x="87" y="50"/>
                  </a:lnTo>
                  <a:lnTo>
                    <a:pt x="86" y="51"/>
                  </a:lnTo>
                  <a:lnTo>
                    <a:pt x="85" y="52"/>
                  </a:lnTo>
                  <a:lnTo>
                    <a:pt x="85" y="53"/>
                  </a:lnTo>
                  <a:lnTo>
                    <a:pt x="85" y="55"/>
                  </a:lnTo>
                  <a:lnTo>
                    <a:pt x="87" y="56"/>
                  </a:lnTo>
                  <a:lnTo>
                    <a:pt x="87" y="53"/>
                  </a:lnTo>
                  <a:lnTo>
                    <a:pt x="87" y="52"/>
                  </a:lnTo>
                  <a:lnTo>
                    <a:pt x="89" y="51"/>
                  </a:lnTo>
                  <a:lnTo>
                    <a:pt x="91" y="51"/>
                  </a:lnTo>
                  <a:lnTo>
                    <a:pt x="93" y="51"/>
                  </a:lnTo>
                  <a:lnTo>
                    <a:pt x="94" y="51"/>
                  </a:lnTo>
                  <a:lnTo>
                    <a:pt x="95" y="51"/>
                  </a:lnTo>
                  <a:lnTo>
                    <a:pt x="96" y="51"/>
                  </a:lnTo>
                  <a:lnTo>
                    <a:pt x="95" y="50"/>
                  </a:lnTo>
                  <a:lnTo>
                    <a:pt x="93" y="49"/>
                  </a:lnTo>
                  <a:lnTo>
                    <a:pt x="93" y="49"/>
                  </a:lnTo>
                  <a:lnTo>
                    <a:pt x="93" y="48"/>
                  </a:lnTo>
                  <a:lnTo>
                    <a:pt x="94" y="46"/>
                  </a:lnTo>
                  <a:lnTo>
                    <a:pt x="96" y="46"/>
                  </a:lnTo>
                  <a:lnTo>
                    <a:pt x="97" y="45"/>
                  </a:lnTo>
                  <a:lnTo>
                    <a:pt x="99" y="45"/>
                  </a:lnTo>
                  <a:lnTo>
                    <a:pt x="100" y="45"/>
                  </a:lnTo>
                  <a:lnTo>
                    <a:pt x="99" y="45"/>
                  </a:lnTo>
                  <a:lnTo>
                    <a:pt x="97" y="45"/>
                  </a:lnTo>
                  <a:lnTo>
                    <a:pt x="97" y="45"/>
                  </a:lnTo>
                  <a:lnTo>
                    <a:pt x="99" y="45"/>
                  </a:lnTo>
                  <a:lnTo>
                    <a:pt x="100" y="45"/>
                  </a:lnTo>
                  <a:lnTo>
                    <a:pt x="102" y="44"/>
                  </a:lnTo>
                  <a:lnTo>
                    <a:pt x="104" y="44"/>
                  </a:lnTo>
                  <a:lnTo>
                    <a:pt x="106" y="43"/>
                  </a:lnTo>
                  <a:lnTo>
                    <a:pt x="107" y="43"/>
                  </a:lnTo>
                  <a:lnTo>
                    <a:pt x="108" y="43"/>
                  </a:lnTo>
                  <a:lnTo>
                    <a:pt x="109" y="43"/>
                  </a:lnTo>
                  <a:lnTo>
                    <a:pt x="110" y="42"/>
                  </a:lnTo>
                  <a:lnTo>
                    <a:pt x="112" y="42"/>
                  </a:lnTo>
                  <a:lnTo>
                    <a:pt x="117" y="41"/>
                  </a:lnTo>
                  <a:lnTo>
                    <a:pt x="121" y="40"/>
                  </a:lnTo>
                  <a:lnTo>
                    <a:pt x="123" y="40"/>
                  </a:lnTo>
                  <a:lnTo>
                    <a:pt x="125" y="40"/>
                  </a:lnTo>
                  <a:close/>
                  <a:moveTo>
                    <a:pt x="139" y="37"/>
                  </a:moveTo>
                  <a:lnTo>
                    <a:pt x="141" y="38"/>
                  </a:lnTo>
                  <a:lnTo>
                    <a:pt x="143" y="38"/>
                  </a:lnTo>
                  <a:lnTo>
                    <a:pt x="144" y="40"/>
                  </a:lnTo>
                  <a:lnTo>
                    <a:pt x="146" y="40"/>
                  </a:lnTo>
                  <a:lnTo>
                    <a:pt x="147" y="41"/>
                  </a:lnTo>
                  <a:lnTo>
                    <a:pt x="147" y="41"/>
                  </a:lnTo>
                  <a:lnTo>
                    <a:pt x="146" y="42"/>
                  </a:lnTo>
                  <a:lnTo>
                    <a:pt x="144" y="42"/>
                  </a:lnTo>
                  <a:lnTo>
                    <a:pt x="141" y="42"/>
                  </a:lnTo>
                  <a:lnTo>
                    <a:pt x="139" y="43"/>
                  </a:lnTo>
                  <a:lnTo>
                    <a:pt x="138" y="44"/>
                  </a:lnTo>
                  <a:lnTo>
                    <a:pt x="136" y="44"/>
                  </a:lnTo>
                  <a:lnTo>
                    <a:pt x="133" y="45"/>
                  </a:lnTo>
                  <a:lnTo>
                    <a:pt x="132" y="45"/>
                  </a:lnTo>
                  <a:lnTo>
                    <a:pt x="131" y="44"/>
                  </a:lnTo>
                  <a:lnTo>
                    <a:pt x="131" y="43"/>
                  </a:lnTo>
                  <a:lnTo>
                    <a:pt x="131" y="43"/>
                  </a:lnTo>
                  <a:lnTo>
                    <a:pt x="131" y="42"/>
                  </a:lnTo>
                  <a:lnTo>
                    <a:pt x="130" y="41"/>
                  </a:lnTo>
                  <a:lnTo>
                    <a:pt x="130" y="40"/>
                  </a:lnTo>
                  <a:lnTo>
                    <a:pt x="130" y="40"/>
                  </a:lnTo>
                  <a:lnTo>
                    <a:pt x="132" y="38"/>
                  </a:lnTo>
                  <a:lnTo>
                    <a:pt x="134" y="38"/>
                  </a:lnTo>
                  <a:lnTo>
                    <a:pt x="137" y="37"/>
                  </a:lnTo>
                  <a:lnTo>
                    <a:pt x="139" y="37"/>
                  </a:lnTo>
                  <a:close/>
                  <a:moveTo>
                    <a:pt x="64" y="35"/>
                  </a:moveTo>
                  <a:lnTo>
                    <a:pt x="66" y="35"/>
                  </a:lnTo>
                  <a:lnTo>
                    <a:pt x="67" y="36"/>
                  </a:lnTo>
                  <a:lnTo>
                    <a:pt x="67" y="36"/>
                  </a:lnTo>
                  <a:lnTo>
                    <a:pt x="67" y="37"/>
                  </a:lnTo>
                  <a:lnTo>
                    <a:pt x="66" y="38"/>
                  </a:lnTo>
                  <a:lnTo>
                    <a:pt x="66" y="38"/>
                  </a:lnTo>
                  <a:lnTo>
                    <a:pt x="63" y="40"/>
                  </a:lnTo>
                  <a:lnTo>
                    <a:pt x="62" y="40"/>
                  </a:lnTo>
                  <a:lnTo>
                    <a:pt x="59" y="40"/>
                  </a:lnTo>
                  <a:lnTo>
                    <a:pt x="57" y="40"/>
                  </a:lnTo>
                  <a:lnTo>
                    <a:pt x="55" y="40"/>
                  </a:lnTo>
                  <a:lnTo>
                    <a:pt x="52" y="40"/>
                  </a:lnTo>
                  <a:lnTo>
                    <a:pt x="51" y="40"/>
                  </a:lnTo>
                  <a:lnTo>
                    <a:pt x="51" y="38"/>
                  </a:lnTo>
                  <a:lnTo>
                    <a:pt x="51" y="38"/>
                  </a:lnTo>
                  <a:lnTo>
                    <a:pt x="54" y="38"/>
                  </a:lnTo>
                  <a:lnTo>
                    <a:pt x="56" y="38"/>
                  </a:lnTo>
                  <a:lnTo>
                    <a:pt x="58" y="37"/>
                  </a:lnTo>
                  <a:lnTo>
                    <a:pt x="59" y="37"/>
                  </a:lnTo>
                  <a:lnTo>
                    <a:pt x="61" y="37"/>
                  </a:lnTo>
                  <a:lnTo>
                    <a:pt x="62" y="36"/>
                  </a:lnTo>
                  <a:lnTo>
                    <a:pt x="61" y="36"/>
                  </a:lnTo>
                  <a:lnTo>
                    <a:pt x="55" y="36"/>
                  </a:lnTo>
                  <a:lnTo>
                    <a:pt x="57" y="35"/>
                  </a:lnTo>
                  <a:lnTo>
                    <a:pt x="59" y="35"/>
                  </a:lnTo>
                  <a:lnTo>
                    <a:pt x="62" y="35"/>
                  </a:lnTo>
                  <a:lnTo>
                    <a:pt x="64" y="35"/>
                  </a:lnTo>
                  <a:close/>
                  <a:moveTo>
                    <a:pt x="77" y="28"/>
                  </a:moveTo>
                  <a:lnTo>
                    <a:pt x="78" y="28"/>
                  </a:lnTo>
                  <a:lnTo>
                    <a:pt x="79" y="28"/>
                  </a:lnTo>
                  <a:lnTo>
                    <a:pt x="79" y="29"/>
                  </a:lnTo>
                  <a:lnTo>
                    <a:pt x="81" y="29"/>
                  </a:lnTo>
                  <a:lnTo>
                    <a:pt x="84" y="29"/>
                  </a:lnTo>
                  <a:lnTo>
                    <a:pt x="85" y="29"/>
                  </a:lnTo>
                  <a:lnTo>
                    <a:pt x="86" y="30"/>
                  </a:lnTo>
                  <a:lnTo>
                    <a:pt x="85" y="30"/>
                  </a:lnTo>
                  <a:lnTo>
                    <a:pt x="85" y="31"/>
                  </a:lnTo>
                  <a:lnTo>
                    <a:pt x="82" y="33"/>
                  </a:lnTo>
                  <a:lnTo>
                    <a:pt x="81" y="33"/>
                  </a:lnTo>
                  <a:lnTo>
                    <a:pt x="80" y="33"/>
                  </a:lnTo>
                  <a:lnTo>
                    <a:pt x="79" y="33"/>
                  </a:lnTo>
                  <a:lnTo>
                    <a:pt x="79" y="33"/>
                  </a:lnTo>
                  <a:lnTo>
                    <a:pt x="81" y="33"/>
                  </a:lnTo>
                  <a:lnTo>
                    <a:pt x="82" y="34"/>
                  </a:lnTo>
                  <a:lnTo>
                    <a:pt x="85" y="34"/>
                  </a:lnTo>
                  <a:lnTo>
                    <a:pt x="85" y="35"/>
                  </a:lnTo>
                  <a:lnTo>
                    <a:pt x="86" y="35"/>
                  </a:lnTo>
                  <a:lnTo>
                    <a:pt x="87" y="34"/>
                  </a:lnTo>
                  <a:lnTo>
                    <a:pt x="88" y="34"/>
                  </a:lnTo>
                  <a:lnTo>
                    <a:pt x="91" y="35"/>
                  </a:lnTo>
                  <a:lnTo>
                    <a:pt x="91" y="35"/>
                  </a:lnTo>
                  <a:lnTo>
                    <a:pt x="92" y="34"/>
                  </a:lnTo>
                  <a:lnTo>
                    <a:pt x="94" y="34"/>
                  </a:lnTo>
                  <a:lnTo>
                    <a:pt x="96" y="33"/>
                  </a:lnTo>
                  <a:lnTo>
                    <a:pt x="97" y="33"/>
                  </a:lnTo>
                  <a:lnTo>
                    <a:pt x="99" y="34"/>
                  </a:lnTo>
                  <a:lnTo>
                    <a:pt x="101" y="34"/>
                  </a:lnTo>
                  <a:lnTo>
                    <a:pt x="103" y="33"/>
                  </a:lnTo>
                  <a:lnTo>
                    <a:pt x="106" y="33"/>
                  </a:lnTo>
                  <a:lnTo>
                    <a:pt x="108" y="33"/>
                  </a:lnTo>
                  <a:lnTo>
                    <a:pt x="109" y="33"/>
                  </a:lnTo>
                  <a:lnTo>
                    <a:pt x="111" y="34"/>
                  </a:lnTo>
                  <a:lnTo>
                    <a:pt x="114" y="33"/>
                  </a:lnTo>
                  <a:lnTo>
                    <a:pt x="116" y="33"/>
                  </a:lnTo>
                  <a:lnTo>
                    <a:pt x="117" y="33"/>
                  </a:lnTo>
                  <a:lnTo>
                    <a:pt x="118" y="33"/>
                  </a:lnTo>
                  <a:lnTo>
                    <a:pt x="121" y="33"/>
                  </a:lnTo>
                  <a:lnTo>
                    <a:pt x="124" y="31"/>
                  </a:lnTo>
                  <a:lnTo>
                    <a:pt x="126" y="31"/>
                  </a:lnTo>
                  <a:lnTo>
                    <a:pt x="129" y="31"/>
                  </a:lnTo>
                  <a:lnTo>
                    <a:pt x="130" y="31"/>
                  </a:lnTo>
                  <a:lnTo>
                    <a:pt x="130" y="31"/>
                  </a:lnTo>
                  <a:lnTo>
                    <a:pt x="130" y="31"/>
                  </a:lnTo>
                  <a:lnTo>
                    <a:pt x="132" y="31"/>
                  </a:lnTo>
                  <a:lnTo>
                    <a:pt x="134" y="31"/>
                  </a:lnTo>
                  <a:lnTo>
                    <a:pt x="136" y="30"/>
                  </a:lnTo>
                  <a:lnTo>
                    <a:pt x="138" y="31"/>
                  </a:lnTo>
                  <a:lnTo>
                    <a:pt x="138" y="31"/>
                  </a:lnTo>
                  <a:lnTo>
                    <a:pt x="139" y="33"/>
                  </a:lnTo>
                  <a:lnTo>
                    <a:pt x="140" y="34"/>
                  </a:lnTo>
                  <a:lnTo>
                    <a:pt x="143" y="35"/>
                  </a:lnTo>
                  <a:lnTo>
                    <a:pt x="144" y="35"/>
                  </a:lnTo>
                  <a:lnTo>
                    <a:pt x="144" y="36"/>
                  </a:lnTo>
                  <a:lnTo>
                    <a:pt x="143" y="36"/>
                  </a:lnTo>
                  <a:lnTo>
                    <a:pt x="140" y="36"/>
                  </a:lnTo>
                  <a:lnTo>
                    <a:pt x="138" y="36"/>
                  </a:lnTo>
                  <a:lnTo>
                    <a:pt x="136" y="36"/>
                  </a:lnTo>
                  <a:lnTo>
                    <a:pt x="134" y="37"/>
                  </a:lnTo>
                  <a:lnTo>
                    <a:pt x="133" y="37"/>
                  </a:lnTo>
                  <a:lnTo>
                    <a:pt x="132" y="37"/>
                  </a:lnTo>
                  <a:lnTo>
                    <a:pt x="131" y="37"/>
                  </a:lnTo>
                  <a:lnTo>
                    <a:pt x="129" y="36"/>
                  </a:lnTo>
                  <a:lnTo>
                    <a:pt x="127" y="35"/>
                  </a:lnTo>
                  <a:lnTo>
                    <a:pt x="127" y="35"/>
                  </a:lnTo>
                  <a:lnTo>
                    <a:pt x="127" y="36"/>
                  </a:lnTo>
                  <a:lnTo>
                    <a:pt x="127" y="36"/>
                  </a:lnTo>
                  <a:lnTo>
                    <a:pt x="129" y="37"/>
                  </a:lnTo>
                  <a:lnTo>
                    <a:pt x="127" y="38"/>
                  </a:lnTo>
                  <a:lnTo>
                    <a:pt x="127" y="38"/>
                  </a:lnTo>
                  <a:lnTo>
                    <a:pt x="125" y="38"/>
                  </a:lnTo>
                  <a:lnTo>
                    <a:pt x="124" y="37"/>
                  </a:lnTo>
                  <a:lnTo>
                    <a:pt x="123" y="37"/>
                  </a:lnTo>
                  <a:lnTo>
                    <a:pt x="122" y="37"/>
                  </a:lnTo>
                  <a:lnTo>
                    <a:pt x="119" y="38"/>
                  </a:lnTo>
                  <a:lnTo>
                    <a:pt x="109" y="38"/>
                  </a:lnTo>
                  <a:lnTo>
                    <a:pt x="108" y="38"/>
                  </a:lnTo>
                  <a:lnTo>
                    <a:pt x="107" y="38"/>
                  </a:lnTo>
                  <a:lnTo>
                    <a:pt x="107" y="40"/>
                  </a:lnTo>
                  <a:lnTo>
                    <a:pt x="106" y="40"/>
                  </a:lnTo>
                  <a:lnTo>
                    <a:pt x="103" y="40"/>
                  </a:lnTo>
                  <a:lnTo>
                    <a:pt x="101" y="40"/>
                  </a:lnTo>
                  <a:lnTo>
                    <a:pt x="99" y="40"/>
                  </a:lnTo>
                  <a:lnTo>
                    <a:pt x="99" y="40"/>
                  </a:lnTo>
                  <a:lnTo>
                    <a:pt x="99" y="40"/>
                  </a:lnTo>
                  <a:lnTo>
                    <a:pt x="100" y="38"/>
                  </a:lnTo>
                  <a:lnTo>
                    <a:pt x="100" y="38"/>
                  </a:lnTo>
                  <a:lnTo>
                    <a:pt x="100" y="38"/>
                  </a:lnTo>
                  <a:lnTo>
                    <a:pt x="99" y="38"/>
                  </a:lnTo>
                  <a:lnTo>
                    <a:pt x="97" y="38"/>
                  </a:lnTo>
                  <a:lnTo>
                    <a:pt x="96" y="40"/>
                  </a:lnTo>
                  <a:lnTo>
                    <a:pt x="94" y="40"/>
                  </a:lnTo>
                  <a:lnTo>
                    <a:pt x="91" y="40"/>
                  </a:lnTo>
                  <a:lnTo>
                    <a:pt x="88" y="40"/>
                  </a:lnTo>
                  <a:lnTo>
                    <a:pt x="87" y="40"/>
                  </a:lnTo>
                  <a:lnTo>
                    <a:pt x="86" y="40"/>
                  </a:lnTo>
                  <a:lnTo>
                    <a:pt x="85" y="38"/>
                  </a:lnTo>
                  <a:lnTo>
                    <a:pt x="85" y="38"/>
                  </a:lnTo>
                  <a:lnTo>
                    <a:pt x="84" y="40"/>
                  </a:lnTo>
                  <a:lnTo>
                    <a:pt x="81" y="40"/>
                  </a:lnTo>
                  <a:lnTo>
                    <a:pt x="78" y="40"/>
                  </a:lnTo>
                  <a:lnTo>
                    <a:pt x="76" y="41"/>
                  </a:lnTo>
                  <a:lnTo>
                    <a:pt x="73" y="41"/>
                  </a:lnTo>
                  <a:lnTo>
                    <a:pt x="72" y="40"/>
                  </a:lnTo>
                  <a:lnTo>
                    <a:pt x="72" y="38"/>
                  </a:lnTo>
                  <a:lnTo>
                    <a:pt x="73" y="37"/>
                  </a:lnTo>
                  <a:lnTo>
                    <a:pt x="74" y="36"/>
                  </a:lnTo>
                  <a:lnTo>
                    <a:pt x="76" y="36"/>
                  </a:lnTo>
                  <a:lnTo>
                    <a:pt x="76" y="35"/>
                  </a:lnTo>
                  <a:lnTo>
                    <a:pt x="76" y="34"/>
                  </a:lnTo>
                  <a:lnTo>
                    <a:pt x="74" y="33"/>
                  </a:lnTo>
                  <a:lnTo>
                    <a:pt x="73" y="34"/>
                  </a:lnTo>
                  <a:lnTo>
                    <a:pt x="72" y="34"/>
                  </a:lnTo>
                  <a:lnTo>
                    <a:pt x="70" y="34"/>
                  </a:lnTo>
                  <a:lnTo>
                    <a:pt x="69" y="34"/>
                  </a:lnTo>
                  <a:lnTo>
                    <a:pt x="67" y="34"/>
                  </a:lnTo>
                  <a:lnTo>
                    <a:pt x="67" y="33"/>
                  </a:lnTo>
                  <a:lnTo>
                    <a:pt x="67" y="33"/>
                  </a:lnTo>
                  <a:lnTo>
                    <a:pt x="67" y="33"/>
                  </a:lnTo>
                  <a:lnTo>
                    <a:pt x="66" y="31"/>
                  </a:lnTo>
                  <a:lnTo>
                    <a:pt x="65" y="31"/>
                  </a:lnTo>
                  <a:lnTo>
                    <a:pt x="65" y="30"/>
                  </a:lnTo>
                  <a:lnTo>
                    <a:pt x="66" y="29"/>
                  </a:lnTo>
                  <a:lnTo>
                    <a:pt x="67" y="29"/>
                  </a:lnTo>
                  <a:lnTo>
                    <a:pt x="70" y="28"/>
                  </a:lnTo>
                  <a:lnTo>
                    <a:pt x="71" y="28"/>
                  </a:lnTo>
                  <a:lnTo>
                    <a:pt x="73" y="28"/>
                  </a:lnTo>
                  <a:lnTo>
                    <a:pt x="77" y="28"/>
                  </a:lnTo>
                  <a:close/>
                  <a:moveTo>
                    <a:pt x="40" y="24"/>
                  </a:moveTo>
                  <a:lnTo>
                    <a:pt x="41" y="24"/>
                  </a:lnTo>
                  <a:lnTo>
                    <a:pt x="42" y="24"/>
                  </a:lnTo>
                  <a:lnTo>
                    <a:pt x="41" y="26"/>
                  </a:lnTo>
                  <a:lnTo>
                    <a:pt x="41" y="27"/>
                  </a:lnTo>
                  <a:lnTo>
                    <a:pt x="40" y="28"/>
                  </a:lnTo>
                  <a:lnTo>
                    <a:pt x="39" y="30"/>
                  </a:lnTo>
                  <a:lnTo>
                    <a:pt x="39" y="31"/>
                  </a:lnTo>
                  <a:lnTo>
                    <a:pt x="39" y="31"/>
                  </a:lnTo>
                  <a:lnTo>
                    <a:pt x="40" y="31"/>
                  </a:lnTo>
                  <a:lnTo>
                    <a:pt x="41" y="29"/>
                  </a:lnTo>
                  <a:lnTo>
                    <a:pt x="43" y="28"/>
                  </a:lnTo>
                  <a:lnTo>
                    <a:pt x="47" y="26"/>
                  </a:lnTo>
                  <a:lnTo>
                    <a:pt x="49" y="26"/>
                  </a:lnTo>
                  <a:lnTo>
                    <a:pt x="51" y="26"/>
                  </a:lnTo>
                  <a:lnTo>
                    <a:pt x="54" y="26"/>
                  </a:lnTo>
                  <a:lnTo>
                    <a:pt x="56" y="26"/>
                  </a:lnTo>
                  <a:lnTo>
                    <a:pt x="58" y="26"/>
                  </a:lnTo>
                  <a:lnTo>
                    <a:pt x="59" y="26"/>
                  </a:lnTo>
                  <a:lnTo>
                    <a:pt x="59" y="27"/>
                  </a:lnTo>
                  <a:lnTo>
                    <a:pt x="58" y="28"/>
                  </a:lnTo>
                  <a:lnTo>
                    <a:pt x="57" y="29"/>
                  </a:lnTo>
                  <a:lnTo>
                    <a:pt x="55" y="29"/>
                  </a:lnTo>
                  <a:lnTo>
                    <a:pt x="52" y="29"/>
                  </a:lnTo>
                  <a:lnTo>
                    <a:pt x="51" y="30"/>
                  </a:lnTo>
                  <a:lnTo>
                    <a:pt x="50" y="31"/>
                  </a:lnTo>
                  <a:lnTo>
                    <a:pt x="49" y="34"/>
                  </a:lnTo>
                  <a:lnTo>
                    <a:pt x="48" y="35"/>
                  </a:lnTo>
                  <a:lnTo>
                    <a:pt x="47" y="35"/>
                  </a:lnTo>
                  <a:lnTo>
                    <a:pt x="44" y="36"/>
                  </a:lnTo>
                  <a:lnTo>
                    <a:pt x="43" y="37"/>
                  </a:lnTo>
                  <a:lnTo>
                    <a:pt x="42" y="36"/>
                  </a:lnTo>
                  <a:lnTo>
                    <a:pt x="41" y="36"/>
                  </a:lnTo>
                  <a:lnTo>
                    <a:pt x="40" y="36"/>
                  </a:lnTo>
                  <a:lnTo>
                    <a:pt x="37" y="36"/>
                  </a:lnTo>
                  <a:lnTo>
                    <a:pt x="35" y="37"/>
                  </a:lnTo>
                  <a:lnTo>
                    <a:pt x="34" y="37"/>
                  </a:lnTo>
                  <a:lnTo>
                    <a:pt x="33" y="37"/>
                  </a:lnTo>
                  <a:lnTo>
                    <a:pt x="33" y="36"/>
                  </a:lnTo>
                  <a:lnTo>
                    <a:pt x="32" y="35"/>
                  </a:lnTo>
                  <a:lnTo>
                    <a:pt x="31" y="35"/>
                  </a:lnTo>
                  <a:lnTo>
                    <a:pt x="29" y="35"/>
                  </a:lnTo>
                  <a:lnTo>
                    <a:pt x="28" y="36"/>
                  </a:lnTo>
                  <a:lnTo>
                    <a:pt x="26" y="36"/>
                  </a:lnTo>
                  <a:lnTo>
                    <a:pt x="24" y="36"/>
                  </a:lnTo>
                  <a:lnTo>
                    <a:pt x="22" y="35"/>
                  </a:lnTo>
                  <a:lnTo>
                    <a:pt x="24" y="34"/>
                  </a:lnTo>
                  <a:lnTo>
                    <a:pt x="26" y="33"/>
                  </a:lnTo>
                  <a:lnTo>
                    <a:pt x="27" y="31"/>
                  </a:lnTo>
                  <a:lnTo>
                    <a:pt x="29" y="31"/>
                  </a:lnTo>
                  <a:lnTo>
                    <a:pt x="31" y="31"/>
                  </a:lnTo>
                  <a:lnTo>
                    <a:pt x="31" y="31"/>
                  </a:lnTo>
                  <a:lnTo>
                    <a:pt x="31" y="31"/>
                  </a:lnTo>
                  <a:lnTo>
                    <a:pt x="31" y="31"/>
                  </a:lnTo>
                  <a:lnTo>
                    <a:pt x="31" y="29"/>
                  </a:lnTo>
                  <a:lnTo>
                    <a:pt x="33" y="28"/>
                  </a:lnTo>
                  <a:lnTo>
                    <a:pt x="34" y="27"/>
                  </a:lnTo>
                  <a:lnTo>
                    <a:pt x="36" y="26"/>
                  </a:lnTo>
                  <a:lnTo>
                    <a:pt x="39" y="24"/>
                  </a:lnTo>
                  <a:lnTo>
                    <a:pt x="40" y="24"/>
                  </a:lnTo>
                  <a:close/>
                  <a:moveTo>
                    <a:pt x="74" y="19"/>
                  </a:moveTo>
                  <a:lnTo>
                    <a:pt x="74" y="19"/>
                  </a:lnTo>
                  <a:lnTo>
                    <a:pt x="74" y="20"/>
                  </a:lnTo>
                  <a:lnTo>
                    <a:pt x="76" y="21"/>
                  </a:lnTo>
                  <a:lnTo>
                    <a:pt x="76" y="22"/>
                  </a:lnTo>
                  <a:lnTo>
                    <a:pt x="74" y="22"/>
                  </a:lnTo>
                  <a:lnTo>
                    <a:pt x="73" y="23"/>
                  </a:lnTo>
                  <a:lnTo>
                    <a:pt x="73" y="23"/>
                  </a:lnTo>
                  <a:lnTo>
                    <a:pt x="72" y="23"/>
                  </a:lnTo>
                  <a:lnTo>
                    <a:pt x="70" y="23"/>
                  </a:lnTo>
                  <a:lnTo>
                    <a:pt x="67" y="24"/>
                  </a:lnTo>
                  <a:lnTo>
                    <a:pt x="66" y="24"/>
                  </a:lnTo>
                  <a:lnTo>
                    <a:pt x="64" y="24"/>
                  </a:lnTo>
                  <a:lnTo>
                    <a:pt x="63" y="24"/>
                  </a:lnTo>
                  <a:lnTo>
                    <a:pt x="63" y="24"/>
                  </a:lnTo>
                  <a:lnTo>
                    <a:pt x="63" y="24"/>
                  </a:lnTo>
                  <a:lnTo>
                    <a:pt x="64" y="24"/>
                  </a:lnTo>
                  <a:lnTo>
                    <a:pt x="66" y="22"/>
                  </a:lnTo>
                  <a:lnTo>
                    <a:pt x="69" y="21"/>
                  </a:lnTo>
                  <a:lnTo>
                    <a:pt x="71" y="20"/>
                  </a:lnTo>
                  <a:lnTo>
                    <a:pt x="72" y="19"/>
                  </a:lnTo>
                  <a:lnTo>
                    <a:pt x="74" y="19"/>
                  </a:lnTo>
                  <a:close/>
                  <a:moveTo>
                    <a:pt x="67" y="16"/>
                  </a:moveTo>
                  <a:lnTo>
                    <a:pt x="69" y="16"/>
                  </a:lnTo>
                  <a:lnTo>
                    <a:pt x="69" y="16"/>
                  </a:lnTo>
                  <a:lnTo>
                    <a:pt x="69" y="18"/>
                  </a:lnTo>
                  <a:lnTo>
                    <a:pt x="69" y="19"/>
                  </a:lnTo>
                  <a:lnTo>
                    <a:pt x="70" y="19"/>
                  </a:lnTo>
                  <a:lnTo>
                    <a:pt x="69" y="20"/>
                  </a:lnTo>
                  <a:lnTo>
                    <a:pt x="67" y="20"/>
                  </a:lnTo>
                  <a:lnTo>
                    <a:pt x="65" y="21"/>
                  </a:lnTo>
                  <a:lnTo>
                    <a:pt x="64" y="21"/>
                  </a:lnTo>
                  <a:lnTo>
                    <a:pt x="62" y="21"/>
                  </a:lnTo>
                  <a:lnTo>
                    <a:pt x="61" y="22"/>
                  </a:lnTo>
                  <a:lnTo>
                    <a:pt x="58" y="23"/>
                  </a:lnTo>
                  <a:lnTo>
                    <a:pt x="56" y="24"/>
                  </a:lnTo>
                  <a:lnTo>
                    <a:pt x="54" y="24"/>
                  </a:lnTo>
                  <a:lnTo>
                    <a:pt x="52" y="24"/>
                  </a:lnTo>
                  <a:lnTo>
                    <a:pt x="51" y="23"/>
                  </a:lnTo>
                  <a:lnTo>
                    <a:pt x="52" y="23"/>
                  </a:lnTo>
                  <a:lnTo>
                    <a:pt x="54" y="22"/>
                  </a:lnTo>
                  <a:lnTo>
                    <a:pt x="55" y="22"/>
                  </a:lnTo>
                  <a:lnTo>
                    <a:pt x="56" y="22"/>
                  </a:lnTo>
                  <a:lnTo>
                    <a:pt x="55" y="21"/>
                  </a:lnTo>
                  <a:lnTo>
                    <a:pt x="55" y="21"/>
                  </a:lnTo>
                  <a:lnTo>
                    <a:pt x="52" y="21"/>
                  </a:lnTo>
                  <a:lnTo>
                    <a:pt x="51" y="21"/>
                  </a:lnTo>
                  <a:lnTo>
                    <a:pt x="51" y="20"/>
                  </a:lnTo>
                  <a:lnTo>
                    <a:pt x="52" y="20"/>
                  </a:lnTo>
                  <a:lnTo>
                    <a:pt x="55" y="19"/>
                  </a:lnTo>
                  <a:lnTo>
                    <a:pt x="57" y="19"/>
                  </a:lnTo>
                  <a:lnTo>
                    <a:pt x="61" y="18"/>
                  </a:lnTo>
                  <a:lnTo>
                    <a:pt x="64" y="18"/>
                  </a:lnTo>
                  <a:lnTo>
                    <a:pt x="66" y="16"/>
                  </a:lnTo>
                  <a:lnTo>
                    <a:pt x="67" y="16"/>
                  </a:lnTo>
                  <a:close/>
                  <a:moveTo>
                    <a:pt x="124" y="8"/>
                  </a:moveTo>
                  <a:lnTo>
                    <a:pt x="124" y="8"/>
                  </a:lnTo>
                  <a:lnTo>
                    <a:pt x="124" y="9"/>
                  </a:lnTo>
                  <a:lnTo>
                    <a:pt x="123" y="11"/>
                  </a:lnTo>
                  <a:lnTo>
                    <a:pt x="123" y="11"/>
                  </a:lnTo>
                  <a:lnTo>
                    <a:pt x="123" y="11"/>
                  </a:lnTo>
                  <a:lnTo>
                    <a:pt x="123" y="11"/>
                  </a:lnTo>
                  <a:lnTo>
                    <a:pt x="125" y="11"/>
                  </a:lnTo>
                  <a:lnTo>
                    <a:pt x="126" y="11"/>
                  </a:lnTo>
                  <a:lnTo>
                    <a:pt x="129" y="11"/>
                  </a:lnTo>
                  <a:lnTo>
                    <a:pt x="130" y="9"/>
                  </a:lnTo>
                  <a:lnTo>
                    <a:pt x="131" y="11"/>
                  </a:lnTo>
                  <a:lnTo>
                    <a:pt x="132" y="11"/>
                  </a:lnTo>
                  <a:lnTo>
                    <a:pt x="132" y="12"/>
                  </a:lnTo>
                  <a:lnTo>
                    <a:pt x="131" y="13"/>
                  </a:lnTo>
                  <a:lnTo>
                    <a:pt x="130" y="14"/>
                  </a:lnTo>
                  <a:lnTo>
                    <a:pt x="130" y="14"/>
                  </a:lnTo>
                  <a:lnTo>
                    <a:pt x="129" y="14"/>
                  </a:lnTo>
                  <a:lnTo>
                    <a:pt x="130" y="15"/>
                  </a:lnTo>
                  <a:lnTo>
                    <a:pt x="131" y="15"/>
                  </a:lnTo>
                  <a:lnTo>
                    <a:pt x="125" y="15"/>
                  </a:lnTo>
                  <a:lnTo>
                    <a:pt x="122" y="16"/>
                  </a:lnTo>
                  <a:lnTo>
                    <a:pt x="119" y="19"/>
                  </a:lnTo>
                  <a:lnTo>
                    <a:pt x="116" y="20"/>
                  </a:lnTo>
                  <a:lnTo>
                    <a:pt x="112" y="21"/>
                  </a:lnTo>
                  <a:lnTo>
                    <a:pt x="111" y="21"/>
                  </a:lnTo>
                  <a:lnTo>
                    <a:pt x="109" y="20"/>
                  </a:lnTo>
                  <a:lnTo>
                    <a:pt x="107" y="20"/>
                  </a:lnTo>
                  <a:lnTo>
                    <a:pt x="104" y="20"/>
                  </a:lnTo>
                  <a:lnTo>
                    <a:pt x="104" y="20"/>
                  </a:lnTo>
                  <a:lnTo>
                    <a:pt x="104" y="21"/>
                  </a:lnTo>
                  <a:lnTo>
                    <a:pt x="104" y="22"/>
                  </a:lnTo>
                  <a:lnTo>
                    <a:pt x="103" y="22"/>
                  </a:lnTo>
                  <a:lnTo>
                    <a:pt x="101" y="22"/>
                  </a:lnTo>
                  <a:lnTo>
                    <a:pt x="99" y="22"/>
                  </a:lnTo>
                  <a:lnTo>
                    <a:pt x="97" y="22"/>
                  </a:lnTo>
                  <a:lnTo>
                    <a:pt x="96" y="23"/>
                  </a:lnTo>
                  <a:lnTo>
                    <a:pt x="96" y="23"/>
                  </a:lnTo>
                  <a:lnTo>
                    <a:pt x="95" y="24"/>
                  </a:lnTo>
                  <a:lnTo>
                    <a:pt x="94" y="24"/>
                  </a:lnTo>
                  <a:lnTo>
                    <a:pt x="91" y="24"/>
                  </a:lnTo>
                  <a:lnTo>
                    <a:pt x="89" y="23"/>
                  </a:lnTo>
                  <a:lnTo>
                    <a:pt x="88" y="23"/>
                  </a:lnTo>
                  <a:lnTo>
                    <a:pt x="88" y="22"/>
                  </a:lnTo>
                  <a:lnTo>
                    <a:pt x="91" y="22"/>
                  </a:lnTo>
                  <a:lnTo>
                    <a:pt x="92" y="21"/>
                  </a:lnTo>
                  <a:lnTo>
                    <a:pt x="92" y="21"/>
                  </a:lnTo>
                  <a:lnTo>
                    <a:pt x="93" y="21"/>
                  </a:lnTo>
                  <a:lnTo>
                    <a:pt x="93" y="21"/>
                  </a:lnTo>
                  <a:lnTo>
                    <a:pt x="95" y="21"/>
                  </a:lnTo>
                  <a:lnTo>
                    <a:pt x="97" y="20"/>
                  </a:lnTo>
                  <a:lnTo>
                    <a:pt x="97" y="19"/>
                  </a:lnTo>
                  <a:lnTo>
                    <a:pt x="97" y="18"/>
                  </a:lnTo>
                  <a:lnTo>
                    <a:pt x="96" y="18"/>
                  </a:lnTo>
                  <a:lnTo>
                    <a:pt x="97" y="16"/>
                  </a:lnTo>
                  <a:lnTo>
                    <a:pt x="99" y="15"/>
                  </a:lnTo>
                  <a:lnTo>
                    <a:pt x="102" y="14"/>
                  </a:lnTo>
                  <a:lnTo>
                    <a:pt x="104" y="14"/>
                  </a:lnTo>
                  <a:lnTo>
                    <a:pt x="108" y="13"/>
                  </a:lnTo>
                  <a:lnTo>
                    <a:pt x="109" y="12"/>
                  </a:lnTo>
                  <a:lnTo>
                    <a:pt x="111" y="11"/>
                  </a:lnTo>
                  <a:lnTo>
                    <a:pt x="114" y="11"/>
                  </a:lnTo>
                  <a:lnTo>
                    <a:pt x="116" y="11"/>
                  </a:lnTo>
                  <a:lnTo>
                    <a:pt x="118" y="11"/>
                  </a:lnTo>
                  <a:lnTo>
                    <a:pt x="119" y="9"/>
                  </a:lnTo>
                  <a:lnTo>
                    <a:pt x="122" y="8"/>
                  </a:lnTo>
                  <a:lnTo>
                    <a:pt x="123" y="8"/>
                  </a:lnTo>
                  <a:lnTo>
                    <a:pt x="124" y="8"/>
                  </a:lnTo>
                  <a:close/>
                  <a:moveTo>
                    <a:pt x="413" y="4"/>
                  </a:moveTo>
                  <a:lnTo>
                    <a:pt x="414" y="4"/>
                  </a:lnTo>
                  <a:lnTo>
                    <a:pt x="416" y="5"/>
                  </a:lnTo>
                  <a:lnTo>
                    <a:pt x="416" y="5"/>
                  </a:lnTo>
                  <a:lnTo>
                    <a:pt x="417" y="6"/>
                  </a:lnTo>
                  <a:lnTo>
                    <a:pt x="418" y="6"/>
                  </a:lnTo>
                  <a:lnTo>
                    <a:pt x="421" y="7"/>
                  </a:lnTo>
                  <a:lnTo>
                    <a:pt x="423" y="6"/>
                  </a:lnTo>
                  <a:lnTo>
                    <a:pt x="425" y="6"/>
                  </a:lnTo>
                  <a:lnTo>
                    <a:pt x="428" y="7"/>
                  </a:lnTo>
                  <a:lnTo>
                    <a:pt x="430" y="7"/>
                  </a:lnTo>
                  <a:lnTo>
                    <a:pt x="431" y="7"/>
                  </a:lnTo>
                  <a:lnTo>
                    <a:pt x="435" y="7"/>
                  </a:lnTo>
                  <a:lnTo>
                    <a:pt x="437" y="6"/>
                  </a:lnTo>
                  <a:lnTo>
                    <a:pt x="439" y="6"/>
                  </a:lnTo>
                  <a:lnTo>
                    <a:pt x="440" y="7"/>
                  </a:lnTo>
                  <a:lnTo>
                    <a:pt x="442" y="8"/>
                  </a:lnTo>
                  <a:lnTo>
                    <a:pt x="442" y="8"/>
                  </a:lnTo>
                  <a:lnTo>
                    <a:pt x="443" y="8"/>
                  </a:lnTo>
                  <a:lnTo>
                    <a:pt x="445" y="8"/>
                  </a:lnTo>
                  <a:lnTo>
                    <a:pt x="448" y="7"/>
                  </a:lnTo>
                  <a:lnTo>
                    <a:pt x="451" y="7"/>
                  </a:lnTo>
                  <a:lnTo>
                    <a:pt x="453" y="7"/>
                  </a:lnTo>
                  <a:lnTo>
                    <a:pt x="455" y="8"/>
                  </a:lnTo>
                  <a:lnTo>
                    <a:pt x="458" y="8"/>
                  </a:lnTo>
                  <a:lnTo>
                    <a:pt x="460" y="8"/>
                  </a:lnTo>
                  <a:lnTo>
                    <a:pt x="462" y="8"/>
                  </a:lnTo>
                  <a:lnTo>
                    <a:pt x="463" y="8"/>
                  </a:lnTo>
                  <a:lnTo>
                    <a:pt x="465" y="9"/>
                  </a:lnTo>
                  <a:lnTo>
                    <a:pt x="465" y="11"/>
                  </a:lnTo>
                  <a:lnTo>
                    <a:pt x="466" y="9"/>
                  </a:lnTo>
                  <a:lnTo>
                    <a:pt x="466" y="8"/>
                  </a:lnTo>
                  <a:lnTo>
                    <a:pt x="467" y="7"/>
                  </a:lnTo>
                  <a:lnTo>
                    <a:pt x="468" y="7"/>
                  </a:lnTo>
                  <a:lnTo>
                    <a:pt x="473" y="7"/>
                  </a:lnTo>
                  <a:lnTo>
                    <a:pt x="474" y="7"/>
                  </a:lnTo>
                  <a:lnTo>
                    <a:pt x="475" y="8"/>
                  </a:lnTo>
                  <a:lnTo>
                    <a:pt x="476" y="8"/>
                  </a:lnTo>
                  <a:lnTo>
                    <a:pt x="476" y="9"/>
                  </a:lnTo>
                  <a:lnTo>
                    <a:pt x="475" y="11"/>
                  </a:lnTo>
                  <a:lnTo>
                    <a:pt x="473" y="11"/>
                  </a:lnTo>
                  <a:lnTo>
                    <a:pt x="470" y="12"/>
                  </a:lnTo>
                  <a:lnTo>
                    <a:pt x="470" y="13"/>
                  </a:lnTo>
                  <a:lnTo>
                    <a:pt x="469" y="13"/>
                  </a:lnTo>
                  <a:lnTo>
                    <a:pt x="469" y="14"/>
                  </a:lnTo>
                  <a:lnTo>
                    <a:pt x="470" y="13"/>
                  </a:lnTo>
                  <a:lnTo>
                    <a:pt x="472" y="13"/>
                  </a:lnTo>
                  <a:lnTo>
                    <a:pt x="473" y="12"/>
                  </a:lnTo>
                  <a:lnTo>
                    <a:pt x="475" y="12"/>
                  </a:lnTo>
                  <a:lnTo>
                    <a:pt x="476" y="12"/>
                  </a:lnTo>
                  <a:lnTo>
                    <a:pt x="478" y="12"/>
                  </a:lnTo>
                  <a:lnTo>
                    <a:pt x="477" y="13"/>
                  </a:lnTo>
                  <a:lnTo>
                    <a:pt x="477" y="14"/>
                  </a:lnTo>
                  <a:lnTo>
                    <a:pt x="475" y="15"/>
                  </a:lnTo>
                  <a:lnTo>
                    <a:pt x="473" y="18"/>
                  </a:lnTo>
                  <a:lnTo>
                    <a:pt x="472" y="19"/>
                  </a:lnTo>
                  <a:lnTo>
                    <a:pt x="472" y="19"/>
                  </a:lnTo>
                  <a:lnTo>
                    <a:pt x="473" y="19"/>
                  </a:lnTo>
                  <a:lnTo>
                    <a:pt x="474" y="18"/>
                  </a:lnTo>
                  <a:lnTo>
                    <a:pt x="475" y="18"/>
                  </a:lnTo>
                  <a:lnTo>
                    <a:pt x="477" y="16"/>
                  </a:lnTo>
                  <a:lnTo>
                    <a:pt x="478" y="15"/>
                  </a:lnTo>
                  <a:lnTo>
                    <a:pt x="480" y="14"/>
                  </a:lnTo>
                  <a:lnTo>
                    <a:pt x="480" y="13"/>
                  </a:lnTo>
                  <a:lnTo>
                    <a:pt x="480" y="11"/>
                  </a:lnTo>
                  <a:lnTo>
                    <a:pt x="481" y="9"/>
                  </a:lnTo>
                  <a:lnTo>
                    <a:pt x="482" y="8"/>
                  </a:lnTo>
                  <a:lnTo>
                    <a:pt x="484" y="7"/>
                  </a:lnTo>
                  <a:lnTo>
                    <a:pt x="487" y="7"/>
                  </a:lnTo>
                  <a:lnTo>
                    <a:pt x="488" y="7"/>
                  </a:lnTo>
                  <a:lnTo>
                    <a:pt x="490" y="8"/>
                  </a:lnTo>
                  <a:lnTo>
                    <a:pt x="492" y="8"/>
                  </a:lnTo>
                  <a:lnTo>
                    <a:pt x="495" y="7"/>
                  </a:lnTo>
                  <a:lnTo>
                    <a:pt x="497" y="7"/>
                  </a:lnTo>
                  <a:lnTo>
                    <a:pt x="498" y="7"/>
                  </a:lnTo>
                  <a:lnTo>
                    <a:pt x="498" y="8"/>
                  </a:lnTo>
                  <a:lnTo>
                    <a:pt x="498" y="8"/>
                  </a:lnTo>
                  <a:lnTo>
                    <a:pt x="496" y="11"/>
                  </a:lnTo>
                  <a:lnTo>
                    <a:pt x="495" y="11"/>
                  </a:lnTo>
                  <a:lnTo>
                    <a:pt x="495" y="12"/>
                  </a:lnTo>
                  <a:lnTo>
                    <a:pt x="495" y="12"/>
                  </a:lnTo>
                  <a:lnTo>
                    <a:pt x="496" y="13"/>
                  </a:lnTo>
                  <a:lnTo>
                    <a:pt x="495" y="13"/>
                  </a:lnTo>
                  <a:lnTo>
                    <a:pt x="495" y="14"/>
                  </a:lnTo>
                  <a:lnTo>
                    <a:pt x="493" y="14"/>
                  </a:lnTo>
                  <a:lnTo>
                    <a:pt x="493" y="15"/>
                  </a:lnTo>
                  <a:lnTo>
                    <a:pt x="493" y="15"/>
                  </a:lnTo>
                  <a:lnTo>
                    <a:pt x="495" y="15"/>
                  </a:lnTo>
                  <a:lnTo>
                    <a:pt x="495" y="16"/>
                  </a:lnTo>
                  <a:lnTo>
                    <a:pt x="493" y="16"/>
                  </a:lnTo>
                  <a:lnTo>
                    <a:pt x="492" y="18"/>
                  </a:lnTo>
                  <a:lnTo>
                    <a:pt x="491" y="19"/>
                  </a:lnTo>
                  <a:lnTo>
                    <a:pt x="490" y="19"/>
                  </a:lnTo>
                  <a:lnTo>
                    <a:pt x="490" y="19"/>
                  </a:lnTo>
                  <a:lnTo>
                    <a:pt x="489" y="18"/>
                  </a:lnTo>
                  <a:lnTo>
                    <a:pt x="489" y="18"/>
                  </a:lnTo>
                  <a:lnTo>
                    <a:pt x="488" y="18"/>
                  </a:lnTo>
                  <a:lnTo>
                    <a:pt x="485" y="19"/>
                  </a:lnTo>
                  <a:lnTo>
                    <a:pt x="483" y="20"/>
                  </a:lnTo>
                  <a:lnTo>
                    <a:pt x="482" y="21"/>
                  </a:lnTo>
                  <a:lnTo>
                    <a:pt x="482" y="21"/>
                  </a:lnTo>
                  <a:lnTo>
                    <a:pt x="482" y="21"/>
                  </a:lnTo>
                  <a:lnTo>
                    <a:pt x="483" y="21"/>
                  </a:lnTo>
                  <a:lnTo>
                    <a:pt x="485" y="20"/>
                  </a:lnTo>
                  <a:lnTo>
                    <a:pt x="487" y="20"/>
                  </a:lnTo>
                  <a:lnTo>
                    <a:pt x="488" y="20"/>
                  </a:lnTo>
                  <a:lnTo>
                    <a:pt x="490" y="21"/>
                  </a:lnTo>
                  <a:lnTo>
                    <a:pt x="492" y="21"/>
                  </a:lnTo>
                  <a:lnTo>
                    <a:pt x="493" y="21"/>
                  </a:lnTo>
                  <a:lnTo>
                    <a:pt x="495" y="21"/>
                  </a:lnTo>
                  <a:lnTo>
                    <a:pt x="493" y="21"/>
                  </a:lnTo>
                  <a:lnTo>
                    <a:pt x="492" y="22"/>
                  </a:lnTo>
                  <a:lnTo>
                    <a:pt x="490" y="22"/>
                  </a:lnTo>
                  <a:lnTo>
                    <a:pt x="488" y="23"/>
                  </a:lnTo>
                  <a:lnTo>
                    <a:pt x="485" y="24"/>
                  </a:lnTo>
                  <a:lnTo>
                    <a:pt x="483" y="24"/>
                  </a:lnTo>
                  <a:lnTo>
                    <a:pt x="483" y="24"/>
                  </a:lnTo>
                  <a:lnTo>
                    <a:pt x="482" y="24"/>
                  </a:lnTo>
                  <a:lnTo>
                    <a:pt x="482" y="24"/>
                  </a:lnTo>
                  <a:lnTo>
                    <a:pt x="482" y="23"/>
                  </a:lnTo>
                  <a:lnTo>
                    <a:pt x="481" y="23"/>
                  </a:lnTo>
                  <a:lnTo>
                    <a:pt x="480" y="24"/>
                  </a:lnTo>
                  <a:lnTo>
                    <a:pt x="478" y="24"/>
                  </a:lnTo>
                  <a:lnTo>
                    <a:pt x="477" y="26"/>
                  </a:lnTo>
                  <a:lnTo>
                    <a:pt x="478" y="27"/>
                  </a:lnTo>
                  <a:lnTo>
                    <a:pt x="480" y="28"/>
                  </a:lnTo>
                  <a:lnTo>
                    <a:pt x="481" y="29"/>
                  </a:lnTo>
                  <a:lnTo>
                    <a:pt x="481" y="29"/>
                  </a:lnTo>
                  <a:lnTo>
                    <a:pt x="480" y="30"/>
                  </a:lnTo>
                  <a:lnTo>
                    <a:pt x="478" y="30"/>
                  </a:lnTo>
                  <a:lnTo>
                    <a:pt x="477" y="31"/>
                  </a:lnTo>
                  <a:lnTo>
                    <a:pt x="477" y="31"/>
                  </a:lnTo>
                  <a:lnTo>
                    <a:pt x="478" y="33"/>
                  </a:lnTo>
                  <a:lnTo>
                    <a:pt x="480" y="34"/>
                  </a:lnTo>
                  <a:lnTo>
                    <a:pt x="481" y="34"/>
                  </a:lnTo>
                  <a:lnTo>
                    <a:pt x="481" y="34"/>
                  </a:lnTo>
                  <a:lnTo>
                    <a:pt x="480" y="35"/>
                  </a:lnTo>
                  <a:lnTo>
                    <a:pt x="478" y="36"/>
                  </a:lnTo>
                  <a:lnTo>
                    <a:pt x="477" y="37"/>
                  </a:lnTo>
                  <a:lnTo>
                    <a:pt x="476" y="36"/>
                  </a:lnTo>
                  <a:lnTo>
                    <a:pt x="475" y="36"/>
                  </a:lnTo>
                  <a:lnTo>
                    <a:pt x="474" y="35"/>
                  </a:lnTo>
                  <a:lnTo>
                    <a:pt x="474" y="35"/>
                  </a:lnTo>
                  <a:lnTo>
                    <a:pt x="474" y="35"/>
                  </a:lnTo>
                  <a:lnTo>
                    <a:pt x="475" y="36"/>
                  </a:lnTo>
                  <a:lnTo>
                    <a:pt x="475" y="37"/>
                  </a:lnTo>
                  <a:lnTo>
                    <a:pt x="474" y="38"/>
                  </a:lnTo>
                  <a:lnTo>
                    <a:pt x="472" y="38"/>
                  </a:lnTo>
                  <a:lnTo>
                    <a:pt x="469" y="38"/>
                  </a:lnTo>
                  <a:lnTo>
                    <a:pt x="467" y="38"/>
                  </a:lnTo>
                  <a:lnTo>
                    <a:pt x="465" y="38"/>
                  </a:lnTo>
                  <a:lnTo>
                    <a:pt x="462" y="37"/>
                  </a:lnTo>
                  <a:lnTo>
                    <a:pt x="460" y="37"/>
                  </a:lnTo>
                  <a:lnTo>
                    <a:pt x="459" y="38"/>
                  </a:lnTo>
                  <a:lnTo>
                    <a:pt x="458" y="38"/>
                  </a:lnTo>
                  <a:lnTo>
                    <a:pt x="457" y="38"/>
                  </a:lnTo>
                  <a:lnTo>
                    <a:pt x="454" y="38"/>
                  </a:lnTo>
                  <a:lnTo>
                    <a:pt x="452" y="37"/>
                  </a:lnTo>
                  <a:lnTo>
                    <a:pt x="451" y="37"/>
                  </a:lnTo>
                  <a:lnTo>
                    <a:pt x="450" y="37"/>
                  </a:lnTo>
                  <a:lnTo>
                    <a:pt x="448" y="37"/>
                  </a:lnTo>
                  <a:lnTo>
                    <a:pt x="447" y="38"/>
                  </a:lnTo>
                  <a:lnTo>
                    <a:pt x="445" y="38"/>
                  </a:lnTo>
                  <a:lnTo>
                    <a:pt x="443" y="40"/>
                  </a:lnTo>
                  <a:lnTo>
                    <a:pt x="443" y="41"/>
                  </a:lnTo>
                  <a:lnTo>
                    <a:pt x="443" y="42"/>
                  </a:lnTo>
                  <a:lnTo>
                    <a:pt x="445" y="42"/>
                  </a:lnTo>
                  <a:lnTo>
                    <a:pt x="446" y="41"/>
                  </a:lnTo>
                  <a:lnTo>
                    <a:pt x="447" y="42"/>
                  </a:lnTo>
                  <a:lnTo>
                    <a:pt x="447" y="42"/>
                  </a:lnTo>
                  <a:lnTo>
                    <a:pt x="447" y="43"/>
                  </a:lnTo>
                  <a:lnTo>
                    <a:pt x="448" y="43"/>
                  </a:lnTo>
                  <a:lnTo>
                    <a:pt x="448" y="43"/>
                  </a:lnTo>
                  <a:lnTo>
                    <a:pt x="450" y="43"/>
                  </a:lnTo>
                  <a:lnTo>
                    <a:pt x="451" y="43"/>
                  </a:lnTo>
                  <a:lnTo>
                    <a:pt x="451" y="43"/>
                  </a:lnTo>
                  <a:lnTo>
                    <a:pt x="452" y="44"/>
                  </a:lnTo>
                  <a:lnTo>
                    <a:pt x="453" y="45"/>
                  </a:lnTo>
                  <a:lnTo>
                    <a:pt x="454" y="45"/>
                  </a:lnTo>
                  <a:lnTo>
                    <a:pt x="455" y="45"/>
                  </a:lnTo>
                  <a:lnTo>
                    <a:pt x="455" y="45"/>
                  </a:lnTo>
                  <a:lnTo>
                    <a:pt x="457" y="44"/>
                  </a:lnTo>
                  <a:lnTo>
                    <a:pt x="458" y="43"/>
                  </a:lnTo>
                  <a:lnTo>
                    <a:pt x="459" y="43"/>
                  </a:lnTo>
                  <a:lnTo>
                    <a:pt x="459" y="44"/>
                  </a:lnTo>
                  <a:lnTo>
                    <a:pt x="460" y="44"/>
                  </a:lnTo>
                  <a:lnTo>
                    <a:pt x="461" y="45"/>
                  </a:lnTo>
                  <a:lnTo>
                    <a:pt x="461" y="45"/>
                  </a:lnTo>
                  <a:lnTo>
                    <a:pt x="462" y="44"/>
                  </a:lnTo>
                  <a:lnTo>
                    <a:pt x="463" y="45"/>
                  </a:lnTo>
                  <a:lnTo>
                    <a:pt x="465" y="46"/>
                  </a:lnTo>
                  <a:lnTo>
                    <a:pt x="465" y="49"/>
                  </a:lnTo>
                  <a:lnTo>
                    <a:pt x="463" y="50"/>
                  </a:lnTo>
                  <a:lnTo>
                    <a:pt x="463" y="51"/>
                  </a:lnTo>
                  <a:lnTo>
                    <a:pt x="462" y="51"/>
                  </a:lnTo>
                  <a:lnTo>
                    <a:pt x="461" y="51"/>
                  </a:lnTo>
                  <a:lnTo>
                    <a:pt x="461" y="52"/>
                  </a:lnTo>
                  <a:lnTo>
                    <a:pt x="460" y="53"/>
                  </a:lnTo>
                  <a:lnTo>
                    <a:pt x="458" y="53"/>
                  </a:lnTo>
                  <a:lnTo>
                    <a:pt x="455" y="53"/>
                  </a:lnTo>
                  <a:lnTo>
                    <a:pt x="453" y="52"/>
                  </a:lnTo>
                  <a:lnTo>
                    <a:pt x="452" y="51"/>
                  </a:lnTo>
                  <a:lnTo>
                    <a:pt x="451" y="50"/>
                  </a:lnTo>
                  <a:lnTo>
                    <a:pt x="448" y="49"/>
                  </a:lnTo>
                  <a:lnTo>
                    <a:pt x="447" y="48"/>
                  </a:lnTo>
                  <a:lnTo>
                    <a:pt x="445" y="48"/>
                  </a:lnTo>
                  <a:lnTo>
                    <a:pt x="443" y="48"/>
                  </a:lnTo>
                  <a:lnTo>
                    <a:pt x="442" y="46"/>
                  </a:lnTo>
                  <a:lnTo>
                    <a:pt x="439" y="46"/>
                  </a:lnTo>
                  <a:lnTo>
                    <a:pt x="437" y="46"/>
                  </a:lnTo>
                  <a:lnTo>
                    <a:pt x="435" y="45"/>
                  </a:lnTo>
                  <a:lnTo>
                    <a:pt x="431" y="45"/>
                  </a:lnTo>
                  <a:lnTo>
                    <a:pt x="430" y="45"/>
                  </a:lnTo>
                  <a:lnTo>
                    <a:pt x="430" y="46"/>
                  </a:lnTo>
                  <a:lnTo>
                    <a:pt x="431" y="46"/>
                  </a:lnTo>
                  <a:lnTo>
                    <a:pt x="432" y="46"/>
                  </a:lnTo>
                  <a:lnTo>
                    <a:pt x="435" y="46"/>
                  </a:lnTo>
                  <a:lnTo>
                    <a:pt x="437" y="46"/>
                  </a:lnTo>
                  <a:lnTo>
                    <a:pt x="438" y="46"/>
                  </a:lnTo>
                  <a:lnTo>
                    <a:pt x="439" y="48"/>
                  </a:lnTo>
                  <a:lnTo>
                    <a:pt x="439" y="49"/>
                  </a:lnTo>
                  <a:lnTo>
                    <a:pt x="438" y="49"/>
                  </a:lnTo>
                  <a:lnTo>
                    <a:pt x="438" y="49"/>
                  </a:lnTo>
                  <a:lnTo>
                    <a:pt x="436" y="50"/>
                  </a:lnTo>
                  <a:lnTo>
                    <a:pt x="435" y="50"/>
                  </a:lnTo>
                  <a:lnTo>
                    <a:pt x="433" y="50"/>
                  </a:lnTo>
                  <a:lnTo>
                    <a:pt x="431" y="51"/>
                  </a:lnTo>
                  <a:lnTo>
                    <a:pt x="430" y="52"/>
                  </a:lnTo>
                  <a:lnTo>
                    <a:pt x="429" y="52"/>
                  </a:lnTo>
                  <a:lnTo>
                    <a:pt x="428" y="53"/>
                  </a:lnTo>
                  <a:lnTo>
                    <a:pt x="428" y="53"/>
                  </a:lnTo>
                  <a:lnTo>
                    <a:pt x="429" y="53"/>
                  </a:lnTo>
                  <a:lnTo>
                    <a:pt x="431" y="53"/>
                  </a:lnTo>
                  <a:lnTo>
                    <a:pt x="432" y="53"/>
                  </a:lnTo>
                  <a:lnTo>
                    <a:pt x="433" y="55"/>
                  </a:lnTo>
                  <a:lnTo>
                    <a:pt x="432" y="55"/>
                  </a:lnTo>
                  <a:lnTo>
                    <a:pt x="432" y="55"/>
                  </a:lnTo>
                  <a:lnTo>
                    <a:pt x="431" y="56"/>
                  </a:lnTo>
                  <a:lnTo>
                    <a:pt x="431" y="56"/>
                  </a:lnTo>
                  <a:lnTo>
                    <a:pt x="431" y="56"/>
                  </a:lnTo>
                  <a:lnTo>
                    <a:pt x="432" y="56"/>
                  </a:lnTo>
                  <a:lnTo>
                    <a:pt x="435" y="55"/>
                  </a:lnTo>
                  <a:lnTo>
                    <a:pt x="437" y="55"/>
                  </a:lnTo>
                  <a:lnTo>
                    <a:pt x="438" y="53"/>
                  </a:lnTo>
                  <a:lnTo>
                    <a:pt x="439" y="53"/>
                  </a:lnTo>
                  <a:lnTo>
                    <a:pt x="442" y="53"/>
                  </a:lnTo>
                  <a:lnTo>
                    <a:pt x="444" y="55"/>
                  </a:lnTo>
                  <a:lnTo>
                    <a:pt x="447" y="56"/>
                  </a:lnTo>
                  <a:lnTo>
                    <a:pt x="451" y="56"/>
                  </a:lnTo>
                  <a:lnTo>
                    <a:pt x="453" y="56"/>
                  </a:lnTo>
                  <a:lnTo>
                    <a:pt x="454" y="55"/>
                  </a:lnTo>
                  <a:lnTo>
                    <a:pt x="454" y="55"/>
                  </a:lnTo>
                  <a:lnTo>
                    <a:pt x="455" y="55"/>
                  </a:lnTo>
                  <a:lnTo>
                    <a:pt x="455" y="56"/>
                  </a:lnTo>
                  <a:lnTo>
                    <a:pt x="455" y="56"/>
                  </a:lnTo>
                  <a:lnTo>
                    <a:pt x="454" y="56"/>
                  </a:lnTo>
                  <a:lnTo>
                    <a:pt x="453" y="57"/>
                  </a:lnTo>
                  <a:lnTo>
                    <a:pt x="451" y="57"/>
                  </a:lnTo>
                  <a:lnTo>
                    <a:pt x="451" y="57"/>
                  </a:lnTo>
                  <a:lnTo>
                    <a:pt x="451" y="57"/>
                  </a:lnTo>
                  <a:lnTo>
                    <a:pt x="451" y="58"/>
                  </a:lnTo>
                  <a:lnTo>
                    <a:pt x="450" y="58"/>
                  </a:lnTo>
                  <a:lnTo>
                    <a:pt x="447" y="59"/>
                  </a:lnTo>
                  <a:lnTo>
                    <a:pt x="446" y="59"/>
                  </a:lnTo>
                  <a:lnTo>
                    <a:pt x="444" y="59"/>
                  </a:lnTo>
                  <a:lnTo>
                    <a:pt x="444" y="60"/>
                  </a:lnTo>
                  <a:lnTo>
                    <a:pt x="444" y="60"/>
                  </a:lnTo>
                  <a:lnTo>
                    <a:pt x="444" y="61"/>
                  </a:lnTo>
                  <a:lnTo>
                    <a:pt x="442" y="61"/>
                  </a:lnTo>
                  <a:lnTo>
                    <a:pt x="440" y="61"/>
                  </a:lnTo>
                  <a:lnTo>
                    <a:pt x="438" y="61"/>
                  </a:lnTo>
                  <a:lnTo>
                    <a:pt x="436" y="61"/>
                  </a:lnTo>
                  <a:lnTo>
                    <a:pt x="435" y="61"/>
                  </a:lnTo>
                  <a:lnTo>
                    <a:pt x="435" y="63"/>
                  </a:lnTo>
                  <a:lnTo>
                    <a:pt x="435" y="63"/>
                  </a:lnTo>
                  <a:lnTo>
                    <a:pt x="433" y="64"/>
                  </a:lnTo>
                  <a:lnTo>
                    <a:pt x="432" y="64"/>
                  </a:lnTo>
                  <a:lnTo>
                    <a:pt x="430" y="64"/>
                  </a:lnTo>
                  <a:lnTo>
                    <a:pt x="429" y="64"/>
                  </a:lnTo>
                  <a:lnTo>
                    <a:pt x="428" y="64"/>
                  </a:lnTo>
                  <a:lnTo>
                    <a:pt x="428" y="64"/>
                  </a:lnTo>
                  <a:lnTo>
                    <a:pt x="427" y="65"/>
                  </a:lnTo>
                  <a:lnTo>
                    <a:pt x="425" y="65"/>
                  </a:lnTo>
                  <a:lnTo>
                    <a:pt x="423" y="65"/>
                  </a:lnTo>
                  <a:lnTo>
                    <a:pt x="421" y="65"/>
                  </a:lnTo>
                  <a:lnTo>
                    <a:pt x="417" y="66"/>
                  </a:lnTo>
                  <a:lnTo>
                    <a:pt x="415" y="66"/>
                  </a:lnTo>
                  <a:lnTo>
                    <a:pt x="414" y="66"/>
                  </a:lnTo>
                  <a:lnTo>
                    <a:pt x="413" y="66"/>
                  </a:lnTo>
                  <a:lnTo>
                    <a:pt x="413" y="66"/>
                  </a:lnTo>
                  <a:lnTo>
                    <a:pt x="412" y="66"/>
                  </a:lnTo>
                  <a:lnTo>
                    <a:pt x="410" y="67"/>
                  </a:lnTo>
                  <a:lnTo>
                    <a:pt x="408" y="68"/>
                  </a:lnTo>
                  <a:lnTo>
                    <a:pt x="407" y="68"/>
                  </a:lnTo>
                  <a:lnTo>
                    <a:pt x="405" y="67"/>
                  </a:lnTo>
                  <a:lnTo>
                    <a:pt x="402" y="67"/>
                  </a:lnTo>
                  <a:lnTo>
                    <a:pt x="401" y="67"/>
                  </a:lnTo>
                  <a:lnTo>
                    <a:pt x="400" y="68"/>
                  </a:lnTo>
                  <a:lnTo>
                    <a:pt x="399" y="67"/>
                  </a:lnTo>
                  <a:lnTo>
                    <a:pt x="398" y="67"/>
                  </a:lnTo>
                  <a:lnTo>
                    <a:pt x="396" y="66"/>
                  </a:lnTo>
                  <a:lnTo>
                    <a:pt x="395" y="65"/>
                  </a:lnTo>
                  <a:lnTo>
                    <a:pt x="394" y="64"/>
                  </a:lnTo>
                  <a:lnTo>
                    <a:pt x="394" y="64"/>
                  </a:lnTo>
                  <a:lnTo>
                    <a:pt x="394" y="64"/>
                  </a:lnTo>
                  <a:lnTo>
                    <a:pt x="394" y="65"/>
                  </a:lnTo>
                  <a:lnTo>
                    <a:pt x="394" y="66"/>
                  </a:lnTo>
                  <a:lnTo>
                    <a:pt x="394" y="67"/>
                  </a:lnTo>
                  <a:lnTo>
                    <a:pt x="393" y="67"/>
                  </a:lnTo>
                  <a:lnTo>
                    <a:pt x="391" y="67"/>
                  </a:lnTo>
                  <a:lnTo>
                    <a:pt x="390" y="67"/>
                  </a:lnTo>
                  <a:lnTo>
                    <a:pt x="388" y="68"/>
                  </a:lnTo>
                  <a:lnTo>
                    <a:pt x="387" y="70"/>
                  </a:lnTo>
                  <a:lnTo>
                    <a:pt x="386" y="71"/>
                  </a:lnTo>
                  <a:lnTo>
                    <a:pt x="386" y="72"/>
                  </a:lnTo>
                  <a:lnTo>
                    <a:pt x="385" y="73"/>
                  </a:lnTo>
                  <a:lnTo>
                    <a:pt x="384" y="73"/>
                  </a:lnTo>
                  <a:lnTo>
                    <a:pt x="381" y="73"/>
                  </a:lnTo>
                  <a:lnTo>
                    <a:pt x="380" y="73"/>
                  </a:lnTo>
                  <a:lnTo>
                    <a:pt x="379" y="74"/>
                  </a:lnTo>
                  <a:lnTo>
                    <a:pt x="377" y="75"/>
                  </a:lnTo>
                  <a:lnTo>
                    <a:pt x="376" y="74"/>
                  </a:lnTo>
                  <a:lnTo>
                    <a:pt x="373" y="75"/>
                  </a:lnTo>
                  <a:lnTo>
                    <a:pt x="371" y="75"/>
                  </a:lnTo>
                  <a:lnTo>
                    <a:pt x="370" y="75"/>
                  </a:lnTo>
                  <a:lnTo>
                    <a:pt x="369" y="75"/>
                  </a:lnTo>
                  <a:lnTo>
                    <a:pt x="368" y="76"/>
                  </a:lnTo>
                  <a:lnTo>
                    <a:pt x="368" y="79"/>
                  </a:lnTo>
                  <a:lnTo>
                    <a:pt x="369" y="79"/>
                  </a:lnTo>
                  <a:lnTo>
                    <a:pt x="368" y="80"/>
                  </a:lnTo>
                  <a:lnTo>
                    <a:pt x="365" y="80"/>
                  </a:lnTo>
                  <a:lnTo>
                    <a:pt x="363" y="80"/>
                  </a:lnTo>
                  <a:lnTo>
                    <a:pt x="362" y="80"/>
                  </a:lnTo>
                  <a:lnTo>
                    <a:pt x="361" y="80"/>
                  </a:lnTo>
                  <a:lnTo>
                    <a:pt x="361" y="79"/>
                  </a:lnTo>
                  <a:lnTo>
                    <a:pt x="360" y="78"/>
                  </a:lnTo>
                  <a:lnTo>
                    <a:pt x="358" y="78"/>
                  </a:lnTo>
                  <a:lnTo>
                    <a:pt x="356" y="76"/>
                  </a:lnTo>
                  <a:lnTo>
                    <a:pt x="355" y="78"/>
                  </a:lnTo>
                  <a:lnTo>
                    <a:pt x="354" y="78"/>
                  </a:lnTo>
                  <a:lnTo>
                    <a:pt x="354" y="79"/>
                  </a:lnTo>
                  <a:lnTo>
                    <a:pt x="355" y="80"/>
                  </a:lnTo>
                  <a:lnTo>
                    <a:pt x="354" y="80"/>
                  </a:lnTo>
                  <a:lnTo>
                    <a:pt x="353" y="80"/>
                  </a:lnTo>
                  <a:lnTo>
                    <a:pt x="351" y="80"/>
                  </a:lnTo>
                  <a:lnTo>
                    <a:pt x="349" y="80"/>
                  </a:lnTo>
                  <a:lnTo>
                    <a:pt x="347" y="80"/>
                  </a:lnTo>
                  <a:lnTo>
                    <a:pt x="346" y="80"/>
                  </a:lnTo>
                  <a:lnTo>
                    <a:pt x="343" y="80"/>
                  </a:lnTo>
                  <a:lnTo>
                    <a:pt x="342" y="81"/>
                  </a:lnTo>
                  <a:lnTo>
                    <a:pt x="341" y="82"/>
                  </a:lnTo>
                  <a:lnTo>
                    <a:pt x="341" y="83"/>
                  </a:lnTo>
                  <a:lnTo>
                    <a:pt x="342" y="86"/>
                  </a:lnTo>
                  <a:lnTo>
                    <a:pt x="342" y="86"/>
                  </a:lnTo>
                  <a:lnTo>
                    <a:pt x="341" y="86"/>
                  </a:lnTo>
                  <a:lnTo>
                    <a:pt x="340" y="86"/>
                  </a:lnTo>
                  <a:lnTo>
                    <a:pt x="338" y="86"/>
                  </a:lnTo>
                  <a:lnTo>
                    <a:pt x="335" y="86"/>
                  </a:lnTo>
                  <a:lnTo>
                    <a:pt x="333" y="85"/>
                  </a:lnTo>
                  <a:lnTo>
                    <a:pt x="332" y="85"/>
                  </a:lnTo>
                  <a:lnTo>
                    <a:pt x="332" y="86"/>
                  </a:lnTo>
                  <a:lnTo>
                    <a:pt x="332" y="87"/>
                  </a:lnTo>
                  <a:lnTo>
                    <a:pt x="333" y="88"/>
                  </a:lnTo>
                  <a:lnTo>
                    <a:pt x="335" y="89"/>
                  </a:lnTo>
                  <a:lnTo>
                    <a:pt x="335" y="90"/>
                  </a:lnTo>
                  <a:lnTo>
                    <a:pt x="334" y="90"/>
                  </a:lnTo>
                  <a:lnTo>
                    <a:pt x="333" y="91"/>
                  </a:lnTo>
                  <a:lnTo>
                    <a:pt x="332" y="91"/>
                  </a:lnTo>
                  <a:lnTo>
                    <a:pt x="331" y="91"/>
                  </a:lnTo>
                  <a:lnTo>
                    <a:pt x="330" y="91"/>
                  </a:lnTo>
                  <a:lnTo>
                    <a:pt x="330" y="93"/>
                  </a:lnTo>
                  <a:lnTo>
                    <a:pt x="330" y="93"/>
                  </a:lnTo>
                  <a:lnTo>
                    <a:pt x="328" y="94"/>
                  </a:lnTo>
                  <a:lnTo>
                    <a:pt x="327" y="95"/>
                  </a:lnTo>
                  <a:lnTo>
                    <a:pt x="325" y="95"/>
                  </a:lnTo>
                  <a:lnTo>
                    <a:pt x="325" y="96"/>
                  </a:lnTo>
                  <a:lnTo>
                    <a:pt x="325" y="96"/>
                  </a:lnTo>
                  <a:lnTo>
                    <a:pt x="324" y="97"/>
                  </a:lnTo>
                  <a:lnTo>
                    <a:pt x="321" y="97"/>
                  </a:lnTo>
                  <a:lnTo>
                    <a:pt x="320" y="98"/>
                  </a:lnTo>
                  <a:lnTo>
                    <a:pt x="319" y="98"/>
                  </a:lnTo>
                  <a:lnTo>
                    <a:pt x="319" y="100"/>
                  </a:lnTo>
                  <a:lnTo>
                    <a:pt x="319" y="100"/>
                  </a:lnTo>
                  <a:lnTo>
                    <a:pt x="319" y="101"/>
                  </a:lnTo>
                  <a:lnTo>
                    <a:pt x="318" y="101"/>
                  </a:lnTo>
                  <a:lnTo>
                    <a:pt x="316" y="101"/>
                  </a:lnTo>
                  <a:lnTo>
                    <a:pt x="315" y="102"/>
                  </a:lnTo>
                  <a:lnTo>
                    <a:pt x="315" y="102"/>
                  </a:lnTo>
                  <a:lnTo>
                    <a:pt x="315" y="103"/>
                  </a:lnTo>
                  <a:lnTo>
                    <a:pt x="316" y="104"/>
                  </a:lnTo>
                  <a:lnTo>
                    <a:pt x="317" y="105"/>
                  </a:lnTo>
                  <a:lnTo>
                    <a:pt x="316" y="106"/>
                  </a:lnTo>
                  <a:lnTo>
                    <a:pt x="315" y="106"/>
                  </a:lnTo>
                  <a:lnTo>
                    <a:pt x="313" y="108"/>
                  </a:lnTo>
                  <a:lnTo>
                    <a:pt x="312" y="109"/>
                  </a:lnTo>
                  <a:lnTo>
                    <a:pt x="312" y="110"/>
                  </a:lnTo>
                  <a:lnTo>
                    <a:pt x="313" y="110"/>
                  </a:lnTo>
                  <a:lnTo>
                    <a:pt x="312" y="110"/>
                  </a:lnTo>
                  <a:lnTo>
                    <a:pt x="311" y="110"/>
                  </a:lnTo>
                  <a:lnTo>
                    <a:pt x="310" y="111"/>
                  </a:lnTo>
                  <a:lnTo>
                    <a:pt x="309" y="111"/>
                  </a:lnTo>
                  <a:lnTo>
                    <a:pt x="308" y="112"/>
                  </a:lnTo>
                  <a:lnTo>
                    <a:pt x="309" y="113"/>
                  </a:lnTo>
                  <a:lnTo>
                    <a:pt x="310" y="113"/>
                  </a:lnTo>
                  <a:lnTo>
                    <a:pt x="309" y="113"/>
                  </a:lnTo>
                  <a:lnTo>
                    <a:pt x="308" y="113"/>
                  </a:lnTo>
                  <a:lnTo>
                    <a:pt x="306" y="113"/>
                  </a:lnTo>
                  <a:lnTo>
                    <a:pt x="304" y="115"/>
                  </a:lnTo>
                  <a:lnTo>
                    <a:pt x="303" y="116"/>
                  </a:lnTo>
                  <a:lnTo>
                    <a:pt x="303" y="117"/>
                  </a:lnTo>
                  <a:lnTo>
                    <a:pt x="304" y="119"/>
                  </a:lnTo>
                  <a:lnTo>
                    <a:pt x="304" y="120"/>
                  </a:lnTo>
                  <a:lnTo>
                    <a:pt x="303" y="120"/>
                  </a:lnTo>
                  <a:lnTo>
                    <a:pt x="301" y="120"/>
                  </a:lnTo>
                  <a:lnTo>
                    <a:pt x="300" y="120"/>
                  </a:lnTo>
                  <a:lnTo>
                    <a:pt x="296" y="120"/>
                  </a:lnTo>
                  <a:lnTo>
                    <a:pt x="295" y="120"/>
                  </a:lnTo>
                  <a:lnTo>
                    <a:pt x="294" y="119"/>
                  </a:lnTo>
                  <a:lnTo>
                    <a:pt x="294" y="119"/>
                  </a:lnTo>
                  <a:lnTo>
                    <a:pt x="294" y="119"/>
                  </a:lnTo>
                  <a:lnTo>
                    <a:pt x="294" y="118"/>
                  </a:lnTo>
                  <a:lnTo>
                    <a:pt x="293" y="118"/>
                  </a:lnTo>
                  <a:lnTo>
                    <a:pt x="291" y="118"/>
                  </a:lnTo>
                  <a:lnTo>
                    <a:pt x="291" y="117"/>
                  </a:lnTo>
                  <a:lnTo>
                    <a:pt x="291" y="117"/>
                  </a:lnTo>
                  <a:lnTo>
                    <a:pt x="291" y="116"/>
                  </a:lnTo>
                  <a:lnTo>
                    <a:pt x="291" y="116"/>
                  </a:lnTo>
                  <a:lnTo>
                    <a:pt x="289" y="115"/>
                  </a:lnTo>
                  <a:lnTo>
                    <a:pt x="288" y="115"/>
                  </a:lnTo>
                  <a:lnTo>
                    <a:pt x="287" y="115"/>
                  </a:lnTo>
                  <a:lnTo>
                    <a:pt x="287" y="113"/>
                  </a:lnTo>
                  <a:lnTo>
                    <a:pt x="288" y="113"/>
                  </a:lnTo>
                  <a:lnTo>
                    <a:pt x="288" y="113"/>
                  </a:lnTo>
                  <a:lnTo>
                    <a:pt x="288" y="112"/>
                  </a:lnTo>
                  <a:lnTo>
                    <a:pt x="288" y="112"/>
                  </a:lnTo>
                  <a:lnTo>
                    <a:pt x="288" y="113"/>
                  </a:lnTo>
                  <a:lnTo>
                    <a:pt x="288" y="113"/>
                  </a:lnTo>
                  <a:lnTo>
                    <a:pt x="286" y="113"/>
                  </a:lnTo>
                  <a:lnTo>
                    <a:pt x="285" y="113"/>
                  </a:lnTo>
                  <a:lnTo>
                    <a:pt x="283" y="115"/>
                  </a:lnTo>
                  <a:lnTo>
                    <a:pt x="281" y="115"/>
                  </a:lnTo>
                  <a:lnTo>
                    <a:pt x="280" y="116"/>
                  </a:lnTo>
                  <a:lnTo>
                    <a:pt x="280" y="116"/>
                  </a:lnTo>
                  <a:lnTo>
                    <a:pt x="279" y="115"/>
                  </a:lnTo>
                  <a:lnTo>
                    <a:pt x="278" y="115"/>
                  </a:lnTo>
                  <a:lnTo>
                    <a:pt x="275" y="113"/>
                  </a:lnTo>
                  <a:lnTo>
                    <a:pt x="274" y="112"/>
                  </a:lnTo>
                  <a:lnTo>
                    <a:pt x="274" y="112"/>
                  </a:lnTo>
                  <a:lnTo>
                    <a:pt x="274" y="111"/>
                  </a:lnTo>
                  <a:lnTo>
                    <a:pt x="273" y="110"/>
                  </a:lnTo>
                  <a:lnTo>
                    <a:pt x="272" y="110"/>
                  </a:lnTo>
                  <a:lnTo>
                    <a:pt x="271" y="110"/>
                  </a:lnTo>
                  <a:lnTo>
                    <a:pt x="269" y="109"/>
                  </a:lnTo>
                  <a:lnTo>
                    <a:pt x="269" y="109"/>
                  </a:lnTo>
                  <a:lnTo>
                    <a:pt x="269" y="108"/>
                  </a:lnTo>
                  <a:lnTo>
                    <a:pt x="269" y="106"/>
                  </a:lnTo>
                  <a:lnTo>
                    <a:pt x="269" y="105"/>
                  </a:lnTo>
                  <a:lnTo>
                    <a:pt x="268" y="104"/>
                  </a:lnTo>
                  <a:lnTo>
                    <a:pt x="267" y="104"/>
                  </a:lnTo>
                  <a:lnTo>
                    <a:pt x="265" y="104"/>
                  </a:lnTo>
                  <a:lnTo>
                    <a:pt x="265" y="104"/>
                  </a:lnTo>
                  <a:lnTo>
                    <a:pt x="265" y="103"/>
                  </a:lnTo>
                  <a:lnTo>
                    <a:pt x="265" y="102"/>
                  </a:lnTo>
                  <a:lnTo>
                    <a:pt x="264" y="101"/>
                  </a:lnTo>
                  <a:lnTo>
                    <a:pt x="261" y="100"/>
                  </a:lnTo>
                  <a:lnTo>
                    <a:pt x="261" y="98"/>
                  </a:lnTo>
                  <a:lnTo>
                    <a:pt x="261" y="96"/>
                  </a:lnTo>
                  <a:lnTo>
                    <a:pt x="261" y="94"/>
                  </a:lnTo>
                  <a:lnTo>
                    <a:pt x="261" y="94"/>
                  </a:lnTo>
                  <a:lnTo>
                    <a:pt x="261" y="93"/>
                  </a:lnTo>
                  <a:lnTo>
                    <a:pt x="263" y="93"/>
                  </a:lnTo>
                  <a:lnTo>
                    <a:pt x="264" y="93"/>
                  </a:lnTo>
                  <a:lnTo>
                    <a:pt x="265" y="93"/>
                  </a:lnTo>
                  <a:lnTo>
                    <a:pt x="265" y="90"/>
                  </a:lnTo>
                  <a:lnTo>
                    <a:pt x="266" y="90"/>
                  </a:lnTo>
                  <a:lnTo>
                    <a:pt x="266" y="89"/>
                  </a:lnTo>
                  <a:lnTo>
                    <a:pt x="268" y="89"/>
                  </a:lnTo>
                  <a:lnTo>
                    <a:pt x="267" y="88"/>
                  </a:lnTo>
                  <a:lnTo>
                    <a:pt x="266" y="89"/>
                  </a:lnTo>
                  <a:lnTo>
                    <a:pt x="263" y="90"/>
                  </a:lnTo>
                  <a:lnTo>
                    <a:pt x="260" y="93"/>
                  </a:lnTo>
                  <a:lnTo>
                    <a:pt x="259" y="91"/>
                  </a:lnTo>
                  <a:lnTo>
                    <a:pt x="259" y="91"/>
                  </a:lnTo>
                  <a:lnTo>
                    <a:pt x="259" y="90"/>
                  </a:lnTo>
                  <a:lnTo>
                    <a:pt x="259" y="88"/>
                  </a:lnTo>
                  <a:lnTo>
                    <a:pt x="259" y="87"/>
                  </a:lnTo>
                  <a:lnTo>
                    <a:pt x="259" y="85"/>
                  </a:lnTo>
                  <a:lnTo>
                    <a:pt x="258" y="83"/>
                  </a:lnTo>
                  <a:lnTo>
                    <a:pt x="257" y="82"/>
                  </a:lnTo>
                  <a:lnTo>
                    <a:pt x="256" y="81"/>
                  </a:lnTo>
                  <a:lnTo>
                    <a:pt x="257" y="80"/>
                  </a:lnTo>
                  <a:lnTo>
                    <a:pt x="258" y="80"/>
                  </a:lnTo>
                  <a:lnTo>
                    <a:pt x="260" y="80"/>
                  </a:lnTo>
                  <a:lnTo>
                    <a:pt x="261" y="80"/>
                  </a:lnTo>
                  <a:lnTo>
                    <a:pt x="263" y="80"/>
                  </a:lnTo>
                  <a:lnTo>
                    <a:pt x="263" y="79"/>
                  </a:lnTo>
                  <a:lnTo>
                    <a:pt x="261" y="78"/>
                  </a:lnTo>
                  <a:lnTo>
                    <a:pt x="260" y="76"/>
                  </a:lnTo>
                  <a:lnTo>
                    <a:pt x="259" y="75"/>
                  </a:lnTo>
                  <a:lnTo>
                    <a:pt x="259" y="75"/>
                  </a:lnTo>
                  <a:lnTo>
                    <a:pt x="260" y="74"/>
                  </a:lnTo>
                  <a:lnTo>
                    <a:pt x="260" y="74"/>
                  </a:lnTo>
                  <a:lnTo>
                    <a:pt x="260" y="74"/>
                  </a:lnTo>
                  <a:lnTo>
                    <a:pt x="260" y="73"/>
                  </a:lnTo>
                  <a:lnTo>
                    <a:pt x="259" y="72"/>
                  </a:lnTo>
                  <a:lnTo>
                    <a:pt x="259" y="72"/>
                  </a:lnTo>
                  <a:lnTo>
                    <a:pt x="261" y="72"/>
                  </a:lnTo>
                  <a:lnTo>
                    <a:pt x="263" y="71"/>
                  </a:lnTo>
                  <a:lnTo>
                    <a:pt x="264" y="71"/>
                  </a:lnTo>
                  <a:lnTo>
                    <a:pt x="265" y="71"/>
                  </a:lnTo>
                  <a:lnTo>
                    <a:pt x="265" y="70"/>
                  </a:lnTo>
                  <a:lnTo>
                    <a:pt x="264" y="68"/>
                  </a:lnTo>
                  <a:lnTo>
                    <a:pt x="264" y="68"/>
                  </a:lnTo>
                  <a:lnTo>
                    <a:pt x="265" y="67"/>
                  </a:lnTo>
                  <a:lnTo>
                    <a:pt x="267" y="67"/>
                  </a:lnTo>
                  <a:lnTo>
                    <a:pt x="271" y="66"/>
                  </a:lnTo>
                  <a:lnTo>
                    <a:pt x="272" y="66"/>
                  </a:lnTo>
                  <a:lnTo>
                    <a:pt x="273" y="66"/>
                  </a:lnTo>
                  <a:lnTo>
                    <a:pt x="274" y="67"/>
                  </a:lnTo>
                  <a:lnTo>
                    <a:pt x="275" y="67"/>
                  </a:lnTo>
                  <a:lnTo>
                    <a:pt x="275" y="68"/>
                  </a:lnTo>
                  <a:lnTo>
                    <a:pt x="278" y="67"/>
                  </a:lnTo>
                  <a:lnTo>
                    <a:pt x="278" y="67"/>
                  </a:lnTo>
                  <a:lnTo>
                    <a:pt x="278" y="66"/>
                  </a:lnTo>
                  <a:lnTo>
                    <a:pt x="276" y="66"/>
                  </a:lnTo>
                  <a:lnTo>
                    <a:pt x="275" y="66"/>
                  </a:lnTo>
                  <a:lnTo>
                    <a:pt x="274" y="65"/>
                  </a:lnTo>
                  <a:lnTo>
                    <a:pt x="274" y="65"/>
                  </a:lnTo>
                  <a:lnTo>
                    <a:pt x="274" y="64"/>
                  </a:lnTo>
                  <a:lnTo>
                    <a:pt x="276" y="64"/>
                  </a:lnTo>
                  <a:lnTo>
                    <a:pt x="279" y="64"/>
                  </a:lnTo>
                  <a:lnTo>
                    <a:pt x="280" y="64"/>
                  </a:lnTo>
                  <a:lnTo>
                    <a:pt x="282" y="64"/>
                  </a:lnTo>
                  <a:lnTo>
                    <a:pt x="282" y="63"/>
                  </a:lnTo>
                  <a:lnTo>
                    <a:pt x="282" y="61"/>
                  </a:lnTo>
                  <a:lnTo>
                    <a:pt x="283" y="61"/>
                  </a:lnTo>
                  <a:lnTo>
                    <a:pt x="285" y="61"/>
                  </a:lnTo>
                  <a:lnTo>
                    <a:pt x="286" y="60"/>
                  </a:lnTo>
                  <a:lnTo>
                    <a:pt x="287" y="60"/>
                  </a:lnTo>
                  <a:lnTo>
                    <a:pt x="286" y="60"/>
                  </a:lnTo>
                  <a:lnTo>
                    <a:pt x="286" y="60"/>
                  </a:lnTo>
                  <a:lnTo>
                    <a:pt x="286" y="59"/>
                  </a:lnTo>
                  <a:lnTo>
                    <a:pt x="287" y="59"/>
                  </a:lnTo>
                  <a:lnTo>
                    <a:pt x="287" y="58"/>
                  </a:lnTo>
                  <a:lnTo>
                    <a:pt x="286" y="57"/>
                  </a:lnTo>
                  <a:lnTo>
                    <a:pt x="285" y="57"/>
                  </a:lnTo>
                  <a:lnTo>
                    <a:pt x="282" y="57"/>
                  </a:lnTo>
                  <a:lnTo>
                    <a:pt x="281" y="57"/>
                  </a:lnTo>
                  <a:lnTo>
                    <a:pt x="279" y="57"/>
                  </a:lnTo>
                  <a:lnTo>
                    <a:pt x="278" y="57"/>
                  </a:lnTo>
                  <a:lnTo>
                    <a:pt x="275" y="57"/>
                  </a:lnTo>
                  <a:lnTo>
                    <a:pt x="274" y="56"/>
                  </a:lnTo>
                  <a:lnTo>
                    <a:pt x="272" y="56"/>
                  </a:lnTo>
                  <a:lnTo>
                    <a:pt x="271" y="56"/>
                  </a:lnTo>
                  <a:lnTo>
                    <a:pt x="271" y="55"/>
                  </a:lnTo>
                  <a:lnTo>
                    <a:pt x="269" y="55"/>
                  </a:lnTo>
                  <a:lnTo>
                    <a:pt x="271" y="55"/>
                  </a:lnTo>
                  <a:lnTo>
                    <a:pt x="272" y="53"/>
                  </a:lnTo>
                  <a:lnTo>
                    <a:pt x="274" y="53"/>
                  </a:lnTo>
                  <a:lnTo>
                    <a:pt x="275" y="53"/>
                  </a:lnTo>
                  <a:lnTo>
                    <a:pt x="275" y="53"/>
                  </a:lnTo>
                  <a:lnTo>
                    <a:pt x="276" y="52"/>
                  </a:lnTo>
                  <a:lnTo>
                    <a:pt x="278" y="52"/>
                  </a:lnTo>
                  <a:lnTo>
                    <a:pt x="280" y="52"/>
                  </a:lnTo>
                  <a:lnTo>
                    <a:pt x="283" y="53"/>
                  </a:lnTo>
                  <a:lnTo>
                    <a:pt x="286" y="53"/>
                  </a:lnTo>
                  <a:lnTo>
                    <a:pt x="288" y="53"/>
                  </a:lnTo>
                  <a:lnTo>
                    <a:pt x="289" y="53"/>
                  </a:lnTo>
                  <a:lnTo>
                    <a:pt x="288" y="52"/>
                  </a:lnTo>
                  <a:lnTo>
                    <a:pt x="288" y="52"/>
                  </a:lnTo>
                  <a:lnTo>
                    <a:pt x="287" y="51"/>
                  </a:lnTo>
                  <a:lnTo>
                    <a:pt x="286" y="51"/>
                  </a:lnTo>
                  <a:lnTo>
                    <a:pt x="286" y="51"/>
                  </a:lnTo>
                  <a:lnTo>
                    <a:pt x="287" y="51"/>
                  </a:lnTo>
                  <a:lnTo>
                    <a:pt x="287" y="50"/>
                  </a:lnTo>
                  <a:lnTo>
                    <a:pt x="286" y="50"/>
                  </a:lnTo>
                  <a:lnTo>
                    <a:pt x="286" y="51"/>
                  </a:lnTo>
                  <a:lnTo>
                    <a:pt x="285" y="51"/>
                  </a:lnTo>
                  <a:lnTo>
                    <a:pt x="283" y="51"/>
                  </a:lnTo>
                  <a:lnTo>
                    <a:pt x="282" y="51"/>
                  </a:lnTo>
                  <a:lnTo>
                    <a:pt x="282" y="51"/>
                  </a:lnTo>
                  <a:lnTo>
                    <a:pt x="282" y="50"/>
                  </a:lnTo>
                  <a:lnTo>
                    <a:pt x="283" y="49"/>
                  </a:lnTo>
                  <a:lnTo>
                    <a:pt x="285" y="49"/>
                  </a:lnTo>
                  <a:lnTo>
                    <a:pt x="283" y="49"/>
                  </a:lnTo>
                  <a:lnTo>
                    <a:pt x="283" y="49"/>
                  </a:lnTo>
                  <a:lnTo>
                    <a:pt x="282" y="50"/>
                  </a:lnTo>
                  <a:lnTo>
                    <a:pt x="281" y="50"/>
                  </a:lnTo>
                  <a:lnTo>
                    <a:pt x="279" y="50"/>
                  </a:lnTo>
                  <a:lnTo>
                    <a:pt x="276" y="50"/>
                  </a:lnTo>
                  <a:lnTo>
                    <a:pt x="276" y="50"/>
                  </a:lnTo>
                  <a:lnTo>
                    <a:pt x="275" y="49"/>
                  </a:lnTo>
                  <a:lnTo>
                    <a:pt x="275" y="50"/>
                  </a:lnTo>
                  <a:lnTo>
                    <a:pt x="274" y="50"/>
                  </a:lnTo>
                  <a:lnTo>
                    <a:pt x="273" y="50"/>
                  </a:lnTo>
                  <a:lnTo>
                    <a:pt x="272" y="50"/>
                  </a:lnTo>
                  <a:lnTo>
                    <a:pt x="269" y="50"/>
                  </a:lnTo>
                  <a:lnTo>
                    <a:pt x="267" y="50"/>
                  </a:lnTo>
                  <a:lnTo>
                    <a:pt x="267" y="50"/>
                  </a:lnTo>
                  <a:lnTo>
                    <a:pt x="267" y="49"/>
                  </a:lnTo>
                  <a:lnTo>
                    <a:pt x="267" y="48"/>
                  </a:lnTo>
                  <a:lnTo>
                    <a:pt x="267" y="46"/>
                  </a:lnTo>
                  <a:lnTo>
                    <a:pt x="268" y="46"/>
                  </a:lnTo>
                  <a:lnTo>
                    <a:pt x="271" y="45"/>
                  </a:lnTo>
                  <a:lnTo>
                    <a:pt x="271" y="45"/>
                  </a:lnTo>
                  <a:lnTo>
                    <a:pt x="272" y="44"/>
                  </a:lnTo>
                  <a:lnTo>
                    <a:pt x="272" y="43"/>
                  </a:lnTo>
                  <a:lnTo>
                    <a:pt x="274" y="43"/>
                  </a:lnTo>
                  <a:lnTo>
                    <a:pt x="275" y="43"/>
                  </a:lnTo>
                  <a:lnTo>
                    <a:pt x="275" y="42"/>
                  </a:lnTo>
                  <a:lnTo>
                    <a:pt x="274" y="41"/>
                  </a:lnTo>
                  <a:lnTo>
                    <a:pt x="274" y="41"/>
                  </a:lnTo>
                  <a:lnTo>
                    <a:pt x="274" y="40"/>
                  </a:lnTo>
                  <a:lnTo>
                    <a:pt x="275" y="40"/>
                  </a:lnTo>
                  <a:lnTo>
                    <a:pt x="275" y="40"/>
                  </a:lnTo>
                  <a:lnTo>
                    <a:pt x="275" y="38"/>
                  </a:lnTo>
                  <a:lnTo>
                    <a:pt x="274" y="38"/>
                  </a:lnTo>
                  <a:lnTo>
                    <a:pt x="273" y="37"/>
                  </a:lnTo>
                  <a:lnTo>
                    <a:pt x="272" y="37"/>
                  </a:lnTo>
                  <a:lnTo>
                    <a:pt x="272" y="36"/>
                  </a:lnTo>
                  <a:lnTo>
                    <a:pt x="273" y="36"/>
                  </a:lnTo>
                  <a:lnTo>
                    <a:pt x="273" y="35"/>
                  </a:lnTo>
                  <a:lnTo>
                    <a:pt x="272" y="35"/>
                  </a:lnTo>
                  <a:lnTo>
                    <a:pt x="271" y="35"/>
                  </a:lnTo>
                  <a:lnTo>
                    <a:pt x="269" y="34"/>
                  </a:lnTo>
                  <a:lnTo>
                    <a:pt x="269" y="34"/>
                  </a:lnTo>
                  <a:lnTo>
                    <a:pt x="271" y="33"/>
                  </a:lnTo>
                  <a:lnTo>
                    <a:pt x="271" y="33"/>
                  </a:lnTo>
                  <a:lnTo>
                    <a:pt x="271" y="33"/>
                  </a:lnTo>
                  <a:lnTo>
                    <a:pt x="268" y="31"/>
                  </a:lnTo>
                  <a:lnTo>
                    <a:pt x="267" y="31"/>
                  </a:lnTo>
                  <a:lnTo>
                    <a:pt x="265" y="31"/>
                  </a:lnTo>
                  <a:lnTo>
                    <a:pt x="264" y="31"/>
                  </a:lnTo>
                  <a:lnTo>
                    <a:pt x="263" y="30"/>
                  </a:lnTo>
                  <a:lnTo>
                    <a:pt x="263" y="30"/>
                  </a:lnTo>
                  <a:lnTo>
                    <a:pt x="261" y="30"/>
                  </a:lnTo>
                  <a:lnTo>
                    <a:pt x="260" y="31"/>
                  </a:lnTo>
                  <a:lnTo>
                    <a:pt x="258" y="30"/>
                  </a:lnTo>
                  <a:lnTo>
                    <a:pt x="256" y="30"/>
                  </a:lnTo>
                  <a:lnTo>
                    <a:pt x="253" y="29"/>
                  </a:lnTo>
                  <a:lnTo>
                    <a:pt x="250" y="29"/>
                  </a:lnTo>
                  <a:lnTo>
                    <a:pt x="245" y="29"/>
                  </a:lnTo>
                  <a:lnTo>
                    <a:pt x="244" y="29"/>
                  </a:lnTo>
                  <a:lnTo>
                    <a:pt x="243" y="29"/>
                  </a:lnTo>
                  <a:lnTo>
                    <a:pt x="242" y="29"/>
                  </a:lnTo>
                  <a:lnTo>
                    <a:pt x="241" y="29"/>
                  </a:lnTo>
                  <a:lnTo>
                    <a:pt x="239" y="29"/>
                  </a:lnTo>
                  <a:lnTo>
                    <a:pt x="237" y="29"/>
                  </a:lnTo>
                  <a:lnTo>
                    <a:pt x="235" y="29"/>
                  </a:lnTo>
                  <a:lnTo>
                    <a:pt x="234" y="29"/>
                  </a:lnTo>
                  <a:lnTo>
                    <a:pt x="233" y="29"/>
                  </a:lnTo>
                  <a:lnTo>
                    <a:pt x="231" y="29"/>
                  </a:lnTo>
                  <a:lnTo>
                    <a:pt x="230" y="29"/>
                  </a:lnTo>
                  <a:lnTo>
                    <a:pt x="229" y="30"/>
                  </a:lnTo>
                  <a:lnTo>
                    <a:pt x="228" y="31"/>
                  </a:lnTo>
                  <a:lnTo>
                    <a:pt x="227" y="31"/>
                  </a:lnTo>
                  <a:lnTo>
                    <a:pt x="227" y="31"/>
                  </a:lnTo>
                  <a:lnTo>
                    <a:pt x="226" y="31"/>
                  </a:lnTo>
                  <a:lnTo>
                    <a:pt x="223" y="31"/>
                  </a:lnTo>
                  <a:lnTo>
                    <a:pt x="221" y="30"/>
                  </a:lnTo>
                  <a:lnTo>
                    <a:pt x="220" y="30"/>
                  </a:lnTo>
                  <a:lnTo>
                    <a:pt x="220" y="30"/>
                  </a:lnTo>
                  <a:lnTo>
                    <a:pt x="220" y="30"/>
                  </a:lnTo>
                  <a:lnTo>
                    <a:pt x="222" y="29"/>
                  </a:lnTo>
                  <a:lnTo>
                    <a:pt x="224" y="28"/>
                  </a:lnTo>
                  <a:lnTo>
                    <a:pt x="227" y="27"/>
                  </a:lnTo>
                  <a:lnTo>
                    <a:pt x="228" y="27"/>
                  </a:lnTo>
                  <a:lnTo>
                    <a:pt x="229" y="26"/>
                  </a:lnTo>
                  <a:lnTo>
                    <a:pt x="230" y="26"/>
                  </a:lnTo>
                  <a:lnTo>
                    <a:pt x="231" y="26"/>
                  </a:lnTo>
                  <a:lnTo>
                    <a:pt x="235" y="26"/>
                  </a:lnTo>
                  <a:lnTo>
                    <a:pt x="239" y="24"/>
                  </a:lnTo>
                  <a:lnTo>
                    <a:pt x="242" y="24"/>
                  </a:lnTo>
                  <a:lnTo>
                    <a:pt x="243" y="24"/>
                  </a:lnTo>
                  <a:lnTo>
                    <a:pt x="242" y="24"/>
                  </a:lnTo>
                  <a:lnTo>
                    <a:pt x="238" y="24"/>
                  </a:lnTo>
                  <a:lnTo>
                    <a:pt x="237" y="24"/>
                  </a:lnTo>
                  <a:lnTo>
                    <a:pt x="236" y="23"/>
                  </a:lnTo>
                  <a:lnTo>
                    <a:pt x="236" y="23"/>
                  </a:lnTo>
                  <a:lnTo>
                    <a:pt x="237" y="23"/>
                  </a:lnTo>
                  <a:lnTo>
                    <a:pt x="237" y="22"/>
                  </a:lnTo>
                  <a:lnTo>
                    <a:pt x="237" y="22"/>
                  </a:lnTo>
                  <a:lnTo>
                    <a:pt x="235" y="22"/>
                  </a:lnTo>
                  <a:lnTo>
                    <a:pt x="231" y="23"/>
                  </a:lnTo>
                  <a:lnTo>
                    <a:pt x="228" y="23"/>
                  </a:lnTo>
                  <a:lnTo>
                    <a:pt x="224" y="23"/>
                  </a:lnTo>
                  <a:lnTo>
                    <a:pt x="221" y="22"/>
                  </a:lnTo>
                  <a:lnTo>
                    <a:pt x="220" y="22"/>
                  </a:lnTo>
                  <a:lnTo>
                    <a:pt x="219" y="21"/>
                  </a:lnTo>
                  <a:lnTo>
                    <a:pt x="218" y="21"/>
                  </a:lnTo>
                  <a:lnTo>
                    <a:pt x="216" y="21"/>
                  </a:lnTo>
                  <a:lnTo>
                    <a:pt x="216" y="21"/>
                  </a:lnTo>
                  <a:lnTo>
                    <a:pt x="218" y="21"/>
                  </a:lnTo>
                  <a:lnTo>
                    <a:pt x="220" y="21"/>
                  </a:lnTo>
                  <a:lnTo>
                    <a:pt x="222" y="20"/>
                  </a:lnTo>
                  <a:lnTo>
                    <a:pt x="224" y="19"/>
                  </a:lnTo>
                  <a:lnTo>
                    <a:pt x="227" y="19"/>
                  </a:lnTo>
                  <a:lnTo>
                    <a:pt x="228" y="19"/>
                  </a:lnTo>
                  <a:lnTo>
                    <a:pt x="230" y="19"/>
                  </a:lnTo>
                  <a:lnTo>
                    <a:pt x="234" y="19"/>
                  </a:lnTo>
                  <a:lnTo>
                    <a:pt x="236" y="19"/>
                  </a:lnTo>
                  <a:lnTo>
                    <a:pt x="237" y="19"/>
                  </a:lnTo>
                  <a:lnTo>
                    <a:pt x="238" y="19"/>
                  </a:lnTo>
                  <a:lnTo>
                    <a:pt x="239" y="18"/>
                  </a:lnTo>
                  <a:lnTo>
                    <a:pt x="241" y="18"/>
                  </a:lnTo>
                  <a:lnTo>
                    <a:pt x="243" y="18"/>
                  </a:lnTo>
                  <a:lnTo>
                    <a:pt x="243" y="16"/>
                  </a:lnTo>
                  <a:lnTo>
                    <a:pt x="243" y="16"/>
                  </a:lnTo>
                  <a:lnTo>
                    <a:pt x="244" y="15"/>
                  </a:lnTo>
                  <a:lnTo>
                    <a:pt x="245" y="14"/>
                  </a:lnTo>
                  <a:lnTo>
                    <a:pt x="248" y="14"/>
                  </a:lnTo>
                  <a:lnTo>
                    <a:pt x="250" y="14"/>
                  </a:lnTo>
                  <a:lnTo>
                    <a:pt x="251" y="13"/>
                  </a:lnTo>
                  <a:lnTo>
                    <a:pt x="251" y="13"/>
                  </a:lnTo>
                  <a:lnTo>
                    <a:pt x="250" y="12"/>
                  </a:lnTo>
                  <a:lnTo>
                    <a:pt x="251" y="12"/>
                  </a:lnTo>
                  <a:lnTo>
                    <a:pt x="252" y="11"/>
                  </a:lnTo>
                  <a:lnTo>
                    <a:pt x="254" y="11"/>
                  </a:lnTo>
                  <a:lnTo>
                    <a:pt x="259" y="11"/>
                  </a:lnTo>
                  <a:lnTo>
                    <a:pt x="263" y="11"/>
                  </a:lnTo>
                  <a:lnTo>
                    <a:pt x="265" y="11"/>
                  </a:lnTo>
                  <a:lnTo>
                    <a:pt x="268" y="11"/>
                  </a:lnTo>
                  <a:lnTo>
                    <a:pt x="272" y="11"/>
                  </a:lnTo>
                  <a:lnTo>
                    <a:pt x="274" y="9"/>
                  </a:lnTo>
                  <a:lnTo>
                    <a:pt x="276" y="9"/>
                  </a:lnTo>
                  <a:lnTo>
                    <a:pt x="278" y="11"/>
                  </a:lnTo>
                  <a:lnTo>
                    <a:pt x="279" y="11"/>
                  </a:lnTo>
                  <a:lnTo>
                    <a:pt x="280" y="11"/>
                  </a:lnTo>
                  <a:lnTo>
                    <a:pt x="282" y="11"/>
                  </a:lnTo>
                  <a:lnTo>
                    <a:pt x="286" y="9"/>
                  </a:lnTo>
                  <a:lnTo>
                    <a:pt x="288" y="9"/>
                  </a:lnTo>
                  <a:lnTo>
                    <a:pt x="289" y="9"/>
                  </a:lnTo>
                  <a:lnTo>
                    <a:pt x="291" y="9"/>
                  </a:lnTo>
                  <a:lnTo>
                    <a:pt x="293" y="8"/>
                  </a:lnTo>
                  <a:lnTo>
                    <a:pt x="295" y="8"/>
                  </a:lnTo>
                  <a:lnTo>
                    <a:pt x="297" y="7"/>
                  </a:lnTo>
                  <a:lnTo>
                    <a:pt x="298" y="7"/>
                  </a:lnTo>
                  <a:lnTo>
                    <a:pt x="301" y="7"/>
                  </a:lnTo>
                  <a:lnTo>
                    <a:pt x="303" y="7"/>
                  </a:lnTo>
                  <a:lnTo>
                    <a:pt x="306" y="6"/>
                  </a:lnTo>
                  <a:lnTo>
                    <a:pt x="308" y="7"/>
                  </a:lnTo>
                  <a:lnTo>
                    <a:pt x="310" y="7"/>
                  </a:lnTo>
                  <a:lnTo>
                    <a:pt x="311" y="8"/>
                  </a:lnTo>
                  <a:lnTo>
                    <a:pt x="312" y="8"/>
                  </a:lnTo>
                  <a:lnTo>
                    <a:pt x="315" y="8"/>
                  </a:lnTo>
                  <a:lnTo>
                    <a:pt x="316" y="7"/>
                  </a:lnTo>
                  <a:lnTo>
                    <a:pt x="317" y="7"/>
                  </a:lnTo>
                  <a:lnTo>
                    <a:pt x="318" y="7"/>
                  </a:lnTo>
                  <a:lnTo>
                    <a:pt x="319" y="8"/>
                  </a:lnTo>
                  <a:lnTo>
                    <a:pt x="320" y="8"/>
                  </a:lnTo>
                  <a:lnTo>
                    <a:pt x="321" y="8"/>
                  </a:lnTo>
                  <a:lnTo>
                    <a:pt x="325" y="8"/>
                  </a:lnTo>
                  <a:lnTo>
                    <a:pt x="328" y="8"/>
                  </a:lnTo>
                  <a:lnTo>
                    <a:pt x="331" y="8"/>
                  </a:lnTo>
                  <a:lnTo>
                    <a:pt x="334" y="8"/>
                  </a:lnTo>
                  <a:lnTo>
                    <a:pt x="336" y="8"/>
                  </a:lnTo>
                  <a:lnTo>
                    <a:pt x="338" y="9"/>
                  </a:lnTo>
                  <a:lnTo>
                    <a:pt x="339" y="8"/>
                  </a:lnTo>
                  <a:lnTo>
                    <a:pt x="338" y="7"/>
                  </a:lnTo>
                  <a:lnTo>
                    <a:pt x="339" y="6"/>
                  </a:lnTo>
                  <a:lnTo>
                    <a:pt x="341" y="6"/>
                  </a:lnTo>
                  <a:lnTo>
                    <a:pt x="343" y="6"/>
                  </a:lnTo>
                  <a:lnTo>
                    <a:pt x="347" y="7"/>
                  </a:lnTo>
                  <a:lnTo>
                    <a:pt x="350" y="7"/>
                  </a:lnTo>
                  <a:lnTo>
                    <a:pt x="353" y="7"/>
                  </a:lnTo>
                  <a:lnTo>
                    <a:pt x="355" y="7"/>
                  </a:lnTo>
                  <a:lnTo>
                    <a:pt x="357" y="6"/>
                  </a:lnTo>
                  <a:lnTo>
                    <a:pt x="360" y="5"/>
                  </a:lnTo>
                  <a:lnTo>
                    <a:pt x="362" y="5"/>
                  </a:lnTo>
                  <a:lnTo>
                    <a:pt x="363" y="6"/>
                  </a:lnTo>
                  <a:lnTo>
                    <a:pt x="365" y="7"/>
                  </a:lnTo>
                  <a:lnTo>
                    <a:pt x="368" y="7"/>
                  </a:lnTo>
                  <a:lnTo>
                    <a:pt x="370" y="7"/>
                  </a:lnTo>
                  <a:lnTo>
                    <a:pt x="372" y="6"/>
                  </a:lnTo>
                  <a:lnTo>
                    <a:pt x="373" y="6"/>
                  </a:lnTo>
                  <a:lnTo>
                    <a:pt x="373" y="7"/>
                  </a:lnTo>
                  <a:lnTo>
                    <a:pt x="376" y="7"/>
                  </a:lnTo>
                  <a:lnTo>
                    <a:pt x="377" y="7"/>
                  </a:lnTo>
                  <a:lnTo>
                    <a:pt x="379" y="6"/>
                  </a:lnTo>
                  <a:lnTo>
                    <a:pt x="380" y="6"/>
                  </a:lnTo>
                  <a:lnTo>
                    <a:pt x="380" y="6"/>
                  </a:lnTo>
                  <a:lnTo>
                    <a:pt x="381" y="7"/>
                  </a:lnTo>
                  <a:lnTo>
                    <a:pt x="383" y="7"/>
                  </a:lnTo>
                  <a:lnTo>
                    <a:pt x="385" y="7"/>
                  </a:lnTo>
                  <a:lnTo>
                    <a:pt x="387" y="7"/>
                  </a:lnTo>
                  <a:lnTo>
                    <a:pt x="391" y="6"/>
                  </a:lnTo>
                  <a:lnTo>
                    <a:pt x="394" y="5"/>
                  </a:lnTo>
                  <a:lnTo>
                    <a:pt x="396" y="5"/>
                  </a:lnTo>
                  <a:lnTo>
                    <a:pt x="399" y="5"/>
                  </a:lnTo>
                  <a:lnTo>
                    <a:pt x="400" y="5"/>
                  </a:lnTo>
                  <a:lnTo>
                    <a:pt x="401" y="6"/>
                  </a:lnTo>
                  <a:lnTo>
                    <a:pt x="400" y="7"/>
                  </a:lnTo>
                  <a:lnTo>
                    <a:pt x="399" y="7"/>
                  </a:lnTo>
                  <a:lnTo>
                    <a:pt x="399" y="8"/>
                  </a:lnTo>
                  <a:lnTo>
                    <a:pt x="399" y="8"/>
                  </a:lnTo>
                  <a:lnTo>
                    <a:pt x="401" y="7"/>
                  </a:lnTo>
                  <a:lnTo>
                    <a:pt x="402" y="6"/>
                  </a:lnTo>
                  <a:lnTo>
                    <a:pt x="407" y="5"/>
                  </a:lnTo>
                  <a:lnTo>
                    <a:pt x="410" y="4"/>
                  </a:lnTo>
                  <a:lnTo>
                    <a:pt x="413" y="4"/>
                  </a:lnTo>
                  <a:close/>
                  <a:moveTo>
                    <a:pt x="241" y="0"/>
                  </a:moveTo>
                  <a:lnTo>
                    <a:pt x="246" y="0"/>
                  </a:lnTo>
                  <a:lnTo>
                    <a:pt x="249" y="1"/>
                  </a:lnTo>
                  <a:lnTo>
                    <a:pt x="252" y="1"/>
                  </a:lnTo>
                  <a:lnTo>
                    <a:pt x="260" y="1"/>
                  </a:lnTo>
                  <a:lnTo>
                    <a:pt x="263" y="1"/>
                  </a:lnTo>
                  <a:lnTo>
                    <a:pt x="265" y="1"/>
                  </a:lnTo>
                  <a:lnTo>
                    <a:pt x="266" y="3"/>
                  </a:lnTo>
                  <a:lnTo>
                    <a:pt x="265" y="3"/>
                  </a:lnTo>
                  <a:lnTo>
                    <a:pt x="264" y="4"/>
                  </a:lnTo>
                  <a:lnTo>
                    <a:pt x="263" y="5"/>
                  </a:lnTo>
                  <a:lnTo>
                    <a:pt x="260" y="5"/>
                  </a:lnTo>
                  <a:lnTo>
                    <a:pt x="258" y="6"/>
                  </a:lnTo>
                  <a:lnTo>
                    <a:pt x="257" y="7"/>
                  </a:lnTo>
                  <a:lnTo>
                    <a:pt x="253" y="7"/>
                  </a:lnTo>
                  <a:lnTo>
                    <a:pt x="250" y="8"/>
                  </a:lnTo>
                  <a:lnTo>
                    <a:pt x="245" y="9"/>
                  </a:lnTo>
                  <a:lnTo>
                    <a:pt x="241" y="11"/>
                  </a:lnTo>
                  <a:lnTo>
                    <a:pt x="235" y="13"/>
                  </a:lnTo>
                  <a:lnTo>
                    <a:pt x="229" y="14"/>
                  </a:lnTo>
                  <a:lnTo>
                    <a:pt x="221" y="15"/>
                  </a:lnTo>
                  <a:lnTo>
                    <a:pt x="218" y="16"/>
                  </a:lnTo>
                  <a:lnTo>
                    <a:pt x="215" y="16"/>
                  </a:lnTo>
                  <a:lnTo>
                    <a:pt x="213" y="16"/>
                  </a:lnTo>
                  <a:lnTo>
                    <a:pt x="212" y="16"/>
                  </a:lnTo>
                  <a:lnTo>
                    <a:pt x="209" y="16"/>
                  </a:lnTo>
                  <a:lnTo>
                    <a:pt x="208" y="16"/>
                  </a:lnTo>
                  <a:lnTo>
                    <a:pt x="206" y="16"/>
                  </a:lnTo>
                  <a:lnTo>
                    <a:pt x="204" y="18"/>
                  </a:lnTo>
                  <a:lnTo>
                    <a:pt x="201" y="19"/>
                  </a:lnTo>
                  <a:lnTo>
                    <a:pt x="200" y="19"/>
                  </a:lnTo>
                  <a:lnTo>
                    <a:pt x="198" y="19"/>
                  </a:lnTo>
                  <a:lnTo>
                    <a:pt x="197" y="18"/>
                  </a:lnTo>
                  <a:lnTo>
                    <a:pt x="194" y="16"/>
                  </a:lnTo>
                  <a:lnTo>
                    <a:pt x="192" y="16"/>
                  </a:lnTo>
                  <a:lnTo>
                    <a:pt x="191" y="18"/>
                  </a:lnTo>
                  <a:lnTo>
                    <a:pt x="190" y="19"/>
                  </a:lnTo>
                  <a:lnTo>
                    <a:pt x="188" y="20"/>
                  </a:lnTo>
                  <a:lnTo>
                    <a:pt x="184" y="20"/>
                  </a:lnTo>
                  <a:lnTo>
                    <a:pt x="181" y="20"/>
                  </a:lnTo>
                  <a:lnTo>
                    <a:pt x="177" y="19"/>
                  </a:lnTo>
                  <a:lnTo>
                    <a:pt x="176" y="19"/>
                  </a:lnTo>
                  <a:lnTo>
                    <a:pt x="175" y="19"/>
                  </a:lnTo>
                  <a:lnTo>
                    <a:pt x="173" y="20"/>
                  </a:lnTo>
                  <a:lnTo>
                    <a:pt x="171" y="20"/>
                  </a:lnTo>
                  <a:lnTo>
                    <a:pt x="169" y="19"/>
                  </a:lnTo>
                  <a:lnTo>
                    <a:pt x="167" y="19"/>
                  </a:lnTo>
                  <a:lnTo>
                    <a:pt x="167" y="19"/>
                  </a:lnTo>
                  <a:lnTo>
                    <a:pt x="166" y="19"/>
                  </a:lnTo>
                  <a:lnTo>
                    <a:pt x="167" y="19"/>
                  </a:lnTo>
                  <a:lnTo>
                    <a:pt x="167" y="21"/>
                  </a:lnTo>
                  <a:lnTo>
                    <a:pt x="168" y="21"/>
                  </a:lnTo>
                  <a:lnTo>
                    <a:pt x="167" y="22"/>
                  </a:lnTo>
                  <a:lnTo>
                    <a:pt x="166" y="22"/>
                  </a:lnTo>
                  <a:lnTo>
                    <a:pt x="163" y="22"/>
                  </a:lnTo>
                  <a:lnTo>
                    <a:pt x="160" y="22"/>
                  </a:lnTo>
                  <a:lnTo>
                    <a:pt x="159" y="22"/>
                  </a:lnTo>
                  <a:lnTo>
                    <a:pt x="158" y="22"/>
                  </a:lnTo>
                  <a:lnTo>
                    <a:pt x="156" y="22"/>
                  </a:lnTo>
                  <a:lnTo>
                    <a:pt x="158" y="22"/>
                  </a:lnTo>
                  <a:lnTo>
                    <a:pt x="159" y="23"/>
                  </a:lnTo>
                  <a:lnTo>
                    <a:pt x="160" y="24"/>
                  </a:lnTo>
                  <a:lnTo>
                    <a:pt x="160" y="24"/>
                  </a:lnTo>
                  <a:lnTo>
                    <a:pt x="160" y="26"/>
                  </a:lnTo>
                  <a:lnTo>
                    <a:pt x="158" y="26"/>
                  </a:lnTo>
                  <a:lnTo>
                    <a:pt x="156" y="26"/>
                  </a:lnTo>
                  <a:lnTo>
                    <a:pt x="154" y="26"/>
                  </a:lnTo>
                  <a:lnTo>
                    <a:pt x="153" y="26"/>
                  </a:lnTo>
                  <a:lnTo>
                    <a:pt x="152" y="27"/>
                  </a:lnTo>
                  <a:lnTo>
                    <a:pt x="151" y="27"/>
                  </a:lnTo>
                  <a:lnTo>
                    <a:pt x="148" y="28"/>
                  </a:lnTo>
                  <a:lnTo>
                    <a:pt x="147" y="29"/>
                  </a:lnTo>
                  <a:lnTo>
                    <a:pt x="145" y="29"/>
                  </a:lnTo>
                  <a:lnTo>
                    <a:pt x="143" y="29"/>
                  </a:lnTo>
                  <a:lnTo>
                    <a:pt x="140" y="28"/>
                  </a:lnTo>
                  <a:lnTo>
                    <a:pt x="139" y="28"/>
                  </a:lnTo>
                  <a:lnTo>
                    <a:pt x="138" y="28"/>
                  </a:lnTo>
                  <a:lnTo>
                    <a:pt x="136" y="28"/>
                  </a:lnTo>
                  <a:lnTo>
                    <a:pt x="134" y="28"/>
                  </a:lnTo>
                  <a:lnTo>
                    <a:pt x="132" y="28"/>
                  </a:lnTo>
                  <a:lnTo>
                    <a:pt x="130" y="28"/>
                  </a:lnTo>
                  <a:lnTo>
                    <a:pt x="129" y="28"/>
                  </a:lnTo>
                  <a:lnTo>
                    <a:pt x="127" y="27"/>
                  </a:lnTo>
                  <a:lnTo>
                    <a:pt x="125" y="28"/>
                  </a:lnTo>
                  <a:lnTo>
                    <a:pt x="125" y="28"/>
                  </a:lnTo>
                  <a:lnTo>
                    <a:pt x="123" y="29"/>
                  </a:lnTo>
                  <a:lnTo>
                    <a:pt x="122" y="29"/>
                  </a:lnTo>
                  <a:lnTo>
                    <a:pt x="119" y="30"/>
                  </a:lnTo>
                  <a:lnTo>
                    <a:pt x="117" y="30"/>
                  </a:lnTo>
                  <a:lnTo>
                    <a:pt x="115" y="29"/>
                  </a:lnTo>
                  <a:lnTo>
                    <a:pt x="112" y="29"/>
                  </a:lnTo>
                  <a:lnTo>
                    <a:pt x="109" y="28"/>
                  </a:lnTo>
                  <a:lnTo>
                    <a:pt x="108" y="28"/>
                  </a:lnTo>
                  <a:lnTo>
                    <a:pt x="106" y="28"/>
                  </a:lnTo>
                  <a:lnTo>
                    <a:pt x="104" y="28"/>
                  </a:lnTo>
                  <a:lnTo>
                    <a:pt x="103" y="29"/>
                  </a:lnTo>
                  <a:lnTo>
                    <a:pt x="102" y="29"/>
                  </a:lnTo>
                  <a:lnTo>
                    <a:pt x="99" y="29"/>
                  </a:lnTo>
                  <a:lnTo>
                    <a:pt x="97" y="29"/>
                  </a:lnTo>
                  <a:lnTo>
                    <a:pt x="96" y="28"/>
                  </a:lnTo>
                  <a:lnTo>
                    <a:pt x="97" y="27"/>
                  </a:lnTo>
                  <a:lnTo>
                    <a:pt x="99" y="26"/>
                  </a:lnTo>
                  <a:lnTo>
                    <a:pt x="101" y="26"/>
                  </a:lnTo>
                  <a:lnTo>
                    <a:pt x="103" y="26"/>
                  </a:lnTo>
                  <a:lnTo>
                    <a:pt x="106" y="26"/>
                  </a:lnTo>
                  <a:lnTo>
                    <a:pt x="108" y="24"/>
                  </a:lnTo>
                  <a:lnTo>
                    <a:pt x="108" y="24"/>
                  </a:lnTo>
                  <a:lnTo>
                    <a:pt x="109" y="24"/>
                  </a:lnTo>
                  <a:lnTo>
                    <a:pt x="109" y="23"/>
                  </a:lnTo>
                  <a:lnTo>
                    <a:pt x="110" y="23"/>
                  </a:lnTo>
                  <a:lnTo>
                    <a:pt x="111" y="22"/>
                  </a:lnTo>
                  <a:lnTo>
                    <a:pt x="114" y="21"/>
                  </a:lnTo>
                  <a:lnTo>
                    <a:pt x="116" y="21"/>
                  </a:lnTo>
                  <a:lnTo>
                    <a:pt x="118" y="21"/>
                  </a:lnTo>
                  <a:lnTo>
                    <a:pt x="122" y="22"/>
                  </a:lnTo>
                  <a:lnTo>
                    <a:pt x="124" y="22"/>
                  </a:lnTo>
                  <a:lnTo>
                    <a:pt x="126" y="23"/>
                  </a:lnTo>
                  <a:lnTo>
                    <a:pt x="129" y="23"/>
                  </a:lnTo>
                  <a:lnTo>
                    <a:pt x="131" y="22"/>
                  </a:lnTo>
                  <a:lnTo>
                    <a:pt x="131" y="22"/>
                  </a:lnTo>
                  <a:lnTo>
                    <a:pt x="130" y="22"/>
                  </a:lnTo>
                  <a:lnTo>
                    <a:pt x="129" y="22"/>
                  </a:lnTo>
                  <a:lnTo>
                    <a:pt x="127" y="22"/>
                  </a:lnTo>
                  <a:lnTo>
                    <a:pt x="125" y="22"/>
                  </a:lnTo>
                  <a:lnTo>
                    <a:pt x="124" y="22"/>
                  </a:lnTo>
                  <a:lnTo>
                    <a:pt x="123" y="21"/>
                  </a:lnTo>
                  <a:lnTo>
                    <a:pt x="123" y="21"/>
                  </a:lnTo>
                  <a:lnTo>
                    <a:pt x="123" y="21"/>
                  </a:lnTo>
                  <a:lnTo>
                    <a:pt x="125" y="21"/>
                  </a:lnTo>
                  <a:lnTo>
                    <a:pt x="126" y="21"/>
                  </a:lnTo>
                  <a:lnTo>
                    <a:pt x="132" y="21"/>
                  </a:lnTo>
                  <a:lnTo>
                    <a:pt x="130" y="20"/>
                  </a:lnTo>
                  <a:lnTo>
                    <a:pt x="127" y="20"/>
                  </a:lnTo>
                  <a:lnTo>
                    <a:pt x="126" y="21"/>
                  </a:lnTo>
                  <a:lnTo>
                    <a:pt x="123" y="21"/>
                  </a:lnTo>
                  <a:lnTo>
                    <a:pt x="123" y="21"/>
                  </a:lnTo>
                  <a:lnTo>
                    <a:pt x="122" y="21"/>
                  </a:lnTo>
                  <a:lnTo>
                    <a:pt x="121" y="20"/>
                  </a:lnTo>
                  <a:lnTo>
                    <a:pt x="122" y="19"/>
                  </a:lnTo>
                  <a:lnTo>
                    <a:pt x="124" y="18"/>
                  </a:lnTo>
                  <a:lnTo>
                    <a:pt x="127" y="18"/>
                  </a:lnTo>
                  <a:lnTo>
                    <a:pt x="131" y="16"/>
                  </a:lnTo>
                  <a:lnTo>
                    <a:pt x="134" y="16"/>
                  </a:lnTo>
                  <a:lnTo>
                    <a:pt x="136" y="16"/>
                  </a:lnTo>
                  <a:lnTo>
                    <a:pt x="136" y="15"/>
                  </a:lnTo>
                  <a:lnTo>
                    <a:pt x="136" y="15"/>
                  </a:lnTo>
                  <a:lnTo>
                    <a:pt x="134" y="15"/>
                  </a:lnTo>
                  <a:lnTo>
                    <a:pt x="134" y="15"/>
                  </a:lnTo>
                  <a:lnTo>
                    <a:pt x="134" y="15"/>
                  </a:lnTo>
                  <a:lnTo>
                    <a:pt x="136" y="15"/>
                  </a:lnTo>
                  <a:lnTo>
                    <a:pt x="138" y="15"/>
                  </a:lnTo>
                  <a:lnTo>
                    <a:pt x="140" y="14"/>
                  </a:lnTo>
                  <a:lnTo>
                    <a:pt x="143" y="14"/>
                  </a:lnTo>
                  <a:lnTo>
                    <a:pt x="144" y="13"/>
                  </a:lnTo>
                  <a:lnTo>
                    <a:pt x="146" y="13"/>
                  </a:lnTo>
                  <a:lnTo>
                    <a:pt x="146" y="14"/>
                  </a:lnTo>
                  <a:lnTo>
                    <a:pt x="146" y="15"/>
                  </a:lnTo>
                  <a:lnTo>
                    <a:pt x="147" y="15"/>
                  </a:lnTo>
                  <a:lnTo>
                    <a:pt x="148" y="15"/>
                  </a:lnTo>
                  <a:lnTo>
                    <a:pt x="149" y="15"/>
                  </a:lnTo>
                  <a:lnTo>
                    <a:pt x="151" y="15"/>
                  </a:lnTo>
                  <a:lnTo>
                    <a:pt x="151" y="15"/>
                  </a:lnTo>
                  <a:lnTo>
                    <a:pt x="151" y="15"/>
                  </a:lnTo>
                  <a:lnTo>
                    <a:pt x="151" y="14"/>
                  </a:lnTo>
                  <a:lnTo>
                    <a:pt x="151" y="13"/>
                  </a:lnTo>
                  <a:lnTo>
                    <a:pt x="152" y="12"/>
                  </a:lnTo>
                  <a:lnTo>
                    <a:pt x="153" y="12"/>
                  </a:lnTo>
                  <a:lnTo>
                    <a:pt x="155" y="12"/>
                  </a:lnTo>
                  <a:lnTo>
                    <a:pt x="158" y="11"/>
                  </a:lnTo>
                  <a:lnTo>
                    <a:pt x="160" y="9"/>
                  </a:lnTo>
                  <a:lnTo>
                    <a:pt x="162" y="8"/>
                  </a:lnTo>
                  <a:lnTo>
                    <a:pt x="164" y="9"/>
                  </a:lnTo>
                  <a:lnTo>
                    <a:pt x="167" y="9"/>
                  </a:lnTo>
                  <a:lnTo>
                    <a:pt x="169" y="9"/>
                  </a:lnTo>
                  <a:lnTo>
                    <a:pt x="170" y="8"/>
                  </a:lnTo>
                  <a:lnTo>
                    <a:pt x="171" y="8"/>
                  </a:lnTo>
                  <a:lnTo>
                    <a:pt x="170" y="7"/>
                  </a:lnTo>
                  <a:lnTo>
                    <a:pt x="169" y="8"/>
                  </a:lnTo>
                  <a:lnTo>
                    <a:pt x="168" y="8"/>
                  </a:lnTo>
                  <a:lnTo>
                    <a:pt x="166" y="8"/>
                  </a:lnTo>
                  <a:lnTo>
                    <a:pt x="163" y="8"/>
                  </a:lnTo>
                  <a:lnTo>
                    <a:pt x="162" y="7"/>
                  </a:lnTo>
                  <a:lnTo>
                    <a:pt x="160" y="7"/>
                  </a:lnTo>
                  <a:lnTo>
                    <a:pt x="160" y="7"/>
                  </a:lnTo>
                  <a:lnTo>
                    <a:pt x="159" y="8"/>
                  </a:lnTo>
                  <a:lnTo>
                    <a:pt x="153" y="8"/>
                  </a:lnTo>
                  <a:lnTo>
                    <a:pt x="152" y="8"/>
                  </a:lnTo>
                  <a:lnTo>
                    <a:pt x="151" y="9"/>
                  </a:lnTo>
                  <a:lnTo>
                    <a:pt x="149" y="9"/>
                  </a:lnTo>
                  <a:lnTo>
                    <a:pt x="148" y="8"/>
                  </a:lnTo>
                  <a:lnTo>
                    <a:pt x="146" y="8"/>
                  </a:lnTo>
                  <a:lnTo>
                    <a:pt x="144" y="9"/>
                  </a:lnTo>
                  <a:lnTo>
                    <a:pt x="141" y="9"/>
                  </a:lnTo>
                  <a:lnTo>
                    <a:pt x="140" y="11"/>
                  </a:lnTo>
                  <a:lnTo>
                    <a:pt x="138" y="11"/>
                  </a:lnTo>
                  <a:lnTo>
                    <a:pt x="137" y="11"/>
                  </a:lnTo>
                  <a:lnTo>
                    <a:pt x="138" y="11"/>
                  </a:lnTo>
                  <a:lnTo>
                    <a:pt x="139" y="9"/>
                  </a:lnTo>
                  <a:lnTo>
                    <a:pt x="141" y="8"/>
                  </a:lnTo>
                  <a:lnTo>
                    <a:pt x="144" y="8"/>
                  </a:lnTo>
                  <a:lnTo>
                    <a:pt x="147" y="7"/>
                  </a:lnTo>
                  <a:lnTo>
                    <a:pt x="149" y="7"/>
                  </a:lnTo>
                  <a:lnTo>
                    <a:pt x="149" y="7"/>
                  </a:lnTo>
                  <a:lnTo>
                    <a:pt x="152" y="6"/>
                  </a:lnTo>
                  <a:lnTo>
                    <a:pt x="154" y="5"/>
                  </a:lnTo>
                  <a:lnTo>
                    <a:pt x="156" y="5"/>
                  </a:lnTo>
                  <a:lnTo>
                    <a:pt x="159" y="5"/>
                  </a:lnTo>
                  <a:lnTo>
                    <a:pt x="160" y="5"/>
                  </a:lnTo>
                  <a:lnTo>
                    <a:pt x="161" y="6"/>
                  </a:lnTo>
                  <a:lnTo>
                    <a:pt x="163" y="6"/>
                  </a:lnTo>
                  <a:lnTo>
                    <a:pt x="166" y="5"/>
                  </a:lnTo>
                  <a:lnTo>
                    <a:pt x="174" y="5"/>
                  </a:lnTo>
                  <a:lnTo>
                    <a:pt x="176" y="4"/>
                  </a:lnTo>
                  <a:lnTo>
                    <a:pt x="178" y="4"/>
                  </a:lnTo>
                  <a:lnTo>
                    <a:pt x="181" y="4"/>
                  </a:lnTo>
                  <a:lnTo>
                    <a:pt x="183" y="4"/>
                  </a:lnTo>
                  <a:lnTo>
                    <a:pt x="186" y="4"/>
                  </a:lnTo>
                  <a:lnTo>
                    <a:pt x="199" y="4"/>
                  </a:lnTo>
                  <a:lnTo>
                    <a:pt x="203" y="4"/>
                  </a:lnTo>
                  <a:lnTo>
                    <a:pt x="205" y="4"/>
                  </a:lnTo>
                  <a:lnTo>
                    <a:pt x="207" y="4"/>
                  </a:lnTo>
                  <a:lnTo>
                    <a:pt x="209" y="4"/>
                  </a:lnTo>
                  <a:lnTo>
                    <a:pt x="211" y="3"/>
                  </a:lnTo>
                  <a:lnTo>
                    <a:pt x="213" y="3"/>
                  </a:lnTo>
                  <a:lnTo>
                    <a:pt x="214" y="3"/>
                  </a:lnTo>
                  <a:lnTo>
                    <a:pt x="216" y="3"/>
                  </a:lnTo>
                  <a:lnTo>
                    <a:pt x="220" y="4"/>
                  </a:lnTo>
                  <a:lnTo>
                    <a:pt x="227" y="4"/>
                  </a:lnTo>
                  <a:lnTo>
                    <a:pt x="234" y="1"/>
                  </a:lnTo>
                  <a:lnTo>
                    <a:pt x="241"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3"/>
            <p:cNvSpPr>
              <a:spLocks noEditPoints="1"/>
            </p:cNvSpPr>
            <p:nvPr/>
          </p:nvSpPr>
          <p:spPr bwMode="auto">
            <a:xfrm>
              <a:off x="4409" y="1795"/>
              <a:ext cx="544" cy="543"/>
            </a:xfrm>
            <a:custGeom>
              <a:avLst/>
              <a:gdLst>
                <a:gd name="T0" fmla="*/ 679 w 1632"/>
                <a:gd name="T1" fmla="*/ 101 h 1627"/>
                <a:gd name="T2" fmla="*/ 488 w 1632"/>
                <a:gd name="T3" fmla="*/ 165 h 1627"/>
                <a:gd name="T4" fmla="*/ 326 w 1632"/>
                <a:gd name="T5" fmla="*/ 276 h 1627"/>
                <a:gd name="T6" fmla="*/ 199 w 1632"/>
                <a:gd name="T7" fmla="*/ 427 h 1627"/>
                <a:gd name="T8" fmla="*/ 117 w 1632"/>
                <a:gd name="T9" fmla="*/ 609 h 1627"/>
                <a:gd name="T10" fmla="*/ 89 w 1632"/>
                <a:gd name="T11" fmla="*/ 812 h 1627"/>
                <a:gd name="T12" fmla="*/ 116 w 1632"/>
                <a:gd name="T13" fmla="*/ 1016 h 1627"/>
                <a:gd name="T14" fmla="*/ 198 w 1632"/>
                <a:gd name="T15" fmla="*/ 1198 h 1627"/>
                <a:gd name="T16" fmla="*/ 324 w 1632"/>
                <a:gd name="T17" fmla="*/ 1349 h 1627"/>
                <a:gd name="T18" fmla="*/ 486 w 1632"/>
                <a:gd name="T19" fmla="*/ 1461 h 1627"/>
                <a:gd name="T20" fmla="*/ 676 w 1632"/>
                <a:gd name="T21" fmla="*/ 1527 h 1627"/>
                <a:gd name="T22" fmla="*/ 885 w 1632"/>
                <a:gd name="T23" fmla="*/ 1536 h 1627"/>
                <a:gd name="T24" fmla="*/ 1084 w 1632"/>
                <a:gd name="T25" fmla="*/ 1489 h 1627"/>
                <a:gd name="T26" fmla="*/ 1256 w 1632"/>
                <a:gd name="T27" fmla="*/ 1392 h 1627"/>
                <a:gd name="T28" fmla="*/ 1396 w 1632"/>
                <a:gd name="T29" fmla="*/ 1253 h 1627"/>
                <a:gd name="T30" fmla="*/ 1493 w 1632"/>
                <a:gd name="T31" fmla="*/ 1081 h 1627"/>
                <a:gd name="T32" fmla="*/ 1541 w 1632"/>
                <a:gd name="T33" fmla="*/ 884 h 1627"/>
                <a:gd name="T34" fmla="*/ 1532 w 1632"/>
                <a:gd name="T35" fmla="*/ 676 h 1627"/>
                <a:gd name="T36" fmla="*/ 1467 w 1632"/>
                <a:gd name="T37" fmla="*/ 486 h 1627"/>
                <a:gd name="T38" fmla="*/ 1354 w 1632"/>
                <a:gd name="T39" fmla="*/ 323 h 1627"/>
                <a:gd name="T40" fmla="*/ 1204 w 1632"/>
                <a:gd name="T41" fmla="*/ 198 h 1627"/>
                <a:gd name="T42" fmla="*/ 1021 w 1632"/>
                <a:gd name="T43" fmla="*/ 116 h 1627"/>
                <a:gd name="T44" fmla="*/ 817 w 1632"/>
                <a:gd name="T45" fmla="*/ 87 h 1627"/>
                <a:gd name="T46" fmla="*/ 964 w 1632"/>
                <a:gd name="T47" fmla="*/ 13 h 1627"/>
                <a:gd name="T48" fmla="*/ 1167 w 1632"/>
                <a:gd name="T49" fmla="*/ 79 h 1627"/>
                <a:gd name="T50" fmla="*/ 1342 w 1632"/>
                <a:gd name="T51" fmla="*/ 192 h 1627"/>
                <a:gd name="T52" fmla="*/ 1483 w 1632"/>
                <a:gd name="T53" fmla="*/ 345 h 1627"/>
                <a:gd name="T54" fmla="*/ 1581 w 1632"/>
                <a:gd name="T55" fmla="*/ 530 h 1627"/>
                <a:gd name="T56" fmla="*/ 1629 w 1632"/>
                <a:gd name="T57" fmla="*/ 740 h 1627"/>
                <a:gd name="T58" fmla="*/ 1618 w 1632"/>
                <a:gd name="T59" fmla="*/ 961 h 1627"/>
                <a:gd name="T60" fmla="*/ 1554 w 1632"/>
                <a:gd name="T61" fmla="*/ 1163 h 1627"/>
                <a:gd name="T62" fmla="*/ 1439 w 1632"/>
                <a:gd name="T63" fmla="*/ 1339 h 1627"/>
                <a:gd name="T64" fmla="*/ 1286 w 1632"/>
                <a:gd name="T65" fmla="*/ 1480 h 1627"/>
                <a:gd name="T66" fmla="*/ 1099 w 1632"/>
                <a:gd name="T67" fmla="*/ 1577 h 1627"/>
                <a:gd name="T68" fmla="*/ 889 w 1632"/>
                <a:gd name="T69" fmla="*/ 1624 h 1627"/>
                <a:gd name="T70" fmla="*/ 668 w 1632"/>
                <a:gd name="T71" fmla="*/ 1613 h 1627"/>
                <a:gd name="T72" fmla="*/ 465 w 1632"/>
                <a:gd name="T73" fmla="*/ 1549 h 1627"/>
                <a:gd name="T74" fmla="*/ 290 w 1632"/>
                <a:gd name="T75" fmla="*/ 1436 h 1627"/>
                <a:gd name="T76" fmla="*/ 149 w 1632"/>
                <a:gd name="T77" fmla="*/ 1282 h 1627"/>
                <a:gd name="T78" fmla="*/ 51 w 1632"/>
                <a:gd name="T79" fmla="*/ 1097 h 1627"/>
                <a:gd name="T80" fmla="*/ 2 w 1632"/>
                <a:gd name="T81" fmla="*/ 887 h 1627"/>
                <a:gd name="T82" fmla="*/ 12 w 1632"/>
                <a:gd name="T83" fmla="*/ 666 h 1627"/>
                <a:gd name="T84" fmla="*/ 79 w 1632"/>
                <a:gd name="T85" fmla="*/ 463 h 1627"/>
                <a:gd name="T86" fmla="*/ 193 w 1632"/>
                <a:gd name="T87" fmla="*/ 288 h 1627"/>
                <a:gd name="T88" fmla="*/ 346 w 1632"/>
                <a:gd name="T89" fmla="*/ 148 h 1627"/>
                <a:gd name="T90" fmla="*/ 532 w 1632"/>
                <a:gd name="T91" fmla="*/ 50 h 1627"/>
                <a:gd name="T92" fmla="*/ 743 w 1632"/>
                <a:gd name="T93" fmla="*/ 2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2" h="1627">
                  <a:moveTo>
                    <a:pt x="817" y="87"/>
                  </a:moveTo>
                  <a:lnTo>
                    <a:pt x="748" y="90"/>
                  </a:lnTo>
                  <a:lnTo>
                    <a:pt x="679" y="101"/>
                  </a:lnTo>
                  <a:lnTo>
                    <a:pt x="613" y="116"/>
                  </a:lnTo>
                  <a:lnTo>
                    <a:pt x="549" y="138"/>
                  </a:lnTo>
                  <a:lnTo>
                    <a:pt x="488" y="165"/>
                  </a:lnTo>
                  <a:lnTo>
                    <a:pt x="430" y="198"/>
                  </a:lnTo>
                  <a:lnTo>
                    <a:pt x="376" y="235"/>
                  </a:lnTo>
                  <a:lnTo>
                    <a:pt x="326" y="276"/>
                  </a:lnTo>
                  <a:lnTo>
                    <a:pt x="279" y="323"/>
                  </a:lnTo>
                  <a:lnTo>
                    <a:pt x="238" y="373"/>
                  </a:lnTo>
                  <a:lnTo>
                    <a:pt x="199" y="427"/>
                  </a:lnTo>
                  <a:lnTo>
                    <a:pt x="167" y="485"/>
                  </a:lnTo>
                  <a:lnTo>
                    <a:pt x="139" y="545"/>
                  </a:lnTo>
                  <a:lnTo>
                    <a:pt x="117" y="609"/>
                  </a:lnTo>
                  <a:lnTo>
                    <a:pt x="101" y="675"/>
                  </a:lnTo>
                  <a:lnTo>
                    <a:pt x="92" y="743"/>
                  </a:lnTo>
                  <a:lnTo>
                    <a:pt x="89" y="812"/>
                  </a:lnTo>
                  <a:lnTo>
                    <a:pt x="91" y="882"/>
                  </a:lnTo>
                  <a:lnTo>
                    <a:pt x="101" y="951"/>
                  </a:lnTo>
                  <a:lnTo>
                    <a:pt x="116" y="1016"/>
                  </a:lnTo>
                  <a:lnTo>
                    <a:pt x="138" y="1080"/>
                  </a:lnTo>
                  <a:lnTo>
                    <a:pt x="165" y="1140"/>
                  </a:lnTo>
                  <a:lnTo>
                    <a:pt x="198" y="1198"/>
                  </a:lnTo>
                  <a:lnTo>
                    <a:pt x="235" y="1252"/>
                  </a:lnTo>
                  <a:lnTo>
                    <a:pt x="277" y="1303"/>
                  </a:lnTo>
                  <a:lnTo>
                    <a:pt x="324" y="1349"/>
                  </a:lnTo>
                  <a:lnTo>
                    <a:pt x="374" y="1392"/>
                  </a:lnTo>
                  <a:lnTo>
                    <a:pt x="428" y="1429"/>
                  </a:lnTo>
                  <a:lnTo>
                    <a:pt x="486" y="1461"/>
                  </a:lnTo>
                  <a:lnTo>
                    <a:pt x="547" y="1489"/>
                  </a:lnTo>
                  <a:lnTo>
                    <a:pt x="610" y="1511"/>
                  </a:lnTo>
                  <a:lnTo>
                    <a:pt x="676" y="1527"/>
                  </a:lnTo>
                  <a:lnTo>
                    <a:pt x="746" y="1536"/>
                  </a:lnTo>
                  <a:lnTo>
                    <a:pt x="816" y="1540"/>
                  </a:lnTo>
                  <a:lnTo>
                    <a:pt x="885" y="1536"/>
                  </a:lnTo>
                  <a:lnTo>
                    <a:pt x="955" y="1527"/>
                  </a:lnTo>
                  <a:lnTo>
                    <a:pt x="1020" y="1511"/>
                  </a:lnTo>
                  <a:lnTo>
                    <a:pt x="1084" y="1489"/>
                  </a:lnTo>
                  <a:lnTo>
                    <a:pt x="1144" y="1462"/>
                  </a:lnTo>
                  <a:lnTo>
                    <a:pt x="1202" y="1430"/>
                  </a:lnTo>
                  <a:lnTo>
                    <a:pt x="1256" y="1392"/>
                  </a:lnTo>
                  <a:lnTo>
                    <a:pt x="1307" y="1350"/>
                  </a:lnTo>
                  <a:lnTo>
                    <a:pt x="1353" y="1304"/>
                  </a:lnTo>
                  <a:lnTo>
                    <a:pt x="1396" y="1253"/>
                  </a:lnTo>
                  <a:lnTo>
                    <a:pt x="1432" y="1199"/>
                  </a:lnTo>
                  <a:lnTo>
                    <a:pt x="1466" y="1142"/>
                  </a:lnTo>
                  <a:lnTo>
                    <a:pt x="1493" y="1081"/>
                  </a:lnTo>
                  <a:lnTo>
                    <a:pt x="1514" y="1018"/>
                  </a:lnTo>
                  <a:lnTo>
                    <a:pt x="1531" y="952"/>
                  </a:lnTo>
                  <a:lnTo>
                    <a:pt x="1541" y="884"/>
                  </a:lnTo>
                  <a:lnTo>
                    <a:pt x="1544" y="814"/>
                  </a:lnTo>
                  <a:lnTo>
                    <a:pt x="1541" y="744"/>
                  </a:lnTo>
                  <a:lnTo>
                    <a:pt x="1532" y="676"/>
                  </a:lnTo>
                  <a:lnTo>
                    <a:pt x="1516" y="610"/>
                  </a:lnTo>
                  <a:lnTo>
                    <a:pt x="1494" y="546"/>
                  </a:lnTo>
                  <a:lnTo>
                    <a:pt x="1467" y="486"/>
                  </a:lnTo>
                  <a:lnTo>
                    <a:pt x="1434" y="429"/>
                  </a:lnTo>
                  <a:lnTo>
                    <a:pt x="1397" y="374"/>
                  </a:lnTo>
                  <a:lnTo>
                    <a:pt x="1354" y="323"/>
                  </a:lnTo>
                  <a:lnTo>
                    <a:pt x="1308" y="277"/>
                  </a:lnTo>
                  <a:lnTo>
                    <a:pt x="1258" y="236"/>
                  </a:lnTo>
                  <a:lnTo>
                    <a:pt x="1204" y="198"/>
                  </a:lnTo>
                  <a:lnTo>
                    <a:pt x="1146" y="165"/>
                  </a:lnTo>
                  <a:lnTo>
                    <a:pt x="1085" y="138"/>
                  </a:lnTo>
                  <a:lnTo>
                    <a:pt x="1021" y="116"/>
                  </a:lnTo>
                  <a:lnTo>
                    <a:pt x="956" y="101"/>
                  </a:lnTo>
                  <a:lnTo>
                    <a:pt x="888" y="90"/>
                  </a:lnTo>
                  <a:lnTo>
                    <a:pt x="817" y="87"/>
                  </a:lnTo>
                  <a:close/>
                  <a:moveTo>
                    <a:pt x="817" y="0"/>
                  </a:moveTo>
                  <a:lnTo>
                    <a:pt x="892" y="4"/>
                  </a:lnTo>
                  <a:lnTo>
                    <a:pt x="964" y="13"/>
                  </a:lnTo>
                  <a:lnTo>
                    <a:pt x="1034" y="29"/>
                  </a:lnTo>
                  <a:lnTo>
                    <a:pt x="1102" y="51"/>
                  </a:lnTo>
                  <a:lnTo>
                    <a:pt x="1167" y="79"/>
                  </a:lnTo>
                  <a:lnTo>
                    <a:pt x="1229" y="111"/>
                  </a:lnTo>
                  <a:lnTo>
                    <a:pt x="1288" y="149"/>
                  </a:lnTo>
                  <a:lnTo>
                    <a:pt x="1342" y="192"/>
                  </a:lnTo>
                  <a:lnTo>
                    <a:pt x="1394" y="239"/>
                  </a:lnTo>
                  <a:lnTo>
                    <a:pt x="1441" y="290"/>
                  </a:lnTo>
                  <a:lnTo>
                    <a:pt x="1483" y="345"/>
                  </a:lnTo>
                  <a:lnTo>
                    <a:pt x="1521" y="404"/>
                  </a:lnTo>
                  <a:lnTo>
                    <a:pt x="1554" y="466"/>
                  </a:lnTo>
                  <a:lnTo>
                    <a:pt x="1581" y="530"/>
                  </a:lnTo>
                  <a:lnTo>
                    <a:pt x="1603" y="598"/>
                  </a:lnTo>
                  <a:lnTo>
                    <a:pt x="1619" y="669"/>
                  </a:lnTo>
                  <a:lnTo>
                    <a:pt x="1629" y="740"/>
                  </a:lnTo>
                  <a:lnTo>
                    <a:pt x="1632" y="814"/>
                  </a:lnTo>
                  <a:lnTo>
                    <a:pt x="1629" y="888"/>
                  </a:lnTo>
                  <a:lnTo>
                    <a:pt x="1618" y="961"/>
                  </a:lnTo>
                  <a:lnTo>
                    <a:pt x="1603" y="1030"/>
                  </a:lnTo>
                  <a:lnTo>
                    <a:pt x="1581" y="1098"/>
                  </a:lnTo>
                  <a:lnTo>
                    <a:pt x="1554" y="1163"/>
                  </a:lnTo>
                  <a:lnTo>
                    <a:pt x="1520" y="1225"/>
                  </a:lnTo>
                  <a:lnTo>
                    <a:pt x="1482" y="1284"/>
                  </a:lnTo>
                  <a:lnTo>
                    <a:pt x="1439" y="1339"/>
                  </a:lnTo>
                  <a:lnTo>
                    <a:pt x="1392" y="1389"/>
                  </a:lnTo>
                  <a:lnTo>
                    <a:pt x="1341" y="1437"/>
                  </a:lnTo>
                  <a:lnTo>
                    <a:pt x="1286" y="1480"/>
                  </a:lnTo>
                  <a:lnTo>
                    <a:pt x="1227" y="1516"/>
                  </a:lnTo>
                  <a:lnTo>
                    <a:pt x="1165" y="1550"/>
                  </a:lnTo>
                  <a:lnTo>
                    <a:pt x="1099" y="1577"/>
                  </a:lnTo>
                  <a:lnTo>
                    <a:pt x="1031" y="1598"/>
                  </a:lnTo>
                  <a:lnTo>
                    <a:pt x="960" y="1615"/>
                  </a:lnTo>
                  <a:lnTo>
                    <a:pt x="889" y="1624"/>
                  </a:lnTo>
                  <a:lnTo>
                    <a:pt x="814" y="1627"/>
                  </a:lnTo>
                  <a:lnTo>
                    <a:pt x="740" y="1624"/>
                  </a:lnTo>
                  <a:lnTo>
                    <a:pt x="668" y="1613"/>
                  </a:lnTo>
                  <a:lnTo>
                    <a:pt x="598" y="1597"/>
                  </a:lnTo>
                  <a:lnTo>
                    <a:pt x="530" y="1577"/>
                  </a:lnTo>
                  <a:lnTo>
                    <a:pt x="465" y="1549"/>
                  </a:lnTo>
                  <a:lnTo>
                    <a:pt x="403" y="1515"/>
                  </a:lnTo>
                  <a:lnTo>
                    <a:pt x="345" y="1478"/>
                  </a:lnTo>
                  <a:lnTo>
                    <a:pt x="290" y="1436"/>
                  </a:lnTo>
                  <a:lnTo>
                    <a:pt x="238" y="1388"/>
                  </a:lnTo>
                  <a:lnTo>
                    <a:pt x="191" y="1337"/>
                  </a:lnTo>
                  <a:lnTo>
                    <a:pt x="149" y="1282"/>
                  </a:lnTo>
                  <a:lnTo>
                    <a:pt x="111" y="1223"/>
                  </a:lnTo>
                  <a:lnTo>
                    <a:pt x="78" y="1162"/>
                  </a:lnTo>
                  <a:lnTo>
                    <a:pt x="51" y="1097"/>
                  </a:lnTo>
                  <a:lnTo>
                    <a:pt x="29" y="1029"/>
                  </a:lnTo>
                  <a:lnTo>
                    <a:pt x="12" y="959"/>
                  </a:lnTo>
                  <a:lnTo>
                    <a:pt x="2" y="887"/>
                  </a:lnTo>
                  <a:lnTo>
                    <a:pt x="0" y="812"/>
                  </a:lnTo>
                  <a:lnTo>
                    <a:pt x="3" y="738"/>
                  </a:lnTo>
                  <a:lnTo>
                    <a:pt x="12" y="666"/>
                  </a:lnTo>
                  <a:lnTo>
                    <a:pt x="29" y="596"/>
                  </a:lnTo>
                  <a:lnTo>
                    <a:pt x="52" y="528"/>
                  </a:lnTo>
                  <a:lnTo>
                    <a:pt x="79" y="463"/>
                  </a:lnTo>
                  <a:lnTo>
                    <a:pt x="112" y="401"/>
                  </a:lnTo>
                  <a:lnTo>
                    <a:pt x="150" y="343"/>
                  </a:lnTo>
                  <a:lnTo>
                    <a:pt x="193" y="288"/>
                  </a:lnTo>
                  <a:lnTo>
                    <a:pt x="240" y="237"/>
                  </a:lnTo>
                  <a:lnTo>
                    <a:pt x="291" y="190"/>
                  </a:lnTo>
                  <a:lnTo>
                    <a:pt x="346" y="148"/>
                  </a:lnTo>
                  <a:lnTo>
                    <a:pt x="405" y="110"/>
                  </a:lnTo>
                  <a:lnTo>
                    <a:pt x="467" y="77"/>
                  </a:lnTo>
                  <a:lnTo>
                    <a:pt x="532" y="50"/>
                  </a:lnTo>
                  <a:lnTo>
                    <a:pt x="600" y="28"/>
                  </a:lnTo>
                  <a:lnTo>
                    <a:pt x="670" y="13"/>
                  </a:lnTo>
                  <a:lnTo>
                    <a:pt x="743" y="2"/>
                  </a:lnTo>
                  <a:lnTo>
                    <a:pt x="817"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4"/>
            <p:cNvSpPr>
              <a:spLocks noEditPoints="1"/>
            </p:cNvSpPr>
            <p:nvPr/>
          </p:nvSpPr>
          <p:spPr bwMode="auto">
            <a:xfrm>
              <a:off x="4078" y="1308"/>
              <a:ext cx="579" cy="1100"/>
            </a:xfrm>
            <a:custGeom>
              <a:avLst/>
              <a:gdLst>
                <a:gd name="T0" fmla="*/ 920 w 1737"/>
                <a:gd name="T1" fmla="*/ 803 h 3300"/>
                <a:gd name="T2" fmla="*/ 802 w 1737"/>
                <a:gd name="T3" fmla="*/ 37 h 3300"/>
                <a:gd name="T4" fmla="*/ 892 w 1737"/>
                <a:gd name="T5" fmla="*/ 37 h 3300"/>
                <a:gd name="T6" fmla="*/ 667 w 1737"/>
                <a:gd name="T7" fmla="*/ 81 h 3300"/>
                <a:gd name="T8" fmla="*/ 667 w 1737"/>
                <a:gd name="T9" fmla="*/ 37 h 3300"/>
                <a:gd name="T10" fmla="*/ 925 w 1737"/>
                <a:gd name="T11" fmla="*/ 213 h 3300"/>
                <a:gd name="T12" fmla="*/ 891 w 1737"/>
                <a:gd name="T13" fmla="*/ 865 h 3300"/>
                <a:gd name="T14" fmla="*/ 806 w 1737"/>
                <a:gd name="T15" fmla="*/ 1118 h 3300"/>
                <a:gd name="T16" fmla="*/ 771 w 1737"/>
                <a:gd name="T17" fmla="*/ 1320 h 3300"/>
                <a:gd name="T18" fmla="*/ 709 w 1737"/>
                <a:gd name="T19" fmla="*/ 1491 h 3300"/>
                <a:gd name="T20" fmla="*/ 628 w 1737"/>
                <a:gd name="T21" fmla="*/ 1638 h 3300"/>
                <a:gd name="T22" fmla="*/ 534 w 1737"/>
                <a:gd name="T23" fmla="*/ 1766 h 3300"/>
                <a:gd name="T24" fmla="*/ 436 w 1737"/>
                <a:gd name="T25" fmla="*/ 1880 h 3300"/>
                <a:gd name="T26" fmla="*/ 332 w 1737"/>
                <a:gd name="T27" fmla="*/ 1998 h 3300"/>
                <a:gd name="T28" fmla="*/ 235 w 1737"/>
                <a:gd name="T29" fmla="*/ 2118 h 3300"/>
                <a:gd name="T30" fmla="*/ 157 w 1737"/>
                <a:gd name="T31" fmla="*/ 2249 h 3300"/>
                <a:gd name="T32" fmla="*/ 105 w 1737"/>
                <a:gd name="T33" fmla="*/ 2397 h 3300"/>
                <a:gd name="T34" fmla="*/ 85 w 1737"/>
                <a:gd name="T35" fmla="*/ 2571 h 3300"/>
                <a:gd name="T36" fmla="*/ 116 w 1737"/>
                <a:gd name="T37" fmla="*/ 2751 h 3300"/>
                <a:gd name="T38" fmla="*/ 204 w 1737"/>
                <a:gd name="T39" fmla="*/ 2912 h 3300"/>
                <a:gd name="T40" fmla="*/ 339 w 1737"/>
                <a:gd name="T41" fmla="*/ 3046 h 3300"/>
                <a:gd name="T42" fmla="*/ 514 w 1737"/>
                <a:gd name="T43" fmla="*/ 3145 h 3300"/>
                <a:gd name="T44" fmla="*/ 718 w 1737"/>
                <a:gd name="T45" fmla="*/ 3203 h 3300"/>
                <a:gd name="T46" fmla="*/ 944 w 1737"/>
                <a:gd name="T47" fmla="*/ 3212 h 3300"/>
                <a:gd name="T48" fmla="*/ 1161 w 1737"/>
                <a:gd name="T49" fmla="*/ 3170 h 3300"/>
                <a:gd name="T50" fmla="*/ 1348 w 1737"/>
                <a:gd name="T51" fmla="*/ 3086 h 3300"/>
                <a:gd name="T52" fmla="*/ 1496 w 1737"/>
                <a:gd name="T53" fmla="*/ 2965 h 3300"/>
                <a:gd name="T54" fmla="*/ 1600 w 1737"/>
                <a:gd name="T55" fmla="*/ 2812 h 3300"/>
                <a:gd name="T56" fmla="*/ 1650 w 1737"/>
                <a:gd name="T57" fmla="*/ 2634 h 3300"/>
                <a:gd name="T58" fmla="*/ 1737 w 1737"/>
                <a:gd name="T59" fmla="*/ 2529 h 3300"/>
                <a:gd name="T60" fmla="*/ 1725 w 1737"/>
                <a:gd name="T61" fmla="*/ 2701 h 3300"/>
                <a:gd name="T62" fmla="*/ 1658 w 1737"/>
                <a:gd name="T63" fmla="*/ 2883 h 3300"/>
                <a:gd name="T64" fmla="*/ 1538 w 1737"/>
                <a:gd name="T65" fmla="*/ 3042 h 3300"/>
                <a:gd name="T66" fmla="*/ 1371 w 1737"/>
                <a:gd name="T67" fmla="*/ 3169 h 3300"/>
                <a:gd name="T68" fmla="*/ 1172 w 1737"/>
                <a:gd name="T69" fmla="*/ 3256 h 3300"/>
                <a:gd name="T70" fmla="*/ 948 w 1737"/>
                <a:gd name="T71" fmla="*/ 3296 h 3300"/>
                <a:gd name="T72" fmla="*/ 863 w 1737"/>
                <a:gd name="T73" fmla="*/ 3300 h 3300"/>
                <a:gd name="T74" fmla="*/ 641 w 1737"/>
                <a:gd name="T75" fmla="*/ 3274 h 3300"/>
                <a:gd name="T76" fmla="*/ 435 w 1737"/>
                <a:gd name="T77" fmla="*/ 3203 h 3300"/>
                <a:gd name="T78" fmla="*/ 257 w 1737"/>
                <a:gd name="T79" fmla="*/ 3090 h 3300"/>
                <a:gd name="T80" fmla="*/ 116 w 1737"/>
                <a:gd name="T81" fmla="*/ 2937 h 3300"/>
                <a:gd name="T82" fmla="*/ 30 w 1737"/>
                <a:gd name="T83" fmla="*/ 2763 h 3300"/>
                <a:gd name="T84" fmla="*/ 0 w 1737"/>
                <a:gd name="T85" fmla="*/ 2571 h 3300"/>
                <a:gd name="T86" fmla="*/ 19 w 1737"/>
                <a:gd name="T87" fmla="*/ 2388 h 3300"/>
                <a:gd name="T88" fmla="*/ 70 w 1737"/>
                <a:gd name="T89" fmla="*/ 2234 h 3300"/>
                <a:gd name="T90" fmla="*/ 145 w 1737"/>
                <a:gd name="T91" fmla="*/ 2100 h 3300"/>
                <a:gd name="T92" fmla="*/ 238 w 1737"/>
                <a:gd name="T93" fmla="*/ 1977 h 3300"/>
                <a:gd name="T94" fmla="*/ 340 w 1737"/>
                <a:gd name="T95" fmla="*/ 1861 h 3300"/>
                <a:gd name="T96" fmla="*/ 443 w 1737"/>
                <a:gd name="T97" fmla="*/ 1744 h 3300"/>
                <a:gd name="T98" fmla="*/ 539 w 1737"/>
                <a:gd name="T99" fmla="*/ 1619 h 3300"/>
                <a:gd name="T100" fmla="*/ 622 w 1737"/>
                <a:gd name="T101" fmla="*/ 1477 h 3300"/>
                <a:gd name="T102" fmla="*/ 686 w 1737"/>
                <a:gd name="T103" fmla="*/ 1311 h 3300"/>
                <a:gd name="T104" fmla="*/ 721 w 1737"/>
                <a:gd name="T105" fmla="*/ 1113 h 3300"/>
                <a:gd name="T106" fmla="*/ 645 w 1737"/>
                <a:gd name="T107" fmla="*/ 865 h 3300"/>
                <a:gd name="T108" fmla="*/ 630 w 1737"/>
                <a:gd name="T109" fmla="*/ 213 h 3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7" h="3300">
                  <a:moveTo>
                    <a:pt x="633" y="267"/>
                  </a:moveTo>
                  <a:lnTo>
                    <a:pt x="633" y="803"/>
                  </a:lnTo>
                  <a:lnTo>
                    <a:pt x="920" y="803"/>
                  </a:lnTo>
                  <a:lnTo>
                    <a:pt x="920" y="267"/>
                  </a:lnTo>
                  <a:lnTo>
                    <a:pt x="633" y="267"/>
                  </a:lnTo>
                  <a:close/>
                  <a:moveTo>
                    <a:pt x="802" y="37"/>
                  </a:moveTo>
                  <a:lnTo>
                    <a:pt x="802" y="82"/>
                  </a:lnTo>
                  <a:lnTo>
                    <a:pt x="892" y="82"/>
                  </a:lnTo>
                  <a:lnTo>
                    <a:pt x="892" y="37"/>
                  </a:lnTo>
                  <a:lnTo>
                    <a:pt x="802" y="37"/>
                  </a:lnTo>
                  <a:close/>
                  <a:moveTo>
                    <a:pt x="667" y="37"/>
                  </a:moveTo>
                  <a:lnTo>
                    <a:pt x="667" y="81"/>
                  </a:lnTo>
                  <a:lnTo>
                    <a:pt x="757" y="81"/>
                  </a:lnTo>
                  <a:lnTo>
                    <a:pt x="757" y="37"/>
                  </a:lnTo>
                  <a:lnTo>
                    <a:pt x="667" y="37"/>
                  </a:lnTo>
                  <a:close/>
                  <a:moveTo>
                    <a:pt x="630" y="0"/>
                  </a:moveTo>
                  <a:lnTo>
                    <a:pt x="925" y="0"/>
                  </a:lnTo>
                  <a:lnTo>
                    <a:pt x="925" y="213"/>
                  </a:lnTo>
                  <a:lnTo>
                    <a:pt x="970" y="213"/>
                  </a:lnTo>
                  <a:lnTo>
                    <a:pt x="970" y="865"/>
                  </a:lnTo>
                  <a:lnTo>
                    <a:pt x="891" y="865"/>
                  </a:lnTo>
                  <a:lnTo>
                    <a:pt x="813" y="1000"/>
                  </a:lnTo>
                  <a:lnTo>
                    <a:pt x="810" y="1042"/>
                  </a:lnTo>
                  <a:lnTo>
                    <a:pt x="806" y="1118"/>
                  </a:lnTo>
                  <a:lnTo>
                    <a:pt x="798" y="1189"/>
                  </a:lnTo>
                  <a:lnTo>
                    <a:pt x="786" y="1257"/>
                  </a:lnTo>
                  <a:lnTo>
                    <a:pt x="771" y="1320"/>
                  </a:lnTo>
                  <a:lnTo>
                    <a:pt x="753" y="1380"/>
                  </a:lnTo>
                  <a:lnTo>
                    <a:pt x="732" y="1437"/>
                  </a:lnTo>
                  <a:lnTo>
                    <a:pt x="709" y="1491"/>
                  </a:lnTo>
                  <a:lnTo>
                    <a:pt x="683" y="1543"/>
                  </a:lnTo>
                  <a:lnTo>
                    <a:pt x="657" y="1592"/>
                  </a:lnTo>
                  <a:lnTo>
                    <a:pt x="628" y="1638"/>
                  </a:lnTo>
                  <a:lnTo>
                    <a:pt x="598" y="1683"/>
                  </a:lnTo>
                  <a:lnTo>
                    <a:pt x="567" y="1726"/>
                  </a:lnTo>
                  <a:lnTo>
                    <a:pt x="534" y="1766"/>
                  </a:lnTo>
                  <a:lnTo>
                    <a:pt x="502" y="1805"/>
                  </a:lnTo>
                  <a:lnTo>
                    <a:pt x="470" y="1843"/>
                  </a:lnTo>
                  <a:lnTo>
                    <a:pt x="436" y="1880"/>
                  </a:lnTo>
                  <a:lnTo>
                    <a:pt x="404" y="1917"/>
                  </a:lnTo>
                  <a:lnTo>
                    <a:pt x="368" y="1958"/>
                  </a:lnTo>
                  <a:lnTo>
                    <a:pt x="332" y="1998"/>
                  </a:lnTo>
                  <a:lnTo>
                    <a:pt x="299" y="2037"/>
                  </a:lnTo>
                  <a:lnTo>
                    <a:pt x="265" y="2078"/>
                  </a:lnTo>
                  <a:lnTo>
                    <a:pt x="235" y="2118"/>
                  </a:lnTo>
                  <a:lnTo>
                    <a:pt x="207" y="2161"/>
                  </a:lnTo>
                  <a:lnTo>
                    <a:pt x="180" y="2204"/>
                  </a:lnTo>
                  <a:lnTo>
                    <a:pt x="157" y="2249"/>
                  </a:lnTo>
                  <a:lnTo>
                    <a:pt x="136" y="2295"/>
                  </a:lnTo>
                  <a:lnTo>
                    <a:pt x="119" y="2345"/>
                  </a:lnTo>
                  <a:lnTo>
                    <a:pt x="105" y="2397"/>
                  </a:lnTo>
                  <a:lnTo>
                    <a:pt x="95" y="2451"/>
                  </a:lnTo>
                  <a:lnTo>
                    <a:pt x="88" y="2510"/>
                  </a:lnTo>
                  <a:lnTo>
                    <a:pt x="85" y="2571"/>
                  </a:lnTo>
                  <a:lnTo>
                    <a:pt x="89" y="2633"/>
                  </a:lnTo>
                  <a:lnTo>
                    <a:pt x="99" y="2693"/>
                  </a:lnTo>
                  <a:lnTo>
                    <a:pt x="116" y="2751"/>
                  </a:lnTo>
                  <a:lnTo>
                    <a:pt x="140" y="2808"/>
                  </a:lnTo>
                  <a:lnTo>
                    <a:pt x="170" y="2861"/>
                  </a:lnTo>
                  <a:lnTo>
                    <a:pt x="204" y="2912"/>
                  </a:lnTo>
                  <a:lnTo>
                    <a:pt x="245" y="2960"/>
                  </a:lnTo>
                  <a:lnTo>
                    <a:pt x="290" y="3004"/>
                  </a:lnTo>
                  <a:lnTo>
                    <a:pt x="339" y="3046"/>
                  </a:lnTo>
                  <a:lnTo>
                    <a:pt x="394" y="3083"/>
                  </a:lnTo>
                  <a:lnTo>
                    <a:pt x="452" y="3116"/>
                  </a:lnTo>
                  <a:lnTo>
                    <a:pt x="514" y="3145"/>
                  </a:lnTo>
                  <a:lnTo>
                    <a:pt x="579" y="3169"/>
                  </a:lnTo>
                  <a:lnTo>
                    <a:pt x="648" y="3189"/>
                  </a:lnTo>
                  <a:lnTo>
                    <a:pt x="718" y="3203"/>
                  </a:lnTo>
                  <a:lnTo>
                    <a:pt x="791" y="3212"/>
                  </a:lnTo>
                  <a:lnTo>
                    <a:pt x="866" y="3214"/>
                  </a:lnTo>
                  <a:lnTo>
                    <a:pt x="944" y="3212"/>
                  </a:lnTo>
                  <a:lnTo>
                    <a:pt x="1019" y="3203"/>
                  </a:lnTo>
                  <a:lnTo>
                    <a:pt x="1092" y="3189"/>
                  </a:lnTo>
                  <a:lnTo>
                    <a:pt x="1161" y="3170"/>
                  </a:lnTo>
                  <a:lnTo>
                    <a:pt x="1227" y="3147"/>
                  </a:lnTo>
                  <a:lnTo>
                    <a:pt x="1289" y="3118"/>
                  </a:lnTo>
                  <a:lnTo>
                    <a:pt x="1348" y="3086"/>
                  </a:lnTo>
                  <a:lnTo>
                    <a:pt x="1403" y="3049"/>
                  </a:lnTo>
                  <a:lnTo>
                    <a:pt x="1452" y="3009"/>
                  </a:lnTo>
                  <a:lnTo>
                    <a:pt x="1496" y="2965"/>
                  </a:lnTo>
                  <a:lnTo>
                    <a:pt x="1536" y="2917"/>
                  </a:lnTo>
                  <a:lnTo>
                    <a:pt x="1571" y="2867"/>
                  </a:lnTo>
                  <a:lnTo>
                    <a:pt x="1600" y="2812"/>
                  </a:lnTo>
                  <a:lnTo>
                    <a:pt x="1622" y="2756"/>
                  </a:lnTo>
                  <a:lnTo>
                    <a:pt x="1639" y="2697"/>
                  </a:lnTo>
                  <a:lnTo>
                    <a:pt x="1650" y="2634"/>
                  </a:lnTo>
                  <a:lnTo>
                    <a:pt x="1653" y="2571"/>
                  </a:lnTo>
                  <a:lnTo>
                    <a:pt x="1653" y="2529"/>
                  </a:lnTo>
                  <a:lnTo>
                    <a:pt x="1737" y="2529"/>
                  </a:lnTo>
                  <a:lnTo>
                    <a:pt x="1737" y="2571"/>
                  </a:lnTo>
                  <a:lnTo>
                    <a:pt x="1734" y="2637"/>
                  </a:lnTo>
                  <a:lnTo>
                    <a:pt x="1725" y="2701"/>
                  </a:lnTo>
                  <a:lnTo>
                    <a:pt x="1709" y="2764"/>
                  </a:lnTo>
                  <a:lnTo>
                    <a:pt x="1687" y="2824"/>
                  </a:lnTo>
                  <a:lnTo>
                    <a:pt x="1658" y="2883"/>
                  </a:lnTo>
                  <a:lnTo>
                    <a:pt x="1623" y="2938"/>
                  </a:lnTo>
                  <a:lnTo>
                    <a:pt x="1584" y="2991"/>
                  </a:lnTo>
                  <a:lnTo>
                    <a:pt x="1538" y="3042"/>
                  </a:lnTo>
                  <a:lnTo>
                    <a:pt x="1487" y="3088"/>
                  </a:lnTo>
                  <a:lnTo>
                    <a:pt x="1431" y="3131"/>
                  </a:lnTo>
                  <a:lnTo>
                    <a:pt x="1371" y="3169"/>
                  </a:lnTo>
                  <a:lnTo>
                    <a:pt x="1308" y="3203"/>
                  </a:lnTo>
                  <a:lnTo>
                    <a:pt x="1241" y="3232"/>
                  </a:lnTo>
                  <a:lnTo>
                    <a:pt x="1172" y="3256"/>
                  </a:lnTo>
                  <a:lnTo>
                    <a:pt x="1099" y="3274"/>
                  </a:lnTo>
                  <a:lnTo>
                    <a:pt x="1024" y="3288"/>
                  </a:lnTo>
                  <a:lnTo>
                    <a:pt x="948" y="3296"/>
                  </a:lnTo>
                  <a:lnTo>
                    <a:pt x="869" y="3300"/>
                  </a:lnTo>
                  <a:lnTo>
                    <a:pt x="869" y="3300"/>
                  </a:lnTo>
                  <a:lnTo>
                    <a:pt x="863" y="3300"/>
                  </a:lnTo>
                  <a:lnTo>
                    <a:pt x="787" y="3296"/>
                  </a:lnTo>
                  <a:lnTo>
                    <a:pt x="713" y="3288"/>
                  </a:lnTo>
                  <a:lnTo>
                    <a:pt x="641" y="3274"/>
                  </a:lnTo>
                  <a:lnTo>
                    <a:pt x="569" y="3256"/>
                  </a:lnTo>
                  <a:lnTo>
                    <a:pt x="501" y="3232"/>
                  </a:lnTo>
                  <a:lnTo>
                    <a:pt x="435" y="3203"/>
                  </a:lnTo>
                  <a:lnTo>
                    <a:pt x="373" y="3169"/>
                  </a:lnTo>
                  <a:lnTo>
                    <a:pt x="313" y="3132"/>
                  </a:lnTo>
                  <a:lnTo>
                    <a:pt x="257" y="3090"/>
                  </a:lnTo>
                  <a:lnTo>
                    <a:pt x="204" y="3041"/>
                  </a:lnTo>
                  <a:lnTo>
                    <a:pt x="158" y="2991"/>
                  </a:lnTo>
                  <a:lnTo>
                    <a:pt x="116" y="2937"/>
                  </a:lnTo>
                  <a:lnTo>
                    <a:pt x="82" y="2882"/>
                  </a:lnTo>
                  <a:lnTo>
                    <a:pt x="53" y="2823"/>
                  </a:lnTo>
                  <a:lnTo>
                    <a:pt x="30" y="2763"/>
                  </a:lnTo>
                  <a:lnTo>
                    <a:pt x="14" y="2700"/>
                  </a:lnTo>
                  <a:lnTo>
                    <a:pt x="3" y="2637"/>
                  </a:lnTo>
                  <a:lnTo>
                    <a:pt x="0" y="2571"/>
                  </a:lnTo>
                  <a:lnTo>
                    <a:pt x="2" y="2507"/>
                  </a:lnTo>
                  <a:lnTo>
                    <a:pt x="9" y="2446"/>
                  </a:lnTo>
                  <a:lnTo>
                    <a:pt x="19" y="2388"/>
                  </a:lnTo>
                  <a:lnTo>
                    <a:pt x="32" y="2334"/>
                  </a:lnTo>
                  <a:lnTo>
                    <a:pt x="49" y="2283"/>
                  </a:lnTo>
                  <a:lnTo>
                    <a:pt x="70" y="2234"/>
                  </a:lnTo>
                  <a:lnTo>
                    <a:pt x="92" y="2188"/>
                  </a:lnTo>
                  <a:lnTo>
                    <a:pt x="118" y="2142"/>
                  </a:lnTo>
                  <a:lnTo>
                    <a:pt x="145" y="2100"/>
                  </a:lnTo>
                  <a:lnTo>
                    <a:pt x="174" y="2058"/>
                  </a:lnTo>
                  <a:lnTo>
                    <a:pt x="205" y="2017"/>
                  </a:lnTo>
                  <a:lnTo>
                    <a:pt x="238" y="1977"/>
                  </a:lnTo>
                  <a:lnTo>
                    <a:pt x="271" y="1938"/>
                  </a:lnTo>
                  <a:lnTo>
                    <a:pt x="306" y="1899"/>
                  </a:lnTo>
                  <a:lnTo>
                    <a:pt x="340" y="1861"/>
                  </a:lnTo>
                  <a:lnTo>
                    <a:pt x="375" y="1823"/>
                  </a:lnTo>
                  <a:lnTo>
                    <a:pt x="409" y="1783"/>
                  </a:lnTo>
                  <a:lnTo>
                    <a:pt x="443" y="1744"/>
                  </a:lnTo>
                  <a:lnTo>
                    <a:pt x="476" y="1704"/>
                  </a:lnTo>
                  <a:lnTo>
                    <a:pt x="508" y="1662"/>
                  </a:lnTo>
                  <a:lnTo>
                    <a:pt x="539" y="1619"/>
                  </a:lnTo>
                  <a:lnTo>
                    <a:pt x="568" y="1574"/>
                  </a:lnTo>
                  <a:lnTo>
                    <a:pt x="597" y="1527"/>
                  </a:lnTo>
                  <a:lnTo>
                    <a:pt x="622" y="1477"/>
                  </a:lnTo>
                  <a:lnTo>
                    <a:pt x="645" y="1425"/>
                  </a:lnTo>
                  <a:lnTo>
                    <a:pt x="667" y="1370"/>
                  </a:lnTo>
                  <a:lnTo>
                    <a:pt x="686" y="1311"/>
                  </a:lnTo>
                  <a:lnTo>
                    <a:pt x="701" y="1249"/>
                  </a:lnTo>
                  <a:lnTo>
                    <a:pt x="712" y="1183"/>
                  </a:lnTo>
                  <a:lnTo>
                    <a:pt x="721" y="1113"/>
                  </a:lnTo>
                  <a:lnTo>
                    <a:pt x="726" y="1040"/>
                  </a:lnTo>
                  <a:lnTo>
                    <a:pt x="727" y="997"/>
                  </a:lnTo>
                  <a:lnTo>
                    <a:pt x="645" y="865"/>
                  </a:lnTo>
                  <a:lnTo>
                    <a:pt x="586" y="865"/>
                  </a:lnTo>
                  <a:lnTo>
                    <a:pt x="586" y="213"/>
                  </a:lnTo>
                  <a:lnTo>
                    <a:pt x="630" y="213"/>
                  </a:lnTo>
                  <a:lnTo>
                    <a:pt x="63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 name="Group 4"/>
          <p:cNvGrpSpPr/>
          <p:nvPr/>
        </p:nvGrpSpPr>
        <p:grpSpPr>
          <a:xfrm>
            <a:off x="9345932" y="1941518"/>
            <a:ext cx="2285024" cy="1965755"/>
            <a:chOff x="9345932" y="1941518"/>
            <a:chExt cx="2285024" cy="1965755"/>
          </a:xfrm>
        </p:grpSpPr>
        <p:grpSp>
          <p:nvGrpSpPr>
            <p:cNvPr id="19" name="Group 18"/>
            <p:cNvGrpSpPr/>
            <p:nvPr/>
          </p:nvGrpSpPr>
          <p:grpSpPr>
            <a:xfrm>
              <a:off x="9345932" y="1941518"/>
              <a:ext cx="2285024" cy="1895889"/>
              <a:chOff x="9247017" y="1941519"/>
              <a:chExt cx="2411505" cy="2000830"/>
            </a:xfrm>
          </p:grpSpPr>
          <p:sp>
            <p:nvSpPr>
              <p:cNvPr id="45" name="Freeform 59"/>
              <p:cNvSpPr>
                <a:spLocks noEditPoints="1"/>
              </p:cNvSpPr>
              <p:nvPr/>
            </p:nvSpPr>
            <p:spPr bwMode="auto">
              <a:xfrm>
                <a:off x="9247017" y="1941519"/>
                <a:ext cx="1041603" cy="199568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 name="Rectangle 2"/>
              <p:cNvSpPr/>
              <p:nvPr/>
            </p:nvSpPr>
            <p:spPr bwMode="auto">
              <a:xfrm>
                <a:off x="9998525" y="2482768"/>
                <a:ext cx="1583267" cy="123481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nvGrpSpPr>
              <p:cNvPr id="20" name="Group 19"/>
              <p:cNvGrpSpPr>
                <a:grpSpLocks noChangeAspect="1"/>
              </p:cNvGrpSpPr>
              <p:nvPr/>
            </p:nvGrpSpPr>
            <p:grpSpPr>
              <a:xfrm>
                <a:off x="9936544" y="2465834"/>
                <a:ext cx="1721978" cy="1476515"/>
                <a:chOff x="1839986" y="2235785"/>
                <a:chExt cx="3001031" cy="2573246"/>
              </a:xfrm>
              <a:solidFill>
                <a:srgbClr val="0070C0"/>
              </a:solidFill>
            </p:grpSpPr>
            <p:sp>
              <p:nvSpPr>
                <p:cNvPr id="35" name="Freeform 44"/>
                <p:cNvSpPr>
                  <a:spLocks noEditPoints="1"/>
                </p:cNvSpPr>
                <p:nvPr/>
              </p:nvSpPr>
              <p:spPr bwMode="auto">
                <a:xfrm>
                  <a:off x="1839986" y="2235785"/>
                  <a:ext cx="3001031" cy="2573246"/>
                </a:xfrm>
                <a:custGeom>
                  <a:avLst/>
                  <a:gdLst>
                    <a:gd name="T0" fmla="*/ 943 w 974"/>
                    <a:gd name="T1" fmla="*/ 0 h 835"/>
                    <a:gd name="T2" fmla="*/ 33 w 974"/>
                    <a:gd name="T3" fmla="*/ 0 h 835"/>
                    <a:gd name="T4" fmla="*/ 0 w 974"/>
                    <a:gd name="T5" fmla="*/ 30 h 835"/>
                    <a:gd name="T6" fmla="*/ 0 w 974"/>
                    <a:gd name="T7" fmla="*/ 683 h 835"/>
                    <a:gd name="T8" fmla="*/ 33 w 974"/>
                    <a:gd name="T9" fmla="*/ 714 h 835"/>
                    <a:gd name="T10" fmla="*/ 332 w 974"/>
                    <a:gd name="T11" fmla="*/ 714 h 835"/>
                    <a:gd name="T12" fmla="*/ 323 w 974"/>
                    <a:gd name="T13" fmla="*/ 761 h 835"/>
                    <a:gd name="T14" fmla="*/ 272 w 974"/>
                    <a:gd name="T15" fmla="*/ 779 h 835"/>
                    <a:gd name="T16" fmla="*/ 267 w 974"/>
                    <a:gd name="T17" fmla="*/ 779 h 835"/>
                    <a:gd name="T18" fmla="*/ 246 w 974"/>
                    <a:gd name="T19" fmla="*/ 801 h 835"/>
                    <a:gd name="T20" fmla="*/ 246 w 974"/>
                    <a:gd name="T21" fmla="*/ 813 h 835"/>
                    <a:gd name="T22" fmla="*/ 267 w 974"/>
                    <a:gd name="T23" fmla="*/ 835 h 835"/>
                    <a:gd name="T24" fmla="*/ 719 w 974"/>
                    <a:gd name="T25" fmla="*/ 835 h 835"/>
                    <a:gd name="T26" fmla="*/ 740 w 974"/>
                    <a:gd name="T27" fmla="*/ 813 h 835"/>
                    <a:gd name="T28" fmla="*/ 740 w 974"/>
                    <a:gd name="T29" fmla="*/ 801 h 835"/>
                    <a:gd name="T30" fmla="*/ 719 w 974"/>
                    <a:gd name="T31" fmla="*/ 779 h 835"/>
                    <a:gd name="T32" fmla="*/ 717 w 974"/>
                    <a:gd name="T33" fmla="*/ 779 h 835"/>
                    <a:gd name="T34" fmla="*/ 669 w 974"/>
                    <a:gd name="T35" fmla="*/ 761 h 835"/>
                    <a:gd name="T36" fmla="*/ 661 w 974"/>
                    <a:gd name="T37" fmla="*/ 714 h 835"/>
                    <a:gd name="T38" fmla="*/ 943 w 974"/>
                    <a:gd name="T39" fmla="*/ 714 h 835"/>
                    <a:gd name="T40" fmla="*/ 974 w 974"/>
                    <a:gd name="T41" fmla="*/ 683 h 835"/>
                    <a:gd name="T42" fmla="*/ 974 w 974"/>
                    <a:gd name="T43" fmla="*/ 30 h 835"/>
                    <a:gd name="T44" fmla="*/ 943 w 974"/>
                    <a:gd name="T45" fmla="*/ 0 h 835"/>
                    <a:gd name="T46" fmla="*/ 918 w 974"/>
                    <a:gd name="T47" fmla="*/ 634 h 835"/>
                    <a:gd name="T48" fmla="*/ 892 w 974"/>
                    <a:gd name="T49" fmla="*/ 660 h 835"/>
                    <a:gd name="T50" fmla="*/ 84 w 974"/>
                    <a:gd name="T51" fmla="*/ 660 h 835"/>
                    <a:gd name="T52" fmla="*/ 57 w 974"/>
                    <a:gd name="T53" fmla="*/ 634 h 835"/>
                    <a:gd name="T54" fmla="*/ 57 w 974"/>
                    <a:gd name="T55" fmla="*/ 79 h 835"/>
                    <a:gd name="T56" fmla="*/ 84 w 974"/>
                    <a:gd name="T57" fmla="*/ 53 h 835"/>
                    <a:gd name="T58" fmla="*/ 892 w 974"/>
                    <a:gd name="T59" fmla="*/ 53 h 835"/>
                    <a:gd name="T60" fmla="*/ 918 w 974"/>
                    <a:gd name="T61" fmla="*/ 79 h 835"/>
                    <a:gd name="T62" fmla="*/ 918 w 974"/>
                    <a:gd name="T63" fmla="*/ 634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4" h="835">
                      <a:moveTo>
                        <a:pt x="943" y="0"/>
                      </a:moveTo>
                      <a:cubicBezTo>
                        <a:pt x="33" y="0"/>
                        <a:pt x="33" y="0"/>
                        <a:pt x="33" y="0"/>
                      </a:cubicBezTo>
                      <a:cubicBezTo>
                        <a:pt x="15" y="0"/>
                        <a:pt x="0" y="13"/>
                        <a:pt x="0" y="30"/>
                      </a:cubicBezTo>
                      <a:cubicBezTo>
                        <a:pt x="0" y="683"/>
                        <a:pt x="0" y="683"/>
                        <a:pt x="0" y="683"/>
                      </a:cubicBezTo>
                      <a:cubicBezTo>
                        <a:pt x="0" y="700"/>
                        <a:pt x="15" y="714"/>
                        <a:pt x="33" y="714"/>
                      </a:cubicBezTo>
                      <a:cubicBezTo>
                        <a:pt x="332" y="714"/>
                        <a:pt x="332" y="714"/>
                        <a:pt x="332" y="714"/>
                      </a:cubicBezTo>
                      <a:cubicBezTo>
                        <a:pt x="332" y="714"/>
                        <a:pt x="330" y="751"/>
                        <a:pt x="323" y="761"/>
                      </a:cubicBezTo>
                      <a:cubicBezTo>
                        <a:pt x="311" y="779"/>
                        <a:pt x="288" y="774"/>
                        <a:pt x="272" y="779"/>
                      </a:cubicBezTo>
                      <a:cubicBezTo>
                        <a:pt x="267" y="779"/>
                        <a:pt x="267" y="779"/>
                        <a:pt x="267" y="779"/>
                      </a:cubicBezTo>
                      <a:cubicBezTo>
                        <a:pt x="255" y="779"/>
                        <a:pt x="246" y="789"/>
                        <a:pt x="246" y="801"/>
                      </a:cubicBezTo>
                      <a:cubicBezTo>
                        <a:pt x="246" y="813"/>
                        <a:pt x="246" y="813"/>
                        <a:pt x="246" y="813"/>
                      </a:cubicBezTo>
                      <a:cubicBezTo>
                        <a:pt x="246" y="825"/>
                        <a:pt x="255" y="835"/>
                        <a:pt x="267" y="835"/>
                      </a:cubicBezTo>
                      <a:cubicBezTo>
                        <a:pt x="719" y="835"/>
                        <a:pt x="719" y="835"/>
                        <a:pt x="719" y="835"/>
                      </a:cubicBezTo>
                      <a:cubicBezTo>
                        <a:pt x="730" y="835"/>
                        <a:pt x="740" y="825"/>
                        <a:pt x="740" y="813"/>
                      </a:cubicBezTo>
                      <a:cubicBezTo>
                        <a:pt x="740" y="801"/>
                        <a:pt x="740" y="801"/>
                        <a:pt x="740" y="801"/>
                      </a:cubicBezTo>
                      <a:cubicBezTo>
                        <a:pt x="740" y="789"/>
                        <a:pt x="730" y="779"/>
                        <a:pt x="719" y="779"/>
                      </a:cubicBezTo>
                      <a:cubicBezTo>
                        <a:pt x="717" y="779"/>
                        <a:pt x="717" y="779"/>
                        <a:pt x="717" y="779"/>
                      </a:cubicBezTo>
                      <a:cubicBezTo>
                        <a:pt x="708" y="778"/>
                        <a:pt x="681" y="780"/>
                        <a:pt x="669" y="761"/>
                      </a:cubicBezTo>
                      <a:cubicBezTo>
                        <a:pt x="663" y="751"/>
                        <a:pt x="661" y="714"/>
                        <a:pt x="661" y="714"/>
                      </a:cubicBezTo>
                      <a:cubicBezTo>
                        <a:pt x="943" y="714"/>
                        <a:pt x="943" y="714"/>
                        <a:pt x="943" y="714"/>
                      </a:cubicBezTo>
                      <a:cubicBezTo>
                        <a:pt x="960" y="714"/>
                        <a:pt x="974" y="700"/>
                        <a:pt x="974" y="683"/>
                      </a:cubicBezTo>
                      <a:cubicBezTo>
                        <a:pt x="974" y="30"/>
                        <a:pt x="974" y="30"/>
                        <a:pt x="974" y="30"/>
                      </a:cubicBezTo>
                      <a:cubicBezTo>
                        <a:pt x="974" y="13"/>
                        <a:pt x="960" y="0"/>
                        <a:pt x="943" y="0"/>
                      </a:cubicBezTo>
                      <a:close/>
                      <a:moveTo>
                        <a:pt x="918" y="634"/>
                      </a:moveTo>
                      <a:cubicBezTo>
                        <a:pt x="918" y="649"/>
                        <a:pt x="906" y="660"/>
                        <a:pt x="892" y="660"/>
                      </a:cubicBezTo>
                      <a:cubicBezTo>
                        <a:pt x="84" y="660"/>
                        <a:pt x="84" y="660"/>
                        <a:pt x="84" y="660"/>
                      </a:cubicBezTo>
                      <a:cubicBezTo>
                        <a:pt x="69" y="660"/>
                        <a:pt x="57" y="649"/>
                        <a:pt x="57" y="634"/>
                      </a:cubicBezTo>
                      <a:cubicBezTo>
                        <a:pt x="57" y="79"/>
                        <a:pt x="57" y="79"/>
                        <a:pt x="57" y="79"/>
                      </a:cubicBezTo>
                      <a:cubicBezTo>
                        <a:pt x="57" y="64"/>
                        <a:pt x="69" y="53"/>
                        <a:pt x="84" y="53"/>
                      </a:cubicBezTo>
                      <a:cubicBezTo>
                        <a:pt x="892" y="53"/>
                        <a:pt x="892" y="53"/>
                        <a:pt x="892" y="53"/>
                      </a:cubicBezTo>
                      <a:cubicBezTo>
                        <a:pt x="906" y="53"/>
                        <a:pt x="918" y="64"/>
                        <a:pt x="918" y="79"/>
                      </a:cubicBezTo>
                      <a:cubicBezTo>
                        <a:pt x="918" y="634"/>
                        <a:pt x="918" y="634"/>
                        <a:pt x="918" y="63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dirty="0"/>
                </a:p>
              </p:txBody>
            </p:sp>
            <p:grpSp>
              <p:nvGrpSpPr>
                <p:cNvPr id="23" name="Group 22"/>
                <p:cNvGrpSpPr/>
                <p:nvPr/>
              </p:nvGrpSpPr>
              <p:grpSpPr>
                <a:xfrm>
                  <a:off x="2265935" y="2650195"/>
                  <a:ext cx="2147151" cy="1376342"/>
                  <a:chOff x="2265935" y="2635681"/>
                  <a:chExt cx="2147151" cy="1376342"/>
                </a:xfrm>
                <a:grpFill/>
              </p:grpSpPr>
              <p:grpSp>
                <p:nvGrpSpPr>
                  <p:cNvPr id="24" name="Group 23"/>
                  <p:cNvGrpSpPr/>
                  <p:nvPr/>
                </p:nvGrpSpPr>
                <p:grpSpPr>
                  <a:xfrm>
                    <a:off x="2265935" y="3027218"/>
                    <a:ext cx="2147151" cy="984805"/>
                    <a:chOff x="2386887" y="2174501"/>
                    <a:chExt cx="1195338" cy="548250"/>
                  </a:xfrm>
                  <a:grpFill/>
                </p:grpSpPr>
                <p:sp>
                  <p:nvSpPr>
                    <p:cNvPr id="26" name="Rectangle 25"/>
                    <p:cNvSpPr/>
                    <p:nvPr/>
                  </p:nvSpPr>
                  <p:spPr bwMode="auto">
                    <a:xfrm>
                      <a:off x="2691760" y="2174501"/>
                      <a:ext cx="246889" cy="246889"/>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solidFill>
                          <a:srgbClr val="242424"/>
                        </a:solidFill>
                      </a:endParaRPr>
                    </a:p>
                  </p:txBody>
                </p:sp>
                <p:sp>
                  <p:nvSpPr>
                    <p:cNvPr id="27" name="Rectangle 26"/>
                    <p:cNvSpPr/>
                    <p:nvPr/>
                  </p:nvSpPr>
                  <p:spPr bwMode="auto">
                    <a:xfrm>
                      <a:off x="2691760" y="2475864"/>
                      <a:ext cx="246887" cy="24688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solidFill>
                          <a:srgbClr val="242424"/>
                        </a:solidFill>
                      </a:endParaRPr>
                    </a:p>
                  </p:txBody>
                </p:sp>
                <p:sp>
                  <p:nvSpPr>
                    <p:cNvPr id="28" name="Rectangle 27"/>
                    <p:cNvSpPr/>
                    <p:nvPr/>
                  </p:nvSpPr>
                  <p:spPr bwMode="auto">
                    <a:xfrm>
                      <a:off x="2386887" y="2174501"/>
                      <a:ext cx="246889" cy="24688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solidFill>
                          <a:srgbClr val="242424"/>
                        </a:solidFill>
                      </a:endParaRPr>
                    </a:p>
                  </p:txBody>
                </p:sp>
                <p:sp>
                  <p:nvSpPr>
                    <p:cNvPr id="31" name="Rectangle 30"/>
                    <p:cNvSpPr/>
                    <p:nvPr/>
                  </p:nvSpPr>
                  <p:spPr bwMode="auto">
                    <a:xfrm>
                      <a:off x="2386887" y="2475239"/>
                      <a:ext cx="246887" cy="24688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solidFill>
                          <a:srgbClr val="242424"/>
                        </a:solidFill>
                      </a:endParaRPr>
                    </a:p>
                  </p:txBody>
                </p:sp>
                <p:sp>
                  <p:nvSpPr>
                    <p:cNvPr id="33" name="Rectangle 32"/>
                    <p:cNvSpPr/>
                    <p:nvPr/>
                  </p:nvSpPr>
                  <p:spPr bwMode="auto">
                    <a:xfrm>
                      <a:off x="2996372" y="2174501"/>
                      <a:ext cx="585853" cy="547625"/>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solidFill>
                          <a:srgbClr val="242424"/>
                        </a:solidFill>
                      </a:endParaRPr>
                    </a:p>
                  </p:txBody>
                </p:sp>
              </p:grpSp>
              <p:sp>
                <p:nvSpPr>
                  <p:cNvPr id="25" name="Rectangle 24"/>
                  <p:cNvSpPr/>
                  <p:nvPr/>
                </p:nvSpPr>
                <p:spPr bwMode="auto">
                  <a:xfrm>
                    <a:off x="2265935" y="2635681"/>
                    <a:ext cx="2147151" cy="280785"/>
                  </a:xfrm>
                  <a:prstGeom prst="rect">
                    <a:avLst/>
                  </a:prstGeom>
                  <a:grpFill/>
                  <a:ln w="53975">
                    <a:noFill/>
                    <a:prstDash val="dash"/>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grpSp>
        <p:sp>
          <p:nvSpPr>
            <p:cNvPr id="57" name="Freeform 17"/>
            <p:cNvSpPr>
              <a:spLocks/>
            </p:cNvSpPr>
            <p:nvPr/>
          </p:nvSpPr>
          <p:spPr bwMode="auto">
            <a:xfrm>
              <a:off x="9976681" y="3077349"/>
              <a:ext cx="508403" cy="829924"/>
            </a:xfrm>
            <a:custGeom>
              <a:avLst/>
              <a:gdLst>
                <a:gd name="T0" fmla="*/ 1176 w 1518"/>
                <a:gd name="T1" fmla="*/ 17 h 2478"/>
                <a:gd name="T2" fmla="*/ 1241 w 1518"/>
                <a:gd name="T3" fmla="*/ 80 h 2478"/>
                <a:gd name="T4" fmla="*/ 1261 w 1518"/>
                <a:gd name="T5" fmla="*/ 170 h 2478"/>
                <a:gd name="T6" fmla="*/ 1162 w 1518"/>
                <a:gd name="T7" fmla="*/ 385 h 2478"/>
                <a:gd name="T8" fmla="*/ 942 w 1518"/>
                <a:gd name="T9" fmla="*/ 859 h 2478"/>
                <a:gd name="T10" fmla="*/ 865 w 1518"/>
                <a:gd name="T11" fmla="*/ 1016 h 2478"/>
                <a:gd name="T12" fmla="*/ 871 w 1518"/>
                <a:gd name="T13" fmla="*/ 1021 h 2478"/>
                <a:gd name="T14" fmla="*/ 892 w 1518"/>
                <a:gd name="T15" fmla="*/ 1034 h 2478"/>
                <a:gd name="T16" fmla="*/ 938 w 1518"/>
                <a:gd name="T17" fmla="*/ 1064 h 2478"/>
                <a:gd name="T18" fmla="*/ 1015 w 1518"/>
                <a:gd name="T19" fmla="*/ 1114 h 2478"/>
                <a:gd name="T20" fmla="*/ 1136 w 1518"/>
                <a:gd name="T21" fmla="*/ 1191 h 2478"/>
                <a:gd name="T22" fmla="*/ 1307 w 1518"/>
                <a:gd name="T23" fmla="*/ 1301 h 2478"/>
                <a:gd name="T24" fmla="*/ 1420 w 1518"/>
                <a:gd name="T25" fmla="*/ 1381 h 2478"/>
                <a:gd name="T26" fmla="*/ 1478 w 1518"/>
                <a:gd name="T27" fmla="*/ 1461 h 2478"/>
                <a:gd name="T28" fmla="*/ 1513 w 1518"/>
                <a:gd name="T29" fmla="*/ 1552 h 2478"/>
                <a:gd name="T30" fmla="*/ 1510 w 1518"/>
                <a:gd name="T31" fmla="*/ 1629 h 2478"/>
                <a:gd name="T32" fmla="*/ 1510 w 1518"/>
                <a:gd name="T33" fmla="*/ 1631 h 2478"/>
                <a:gd name="T34" fmla="*/ 1503 w 1518"/>
                <a:gd name="T35" fmla="*/ 1639 h 2478"/>
                <a:gd name="T36" fmla="*/ 1486 w 1518"/>
                <a:gd name="T37" fmla="*/ 1666 h 2478"/>
                <a:gd name="T38" fmla="*/ 1452 w 1518"/>
                <a:gd name="T39" fmla="*/ 1715 h 2478"/>
                <a:gd name="T40" fmla="*/ 1396 w 1518"/>
                <a:gd name="T41" fmla="*/ 1795 h 2478"/>
                <a:gd name="T42" fmla="*/ 1313 w 1518"/>
                <a:gd name="T43" fmla="*/ 1917 h 2478"/>
                <a:gd name="T44" fmla="*/ 1195 w 1518"/>
                <a:gd name="T45" fmla="*/ 2086 h 2478"/>
                <a:gd name="T46" fmla="*/ 1097 w 1518"/>
                <a:gd name="T47" fmla="*/ 2233 h 2478"/>
                <a:gd name="T48" fmla="*/ 1091 w 1518"/>
                <a:gd name="T49" fmla="*/ 2244 h 2478"/>
                <a:gd name="T50" fmla="*/ 1088 w 1518"/>
                <a:gd name="T51" fmla="*/ 2248 h 2478"/>
                <a:gd name="T52" fmla="*/ 965 w 1518"/>
                <a:gd name="T53" fmla="*/ 2382 h 2478"/>
                <a:gd name="T54" fmla="*/ 806 w 1518"/>
                <a:gd name="T55" fmla="*/ 2460 h 2478"/>
                <a:gd name="T56" fmla="*/ 626 w 1518"/>
                <a:gd name="T57" fmla="*/ 2477 h 2478"/>
                <a:gd name="T58" fmla="*/ 446 w 1518"/>
                <a:gd name="T59" fmla="*/ 2425 h 2478"/>
                <a:gd name="T60" fmla="*/ 318 w 1518"/>
                <a:gd name="T61" fmla="*/ 2322 h 2478"/>
                <a:gd name="T62" fmla="*/ 242 w 1518"/>
                <a:gd name="T63" fmla="*/ 2223 h 2478"/>
                <a:gd name="T64" fmla="*/ 213 w 1518"/>
                <a:gd name="T65" fmla="*/ 2159 h 2478"/>
                <a:gd name="T66" fmla="*/ 187 w 1518"/>
                <a:gd name="T67" fmla="*/ 2034 h 2478"/>
                <a:gd name="T68" fmla="*/ 135 w 1518"/>
                <a:gd name="T69" fmla="*/ 1619 h 2478"/>
                <a:gd name="T70" fmla="*/ 73 w 1518"/>
                <a:gd name="T71" fmla="*/ 1068 h 2478"/>
                <a:gd name="T72" fmla="*/ 34 w 1518"/>
                <a:gd name="T73" fmla="*/ 832 h 2478"/>
                <a:gd name="T74" fmla="*/ 15 w 1518"/>
                <a:gd name="T75" fmla="*/ 752 h 2478"/>
                <a:gd name="T76" fmla="*/ 1 w 1518"/>
                <a:gd name="T77" fmla="*/ 676 h 2478"/>
                <a:gd name="T78" fmla="*/ 7 w 1518"/>
                <a:gd name="T79" fmla="*/ 620 h 2478"/>
                <a:gd name="T80" fmla="*/ 46 w 1518"/>
                <a:gd name="T81" fmla="*/ 598 h 2478"/>
                <a:gd name="T82" fmla="*/ 149 w 1518"/>
                <a:gd name="T83" fmla="*/ 621 h 2478"/>
                <a:gd name="T84" fmla="*/ 250 w 1518"/>
                <a:gd name="T85" fmla="*/ 690 h 2478"/>
                <a:gd name="T86" fmla="*/ 324 w 1518"/>
                <a:gd name="T87" fmla="*/ 777 h 2478"/>
                <a:gd name="T88" fmla="*/ 349 w 1518"/>
                <a:gd name="T89" fmla="*/ 838 h 2478"/>
                <a:gd name="T90" fmla="*/ 363 w 1518"/>
                <a:gd name="T91" fmla="*/ 890 h 2478"/>
                <a:gd name="T92" fmla="*/ 384 w 1518"/>
                <a:gd name="T93" fmla="*/ 979 h 2478"/>
                <a:gd name="T94" fmla="*/ 407 w 1518"/>
                <a:gd name="T95" fmla="*/ 1080 h 2478"/>
                <a:gd name="T96" fmla="*/ 424 w 1518"/>
                <a:gd name="T97" fmla="*/ 1163 h 2478"/>
                <a:gd name="T98" fmla="*/ 568 w 1518"/>
                <a:gd name="T99" fmla="*/ 920 h 2478"/>
                <a:gd name="T100" fmla="*/ 786 w 1518"/>
                <a:gd name="T101" fmla="*/ 506 h 2478"/>
                <a:gd name="T102" fmla="*/ 990 w 1518"/>
                <a:gd name="T103" fmla="*/ 105 h 2478"/>
                <a:gd name="T104" fmla="*/ 1048 w 1518"/>
                <a:gd name="T105" fmla="*/ 31 h 2478"/>
                <a:gd name="T106" fmla="*/ 1119 w 1518"/>
                <a:gd name="T107" fmla="*/ 0 h 2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8" h="2478">
                  <a:moveTo>
                    <a:pt x="1119" y="0"/>
                  </a:moveTo>
                  <a:lnTo>
                    <a:pt x="1148" y="4"/>
                  </a:lnTo>
                  <a:lnTo>
                    <a:pt x="1176" y="17"/>
                  </a:lnTo>
                  <a:lnTo>
                    <a:pt x="1203" y="32"/>
                  </a:lnTo>
                  <a:lnTo>
                    <a:pt x="1223" y="53"/>
                  </a:lnTo>
                  <a:lnTo>
                    <a:pt x="1241" y="80"/>
                  </a:lnTo>
                  <a:lnTo>
                    <a:pt x="1253" y="108"/>
                  </a:lnTo>
                  <a:lnTo>
                    <a:pt x="1261" y="139"/>
                  </a:lnTo>
                  <a:lnTo>
                    <a:pt x="1261" y="170"/>
                  </a:lnTo>
                  <a:lnTo>
                    <a:pt x="1255" y="201"/>
                  </a:lnTo>
                  <a:lnTo>
                    <a:pt x="1241" y="231"/>
                  </a:lnTo>
                  <a:lnTo>
                    <a:pt x="1162" y="385"/>
                  </a:lnTo>
                  <a:lnTo>
                    <a:pt x="1090" y="543"/>
                  </a:lnTo>
                  <a:lnTo>
                    <a:pt x="1017" y="700"/>
                  </a:lnTo>
                  <a:lnTo>
                    <a:pt x="942" y="859"/>
                  </a:lnTo>
                  <a:lnTo>
                    <a:pt x="864" y="1016"/>
                  </a:lnTo>
                  <a:lnTo>
                    <a:pt x="864" y="1016"/>
                  </a:lnTo>
                  <a:lnTo>
                    <a:pt x="865" y="1016"/>
                  </a:lnTo>
                  <a:lnTo>
                    <a:pt x="865" y="1018"/>
                  </a:lnTo>
                  <a:lnTo>
                    <a:pt x="868" y="1018"/>
                  </a:lnTo>
                  <a:lnTo>
                    <a:pt x="871" y="1021"/>
                  </a:lnTo>
                  <a:lnTo>
                    <a:pt x="876" y="1024"/>
                  </a:lnTo>
                  <a:lnTo>
                    <a:pt x="883" y="1028"/>
                  </a:lnTo>
                  <a:lnTo>
                    <a:pt x="892" y="1034"/>
                  </a:lnTo>
                  <a:lnTo>
                    <a:pt x="905" y="1041"/>
                  </a:lnTo>
                  <a:lnTo>
                    <a:pt x="920" y="1052"/>
                  </a:lnTo>
                  <a:lnTo>
                    <a:pt x="938" y="1064"/>
                  </a:lnTo>
                  <a:lnTo>
                    <a:pt x="960" y="1077"/>
                  </a:lnTo>
                  <a:lnTo>
                    <a:pt x="986" y="1095"/>
                  </a:lnTo>
                  <a:lnTo>
                    <a:pt x="1015" y="1114"/>
                  </a:lnTo>
                  <a:lnTo>
                    <a:pt x="1051" y="1136"/>
                  </a:lnTo>
                  <a:lnTo>
                    <a:pt x="1091" y="1162"/>
                  </a:lnTo>
                  <a:lnTo>
                    <a:pt x="1136" y="1191"/>
                  </a:lnTo>
                  <a:lnTo>
                    <a:pt x="1186" y="1224"/>
                  </a:lnTo>
                  <a:lnTo>
                    <a:pt x="1243" y="1261"/>
                  </a:lnTo>
                  <a:lnTo>
                    <a:pt x="1307" y="1301"/>
                  </a:lnTo>
                  <a:lnTo>
                    <a:pt x="1376" y="1346"/>
                  </a:lnTo>
                  <a:lnTo>
                    <a:pt x="1397" y="1362"/>
                  </a:lnTo>
                  <a:lnTo>
                    <a:pt x="1420" y="1381"/>
                  </a:lnTo>
                  <a:lnTo>
                    <a:pt x="1440" y="1405"/>
                  </a:lnTo>
                  <a:lnTo>
                    <a:pt x="1460" y="1432"/>
                  </a:lnTo>
                  <a:lnTo>
                    <a:pt x="1478" y="1461"/>
                  </a:lnTo>
                  <a:lnTo>
                    <a:pt x="1492" y="1491"/>
                  </a:lnTo>
                  <a:lnTo>
                    <a:pt x="1504" y="1521"/>
                  </a:lnTo>
                  <a:lnTo>
                    <a:pt x="1513" y="1552"/>
                  </a:lnTo>
                  <a:lnTo>
                    <a:pt x="1518" y="1580"/>
                  </a:lnTo>
                  <a:lnTo>
                    <a:pt x="1516" y="1607"/>
                  </a:lnTo>
                  <a:lnTo>
                    <a:pt x="1510" y="1629"/>
                  </a:lnTo>
                  <a:lnTo>
                    <a:pt x="1510" y="1629"/>
                  </a:lnTo>
                  <a:lnTo>
                    <a:pt x="1510" y="1631"/>
                  </a:lnTo>
                  <a:lnTo>
                    <a:pt x="1510" y="1631"/>
                  </a:lnTo>
                  <a:lnTo>
                    <a:pt x="1509" y="1632"/>
                  </a:lnTo>
                  <a:lnTo>
                    <a:pt x="1507" y="1635"/>
                  </a:lnTo>
                  <a:lnTo>
                    <a:pt x="1503" y="1639"/>
                  </a:lnTo>
                  <a:lnTo>
                    <a:pt x="1500" y="1647"/>
                  </a:lnTo>
                  <a:lnTo>
                    <a:pt x="1494" y="1654"/>
                  </a:lnTo>
                  <a:lnTo>
                    <a:pt x="1486" y="1666"/>
                  </a:lnTo>
                  <a:lnTo>
                    <a:pt x="1476" y="1680"/>
                  </a:lnTo>
                  <a:lnTo>
                    <a:pt x="1466" y="1696"/>
                  </a:lnTo>
                  <a:lnTo>
                    <a:pt x="1452" y="1715"/>
                  </a:lnTo>
                  <a:lnTo>
                    <a:pt x="1436" y="1737"/>
                  </a:lnTo>
                  <a:lnTo>
                    <a:pt x="1418" y="1764"/>
                  </a:lnTo>
                  <a:lnTo>
                    <a:pt x="1396" y="1795"/>
                  </a:lnTo>
                  <a:lnTo>
                    <a:pt x="1372" y="1831"/>
                  </a:lnTo>
                  <a:lnTo>
                    <a:pt x="1344" y="1871"/>
                  </a:lnTo>
                  <a:lnTo>
                    <a:pt x="1313" y="1917"/>
                  </a:lnTo>
                  <a:lnTo>
                    <a:pt x="1277" y="1967"/>
                  </a:lnTo>
                  <a:lnTo>
                    <a:pt x="1238" y="2024"/>
                  </a:lnTo>
                  <a:lnTo>
                    <a:pt x="1195" y="2086"/>
                  </a:lnTo>
                  <a:lnTo>
                    <a:pt x="1149" y="2154"/>
                  </a:lnTo>
                  <a:lnTo>
                    <a:pt x="1097" y="2229"/>
                  </a:lnTo>
                  <a:lnTo>
                    <a:pt x="1097" y="2233"/>
                  </a:lnTo>
                  <a:lnTo>
                    <a:pt x="1096" y="2238"/>
                  </a:lnTo>
                  <a:lnTo>
                    <a:pt x="1093" y="2241"/>
                  </a:lnTo>
                  <a:lnTo>
                    <a:pt x="1091" y="2244"/>
                  </a:lnTo>
                  <a:lnTo>
                    <a:pt x="1090" y="2246"/>
                  </a:lnTo>
                  <a:lnTo>
                    <a:pt x="1088" y="2248"/>
                  </a:lnTo>
                  <a:lnTo>
                    <a:pt x="1088" y="2248"/>
                  </a:lnTo>
                  <a:lnTo>
                    <a:pt x="1052" y="2298"/>
                  </a:lnTo>
                  <a:lnTo>
                    <a:pt x="1011" y="2343"/>
                  </a:lnTo>
                  <a:lnTo>
                    <a:pt x="965" y="2382"/>
                  </a:lnTo>
                  <a:lnTo>
                    <a:pt x="914" y="2414"/>
                  </a:lnTo>
                  <a:lnTo>
                    <a:pt x="861" y="2441"/>
                  </a:lnTo>
                  <a:lnTo>
                    <a:pt x="806" y="2460"/>
                  </a:lnTo>
                  <a:lnTo>
                    <a:pt x="746" y="2472"/>
                  </a:lnTo>
                  <a:lnTo>
                    <a:pt x="687" y="2478"/>
                  </a:lnTo>
                  <a:lnTo>
                    <a:pt x="626" y="2477"/>
                  </a:lnTo>
                  <a:lnTo>
                    <a:pt x="565" y="2466"/>
                  </a:lnTo>
                  <a:lnTo>
                    <a:pt x="505" y="2450"/>
                  </a:lnTo>
                  <a:lnTo>
                    <a:pt x="446" y="2425"/>
                  </a:lnTo>
                  <a:lnTo>
                    <a:pt x="400" y="2396"/>
                  </a:lnTo>
                  <a:lnTo>
                    <a:pt x="357" y="2361"/>
                  </a:lnTo>
                  <a:lnTo>
                    <a:pt x="318" y="2322"/>
                  </a:lnTo>
                  <a:lnTo>
                    <a:pt x="282" y="2281"/>
                  </a:lnTo>
                  <a:lnTo>
                    <a:pt x="250" y="2239"/>
                  </a:lnTo>
                  <a:lnTo>
                    <a:pt x="242" y="2223"/>
                  </a:lnTo>
                  <a:lnTo>
                    <a:pt x="232" y="2202"/>
                  </a:lnTo>
                  <a:lnTo>
                    <a:pt x="221" y="2181"/>
                  </a:lnTo>
                  <a:lnTo>
                    <a:pt x="213" y="2159"/>
                  </a:lnTo>
                  <a:lnTo>
                    <a:pt x="201" y="2119"/>
                  </a:lnTo>
                  <a:lnTo>
                    <a:pt x="192" y="2077"/>
                  </a:lnTo>
                  <a:lnTo>
                    <a:pt x="187" y="2034"/>
                  </a:lnTo>
                  <a:lnTo>
                    <a:pt x="186" y="1987"/>
                  </a:lnTo>
                  <a:lnTo>
                    <a:pt x="158" y="1803"/>
                  </a:lnTo>
                  <a:lnTo>
                    <a:pt x="135" y="1619"/>
                  </a:lnTo>
                  <a:lnTo>
                    <a:pt x="116" y="1436"/>
                  </a:lnTo>
                  <a:lnTo>
                    <a:pt x="95" y="1252"/>
                  </a:lnTo>
                  <a:lnTo>
                    <a:pt x="73" y="1068"/>
                  </a:lnTo>
                  <a:lnTo>
                    <a:pt x="46" y="881"/>
                  </a:lnTo>
                  <a:lnTo>
                    <a:pt x="42" y="857"/>
                  </a:lnTo>
                  <a:lnTo>
                    <a:pt x="34" y="832"/>
                  </a:lnTo>
                  <a:lnTo>
                    <a:pt x="28" y="805"/>
                  </a:lnTo>
                  <a:lnTo>
                    <a:pt x="21" y="779"/>
                  </a:lnTo>
                  <a:lnTo>
                    <a:pt x="15" y="752"/>
                  </a:lnTo>
                  <a:lnTo>
                    <a:pt x="9" y="725"/>
                  </a:lnTo>
                  <a:lnTo>
                    <a:pt x="4" y="700"/>
                  </a:lnTo>
                  <a:lnTo>
                    <a:pt x="1" y="676"/>
                  </a:lnTo>
                  <a:lnTo>
                    <a:pt x="0" y="654"/>
                  </a:lnTo>
                  <a:lnTo>
                    <a:pt x="1" y="635"/>
                  </a:lnTo>
                  <a:lnTo>
                    <a:pt x="7" y="620"/>
                  </a:lnTo>
                  <a:lnTo>
                    <a:pt x="15" y="608"/>
                  </a:lnTo>
                  <a:lnTo>
                    <a:pt x="28" y="601"/>
                  </a:lnTo>
                  <a:lnTo>
                    <a:pt x="46" y="598"/>
                  </a:lnTo>
                  <a:lnTo>
                    <a:pt x="79" y="599"/>
                  </a:lnTo>
                  <a:lnTo>
                    <a:pt x="113" y="607"/>
                  </a:lnTo>
                  <a:lnTo>
                    <a:pt x="149" y="621"/>
                  </a:lnTo>
                  <a:lnTo>
                    <a:pt x="183" y="641"/>
                  </a:lnTo>
                  <a:lnTo>
                    <a:pt x="217" y="663"/>
                  </a:lnTo>
                  <a:lnTo>
                    <a:pt x="250" y="690"/>
                  </a:lnTo>
                  <a:lnTo>
                    <a:pt x="278" y="718"/>
                  </a:lnTo>
                  <a:lnTo>
                    <a:pt x="303" y="748"/>
                  </a:lnTo>
                  <a:lnTo>
                    <a:pt x="324" y="777"/>
                  </a:lnTo>
                  <a:lnTo>
                    <a:pt x="339" y="807"/>
                  </a:lnTo>
                  <a:lnTo>
                    <a:pt x="348" y="835"/>
                  </a:lnTo>
                  <a:lnTo>
                    <a:pt x="349" y="838"/>
                  </a:lnTo>
                  <a:lnTo>
                    <a:pt x="352" y="850"/>
                  </a:lnTo>
                  <a:lnTo>
                    <a:pt x="357" y="868"/>
                  </a:lnTo>
                  <a:lnTo>
                    <a:pt x="363" y="890"/>
                  </a:lnTo>
                  <a:lnTo>
                    <a:pt x="369" y="917"/>
                  </a:lnTo>
                  <a:lnTo>
                    <a:pt x="376" y="946"/>
                  </a:lnTo>
                  <a:lnTo>
                    <a:pt x="384" y="979"/>
                  </a:lnTo>
                  <a:lnTo>
                    <a:pt x="392" y="1013"/>
                  </a:lnTo>
                  <a:lnTo>
                    <a:pt x="400" y="1047"/>
                  </a:lnTo>
                  <a:lnTo>
                    <a:pt x="407" y="1080"/>
                  </a:lnTo>
                  <a:lnTo>
                    <a:pt x="415" y="1111"/>
                  </a:lnTo>
                  <a:lnTo>
                    <a:pt x="419" y="1139"/>
                  </a:lnTo>
                  <a:lnTo>
                    <a:pt x="424" y="1163"/>
                  </a:lnTo>
                  <a:lnTo>
                    <a:pt x="427" y="1184"/>
                  </a:lnTo>
                  <a:lnTo>
                    <a:pt x="496" y="1053"/>
                  </a:lnTo>
                  <a:lnTo>
                    <a:pt x="568" y="920"/>
                  </a:lnTo>
                  <a:lnTo>
                    <a:pt x="641" y="783"/>
                  </a:lnTo>
                  <a:lnTo>
                    <a:pt x="714" y="644"/>
                  </a:lnTo>
                  <a:lnTo>
                    <a:pt x="786" y="506"/>
                  </a:lnTo>
                  <a:lnTo>
                    <a:pt x="856" y="369"/>
                  </a:lnTo>
                  <a:lnTo>
                    <a:pt x="925" y="236"/>
                  </a:lnTo>
                  <a:lnTo>
                    <a:pt x="990" y="105"/>
                  </a:lnTo>
                  <a:lnTo>
                    <a:pt x="1008" y="77"/>
                  </a:lnTo>
                  <a:lnTo>
                    <a:pt x="1027" y="52"/>
                  </a:lnTo>
                  <a:lnTo>
                    <a:pt x="1048" y="31"/>
                  </a:lnTo>
                  <a:lnTo>
                    <a:pt x="1070" y="14"/>
                  </a:lnTo>
                  <a:lnTo>
                    <a:pt x="1094" y="4"/>
                  </a:lnTo>
                  <a:lnTo>
                    <a:pt x="1119" y="0"/>
                  </a:lnTo>
                  <a:close/>
                </a:path>
              </a:pathLst>
            </a:custGeom>
            <a:solidFill>
              <a:schemeClr val="bg1"/>
            </a:solidFill>
            <a:ln w="127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9950644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295163" y="5441590"/>
            <a:ext cx="2122186" cy="50966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pPr defTabSz="931077"/>
            <a:r>
              <a:rPr lang="en-US" sz="1400" dirty="0">
                <a:solidFill>
                  <a:schemeClr val="tx1"/>
                </a:solidFill>
              </a:rPr>
              <a:t>Crisp text </a:t>
            </a:r>
            <a:r>
              <a:rPr lang="en-US" sz="1400" dirty="0" smtClean="0">
                <a:solidFill>
                  <a:schemeClr val="tx1"/>
                </a:solidFill>
              </a:rPr>
              <a:t>always</a:t>
            </a:r>
            <a:endParaRPr lang="en-US" sz="1400" dirty="0">
              <a:solidFill>
                <a:schemeClr val="tx1"/>
              </a:solidFill>
            </a:endParaRPr>
          </a:p>
        </p:txBody>
      </p:sp>
      <p:sp>
        <p:nvSpPr>
          <p:cNvPr id="2" name="Title 1"/>
          <p:cNvSpPr>
            <a:spLocks noGrp="1"/>
          </p:cNvSpPr>
          <p:nvPr>
            <p:ph type="title"/>
          </p:nvPr>
        </p:nvSpPr>
        <p:spPr>
          <a:xfrm>
            <a:off x="291494" y="317483"/>
            <a:ext cx="11375536" cy="738664"/>
          </a:xfrm>
        </p:spPr>
        <p:txBody>
          <a:bodyPr/>
          <a:lstStyle/>
          <a:p>
            <a:r>
              <a:rPr lang="en-US" dirty="0" smtClean="0"/>
              <a:t>What is a rich user experience?</a:t>
            </a:r>
            <a:endParaRPr lang="en-US" dirty="0"/>
          </a:p>
        </p:txBody>
      </p:sp>
      <p:sp>
        <p:nvSpPr>
          <p:cNvPr id="11" name="TextBox 10"/>
          <p:cNvSpPr txBox="1"/>
          <p:nvPr/>
        </p:nvSpPr>
        <p:spPr>
          <a:xfrm>
            <a:off x="10491260" y="97478"/>
            <a:ext cx="1452179" cy="172647"/>
          </a:xfrm>
          <a:prstGeom prst="rect">
            <a:avLst/>
          </a:prstGeom>
          <a:noFill/>
        </p:spPr>
        <p:txBody>
          <a:bodyPr wrap="square" lIns="0" tIns="0" rIns="0" bIns="0" rtlCol="0">
            <a:spAutoFit/>
          </a:bodyPr>
          <a:lstStyle/>
          <a:p>
            <a:pPr algn="ctr" defTabSz="931077">
              <a:lnSpc>
                <a:spcPct val="90000"/>
              </a:lnSpc>
            </a:pPr>
            <a:r>
              <a:rPr lang="en-US" sz="1224" dirty="0">
                <a:solidFill>
                  <a:srgbClr val="FFFFFF"/>
                </a:solidFill>
                <a:cs typeface="Arial" pitchFamily="34" charset="0"/>
              </a:rPr>
              <a:t>DIRECTACCES</a:t>
            </a:r>
          </a:p>
        </p:txBody>
      </p:sp>
      <p:sp>
        <p:nvSpPr>
          <p:cNvPr id="13" name="Rectangle 12"/>
          <p:cNvSpPr/>
          <p:nvPr/>
        </p:nvSpPr>
        <p:spPr bwMode="auto">
          <a:xfrm>
            <a:off x="283634" y="5628685"/>
            <a:ext cx="2353649" cy="8419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pPr defTabSz="931077"/>
            <a:r>
              <a:rPr lang="en-US" sz="1400" dirty="0">
                <a:solidFill>
                  <a:schemeClr val="tx1"/>
                </a:solidFill>
              </a:rPr>
              <a:t>Aero always on, rich new Windows UI</a:t>
            </a:r>
          </a:p>
        </p:txBody>
      </p:sp>
      <p:sp>
        <p:nvSpPr>
          <p:cNvPr id="14" name="Rectangle 13"/>
          <p:cNvSpPr/>
          <p:nvPr/>
        </p:nvSpPr>
        <p:spPr bwMode="auto">
          <a:xfrm>
            <a:off x="286265" y="4600631"/>
            <a:ext cx="2351018" cy="10538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pPr defTabSz="931077"/>
            <a:r>
              <a:rPr lang="en-US" sz="1400" dirty="0">
                <a:solidFill>
                  <a:schemeClr val="tx1"/>
                </a:solidFill>
              </a:rPr>
              <a:t>Adaptive graphics remoting based on content type</a:t>
            </a:r>
          </a:p>
        </p:txBody>
      </p:sp>
      <p:sp>
        <p:nvSpPr>
          <p:cNvPr id="15" name="Rectangle 14"/>
          <p:cNvSpPr/>
          <p:nvPr/>
        </p:nvSpPr>
        <p:spPr bwMode="auto">
          <a:xfrm>
            <a:off x="10146422" y="4592164"/>
            <a:ext cx="2346326" cy="10533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600" tIns="0" rIns="155140" bIns="186235" numCol="1" spcCol="0" rtlCol="0" fromWordArt="0" anchor="b" anchorCtr="0" forceAA="0" compatLnSpc="1">
            <a:prstTxWarp prst="textNoShape">
              <a:avLst/>
            </a:prstTxWarp>
            <a:noAutofit/>
          </a:bodyPr>
          <a:lstStyle/>
          <a:p>
            <a:pPr defTabSz="931077"/>
            <a:r>
              <a:rPr lang="en-US" sz="1400" dirty="0">
                <a:solidFill>
                  <a:schemeClr val="tx1"/>
                </a:solidFill>
              </a:rPr>
              <a:t>RemoteApp programs integrate </a:t>
            </a:r>
            <a:r>
              <a:rPr lang="en-US" sz="1400" dirty="0" smtClean="0">
                <a:solidFill>
                  <a:schemeClr val="tx1"/>
                </a:solidFill>
              </a:rPr>
              <a:t>seamlessly </a:t>
            </a:r>
            <a:r>
              <a:rPr lang="en-US" sz="1400" dirty="0">
                <a:solidFill>
                  <a:schemeClr val="tx1"/>
                </a:solidFill>
              </a:rPr>
              <a:t>with local desktop</a:t>
            </a:r>
          </a:p>
        </p:txBody>
      </p:sp>
      <p:sp>
        <p:nvSpPr>
          <p:cNvPr id="19" name="Rectangle 18"/>
          <p:cNvSpPr/>
          <p:nvPr/>
        </p:nvSpPr>
        <p:spPr bwMode="auto">
          <a:xfrm>
            <a:off x="2515301" y="4751292"/>
            <a:ext cx="2769144" cy="6902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pPr defTabSz="931077"/>
            <a:r>
              <a:rPr lang="en-US" sz="1400" dirty="0">
                <a:solidFill>
                  <a:schemeClr val="tx1"/>
                </a:solidFill>
              </a:rPr>
              <a:t>Reconnect feature for ease of movement across devices</a:t>
            </a:r>
          </a:p>
        </p:txBody>
      </p:sp>
      <p:sp>
        <p:nvSpPr>
          <p:cNvPr id="20" name="Rectangle 19"/>
          <p:cNvSpPr/>
          <p:nvPr/>
        </p:nvSpPr>
        <p:spPr bwMode="auto">
          <a:xfrm>
            <a:off x="5251027" y="4369411"/>
            <a:ext cx="2872848" cy="10663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pPr defTabSz="931077"/>
            <a:r>
              <a:rPr lang="en-US" sz="1400" dirty="0">
                <a:solidFill>
                  <a:schemeClr val="tx1"/>
                </a:solidFill>
              </a:rPr>
              <a:t>Ability to serve </a:t>
            </a:r>
            <a:r>
              <a:rPr lang="en-US" sz="1400" dirty="0" smtClean="0">
                <a:solidFill>
                  <a:schemeClr val="tx1"/>
                </a:solidFill>
              </a:rPr>
              <a:t>desktop </a:t>
            </a:r>
            <a:r>
              <a:rPr lang="en-US" sz="1400" dirty="0">
                <a:solidFill>
                  <a:schemeClr val="tx1"/>
                </a:solidFill>
              </a:rPr>
              <a:t>apps to Windows RT </a:t>
            </a:r>
            <a:r>
              <a:rPr lang="en-US" sz="1400" dirty="0" smtClean="0">
                <a:solidFill>
                  <a:schemeClr val="tx1"/>
                </a:solidFill>
              </a:rPr>
              <a:t>tablet </a:t>
            </a:r>
            <a:r>
              <a:rPr lang="en-US" sz="1400" dirty="0">
                <a:solidFill>
                  <a:schemeClr val="tx1"/>
                </a:solidFill>
              </a:rPr>
              <a:t>users</a:t>
            </a:r>
          </a:p>
        </p:txBody>
      </p:sp>
      <p:sp>
        <p:nvSpPr>
          <p:cNvPr id="21" name="Rectangle 20"/>
          <p:cNvSpPr/>
          <p:nvPr/>
        </p:nvSpPr>
        <p:spPr bwMode="auto">
          <a:xfrm>
            <a:off x="8254679" y="4685222"/>
            <a:ext cx="1837269" cy="5434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600" tIns="0" rIns="155140" bIns="186235" numCol="1" spcCol="0" rtlCol="0" fromWordArt="0" anchor="b" anchorCtr="0" forceAA="0" compatLnSpc="1">
            <a:prstTxWarp prst="textNoShape">
              <a:avLst/>
            </a:prstTxWarp>
            <a:noAutofit/>
          </a:bodyPr>
          <a:lstStyle/>
          <a:p>
            <a:pPr defTabSz="931077"/>
            <a:r>
              <a:rPr lang="en-US" sz="1400" dirty="0">
                <a:solidFill>
                  <a:schemeClr val="tx1"/>
                </a:solidFill>
              </a:rPr>
              <a:t>Full single sign-on</a:t>
            </a:r>
          </a:p>
        </p:txBody>
      </p:sp>
      <p:sp>
        <p:nvSpPr>
          <p:cNvPr id="22" name="Rectangle 21"/>
          <p:cNvSpPr/>
          <p:nvPr/>
        </p:nvSpPr>
        <p:spPr bwMode="auto">
          <a:xfrm>
            <a:off x="5245841" y="5184690"/>
            <a:ext cx="2331508" cy="84191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186521" numCol="1" spcCol="0" rtlCol="0" fromWordArt="0" anchor="b" anchorCtr="0" forceAA="0" compatLnSpc="1">
            <a:prstTxWarp prst="textNoShape">
              <a:avLst/>
            </a:prstTxWarp>
            <a:noAutofit/>
          </a:bodyPr>
          <a:lstStyle/>
          <a:p>
            <a:pPr defTabSz="931077"/>
            <a:r>
              <a:rPr lang="en-US" sz="1400" dirty="0">
                <a:solidFill>
                  <a:schemeClr val="tx1"/>
                </a:solidFill>
              </a:rPr>
              <a:t>Full multitouch and gesture remoting</a:t>
            </a:r>
          </a:p>
        </p:txBody>
      </p:sp>
      <p:pic>
        <p:nvPicPr>
          <p:cNvPr id="24" name="Picture 23"/>
          <p:cNvPicPr>
            <a:picLocks noChangeAspect="1"/>
          </p:cNvPicPr>
          <p:nvPr/>
        </p:nvPicPr>
        <p:blipFill rotWithShape="1">
          <a:blip r:embed="rId3">
            <a:duotone>
              <a:prstClr val="black"/>
              <a:schemeClr val="tx2">
                <a:tint val="45000"/>
                <a:satMod val="400000"/>
              </a:schemeClr>
            </a:duotone>
            <a:extLst>
              <a:ext uri="{BEBA8EAE-BF5A-486C-A8C5-ECC9F3942E4B}">
                <a14:imgProps xmlns:a14="http://schemas.microsoft.com/office/drawing/2010/main">
                  <a14:imgLayer r:embed="rId4">
                    <a14:imgEffect>
                      <a14:brightnessContrast bright="-75000" contrast="-40000"/>
                    </a14:imgEffect>
                  </a14:imgLayer>
                </a14:imgProps>
              </a:ext>
              <a:ext uri="{28A0092B-C50C-407E-A947-70E740481C1C}">
                <a14:useLocalDpi xmlns:a14="http://schemas.microsoft.com/office/drawing/2010/main" val="0"/>
              </a:ext>
            </a:extLst>
          </a:blip>
          <a:srcRect l="-625"/>
          <a:stretch/>
        </p:blipFill>
        <p:spPr>
          <a:xfrm>
            <a:off x="4577084" y="6435831"/>
            <a:ext cx="3126727" cy="321996"/>
          </a:xfrm>
          <a:prstGeom prst="rect">
            <a:avLst/>
          </a:prstGeom>
        </p:spPr>
      </p:pic>
      <p:sp>
        <p:nvSpPr>
          <p:cNvPr id="37" name="Freeform 15"/>
          <p:cNvSpPr>
            <a:spLocks/>
          </p:cNvSpPr>
          <p:nvPr/>
        </p:nvSpPr>
        <p:spPr bwMode="auto">
          <a:xfrm>
            <a:off x="6053138" y="4397376"/>
            <a:ext cx="487363" cy="25400"/>
          </a:xfrm>
          <a:custGeom>
            <a:avLst/>
            <a:gdLst>
              <a:gd name="T0" fmla="*/ 24 w 921"/>
              <a:gd name="T1" fmla="*/ 0 h 46"/>
              <a:gd name="T2" fmla="*/ 899 w 921"/>
              <a:gd name="T3" fmla="*/ 0 h 46"/>
              <a:gd name="T4" fmla="*/ 905 w 921"/>
              <a:gd name="T5" fmla="*/ 1 h 46"/>
              <a:gd name="T6" fmla="*/ 911 w 921"/>
              <a:gd name="T7" fmla="*/ 2 h 46"/>
              <a:gd name="T8" fmla="*/ 916 w 921"/>
              <a:gd name="T9" fmla="*/ 7 h 46"/>
              <a:gd name="T10" fmla="*/ 918 w 921"/>
              <a:gd name="T11" fmla="*/ 11 h 46"/>
              <a:gd name="T12" fmla="*/ 921 w 921"/>
              <a:gd name="T13" fmla="*/ 17 h 46"/>
              <a:gd name="T14" fmla="*/ 921 w 921"/>
              <a:gd name="T15" fmla="*/ 23 h 46"/>
              <a:gd name="T16" fmla="*/ 921 w 921"/>
              <a:gd name="T17" fmla="*/ 29 h 46"/>
              <a:gd name="T18" fmla="*/ 918 w 921"/>
              <a:gd name="T19" fmla="*/ 35 h 46"/>
              <a:gd name="T20" fmla="*/ 916 w 921"/>
              <a:gd name="T21" fmla="*/ 40 h 46"/>
              <a:gd name="T22" fmla="*/ 911 w 921"/>
              <a:gd name="T23" fmla="*/ 43 h 46"/>
              <a:gd name="T24" fmla="*/ 905 w 921"/>
              <a:gd name="T25" fmla="*/ 46 h 46"/>
              <a:gd name="T26" fmla="*/ 899 w 921"/>
              <a:gd name="T27" fmla="*/ 46 h 46"/>
              <a:gd name="T28" fmla="*/ 24 w 921"/>
              <a:gd name="T29" fmla="*/ 46 h 46"/>
              <a:gd name="T30" fmla="*/ 18 w 921"/>
              <a:gd name="T31" fmla="*/ 46 h 46"/>
              <a:gd name="T32" fmla="*/ 12 w 921"/>
              <a:gd name="T33" fmla="*/ 43 h 46"/>
              <a:gd name="T34" fmla="*/ 7 w 921"/>
              <a:gd name="T35" fmla="*/ 40 h 46"/>
              <a:gd name="T36" fmla="*/ 3 w 921"/>
              <a:gd name="T37" fmla="*/ 35 h 46"/>
              <a:gd name="T38" fmla="*/ 1 w 921"/>
              <a:gd name="T39" fmla="*/ 29 h 46"/>
              <a:gd name="T40" fmla="*/ 0 w 921"/>
              <a:gd name="T41" fmla="*/ 23 h 46"/>
              <a:gd name="T42" fmla="*/ 1 w 921"/>
              <a:gd name="T43" fmla="*/ 17 h 46"/>
              <a:gd name="T44" fmla="*/ 3 w 921"/>
              <a:gd name="T45" fmla="*/ 11 h 46"/>
              <a:gd name="T46" fmla="*/ 7 w 921"/>
              <a:gd name="T47" fmla="*/ 7 h 46"/>
              <a:gd name="T48" fmla="*/ 12 w 921"/>
              <a:gd name="T49" fmla="*/ 2 h 46"/>
              <a:gd name="T50" fmla="*/ 18 w 921"/>
              <a:gd name="T51" fmla="*/ 1 h 46"/>
              <a:gd name="T52" fmla="*/ 24 w 921"/>
              <a:gd name="T5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1" h="46">
                <a:moveTo>
                  <a:pt x="24" y="0"/>
                </a:moveTo>
                <a:lnTo>
                  <a:pt x="899" y="0"/>
                </a:lnTo>
                <a:lnTo>
                  <a:pt x="905" y="1"/>
                </a:lnTo>
                <a:lnTo>
                  <a:pt x="911" y="2"/>
                </a:lnTo>
                <a:lnTo>
                  <a:pt x="916" y="7"/>
                </a:lnTo>
                <a:lnTo>
                  <a:pt x="918" y="11"/>
                </a:lnTo>
                <a:lnTo>
                  <a:pt x="921" y="17"/>
                </a:lnTo>
                <a:lnTo>
                  <a:pt x="921" y="23"/>
                </a:lnTo>
                <a:lnTo>
                  <a:pt x="921" y="29"/>
                </a:lnTo>
                <a:lnTo>
                  <a:pt x="918" y="35"/>
                </a:lnTo>
                <a:lnTo>
                  <a:pt x="916" y="40"/>
                </a:lnTo>
                <a:lnTo>
                  <a:pt x="911" y="43"/>
                </a:lnTo>
                <a:lnTo>
                  <a:pt x="905" y="46"/>
                </a:lnTo>
                <a:lnTo>
                  <a:pt x="899" y="46"/>
                </a:lnTo>
                <a:lnTo>
                  <a:pt x="24" y="46"/>
                </a:lnTo>
                <a:lnTo>
                  <a:pt x="18" y="46"/>
                </a:lnTo>
                <a:lnTo>
                  <a:pt x="12" y="43"/>
                </a:lnTo>
                <a:lnTo>
                  <a:pt x="7" y="40"/>
                </a:lnTo>
                <a:lnTo>
                  <a:pt x="3" y="35"/>
                </a:lnTo>
                <a:lnTo>
                  <a:pt x="1" y="29"/>
                </a:lnTo>
                <a:lnTo>
                  <a:pt x="0" y="23"/>
                </a:lnTo>
                <a:lnTo>
                  <a:pt x="1" y="17"/>
                </a:lnTo>
                <a:lnTo>
                  <a:pt x="3" y="11"/>
                </a:lnTo>
                <a:lnTo>
                  <a:pt x="7" y="7"/>
                </a:lnTo>
                <a:lnTo>
                  <a:pt x="12" y="2"/>
                </a:lnTo>
                <a:lnTo>
                  <a:pt x="18" y="1"/>
                </a:lnTo>
                <a:lnTo>
                  <a:pt x="24"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53" name="Group 52"/>
          <p:cNvGrpSpPr/>
          <p:nvPr/>
        </p:nvGrpSpPr>
        <p:grpSpPr>
          <a:xfrm>
            <a:off x="2833774" y="2312474"/>
            <a:ext cx="1787743" cy="2328929"/>
            <a:chOff x="6675438" y="1883566"/>
            <a:chExt cx="1991799" cy="2594758"/>
          </a:xfrm>
        </p:grpSpPr>
        <p:grpSp>
          <p:nvGrpSpPr>
            <p:cNvPr id="54" name="Group 29"/>
            <p:cNvGrpSpPr>
              <a:grpSpLocks noChangeAspect="1"/>
            </p:cNvGrpSpPr>
            <p:nvPr/>
          </p:nvGrpSpPr>
          <p:grpSpPr bwMode="auto">
            <a:xfrm>
              <a:off x="6675438" y="1883566"/>
              <a:ext cx="1991799" cy="2594758"/>
              <a:chOff x="5121" y="2489"/>
              <a:chExt cx="882" cy="1149"/>
            </a:xfrm>
          </p:grpSpPr>
          <p:sp>
            <p:nvSpPr>
              <p:cNvPr id="64"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1" name="Freeform 5"/>
            <p:cNvSpPr>
              <a:spLocks noEditPoints="1"/>
            </p:cNvSpPr>
            <p:nvPr/>
          </p:nvSpPr>
          <p:spPr bwMode="auto">
            <a:xfrm>
              <a:off x="7093286" y="2641838"/>
              <a:ext cx="769938" cy="828675"/>
            </a:xfrm>
            <a:custGeom>
              <a:avLst/>
              <a:gdLst>
                <a:gd name="T0" fmla="*/ 847 w 986"/>
                <a:gd name="T1" fmla="*/ 545 h 1061"/>
                <a:gd name="T2" fmla="*/ 843 w 986"/>
                <a:gd name="T3" fmla="*/ 595 h 1061"/>
                <a:gd name="T4" fmla="*/ 834 w 986"/>
                <a:gd name="T5" fmla="*/ 635 h 1061"/>
                <a:gd name="T6" fmla="*/ 828 w 986"/>
                <a:gd name="T7" fmla="*/ 656 h 1061"/>
                <a:gd name="T8" fmla="*/ 817 w 986"/>
                <a:gd name="T9" fmla="*/ 684 h 1061"/>
                <a:gd name="T10" fmla="*/ 807 w 986"/>
                <a:gd name="T11" fmla="*/ 703 h 1061"/>
                <a:gd name="T12" fmla="*/ 797 w 986"/>
                <a:gd name="T13" fmla="*/ 721 h 1061"/>
                <a:gd name="T14" fmla="*/ 786 w 986"/>
                <a:gd name="T15" fmla="*/ 738 h 1061"/>
                <a:gd name="T16" fmla="*/ 773 w 986"/>
                <a:gd name="T17" fmla="*/ 757 h 1061"/>
                <a:gd name="T18" fmla="*/ 760 w 986"/>
                <a:gd name="T19" fmla="*/ 773 h 1061"/>
                <a:gd name="T20" fmla="*/ 743 w 986"/>
                <a:gd name="T21" fmla="*/ 790 h 1061"/>
                <a:gd name="T22" fmla="*/ 673 w 986"/>
                <a:gd name="T23" fmla="*/ 845 h 1061"/>
                <a:gd name="T24" fmla="*/ 337 w 986"/>
                <a:gd name="T25" fmla="*/ 696 h 1061"/>
                <a:gd name="T26" fmla="*/ 47 w 986"/>
                <a:gd name="T27" fmla="*/ 986 h 1061"/>
                <a:gd name="T28" fmla="*/ 667 w 986"/>
                <a:gd name="T29" fmla="*/ 1000 h 1061"/>
                <a:gd name="T30" fmla="*/ 853 w 986"/>
                <a:gd name="T31" fmla="*/ 875 h 1061"/>
                <a:gd name="T32" fmla="*/ 871 w 986"/>
                <a:gd name="T33" fmla="*/ 854 h 1061"/>
                <a:gd name="T34" fmla="*/ 888 w 986"/>
                <a:gd name="T35" fmla="*/ 834 h 1061"/>
                <a:gd name="T36" fmla="*/ 903 w 986"/>
                <a:gd name="T37" fmla="*/ 812 h 1061"/>
                <a:gd name="T38" fmla="*/ 916 w 986"/>
                <a:gd name="T39" fmla="*/ 791 h 1061"/>
                <a:gd name="T40" fmla="*/ 930 w 986"/>
                <a:gd name="T41" fmla="*/ 766 h 1061"/>
                <a:gd name="T42" fmla="*/ 942 w 986"/>
                <a:gd name="T43" fmla="*/ 741 h 1061"/>
                <a:gd name="T44" fmla="*/ 952 w 986"/>
                <a:gd name="T45" fmla="*/ 718 h 1061"/>
                <a:gd name="T46" fmla="*/ 960 w 986"/>
                <a:gd name="T47" fmla="*/ 694 h 1061"/>
                <a:gd name="T48" fmla="*/ 968 w 986"/>
                <a:gd name="T49" fmla="*/ 670 h 1061"/>
                <a:gd name="T50" fmla="*/ 979 w 986"/>
                <a:gd name="T51" fmla="*/ 617 h 1061"/>
                <a:gd name="T52" fmla="*/ 982 w 986"/>
                <a:gd name="T53" fmla="*/ 592 h 1061"/>
                <a:gd name="T54" fmla="*/ 984 w 986"/>
                <a:gd name="T55" fmla="*/ 567 h 1061"/>
                <a:gd name="T56" fmla="*/ 985 w 986"/>
                <a:gd name="T57" fmla="*/ 542 h 1061"/>
                <a:gd name="T58" fmla="*/ 841 w 986"/>
                <a:gd name="T59" fmla="*/ 192 h 1061"/>
                <a:gd name="T60" fmla="*/ 132 w 986"/>
                <a:gd name="T61" fmla="*/ 205 h 1061"/>
                <a:gd name="T62" fmla="*/ 114 w 986"/>
                <a:gd name="T63" fmla="*/ 226 h 1061"/>
                <a:gd name="T64" fmla="*/ 98 w 986"/>
                <a:gd name="T65" fmla="*/ 246 h 1061"/>
                <a:gd name="T66" fmla="*/ 83 w 986"/>
                <a:gd name="T67" fmla="*/ 268 h 1061"/>
                <a:gd name="T68" fmla="*/ 70 w 986"/>
                <a:gd name="T69" fmla="*/ 289 h 1061"/>
                <a:gd name="T70" fmla="*/ 56 w 986"/>
                <a:gd name="T71" fmla="*/ 315 h 1061"/>
                <a:gd name="T72" fmla="*/ 44 w 986"/>
                <a:gd name="T73" fmla="*/ 339 h 1061"/>
                <a:gd name="T74" fmla="*/ 34 w 986"/>
                <a:gd name="T75" fmla="*/ 362 h 1061"/>
                <a:gd name="T76" fmla="*/ 26 w 986"/>
                <a:gd name="T77" fmla="*/ 386 h 1061"/>
                <a:gd name="T78" fmla="*/ 18 w 986"/>
                <a:gd name="T79" fmla="*/ 410 h 1061"/>
                <a:gd name="T80" fmla="*/ 7 w 986"/>
                <a:gd name="T81" fmla="*/ 463 h 1061"/>
                <a:gd name="T82" fmla="*/ 4 w 986"/>
                <a:gd name="T83" fmla="*/ 488 h 1061"/>
                <a:gd name="T84" fmla="*/ 2 w 986"/>
                <a:gd name="T85" fmla="*/ 513 h 1061"/>
                <a:gd name="T86" fmla="*/ 1 w 986"/>
                <a:gd name="T87" fmla="*/ 538 h 1061"/>
                <a:gd name="T88" fmla="*/ 142 w 986"/>
                <a:gd name="T89" fmla="*/ 586 h 1061"/>
                <a:gd name="T90" fmla="*/ 139 w 986"/>
                <a:gd name="T91" fmla="*/ 535 h 1061"/>
                <a:gd name="T92" fmla="*/ 143 w 986"/>
                <a:gd name="T93" fmla="*/ 485 h 1061"/>
                <a:gd name="T94" fmla="*/ 152 w 986"/>
                <a:gd name="T95" fmla="*/ 445 h 1061"/>
                <a:gd name="T96" fmla="*/ 158 w 986"/>
                <a:gd name="T97" fmla="*/ 424 h 1061"/>
                <a:gd name="T98" fmla="*/ 169 w 986"/>
                <a:gd name="T99" fmla="*/ 396 h 1061"/>
                <a:gd name="T100" fmla="*/ 179 w 986"/>
                <a:gd name="T101" fmla="*/ 377 h 1061"/>
                <a:gd name="T102" fmla="*/ 189 w 986"/>
                <a:gd name="T103" fmla="*/ 359 h 1061"/>
                <a:gd name="T104" fmla="*/ 200 w 986"/>
                <a:gd name="T105" fmla="*/ 342 h 1061"/>
                <a:gd name="T106" fmla="*/ 213 w 986"/>
                <a:gd name="T107" fmla="*/ 323 h 1061"/>
                <a:gd name="T108" fmla="*/ 226 w 986"/>
                <a:gd name="T109" fmla="*/ 307 h 1061"/>
                <a:gd name="T110" fmla="*/ 243 w 986"/>
                <a:gd name="T111" fmla="*/ 290 h 1061"/>
                <a:gd name="T112" fmla="*/ 338 w 986"/>
                <a:gd name="T113" fmla="*/ 222 h 1061"/>
                <a:gd name="T114" fmla="*/ 972 w 986"/>
                <a:gd name="T115" fmla="*/ 429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6" h="1061">
                  <a:moveTo>
                    <a:pt x="842" y="484"/>
                  </a:moveTo>
                  <a:cubicBezTo>
                    <a:pt x="845" y="500"/>
                    <a:pt x="847" y="518"/>
                    <a:pt x="847" y="535"/>
                  </a:cubicBezTo>
                  <a:cubicBezTo>
                    <a:pt x="847" y="535"/>
                    <a:pt x="847" y="535"/>
                    <a:pt x="847" y="535"/>
                  </a:cubicBezTo>
                  <a:cubicBezTo>
                    <a:pt x="847" y="538"/>
                    <a:pt x="847" y="541"/>
                    <a:pt x="847" y="545"/>
                  </a:cubicBezTo>
                  <a:cubicBezTo>
                    <a:pt x="847" y="545"/>
                    <a:pt x="847" y="545"/>
                    <a:pt x="847" y="545"/>
                  </a:cubicBezTo>
                  <a:cubicBezTo>
                    <a:pt x="847" y="559"/>
                    <a:pt x="846" y="572"/>
                    <a:pt x="844" y="585"/>
                  </a:cubicBezTo>
                  <a:cubicBezTo>
                    <a:pt x="844" y="586"/>
                    <a:pt x="844" y="586"/>
                    <a:pt x="844" y="586"/>
                  </a:cubicBezTo>
                  <a:cubicBezTo>
                    <a:pt x="844" y="589"/>
                    <a:pt x="843" y="592"/>
                    <a:pt x="843" y="595"/>
                  </a:cubicBezTo>
                  <a:cubicBezTo>
                    <a:pt x="843" y="596"/>
                    <a:pt x="843" y="596"/>
                    <a:pt x="842" y="596"/>
                  </a:cubicBezTo>
                  <a:cubicBezTo>
                    <a:pt x="841" y="606"/>
                    <a:pt x="839" y="616"/>
                    <a:pt x="836" y="626"/>
                  </a:cubicBezTo>
                  <a:cubicBezTo>
                    <a:pt x="836" y="627"/>
                    <a:pt x="836" y="627"/>
                    <a:pt x="836" y="627"/>
                  </a:cubicBezTo>
                  <a:cubicBezTo>
                    <a:pt x="835" y="630"/>
                    <a:pt x="835" y="633"/>
                    <a:pt x="834" y="635"/>
                  </a:cubicBezTo>
                  <a:cubicBezTo>
                    <a:pt x="834" y="636"/>
                    <a:pt x="834" y="637"/>
                    <a:pt x="833" y="637"/>
                  </a:cubicBezTo>
                  <a:cubicBezTo>
                    <a:pt x="833" y="640"/>
                    <a:pt x="832" y="642"/>
                    <a:pt x="831" y="645"/>
                  </a:cubicBezTo>
                  <a:cubicBezTo>
                    <a:pt x="831" y="646"/>
                    <a:pt x="831" y="646"/>
                    <a:pt x="831" y="647"/>
                  </a:cubicBezTo>
                  <a:cubicBezTo>
                    <a:pt x="830" y="650"/>
                    <a:pt x="829" y="653"/>
                    <a:pt x="828" y="656"/>
                  </a:cubicBezTo>
                  <a:cubicBezTo>
                    <a:pt x="828" y="656"/>
                    <a:pt x="828" y="656"/>
                    <a:pt x="827" y="656"/>
                  </a:cubicBezTo>
                  <a:cubicBezTo>
                    <a:pt x="825" y="662"/>
                    <a:pt x="823" y="669"/>
                    <a:pt x="820" y="675"/>
                  </a:cubicBezTo>
                  <a:cubicBezTo>
                    <a:pt x="820" y="676"/>
                    <a:pt x="820" y="676"/>
                    <a:pt x="819" y="677"/>
                  </a:cubicBezTo>
                  <a:cubicBezTo>
                    <a:pt x="819" y="679"/>
                    <a:pt x="818" y="682"/>
                    <a:pt x="817" y="684"/>
                  </a:cubicBezTo>
                  <a:cubicBezTo>
                    <a:pt x="816" y="685"/>
                    <a:pt x="816" y="686"/>
                    <a:pt x="815" y="686"/>
                  </a:cubicBezTo>
                  <a:cubicBezTo>
                    <a:pt x="814" y="689"/>
                    <a:pt x="813" y="691"/>
                    <a:pt x="812" y="693"/>
                  </a:cubicBezTo>
                  <a:cubicBezTo>
                    <a:pt x="812" y="694"/>
                    <a:pt x="812" y="695"/>
                    <a:pt x="811" y="695"/>
                  </a:cubicBezTo>
                  <a:cubicBezTo>
                    <a:pt x="810" y="698"/>
                    <a:pt x="809" y="701"/>
                    <a:pt x="807" y="703"/>
                  </a:cubicBezTo>
                  <a:cubicBezTo>
                    <a:pt x="807" y="703"/>
                    <a:pt x="807" y="704"/>
                    <a:pt x="807" y="704"/>
                  </a:cubicBezTo>
                  <a:cubicBezTo>
                    <a:pt x="805" y="707"/>
                    <a:pt x="804" y="710"/>
                    <a:pt x="802" y="713"/>
                  </a:cubicBezTo>
                  <a:cubicBezTo>
                    <a:pt x="802" y="713"/>
                    <a:pt x="801" y="714"/>
                    <a:pt x="801" y="715"/>
                  </a:cubicBezTo>
                  <a:cubicBezTo>
                    <a:pt x="800" y="717"/>
                    <a:pt x="798" y="719"/>
                    <a:pt x="797" y="721"/>
                  </a:cubicBezTo>
                  <a:cubicBezTo>
                    <a:pt x="797" y="722"/>
                    <a:pt x="796" y="723"/>
                    <a:pt x="795" y="724"/>
                  </a:cubicBezTo>
                  <a:cubicBezTo>
                    <a:pt x="794" y="726"/>
                    <a:pt x="793" y="728"/>
                    <a:pt x="792" y="730"/>
                  </a:cubicBezTo>
                  <a:cubicBezTo>
                    <a:pt x="791" y="731"/>
                    <a:pt x="791" y="732"/>
                    <a:pt x="790" y="733"/>
                  </a:cubicBezTo>
                  <a:cubicBezTo>
                    <a:pt x="789" y="735"/>
                    <a:pt x="787" y="737"/>
                    <a:pt x="786" y="738"/>
                  </a:cubicBezTo>
                  <a:cubicBezTo>
                    <a:pt x="786" y="739"/>
                    <a:pt x="785" y="740"/>
                    <a:pt x="784" y="741"/>
                  </a:cubicBezTo>
                  <a:cubicBezTo>
                    <a:pt x="783" y="743"/>
                    <a:pt x="781" y="746"/>
                    <a:pt x="779" y="748"/>
                  </a:cubicBezTo>
                  <a:cubicBezTo>
                    <a:pt x="779" y="749"/>
                    <a:pt x="779" y="749"/>
                    <a:pt x="779" y="749"/>
                  </a:cubicBezTo>
                  <a:cubicBezTo>
                    <a:pt x="777" y="752"/>
                    <a:pt x="775" y="754"/>
                    <a:pt x="773" y="757"/>
                  </a:cubicBezTo>
                  <a:cubicBezTo>
                    <a:pt x="772" y="758"/>
                    <a:pt x="771" y="759"/>
                    <a:pt x="771" y="759"/>
                  </a:cubicBezTo>
                  <a:cubicBezTo>
                    <a:pt x="769" y="761"/>
                    <a:pt x="768" y="763"/>
                    <a:pt x="766" y="765"/>
                  </a:cubicBezTo>
                  <a:cubicBezTo>
                    <a:pt x="766" y="766"/>
                    <a:pt x="765" y="767"/>
                    <a:pt x="764" y="768"/>
                  </a:cubicBezTo>
                  <a:cubicBezTo>
                    <a:pt x="763" y="769"/>
                    <a:pt x="761" y="771"/>
                    <a:pt x="760" y="773"/>
                  </a:cubicBezTo>
                  <a:cubicBezTo>
                    <a:pt x="759" y="774"/>
                    <a:pt x="758" y="775"/>
                    <a:pt x="757" y="775"/>
                  </a:cubicBezTo>
                  <a:cubicBezTo>
                    <a:pt x="756" y="777"/>
                    <a:pt x="754" y="779"/>
                    <a:pt x="753" y="781"/>
                  </a:cubicBezTo>
                  <a:cubicBezTo>
                    <a:pt x="752" y="781"/>
                    <a:pt x="751" y="782"/>
                    <a:pt x="750" y="783"/>
                  </a:cubicBezTo>
                  <a:cubicBezTo>
                    <a:pt x="748" y="785"/>
                    <a:pt x="746" y="788"/>
                    <a:pt x="743" y="790"/>
                  </a:cubicBezTo>
                  <a:cubicBezTo>
                    <a:pt x="735" y="799"/>
                    <a:pt x="726" y="807"/>
                    <a:pt x="716" y="815"/>
                  </a:cubicBezTo>
                  <a:cubicBezTo>
                    <a:pt x="712" y="818"/>
                    <a:pt x="707" y="822"/>
                    <a:pt x="702" y="826"/>
                  </a:cubicBezTo>
                  <a:cubicBezTo>
                    <a:pt x="698" y="829"/>
                    <a:pt x="693" y="832"/>
                    <a:pt x="688" y="836"/>
                  </a:cubicBezTo>
                  <a:cubicBezTo>
                    <a:pt x="683" y="839"/>
                    <a:pt x="678" y="842"/>
                    <a:pt x="673" y="845"/>
                  </a:cubicBezTo>
                  <a:cubicBezTo>
                    <a:pt x="670" y="846"/>
                    <a:pt x="668" y="848"/>
                    <a:pt x="665" y="849"/>
                  </a:cubicBezTo>
                  <a:cubicBezTo>
                    <a:pt x="648" y="859"/>
                    <a:pt x="631" y="867"/>
                    <a:pt x="613" y="873"/>
                  </a:cubicBezTo>
                  <a:cubicBezTo>
                    <a:pt x="488" y="918"/>
                    <a:pt x="343" y="890"/>
                    <a:pt x="243" y="790"/>
                  </a:cubicBezTo>
                  <a:cubicBezTo>
                    <a:pt x="337" y="696"/>
                    <a:pt x="337" y="696"/>
                    <a:pt x="337" y="696"/>
                  </a:cubicBezTo>
                  <a:cubicBezTo>
                    <a:pt x="165" y="672"/>
                    <a:pt x="165" y="672"/>
                    <a:pt x="165" y="672"/>
                  </a:cubicBezTo>
                  <a:cubicBezTo>
                    <a:pt x="14" y="651"/>
                    <a:pt x="14" y="651"/>
                    <a:pt x="14" y="651"/>
                  </a:cubicBezTo>
                  <a:cubicBezTo>
                    <a:pt x="0" y="649"/>
                    <a:pt x="0" y="649"/>
                    <a:pt x="0" y="649"/>
                  </a:cubicBezTo>
                  <a:cubicBezTo>
                    <a:pt x="47" y="986"/>
                    <a:pt x="47" y="986"/>
                    <a:pt x="47" y="986"/>
                  </a:cubicBezTo>
                  <a:cubicBezTo>
                    <a:pt x="145" y="888"/>
                    <a:pt x="145" y="888"/>
                    <a:pt x="145" y="888"/>
                  </a:cubicBezTo>
                  <a:cubicBezTo>
                    <a:pt x="277" y="1020"/>
                    <a:pt x="466" y="1061"/>
                    <a:pt x="633" y="1012"/>
                  </a:cubicBezTo>
                  <a:cubicBezTo>
                    <a:pt x="637" y="1011"/>
                    <a:pt x="641" y="1009"/>
                    <a:pt x="644" y="1008"/>
                  </a:cubicBezTo>
                  <a:cubicBezTo>
                    <a:pt x="652" y="1006"/>
                    <a:pt x="660" y="1003"/>
                    <a:pt x="667" y="1000"/>
                  </a:cubicBezTo>
                  <a:cubicBezTo>
                    <a:pt x="723" y="979"/>
                    <a:pt x="776" y="948"/>
                    <a:pt x="823" y="905"/>
                  </a:cubicBezTo>
                  <a:cubicBezTo>
                    <a:pt x="829" y="900"/>
                    <a:pt x="835" y="894"/>
                    <a:pt x="841" y="888"/>
                  </a:cubicBezTo>
                  <a:cubicBezTo>
                    <a:pt x="844" y="885"/>
                    <a:pt x="847" y="882"/>
                    <a:pt x="850" y="878"/>
                  </a:cubicBezTo>
                  <a:cubicBezTo>
                    <a:pt x="851" y="877"/>
                    <a:pt x="852" y="876"/>
                    <a:pt x="853" y="875"/>
                  </a:cubicBezTo>
                  <a:cubicBezTo>
                    <a:pt x="855" y="873"/>
                    <a:pt x="857" y="871"/>
                    <a:pt x="859" y="869"/>
                  </a:cubicBezTo>
                  <a:cubicBezTo>
                    <a:pt x="860" y="867"/>
                    <a:pt x="861" y="866"/>
                    <a:pt x="863" y="865"/>
                  </a:cubicBezTo>
                  <a:cubicBezTo>
                    <a:pt x="864" y="863"/>
                    <a:pt x="866" y="861"/>
                    <a:pt x="868" y="859"/>
                  </a:cubicBezTo>
                  <a:cubicBezTo>
                    <a:pt x="869" y="857"/>
                    <a:pt x="870" y="856"/>
                    <a:pt x="871" y="854"/>
                  </a:cubicBezTo>
                  <a:cubicBezTo>
                    <a:pt x="873" y="852"/>
                    <a:pt x="875" y="850"/>
                    <a:pt x="876" y="848"/>
                  </a:cubicBezTo>
                  <a:cubicBezTo>
                    <a:pt x="877" y="847"/>
                    <a:pt x="879" y="846"/>
                    <a:pt x="880" y="844"/>
                  </a:cubicBezTo>
                  <a:cubicBezTo>
                    <a:pt x="881" y="842"/>
                    <a:pt x="883" y="840"/>
                    <a:pt x="884" y="838"/>
                  </a:cubicBezTo>
                  <a:cubicBezTo>
                    <a:pt x="886" y="837"/>
                    <a:pt x="887" y="835"/>
                    <a:pt x="888" y="834"/>
                  </a:cubicBezTo>
                  <a:cubicBezTo>
                    <a:pt x="889" y="832"/>
                    <a:pt x="891" y="830"/>
                    <a:pt x="892" y="828"/>
                  </a:cubicBezTo>
                  <a:cubicBezTo>
                    <a:pt x="893" y="826"/>
                    <a:pt x="894" y="825"/>
                    <a:pt x="895" y="823"/>
                  </a:cubicBezTo>
                  <a:cubicBezTo>
                    <a:pt x="897" y="821"/>
                    <a:pt x="898" y="819"/>
                    <a:pt x="900" y="817"/>
                  </a:cubicBezTo>
                  <a:cubicBezTo>
                    <a:pt x="901" y="815"/>
                    <a:pt x="902" y="814"/>
                    <a:pt x="903" y="812"/>
                  </a:cubicBezTo>
                  <a:cubicBezTo>
                    <a:pt x="904" y="810"/>
                    <a:pt x="906" y="808"/>
                    <a:pt x="907" y="806"/>
                  </a:cubicBezTo>
                  <a:cubicBezTo>
                    <a:pt x="908" y="804"/>
                    <a:pt x="909" y="803"/>
                    <a:pt x="910" y="802"/>
                  </a:cubicBezTo>
                  <a:cubicBezTo>
                    <a:pt x="911" y="799"/>
                    <a:pt x="913" y="797"/>
                    <a:pt x="914" y="794"/>
                  </a:cubicBezTo>
                  <a:cubicBezTo>
                    <a:pt x="915" y="793"/>
                    <a:pt x="916" y="792"/>
                    <a:pt x="916" y="791"/>
                  </a:cubicBezTo>
                  <a:cubicBezTo>
                    <a:pt x="918" y="787"/>
                    <a:pt x="920" y="784"/>
                    <a:pt x="922" y="780"/>
                  </a:cubicBezTo>
                  <a:cubicBezTo>
                    <a:pt x="923" y="780"/>
                    <a:pt x="923" y="780"/>
                    <a:pt x="923" y="780"/>
                  </a:cubicBezTo>
                  <a:cubicBezTo>
                    <a:pt x="925" y="776"/>
                    <a:pt x="927" y="772"/>
                    <a:pt x="929" y="768"/>
                  </a:cubicBezTo>
                  <a:cubicBezTo>
                    <a:pt x="929" y="768"/>
                    <a:pt x="930" y="767"/>
                    <a:pt x="930" y="766"/>
                  </a:cubicBezTo>
                  <a:cubicBezTo>
                    <a:pt x="932" y="763"/>
                    <a:pt x="933" y="760"/>
                    <a:pt x="935" y="757"/>
                  </a:cubicBezTo>
                  <a:cubicBezTo>
                    <a:pt x="935" y="756"/>
                    <a:pt x="936" y="755"/>
                    <a:pt x="936" y="753"/>
                  </a:cubicBezTo>
                  <a:cubicBezTo>
                    <a:pt x="938" y="751"/>
                    <a:pt x="939" y="748"/>
                    <a:pt x="940" y="745"/>
                  </a:cubicBezTo>
                  <a:cubicBezTo>
                    <a:pt x="941" y="744"/>
                    <a:pt x="941" y="743"/>
                    <a:pt x="942" y="741"/>
                  </a:cubicBezTo>
                  <a:cubicBezTo>
                    <a:pt x="943" y="739"/>
                    <a:pt x="944" y="736"/>
                    <a:pt x="945" y="734"/>
                  </a:cubicBezTo>
                  <a:cubicBezTo>
                    <a:pt x="946" y="732"/>
                    <a:pt x="947" y="731"/>
                    <a:pt x="947" y="730"/>
                  </a:cubicBezTo>
                  <a:cubicBezTo>
                    <a:pt x="948" y="727"/>
                    <a:pt x="949" y="725"/>
                    <a:pt x="950" y="722"/>
                  </a:cubicBezTo>
                  <a:cubicBezTo>
                    <a:pt x="951" y="721"/>
                    <a:pt x="951" y="719"/>
                    <a:pt x="952" y="718"/>
                  </a:cubicBezTo>
                  <a:cubicBezTo>
                    <a:pt x="953" y="715"/>
                    <a:pt x="954" y="713"/>
                    <a:pt x="955" y="710"/>
                  </a:cubicBezTo>
                  <a:cubicBezTo>
                    <a:pt x="955" y="709"/>
                    <a:pt x="956" y="707"/>
                    <a:pt x="956" y="706"/>
                  </a:cubicBezTo>
                  <a:cubicBezTo>
                    <a:pt x="957" y="703"/>
                    <a:pt x="958" y="701"/>
                    <a:pt x="959" y="698"/>
                  </a:cubicBezTo>
                  <a:cubicBezTo>
                    <a:pt x="959" y="697"/>
                    <a:pt x="960" y="695"/>
                    <a:pt x="960" y="694"/>
                  </a:cubicBezTo>
                  <a:cubicBezTo>
                    <a:pt x="961" y="691"/>
                    <a:pt x="962" y="688"/>
                    <a:pt x="963" y="685"/>
                  </a:cubicBezTo>
                  <a:cubicBezTo>
                    <a:pt x="963" y="684"/>
                    <a:pt x="964" y="683"/>
                    <a:pt x="964" y="682"/>
                  </a:cubicBezTo>
                  <a:cubicBezTo>
                    <a:pt x="965" y="679"/>
                    <a:pt x="966" y="676"/>
                    <a:pt x="967" y="672"/>
                  </a:cubicBezTo>
                  <a:cubicBezTo>
                    <a:pt x="967" y="672"/>
                    <a:pt x="967" y="671"/>
                    <a:pt x="968" y="670"/>
                  </a:cubicBezTo>
                  <a:cubicBezTo>
                    <a:pt x="971" y="658"/>
                    <a:pt x="974" y="645"/>
                    <a:pt x="976" y="633"/>
                  </a:cubicBezTo>
                  <a:cubicBezTo>
                    <a:pt x="976" y="632"/>
                    <a:pt x="976" y="631"/>
                    <a:pt x="977" y="631"/>
                  </a:cubicBezTo>
                  <a:cubicBezTo>
                    <a:pt x="977" y="627"/>
                    <a:pt x="978" y="624"/>
                    <a:pt x="978" y="620"/>
                  </a:cubicBezTo>
                  <a:cubicBezTo>
                    <a:pt x="979" y="619"/>
                    <a:pt x="979" y="618"/>
                    <a:pt x="979" y="617"/>
                  </a:cubicBezTo>
                  <a:cubicBezTo>
                    <a:pt x="979" y="614"/>
                    <a:pt x="980" y="611"/>
                    <a:pt x="980" y="608"/>
                  </a:cubicBezTo>
                  <a:cubicBezTo>
                    <a:pt x="980" y="607"/>
                    <a:pt x="981" y="606"/>
                    <a:pt x="981" y="604"/>
                  </a:cubicBezTo>
                  <a:cubicBezTo>
                    <a:pt x="981" y="601"/>
                    <a:pt x="981" y="598"/>
                    <a:pt x="982" y="595"/>
                  </a:cubicBezTo>
                  <a:cubicBezTo>
                    <a:pt x="982" y="594"/>
                    <a:pt x="982" y="593"/>
                    <a:pt x="982" y="592"/>
                  </a:cubicBezTo>
                  <a:cubicBezTo>
                    <a:pt x="983" y="589"/>
                    <a:pt x="983" y="586"/>
                    <a:pt x="983" y="583"/>
                  </a:cubicBezTo>
                  <a:cubicBezTo>
                    <a:pt x="983" y="582"/>
                    <a:pt x="983" y="580"/>
                    <a:pt x="983" y="579"/>
                  </a:cubicBezTo>
                  <a:cubicBezTo>
                    <a:pt x="984" y="576"/>
                    <a:pt x="984" y="573"/>
                    <a:pt x="984" y="570"/>
                  </a:cubicBezTo>
                  <a:cubicBezTo>
                    <a:pt x="984" y="569"/>
                    <a:pt x="984" y="568"/>
                    <a:pt x="984" y="567"/>
                  </a:cubicBezTo>
                  <a:cubicBezTo>
                    <a:pt x="984" y="563"/>
                    <a:pt x="985" y="560"/>
                    <a:pt x="985" y="557"/>
                  </a:cubicBezTo>
                  <a:cubicBezTo>
                    <a:pt x="985" y="556"/>
                    <a:pt x="985" y="555"/>
                    <a:pt x="985" y="554"/>
                  </a:cubicBezTo>
                  <a:cubicBezTo>
                    <a:pt x="985" y="551"/>
                    <a:pt x="985" y="547"/>
                    <a:pt x="985" y="544"/>
                  </a:cubicBezTo>
                  <a:cubicBezTo>
                    <a:pt x="985" y="543"/>
                    <a:pt x="985" y="542"/>
                    <a:pt x="985" y="542"/>
                  </a:cubicBezTo>
                  <a:cubicBezTo>
                    <a:pt x="985" y="529"/>
                    <a:pt x="985" y="516"/>
                    <a:pt x="984" y="503"/>
                  </a:cubicBezTo>
                  <a:cubicBezTo>
                    <a:pt x="984" y="503"/>
                    <a:pt x="984" y="503"/>
                    <a:pt x="984" y="503"/>
                  </a:cubicBezTo>
                  <a:cubicBezTo>
                    <a:pt x="842" y="484"/>
                    <a:pt x="842" y="484"/>
                    <a:pt x="842" y="484"/>
                  </a:cubicBezTo>
                  <a:close/>
                  <a:moveTo>
                    <a:pt x="841" y="192"/>
                  </a:moveTo>
                  <a:cubicBezTo>
                    <a:pt x="649" y="0"/>
                    <a:pt x="337" y="0"/>
                    <a:pt x="145" y="192"/>
                  </a:cubicBezTo>
                  <a:cubicBezTo>
                    <a:pt x="145" y="192"/>
                    <a:pt x="144" y="193"/>
                    <a:pt x="144" y="193"/>
                  </a:cubicBezTo>
                  <a:cubicBezTo>
                    <a:pt x="141" y="196"/>
                    <a:pt x="139" y="199"/>
                    <a:pt x="136" y="202"/>
                  </a:cubicBezTo>
                  <a:cubicBezTo>
                    <a:pt x="135" y="203"/>
                    <a:pt x="134" y="204"/>
                    <a:pt x="132" y="205"/>
                  </a:cubicBezTo>
                  <a:cubicBezTo>
                    <a:pt x="131" y="207"/>
                    <a:pt x="129" y="209"/>
                    <a:pt x="127" y="211"/>
                  </a:cubicBezTo>
                  <a:cubicBezTo>
                    <a:pt x="126" y="213"/>
                    <a:pt x="124" y="214"/>
                    <a:pt x="123" y="216"/>
                  </a:cubicBezTo>
                  <a:cubicBezTo>
                    <a:pt x="121" y="217"/>
                    <a:pt x="120" y="219"/>
                    <a:pt x="118" y="221"/>
                  </a:cubicBezTo>
                  <a:cubicBezTo>
                    <a:pt x="117" y="223"/>
                    <a:pt x="116" y="224"/>
                    <a:pt x="114" y="226"/>
                  </a:cubicBezTo>
                  <a:cubicBezTo>
                    <a:pt x="113" y="228"/>
                    <a:pt x="111" y="230"/>
                    <a:pt x="110" y="231"/>
                  </a:cubicBezTo>
                  <a:cubicBezTo>
                    <a:pt x="109" y="233"/>
                    <a:pt x="107" y="235"/>
                    <a:pt x="106" y="236"/>
                  </a:cubicBezTo>
                  <a:cubicBezTo>
                    <a:pt x="105" y="238"/>
                    <a:pt x="103" y="240"/>
                    <a:pt x="102" y="242"/>
                  </a:cubicBezTo>
                  <a:cubicBezTo>
                    <a:pt x="101" y="243"/>
                    <a:pt x="99" y="245"/>
                    <a:pt x="98" y="246"/>
                  </a:cubicBezTo>
                  <a:cubicBezTo>
                    <a:pt x="97" y="248"/>
                    <a:pt x="95" y="250"/>
                    <a:pt x="94" y="252"/>
                  </a:cubicBezTo>
                  <a:cubicBezTo>
                    <a:pt x="93" y="254"/>
                    <a:pt x="92" y="255"/>
                    <a:pt x="91" y="257"/>
                  </a:cubicBezTo>
                  <a:cubicBezTo>
                    <a:pt x="89" y="259"/>
                    <a:pt x="88" y="261"/>
                    <a:pt x="86" y="263"/>
                  </a:cubicBezTo>
                  <a:cubicBezTo>
                    <a:pt x="85" y="265"/>
                    <a:pt x="84" y="266"/>
                    <a:pt x="83" y="268"/>
                  </a:cubicBezTo>
                  <a:cubicBezTo>
                    <a:pt x="82" y="270"/>
                    <a:pt x="80" y="272"/>
                    <a:pt x="79" y="274"/>
                  </a:cubicBezTo>
                  <a:cubicBezTo>
                    <a:pt x="78" y="275"/>
                    <a:pt x="77" y="277"/>
                    <a:pt x="76" y="278"/>
                  </a:cubicBezTo>
                  <a:cubicBezTo>
                    <a:pt x="75" y="281"/>
                    <a:pt x="73" y="283"/>
                    <a:pt x="72" y="286"/>
                  </a:cubicBezTo>
                  <a:cubicBezTo>
                    <a:pt x="71" y="287"/>
                    <a:pt x="70" y="288"/>
                    <a:pt x="70" y="289"/>
                  </a:cubicBezTo>
                  <a:cubicBezTo>
                    <a:pt x="68" y="292"/>
                    <a:pt x="66" y="296"/>
                    <a:pt x="64" y="299"/>
                  </a:cubicBezTo>
                  <a:cubicBezTo>
                    <a:pt x="64" y="299"/>
                    <a:pt x="63" y="300"/>
                    <a:pt x="63" y="300"/>
                  </a:cubicBezTo>
                  <a:cubicBezTo>
                    <a:pt x="61" y="304"/>
                    <a:pt x="59" y="308"/>
                    <a:pt x="57" y="312"/>
                  </a:cubicBezTo>
                  <a:cubicBezTo>
                    <a:pt x="57" y="313"/>
                    <a:pt x="56" y="314"/>
                    <a:pt x="56" y="315"/>
                  </a:cubicBezTo>
                  <a:cubicBezTo>
                    <a:pt x="54" y="317"/>
                    <a:pt x="53" y="320"/>
                    <a:pt x="51" y="323"/>
                  </a:cubicBezTo>
                  <a:cubicBezTo>
                    <a:pt x="51" y="324"/>
                    <a:pt x="50" y="326"/>
                    <a:pt x="49" y="327"/>
                  </a:cubicBezTo>
                  <a:cubicBezTo>
                    <a:pt x="48" y="329"/>
                    <a:pt x="47" y="332"/>
                    <a:pt x="46" y="335"/>
                  </a:cubicBezTo>
                  <a:cubicBezTo>
                    <a:pt x="45" y="336"/>
                    <a:pt x="45" y="337"/>
                    <a:pt x="44" y="339"/>
                  </a:cubicBezTo>
                  <a:cubicBezTo>
                    <a:pt x="43" y="341"/>
                    <a:pt x="42" y="344"/>
                    <a:pt x="41" y="346"/>
                  </a:cubicBezTo>
                  <a:cubicBezTo>
                    <a:pt x="40" y="348"/>
                    <a:pt x="39" y="349"/>
                    <a:pt x="39" y="351"/>
                  </a:cubicBezTo>
                  <a:cubicBezTo>
                    <a:pt x="38" y="353"/>
                    <a:pt x="37" y="355"/>
                    <a:pt x="36" y="358"/>
                  </a:cubicBezTo>
                  <a:cubicBezTo>
                    <a:pt x="35" y="359"/>
                    <a:pt x="35" y="361"/>
                    <a:pt x="34" y="362"/>
                  </a:cubicBezTo>
                  <a:cubicBezTo>
                    <a:pt x="33" y="365"/>
                    <a:pt x="32" y="367"/>
                    <a:pt x="31" y="370"/>
                  </a:cubicBezTo>
                  <a:cubicBezTo>
                    <a:pt x="31" y="371"/>
                    <a:pt x="30" y="373"/>
                    <a:pt x="30" y="374"/>
                  </a:cubicBezTo>
                  <a:cubicBezTo>
                    <a:pt x="29" y="377"/>
                    <a:pt x="28" y="379"/>
                    <a:pt x="27" y="382"/>
                  </a:cubicBezTo>
                  <a:cubicBezTo>
                    <a:pt x="27" y="383"/>
                    <a:pt x="26" y="385"/>
                    <a:pt x="26" y="386"/>
                  </a:cubicBezTo>
                  <a:cubicBezTo>
                    <a:pt x="25" y="389"/>
                    <a:pt x="24" y="392"/>
                    <a:pt x="23" y="394"/>
                  </a:cubicBezTo>
                  <a:cubicBezTo>
                    <a:pt x="23" y="396"/>
                    <a:pt x="22" y="397"/>
                    <a:pt x="22" y="398"/>
                  </a:cubicBezTo>
                  <a:cubicBezTo>
                    <a:pt x="21" y="401"/>
                    <a:pt x="20" y="404"/>
                    <a:pt x="19" y="407"/>
                  </a:cubicBezTo>
                  <a:cubicBezTo>
                    <a:pt x="19" y="408"/>
                    <a:pt x="19" y="409"/>
                    <a:pt x="18" y="410"/>
                  </a:cubicBezTo>
                  <a:cubicBezTo>
                    <a:pt x="15" y="422"/>
                    <a:pt x="12" y="435"/>
                    <a:pt x="10" y="447"/>
                  </a:cubicBezTo>
                  <a:cubicBezTo>
                    <a:pt x="10" y="448"/>
                    <a:pt x="10" y="449"/>
                    <a:pt x="9" y="449"/>
                  </a:cubicBezTo>
                  <a:cubicBezTo>
                    <a:pt x="9" y="453"/>
                    <a:pt x="8" y="456"/>
                    <a:pt x="8" y="460"/>
                  </a:cubicBezTo>
                  <a:cubicBezTo>
                    <a:pt x="7" y="461"/>
                    <a:pt x="7" y="462"/>
                    <a:pt x="7" y="463"/>
                  </a:cubicBezTo>
                  <a:cubicBezTo>
                    <a:pt x="7" y="466"/>
                    <a:pt x="6" y="469"/>
                    <a:pt x="6" y="472"/>
                  </a:cubicBezTo>
                  <a:cubicBezTo>
                    <a:pt x="6" y="473"/>
                    <a:pt x="5" y="474"/>
                    <a:pt x="5" y="476"/>
                  </a:cubicBezTo>
                  <a:cubicBezTo>
                    <a:pt x="5" y="479"/>
                    <a:pt x="5" y="482"/>
                    <a:pt x="4" y="485"/>
                  </a:cubicBezTo>
                  <a:cubicBezTo>
                    <a:pt x="4" y="486"/>
                    <a:pt x="4" y="487"/>
                    <a:pt x="4" y="488"/>
                  </a:cubicBezTo>
                  <a:cubicBezTo>
                    <a:pt x="3" y="491"/>
                    <a:pt x="3" y="494"/>
                    <a:pt x="3" y="497"/>
                  </a:cubicBezTo>
                  <a:cubicBezTo>
                    <a:pt x="3" y="498"/>
                    <a:pt x="3" y="500"/>
                    <a:pt x="3" y="501"/>
                  </a:cubicBezTo>
                  <a:cubicBezTo>
                    <a:pt x="2" y="504"/>
                    <a:pt x="2" y="507"/>
                    <a:pt x="2" y="510"/>
                  </a:cubicBezTo>
                  <a:cubicBezTo>
                    <a:pt x="2" y="511"/>
                    <a:pt x="2" y="512"/>
                    <a:pt x="2" y="513"/>
                  </a:cubicBezTo>
                  <a:cubicBezTo>
                    <a:pt x="2" y="517"/>
                    <a:pt x="1" y="520"/>
                    <a:pt x="1" y="523"/>
                  </a:cubicBezTo>
                  <a:cubicBezTo>
                    <a:pt x="1" y="524"/>
                    <a:pt x="1" y="525"/>
                    <a:pt x="1" y="526"/>
                  </a:cubicBezTo>
                  <a:cubicBezTo>
                    <a:pt x="1" y="529"/>
                    <a:pt x="1" y="533"/>
                    <a:pt x="1" y="537"/>
                  </a:cubicBezTo>
                  <a:cubicBezTo>
                    <a:pt x="1" y="537"/>
                    <a:pt x="1" y="538"/>
                    <a:pt x="1" y="538"/>
                  </a:cubicBezTo>
                  <a:cubicBezTo>
                    <a:pt x="1" y="551"/>
                    <a:pt x="1" y="564"/>
                    <a:pt x="2" y="577"/>
                  </a:cubicBezTo>
                  <a:cubicBezTo>
                    <a:pt x="144" y="596"/>
                    <a:pt x="144" y="596"/>
                    <a:pt x="144" y="596"/>
                  </a:cubicBezTo>
                  <a:cubicBezTo>
                    <a:pt x="144" y="596"/>
                    <a:pt x="144" y="596"/>
                    <a:pt x="144" y="596"/>
                  </a:cubicBezTo>
                  <a:cubicBezTo>
                    <a:pt x="143" y="593"/>
                    <a:pt x="143" y="590"/>
                    <a:pt x="142" y="586"/>
                  </a:cubicBezTo>
                  <a:cubicBezTo>
                    <a:pt x="142" y="586"/>
                    <a:pt x="142" y="586"/>
                    <a:pt x="142" y="586"/>
                  </a:cubicBezTo>
                  <a:cubicBezTo>
                    <a:pt x="140" y="573"/>
                    <a:pt x="139" y="559"/>
                    <a:pt x="139" y="545"/>
                  </a:cubicBezTo>
                  <a:cubicBezTo>
                    <a:pt x="139" y="545"/>
                    <a:pt x="139" y="545"/>
                    <a:pt x="139" y="545"/>
                  </a:cubicBezTo>
                  <a:cubicBezTo>
                    <a:pt x="139" y="542"/>
                    <a:pt x="139" y="539"/>
                    <a:pt x="139" y="535"/>
                  </a:cubicBezTo>
                  <a:cubicBezTo>
                    <a:pt x="139" y="535"/>
                    <a:pt x="139" y="535"/>
                    <a:pt x="139" y="535"/>
                  </a:cubicBezTo>
                  <a:cubicBezTo>
                    <a:pt x="139" y="521"/>
                    <a:pt x="140" y="508"/>
                    <a:pt x="142" y="495"/>
                  </a:cubicBezTo>
                  <a:cubicBezTo>
                    <a:pt x="142" y="494"/>
                    <a:pt x="142" y="494"/>
                    <a:pt x="142" y="494"/>
                  </a:cubicBezTo>
                  <a:cubicBezTo>
                    <a:pt x="142" y="491"/>
                    <a:pt x="143" y="488"/>
                    <a:pt x="143" y="485"/>
                  </a:cubicBezTo>
                  <a:cubicBezTo>
                    <a:pt x="143" y="484"/>
                    <a:pt x="143" y="484"/>
                    <a:pt x="144" y="484"/>
                  </a:cubicBezTo>
                  <a:cubicBezTo>
                    <a:pt x="145" y="474"/>
                    <a:pt x="147" y="464"/>
                    <a:pt x="150" y="454"/>
                  </a:cubicBezTo>
                  <a:cubicBezTo>
                    <a:pt x="150" y="454"/>
                    <a:pt x="150" y="453"/>
                    <a:pt x="150" y="453"/>
                  </a:cubicBezTo>
                  <a:cubicBezTo>
                    <a:pt x="151" y="450"/>
                    <a:pt x="151" y="447"/>
                    <a:pt x="152" y="445"/>
                  </a:cubicBezTo>
                  <a:cubicBezTo>
                    <a:pt x="152" y="444"/>
                    <a:pt x="152" y="443"/>
                    <a:pt x="153" y="443"/>
                  </a:cubicBezTo>
                  <a:cubicBezTo>
                    <a:pt x="153" y="440"/>
                    <a:pt x="154" y="438"/>
                    <a:pt x="155" y="435"/>
                  </a:cubicBezTo>
                  <a:cubicBezTo>
                    <a:pt x="155" y="434"/>
                    <a:pt x="155" y="434"/>
                    <a:pt x="155" y="433"/>
                  </a:cubicBezTo>
                  <a:cubicBezTo>
                    <a:pt x="156" y="430"/>
                    <a:pt x="157" y="427"/>
                    <a:pt x="158" y="424"/>
                  </a:cubicBezTo>
                  <a:cubicBezTo>
                    <a:pt x="158" y="424"/>
                    <a:pt x="158" y="424"/>
                    <a:pt x="159" y="424"/>
                  </a:cubicBezTo>
                  <a:cubicBezTo>
                    <a:pt x="161" y="418"/>
                    <a:pt x="163" y="411"/>
                    <a:pt x="166" y="405"/>
                  </a:cubicBezTo>
                  <a:cubicBezTo>
                    <a:pt x="166" y="404"/>
                    <a:pt x="166" y="404"/>
                    <a:pt x="166" y="403"/>
                  </a:cubicBezTo>
                  <a:cubicBezTo>
                    <a:pt x="167" y="401"/>
                    <a:pt x="168" y="398"/>
                    <a:pt x="169" y="396"/>
                  </a:cubicBezTo>
                  <a:cubicBezTo>
                    <a:pt x="170" y="395"/>
                    <a:pt x="170" y="394"/>
                    <a:pt x="171" y="394"/>
                  </a:cubicBezTo>
                  <a:cubicBezTo>
                    <a:pt x="172" y="391"/>
                    <a:pt x="173" y="389"/>
                    <a:pt x="174" y="387"/>
                  </a:cubicBezTo>
                  <a:cubicBezTo>
                    <a:pt x="174" y="386"/>
                    <a:pt x="174" y="385"/>
                    <a:pt x="175" y="385"/>
                  </a:cubicBezTo>
                  <a:cubicBezTo>
                    <a:pt x="176" y="382"/>
                    <a:pt x="177" y="379"/>
                    <a:pt x="179" y="377"/>
                  </a:cubicBezTo>
                  <a:cubicBezTo>
                    <a:pt x="179" y="377"/>
                    <a:pt x="179" y="376"/>
                    <a:pt x="179" y="376"/>
                  </a:cubicBezTo>
                  <a:cubicBezTo>
                    <a:pt x="181" y="373"/>
                    <a:pt x="182" y="370"/>
                    <a:pt x="184" y="367"/>
                  </a:cubicBezTo>
                  <a:cubicBezTo>
                    <a:pt x="184" y="367"/>
                    <a:pt x="185" y="366"/>
                    <a:pt x="185" y="366"/>
                  </a:cubicBezTo>
                  <a:cubicBezTo>
                    <a:pt x="186" y="363"/>
                    <a:pt x="188" y="361"/>
                    <a:pt x="189" y="359"/>
                  </a:cubicBezTo>
                  <a:cubicBezTo>
                    <a:pt x="189" y="358"/>
                    <a:pt x="190" y="357"/>
                    <a:pt x="191" y="356"/>
                  </a:cubicBezTo>
                  <a:cubicBezTo>
                    <a:pt x="192" y="354"/>
                    <a:pt x="193" y="352"/>
                    <a:pt x="194" y="350"/>
                  </a:cubicBezTo>
                  <a:cubicBezTo>
                    <a:pt x="195" y="349"/>
                    <a:pt x="195" y="348"/>
                    <a:pt x="196" y="347"/>
                  </a:cubicBezTo>
                  <a:cubicBezTo>
                    <a:pt x="197" y="345"/>
                    <a:pt x="199" y="343"/>
                    <a:pt x="200" y="342"/>
                  </a:cubicBezTo>
                  <a:cubicBezTo>
                    <a:pt x="200" y="341"/>
                    <a:pt x="201" y="340"/>
                    <a:pt x="202" y="339"/>
                  </a:cubicBezTo>
                  <a:cubicBezTo>
                    <a:pt x="203" y="337"/>
                    <a:pt x="205" y="334"/>
                    <a:pt x="207" y="332"/>
                  </a:cubicBezTo>
                  <a:cubicBezTo>
                    <a:pt x="207" y="331"/>
                    <a:pt x="207" y="331"/>
                    <a:pt x="207" y="331"/>
                  </a:cubicBezTo>
                  <a:cubicBezTo>
                    <a:pt x="209" y="328"/>
                    <a:pt x="211" y="326"/>
                    <a:pt x="213" y="323"/>
                  </a:cubicBezTo>
                  <a:cubicBezTo>
                    <a:pt x="214" y="322"/>
                    <a:pt x="215" y="321"/>
                    <a:pt x="215" y="321"/>
                  </a:cubicBezTo>
                  <a:cubicBezTo>
                    <a:pt x="217" y="319"/>
                    <a:pt x="218" y="317"/>
                    <a:pt x="220" y="315"/>
                  </a:cubicBezTo>
                  <a:cubicBezTo>
                    <a:pt x="220" y="314"/>
                    <a:pt x="221" y="313"/>
                    <a:pt x="222" y="312"/>
                  </a:cubicBezTo>
                  <a:cubicBezTo>
                    <a:pt x="223" y="311"/>
                    <a:pt x="225" y="309"/>
                    <a:pt x="226" y="307"/>
                  </a:cubicBezTo>
                  <a:cubicBezTo>
                    <a:pt x="227" y="306"/>
                    <a:pt x="228" y="305"/>
                    <a:pt x="229" y="305"/>
                  </a:cubicBezTo>
                  <a:cubicBezTo>
                    <a:pt x="230" y="303"/>
                    <a:pt x="232" y="301"/>
                    <a:pt x="233" y="299"/>
                  </a:cubicBezTo>
                  <a:cubicBezTo>
                    <a:pt x="234" y="299"/>
                    <a:pt x="235" y="298"/>
                    <a:pt x="236" y="297"/>
                  </a:cubicBezTo>
                  <a:cubicBezTo>
                    <a:pt x="238" y="295"/>
                    <a:pt x="240" y="292"/>
                    <a:pt x="243" y="290"/>
                  </a:cubicBezTo>
                  <a:cubicBezTo>
                    <a:pt x="251" y="281"/>
                    <a:pt x="260" y="273"/>
                    <a:pt x="270" y="265"/>
                  </a:cubicBezTo>
                  <a:cubicBezTo>
                    <a:pt x="274" y="262"/>
                    <a:pt x="279" y="258"/>
                    <a:pt x="284" y="254"/>
                  </a:cubicBezTo>
                  <a:cubicBezTo>
                    <a:pt x="288" y="251"/>
                    <a:pt x="293" y="248"/>
                    <a:pt x="298" y="244"/>
                  </a:cubicBezTo>
                  <a:cubicBezTo>
                    <a:pt x="311" y="236"/>
                    <a:pt x="324" y="228"/>
                    <a:pt x="338" y="222"/>
                  </a:cubicBezTo>
                  <a:cubicBezTo>
                    <a:pt x="470" y="157"/>
                    <a:pt x="634" y="180"/>
                    <a:pt x="743" y="290"/>
                  </a:cubicBezTo>
                  <a:cubicBezTo>
                    <a:pt x="649" y="384"/>
                    <a:pt x="649" y="384"/>
                    <a:pt x="649" y="384"/>
                  </a:cubicBezTo>
                  <a:cubicBezTo>
                    <a:pt x="821" y="408"/>
                    <a:pt x="821" y="408"/>
                    <a:pt x="821" y="408"/>
                  </a:cubicBezTo>
                  <a:cubicBezTo>
                    <a:pt x="972" y="429"/>
                    <a:pt x="972" y="429"/>
                    <a:pt x="972" y="429"/>
                  </a:cubicBezTo>
                  <a:cubicBezTo>
                    <a:pt x="986" y="431"/>
                    <a:pt x="986" y="431"/>
                    <a:pt x="986" y="431"/>
                  </a:cubicBezTo>
                  <a:cubicBezTo>
                    <a:pt x="939" y="94"/>
                    <a:pt x="939" y="94"/>
                    <a:pt x="939" y="94"/>
                  </a:cubicBezTo>
                  <a:lnTo>
                    <a:pt x="841"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41" name="Group 40"/>
          <p:cNvGrpSpPr/>
          <p:nvPr/>
        </p:nvGrpSpPr>
        <p:grpSpPr>
          <a:xfrm>
            <a:off x="5185059" y="2675065"/>
            <a:ext cx="2453069" cy="1960773"/>
            <a:chOff x="7189439" y="4991666"/>
            <a:chExt cx="1930751" cy="1543277"/>
          </a:xfrm>
        </p:grpSpPr>
        <p:pic>
          <p:nvPicPr>
            <p:cNvPr id="23" name="Picture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9439" y="4991666"/>
              <a:ext cx="1930751" cy="1289313"/>
            </a:xfrm>
            <a:prstGeom prst="rect">
              <a:avLst/>
            </a:prstGeom>
          </p:spPr>
        </p:pic>
        <p:sp>
          <p:nvSpPr>
            <p:cNvPr id="68" name="Freeform 17"/>
            <p:cNvSpPr>
              <a:spLocks/>
            </p:cNvSpPr>
            <p:nvPr/>
          </p:nvSpPr>
          <p:spPr bwMode="auto">
            <a:xfrm>
              <a:off x="7388576" y="5705019"/>
              <a:ext cx="508403" cy="829924"/>
            </a:xfrm>
            <a:custGeom>
              <a:avLst/>
              <a:gdLst>
                <a:gd name="T0" fmla="*/ 1176 w 1518"/>
                <a:gd name="T1" fmla="*/ 17 h 2478"/>
                <a:gd name="T2" fmla="*/ 1241 w 1518"/>
                <a:gd name="T3" fmla="*/ 80 h 2478"/>
                <a:gd name="T4" fmla="*/ 1261 w 1518"/>
                <a:gd name="T5" fmla="*/ 170 h 2478"/>
                <a:gd name="T6" fmla="*/ 1162 w 1518"/>
                <a:gd name="T7" fmla="*/ 385 h 2478"/>
                <a:gd name="T8" fmla="*/ 942 w 1518"/>
                <a:gd name="T9" fmla="*/ 859 h 2478"/>
                <a:gd name="T10" fmla="*/ 865 w 1518"/>
                <a:gd name="T11" fmla="*/ 1016 h 2478"/>
                <a:gd name="T12" fmla="*/ 871 w 1518"/>
                <a:gd name="T13" fmla="*/ 1021 h 2478"/>
                <a:gd name="T14" fmla="*/ 892 w 1518"/>
                <a:gd name="T15" fmla="*/ 1034 h 2478"/>
                <a:gd name="T16" fmla="*/ 938 w 1518"/>
                <a:gd name="T17" fmla="*/ 1064 h 2478"/>
                <a:gd name="T18" fmla="*/ 1015 w 1518"/>
                <a:gd name="T19" fmla="*/ 1114 h 2478"/>
                <a:gd name="T20" fmla="*/ 1136 w 1518"/>
                <a:gd name="T21" fmla="*/ 1191 h 2478"/>
                <a:gd name="T22" fmla="*/ 1307 w 1518"/>
                <a:gd name="T23" fmla="*/ 1301 h 2478"/>
                <a:gd name="T24" fmla="*/ 1420 w 1518"/>
                <a:gd name="T25" fmla="*/ 1381 h 2478"/>
                <a:gd name="T26" fmla="*/ 1478 w 1518"/>
                <a:gd name="T27" fmla="*/ 1461 h 2478"/>
                <a:gd name="T28" fmla="*/ 1513 w 1518"/>
                <a:gd name="T29" fmla="*/ 1552 h 2478"/>
                <a:gd name="T30" fmla="*/ 1510 w 1518"/>
                <a:gd name="T31" fmla="*/ 1629 h 2478"/>
                <a:gd name="T32" fmla="*/ 1510 w 1518"/>
                <a:gd name="T33" fmla="*/ 1631 h 2478"/>
                <a:gd name="T34" fmla="*/ 1503 w 1518"/>
                <a:gd name="T35" fmla="*/ 1639 h 2478"/>
                <a:gd name="T36" fmla="*/ 1486 w 1518"/>
                <a:gd name="T37" fmla="*/ 1666 h 2478"/>
                <a:gd name="T38" fmla="*/ 1452 w 1518"/>
                <a:gd name="T39" fmla="*/ 1715 h 2478"/>
                <a:gd name="T40" fmla="*/ 1396 w 1518"/>
                <a:gd name="T41" fmla="*/ 1795 h 2478"/>
                <a:gd name="T42" fmla="*/ 1313 w 1518"/>
                <a:gd name="T43" fmla="*/ 1917 h 2478"/>
                <a:gd name="T44" fmla="*/ 1195 w 1518"/>
                <a:gd name="T45" fmla="*/ 2086 h 2478"/>
                <a:gd name="T46" fmla="*/ 1097 w 1518"/>
                <a:gd name="T47" fmla="*/ 2233 h 2478"/>
                <a:gd name="T48" fmla="*/ 1091 w 1518"/>
                <a:gd name="T49" fmla="*/ 2244 h 2478"/>
                <a:gd name="T50" fmla="*/ 1088 w 1518"/>
                <a:gd name="T51" fmla="*/ 2248 h 2478"/>
                <a:gd name="T52" fmla="*/ 965 w 1518"/>
                <a:gd name="T53" fmla="*/ 2382 h 2478"/>
                <a:gd name="T54" fmla="*/ 806 w 1518"/>
                <a:gd name="T55" fmla="*/ 2460 h 2478"/>
                <a:gd name="T56" fmla="*/ 626 w 1518"/>
                <a:gd name="T57" fmla="*/ 2477 h 2478"/>
                <a:gd name="T58" fmla="*/ 446 w 1518"/>
                <a:gd name="T59" fmla="*/ 2425 h 2478"/>
                <a:gd name="T60" fmla="*/ 318 w 1518"/>
                <a:gd name="T61" fmla="*/ 2322 h 2478"/>
                <a:gd name="T62" fmla="*/ 242 w 1518"/>
                <a:gd name="T63" fmla="*/ 2223 h 2478"/>
                <a:gd name="T64" fmla="*/ 213 w 1518"/>
                <a:gd name="T65" fmla="*/ 2159 h 2478"/>
                <a:gd name="T66" fmla="*/ 187 w 1518"/>
                <a:gd name="T67" fmla="*/ 2034 h 2478"/>
                <a:gd name="T68" fmla="*/ 135 w 1518"/>
                <a:gd name="T69" fmla="*/ 1619 h 2478"/>
                <a:gd name="T70" fmla="*/ 73 w 1518"/>
                <a:gd name="T71" fmla="*/ 1068 h 2478"/>
                <a:gd name="T72" fmla="*/ 34 w 1518"/>
                <a:gd name="T73" fmla="*/ 832 h 2478"/>
                <a:gd name="T74" fmla="*/ 15 w 1518"/>
                <a:gd name="T75" fmla="*/ 752 h 2478"/>
                <a:gd name="T76" fmla="*/ 1 w 1518"/>
                <a:gd name="T77" fmla="*/ 676 h 2478"/>
                <a:gd name="T78" fmla="*/ 7 w 1518"/>
                <a:gd name="T79" fmla="*/ 620 h 2478"/>
                <a:gd name="T80" fmla="*/ 46 w 1518"/>
                <a:gd name="T81" fmla="*/ 598 h 2478"/>
                <a:gd name="T82" fmla="*/ 149 w 1518"/>
                <a:gd name="T83" fmla="*/ 621 h 2478"/>
                <a:gd name="T84" fmla="*/ 250 w 1518"/>
                <a:gd name="T85" fmla="*/ 690 h 2478"/>
                <a:gd name="T86" fmla="*/ 324 w 1518"/>
                <a:gd name="T87" fmla="*/ 777 h 2478"/>
                <a:gd name="T88" fmla="*/ 349 w 1518"/>
                <a:gd name="T89" fmla="*/ 838 h 2478"/>
                <a:gd name="T90" fmla="*/ 363 w 1518"/>
                <a:gd name="T91" fmla="*/ 890 h 2478"/>
                <a:gd name="T92" fmla="*/ 384 w 1518"/>
                <a:gd name="T93" fmla="*/ 979 h 2478"/>
                <a:gd name="T94" fmla="*/ 407 w 1518"/>
                <a:gd name="T95" fmla="*/ 1080 h 2478"/>
                <a:gd name="T96" fmla="*/ 424 w 1518"/>
                <a:gd name="T97" fmla="*/ 1163 h 2478"/>
                <a:gd name="T98" fmla="*/ 568 w 1518"/>
                <a:gd name="T99" fmla="*/ 920 h 2478"/>
                <a:gd name="T100" fmla="*/ 786 w 1518"/>
                <a:gd name="T101" fmla="*/ 506 h 2478"/>
                <a:gd name="T102" fmla="*/ 990 w 1518"/>
                <a:gd name="T103" fmla="*/ 105 h 2478"/>
                <a:gd name="T104" fmla="*/ 1048 w 1518"/>
                <a:gd name="T105" fmla="*/ 31 h 2478"/>
                <a:gd name="T106" fmla="*/ 1119 w 1518"/>
                <a:gd name="T107" fmla="*/ 0 h 2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8" h="2478">
                  <a:moveTo>
                    <a:pt x="1119" y="0"/>
                  </a:moveTo>
                  <a:lnTo>
                    <a:pt x="1148" y="4"/>
                  </a:lnTo>
                  <a:lnTo>
                    <a:pt x="1176" y="17"/>
                  </a:lnTo>
                  <a:lnTo>
                    <a:pt x="1203" y="32"/>
                  </a:lnTo>
                  <a:lnTo>
                    <a:pt x="1223" y="53"/>
                  </a:lnTo>
                  <a:lnTo>
                    <a:pt x="1241" y="80"/>
                  </a:lnTo>
                  <a:lnTo>
                    <a:pt x="1253" y="108"/>
                  </a:lnTo>
                  <a:lnTo>
                    <a:pt x="1261" y="139"/>
                  </a:lnTo>
                  <a:lnTo>
                    <a:pt x="1261" y="170"/>
                  </a:lnTo>
                  <a:lnTo>
                    <a:pt x="1255" y="201"/>
                  </a:lnTo>
                  <a:lnTo>
                    <a:pt x="1241" y="231"/>
                  </a:lnTo>
                  <a:lnTo>
                    <a:pt x="1162" y="385"/>
                  </a:lnTo>
                  <a:lnTo>
                    <a:pt x="1090" y="543"/>
                  </a:lnTo>
                  <a:lnTo>
                    <a:pt x="1017" y="700"/>
                  </a:lnTo>
                  <a:lnTo>
                    <a:pt x="942" y="859"/>
                  </a:lnTo>
                  <a:lnTo>
                    <a:pt x="864" y="1016"/>
                  </a:lnTo>
                  <a:lnTo>
                    <a:pt x="864" y="1016"/>
                  </a:lnTo>
                  <a:lnTo>
                    <a:pt x="865" y="1016"/>
                  </a:lnTo>
                  <a:lnTo>
                    <a:pt x="865" y="1018"/>
                  </a:lnTo>
                  <a:lnTo>
                    <a:pt x="868" y="1018"/>
                  </a:lnTo>
                  <a:lnTo>
                    <a:pt x="871" y="1021"/>
                  </a:lnTo>
                  <a:lnTo>
                    <a:pt x="876" y="1024"/>
                  </a:lnTo>
                  <a:lnTo>
                    <a:pt x="883" y="1028"/>
                  </a:lnTo>
                  <a:lnTo>
                    <a:pt x="892" y="1034"/>
                  </a:lnTo>
                  <a:lnTo>
                    <a:pt x="905" y="1041"/>
                  </a:lnTo>
                  <a:lnTo>
                    <a:pt x="920" y="1052"/>
                  </a:lnTo>
                  <a:lnTo>
                    <a:pt x="938" y="1064"/>
                  </a:lnTo>
                  <a:lnTo>
                    <a:pt x="960" y="1077"/>
                  </a:lnTo>
                  <a:lnTo>
                    <a:pt x="986" y="1095"/>
                  </a:lnTo>
                  <a:lnTo>
                    <a:pt x="1015" y="1114"/>
                  </a:lnTo>
                  <a:lnTo>
                    <a:pt x="1051" y="1136"/>
                  </a:lnTo>
                  <a:lnTo>
                    <a:pt x="1091" y="1162"/>
                  </a:lnTo>
                  <a:lnTo>
                    <a:pt x="1136" y="1191"/>
                  </a:lnTo>
                  <a:lnTo>
                    <a:pt x="1186" y="1224"/>
                  </a:lnTo>
                  <a:lnTo>
                    <a:pt x="1243" y="1261"/>
                  </a:lnTo>
                  <a:lnTo>
                    <a:pt x="1307" y="1301"/>
                  </a:lnTo>
                  <a:lnTo>
                    <a:pt x="1376" y="1346"/>
                  </a:lnTo>
                  <a:lnTo>
                    <a:pt x="1397" y="1362"/>
                  </a:lnTo>
                  <a:lnTo>
                    <a:pt x="1420" y="1381"/>
                  </a:lnTo>
                  <a:lnTo>
                    <a:pt x="1440" y="1405"/>
                  </a:lnTo>
                  <a:lnTo>
                    <a:pt x="1460" y="1432"/>
                  </a:lnTo>
                  <a:lnTo>
                    <a:pt x="1478" y="1461"/>
                  </a:lnTo>
                  <a:lnTo>
                    <a:pt x="1492" y="1491"/>
                  </a:lnTo>
                  <a:lnTo>
                    <a:pt x="1504" y="1521"/>
                  </a:lnTo>
                  <a:lnTo>
                    <a:pt x="1513" y="1552"/>
                  </a:lnTo>
                  <a:lnTo>
                    <a:pt x="1518" y="1580"/>
                  </a:lnTo>
                  <a:lnTo>
                    <a:pt x="1516" y="1607"/>
                  </a:lnTo>
                  <a:lnTo>
                    <a:pt x="1510" y="1629"/>
                  </a:lnTo>
                  <a:lnTo>
                    <a:pt x="1510" y="1629"/>
                  </a:lnTo>
                  <a:lnTo>
                    <a:pt x="1510" y="1631"/>
                  </a:lnTo>
                  <a:lnTo>
                    <a:pt x="1510" y="1631"/>
                  </a:lnTo>
                  <a:lnTo>
                    <a:pt x="1509" y="1632"/>
                  </a:lnTo>
                  <a:lnTo>
                    <a:pt x="1507" y="1635"/>
                  </a:lnTo>
                  <a:lnTo>
                    <a:pt x="1503" y="1639"/>
                  </a:lnTo>
                  <a:lnTo>
                    <a:pt x="1500" y="1647"/>
                  </a:lnTo>
                  <a:lnTo>
                    <a:pt x="1494" y="1654"/>
                  </a:lnTo>
                  <a:lnTo>
                    <a:pt x="1486" y="1666"/>
                  </a:lnTo>
                  <a:lnTo>
                    <a:pt x="1476" y="1680"/>
                  </a:lnTo>
                  <a:lnTo>
                    <a:pt x="1466" y="1696"/>
                  </a:lnTo>
                  <a:lnTo>
                    <a:pt x="1452" y="1715"/>
                  </a:lnTo>
                  <a:lnTo>
                    <a:pt x="1436" y="1737"/>
                  </a:lnTo>
                  <a:lnTo>
                    <a:pt x="1418" y="1764"/>
                  </a:lnTo>
                  <a:lnTo>
                    <a:pt x="1396" y="1795"/>
                  </a:lnTo>
                  <a:lnTo>
                    <a:pt x="1372" y="1831"/>
                  </a:lnTo>
                  <a:lnTo>
                    <a:pt x="1344" y="1871"/>
                  </a:lnTo>
                  <a:lnTo>
                    <a:pt x="1313" y="1917"/>
                  </a:lnTo>
                  <a:lnTo>
                    <a:pt x="1277" y="1967"/>
                  </a:lnTo>
                  <a:lnTo>
                    <a:pt x="1238" y="2024"/>
                  </a:lnTo>
                  <a:lnTo>
                    <a:pt x="1195" y="2086"/>
                  </a:lnTo>
                  <a:lnTo>
                    <a:pt x="1149" y="2154"/>
                  </a:lnTo>
                  <a:lnTo>
                    <a:pt x="1097" y="2229"/>
                  </a:lnTo>
                  <a:lnTo>
                    <a:pt x="1097" y="2233"/>
                  </a:lnTo>
                  <a:lnTo>
                    <a:pt x="1096" y="2238"/>
                  </a:lnTo>
                  <a:lnTo>
                    <a:pt x="1093" y="2241"/>
                  </a:lnTo>
                  <a:lnTo>
                    <a:pt x="1091" y="2244"/>
                  </a:lnTo>
                  <a:lnTo>
                    <a:pt x="1090" y="2246"/>
                  </a:lnTo>
                  <a:lnTo>
                    <a:pt x="1088" y="2248"/>
                  </a:lnTo>
                  <a:lnTo>
                    <a:pt x="1088" y="2248"/>
                  </a:lnTo>
                  <a:lnTo>
                    <a:pt x="1052" y="2298"/>
                  </a:lnTo>
                  <a:lnTo>
                    <a:pt x="1011" y="2343"/>
                  </a:lnTo>
                  <a:lnTo>
                    <a:pt x="965" y="2382"/>
                  </a:lnTo>
                  <a:lnTo>
                    <a:pt x="914" y="2414"/>
                  </a:lnTo>
                  <a:lnTo>
                    <a:pt x="861" y="2441"/>
                  </a:lnTo>
                  <a:lnTo>
                    <a:pt x="806" y="2460"/>
                  </a:lnTo>
                  <a:lnTo>
                    <a:pt x="746" y="2472"/>
                  </a:lnTo>
                  <a:lnTo>
                    <a:pt x="687" y="2478"/>
                  </a:lnTo>
                  <a:lnTo>
                    <a:pt x="626" y="2477"/>
                  </a:lnTo>
                  <a:lnTo>
                    <a:pt x="565" y="2466"/>
                  </a:lnTo>
                  <a:lnTo>
                    <a:pt x="505" y="2450"/>
                  </a:lnTo>
                  <a:lnTo>
                    <a:pt x="446" y="2425"/>
                  </a:lnTo>
                  <a:lnTo>
                    <a:pt x="400" y="2396"/>
                  </a:lnTo>
                  <a:lnTo>
                    <a:pt x="357" y="2361"/>
                  </a:lnTo>
                  <a:lnTo>
                    <a:pt x="318" y="2322"/>
                  </a:lnTo>
                  <a:lnTo>
                    <a:pt x="282" y="2281"/>
                  </a:lnTo>
                  <a:lnTo>
                    <a:pt x="250" y="2239"/>
                  </a:lnTo>
                  <a:lnTo>
                    <a:pt x="242" y="2223"/>
                  </a:lnTo>
                  <a:lnTo>
                    <a:pt x="232" y="2202"/>
                  </a:lnTo>
                  <a:lnTo>
                    <a:pt x="221" y="2181"/>
                  </a:lnTo>
                  <a:lnTo>
                    <a:pt x="213" y="2159"/>
                  </a:lnTo>
                  <a:lnTo>
                    <a:pt x="201" y="2119"/>
                  </a:lnTo>
                  <a:lnTo>
                    <a:pt x="192" y="2077"/>
                  </a:lnTo>
                  <a:lnTo>
                    <a:pt x="187" y="2034"/>
                  </a:lnTo>
                  <a:lnTo>
                    <a:pt x="186" y="1987"/>
                  </a:lnTo>
                  <a:lnTo>
                    <a:pt x="158" y="1803"/>
                  </a:lnTo>
                  <a:lnTo>
                    <a:pt x="135" y="1619"/>
                  </a:lnTo>
                  <a:lnTo>
                    <a:pt x="116" y="1436"/>
                  </a:lnTo>
                  <a:lnTo>
                    <a:pt x="95" y="1252"/>
                  </a:lnTo>
                  <a:lnTo>
                    <a:pt x="73" y="1068"/>
                  </a:lnTo>
                  <a:lnTo>
                    <a:pt x="46" y="881"/>
                  </a:lnTo>
                  <a:lnTo>
                    <a:pt x="42" y="857"/>
                  </a:lnTo>
                  <a:lnTo>
                    <a:pt x="34" y="832"/>
                  </a:lnTo>
                  <a:lnTo>
                    <a:pt x="28" y="805"/>
                  </a:lnTo>
                  <a:lnTo>
                    <a:pt x="21" y="779"/>
                  </a:lnTo>
                  <a:lnTo>
                    <a:pt x="15" y="752"/>
                  </a:lnTo>
                  <a:lnTo>
                    <a:pt x="9" y="725"/>
                  </a:lnTo>
                  <a:lnTo>
                    <a:pt x="4" y="700"/>
                  </a:lnTo>
                  <a:lnTo>
                    <a:pt x="1" y="676"/>
                  </a:lnTo>
                  <a:lnTo>
                    <a:pt x="0" y="654"/>
                  </a:lnTo>
                  <a:lnTo>
                    <a:pt x="1" y="635"/>
                  </a:lnTo>
                  <a:lnTo>
                    <a:pt x="7" y="620"/>
                  </a:lnTo>
                  <a:lnTo>
                    <a:pt x="15" y="608"/>
                  </a:lnTo>
                  <a:lnTo>
                    <a:pt x="28" y="601"/>
                  </a:lnTo>
                  <a:lnTo>
                    <a:pt x="46" y="598"/>
                  </a:lnTo>
                  <a:lnTo>
                    <a:pt x="79" y="599"/>
                  </a:lnTo>
                  <a:lnTo>
                    <a:pt x="113" y="607"/>
                  </a:lnTo>
                  <a:lnTo>
                    <a:pt x="149" y="621"/>
                  </a:lnTo>
                  <a:lnTo>
                    <a:pt x="183" y="641"/>
                  </a:lnTo>
                  <a:lnTo>
                    <a:pt x="217" y="663"/>
                  </a:lnTo>
                  <a:lnTo>
                    <a:pt x="250" y="690"/>
                  </a:lnTo>
                  <a:lnTo>
                    <a:pt x="278" y="718"/>
                  </a:lnTo>
                  <a:lnTo>
                    <a:pt x="303" y="748"/>
                  </a:lnTo>
                  <a:lnTo>
                    <a:pt x="324" y="777"/>
                  </a:lnTo>
                  <a:lnTo>
                    <a:pt x="339" y="807"/>
                  </a:lnTo>
                  <a:lnTo>
                    <a:pt x="348" y="835"/>
                  </a:lnTo>
                  <a:lnTo>
                    <a:pt x="349" y="838"/>
                  </a:lnTo>
                  <a:lnTo>
                    <a:pt x="352" y="850"/>
                  </a:lnTo>
                  <a:lnTo>
                    <a:pt x="357" y="868"/>
                  </a:lnTo>
                  <a:lnTo>
                    <a:pt x="363" y="890"/>
                  </a:lnTo>
                  <a:lnTo>
                    <a:pt x="369" y="917"/>
                  </a:lnTo>
                  <a:lnTo>
                    <a:pt x="376" y="946"/>
                  </a:lnTo>
                  <a:lnTo>
                    <a:pt x="384" y="979"/>
                  </a:lnTo>
                  <a:lnTo>
                    <a:pt x="392" y="1013"/>
                  </a:lnTo>
                  <a:lnTo>
                    <a:pt x="400" y="1047"/>
                  </a:lnTo>
                  <a:lnTo>
                    <a:pt x="407" y="1080"/>
                  </a:lnTo>
                  <a:lnTo>
                    <a:pt x="415" y="1111"/>
                  </a:lnTo>
                  <a:lnTo>
                    <a:pt x="419" y="1139"/>
                  </a:lnTo>
                  <a:lnTo>
                    <a:pt x="424" y="1163"/>
                  </a:lnTo>
                  <a:lnTo>
                    <a:pt x="427" y="1184"/>
                  </a:lnTo>
                  <a:lnTo>
                    <a:pt x="496" y="1053"/>
                  </a:lnTo>
                  <a:lnTo>
                    <a:pt x="568" y="920"/>
                  </a:lnTo>
                  <a:lnTo>
                    <a:pt x="641" y="783"/>
                  </a:lnTo>
                  <a:lnTo>
                    <a:pt x="714" y="644"/>
                  </a:lnTo>
                  <a:lnTo>
                    <a:pt x="786" y="506"/>
                  </a:lnTo>
                  <a:lnTo>
                    <a:pt x="856" y="369"/>
                  </a:lnTo>
                  <a:lnTo>
                    <a:pt x="925" y="236"/>
                  </a:lnTo>
                  <a:lnTo>
                    <a:pt x="990" y="105"/>
                  </a:lnTo>
                  <a:lnTo>
                    <a:pt x="1008" y="77"/>
                  </a:lnTo>
                  <a:lnTo>
                    <a:pt x="1027" y="52"/>
                  </a:lnTo>
                  <a:lnTo>
                    <a:pt x="1048" y="31"/>
                  </a:lnTo>
                  <a:lnTo>
                    <a:pt x="1070" y="14"/>
                  </a:lnTo>
                  <a:lnTo>
                    <a:pt x="1094" y="4"/>
                  </a:lnTo>
                  <a:lnTo>
                    <a:pt x="1119" y="0"/>
                  </a:lnTo>
                  <a:close/>
                </a:path>
              </a:pathLst>
            </a:custGeom>
            <a:solidFill>
              <a:schemeClr val="bg1"/>
            </a:solidFill>
            <a:ln w="15875">
              <a:solidFill>
                <a:srgbClr val="3D58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3" name="Group 20"/>
          <p:cNvGrpSpPr>
            <a:grpSpLocks noChangeAspect="1"/>
          </p:cNvGrpSpPr>
          <p:nvPr/>
        </p:nvGrpSpPr>
        <p:grpSpPr bwMode="auto">
          <a:xfrm>
            <a:off x="8109653" y="2928867"/>
            <a:ext cx="1983320" cy="763658"/>
            <a:chOff x="2102" y="1507"/>
            <a:chExt cx="3623" cy="1395"/>
          </a:xfrm>
          <a:solidFill>
            <a:schemeClr val="accent1"/>
          </a:solidFill>
        </p:grpSpPr>
        <p:sp>
          <p:nvSpPr>
            <p:cNvPr id="46" name="Freeform 22"/>
            <p:cNvSpPr>
              <a:spLocks noEditPoints="1"/>
            </p:cNvSpPr>
            <p:nvPr/>
          </p:nvSpPr>
          <p:spPr bwMode="auto">
            <a:xfrm>
              <a:off x="2102" y="1507"/>
              <a:ext cx="1192" cy="1192"/>
            </a:xfrm>
            <a:custGeom>
              <a:avLst/>
              <a:gdLst>
                <a:gd name="T0" fmla="*/ 552 w 1192"/>
                <a:gd name="T1" fmla="*/ 252 h 1192"/>
                <a:gd name="T2" fmla="*/ 469 w 1192"/>
                <a:gd name="T3" fmla="*/ 274 h 1192"/>
                <a:gd name="T4" fmla="*/ 396 w 1192"/>
                <a:gd name="T5" fmla="*/ 317 h 1192"/>
                <a:gd name="T6" fmla="*/ 337 w 1192"/>
                <a:gd name="T7" fmla="*/ 376 h 1192"/>
                <a:gd name="T8" fmla="*/ 295 w 1192"/>
                <a:gd name="T9" fmla="*/ 449 h 1192"/>
                <a:gd name="T10" fmla="*/ 272 w 1192"/>
                <a:gd name="T11" fmla="*/ 531 h 1192"/>
                <a:gd name="T12" fmla="*/ 272 w 1192"/>
                <a:gd name="T13" fmla="*/ 620 h 1192"/>
                <a:gd name="T14" fmla="*/ 295 w 1192"/>
                <a:gd name="T15" fmla="*/ 703 h 1192"/>
                <a:gd name="T16" fmla="*/ 337 w 1192"/>
                <a:gd name="T17" fmla="*/ 776 h 1192"/>
                <a:gd name="T18" fmla="*/ 396 w 1192"/>
                <a:gd name="T19" fmla="*/ 834 h 1192"/>
                <a:gd name="T20" fmla="*/ 469 w 1192"/>
                <a:gd name="T21" fmla="*/ 877 h 1192"/>
                <a:gd name="T22" fmla="*/ 552 w 1192"/>
                <a:gd name="T23" fmla="*/ 900 h 1192"/>
                <a:gd name="T24" fmla="*/ 640 w 1192"/>
                <a:gd name="T25" fmla="*/ 900 h 1192"/>
                <a:gd name="T26" fmla="*/ 724 w 1192"/>
                <a:gd name="T27" fmla="*/ 877 h 1192"/>
                <a:gd name="T28" fmla="*/ 796 w 1192"/>
                <a:gd name="T29" fmla="*/ 834 h 1192"/>
                <a:gd name="T30" fmla="*/ 856 w 1192"/>
                <a:gd name="T31" fmla="*/ 776 h 1192"/>
                <a:gd name="T32" fmla="*/ 898 w 1192"/>
                <a:gd name="T33" fmla="*/ 703 h 1192"/>
                <a:gd name="T34" fmla="*/ 921 w 1192"/>
                <a:gd name="T35" fmla="*/ 620 h 1192"/>
                <a:gd name="T36" fmla="*/ 921 w 1192"/>
                <a:gd name="T37" fmla="*/ 531 h 1192"/>
                <a:gd name="T38" fmla="*/ 898 w 1192"/>
                <a:gd name="T39" fmla="*/ 449 h 1192"/>
                <a:gd name="T40" fmla="*/ 856 w 1192"/>
                <a:gd name="T41" fmla="*/ 376 h 1192"/>
                <a:gd name="T42" fmla="*/ 796 w 1192"/>
                <a:gd name="T43" fmla="*/ 317 h 1192"/>
                <a:gd name="T44" fmla="*/ 724 w 1192"/>
                <a:gd name="T45" fmla="*/ 274 h 1192"/>
                <a:gd name="T46" fmla="*/ 640 w 1192"/>
                <a:gd name="T47" fmla="*/ 252 h 1192"/>
                <a:gd name="T48" fmla="*/ 596 w 1192"/>
                <a:gd name="T49" fmla="*/ 0 h 1192"/>
                <a:gd name="T50" fmla="*/ 724 w 1192"/>
                <a:gd name="T51" fmla="*/ 13 h 1192"/>
                <a:gd name="T52" fmla="*/ 843 w 1192"/>
                <a:gd name="T53" fmla="*/ 53 h 1192"/>
                <a:gd name="T54" fmla="*/ 948 w 1192"/>
                <a:gd name="T55" fmla="*/ 116 h 1192"/>
                <a:gd name="T56" fmla="*/ 1038 w 1192"/>
                <a:gd name="T57" fmla="*/ 197 h 1192"/>
                <a:gd name="T58" fmla="*/ 1111 w 1192"/>
                <a:gd name="T59" fmla="*/ 295 h 1192"/>
                <a:gd name="T60" fmla="*/ 1163 w 1192"/>
                <a:gd name="T61" fmla="*/ 408 h 1192"/>
                <a:gd name="T62" fmla="*/ 1189 w 1192"/>
                <a:gd name="T63" fmla="*/ 531 h 1192"/>
                <a:gd name="T64" fmla="*/ 1189 w 1192"/>
                <a:gd name="T65" fmla="*/ 661 h 1192"/>
                <a:gd name="T66" fmla="*/ 1163 w 1192"/>
                <a:gd name="T67" fmla="*/ 784 h 1192"/>
                <a:gd name="T68" fmla="*/ 1111 w 1192"/>
                <a:gd name="T69" fmla="*/ 897 h 1192"/>
                <a:gd name="T70" fmla="*/ 1038 w 1192"/>
                <a:gd name="T71" fmla="*/ 995 h 1192"/>
                <a:gd name="T72" fmla="*/ 948 w 1192"/>
                <a:gd name="T73" fmla="*/ 1077 h 1192"/>
                <a:gd name="T74" fmla="*/ 843 w 1192"/>
                <a:gd name="T75" fmla="*/ 1139 h 1192"/>
                <a:gd name="T76" fmla="*/ 724 w 1192"/>
                <a:gd name="T77" fmla="*/ 1178 h 1192"/>
                <a:gd name="T78" fmla="*/ 596 w 1192"/>
                <a:gd name="T79" fmla="*/ 1192 h 1192"/>
                <a:gd name="T80" fmla="*/ 469 w 1192"/>
                <a:gd name="T81" fmla="*/ 1178 h 1192"/>
                <a:gd name="T82" fmla="*/ 350 w 1192"/>
                <a:gd name="T83" fmla="*/ 1139 h 1192"/>
                <a:gd name="T84" fmla="*/ 244 w 1192"/>
                <a:gd name="T85" fmla="*/ 1077 h 1192"/>
                <a:gd name="T86" fmla="*/ 154 w 1192"/>
                <a:gd name="T87" fmla="*/ 995 h 1192"/>
                <a:gd name="T88" fmla="*/ 81 w 1192"/>
                <a:gd name="T89" fmla="*/ 897 h 1192"/>
                <a:gd name="T90" fmla="*/ 31 w 1192"/>
                <a:gd name="T91" fmla="*/ 784 h 1192"/>
                <a:gd name="T92" fmla="*/ 3 w 1192"/>
                <a:gd name="T93" fmla="*/ 661 h 1192"/>
                <a:gd name="T94" fmla="*/ 3 w 1192"/>
                <a:gd name="T95" fmla="*/ 531 h 1192"/>
                <a:gd name="T96" fmla="*/ 31 w 1192"/>
                <a:gd name="T97" fmla="*/ 408 h 1192"/>
                <a:gd name="T98" fmla="*/ 81 w 1192"/>
                <a:gd name="T99" fmla="*/ 295 h 1192"/>
                <a:gd name="T100" fmla="*/ 154 w 1192"/>
                <a:gd name="T101" fmla="*/ 197 h 1192"/>
                <a:gd name="T102" fmla="*/ 244 w 1192"/>
                <a:gd name="T103" fmla="*/ 116 h 1192"/>
                <a:gd name="T104" fmla="*/ 350 w 1192"/>
                <a:gd name="T105" fmla="*/ 53 h 1192"/>
                <a:gd name="T106" fmla="*/ 469 w 1192"/>
                <a:gd name="T107" fmla="*/ 13 h 1192"/>
                <a:gd name="T108" fmla="*/ 596 w 1192"/>
                <a:gd name="T109" fmla="*/ 0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2" h="1192">
                  <a:moveTo>
                    <a:pt x="596" y="249"/>
                  </a:moveTo>
                  <a:lnTo>
                    <a:pt x="552" y="252"/>
                  </a:lnTo>
                  <a:lnTo>
                    <a:pt x="509" y="260"/>
                  </a:lnTo>
                  <a:lnTo>
                    <a:pt x="469" y="274"/>
                  </a:lnTo>
                  <a:lnTo>
                    <a:pt x="431" y="293"/>
                  </a:lnTo>
                  <a:lnTo>
                    <a:pt x="396" y="317"/>
                  </a:lnTo>
                  <a:lnTo>
                    <a:pt x="365" y="344"/>
                  </a:lnTo>
                  <a:lnTo>
                    <a:pt x="337" y="376"/>
                  </a:lnTo>
                  <a:lnTo>
                    <a:pt x="314" y="410"/>
                  </a:lnTo>
                  <a:lnTo>
                    <a:pt x="295" y="449"/>
                  </a:lnTo>
                  <a:lnTo>
                    <a:pt x="281" y="488"/>
                  </a:lnTo>
                  <a:lnTo>
                    <a:pt x="272" y="531"/>
                  </a:lnTo>
                  <a:lnTo>
                    <a:pt x="268" y="576"/>
                  </a:lnTo>
                  <a:lnTo>
                    <a:pt x="272" y="620"/>
                  </a:lnTo>
                  <a:lnTo>
                    <a:pt x="281" y="663"/>
                  </a:lnTo>
                  <a:lnTo>
                    <a:pt x="295" y="703"/>
                  </a:lnTo>
                  <a:lnTo>
                    <a:pt x="314" y="741"/>
                  </a:lnTo>
                  <a:lnTo>
                    <a:pt x="337" y="776"/>
                  </a:lnTo>
                  <a:lnTo>
                    <a:pt x="365" y="807"/>
                  </a:lnTo>
                  <a:lnTo>
                    <a:pt x="396" y="834"/>
                  </a:lnTo>
                  <a:lnTo>
                    <a:pt x="431" y="859"/>
                  </a:lnTo>
                  <a:lnTo>
                    <a:pt x="469" y="877"/>
                  </a:lnTo>
                  <a:lnTo>
                    <a:pt x="509" y="892"/>
                  </a:lnTo>
                  <a:lnTo>
                    <a:pt x="552" y="900"/>
                  </a:lnTo>
                  <a:lnTo>
                    <a:pt x="596" y="903"/>
                  </a:lnTo>
                  <a:lnTo>
                    <a:pt x="640" y="900"/>
                  </a:lnTo>
                  <a:lnTo>
                    <a:pt x="683" y="892"/>
                  </a:lnTo>
                  <a:lnTo>
                    <a:pt x="724" y="877"/>
                  </a:lnTo>
                  <a:lnTo>
                    <a:pt x="761" y="859"/>
                  </a:lnTo>
                  <a:lnTo>
                    <a:pt x="796" y="834"/>
                  </a:lnTo>
                  <a:lnTo>
                    <a:pt x="828" y="807"/>
                  </a:lnTo>
                  <a:lnTo>
                    <a:pt x="856" y="776"/>
                  </a:lnTo>
                  <a:lnTo>
                    <a:pt x="879" y="741"/>
                  </a:lnTo>
                  <a:lnTo>
                    <a:pt x="898" y="703"/>
                  </a:lnTo>
                  <a:lnTo>
                    <a:pt x="912" y="663"/>
                  </a:lnTo>
                  <a:lnTo>
                    <a:pt x="921" y="620"/>
                  </a:lnTo>
                  <a:lnTo>
                    <a:pt x="924" y="576"/>
                  </a:lnTo>
                  <a:lnTo>
                    <a:pt x="921" y="531"/>
                  </a:lnTo>
                  <a:lnTo>
                    <a:pt x="912" y="488"/>
                  </a:lnTo>
                  <a:lnTo>
                    <a:pt x="898" y="449"/>
                  </a:lnTo>
                  <a:lnTo>
                    <a:pt x="879" y="410"/>
                  </a:lnTo>
                  <a:lnTo>
                    <a:pt x="856" y="376"/>
                  </a:lnTo>
                  <a:lnTo>
                    <a:pt x="828" y="344"/>
                  </a:lnTo>
                  <a:lnTo>
                    <a:pt x="796" y="317"/>
                  </a:lnTo>
                  <a:lnTo>
                    <a:pt x="761" y="293"/>
                  </a:lnTo>
                  <a:lnTo>
                    <a:pt x="724" y="274"/>
                  </a:lnTo>
                  <a:lnTo>
                    <a:pt x="683" y="260"/>
                  </a:lnTo>
                  <a:lnTo>
                    <a:pt x="640" y="252"/>
                  </a:lnTo>
                  <a:lnTo>
                    <a:pt x="596" y="249"/>
                  </a:lnTo>
                  <a:close/>
                  <a:moveTo>
                    <a:pt x="596" y="0"/>
                  </a:moveTo>
                  <a:lnTo>
                    <a:pt x="661" y="4"/>
                  </a:lnTo>
                  <a:lnTo>
                    <a:pt x="724" y="13"/>
                  </a:lnTo>
                  <a:lnTo>
                    <a:pt x="784" y="31"/>
                  </a:lnTo>
                  <a:lnTo>
                    <a:pt x="843" y="53"/>
                  </a:lnTo>
                  <a:lnTo>
                    <a:pt x="898" y="82"/>
                  </a:lnTo>
                  <a:lnTo>
                    <a:pt x="948" y="116"/>
                  </a:lnTo>
                  <a:lnTo>
                    <a:pt x="996" y="154"/>
                  </a:lnTo>
                  <a:lnTo>
                    <a:pt x="1038" y="197"/>
                  </a:lnTo>
                  <a:lnTo>
                    <a:pt x="1078" y="244"/>
                  </a:lnTo>
                  <a:lnTo>
                    <a:pt x="1111" y="295"/>
                  </a:lnTo>
                  <a:lnTo>
                    <a:pt x="1140" y="350"/>
                  </a:lnTo>
                  <a:lnTo>
                    <a:pt x="1163" y="408"/>
                  </a:lnTo>
                  <a:lnTo>
                    <a:pt x="1179" y="468"/>
                  </a:lnTo>
                  <a:lnTo>
                    <a:pt x="1189" y="531"/>
                  </a:lnTo>
                  <a:lnTo>
                    <a:pt x="1192" y="596"/>
                  </a:lnTo>
                  <a:lnTo>
                    <a:pt x="1189" y="661"/>
                  </a:lnTo>
                  <a:lnTo>
                    <a:pt x="1179" y="723"/>
                  </a:lnTo>
                  <a:lnTo>
                    <a:pt x="1163" y="784"/>
                  </a:lnTo>
                  <a:lnTo>
                    <a:pt x="1140" y="842"/>
                  </a:lnTo>
                  <a:lnTo>
                    <a:pt x="1111" y="897"/>
                  </a:lnTo>
                  <a:lnTo>
                    <a:pt x="1078" y="948"/>
                  </a:lnTo>
                  <a:lnTo>
                    <a:pt x="1038" y="995"/>
                  </a:lnTo>
                  <a:lnTo>
                    <a:pt x="996" y="1038"/>
                  </a:lnTo>
                  <a:lnTo>
                    <a:pt x="948" y="1077"/>
                  </a:lnTo>
                  <a:lnTo>
                    <a:pt x="898" y="1110"/>
                  </a:lnTo>
                  <a:lnTo>
                    <a:pt x="843" y="1139"/>
                  </a:lnTo>
                  <a:lnTo>
                    <a:pt x="784" y="1161"/>
                  </a:lnTo>
                  <a:lnTo>
                    <a:pt x="724" y="1178"/>
                  </a:lnTo>
                  <a:lnTo>
                    <a:pt x="661" y="1188"/>
                  </a:lnTo>
                  <a:lnTo>
                    <a:pt x="596" y="1192"/>
                  </a:lnTo>
                  <a:lnTo>
                    <a:pt x="531" y="1188"/>
                  </a:lnTo>
                  <a:lnTo>
                    <a:pt x="469" y="1178"/>
                  </a:lnTo>
                  <a:lnTo>
                    <a:pt x="408" y="1161"/>
                  </a:lnTo>
                  <a:lnTo>
                    <a:pt x="350" y="1139"/>
                  </a:lnTo>
                  <a:lnTo>
                    <a:pt x="295" y="1110"/>
                  </a:lnTo>
                  <a:lnTo>
                    <a:pt x="244" y="1077"/>
                  </a:lnTo>
                  <a:lnTo>
                    <a:pt x="197" y="1038"/>
                  </a:lnTo>
                  <a:lnTo>
                    <a:pt x="154" y="995"/>
                  </a:lnTo>
                  <a:lnTo>
                    <a:pt x="116" y="948"/>
                  </a:lnTo>
                  <a:lnTo>
                    <a:pt x="81" y="897"/>
                  </a:lnTo>
                  <a:lnTo>
                    <a:pt x="53" y="842"/>
                  </a:lnTo>
                  <a:lnTo>
                    <a:pt x="31" y="784"/>
                  </a:lnTo>
                  <a:lnTo>
                    <a:pt x="14" y="723"/>
                  </a:lnTo>
                  <a:lnTo>
                    <a:pt x="3" y="661"/>
                  </a:lnTo>
                  <a:lnTo>
                    <a:pt x="0" y="596"/>
                  </a:lnTo>
                  <a:lnTo>
                    <a:pt x="3" y="531"/>
                  </a:lnTo>
                  <a:lnTo>
                    <a:pt x="14" y="468"/>
                  </a:lnTo>
                  <a:lnTo>
                    <a:pt x="31" y="408"/>
                  </a:lnTo>
                  <a:lnTo>
                    <a:pt x="53" y="350"/>
                  </a:lnTo>
                  <a:lnTo>
                    <a:pt x="81" y="295"/>
                  </a:lnTo>
                  <a:lnTo>
                    <a:pt x="116" y="244"/>
                  </a:lnTo>
                  <a:lnTo>
                    <a:pt x="154" y="197"/>
                  </a:lnTo>
                  <a:lnTo>
                    <a:pt x="197" y="154"/>
                  </a:lnTo>
                  <a:lnTo>
                    <a:pt x="244" y="116"/>
                  </a:lnTo>
                  <a:lnTo>
                    <a:pt x="295" y="82"/>
                  </a:lnTo>
                  <a:lnTo>
                    <a:pt x="350" y="53"/>
                  </a:lnTo>
                  <a:lnTo>
                    <a:pt x="408" y="31"/>
                  </a:lnTo>
                  <a:lnTo>
                    <a:pt x="469" y="13"/>
                  </a:lnTo>
                  <a:lnTo>
                    <a:pt x="531" y="4"/>
                  </a:lnTo>
                  <a:lnTo>
                    <a:pt x="5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23"/>
            <p:cNvSpPr>
              <a:spLocks noEditPoints="1"/>
            </p:cNvSpPr>
            <p:nvPr/>
          </p:nvSpPr>
          <p:spPr bwMode="auto">
            <a:xfrm>
              <a:off x="3200" y="1934"/>
              <a:ext cx="2525" cy="968"/>
            </a:xfrm>
            <a:custGeom>
              <a:avLst/>
              <a:gdLst>
                <a:gd name="T0" fmla="*/ 2398 w 2525"/>
                <a:gd name="T1" fmla="*/ 338 h 968"/>
                <a:gd name="T2" fmla="*/ 2396 w 2525"/>
                <a:gd name="T3" fmla="*/ 694 h 968"/>
                <a:gd name="T4" fmla="*/ 2377 w 2525"/>
                <a:gd name="T5" fmla="*/ 733 h 968"/>
                <a:gd name="T6" fmla="*/ 2344 w 2525"/>
                <a:gd name="T7" fmla="*/ 758 h 968"/>
                <a:gd name="T8" fmla="*/ 2302 w 2525"/>
                <a:gd name="T9" fmla="*/ 768 h 968"/>
                <a:gd name="T10" fmla="*/ 2228 w 2525"/>
                <a:gd name="T11" fmla="*/ 766 h 968"/>
                <a:gd name="T12" fmla="*/ 2190 w 2525"/>
                <a:gd name="T13" fmla="*/ 747 h 968"/>
                <a:gd name="T14" fmla="*/ 2164 w 2525"/>
                <a:gd name="T15" fmla="*/ 714 h 968"/>
                <a:gd name="T16" fmla="*/ 2154 w 2525"/>
                <a:gd name="T17" fmla="*/ 672 h 968"/>
                <a:gd name="T18" fmla="*/ 1825 w 2525"/>
                <a:gd name="T19" fmla="*/ 338 h 968"/>
                <a:gd name="T20" fmla="*/ 2068 w 2525"/>
                <a:gd name="T21" fmla="*/ 872 h 968"/>
                <a:gd name="T22" fmla="*/ 2058 w 2525"/>
                <a:gd name="T23" fmla="*/ 914 h 968"/>
                <a:gd name="T24" fmla="*/ 2033 w 2525"/>
                <a:gd name="T25" fmla="*/ 947 h 968"/>
                <a:gd name="T26" fmla="*/ 1994 w 2525"/>
                <a:gd name="T27" fmla="*/ 966 h 968"/>
                <a:gd name="T28" fmla="*/ 1920 w 2525"/>
                <a:gd name="T29" fmla="*/ 968 h 968"/>
                <a:gd name="T30" fmla="*/ 1878 w 2525"/>
                <a:gd name="T31" fmla="*/ 958 h 968"/>
                <a:gd name="T32" fmla="*/ 1846 w 2525"/>
                <a:gd name="T33" fmla="*/ 932 h 968"/>
                <a:gd name="T34" fmla="*/ 1827 w 2525"/>
                <a:gd name="T35" fmla="*/ 894 h 968"/>
                <a:gd name="T36" fmla="*/ 1825 w 2525"/>
                <a:gd name="T37" fmla="*/ 338 h 968"/>
                <a:gd name="T38" fmla="*/ 1727 w 2525"/>
                <a:gd name="T39" fmla="*/ 338 h 968"/>
                <a:gd name="T40" fmla="*/ 1724 w 2525"/>
                <a:gd name="T41" fmla="*/ 694 h 968"/>
                <a:gd name="T42" fmla="*/ 1705 w 2525"/>
                <a:gd name="T43" fmla="*/ 733 h 968"/>
                <a:gd name="T44" fmla="*/ 1673 w 2525"/>
                <a:gd name="T45" fmla="*/ 758 h 968"/>
                <a:gd name="T46" fmla="*/ 1630 w 2525"/>
                <a:gd name="T47" fmla="*/ 768 h 968"/>
                <a:gd name="T48" fmla="*/ 1556 w 2525"/>
                <a:gd name="T49" fmla="*/ 766 h 968"/>
                <a:gd name="T50" fmla="*/ 1518 w 2525"/>
                <a:gd name="T51" fmla="*/ 747 h 968"/>
                <a:gd name="T52" fmla="*/ 1493 w 2525"/>
                <a:gd name="T53" fmla="*/ 714 h 968"/>
                <a:gd name="T54" fmla="*/ 1483 w 2525"/>
                <a:gd name="T55" fmla="*/ 672 h 968"/>
                <a:gd name="T56" fmla="*/ 71 w 2525"/>
                <a:gd name="T57" fmla="*/ 0 h 968"/>
                <a:gd name="T58" fmla="*/ 2468 w 2525"/>
                <a:gd name="T59" fmla="*/ 3 h 968"/>
                <a:gd name="T60" fmla="*/ 2494 w 2525"/>
                <a:gd name="T61" fmla="*/ 28 h 968"/>
                <a:gd name="T62" fmla="*/ 2512 w 2525"/>
                <a:gd name="T63" fmla="*/ 74 h 968"/>
                <a:gd name="T64" fmla="*/ 2523 w 2525"/>
                <a:gd name="T65" fmla="*/ 135 h 968"/>
                <a:gd name="T66" fmla="*/ 2523 w 2525"/>
                <a:gd name="T67" fmla="*/ 203 h 968"/>
                <a:gd name="T68" fmla="*/ 2512 w 2525"/>
                <a:gd name="T69" fmla="*/ 264 h 968"/>
                <a:gd name="T70" fmla="*/ 2494 w 2525"/>
                <a:gd name="T71" fmla="*/ 310 h 968"/>
                <a:gd name="T72" fmla="*/ 2468 w 2525"/>
                <a:gd name="T73" fmla="*/ 335 h 968"/>
                <a:gd name="T74" fmla="*/ 71 w 2525"/>
                <a:gd name="T75" fmla="*/ 338 h 968"/>
                <a:gd name="T76" fmla="*/ 43 w 2525"/>
                <a:gd name="T77" fmla="*/ 325 h 968"/>
                <a:gd name="T78" fmla="*/ 21 w 2525"/>
                <a:gd name="T79" fmla="*/ 289 h 968"/>
                <a:gd name="T80" fmla="*/ 5 w 2525"/>
                <a:gd name="T81" fmla="*/ 235 h 968"/>
                <a:gd name="T82" fmla="*/ 0 w 2525"/>
                <a:gd name="T83" fmla="*/ 169 h 968"/>
                <a:gd name="T84" fmla="*/ 5 w 2525"/>
                <a:gd name="T85" fmla="*/ 103 h 968"/>
                <a:gd name="T86" fmla="*/ 21 w 2525"/>
                <a:gd name="T87" fmla="*/ 49 h 968"/>
                <a:gd name="T88" fmla="*/ 43 w 2525"/>
                <a:gd name="T89" fmla="*/ 13 h 968"/>
                <a:gd name="T90" fmla="*/ 71 w 2525"/>
                <a:gd name="T91"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25" h="968">
                  <a:moveTo>
                    <a:pt x="2154" y="338"/>
                  </a:moveTo>
                  <a:lnTo>
                    <a:pt x="2398" y="338"/>
                  </a:lnTo>
                  <a:lnTo>
                    <a:pt x="2398" y="672"/>
                  </a:lnTo>
                  <a:lnTo>
                    <a:pt x="2396" y="694"/>
                  </a:lnTo>
                  <a:lnTo>
                    <a:pt x="2388" y="714"/>
                  </a:lnTo>
                  <a:lnTo>
                    <a:pt x="2377" y="733"/>
                  </a:lnTo>
                  <a:lnTo>
                    <a:pt x="2363" y="747"/>
                  </a:lnTo>
                  <a:lnTo>
                    <a:pt x="2344" y="758"/>
                  </a:lnTo>
                  <a:lnTo>
                    <a:pt x="2324" y="766"/>
                  </a:lnTo>
                  <a:lnTo>
                    <a:pt x="2302" y="768"/>
                  </a:lnTo>
                  <a:lnTo>
                    <a:pt x="2250" y="768"/>
                  </a:lnTo>
                  <a:lnTo>
                    <a:pt x="2228" y="766"/>
                  </a:lnTo>
                  <a:lnTo>
                    <a:pt x="2208" y="758"/>
                  </a:lnTo>
                  <a:lnTo>
                    <a:pt x="2190" y="747"/>
                  </a:lnTo>
                  <a:lnTo>
                    <a:pt x="2176" y="733"/>
                  </a:lnTo>
                  <a:lnTo>
                    <a:pt x="2164" y="714"/>
                  </a:lnTo>
                  <a:lnTo>
                    <a:pt x="2157" y="694"/>
                  </a:lnTo>
                  <a:lnTo>
                    <a:pt x="2154" y="672"/>
                  </a:lnTo>
                  <a:lnTo>
                    <a:pt x="2154" y="338"/>
                  </a:lnTo>
                  <a:close/>
                  <a:moveTo>
                    <a:pt x="1825" y="338"/>
                  </a:moveTo>
                  <a:lnTo>
                    <a:pt x="2068" y="338"/>
                  </a:lnTo>
                  <a:lnTo>
                    <a:pt x="2068" y="872"/>
                  </a:lnTo>
                  <a:lnTo>
                    <a:pt x="2066" y="894"/>
                  </a:lnTo>
                  <a:lnTo>
                    <a:pt x="2058" y="914"/>
                  </a:lnTo>
                  <a:lnTo>
                    <a:pt x="2047" y="932"/>
                  </a:lnTo>
                  <a:lnTo>
                    <a:pt x="2033" y="947"/>
                  </a:lnTo>
                  <a:lnTo>
                    <a:pt x="2014" y="958"/>
                  </a:lnTo>
                  <a:lnTo>
                    <a:pt x="1994" y="966"/>
                  </a:lnTo>
                  <a:lnTo>
                    <a:pt x="1972" y="968"/>
                  </a:lnTo>
                  <a:lnTo>
                    <a:pt x="1920" y="968"/>
                  </a:lnTo>
                  <a:lnTo>
                    <a:pt x="1898" y="966"/>
                  </a:lnTo>
                  <a:lnTo>
                    <a:pt x="1878" y="958"/>
                  </a:lnTo>
                  <a:lnTo>
                    <a:pt x="1860" y="947"/>
                  </a:lnTo>
                  <a:lnTo>
                    <a:pt x="1846" y="932"/>
                  </a:lnTo>
                  <a:lnTo>
                    <a:pt x="1834" y="914"/>
                  </a:lnTo>
                  <a:lnTo>
                    <a:pt x="1827" y="894"/>
                  </a:lnTo>
                  <a:lnTo>
                    <a:pt x="1825" y="872"/>
                  </a:lnTo>
                  <a:lnTo>
                    <a:pt x="1825" y="338"/>
                  </a:lnTo>
                  <a:close/>
                  <a:moveTo>
                    <a:pt x="1483" y="338"/>
                  </a:moveTo>
                  <a:lnTo>
                    <a:pt x="1727" y="338"/>
                  </a:lnTo>
                  <a:lnTo>
                    <a:pt x="1727" y="672"/>
                  </a:lnTo>
                  <a:lnTo>
                    <a:pt x="1724" y="694"/>
                  </a:lnTo>
                  <a:lnTo>
                    <a:pt x="1717" y="714"/>
                  </a:lnTo>
                  <a:lnTo>
                    <a:pt x="1705" y="733"/>
                  </a:lnTo>
                  <a:lnTo>
                    <a:pt x="1691" y="747"/>
                  </a:lnTo>
                  <a:lnTo>
                    <a:pt x="1673" y="758"/>
                  </a:lnTo>
                  <a:lnTo>
                    <a:pt x="1652" y="766"/>
                  </a:lnTo>
                  <a:lnTo>
                    <a:pt x="1630" y="768"/>
                  </a:lnTo>
                  <a:lnTo>
                    <a:pt x="1578" y="768"/>
                  </a:lnTo>
                  <a:lnTo>
                    <a:pt x="1556" y="766"/>
                  </a:lnTo>
                  <a:lnTo>
                    <a:pt x="1537" y="758"/>
                  </a:lnTo>
                  <a:lnTo>
                    <a:pt x="1518" y="747"/>
                  </a:lnTo>
                  <a:lnTo>
                    <a:pt x="1504" y="733"/>
                  </a:lnTo>
                  <a:lnTo>
                    <a:pt x="1493" y="714"/>
                  </a:lnTo>
                  <a:lnTo>
                    <a:pt x="1485" y="694"/>
                  </a:lnTo>
                  <a:lnTo>
                    <a:pt x="1483" y="672"/>
                  </a:lnTo>
                  <a:lnTo>
                    <a:pt x="1483" y="338"/>
                  </a:lnTo>
                  <a:close/>
                  <a:moveTo>
                    <a:pt x="71" y="0"/>
                  </a:moveTo>
                  <a:lnTo>
                    <a:pt x="2454" y="0"/>
                  </a:lnTo>
                  <a:lnTo>
                    <a:pt x="2468" y="3"/>
                  </a:lnTo>
                  <a:lnTo>
                    <a:pt x="2481" y="13"/>
                  </a:lnTo>
                  <a:lnTo>
                    <a:pt x="2494" y="28"/>
                  </a:lnTo>
                  <a:lnTo>
                    <a:pt x="2505" y="49"/>
                  </a:lnTo>
                  <a:lnTo>
                    <a:pt x="2512" y="74"/>
                  </a:lnTo>
                  <a:lnTo>
                    <a:pt x="2519" y="103"/>
                  </a:lnTo>
                  <a:lnTo>
                    <a:pt x="2523" y="135"/>
                  </a:lnTo>
                  <a:lnTo>
                    <a:pt x="2525" y="169"/>
                  </a:lnTo>
                  <a:lnTo>
                    <a:pt x="2523" y="203"/>
                  </a:lnTo>
                  <a:lnTo>
                    <a:pt x="2519" y="235"/>
                  </a:lnTo>
                  <a:lnTo>
                    <a:pt x="2512" y="264"/>
                  </a:lnTo>
                  <a:lnTo>
                    <a:pt x="2505" y="289"/>
                  </a:lnTo>
                  <a:lnTo>
                    <a:pt x="2494" y="310"/>
                  </a:lnTo>
                  <a:lnTo>
                    <a:pt x="2481" y="325"/>
                  </a:lnTo>
                  <a:lnTo>
                    <a:pt x="2468" y="335"/>
                  </a:lnTo>
                  <a:lnTo>
                    <a:pt x="2454" y="338"/>
                  </a:lnTo>
                  <a:lnTo>
                    <a:pt x="71" y="338"/>
                  </a:lnTo>
                  <a:lnTo>
                    <a:pt x="57" y="335"/>
                  </a:lnTo>
                  <a:lnTo>
                    <a:pt x="43" y="325"/>
                  </a:lnTo>
                  <a:lnTo>
                    <a:pt x="31" y="310"/>
                  </a:lnTo>
                  <a:lnTo>
                    <a:pt x="21" y="289"/>
                  </a:lnTo>
                  <a:lnTo>
                    <a:pt x="12" y="264"/>
                  </a:lnTo>
                  <a:lnTo>
                    <a:pt x="5" y="235"/>
                  </a:lnTo>
                  <a:lnTo>
                    <a:pt x="1" y="203"/>
                  </a:lnTo>
                  <a:lnTo>
                    <a:pt x="0" y="169"/>
                  </a:lnTo>
                  <a:lnTo>
                    <a:pt x="1" y="135"/>
                  </a:lnTo>
                  <a:lnTo>
                    <a:pt x="5" y="103"/>
                  </a:lnTo>
                  <a:lnTo>
                    <a:pt x="12" y="74"/>
                  </a:lnTo>
                  <a:lnTo>
                    <a:pt x="21" y="49"/>
                  </a:lnTo>
                  <a:lnTo>
                    <a:pt x="31" y="28"/>
                  </a:lnTo>
                  <a:lnTo>
                    <a:pt x="43" y="13"/>
                  </a:lnTo>
                  <a:lnTo>
                    <a:pt x="57" y="3"/>
                  </a:lnTo>
                  <a:lnTo>
                    <a:pt x="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70" name="Picture 6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700" y="3162618"/>
            <a:ext cx="1596304" cy="1065977"/>
          </a:xfrm>
          <a:prstGeom prst="rect">
            <a:avLst/>
          </a:prstGeom>
        </p:spPr>
      </p:pic>
      <p:pic>
        <p:nvPicPr>
          <p:cNvPr id="48" name="Picture 4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9818" y="1790433"/>
            <a:ext cx="1257117" cy="1291557"/>
          </a:xfrm>
          <a:prstGeom prst="rect">
            <a:avLst/>
          </a:prstGeom>
        </p:spPr>
      </p:pic>
      <p:grpSp>
        <p:nvGrpSpPr>
          <p:cNvPr id="75" name="Group 74"/>
          <p:cNvGrpSpPr/>
          <p:nvPr/>
        </p:nvGrpSpPr>
        <p:grpSpPr>
          <a:xfrm>
            <a:off x="10375381" y="2493294"/>
            <a:ext cx="1601501" cy="2107337"/>
            <a:chOff x="2660804" y="1483436"/>
            <a:chExt cx="2085461" cy="2744157"/>
          </a:xfrm>
        </p:grpSpPr>
        <p:sp>
          <p:nvSpPr>
            <p:cNvPr id="76" name="Freeform 30"/>
            <p:cNvSpPr>
              <a:spLocks noEditPoints="1"/>
            </p:cNvSpPr>
            <p:nvPr/>
          </p:nvSpPr>
          <p:spPr bwMode="auto">
            <a:xfrm>
              <a:off x="3312207" y="1483436"/>
              <a:ext cx="1434058" cy="2744157"/>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7" name="Freeform 31"/>
            <p:cNvSpPr>
              <a:spLocks/>
            </p:cNvSpPr>
            <p:nvPr/>
          </p:nvSpPr>
          <p:spPr bwMode="auto">
            <a:xfrm>
              <a:off x="2706987" y="2147584"/>
              <a:ext cx="1567742" cy="1152108"/>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32"/>
            <p:cNvSpPr>
              <a:spLocks noEditPoints="1"/>
            </p:cNvSpPr>
            <p:nvPr/>
          </p:nvSpPr>
          <p:spPr bwMode="auto">
            <a:xfrm>
              <a:off x="2660804" y="2120256"/>
              <a:ext cx="1694133" cy="1446213"/>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7759598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bwMode="auto">
          <a:xfrm>
            <a:off x="6353982" y="3131976"/>
            <a:ext cx="2907689" cy="10926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defTabSz="931077">
              <a:lnSpc>
                <a:spcPct val="90000"/>
              </a:lnSpc>
              <a:spcAft>
                <a:spcPts val="612"/>
              </a:spcAft>
            </a:pPr>
            <a:r>
              <a:rPr lang="en-US" sz="1600" dirty="0">
                <a:solidFill>
                  <a:srgbClr val="282828"/>
                </a:solidFill>
              </a:rPr>
              <a:t>Hardware and software GPUs</a:t>
            </a:r>
          </a:p>
          <a:p>
            <a:pPr defTabSz="931077">
              <a:lnSpc>
                <a:spcPct val="90000"/>
              </a:lnSpc>
              <a:spcAft>
                <a:spcPts val="612"/>
              </a:spcAft>
            </a:pPr>
            <a:r>
              <a:rPr lang="en-US" sz="1600" dirty="0">
                <a:solidFill>
                  <a:srgbClr val="282828"/>
                </a:solidFill>
              </a:rPr>
              <a:t>Rich multimedia</a:t>
            </a:r>
          </a:p>
          <a:p>
            <a:pPr defTabSz="931077">
              <a:lnSpc>
                <a:spcPct val="90000"/>
              </a:lnSpc>
              <a:spcAft>
                <a:spcPts val="612"/>
              </a:spcAft>
            </a:pPr>
            <a:r>
              <a:rPr lang="en-US" sz="1600" dirty="0">
                <a:solidFill>
                  <a:srgbClr val="282828"/>
                </a:solidFill>
              </a:rPr>
              <a:t>USB redirection</a:t>
            </a:r>
          </a:p>
        </p:txBody>
      </p:sp>
      <p:sp>
        <p:nvSpPr>
          <p:cNvPr id="47" name="Rectangle 46"/>
          <p:cNvSpPr/>
          <p:nvPr/>
        </p:nvSpPr>
        <p:spPr bwMode="auto">
          <a:xfrm>
            <a:off x="6364607" y="4374605"/>
            <a:ext cx="2907689" cy="109268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defTabSz="931077">
              <a:lnSpc>
                <a:spcPct val="90000"/>
              </a:lnSpc>
              <a:spcAft>
                <a:spcPts val="612"/>
              </a:spcAft>
            </a:pPr>
            <a:r>
              <a:rPr lang="en-US" sz="1600" dirty="0">
                <a:solidFill>
                  <a:srgbClr val="282828"/>
                </a:solidFill>
              </a:rPr>
              <a:t>Multitouch</a:t>
            </a:r>
          </a:p>
          <a:p>
            <a:pPr defTabSz="931077">
              <a:lnSpc>
                <a:spcPct val="90000"/>
              </a:lnSpc>
              <a:spcAft>
                <a:spcPts val="612"/>
              </a:spcAft>
            </a:pPr>
            <a:r>
              <a:rPr lang="en-US" sz="1600" dirty="0">
                <a:solidFill>
                  <a:srgbClr val="282828"/>
                </a:solidFill>
              </a:rPr>
              <a:t>WAN acceleration</a:t>
            </a:r>
          </a:p>
          <a:p>
            <a:pPr defTabSz="931077">
              <a:lnSpc>
                <a:spcPct val="90000"/>
              </a:lnSpc>
              <a:spcAft>
                <a:spcPts val="612"/>
              </a:spcAft>
            </a:pPr>
            <a:r>
              <a:rPr lang="en-US" sz="1600" dirty="0">
                <a:solidFill>
                  <a:srgbClr val="282828"/>
                </a:solidFill>
              </a:rPr>
              <a:t>Single sign-on</a:t>
            </a:r>
          </a:p>
        </p:txBody>
      </p:sp>
      <p:cxnSp>
        <p:nvCxnSpPr>
          <p:cNvPr id="44" name="Straight Connector 43"/>
          <p:cNvCxnSpPr/>
          <p:nvPr/>
        </p:nvCxnSpPr>
        <p:spPr>
          <a:xfrm>
            <a:off x="2393853" y="3624492"/>
            <a:ext cx="427344" cy="0"/>
          </a:xfrm>
          <a:prstGeom prst="line">
            <a:avLst/>
          </a:prstGeom>
          <a:ln w="22225" cap="rnd" cmpd="sng">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2396813" y="4867861"/>
            <a:ext cx="414126" cy="0"/>
          </a:xfrm>
          <a:prstGeom prst="line">
            <a:avLst/>
          </a:prstGeom>
          <a:ln w="22225" cap="rnd" cmpd="sng">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bwMode="auto">
          <a:xfrm>
            <a:off x="2902161" y="3374996"/>
            <a:ext cx="2119421" cy="57278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defTabSz="931077">
              <a:lnSpc>
                <a:spcPct val="90000"/>
              </a:lnSpc>
            </a:pPr>
            <a:r>
              <a:rPr lang="en-US" sz="2040" dirty="0">
                <a:solidFill>
                  <a:schemeClr val="tx1"/>
                </a:solidFill>
              </a:rPr>
              <a:t>Corporate LAN</a:t>
            </a:r>
          </a:p>
        </p:txBody>
      </p:sp>
      <p:sp>
        <p:nvSpPr>
          <p:cNvPr id="15" name="Title 4"/>
          <p:cNvSpPr>
            <a:spLocks noGrp="1"/>
          </p:cNvSpPr>
          <p:nvPr>
            <p:ph type="title"/>
          </p:nvPr>
        </p:nvSpPr>
        <p:spPr>
          <a:xfrm>
            <a:off x="254006" y="296863"/>
            <a:ext cx="9717077" cy="779309"/>
          </a:xfrm>
        </p:spPr>
        <p:txBody>
          <a:bodyPr/>
          <a:lstStyle/>
          <a:p>
            <a:pPr lvl="0"/>
            <a:r>
              <a:rPr lang="en-US" dirty="0" smtClean="0"/>
              <a:t>RemoteFX over LAN or WAN</a:t>
            </a:r>
            <a:endParaRPr lang="en-US" dirty="0"/>
          </a:p>
        </p:txBody>
      </p:sp>
      <p:sp>
        <p:nvSpPr>
          <p:cNvPr id="191" name="Rectangle 190"/>
          <p:cNvSpPr/>
          <p:nvPr/>
        </p:nvSpPr>
        <p:spPr>
          <a:xfrm>
            <a:off x="1566545" y="1476841"/>
            <a:ext cx="8673988" cy="980555"/>
          </a:xfrm>
          <a:prstGeom prst="rect">
            <a:avLst/>
          </a:prstGeom>
        </p:spPr>
        <p:txBody>
          <a:bodyPr wrap="square" lIns="93248" tIns="46624" rIns="93248" bIns="46624">
            <a:spAutoFit/>
          </a:bodyPr>
          <a:lstStyle/>
          <a:p>
            <a:pPr marL="0" lvl="1" algn="ctr" defTabSz="1110116" eaLnBrk="0" fontAlgn="base" hangingPunct="0">
              <a:lnSpc>
                <a:spcPct val="90000"/>
              </a:lnSpc>
              <a:spcBef>
                <a:spcPct val="20000"/>
              </a:spcBef>
              <a:spcAft>
                <a:spcPct val="0"/>
              </a:spcAft>
              <a:buClr>
                <a:srgbClr val="FFFFFF"/>
              </a:buClr>
              <a:buSzPct val="95000"/>
              <a:defRPr/>
            </a:pPr>
            <a:r>
              <a:rPr lang="en-US" sz="2400" dirty="0">
                <a:solidFill>
                  <a:srgbClr val="00188F"/>
                </a:solidFill>
              </a:rPr>
              <a:t>RemoteFX delivers a consistently rich</a:t>
            </a:r>
            <a:br>
              <a:rPr lang="en-US" sz="2400" dirty="0">
                <a:solidFill>
                  <a:srgbClr val="00188F"/>
                </a:solidFill>
              </a:rPr>
            </a:br>
            <a:r>
              <a:rPr lang="en-US" sz="2400" dirty="0">
                <a:solidFill>
                  <a:srgbClr val="00188F"/>
                </a:solidFill>
              </a:rPr>
              <a:t>user experience to users over LAN or WAN</a:t>
            </a:r>
            <a:r>
              <a:rPr lang="en-US" sz="2448" dirty="0">
                <a:solidFill>
                  <a:srgbClr val="00188F"/>
                </a:solidFill>
              </a:rPr>
              <a:t/>
            </a:r>
            <a:br>
              <a:rPr lang="en-US" sz="2448" dirty="0">
                <a:solidFill>
                  <a:srgbClr val="00188F"/>
                </a:solidFill>
              </a:rPr>
            </a:br>
            <a:r>
              <a:rPr lang="en-US" sz="1600" dirty="0"/>
              <a:t>(regardless of deployment model)</a:t>
            </a:r>
          </a:p>
        </p:txBody>
      </p:sp>
      <p:grpSp>
        <p:nvGrpSpPr>
          <p:cNvPr id="8" name="Group 7"/>
          <p:cNvGrpSpPr/>
          <p:nvPr/>
        </p:nvGrpSpPr>
        <p:grpSpPr>
          <a:xfrm>
            <a:off x="3725070" y="3148370"/>
            <a:ext cx="352345" cy="341993"/>
            <a:chOff x="3610719" y="3117233"/>
            <a:chExt cx="224569" cy="217972"/>
          </a:xfrm>
          <a:solidFill>
            <a:schemeClr val="tx2"/>
          </a:solidFill>
        </p:grpSpPr>
        <p:sp>
          <p:nvSpPr>
            <p:cNvPr id="39" name="Freeform 132"/>
            <p:cNvSpPr>
              <a:spLocks/>
            </p:cNvSpPr>
            <p:nvPr/>
          </p:nvSpPr>
          <p:spPr bwMode="black">
            <a:xfrm>
              <a:off x="3615079" y="3282892"/>
              <a:ext cx="54506" cy="52313"/>
            </a:xfrm>
            <a:custGeom>
              <a:avLst/>
              <a:gdLst/>
              <a:ahLst/>
              <a:cxnLst>
                <a:cxn ang="0">
                  <a:pos x="29" y="55"/>
                </a:cxn>
                <a:cxn ang="0">
                  <a:pos x="1" y="28"/>
                </a:cxn>
                <a:cxn ang="0">
                  <a:pos x="25" y="0"/>
                </a:cxn>
                <a:cxn ang="0">
                  <a:pos x="54" y="28"/>
                </a:cxn>
                <a:cxn ang="0">
                  <a:pos x="29" y="55"/>
                </a:cxn>
              </a:cxnLst>
              <a:rect l="0" t="0" r="r" b="b"/>
              <a:pathLst>
                <a:path w="55" h="55">
                  <a:moveTo>
                    <a:pt x="29" y="55"/>
                  </a:moveTo>
                  <a:cubicBezTo>
                    <a:pt x="15" y="55"/>
                    <a:pt x="2" y="43"/>
                    <a:pt x="1" y="28"/>
                  </a:cubicBezTo>
                  <a:cubicBezTo>
                    <a:pt x="0" y="13"/>
                    <a:pt x="10" y="1"/>
                    <a:pt x="25" y="0"/>
                  </a:cubicBezTo>
                  <a:cubicBezTo>
                    <a:pt x="40" y="0"/>
                    <a:pt x="53" y="12"/>
                    <a:pt x="54" y="28"/>
                  </a:cubicBezTo>
                  <a:cubicBezTo>
                    <a:pt x="55" y="43"/>
                    <a:pt x="44" y="55"/>
                    <a:pt x="29" y="55"/>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1836" spc="-124" dirty="0">
                <a:solidFill>
                  <a:schemeClr val="tx1">
                    <a:lumMod val="50000"/>
                  </a:schemeClr>
                </a:solidFill>
                <a:latin typeface="Segoe Light" pitchFamily="34" charset="0"/>
              </a:endParaRPr>
            </a:p>
          </p:txBody>
        </p:sp>
        <p:sp>
          <p:nvSpPr>
            <p:cNvPr id="40" name="Freeform 133"/>
            <p:cNvSpPr>
              <a:spLocks/>
            </p:cNvSpPr>
            <p:nvPr/>
          </p:nvSpPr>
          <p:spPr bwMode="black">
            <a:xfrm>
              <a:off x="3610719" y="3117233"/>
              <a:ext cx="224569" cy="211433"/>
            </a:xfrm>
            <a:custGeom>
              <a:avLst/>
              <a:gdLst/>
              <a:ahLst/>
              <a:cxnLst>
                <a:cxn ang="0">
                  <a:pos x="234" y="213"/>
                </a:cxn>
                <a:cxn ang="0">
                  <a:pos x="123" y="26"/>
                </a:cxn>
                <a:cxn ang="0">
                  <a:pos x="5" y="2"/>
                </a:cxn>
                <a:cxn ang="0">
                  <a:pos x="2" y="6"/>
                </a:cxn>
                <a:cxn ang="0">
                  <a:pos x="0" y="34"/>
                </a:cxn>
                <a:cxn ang="0">
                  <a:pos x="4" y="38"/>
                </a:cxn>
                <a:cxn ang="0">
                  <a:pos x="104" y="63"/>
                </a:cxn>
                <a:cxn ang="0">
                  <a:pos x="196" y="217"/>
                </a:cxn>
                <a:cxn ang="0">
                  <a:pos x="200" y="222"/>
                </a:cxn>
                <a:cxn ang="0">
                  <a:pos x="230" y="219"/>
                </a:cxn>
                <a:cxn ang="0">
                  <a:pos x="234" y="213"/>
                </a:cxn>
              </a:cxnLst>
              <a:rect l="0" t="0" r="r" b="b"/>
              <a:pathLst>
                <a:path w="234" h="222">
                  <a:moveTo>
                    <a:pt x="234" y="213"/>
                  </a:moveTo>
                  <a:cubicBezTo>
                    <a:pt x="231" y="110"/>
                    <a:pt x="177" y="53"/>
                    <a:pt x="123" y="26"/>
                  </a:cubicBezTo>
                  <a:cubicBezTo>
                    <a:pt x="71" y="0"/>
                    <a:pt x="19" y="1"/>
                    <a:pt x="5" y="2"/>
                  </a:cubicBezTo>
                  <a:cubicBezTo>
                    <a:pt x="3" y="2"/>
                    <a:pt x="2" y="3"/>
                    <a:pt x="2" y="6"/>
                  </a:cubicBezTo>
                  <a:cubicBezTo>
                    <a:pt x="1" y="8"/>
                    <a:pt x="1" y="32"/>
                    <a:pt x="0" y="34"/>
                  </a:cubicBezTo>
                  <a:cubicBezTo>
                    <a:pt x="0" y="38"/>
                    <a:pt x="2" y="38"/>
                    <a:pt x="4" y="38"/>
                  </a:cubicBezTo>
                  <a:cubicBezTo>
                    <a:pt x="17" y="37"/>
                    <a:pt x="61" y="39"/>
                    <a:pt x="104" y="63"/>
                  </a:cubicBezTo>
                  <a:cubicBezTo>
                    <a:pt x="149" y="87"/>
                    <a:pt x="192" y="134"/>
                    <a:pt x="196" y="217"/>
                  </a:cubicBezTo>
                  <a:cubicBezTo>
                    <a:pt x="196" y="220"/>
                    <a:pt x="197" y="222"/>
                    <a:pt x="200" y="222"/>
                  </a:cubicBezTo>
                  <a:cubicBezTo>
                    <a:pt x="201" y="222"/>
                    <a:pt x="228" y="219"/>
                    <a:pt x="230" y="219"/>
                  </a:cubicBezTo>
                  <a:cubicBezTo>
                    <a:pt x="233" y="219"/>
                    <a:pt x="234" y="217"/>
                    <a:pt x="234" y="213"/>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1836" spc="-124" dirty="0">
                <a:solidFill>
                  <a:schemeClr val="tx1">
                    <a:lumMod val="50000"/>
                  </a:schemeClr>
                </a:solidFill>
                <a:latin typeface="Segoe Light" pitchFamily="34" charset="0"/>
              </a:endParaRPr>
            </a:p>
          </p:txBody>
        </p:sp>
        <p:sp>
          <p:nvSpPr>
            <p:cNvPr id="41" name="Freeform 134"/>
            <p:cNvSpPr>
              <a:spLocks/>
            </p:cNvSpPr>
            <p:nvPr/>
          </p:nvSpPr>
          <p:spPr bwMode="black">
            <a:xfrm>
              <a:off x="3610719" y="3200062"/>
              <a:ext cx="143899" cy="135143"/>
            </a:xfrm>
            <a:custGeom>
              <a:avLst/>
              <a:gdLst/>
              <a:ahLst/>
              <a:cxnLst>
                <a:cxn ang="0">
                  <a:pos x="151" y="133"/>
                </a:cxn>
                <a:cxn ang="0">
                  <a:pos x="4" y="0"/>
                </a:cxn>
                <a:cxn ang="0">
                  <a:pos x="0" y="4"/>
                </a:cxn>
                <a:cxn ang="0">
                  <a:pos x="1" y="35"/>
                </a:cxn>
                <a:cxn ang="0">
                  <a:pos x="5" y="40"/>
                </a:cxn>
                <a:cxn ang="0">
                  <a:pos x="110" y="135"/>
                </a:cxn>
                <a:cxn ang="0">
                  <a:pos x="115" y="141"/>
                </a:cxn>
                <a:cxn ang="0">
                  <a:pos x="146" y="139"/>
                </a:cxn>
                <a:cxn ang="0">
                  <a:pos x="151" y="133"/>
                </a:cxn>
              </a:cxnLst>
              <a:rect l="0" t="0" r="r" b="b"/>
              <a:pathLst>
                <a:path w="151" h="141">
                  <a:moveTo>
                    <a:pt x="151" y="133"/>
                  </a:moveTo>
                  <a:cubicBezTo>
                    <a:pt x="142" y="30"/>
                    <a:pt x="54" y="0"/>
                    <a:pt x="4" y="0"/>
                  </a:cubicBezTo>
                  <a:cubicBezTo>
                    <a:pt x="1" y="0"/>
                    <a:pt x="0" y="1"/>
                    <a:pt x="0" y="4"/>
                  </a:cubicBezTo>
                  <a:cubicBezTo>
                    <a:pt x="0" y="5"/>
                    <a:pt x="0" y="33"/>
                    <a:pt x="1" y="35"/>
                  </a:cubicBezTo>
                  <a:cubicBezTo>
                    <a:pt x="1" y="38"/>
                    <a:pt x="2" y="40"/>
                    <a:pt x="5" y="40"/>
                  </a:cubicBezTo>
                  <a:cubicBezTo>
                    <a:pt x="31" y="42"/>
                    <a:pt x="100" y="55"/>
                    <a:pt x="110" y="135"/>
                  </a:cubicBezTo>
                  <a:cubicBezTo>
                    <a:pt x="111" y="139"/>
                    <a:pt x="111" y="141"/>
                    <a:pt x="115" y="141"/>
                  </a:cubicBezTo>
                  <a:cubicBezTo>
                    <a:pt x="117" y="141"/>
                    <a:pt x="145" y="139"/>
                    <a:pt x="146" y="139"/>
                  </a:cubicBezTo>
                  <a:cubicBezTo>
                    <a:pt x="150" y="139"/>
                    <a:pt x="151" y="137"/>
                    <a:pt x="151" y="133"/>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defTabSz="755481"/>
              <a:endParaRPr lang="en-US" sz="1836" spc="-124" dirty="0">
                <a:solidFill>
                  <a:schemeClr val="tx1">
                    <a:lumMod val="50000"/>
                  </a:schemeClr>
                </a:solidFill>
                <a:latin typeface="Segoe Light" pitchFamily="34" charset="0"/>
              </a:endParaRPr>
            </a:p>
          </p:txBody>
        </p:sp>
      </p:grpSp>
      <p:sp>
        <p:nvSpPr>
          <p:cNvPr id="42" name="Rectangle 41"/>
          <p:cNvSpPr/>
          <p:nvPr/>
        </p:nvSpPr>
        <p:spPr bwMode="auto">
          <a:xfrm>
            <a:off x="2902161" y="4591584"/>
            <a:ext cx="2060154" cy="57278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defTabSz="931077">
              <a:lnSpc>
                <a:spcPct val="90000"/>
              </a:lnSpc>
            </a:pPr>
            <a:r>
              <a:rPr lang="en-US" sz="2040" dirty="0">
                <a:solidFill>
                  <a:schemeClr val="tx1"/>
                </a:solidFill>
              </a:rPr>
              <a:t>Internet or WAN</a:t>
            </a:r>
          </a:p>
        </p:txBody>
      </p:sp>
      <p:sp>
        <p:nvSpPr>
          <p:cNvPr id="43" name="Freeform 62"/>
          <p:cNvSpPr>
            <a:spLocks noEditPoints="1"/>
          </p:cNvSpPr>
          <p:nvPr/>
        </p:nvSpPr>
        <p:spPr bwMode="black">
          <a:xfrm>
            <a:off x="3662384" y="5035439"/>
            <a:ext cx="378515" cy="37841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2"/>
          </a:solidFill>
          <a:ln>
            <a:noFill/>
          </a:ln>
        </p:spPr>
        <p:txBody>
          <a:bodyPr vert="horz" wrap="square" lIns="83943" tIns="41972" rIns="83943" bIns="41972" numCol="1" anchor="t" anchorCtr="0" compatLnSpc="1">
            <a:prstTxWarp prst="textNoShape">
              <a:avLst/>
            </a:prstTxWarp>
          </a:bodyPr>
          <a:lstStyle/>
          <a:p>
            <a:endParaRPr lang="en-US" sz="1632" dirty="0"/>
          </a:p>
        </p:txBody>
      </p:sp>
      <p:sp>
        <p:nvSpPr>
          <p:cNvPr id="10" name="Right Bracket 9"/>
          <p:cNvSpPr/>
          <p:nvPr/>
        </p:nvSpPr>
        <p:spPr>
          <a:xfrm>
            <a:off x="2094272" y="3057764"/>
            <a:ext cx="290769" cy="2440924"/>
          </a:xfrm>
          <a:prstGeom prst="rightBracket">
            <a:avLst>
              <a:gd name="adj" fmla="val 0"/>
            </a:avLst>
          </a:prstGeom>
          <a:ln w="22225" cap="rnd" cmpd="sng">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dirty="0"/>
          </a:p>
        </p:txBody>
      </p:sp>
      <p:cxnSp>
        <p:nvCxnSpPr>
          <p:cNvPr id="13" name="Straight Connector 12"/>
          <p:cNvCxnSpPr/>
          <p:nvPr/>
        </p:nvCxnSpPr>
        <p:spPr>
          <a:xfrm>
            <a:off x="2111896" y="4309068"/>
            <a:ext cx="281957" cy="0"/>
          </a:xfrm>
          <a:prstGeom prst="line">
            <a:avLst/>
          </a:prstGeom>
          <a:ln w="22225" cap="rnd" cmpd="sng">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157365" y="3643072"/>
            <a:ext cx="1027023" cy="0"/>
          </a:xfrm>
          <a:prstGeom prst="line">
            <a:avLst/>
          </a:prstGeom>
          <a:ln w="22225" cap="rnd" cmpd="sng">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157365" y="4877974"/>
            <a:ext cx="1027023" cy="0"/>
          </a:xfrm>
          <a:prstGeom prst="line">
            <a:avLst/>
          </a:prstGeom>
          <a:ln w="22225" cap="rnd" cmpd="sng">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9151409" y="2871178"/>
            <a:ext cx="2096029" cy="2728597"/>
            <a:chOff x="9412225" y="2871178"/>
            <a:chExt cx="2096029" cy="2728597"/>
          </a:xfrm>
        </p:grpSpPr>
        <p:sp>
          <p:nvSpPr>
            <p:cNvPr id="49" name="Freeform 59"/>
            <p:cNvSpPr>
              <a:spLocks noEditPoints="1"/>
            </p:cNvSpPr>
            <p:nvPr/>
          </p:nvSpPr>
          <p:spPr bwMode="auto">
            <a:xfrm>
              <a:off x="10466651" y="2871178"/>
              <a:ext cx="1041603" cy="199568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 name="Rectangle 52"/>
            <p:cNvSpPr/>
            <p:nvPr/>
          </p:nvSpPr>
          <p:spPr bwMode="auto">
            <a:xfrm>
              <a:off x="10326512" y="3319367"/>
              <a:ext cx="280278" cy="78614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50" name="Freeform 59"/>
            <p:cNvSpPr>
              <a:spLocks noEditPoints="1"/>
            </p:cNvSpPr>
            <p:nvPr/>
          </p:nvSpPr>
          <p:spPr bwMode="auto">
            <a:xfrm>
              <a:off x="9942201" y="3234776"/>
              <a:ext cx="1041603" cy="199568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 name="Rectangle 11"/>
            <p:cNvSpPr/>
            <p:nvPr/>
          </p:nvSpPr>
          <p:spPr bwMode="auto">
            <a:xfrm>
              <a:off x="9802062" y="3712441"/>
              <a:ext cx="280278" cy="78614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51" name="Freeform 59"/>
            <p:cNvSpPr>
              <a:spLocks noEditPoints="1"/>
            </p:cNvSpPr>
            <p:nvPr/>
          </p:nvSpPr>
          <p:spPr bwMode="auto">
            <a:xfrm>
              <a:off x="9412225" y="3604089"/>
              <a:ext cx="1041603" cy="199568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pic>
        <p:nvPicPr>
          <p:cNvPr id="54" name="Picture 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276" y="5193932"/>
            <a:ext cx="1215501" cy="811685"/>
          </a:xfrm>
          <a:prstGeom prst="rect">
            <a:avLst/>
          </a:prstGeom>
        </p:spPr>
      </p:pic>
      <p:sp>
        <p:nvSpPr>
          <p:cNvPr id="60" name="Freeform 10"/>
          <p:cNvSpPr>
            <a:spLocks noEditPoints="1"/>
          </p:cNvSpPr>
          <p:nvPr/>
        </p:nvSpPr>
        <p:spPr bwMode="auto">
          <a:xfrm>
            <a:off x="947798" y="2756443"/>
            <a:ext cx="928455" cy="586907"/>
          </a:xfrm>
          <a:custGeom>
            <a:avLst/>
            <a:gdLst>
              <a:gd name="T0" fmla="*/ 87 w 782"/>
              <a:gd name="T1" fmla="*/ 232 h 493"/>
              <a:gd name="T2" fmla="*/ 195 w 782"/>
              <a:gd name="T3" fmla="*/ 0 h 493"/>
              <a:gd name="T4" fmla="*/ 724 w 782"/>
              <a:gd name="T5" fmla="*/ 467 h 493"/>
              <a:gd name="T6" fmla="*/ 612 w 782"/>
              <a:gd name="T7" fmla="*/ 369 h 493"/>
              <a:gd name="T8" fmla="*/ 565 w 782"/>
              <a:gd name="T9" fmla="*/ 349 h 493"/>
              <a:gd name="T10" fmla="*/ 605 w 782"/>
              <a:gd name="T11" fmla="*/ 354 h 493"/>
              <a:gd name="T12" fmla="*/ 366 w 782"/>
              <a:gd name="T13" fmla="*/ 366 h 493"/>
              <a:gd name="T14" fmla="*/ 372 w 782"/>
              <a:gd name="T15" fmla="*/ 348 h 493"/>
              <a:gd name="T16" fmla="*/ 410 w 782"/>
              <a:gd name="T17" fmla="*/ 351 h 493"/>
              <a:gd name="T18" fmla="*/ 409 w 782"/>
              <a:gd name="T19" fmla="*/ 406 h 493"/>
              <a:gd name="T20" fmla="*/ 362 w 782"/>
              <a:gd name="T21" fmla="*/ 405 h 493"/>
              <a:gd name="T22" fmla="*/ 288 w 782"/>
              <a:gd name="T23" fmla="*/ 400 h 493"/>
              <a:gd name="T24" fmla="*/ 339 w 782"/>
              <a:gd name="T25" fmla="*/ 389 h 493"/>
              <a:gd name="T26" fmla="*/ 322 w 782"/>
              <a:gd name="T27" fmla="*/ 409 h 493"/>
              <a:gd name="T28" fmla="*/ 302 w 782"/>
              <a:gd name="T29" fmla="*/ 353 h 493"/>
              <a:gd name="T30" fmla="*/ 345 w 782"/>
              <a:gd name="T31" fmla="*/ 351 h 493"/>
              <a:gd name="T32" fmla="*/ 213 w 782"/>
              <a:gd name="T33" fmla="*/ 402 h 493"/>
              <a:gd name="T34" fmla="*/ 267 w 782"/>
              <a:gd name="T35" fmla="*/ 387 h 493"/>
              <a:gd name="T36" fmla="*/ 213 w 782"/>
              <a:gd name="T37" fmla="*/ 406 h 493"/>
              <a:gd name="T38" fmla="*/ 199 w 782"/>
              <a:gd name="T39" fmla="*/ 369 h 493"/>
              <a:gd name="T40" fmla="*/ 214 w 782"/>
              <a:gd name="T41" fmla="*/ 348 h 493"/>
              <a:gd name="T42" fmla="*/ 233 w 782"/>
              <a:gd name="T43" fmla="*/ 361 h 493"/>
              <a:gd name="T44" fmla="*/ 280 w 782"/>
              <a:gd name="T45" fmla="*/ 350 h 493"/>
              <a:gd name="T46" fmla="*/ 273 w 782"/>
              <a:gd name="T47" fmla="*/ 367 h 493"/>
              <a:gd name="T48" fmla="*/ 159 w 782"/>
              <a:gd name="T49" fmla="*/ 452 h 493"/>
              <a:gd name="T50" fmla="*/ 107 w 782"/>
              <a:gd name="T51" fmla="*/ 448 h 493"/>
              <a:gd name="T52" fmla="*/ 137 w 782"/>
              <a:gd name="T53" fmla="*/ 424 h 493"/>
              <a:gd name="T54" fmla="*/ 188 w 782"/>
              <a:gd name="T55" fmla="*/ 402 h 493"/>
              <a:gd name="T56" fmla="*/ 142 w 782"/>
              <a:gd name="T57" fmla="*/ 409 h 493"/>
              <a:gd name="T58" fmla="*/ 153 w 782"/>
              <a:gd name="T59" fmla="*/ 385 h 493"/>
              <a:gd name="T60" fmla="*/ 196 w 782"/>
              <a:gd name="T61" fmla="*/ 389 h 493"/>
              <a:gd name="T62" fmla="*/ 407 w 782"/>
              <a:gd name="T63" fmla="*/ 455 h 493"/>
              <a:gd name="T64" fmla="*/ 200 w 782"/>
              <a:gd name="T65" fmla="*/ 458 h 493"/>
              <a:gd name="T66" fmla="*/ 203 w 782"/>
              <a:gd name="T67" fmla="*/ 427 h 493"/>
              <a:gd name="T68" fmla="*/ 402 w 782"/>
              <a:gd name="T69" fmla="*/ 423 h 493"/>
              <a:gd name="T70" fmla="*/ 411 w 782"/>
              <a:gd name="T71" fmla="*/ 448 h 493"/>
              <a:gd name="T72" fmla="*/ 438 w 782"/>
              <a:gd name="T73" fmla="*/ 347 h 493"/>
              <a:gd name="T74" fmla="*/ 471 w 782"/>
              <a:gd name="T75" fmla="*/ 369 h 493"/>
              <a:gd name="T76" fmla="*/ 434 w 782"/>
              <a:gd name="T77" fmla="*/ 366 h 493"/>
              <a:gd name="T78" fmla="*/ 484 w 782"/>
              <a:gd name="T79" fmla="*/ 395 h 493"/>
              <a:gd name="T80" fmla="*/ 473 w 782"/>
              <a:gd name="T81" fmla="*/ 409 h 493"/>
              <a:gd name="T82" fmla="*/ 437 w 782"/>
              <a:gd name="T83" fmla="*/ 404 h 493"/>
              <a:gd name="T84" fmla="*/ 440 w 782"/>
              <a:gd name="T85" fmla="*/ 451 h 493"/>
              <a:gd name="T86" fmla="*/ 438 w 782"/>
              <a:gd name="T87" fmla="*/ 428 h 493"/>
              <a:gd name="T88" fmla="*/ 447 w 782"/>
              <a:gd name="T89" fmla="*/ 423 h 493"/>
              <a:gd name="T90" fmla="*/ 483 w 782"/>
              <a:gd name="T91" fmla="*/ 424 h 493"/>
              <a:gd name="T92" fmla="*/ 502 w 782"/>
              <a:gd name="T93" fmla="*/ 363 h 493"/>
              <a:gd name="T94" fmla="*/ 536 w 782"/>
              <a:gd name="T95" fmla="*/ 350 h 493"/>
              <a:gd name="T96" fmla="*/ 547 w 782"/>
              <a:gd name="T97" fmla="*/ 366 h 493"/>
              <a:gd name="T98" fmla="*/ 519 w 782"/>
              <a:gd name="T99" fmla="*/ 405 h 493"/>
              <a:gd name="T100" fmla="*/ 559 w 782"/>
              <a:gd name="T101" fmla="*/ 389 h 493"/>
              <a:gd name="T102" fmla="*/ 564 w 782"/>
              <a:gd name="T103" fmla="*/ 408 h 493"/>
              <a:gd name="T104" fmla="*/ 588 w 782"/>
              <a:gd name="T105" fmla="*/ 453 h 493"/>
              <a:gd name="T106" fmla="*/ 548 w 782"/>
              <a:gd name="T107" fmla="*/ 457 h 493"/>
              <a:gd name="T108" fmla="*/ 536 w 782"/>
              <a:gd name="T109" fmla="*/ 423 h 493"/>
              <a:gd name="T110" fmla="*/ 588 w 782"/>
              <a:gd name="T111" fmla="*/ 448 h 493"/>
              <a:gd name="T112" fmla="*/ 591 w 782"/>
              <a:gd name="T113" fmla="*/ 382 h 493"/>
              <a:gd name="T114" fmla="*/ 635 w 782"/>
              <a:gd name="T115" fmla="*/ 409 h 493"/>
              <a:gd name="T116" fmla="*/ 616 w 782"/>
              <a:gd name="T117" fmla="*/ 449 h 493"/>
              <a:gd name="T118" fmla="*/ 639 w 782"/>
              <a:gd name="T119" fmla="*/ 423 h 493"/>
              <a:gd name="T120" fmla="*/ 670 w 782"/>
              <a:gd name="T121" fmla="*/ 44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2" h="493">
                <a:moveTo>
                  <a:pt x="111" y="206"/>
                </a:moveTo>
                <a:cubicBezTo>
                  <a:pt x="91" y="187"/>
                  <a:pt x="91" y="152"/>
                  <a:pt x="111" y="134"/>
                </a:cubicBezTo>
                <a:cubicBezTo>
                  <a:pt x="97" y="136"/>
                  <a:pt x="84" y="151"/>
                  <a:pt x="84" y="170"/>
                </a:cubicBezTo>
                <a:cubicBezTo>
                  <a:pt x="84" y="188"/>
                  <a:pt x="97" y="203"/>
                  <a:pt x="111" y="206"/>
                </a:cubicBezTo>
                <a:close/>
                <a:moveTo>
                  <a:pt x="698" y="170"/>
                </a:moveTo>
                <a:cubicBezTo>
                  <a:pt x="698" y="151"/>
                  <a:pt x="685" y="136"/>
                  <a:pt x="671" y="134"/>
                </a:cubicBezTo>
                <a:cubicBezTo>
                  <a:pt x="691" y="152"/>
                  <a:pt x="691" y="187"/>
                  <a:pt x="671" y="206"/>
                </a:cubicBezTo>
                <a:cubicBezTo>
                  <a:pt x="685" y="203"/>
                  <a:pt x="698" y="188"/>
                  <a:pt x="698" y="170"/>
                </a:cubicBezTo>
                <a:close/>
                <a:moveTo>
                  <a:pt x="696" y="232"/>
                </a:moveTo>
                <a:cubicBezTo>
                  <a:pt x="716" y="224"/>
                  <a:pt x="737" y="200"/>
                  <a:pt x="737" y="170"/>
                </a:cubicBezTo>
                <a:cubicBezTo>
                  <a:pt x="737" y="139"/>
                  <a:pt x="716" y="115"/>
                  <a:pt x="696" y="108"/>
                </a:cubicBezTo>
                <a:cubicBezTo>
                  <a:pt x="712" y="124"/>
                  <a:pt x="723" y="147"/>
                  <a:pt x="723" y="170"/>
                </a:cubicBezTo>
                <a:cubicBezTo>
                  <a:pt x="723" y="193"/>
                  <a:pt x="712" y="215"/>
                  <a:pt x="696" y="232"/>
                </a:cubicBezTo>
                <a:close/>
                <a:moveTo>
                  <a:pt x="87" y="232"/>
                </a:moveTo>
                <a:cubicBezTo>
                  <a:pt x="70" y="215"/>
                  <a:pt x="59" y="193"/>
                  <a:pt x="59" y="170"/>
                </a:cubicBezTo>
                <a:cubicBezTo>
                  <a:pt x="59" y="147"/>
                  <a:pt x="70" y="124"/>
                  <a:pt x="87" y="108"/>
                </a:cubicBezTo>
                <a:cubicBezTo>
                  <a:pt x="66" y="115"/>
                  <a:pt x="45" y="139"/>
                  <a:pt x="46" y="170"/>
                </a:cubicBezTo>
                <a:cubicBezTo>
                  <a:pt x="45" y="200"/>
                  <a:pt x="66" y="224"/>
                  <a:pt x="87" y="232"/>
                </a:cubicBezTo>
                <a:close/>
                <a:moveTo>
                  <a:pt x="714" y="448"/>
                </a:moveTo>
                <a:cubicBezTo>
                  <a:pt x="706" y="438"/>
                  <a:pt x="697" y="428"/>
                  <a:pt x="689" y="419"/>
                </a:cubicBezTo>
                <a:cubicBezTo>
                  <a:pt x="671" y="397"/>
                  <a:pt x="653" y="376"/>
                  <a:pt x="635" y="355"/>
                </a:cubicBezTo>
                <a:cubicBezTo>
                  <a:pt x="634" y="354"/>
                  <a:pt x="633" y="353"/>
                  <a:pt x="632" y="352"/>
                </a:cubicBezTo>
                <a:cubicBezTo>
                  <a:pt x="629" y="347"/>
                  <a:pt x="623" y="345"/>
                  <a:pt x="617" y="343"/>
                </a:cubicBezTo>
                <a:cubicBezTo>
                  <a:pt x="612" y="341"/>
                  <a:pt x="606" y="339"/>
                  <a:pt x="599" y="339"/>
                </a:cubicBezTo>
                <a:cubicBezTo>
                  <a:pt x="621" y="333"/>
                  <a:pt x="637" y="314"/>
                  <a:pt x="637" y="291"/>
                </a:cubicBezTo>
                <a:cubicBezTo>
                  <a:pt x="637" y="50"/>
                  <a:pt x="637" y="50"/>
                  <a:pt x="637" y="50"/>
                </a:cubicBezTo>
                <a:cubicBezTo>
                  <a:pt x="637" y="22"/>
                  <a:pt x="614" y="0"/>
                  <a:pt x="587" y="0"/>
                </a:cubicBezTo>
                <a:cubicBezTo>
                  <a:pt x="195" y="0"/>
                  <a:pt x="195" y="0"/>
                  <a:pt x="195" y="0"/>
                </a:cubicBezTo>
                <a:cubicBezTo>
                  <a:pt x="168" y="0"/>
                  <a:pt x="145" y="22"/>
                  <a:pt x="145" y="50"/>
                </a:cubicBezTo>
                <a:cubicBezTo>
                  <a:pt x="145" y="291"/>
                  <a:pt x="145" y="291"/>
                  <a:pt x="145" y="291"/>
                </a:cubicBezTo>
                <a:cubicBezTo>
                  <a:pt x="145" y="314"/>
                  <a:pt x="161" y="334"/>
                  <a:pt x="183" y="339"/>
                </a:cubicBezTo>
                <a:cubicBezTo>
                  <a:pt x="171" y="340"/>
                  <a:pt x="157" y="344"/>
                  <a:pt x="149" y="354"/>
                </a:cubicBezTo>
                <a:cubicBezTo>
                  <a:pt x="143" y="361"/>
                  <a:pt x="136" y="369"/>
                  <a:pt x="130" y="377"/>
                </a:cubicBezTo>
                <a:cubicBezTo>
                  <a:pt x="111" y="399"/>
                  <a:pt x="91" y="422"/>
                  <a:pt x="72" y="446"/>
                </a:cubicBezTo>
                <a:cubicBezTo>
                  <a:pt x="67" y="451"/>
                  <a:pt x="58" y="459"/>
                  <a:pt x="58" y="467"/>
                </a:cubicBezTo>
                <a:cubicBezTo>
                  <a:pt x="58" y="489"/>
                  <a:pt x="58" y="478"/>
                  <a:pt x="58" y="478"/>
                </a:cubicBezTo>
                <a:cubicBezTo>
                  <a:pt x="58" y="481"/>
                  <a:pt x="59" y="483"/>
                  <a:pt x="60" y="485"/>
                </a:cubicBezTo>
                <a:cubicBezTo>
                  <a:pt x="65" y="492"/>
                  <a:pt x="75" y="493"/>
                  <a:pt x="83" y="493"/>
                </a:cubicBezTo>
                <a:cubicBezTo>
                  <a:pt x="94" y="493"/>
                  <a:pt x="667" y="493"/>
                  <a:pt x="684" y="493"/>
                </a:cubicBezTo>
                <a:cubicBezTo>
                  <a:pt x="693" y="493"/>
                  <a:pt x="702" y="492"/>
                  <a:pt x="711" y="490"/>
                </a:cubicBezTo>
                <a:cubicBezTo>
                  <a:pt x="716" y="489"/>
                  <a:pt x="723" y="486"/>
                  <a:pt x="724" y="479"/>
                </a:cubicBezTo>
                <a:cubicBezTo>
                  <a:pt x="724" y="456"/>
                  <a:pt x="724" y="467"/>
                  <a:pt x="724" y="467"/>
                </a:cubicBezTo>
                <a:cubicBezTo>
                  <a:pt x="725" y="462"/>
                  <a:pt x="722" y="457"/>
                  <a:pt x="718" y="453"/>
                </a:cubicBezTo>
                <a:cubicBezTo>
                  <a:pt x="717" y="451"/>
                  <a:pt x="715" y="449"/>
                  <a:pt x="714" y="448"/>
                </a:cubicBezTo>
                <a:close/>
                <a:moveTo>
                  <a:pt x="164" y="299"/>
                </a:moveTo>
                <a:cubicBezTo>
                  <a:pt x="164" y="64"/>
                  <a:pt x="164" y="53"/>
                  <a:pt x="164" y="53"/>
                </a:cubicBezTo>
                <a:cubicBezTo>
                  <a:pt x="164" y="39"/>
                  <a:pt x="175" y="16"/>
                  <a:pt x="189" y="16"/>
                </a:cubicBezTo>
                <a:cubicBezTo>
                  <a:pt x="570" y="16"/>
                  <a:pt x="593" y="16"/>
                  <a:pt x="593" y="16"/>
                </a:cubicBezTo>
                <a:cubicBezTo>
                  <a:pt x="607" y="16"/>
                  <a:pt x="618" y="39"/>
                  <a:pt x="618" y="53"/>
                </a:cubicBezTo>
                <a:cubicBezTo>
                  <a:pt x="618" y="268"/>
                  <a:pt x="618" y="299"/>
                  <a:pt x="618" y="299"/>
                </a:cubicBezTo>
                <a:cubicBezTo>
                  <a:pt x="618" y="313"/>
                  <a:pt x="607" y="325"/>
                  <a:pt x="593" y="325"/>
                </a:cubicBezTo>
                <a:cubicBezTo>
                  <a:pt x="212" y="325"/>
                  <a:pt x="189" y="325"/>
                  <a:pt x="189" y="325"/>
                </a:cubicBezTo>
                <a:cubicBezTo>
                  <a:pt x="175" y="325"/>
                  <a:pt x="164" y="302"/>
                  <a:pt x="164" y="287"/>
                </a:cubicBezTo>
                <a:lnTo>
                  <a:pt x="164" y="299"/>
                </a:lnTo>
                <a:close/>
                <a:moveTo>
                  <a:pt x="613" y="367"/>
                </a:moveTo>
                <a:cubicBezTo>
                  <a:pt x="613" y="367"/>
                  <a:pt x="613" y="368"/>
                  <a:pt x="612" y="369"/>
                </a:cubicBezTo>
                <a:cubicBezTo>
                  <a:pt x="612" y="369"/>
                  <a:pt x="612" y="369"/>
                  <a:pt x="612" y="369"/>
                </a:cubicBezTo>
                <a:cubicBezTo>
                  <a:pt x="612" y="369"/>
                  <a:pt x="612" y="369"/>
                  <a:pt x="612" y="369"/>
                </a:cubicBezTo>
                <a:cubicBezTo>
                  <a:pt x="612" y="369"/>
                  <a:pt x="612" y="369"/>
                  <a:pt x="612" y="369"/>
                </a:cubicBezTo>
                <a:cubicBezTo>
                  <a:pt x="612" y="369"/>
                  <a:pt x="612" y="369"/>
                  <a:pt x="611" y="369"/>
                </a:cubicBezTo>
                <a:cubicBezTo>
                  <a:pt x="611" y="369"/>
                  <a:pt x="611" y="369"/>
                  <a:pt x="611" y="369"/>
                </a:cubicBezTo>
                <a:cubicBezTo>
                  <a:pt x="611" y="369"/>
                  <a:pt x="611" y="369"/>
                  <a:pt x="610" y="369"/>
                </a:cubicBezTo>
                <a:cubicBezTo>
                  <a:pt x="608" y="371"/>
                  <a:pt x="604" y="371"/>
                  <a:pt x="600" y="371"/>
                </a:cubicBezTo>
                <a:cubicBezTo>
                  <a:pt x="584" y="371"/>
                  <a:pt x="584" y="371"/>
                  <a:pt x="584" y="371"/>
                </a:cubicBezTo>
                <a:cubicBezTo>
                  <a:pt x="580" y="371"/>
                  <a:pt x="577" y="370"/>
                  <a:pt x="574" y="369"/>
                </a:cubicBezTo>
                <a:cubicBezTo>
                  <a:pt x="573" y="368"/>
                  <a:pt x="572" y="367"/>
                  <a:pt x="571" y="367"/>
                </a:cubicBezTo>
                <a:cubicBezTo>
                  <a:pt x="570" y="366"/>
                  <a:pt x="569" y="365"/>
                  <a:pt x="569" y="365"/>
                </a:cubicBezTo>
                <a:cubicBezTo>
                  <a:pt x="568" y="363"/>
                  <a:pt x="568" y="363"/>
                  <a:pt x="568" y="363"/>
                </a:cubicBezTo>
                <a:cubicBezTo>
                  <a:pt x="566" y="360"/>
                  <a:pt x="564" y="357"/>
                  <a:pt x="563" y="354"/>
                </a:cubicBezTo>
                <a:cubicBezTo>
                  <a:pt x="561" y="351"/>
                  <a:pt x="563" y="350"/>
                  <a:pt x="565" y="349"/>
                </a:cubicBezTo>
                <a:cubicBezTo>
                  <a:pt x="565" y="349"/>
                  <a:pt x="566" y="349"/>
                  <a:pt x="566" y="349"/>
                </a:cubicBezTo>
                <a:cubicBezTo>
                  <a:pt x="567" y="348"/>
                  <a:pt x="569" y="348"/>
                  <a:pt x="570" y="348"/>
                </a:cubicBezTo>
                <a:cubicBezTo>
                  <a:pt x="573" y="348"/>
                  <a:pt x="573" y="348"/>
                  <a:pt x="573" y="348"/>
                </a:cubicBezTo>
                <a:cubicBezTo>
                  <a:pt x="573" y="348"/>
                  <a:pt x="573" y="348"/>
                  <a:pt x="573" y="348"/>
                </a:cubicBezTo>
                <a:cubicBezTo>
                  <a:pt x="577" y="348"/>
                  <a:pt x="581" y="348"/>
                  <a:pt x="586" y="348"/>
                </a:cubicBezTo>
                <a:cubicBezTo>
                  <a:pt x="586" y="348"/>
                  <a:pt x="586" y="348"/>
                  <a:pt x="586" y="348"/>
                </a:cubicBezTo>
                <a:cubicBezTo>
                  <a:pt x="590" y="348"/>
                  <a:pt x="590" y="348"/>
                  <a:pt x="590" y="348"/>
                </a:cubicBezTo>
                <a:cubicBezTo>
                  <a:pt x="592" y="348"/>
                  <a:pt x="594" y="348"/>
                  <a:pt x="595" y="348"/>
                </a:cubicBezTo>
                <a:cubicBezTo>
                  <a:pt x="596" y="349"/>
                  <a:pt x="597" y="349"/>
                  <a:pt x="598" y="349"/>
                </a:cubicBezTo>
                <a:cubicBezTo>
                  <a:pt x="598" y="349"/>
                  <a:pt x="598" y="349"/>
                  <a:pt x="598" y="349"/>
                </a:cubicBezTo>
                <a:cubicBezTo>
                  <a:pt x="598" y="350"/>
                  <a:pt x="598" y="350"/>
                  <a:pt x="599" y="350"/>
                </a:cubicBezTo>
                <a:cubicBezTo>
                  <a:pt x="599" y="350"/>
                  <a:pt x="599" y="350"/>
                  <a:pt x="599" y="350"/>
                </a:cubicBezTo>
                <a:cubicBezTo>
                  <a:pt x="600" y="350"/>
                  <a:pt x="602" y="351"/>
                  <a:pt x="603" y="351"/>
                </a:cubicBezTo>
                <a:cubicBezTo>
                  <a:pt x="604" y="352"/>
                  <a:pt x="604" y="353"/>
                  <a:pt x="605" y="354"/>
                </a:cubicBezTo>
                <a:cubicBezTo>
                  <a:pt x="608" y="359"/>
                  <a:pt x="608" y="359"/>
                  <a:pt x="608" y="359"/>
                </a:cubicBezTo>
                <a:cubicBezTo>
                  <a:pt x="609" y="360"/>
                  <a:pt x="611" y="362"/>
                  <a:pt x="612" y="364"/>
                </a:cubicBezTo>
                <a:cubicBezTo>
                  <a:pt x="612" y="364"/>
                  <a:pt x="612" y="364"/>
                  <a:pt x="612" y="364"/>
                </a:cubicBezTo>
                <a:cubicBezTo>
                  <a:pt x="613" y="365"/>
                  <a:pt x="613" y="366"/>
                  <a:pt x="613" y="367"/>
                </a:cubicBezTo>
                <a:close/>
                <a:moveTo>
                  <a:pt x="410" y="363"/>
                </a:moveTo>
                <a:cubicBezTo>
                  <a:pt x="410" y="364"/>
                  <a:pt x="410" y="364"/>
                  <a:pt x="410" y="365"/>
                </a:cubicBezTo>
                <a:cubicBezTo>
                  <a:pt x="406" y="371"/>
                  <a:pt x="392" y="369"/>
                  <a:pt x="386" y="369"/>
                </a:cubicBezTo>
                <a:cubicBezTo>
                  <a:pt x="383" y="369"/>
                  <a:pt x="380" y="369"/>
                  <a:pt x="377" y="369"/>
                </a:cubicBezTo>
                <a:cubicBezTo>
                  <a:pt x="374" y="369"/>
                  <a:pt x="370" y="369"/>
                  <a:pt x="367" y="367"/>
                </a:cubicBezTo>
                <a:cubicBezTo>
                  <a:pt x="367" y="367"/>
                  <a:pt x="367" y="367"/>
                  <a:pt x="367" y="367"/>
                </a:cubicBezTo>
                <a:cubicBezTo>
                  <a:pt x="367" y="366"/>
                  <a:pt x="367" y="366"/>
                  <a:pt x="367" y="366"/>
                </a:cubicBezTo>
                <a:cubicBezTo>
                  <a:pt x="366" y="366"/>
                  <a:pt x="366" y="366"/>
                  <a:pt x="366" y="366"/>
                </a:cubicBezTo>
                <a:cubicBezTo>
                  <a:pt x="366" y="366"/>
                  <a:pt x="366" y="366"/>
                  <a:pt x="366" y="366"/>
                </a:cubicBezTo>
                <a:cubicBezTo>
                  <a:pt x="366" y="366"/>
                  <a:pt x="366" y="366"/>
                  <a:pt x="366" y="366"/>
                </a:cubicBezTo>
                <a:cubicBezTo>
                  <a:pt x="366" y="365"/>
                  <a:pt x="366" y="365"/>
                  <a:pt x="366" y="365"/>
                </a:cubicBezTo>
                <a:cubicBezTo>
                  <a:pt x="366" y="364"/>
                  <a:pt x="366" y="364"/>
                  <a:pt x="366" y="363"/>
                </a:cubicBezTo>
                <a:cubicBezTo>
                  <a:pt x="366" y="363"/>
                  <a:pt x="366" y="363"/>
                  <a:pt x="366" y="363"/>
                </a:cubicBezTo>
                <a:cubicBezTo>
                  <a:pt x="366" y="362"/>
                  <a:pt x="366" y="361"/>
                  <a:pt x="366" y="361"/>
                </a:cubicBezTo>
                <a:cubicBezTo>
                  <a:pt x="366" y="360"/>
                  <a:pt x="366" y="360"/>
                  <a:pt x="366" y="360"/>
                </a:cubicBezTo>
                <a:cubicBezTo>
                  <a:pt x="366" y="358"/>
                  <a:pt x="366" y="355"/>
                  <a:pt x="367" y="353"/>
                </a:cubicBezTo>
                <a:cubicBezTo>
                  <a:pt x="367" y="352"/>
                  <a:pt x="367" y="352"/>
                  <a:pt x="367" y="352"/>
                </a:cubicBezTo>
                <a:cubicBezTo>
                  <a:pt x="367" y="352"/>
                  <a:pt x="367" y="351"/>
                  <a:pt x="368" y="350"/>
                </a:cubicBezTo>
                <a:cubicBezTo>
                  <a:pt x="369" y="350"/>
                  <a:pt x="369" y="349"/>
                  <a:pt x="370" y="349"/>
                </a:cubicBezTo>
                <a:cubicBezTo>
                  <a:pt x="370" y="349"/>
                  <a:pt x="370" y="349"/>
                  <a:pt x="370" y="349"/>
                </a:cubicBezTo>
                <a:cubicBezTo>
                  <a:pt x="370" y="349"/>
                  <a:pt x="370" y="348"/>
                  <a:pt x="370" y="348"/>
                </a:cubicBezTo>
                <a:cubicBezTo>
                  <a:pt x="370" y="348"/>
                  <a:pt x="371" y="348"/>
                  <a:pt x="371" y="348"/>
                </a:cubicBezTo>
                <a:cubicBezTo>
                  <a:pt x="371" y="348"/>
                  <a:pt x="371" y="348"/>
                  <a:pt x="371" y="348"/>
                </a:cubicBezTo>
                <a:cubicBezTo>
                  <a:pt x="371" y="348"/>
                  <a:pt x="372" y="348"/>
                  <a:pt x="372" y="348"/>
                </a:cubicBezTo>
                <a:cubicBezTo>
                  <a:pt x="372" y="348"/>
                  <a:pt x="372" y="348"/>
                  <a:pt x="373" y="348"/>
                </a:cubicBezTo>
                <a:cubicBezTo>
                  <a:pt x="373" y="347"/>
                  <a:pt x="373" y="347"/>
                  <a:pt x="374" y="347"/>
                </a:cubicBezTo>
                <a:cubicBezTo>
                  <a:pt x="374" y="347"/>
                  <a:pt x="374" y="347"/>
                  <a:pt x="374" y="347"/>
                </a:cubicBezTo>
                <a:cubicBezTo>
                  <a:pt x="374" y="347"/>
                  <a:pt x="374" y="347"/>
                  <a:pt x="374" y="347"/>
                </a:cubicBezTo>
                <a:cubicBezTo>
                  <a:pt x="375" y="347"/>
                  <a:pt x="375" y="347"/>
                  <a:pt x="375" y="347"/>
                </a:cubicBezTo>
                <a:cubicBezTo>
                  <a:pt x="376" y="347"/>
                  <a:pt x="377" y="347"/>
                  <a:pt x="378" y="347"/>
                </a:cubicBezTo>
                <a:cubicBezTo>
                  <a:pt x="379" y="347"/>
                  <a:pt x="379" y="347"/>
                  <a:pt x="379" y="347"/>
                </a:cubicBezTo>
                <a:cubicBezTo>
                  <a:pt x="380" y="347"/>
                  <a:pt x="382" y="347"/>
                  <a:pt x="383" y="347"/>
                </a:cubicBezTo>
                <a:cubicBezTo>
                  <a:pt x="399" y="347"/>
                  <a:pt x="399" y="347"/>
                  <a:pt x="399" y="347"/>
                </a:cubicBezTo>
                <a:cubicBezTo>
                  <a:pt x="399" y="347"/>
                  <a:pt x="399" y="347"/>
                  <a:pt x="400" y="347"/>
                </a:cubicBezTo>
                <a:cubicBezTo>
                  <a:pt x="400" y="347"/>
                  <a:pt x="400" y="347"/>
                  <a:pt x="400" y="347"/>
                </a:cubicBezTo>
                <a:cubicBezTo>
                  <a:pt x="401" y="347"/>
                  <a:pt x="401" y="347"/>
                  <a:pt x="402" y="347"/>
                </a:cubicBezTo>
                <a:cubicBezTo>
                  <a:pt x="405" y="347"/>
                  <a:pt x="408" y="348"/>
                  <a:pt x="409" y="351"/>
                </a:cubicBezTo>
                <a:cubicBezTo>
                  <a:pt x="410" y="351"/>
                  <a:pt x="410" y="351"/>
                  <a:pt x="410" y="351"/>
                </a:cubicBezTo>
                <a:cubicBezTo>
                  <a:pt x="410" y="351"/>
                  <a:pt x="410" y="351"/>
                  <a:pt x="410" y="351"/>
                </a:cubicBezTo>
                <a:cubicBezTo>
                  <a:pt x="411" y="355"/>
                  <a:pt x="410" y="359"/>
                  <a:pt x="410" y="362"/>
                </a:cubicBezTo>
                <a:cubicBezTo>
                  <a:pt x="410" y="363"/>
                  <a:pt x="410" y="363"/>
                  <a:pt x="410" y="363"/>
                </a:cubicBezTo>
                <a:cubicBezTo>
                  <a:pt x="410" y="363"/>
                  <a:pt x="410" y="363"/>
                  <a:pt x="410" y="363"/>
                </a:cubicBezTo>
                <a:close/>
                <a:moveTo>
                  <a:pt x="387" y="381"/>
                </a:moveTo>
                <a:cubicBezTo>
                  <a:pt x="393" y="381"/>
                  <a:pt x="407" y="380"/>
                  <a:pt x="410" y="386"/>
                </a:cubicBezTo>
                <a:cubicBezTo>
                  <a:pt x="410" y="387"/>
                  <a:pt x="411" y="387"/>
                  <a:pt x="411" y="388"/>
                </a:cubicBezTo>
                <a:cubicBezTo>
                  <a:pt x="411" y="395"/>
                  <a:pt x="411" y="395"/>
                  <a:pt x="411" y="395"/>
                </a:cubicBezTo>
                <a:cubicBezTo>
                  <a:pt x="411" y="397"/>
                  <a:pt x="411" y="399"/>
                  <a:pt x="411" y="401"/>
                </a:cubicBezTo>
                <a:cubicBezTo>
                  <a:pt x="411" y="401"/>
                  <a:pt x="411" y="401"/>
                  <a:pt x="411" y="401"/>
                </a:cubicBezTo>
                <a:cubicBezTo>
                  <a:pt x="411" y="402"/>
                  <a:pt x="411" y="402"/>
                  <a:pt x="411" y="402"/>
                </a:cubicBezTo>
                <a:cubicBezTo>
                  <a:pt x="411" y="402"/>
                  <a:pt x="410" y="404"/>
                  <a:pt x="410" y="404"/>
                </a:cubicBezTo>
                <a:cubicBezTo>
                  <a:pt x="409" y="405"/>
                  <a:pt x="409" y="405"/>
                  <a:pt x="409" y="405"/>
                </a:cubicBezTo>
                <a:cubicBezTo>
                  <a:pt x="409" y="405"/>
                  <a:pt x="409" y="405"/>
                  <a:pt x="409" y="406"/>
                </a:cubicBezTo>
                <a:cubicBezTo>
                  <a:pt x="409" y="406"/>
                  <a:pt x="409" y="406"/>
                  <a:pt x="409" y="406"/>
                </a:cubicBezTo>
                <a:cubicBezTo>
                  <a:pt x="407" y="407"/>
                  <a:pt x="405" y="408"/>
                  <a:pt x="403" y="409"/>
                </a:cubicBezTo>
                <a:cubicBezTo>
                  <a:pt x="403" y="409"/>
                  <a:pt x="403" y="409"/>
                  <a:pt x="403" y="409"/>
                </a:cubicBezTo>
                <a:cubicBezTo>
                  <a:pt x="403" y="409"/>
                  <a:pt x="403" y="409"/>
                  <a:pt x="403" y="409"/>
                </a:cubicBezTo>
                <a:cubicBezTo>
                  <a:pt x="402" y="409"/>
                  <a:pt x="401" y="409"/>
                  <a:pt x="401" y="409"/>
                </a:cubicBezTo>
                <a:cubicBezTo>
                  <a:pt x="400" y="409"/>
                  <a:pt x="400" y="409"/>
                  <a:pt x="400" y="409"/>
                </a:cubicBezTo>
                <a:cubicBezTo>
                  <a:pt x="399" y="409"/>
                  <a:pt x="398" y="409"/>
                  <a:pt x="398" y="409"/>
                </a:cubicBezTo>
                <a:cubicBezTo>
                  <a:pt x="398" y="409"/>
                  <a:pt x="398" y="409"/>
                  <a:pt x="398" y="409"/>
                </a:cubicBezTo>
                <a:cubicBezTo>
                  <a:pt x="373" y="409"/>
                  <a:pt x="373" y="409"/>
                  <a:pt x="373" y="409"/>
                </a:cubicBezTo>
                <a:cubicBezTo>
                  <a:pt x="371" y="409"/>
                  <a:pt x="367" y="409"/>
                  <a:pt x="364" y="407"/>
                </a:cubicBezTo>
                <a:cubicBezTo>
                  <a:pt x="364" y="407"/>
                  <a:pt x="364" y="407"/>
                  <a:pt x="364" y="407"/>
                </a:cubicBezTo>
                <a:cubicBezTo>
                  <a:pt x="364" y="407"/>
                  <a:pt x="364" y="407"/>
                  <a:pt x="364" y="407"/>
                </a:cubicBezTo>
                <a:cubicBezTo>
                  <a:pt x="364" y="407"/>
                  <a:pt x="364" y="406"/>
                  <a:pt x="363" y="406"/>
                </a:cubicBezTo>
                <a:cubicBezTo>
                  <a:pt x="363" y="406"/>
                  <a:pt x="362" y="405"/>
                  <a:pt x="362" y="405"/>
                </a:cubicBezTo>
                <a:cubicBezTo>
                  <a:pt x="362" y="405"/>
                  <a:pt x="362" y="405"/>
                  <a:pt x="362" y="404"/>
                </a:cubicBezTo>
                <a:cubicBezTo>
                  <a:pt x="362" y="404"/>
                  <a:pt x="361" y="403"/>
                  <a:pt x="361" y="402"/>
                </a:cubicBezTo>
                <a:cubicBezTo>
                  <a:pt x="362" y="400"/>
                  <a:pt x="362" y="400"/>
                  <a:pt x="362" y="400"/>
                </a:cubicBezTo>
                <a:cubicBezTo>
                  <a:pt x="362" y="400"/>
                  <a:pt x="362" y="400"/>
                  <a:pt x="362" y="400"/>
                </a:cubicBezTo>
                <a:cubicBezTo>
                  <a:pt x="362" y="396"/>
                  <a:pt x="362" y="392"/>
                  <a:pt x="363" y="388"/>
                </a:cubicBezTo>
                <a:cubicBezTo>
                  <a:pt x="363" y="388"/>
                  <a:pt x="363" y="388"/>
                  <a:pt x="363" y="388"/>
                </a:cubicBezTo>
                <a:cubicBezTo>
                  <a:pt x="363" y="388"/>
                  <a:pt x="363" y="388"/>
                  <a:pt x="363" y="388"/>
                </a:cubicBezTo>
                <a:cubicBezTo>
                  <a:pt x="364" y="379"/>
                  <a:pt x="381" y="381"/>
                  <a:pt x="387" y="381"/>
                </a:cubicBezTo>
                <a:close/>
                <a:moveTo>
                  <a:pt x="289" y="407"/>
                </a:moveTo>
                <a:cubicBezTo>
                  <a:pt x="289" y="407"/>
                  <a:pt x="289" y="407"/>
                  <a:pt x="288" y="406"/>
                </a:cubicBezTo>
                <a:cubicBezTo>
                  <a:pt x="288" y="406"/>
                  <a:pt x="288" y="405"/>
                  <a:pt x="287" y="405"/>
                </a:cubicBezTo>
                <a:cubicBezTo>
                  <a:pt x="287" y="405"/>
                  <a:pt x="287" y="405"/>
                  <a:pt x="287" y="405"/>
                </a:cubicBezTo>
                <a:cubicBezTo>
                  <a:pt x="287" y="404"/>
                  <a:pt x="287" y="403"/>
                  <a:pt x="287" y="402"/>
                </a:cubicBezTo>
                <a:cubicBezTo>
                  <a:pt x="288" y="400"/>
                  <a:pt x="288" y="400"/>
                  <a:pt x="288" y="400"/>
                </a:cubicBezTo>
                <a:cubicBezTo>
                  <a:pt x="288" y="400"/>
                  <a:pt x="288" y="400"/>
                  <a:pt x="288" y="400"/>
                </a:cubicBezTo>
                <a:cubicBezTo>
                  <a:pt x="288" y="400"/>
                  <a:pt x="288" y="399"/>
                  <a:pt x="288" y="399"/>
                </a:cubicBezTo>
                <a:cubicBezTo>
                  <a:pt x="291" y="388"/>
                  <a:pt x="291" y="388"/>
                  <a:pt x="291" y="388"/>
                </a:cubicBezTo>
                <a:cubicBezTo>
                  <a:pt x="291" y="388"/>
                  <a:pt x="291" y="388"/>
                  <a:pt x="292" y="388"/>
                </a:cubicBezTo>
                <a:cubicBezTo>
                  <a:pt x="295" y="380"/>
                  <a:pt x="310" y="381"/>
                  <a:pt x="317" y="381"/>
                </a:cubicBezTo>
                <a:cubicBezTo>
                  <a:pt x="320" y="381"/>
                  <a:pt x="325" y="381"/>
                  <a:pt x="330" y="381"/>
                </a:cubicBezTo>
                <a:cubicBezTo>
                  <a:pt x="331" y="382"/>
                  <a:pt x="332" y="382"/>
                  <a:pt x="333" y="382"/>
                </a:cubicBezTo>
                <a:cubicBezTo>
                  <a:pt x="333" y="382"/>
                  <a:pt x="333" y="382"/>
                  <a:pt x="333" y="382"/>
                </a:cubicBezTo>
                <a:cubicBezTo>
                  <a:pt x="335" y="383"/>
                  <a:pt x="337" y="384"/>
                  <a:pt x="338" y="385"/>
                </a:cubicBezTo>
                <a:cubicBezTo>
                  <a:pt x="338" y="385"/>
                  <a:pt x="338" y="385"/>
                  <a:pt x="338" y="385"/>
                </a:cubicBezTo>
                <a:cubicBezTo>
                  <a:pt x="338" y="386"/>
                  <a:pt x="338" y="386"/>
                  <a:pt x="338" y="386"/>
                </a:cubicBezTo>
                <a:cubicBezTo>
                  <a:pt x="338" y="386"/>
                  <a:pt x="338" y="386"/>
                  <a:pt x="338" y="386"/>
                </a:cubicBezTo>
                <a:cubicBezTo>
                  <a:pt x="339" y="387"/>
                  <a:pt x="339" y="388"/>
                  <a:pt x="339" y="388"/>
                </a:cubicBezTo>
                <a:cubicBezTo>
                  <a:pt x="339" y="389"/>
                  <a:pt x="339" y="389"/>
                  <a:pt x="339" y="389"/>
                </a:cubicBezTo>
                <a:cubicBezTo>
                  <a:pt x="339" y="389"/>
                  <a:pt x="339" y="389"/>
                  <a:pt x="339" y="389"/>
                </a:cubicBezTo>
                <a:cubicBezTo>
                  <a:pt x="338" y="391"/>
                  <a:pt x="338" y="393"/>
                  <a:pt x="338" y="395"/>
                </a:cubicBezTo>
                <a:cubicBezTo>
                  <a:pt x="336" y="402"/>
                  <a:pt x="336" y="402"/>
                  <a:pt x="336" y="402"/>
                </a:cubicBezTo>
                <a:cubicBezTo>
                  <a:pt x="336" y="403"/>
                  <a:pt x="336" y="404"/>
                  <a:pt x="335" y="404"/>
                </a:cubicBezTo>
                <a:cubicBezTo>
                  <a:pt x="335" y="405"/>
                  <a:pt x="335" y="405"/>
                  <a:pt x="335" y="405"/>
                </a:cubicBezTo>
                <a:cubicBezTo>
                  <a:pt x="335" y="405"/>
                  <a:pt x="334" y="405"/>
                  <a:pt x="334" y="405"/>
                </a:cubicBezTo>
                <a:cubicBezTo>
                  <a:pt x="334" y="405"/>
                  <a:pt x="334" y="406"/>
                  <a:pt x="334" y="406"/>
                </a:cubicBezTo>
                <a:cubicBezTo>
                  <a:pt x="332" y="407"/>
                  <a:pt x="329" y="408"/>
                  <a:pt x="327" y="409"/>
                </a:cubicBezTo>
                <a:cubicBezTo>
                  <a:pt x="327" y="409"/>
                  <a:pt x="327" y="409"/>
                  <a:pt x="327" y="409"/>
                </a:cubicBezTo>
                <a:cubicBezTo>
                  <a:pt x="327" y="409"/>
                  <a:pt x="327" y="409"/>
                  <a:pt x="327" y="409"/>
                </a:cubicBezTo>
                <a:cubicBezTo>
                  <a:pt x="327" y="409"/>
                  <a:pt x="326" y="409"/>
                  <a:pt x="325" y="409"/>
                </a:cubicBezTo>
                <a:cubicBezTo>
                  <a:pt x="325" y="409"/>
                  <a:pt x="325" y="409"/>
                  <a:pt x="324" y="409"/>
                </a:cubicBezTo>
                <a:cubicBezTo>
                  <a:pt x="324" y="409"/>
                  <a:pt x="323" y="409"/>
                  <a:pt x="322" y="409"/>
                </a:cubicBezTo>
                <a:cubicBezTo>
                  <a:pt x="322" y="409"/>
                  <a:pt x="322" y="409"/>
                  <a:pt x="322" y="409"/>
                </a:cubicBezTo>
                <a:cubicBezTo>
                  <a:pt x="298" y="409"/>
                  <a:pt x="298" y="409"/>
                  <a:pt x="298" y="409"/>
                </a:cubicBezTo>
                <a:cubicBezTo>
                  <a:pt x="295" y="409"/>
                  <a:pt x="292" y="409"/>
                  <a:pt x="289" y="407"/>
                </a:cubicBezTo>
                <a:cubicBezTo>
                  <a:pt x="289" y="407"/>
                  <a:pt x="289" y="407"/>
                  <a:pt x="289" y="407"/>
                </a:cubicBezTo>
                <a:close/>
                <a:moveTo>
                  <a:pt x="320" y="369"/>
                </a:moveTo>
                <a:cubicBezTo>
                  <a:pt x="316" y="369"/>
                  <a:pt x="312" y="369"/>
                  <a:pt x="309" y="369"/>
                </a:cubicBezTo>
                <a:cubicBezTo>
                  <a:pt x="306" y="369"/>
                  <a:pt x="301" y="369"/>
                  <a:pt x="299" y="366"/>
                </a:cubicBezTo>
                <a:cubicBezTo>
                  <a:pt x="299" y="365"/>
                  <a:pt x="299" y="365"/>
                  <a:pt x="299" y="365"/>
                </a:cubicBezTo>
                <a:cubicBezTo>
                  <a:pt x="299" y="365"/>
                  <a:pt x="299" y="364"/>
                  <a:pt x="299" y="364"/>
                </a:cubicBezTo>
                <a:cubicBezTo>
                  <a:pt x="299" y="364"/>
                  <a:pt x="299" y="364"/>
                  <a:pt x="299" y="363"/>
                </a:cubicBezTo>
                <a:cubicBezTo>
                  <a:pt x="299" y="363"/>
                  <a:pt x="299" y="363"/>
                  <a:pt x="299" y="363"/>
                </a:cubicBezTo>
                <a:cubicBezTo>
                  <a:pt x="299" y="363"/>
                  <a:pt x="299" y="363"/>
                  <a:pt x="299" y="363"/>
                </a:cubicBezTo>
                <a:cubicBezTo>
                  <a:pt x="299" y="362"/>
                  <a:pt x="299" y="361"/>
                  <a:pt x="300" y="361"/>
                </a:cubicBezTo>
                <a:cubicBezTo>
                  <a:pt x="300" y="358"/>
                  <a:pt x="301" y="355"/>
                  <a:pt x="302" y="353"/>
                </a:cubicBezTo>
                <a:cubicBezTo>
                  <a:pt x="302" y="353"/>
                  <a:pt x="302" y="353"/>
                  <a:pt x="302" y="353"/>
                </a:cubicBezTo>
                <a:cubicBezTo>
                  <a:pt x="302" y="352"/>
                  <a:pt x="303" y="351"/>
                  <a:pt x="303" y="350"/>
                </a:cubicBezTo>
                <a:cubicBezTo>
                  <a:pt x="304" y="350"/>
                  <a:pt x="304" y="350"/>
                  <a:pt x="305" y="349"/>
                </a:cubicBezTo>
                <a:cubicBezTo>
                  <a:pt x="306" y="348"/>
                  <a:pt x="308" y="348"/>
                  <a:pt x="310" y="347"/>
                </a:cubicBezTo>
                <a:cubicBezTo>
                  <a:pt x="310" y="347"/>
                  <a:pt x="310" y="347"/>
                  <a:pt x="310" y="347"/>
                </a:cubicBezTo>
                <a:cubicBezTo>
                  <a:pt x="312" y="347"/>
                  <a:pt x="313" y="347"/>
                  <a:pt x="315" y="347"/>
                </a:cubicBezTo>
                <a:cubicBezTo>
                  <a:pt x="317" y="347"/>
                  <a:pt x="317" y="347"/>
                  <a:pt x="317" y="347"/>
                </a:cubicBezTo>
                <a:cubicBezTo>
                  <a:pt x="317" y="347"/>
                  <a:pt x="318" y="347"/>
                  <a:pt x="319" y="347"/>
                </a:cubicBezTo>
                <a:cubicBezTo>
                  <a:pt x="323" y="347"/>
                  <a:pt x="328" y="347"/>
                  <a:pt x="332" y="347"/>
                </a:cubicBezTo>
                <a:cubicBezTo>
                  <a:pt x="333" y="347"/>
                  <a:pt x="334" y="347"/>
                  <a:pt x="334" y="347"/>
                </a:cubicBezTo>
                <a:cubicBezTo>
                  <a:pt x="335" y="347"/>
                  <a:pt x="335" y="347"/>
                  <a:pt x="335" y="347"/>
                </a:cubicBezTo>
                <a:cubicBezTo>
                  <a:pt x="335" y="347"/>
                  <a:pt x="335" y="347"/>
                  <a:pt x="336" y="347"/>
                </a:cubicBezTo>
                <a:cubicBezTo>
                  <a:pt x="336" y="347"/>
                  <a:pt x="337" y="347"/>
                  <a:pt x="337" y="347"/>
                </a:cubicBezTo>
                <a:cubicBezTo>
                  <a:pt x="337" y="347"/>
                  <a:pt x="337" y="347"/>
                  <a:pt x="337" y="347"/>
                </a:cubicBezTo>
                <a:cubicBezTo>
                  <a:pt x="341" y="347"/>
                  <a:pt x="345" y="348"/>
                  <a:pt x="345" y="351"/>
                </a:cubicBezTo>
                <a:cubicBezTo>
                  <a:pt x="345" y="351"/>
                  <a:pt x="345" y="351"/>
                  <a:pt x="345" y="351"/>
                </a:cubicBezTo>
                <a:cubicBezTo>
                  <a:pt x="345" y="351"/>
                  <a:pt x="345" y="351"/>
                  <a:pt x="345" y="352"/>
                </a:cubicBezTo>
                <a:cubicBezTo>
                  <a:pt x="345" y="355"/>
                  <a:pt x="344" y="359"/>
                  <a:pt x="343" y="362"/>
                </a:cubicBezTo>
                <a:cubicBezTo>
                  <a:pt x="343" y="362"/>
                  <a:pt x="343" y="362"/>
                  <a:pt x="343" y="362"/>
                </a:cubicBezTo>
                <a:cubicBezTo>
                  <a:pt x="343" y="363"/>
                  <a:pt x="343" y="363"/>
                  <a:pt x="343" y="363"/>
                </a:cubicBezTo>
                <a:cubicBezTo>
                  <a:pt x="343" y="364"/>
                  <a:pt x="343" y="364"/>
                  <a:pt x="342" y="365"/>
                </a:cubicBezTo>
                <a:cubicBezTo>
                  <a:pt x="342" y="365"/>
                  <a:pt x="342" y="365"/>
                  <a:pt x="342" y="366"/>
                </a:cubicBezTo>
                <a:cubicBezTo>
                  <a:pt x="342" y="366"/>
                  <a:pt x="342" y="366"/>
                  <a:pt x="342" y="366"/>
                </a:cubicBezTo>
                <a:cubicBezTo>
                  <a:pt x="342" y="366"/>
                  <a:pt x="342" y="366"/>
                  <a:pt x="342" y="366"/>
                </a:cubicBezTo>
                <a:cubicBezTo>
                  <a:pt x="337" y="371"/>
                  <a:pt x="325" y="369"/>
                  <a:pt x="320" y="369"/>
                </a:cubicBezTo>
                <a:close/>
                <a:moveTo>
                  <a:pt x="212" y="404"/>
                </a:moveTo>
                <a:cubicBezTo>
                  <a:pt x="212" y="404"/>
                  <a:pt x="212" y="403"/>
                  <a:pt x="212" y="403"/>
                </a:cubicBezTo>
                <a:cubicBezTo>
                  <a:pt x="213" y="403"/>
                  <a:pt x="213" y="402"/>
                  <a:pt x="213" y="402"/>
                </a:cubicBezTo>
                <a:cubicBezTo>
                  <a:pt x="213" y="402"/>
                  <a:pt x="213" y="402"/>
                  <a:pt x="213" y="402"/>
                </a:cubicBezTo>
                <a:cubicBezTo>
                  <a:pt x="213" y="402"/>
                  <a:pt x="213" y="402"/>
                  <a:pt x="213" y="402"/>
                </a:cubicBezTo>
                <a:cubicBezTo>
                  <a:pt x="213" y="401"/>
                  <a:pt x="214" y="401"/>
                  <a:pt x="214" y="400"/>
                </a:cubicBezTo>
                <a:cubicBezTo>
                  <a:pt x="216" y="396"/>
                  <a:pt x="217" y="393"/>
                  <a:pt x="219" y="389"/>
                </a:cubicBezTo>
                <a:cubicBezTo>
                  <a:pt x="219" y="389"/>
                  <a:pt x="219" y="389"/>
                  <a:pt x="219" y="389"/>
                </a:cubicBezTo>
                <a:cubicBezTo>
                  <a:pt x="219" y="389"/>
                  <a:pt x="219" y="389"/>
                  <a:pt x="219" y="389"/>
                </a:cubicBezTo>
                <a:cubicBezTo>
                  <a:pt x="220" y="388"/>
                  <a:pt x="220" y="388"/>
                  <a:pt x="220" y="388"/>
                </a:cubicBezTo>
                <a:cubicBezTo>
                  <a:pt x="220" y="388"/>
                  <a:pt x="220" y="388"/>
                  <a:pt x="220" y="387"/>
                </a:cubicBezTo>
                <a:cubicBezTo>
                  <a:pt x="220" y="387"/>
                  <a:pt x="220" y="387"/>
                  <a:pt x="221" y="387"/>
                </a:cubicBezTo>
                <a:cubicBezTo>
                  <a:pt x="226" y="380"/>
                  <a:pt x="238" y="382"/>
                  <a:pt x="245" y="382"/>
                </a:cubicBezTo>
                <a:cubicBezTo>
                  <a:pt x="245" y="382"/>
                  <a:pt x="245" y="382"/>
                  <a:pt x="245" y="382"/>
                </a:cubicBezTo>
                <a:cubicBezTo>
                  <a:pt x="247" y="382"/>
                  <a:pt x="253" y="381"/>
                  <a:pt x="258" y="382"/>
                </a:cubicBezTo>
                <a:cubicBezTo>
                  <a:pt x="259" y="382"/>
                  <a:pt x="261" y="382"/>
                  <a:pt x="262" y="382"/>
                </a:cubicBezTo>
                <a:cubicBezTo>
                  <a:pt x="263" y="382"/>
                  <a:pt x="264" y="383"/>
                  <a:pt x="264" y="383"/>
                </a:cubicBezTo>
                <a:cubicBezTo>
                  <a:pt x="266" y="384"/>
                  <a:pt x="267" y="385"/>
                  <a:pt x="267" y="387"/>
                </a:cubicBezTo>
                <a:cubicBezTo>
                  <a:pt x="267" y="387"/>
                  <a:pt x="267" y="387"/>
                  <a:pt x="267" y="387"/>
                </a:cubicBezTo>
                <a:cubicBezTo>
                  <a:pt x="267" y="387"/>
                  <a:pt x="267" y="387"/>
                  <a:pt x="267" y="388"/>
                </a:cubicBezTo>
                <a:cubicBezTo>
                  <a:pt x="267" y="388"/>
                  <a:pt x="267" y="388"/>
                  <a:pt x="267" y="388"/>
                </a:cubicBezTo>
                <a:cubicBezTo>
                  <a:pt x="262" y="402"/>
                  <a:pt x="262" y="402"/>
                  <a:pt x="262" y="402"/>
                </a:cubicBezTo>
                <a:cubicBezTo>
                  <a:pt x="262" y="403"/>
                  <a:pt x="261" y="404"/>
                  <a:pt x="260" y="405"/>
                </a:cubicBezTo>
                <a:cubicBezTo>
                  <a:pt x="259" y="406"/>
                  <a:pt x="258" y="407"/>
                  <a:pt x="256" y="407"/>
                </a:cubicBezTo>
                <a:cubicBezTo>
                  <a:pt x="256" y="407"/>
                  <a:pt x="256" y="407"/>
                  <a:pt x="256" y="407"/>
                </a:cubicBezTo>
                <a:cubicBezTo>
                  <a:pt x="254" y="408"/>
                  <a:pt x="252" y="409"/>
                  <a:pt x="250" y="409"/>
                </a:cubicBezTo>
                <a:cubicBezTo>
                  <a:pt x="249" y="409"/>
                  <a:pt x="249" y="409"/>
                  <a:pt x="249" y="409"/>
                </a:cubicBezTo>
                <a:cubicBezTo>
                  <a:pt x="249" y="409"/>
                  <a:pt x="249" y="409"/>
                  <a:pt x="248" y="409"/>
                </a:cubicBezTo>
                <a:cubicBezTo>
                  <a:pt x="244" y="410"/>
                  <a:pt x="240" y="409"/>
                  <a:pt x="235" y="409"/>
                </a:cubicBezTo>
                <a:cubicBezTo>
                  <a:pt x="231" y="409"/>
                  <a:pt x="227" y="410"/>
                  <a:pt x="222" y="410"/>
                </a:cubicBezTo>
                <a:cubicBezTo>
                  <a:pt x="219" y="410"/>
                  <a:pt x="215" y="409"/>
                  <a:pt x="213" y="406"/>
                </a:cubicBezTo>
                <a:cubicBezTo>
                  <a:pt x="213" y="406"/>
                  <a:pt x="213" y="406"/>
                  <a:pt x="213" y="406"/>
                </a:cubicBezTo>
                <a:cubicBezTo>
                  <a:pt x="213" y="406"/>
                  <a:pt x="213" y="406"/>
                  <a:pt x="213" y="406"/>
                </a:cubicBezTo>
                <a:cubicBezTo>
                  <a:pt x="213" y="405"/>
                  <a:pt x="213" y="405"/>
                  <a:pt x="212" y="405"/>
                </a:cubicBezTo>
                <a:cubicBezTo>
                  <a:pt x="212" y="405"/>
                  <a:pt x="212" y="405"/>
                  <a:pt x="212" y="405"/>
                </a:cubicBezTo>
                <a:cubicBezTo>
                  <a:pt x="212" y="405"/>
                  <a:pt x="212" y="405"/>
                  <a:pt x="212" y="405"/>
                </a:cubicBezTo>
                <a:cubicBezTo>
                  <a:pt x="212" y="404"/>
                  <a:pt x="212" y="404"/>
                  <a:pt x="212" y="404"/>
                </a:cubicBezTo>
                <a:close/>
                <a:moveTo>
                  <a:pt x="212" y="359"/>
                </a:moveTo>
                <a:cubicBezTo>
                  <a:pt x="212" y="359"/>
                  <a:pt x="212" y="359"/>
                  <a:pt x="212" y="359"/>
                </a:cubicBezTo>
                <a:cubicBezTo>
                  <a:pt x="209" y="364"/>
                  <a:pt x="209" y="364"/>
                  <a:pt x="209" y="364"/>
                </a:cubicBezTo>
                <a:cubicBezTo>
                  <a:pt x="209" y="364"/>
                  <a:pt x="208" y="365"/>
                  <a:pt x="207" y="366"/>
                </a:cubicBezTo>
                <a:cubicBezTo>
                  <a:pt x="206" y="367"/>
                  <a:pt x="205" y="367"/>
                  <a:pt x="203" y="368"/>
                </a:cubicBezTo>
                <a:cubicBezTo>
                  <a:pt x="203" y="368"/>
                  <a:pt x="203" y="368"/>
                  <a:pt x="202" y="368"/>
                </a:cubicBezTo>
                <a:cubicBezTo>
                  <a:pt x="202" y="369"/>
                  <a:pt x="202" y="369"/>
                  <a:pt x="202" y="369"/>
                </a:cubicBezTo>
                <a:cubicBezTo>
                  <a:pt x="202" y="369"/>
                  <a:pt x="202" y="369"/>
                  <a:pt x="202" y="369"/>
                </a:cubicBezTo>
                <a:cubicBezTo>
                  <a:pt x="201" y="369"/>
                  <a:pt x="200" y="369"/>
                  <a:pt x="199" y="369"/>
                </a:cubicBezTo>
                <a:cubicBezTo>
                  <a:pt x="197" y="370"/>
                  <a:pt x="196" y="370"/>
                  <a:pt x="194" y="370"/>
                </a:cubicBezTo>
                <a:cubicBezTo>
                  <a:pt x="189" y="370"/>
                  <a:pt x="189" y="370"/>
                  <a:pt x="189" y="370"/>
                </a:cubicBezTo>
                <a:cubicBezTo>
                  <a:pt x="189" y="370"/>
                  <a:pt x="189" y="370"/>
                  <a:pt x="189" y="370"/>
                </a:cubicBezTo>
                <a:cubicBezTo>
                  <a:pt x="184" y="370"/>
                  <a:pt x="178" y="370"/>
                  <a:pt x="172" y="370"/>
                </a:cubicBezTo>
                <a:cubicBezTo>
                  <a:pt x="170" y="370"/>
                  <a:pt x="165" y="369"/>
                  <a:pt x="164" y="366"/>
                </a:cubicBezTo>
                <a:cubicBezTo>
                  <a:pt x="164" y="366"/>
                  <a:pt x="164" y="365"/>
                  <a:pt x="164" y="365"/>
                </a:cubicBezTo>
                <a:cubicBezTo>
                  <a:pt x="165" y="364"/>
                  <a:pt x="166" y="362"/>
                  <a:pt x="166" y="362"/>
                </a:cubicBezTo>
                <a:cubicBezTo>
                  <a:pt x="168" y="358"/>
                  <a:pt x="170" y="355"/>
                  <a:pt x="173" y="352"/>
                </a:cubicBezTo>
                <a:cubicBezTo>
                  <a:pt x="173" y="352"/>
                  <a:pt x="173" y="352"/>
                  <a:pt x="173" y="352"/>
                </a:cubicBezTo>
                <a:cubicBezTo>
                  <a:pt x="173" y="352"/>
                  <a:pt x="173" y="352"/>
                  <a:pt x="173" y="352"/>
                </a:cubicBezTo>
                <a:cubicBezTo>
                  <a:pt x="180" y="345"/>
                  <a:pt x="193" y="347"/>
                  <a:pt x="201" y="347"/>
                </a:cubicBezTo>
                <a:cubicBezTo>
                  <a:pt x="205" y="347"/>
                  <a:pt x="210" y="346"/>
                  <a:pt x="213" y="348"/>
                </a:cubicBezTo>
                <a:cubicBezTo>
                  <a:pt x="213" y="348"/>
                  <a:pt x="213" y="348"/>
                  <a:pt x="213" y="348"/>
                </a:cubicBezTo>
                <a:cubicBezTo>
                  <a:pt x="214" y="348"/>
                  <a:pt x="214" y="348"/>
                  <a:pt x="214" y="348"/>
                </a:cubicBezTo>
                <a:cubicBezTo>
                  <a:pt x="214" y="348"/>
                  <a:pt x="214" y="349"/>
                  <a:pt x="214" y="349"/>
                </a:cubicBezTo>
                <a:cubicBezTo>
                  <a:pt x="215" y="349"/>
                  <a:pt x="216" y="350"/>
                  <a:pt x="216" y="350"/>
                </a:cubicBezTo>
                <a:cubicBezTo>
                  <a:pt x="216" y="351"/>
                  <a:pt x="216" y="352"/>
                  <a:pt x="215" y="353"/>
                </a:cubicBezTo>
                <a:cubicBezTo>
                  <a:pt x="215" y="353"/>
                  <a:pt x="215" y="353"/>
                  <a:pt x="215" y="353"/>
                </a:cubicBezTo>
                <a:cubicBezTo>
                  <a:pt x="214" y="355"/>
                  <a:pt x="213" y="357"/>
                  <a:pt x="212" y="359"/>
                </a:cubicBezTo>
                <a:close/>
                <a:moveTo>
                  <a:pt x="266" y="369"/>
                </a:moveTo>
                <a:cubicBezTo>
                  <a:pt x="266" y="369"/>
                  <a:pt x="265" y="369"/>
                  <a:pt x="264" y="369"/>
                </a:cubicBezTo>
                <a:cubicBezTo>
                  <a:pt x="264" y="369"/>
                  <a:pt x="264" y="370"/>
                  <a:pt x="264" y="370"/>
                </a:cubicBezTo>
                <a:cubicBezTo>
                  <a:pt x="261" y="370"/>
                  <a:pt x="258" y="370"/>
                  <a:pt x="254" y="370"/>
                </a:cubicBezTo>
                <a:cubicBezTo>
                  <a:pt x="240" y="370"/>
                  <a:pt x="240" y="370"/>
                  <a:pt x="240" y="370"/>
                </a:cubicBezTo>
                <a:cubicBezTo>
                  <a:pt x="238" y="370"/>
                  <a:pt x="233" y="369"/>
                  <a:pt x="231" y="366"/>
                </a:cubicBezTo>
                <a:cubicBezTo>
                  <a:pt x="231" y="366"/>
                  <a:pt x="231" y="365"/>
                  <a:pt x="231" y="365"/>
                </a:cubicBezTo>
                <a:cubicBezTo>
                  <a:pt x="231" y="365"/>
                  <a:pt x="231" y="365"/>
                  <a:pt x="231" y="364"/>
                </a:cubicBezTo>
                <a:cubicBezTo>
                  <a:pt x="232" y="363"/>
                  <a:pt x="233" y="362"/>
                  <a:pt x="233" y="361"/>
                </a:cubicBezTo>
                <a:cubicBezTo>
                  <a:pt x="234" y="358"/>
                  <a:pt x="235" y="354"/>
                  <a:pt x="238" y="352"/>
                </a:cubicBezTo>
                <a:cubicBezTo>
                  <a:pt x="238" y="351"/>
                  <a:pt x="238" y="351"/>
                  <a:pt x="238" y="351"/>
                </a:cubicBezTo>
                <a:cubicBezTo>
                  <a:pt x="238" y="351"/>
                  <a:pt x="238" y="351"/>
                  <a:pt x="238" y="351"/>
                </a:cubicBezTo>
                <a:cubicBezTo>
                  <a:pt x="239" y="351"/>
                  <a:pt x="239" y="351"/>
                  <a:pt x="239" y="351"/>
                </a:cubicBezTo>
                <a:cubicBezTo>
                  <a:pt x="239" y="350"/>
                  <a:pt x="239" y="350"/>
                  <a:pt x="239" y="350"/>
                </a:cubicBezTo>
                <a:cubicBezTo>
                  <a:pt x="239" y="350"/>
                  <a:pt x="239" y="350"/>
                  <a:pt x="239" y="350"/>
                </a:cubicBezTo>
                <a:cubicBezTo>
                  <a:pt x="241" y="349"/>
                  <a:pt x="244" y="348"/>
                  <a:pt x="246" y="348"/>
                </a:cubicBezTo>
                <a:cubicBezTo>
                  <a:pt x="246" y="348"/>
                  <a:pt x="246" y="347"/>
                  <a:pt x="247" y="347"/>
                </a:cubicBezTo>
                <a:cubicBezTo>
                  <a:pt x="248" y="347"/>
                  <a:pt x="249" y="347"/>
                  <a:pt x="251" y="347"/>
                </a:cubicBezTo>
                <a:cubicBezTo>
                  <a:pt x="259" y="347"/>
                  <a:pt x="259" y="347"/>
                  <a:pt x="259" y="347"/>
                </a:cubicBezTo>
                <a:cubicBezTo>
                  <a:pt x="262" y="347"/>
                  <a:pt x="265" y="347"/>
                  <a:pt x="267" y="347"/>
                </a:cubicBezTo>
                <a:cubicBezTo>
                  <a:pt x="271" y="347"/>
                  <a:pt x="276" y="346"/>
                  <a:pt x="279" y="349"/>
                </a:cubicBezTo>
                <a:cubicBezTo>
                  <a:pt x="279" y="349"/>
                  <a:pt x="280" y="349"/>
                  <a:pt x="280" y="350"/>
                </a:cubicBezTo>
                <a:cubicBezTo>
                  <a:pt x="280" y="350"/>
                  <a:pt x="280" y="350"/>
                  <a:pt x="280" y="350"/>
                </a:cubicBezTo>
                <a:cubicBezTo>
                  <a:pt x="280" y="350"/>
                  <a:pt x="280" y="350"/>
                  <a:pt x="280" y="350"/>
                </a:cubicBezTo>
                <a:cubicBezTo>
                  <a:pt x="280" y="350"/>
                  <a:pt x="280" y="350"/>
                  <a:pt x="280" y="350"/>
                </a:cubicBezTo>
                <a:cubicBezTo>
                  <a:pt x="280" y="351"/>
                  <a:pt x="280" y="351"/>
                  <a:pt x="280" y="352"/>
                </a:cubicBezTo>
                <a:cubicBezTo>
                  <a:pt x="280" y="355"/>
                  <a:pt x="278" y="359"/>
                  <a:pt x="277" y="361"/>
                </a:cubicBezTo>
                <a:cubicBezTo>
                  <a:pt x="277" y="361"/>
                  <a:pt x="277" y="361"/>
                  <a:pt x="277" y="361"/>
                </a:cubicBezTo>
                <a:cubicBezTo>
                  <a:pt x="277" y="362"/>
                  <a:pt x="277" y="362"/>
                  <a:pt x="276" y="363"/>
                </a:cubicBezTo>
                <a:cubicBezTo>
                  <a:pt x="276" y="363"/>
                  <a:pt x="276" y="363"/>
                  <a:pt x="276" y="363"/>
                </a:cubicBezTo>
                <a:cubicBezTo>
                  <a:pt x="276" y="364"/>
                  <a:pt x="276" y="364"/>
                  <a:pt x="276" y="364"/>
                </a:cubicBezTo>
                <a:cubicBezTo>
                  <a:pt x="276" y="364"/>
                  <a:pt x="276" y="364"/>
                  <a:pt x="276" y="364"/>
                </a:cubicBezTo>
                <a:cubicBezTo>
                  <a:pt x="276" y="364"/>
                  <a:pt x="275" y="365"/>
                  <a:pt x="275" y="365"/>
                </a:cubicBezTo>
                <a:cubicBezTo>
                  <a:pt x="275" y="365"/>
                  <a:pt x="275" y="365"/>
                  <a:pt x="275" y="365"/>
                </a:cubicBezTo>
                <a:cubicBezTo>
                  <a:pt x="275" y="365"/>
                  <a:pt x="275" y="365"/>
                  <a:pt x="275" y="365"/>
                </a:cubicBezTo>
                <a:cubicBezTo>
                  <a:pt x="275" y="366"/>
                  <a:pt x="275" y="366"/>
                  <a:pt x="275" y="366"/>
                </a:cubicBezTo>
                <a:cubicBezTo>
                  <a:pt x="274" y="366"/>
                  <a:pt x="274" y="367"/>
                  <a:pt x="273" y="367"/>
                </a:cubicBezTo>
                <a:cubicBezTo>
                  <a:pt x="273" y="367"/>
                  <a:pt x="272" y="367"/>
                  <a:pt x="272" y="368"/>
                </a:cubicBezTo>
                <a:cubicBezTo>
                  <a:pt x="271" y="368"/>
                  <a:pt x="271" y="368"/>
                  <a:pt x="271" y="368"/>
                </a:cubicBezTo>
                <a:cubicBezTo>
                  <a:pt x="271" y="368"/>
                  <a:pt x="271" y="368"/>
                  <a:pt x="271" y="368"/>
                </a:cubicBezTo>
                <a:cubicBezTo>
                  <a:pt x="269" y="369"/>
                  <a:pt x="268" y="369"/>
                  <a:pt x="266" y="369"/>
                </a:cubicBezTo>
                <a:close/>
                <a:moveTo>
                  <a:pt x="172" y="430"/>
                </a:moveTo>
                <a:cubicBezTo>
                  <a:pt x="172" y="430"/>
                  <a:pt x="172" y="430"/>
                  <a:pt x="172" y="430"/>
                </a:cubicBezTo>
                <a:cubicBezTo>
                  <a:pt x="172" y="433"/>
                  <a:pt x="169" y="437"/>
                  <a:pt x="167" y="439"/>
                </a:cubicBezTo>
                <a:cubicBezTo>
                  <a:pt x="167" y="439"/>
                  <a:pt x="167" y="439"/>
                  <a:pt x="167" y="439"/>
                </a:cubicBezTo>
                <a:cubicBezTo>
                  <a:pt x="165" y="443"/>
                  <a:pt x="164" y="447"/>
                  <a:pt x="161" y="450"/>
                </a:cubicBezTo>
                <a:cubicBezTo>
                  <a:pt x="161" y="450"/>
                  <a:pt x="161" y="450"/>
                  <a:pt x="161" y="451"/>
                </a:cubicBezTo>
                <a:cubicBezTo>
                  <a:pt x="160" y="451"/>
                  <a:pt x="160" y="451"/>
                  <a:pt x="160" y="451"/>
                </a:cubicBezTo>
                <a:cubicBezTo>
                  <a:pt x="160" y="451"/>
                  <a:pt x="160" y="451"/>
                  <a:pt x="160" y="452"/>
                </a:cubicBezTo>
                <a:cubicBezTo>
                  <a:pt x="159" y="452"/>
                  <a:pt x="159" y="452"/>
                  <a:pt x="159" y="452"/>
                </a:cubicBezTo>
                <a:cubicBezTo>
                  <a:pt x="159" y="452"/>
                  <a:pt x="159" y="452"/>
                  <a:pt x="159" y="452"/>
                </a:cubicBezTo>
                <a:cubicBezTo>
                  <a:pt x="156" y="455"/>
                  <a:pt x="153" y="456"/>
                  <a:pt x="150" y="457"/>
                </a:cubicBezTo>
                <a:cubicBezTo>
                  <a:pt x="149" y="457"/>
                  <a:pt x="149" y="457"/>
                  <a:pt x="149" y="458"/>
                </a:cubicBezTo>
                <a:cubicBezTo>
                  <a:pt x="146" y="458"/>
                  <a:pt x="144" y="458"/>
                  <a:pt x="142" y="458"/>
                </a:cubicBezTo>
                <a:cubicBezTo>
                  <a:pt x="141" y="458"/>
                  <a:pt x="141" y="458"/>
                  <a:pt x="141" y="458"/>
                </a:cubicBezTo>
                <a:cubicBezTo>
                  <a:pt x="141" y="458"/>
                  <a:pt x="141" y="458"/>
                  <a:pt x="141" y="458"/>
                </a:cubicBezTo>
                <a:cubicBezTo>
                  <a:pt x="132" y="458"/>
                  <a:pt x="124" y="458"/>
                  <a:pt x="115" y="458"/>
                </a:cubicBezTo>
                <a:cubicBezTo>
                  <a:pt x="114" y="458"/>
                  <a:pt x="114" y="458"/>
                  <a:pt x="113" y="458"/>
                </a:cubicBezTo>
                <a:cubicBezTo>
                  <a:pt x="112" y="458"/>
                  <a:pt x="111" y="458"/>
                  <a:pt x="110" y="458"/>
                </a:cubicBezTo>
                <a:cubicBezTo>
                  <a:pt x="109" y="457"/>
                  <a:pt x="107" y="456"/>
                  <a:pt x="107" y="456"/>
                </a:cubicBezTo>
                <a:cubicBezTo>
                  <a:pt x="106" y="455"/>
                  <a:pt x="106" y="453"/>
                  <a:pt x="106" y="452"/>
                </a:cubicBezTo>
                <a:cubicBezTo>
                  <a:pt x="106" y="451"/>
                  <a:pt x="106" y="451"/>
                  <a:pt x="107" y="450"/>
                </a:cubicBezTo>
                <a:cubicBezTo>
                  <a:pt x="107" y="449"/>
                  <a:pt x="107" y="449"/>
                  <a:pt x="107" y="449"/>
                </a:cubicBezTo>
                <a:cubicBezTo>
                  <a:pt x="107" y="449"/>
                  <a:pt x="107" y="449"/>
                  <a:pt x="107" y="449"/>
                </a:cubicBezTo>
                <a:cubicBezTo>
                  <a:pt x="107" y="448"/>
                  <a:pt x="107" y="448"/>
                  <a:pt x="107" y="448"/>
                </a:cubicBezTo>
                <a:cubicBezTo>
                  <a:pt x="107" y="448"/>
                  <a:pt x="107" y="448"/>
                  <a:pt x="107" y="448"/>
                </a:cubicBezTo>
                <a:cubicBezTo>
                  <a:pt x="109" y="445"/>
                  <a:pt x="112" y="442"/>
                  <a:pt x="114" y="439"/>
                </a:cubicBezTo>
                <a:cubicBezTo>
                  <a:pt x="116" y="436"/>
                  <a:pt x="117" y="433"/>
                  <a:pt x="119" y="431"/>
                </a:cubicBezTo>
                <a:cubicBezTo>
                  <a:pt x="120" y="431"/>
                  <a:pt x="120" y="430"/>
                  <a:pt x="120" y="430"/>
                </a:cubicBezTo>
                <a:cubicBezTo>
                  <a:pt x="120" y="430"/>
                  <a:pt x="120" y="430"/>
                  <a:pt x="120" y="430"/>
                </a:cubicBezTo>
                <a:cubicBezTo>
                  <a:pt x="121" y="430"/>
                  <a:pt x="121" y="429"/>
                  <a:pt x="122" y="429"/>
                </a:cubicBezTo>
                <a:cubicBezTo>
                  <a:pt x="122" y="429"/>
                  <a:pt x="122" y="429"/>
                  <a:pt x="122" y="429"/>
                </a:cubicBezTo>
                <a:cubicBezTo>
                  <a:pt x="122" y="429"/>
                  <a:pt x="122" y="429"/>
                  <a:pt x="122" y="429"/>
                </a:cubicBezTo>
                <a:cubicBezTo>
                  <a:pt x="125" y="426"/>
                  <a:pt x="128" y="425"/>
                  <a:pt x="132" y="424"/>
                </a:cubicBezTo>
                <a:cubicBezTo>
                  <a:pt x="132" y="424"/>
                  <a:pt x="132" y="424"/>
                  <a:pt x="132" y="424"/>
                </a:cubicBezTo>
                <a:cubicBezTo>
                  <a:pt x="132" y="424"/>
                  <a:pt x="132" y="424"/>
                  <a:pt x="132" y="424"/>
                </a:cubicBezTo>
                <a:cubicBezTo>
                  <a:pt x="133" y="424"/>
                  <a:pt x="133" y="424"/>
                  <a:pt x="134" y="424"/>
                </a:cubicBezTo>
                <a:cubicBezTo>
                  <a:pt x="135" y="424"/>
                  <a:pt x="135" y="424"/>
                  <a:pt x="135" y="424"/>
                </a:cubicBezTo>
                <a:cubicBezTo>
                  <a:pt x="136" y="424"/>
                  <a:pt x="136" y="424"/>
                  <a:pt x="137" y="424"/>
                </a:cubicBezTo>
                <a:cubicBezTo>
                  <a:pt x="137" y="423"/>
                  <a:pt x="137" y="423"/>
                  <a:pt x="138" y="423"/>
                </a:cubicBezTo>
                <a:cubicBezTo>
                  <a:pt x="138" y="423"/>
                  <a:pt x="138" y="423"/>
                  <a:pt x="138" y="423"/>
                </a:cubicBezTo>
                <a:cubicBezTo>
                  <a:pt x="138" y="423"/>
                  <a:pt x="138" y="423"/>
                  <a:pt x="138" y="423"/>
                </a:cubicBezTo>
                <a:cubicBezTo>
                  <a:pt x="146" y="423"/>
                  <a:pt x="153" y="423"/>
                  <a:pt x="161" y="423"/>
                </a:cubicBezTo>
                <a:cubicBezTo>
                  <a:pt x="161" y="423"/>
                  <a:pt x="161" y="423"/>
                  <a:pt x="161" y="423"/>
                </a:cubicBezTo>
                <a:cubicBezTo>
                  <a:pt x="163" y="423"/>
                  <a:pt x="163" y="423"/>
                  <a:pt x="163" y="423"/>
                </a:cubicBezTo>
                <a:cubicBezTo>
                  <a:pt x="165" y="423"/>
                  <a:pt x="166" y="424"/>
                  <a:pt x="167" y="424"/>
                </a:cubicBezTo>
                <a:cubicBezTo>
                  <a:pt x="168" y="424"/>
                  <a:pt x="168" y="424"/>
                  <a:pt x="169" y="425"/>
                </a:cubicBezTo>
                <a:cubicBezTo>
                  <a:pt x="169" y="425"/>
                  <a:pt x="169" y="425"/>
                  <a:pt x="169" y="425"/>
                </a:cubicBezTo>
                <a:cubicBezTo>
                  <a:pt x="169" y="425"/>
                  <a:pt x="169" y="425"/>
                  <a:pt x="170" y="425"/>
                </a:cubicBezTo>
                <a:cubicBezTo>
                  <a:pt x="172" y="426"/>
                  <a:pt x="173" y="428"/>
                  <a:pt x="172" y="430"/>
                </a:cubicBezTo>
                <a:close/>
                <a:moveTo>
                  <a:pt x="188" y="402"/>
                </a:moveTo>
                <a:cubicBezTo>
                  <a:pt x="188" y="402"/>
                  <a:pt x="188" y="402"/>
                  <a:pt x="188" y="402"/>
                </a:cubicBezTo>
                <a:cubicBezTo>
                  <a:pt x="188" y="402"/>
                  <a:pt x="188" y="402"/>
                  <a:pt x="188" y="402"/>
                </a:cubicBezTo>
                <a:cubicBezTo>
                  <a:pt x="188" y="403"/>
                  <a:pt x="187" y="403"/>
                  <a:pt x="187" y="404"/>
                </a:cubicBezTo>
                <a:cubicBezTo>
                  <a:pt x="187" y="404"/>
                  <a:pt x="187" y="404"/>
                  <a:pt x="187" y="404"/>
                </a:cubicBezTo>
                <a:cubicBezTo>
                  <a:pt x="185" y="406"/>
                  <a:pt x="182" y="407"/>
                  <a:pt x="179" y="408"/>
                </a:cubicBezTo>
                <a:cubicBezTo>
                  <a:pt x="179" y="408"/>
                  <a:pt x="179" y="408"/>
                  <a:pt x="179" y="408"/>
                </a:cubicBezTo>
                <a:cubicBezTo>
                  <a:pt x="179" y="409"/>
                  <a:pt x="178" y="409"/>
                  <a:pt x="178" y="409"/>
                </a:cubicBezTo>
                <a:cubicBezTo>
                  <a:pt x="177" y="409"/>
                  <a:pt x="177" y="409"/>
                  <a:pt x="177" y="409"/>
                </a:cubicBezTo>
                <a:cubicBezTo>
                  <a:pt x="177" y="409"/>
                  <a:pt x="177" y="409"/>
                  <a:pt x="176" y="409"/>
                </a:cubicBezTo>
                <a:cubicBezTo>
                  <a:pt x="174" y="409"/>
                  <a:pt x="172" y="410"/>
                  <a:pt x="171" y="410"/>
                </a:cubicBezTo>
                <a:cubicBezTo>
                  <a:pt x="170" y="410"/>
                  <a:pt x="170" y="410"/>
                  <a:pt x="170" y="410"/>
                </a:cubicBezTo>
                <a:cubicBezTo>
                  <a:pt x="167" y="410"/>
                  <a:pt x="164" y="410"/>
                  <a:pt x="161" y="410"/>
                </a:cubicBezTo>
                <a:cubicBezTo>
                  <a:pt x="156" y="410"/>
                  <a:pt x="151" y="410"/>
                  <a:pt x="146" y="410"/>
                </a:cubicBezTo>
                <a:cubicBezTo>
                  <a:pt x="146" y="410"/>
                  <a:pt x="145" y="410"/>
                  <a:pt x="144" y="410"/>
                </a:cubicBezTo>
                <a:cubicBezTo>
                  <a:pt x="144" y="410"/>
                  <a:pt x="144" y="410"/>
                  <a:pt x="144" y="410"/>
                </a:cubicBezTo>
                <a:cubicBezTo>
                  <a:pt x="143" y="409"/>
                  <a:pt x="143" y="409"/>
                  <a:pt x="142" y="409"/>
                </a:cubicBezTo>
                <a:cubicBezTo>
                  <a:pt x="142" y="409"/>
                  <a:pt x="142" y="409"/>
                  <a:pt x="142" y="409"/>
                </a:cubicBezTo>
                <a:cubicBezTo>
                  <a:pt x="142" y="409"/>
                  <a:pt x="142" y="409"/>
                  <a:pt x="142" y="409"/>
                </a:cubicBezTo>
                <a:cubicBezTo>
                  <a:pt x="140" y="409"/>
                  <a:pt x="138" y="407"/>
                  <a:pt x="138" y="405"/>
                </a:cubicBezTo>
                <a:cubicBezTo>
                  <a:pt x="138" y="405"/>
                  <a:pt x="138" y="404"/>
                  <a:pt x="138" y="404"/>
                </a:cubicBezTo>
                <a:cubicBezTo>
                  <a:pt x="138" y="404"/>
                  <a:pt x="138" y="404"/>
                  <a:pt x="138" y="403"/>
                </a:cubicBezTo>
                <a:cubicBezTo>
                  <a:pt x="138" y="403"/>
                  <a:pt x="138" y="403"/>
                  <a:pt x="139" y="402"/>
                </a:cubicBezTo>
                <a:cubicBezTo>
                  <a:pt x="139" y="402"/>
                  <a:pt x="139" y="402"/>
                  <a:pt x="139" y="402"/>
                </a:cubicBezTo>
                <a:cubicBezTo>
                  <a:pt x="139" y="402"/>
                  <a:pt x="139" y="402"/>
                  <a:pt x="139" y="402"/>
                </a:cubicBezTo>
                <a:cubicBezTo>
                  <a:pt x="139" y="402"/>
                  <a:pt x="139" y="401"/>
                  <a:pt x="140" y="401"/>
                </a:cubicBezTo>
                <a:cubicBezTo>
                  <a:pt x="142" y="397"/>
                  <a:pt x="144" y="394"/>
                  <a:pt x="147" y="390"/>
                </a:cubicBezTo>
                <a:cubicBezTo>
                  <a:pt x="147" y="390"/>
                  <a:pt x="147" y="390"/>
                  <a:pt x="147" y="390"/>
                </a:cubicBezTo>
                <a:cubicBezTo>
                  <a:pt x="148" y="389"/>
                  <a:pt x="148" y="389"/>
                  <a:pt x="148" y="389"/>
                </a:cubicBezTo>
                <a:cubicBezTo>
                  <a:pt x="149" y="388"/>
                  <a:pt x="149" y="387"/>
                  <a:pt x="151" y="386"/>
                </a:cubicBezTo>
                <a:cubicBezTo>
                  <a:pt x="151" y="385"/>
                  <a:pt x="152" y="385"/>
                  <a:pt x="153" y="385"/>
                </a:cubicBezTo>
                <a:cubicBezTo>
                  <a:pt x="153" y="384"/>
                  <a:pt x="154" y="384"/>
                  <a:pt x="154" y="384"/>
                </a:cubicBezTo>
                <a:cubicBezTo>
                  <a:pt x="154" y="384"/>
                  <a:pt x="154" y="384"/>
                  <a:pt x="155" y="384"/>
                </a:cubicBezTo>
                <a:cubicBezTo>
                  <a:pt x="155" y="384"/>
                  <a:pt x="155" y="384"/>
                  <a:pt x="155" y="384"/>
                </a:cubicBezTo>
                <a:cubicBezTo>
                  <a:pt x="155" y="384"/>
                  <a:pt x="155" y="384"/>
                  <a:pt x="156" y="383"/>
                </a:cubicBezTo>
                <a:cubicBezTo>
                  <a:pt x="157" y="383"/>
                  <a:pt x="158" y="383"/>
                  <a:pt x="160" y="382"/>
                </a:cubicBezTo>
                <a:cubicBezTo>
                  <a:pt x="161" y="382"/>
                  <a:pt x="163" y="382"/>
                  <a:pt x="165" y="382"/>
                </a:cubicBezTo>
                <a:cubicBezTo>
                  <a:pt x="169" y="382"/>
                  <a:pt x="169" y="382"/>
                  <a:pt x="169" y="382"/>
                </a:cubicBezTo>
                <a:cubicBezTo>
                  <a:pt x="170" y="382"/>
                  <a:pt x="171" y="382"/>
                  <a:pt x="172" y="382"/>
                </a:cubicBezTo>
                <a:cubicBezTo>
                  <a:pt x="177" y="382"/>
                  <a:pt x="181" y="382"/>
                  <a:pt x="185" y="382"/>
                </a:cubicBezTo>
                <a:cubicBezTo>
                  <a:pt x="185" y="382"/>
                  <a:pt x="185" y="382"/>
                  <a:pt x="185" y="382"/>
                </a:cubicBezTo>
                <a:cubicBezTo>
                  <a:pt x="187" y="382"/>
                  <a:pt x="187" y="382"/>
                  <a:pt x="187" y="382"/>
                </a:cubicBezTo>
                <a:cubicBezTo>
                  <a:pt x="189" y="382"/>
                  <a:pt x="190" y="382"/>
                  <a:pt x="191" y="382"/>
                </a:cubicBezTo>
                <a:cubicBezTo>
                  <a:pt x="193" y="383"/>
                  <a:pt x="193" y="383"/>
                  <a:pt x="194" y="383"/>
                </a:cubicBezTo>
                <a:cubicBezTo>
                  <a:pt x="196" y="384"/>
                  <a:pt x="197" y="386"/>
                  <a:pt x="196" y="389"/>
                </a:cubicBezTo>
                <a:cubicBezTo>
                  <a:pt x="194" y="392"/>
                  <a:pt x="192" y="395"/>
                  <a:pt x="190" y="398"/>
                </a:cubicBezTo>
                <a:cubicBezTo>
                  <a:pt x="188" y="402"/>
                  <a:pt x="188" y="402"/>
                  <a:pt x="188" y="402"/>
                </a:cubicBezTo>
                <a:cubicBezTo>
                  <a:pt x="188" y="402"/>
                  <a:pt x="188" y="402"/>
                  <a:pt x="188" y="402"/>
                </a:cubicBezTo>
                <a:close/>
                <a:moveTo>
                  <a:pt x="411" y="448"/>
                </a:moveTo>
                <a:cubicBezTo>
                  <a:pt x="411" y="449"/>
                  <a:pt x="411" y="449"/>
                  <a:pt x="411" y="450"/>
                </a:cubicBezTo>
                <a:cubicBezTo>
                  <a:pt x="411" y="450"/>
                  <a:pt x="411" y="450"/>
                  <a:pt x="411" y="450"/>
                </a:cubicBezTo>
                <a:cubicBezTo>
                  <a:pt x="411" y="451"/>
                  <a:pt x="411" y="451"/>
                  <a:pt x="410" y="451"/>
                </a:cubicBezTo>
                <a:cubicBezTo>
                  <a:pt x="410" y="451"/>
                  <a:pt x="410" y="451"/>
                  <a:pt x="410" y="452"/>
                </a:cubicBezTo>
                <a:cubicBezTo>
                  <a:pt x="410" y="452"/>
                  <a:pt x="410" y="452"/>
                  <a:pt x="410" y="452"/>
                </a:cubicBezTo>
                <a:cubicBezTo>
                  <a:pt x="410" y="452"/>
                  <a:pt x="409" y="453"/>
                  <a:pt x="409" y="453"/>
                </a:cubicBezTo>
                <a:cubicBezTo>
                  <a:pt x="409" y="453"/>
                  <a:pt x="409" y="453"/>
                  <a:pt x="409" y="453"/>
                </a:cubicBezTo>
                <a:cubicBezTo>
                  <a:pt x="408" y="454"/>
                  <a:pt x="408" y="454"/>
                  <a:pt x="407" y="455"/>
                </a:cubicBezTo>
                <a:cubicBezTo>
                  <a:pt x="407" y="455"/>
                  <a:pt x="407" y="455"/>
                  <a:pt x="407" y="455"/>
                </a:cubicBezTo>
                <a:cubicBezTo>
                  <a:pt x="407" y="455"/>
                  <a:pt x="407" y="455"/>
                  <a:pt x="407" y="455"/>
                </a:cubicBezTo>
                <a:cubicBezTo>
                  <a:pt x="406" y="455"/>
                  <a:pt x="406" y="456"/>
                  <a:pt x="405" y="456"/>
                </a:cubicBezTo>
                <a:cubicBezTo>
                  <a:pt x="405" y="456"/>
                  <a:pt x="405" y="456"/>
                  <a:pt x="405" y="456"/>
                </a:cubicBezTo>
                <a:cubicBezTo>
                  <a:pt x="404" y="456"/>
                  <a:pt x="404" y="456"/>
                  <a:pt x="404" y="456"/>
                </a:cubicBezTo>
                <a:cubicBezTo>
                  <a:pt x="403" y="456"/>
                  <a:pt x="403" y="457"/>
                  <a:pt x="403" y="457"/>
                </a:cubicBezTo>
                <a:cubicBezTo>
                  <a:pt x="403" y="457"/>
                  <a:pt x="403" y="457"/>
                  <a:pt x="402" y="457"/>
                </a:cubicBezTo>
                <a:cubicBezTo>
                  <a:pt x="402" y="457"/>
                  <a:pt x="402" y="457"/>
                  <a:pt x="402" y="457"/>
                </a:cubicBezTo>
                <a:cubicBezTo>
                  <a:pt x="402" y="457"/>
                  <a:pt x="401" y="457"/>
                  <a:pt x="400" y="457"/>
                </a:cubicBezTo>
                <a:cubicBezTo>
                  <a:pt x="400" y="457"/>
                  <a:pt x="399" y="457"/>
                  <a:pt x="399" y="457"/>
                </a:cubicBezTo>
                <a:cubicBezTo>
                  <a:pt x="398" y="458"/>
                  <a:pt x="398" y="458"/>
                  <a:pt x="397" y="458"/>
                </a:cubicBezTo>
                <a:cubicBezTo>
                  <a:pt x="397" y="458"/>
                  <a:pt x="397" y="458"/>
                  <a:pt x="397" y="458"/>
                </a:cubicBezTo>
                <a:cubicBezTo>
                  <a:pt x="396" y="458"/>
                  <a:pt x="396" y="458"/>
                  <a:pt x="396" y="458"/>
                </a:cubicBezTo>
                <a:cubicBezTo>
                  <a:pt x="396" y="458"/>
                  <a:pt x="396" y="458"/>
                  <a:pt x="396" y="458"/>
                </a:cubicBezTo>
                <a:cubicBezTo>
                  <a:pt x="393" y="458"/>
                  <a:pt x="390" y="458"/>
                  <a:pt x="387" y="458"/>
                </a:cubicBezTo>
                <a:cubicBezTo>
                  <a:pt x="373" y="458"/>
                  <a:pt x="212" y="458"/>
                  <a:pt x="200" y="458"/>
                </a:cubicBezTo>
                <a:cubicBezTo>
                  <a:pt x="199" y="458"/>
                  <a:pt x="198" y="458"/>
                  <a:pt x="198" y="458"/>
                </a:cubicBezTo>
                <a:cubicBezTo>
                  <a:pt x="197" y="458"/>
                  <a:pt x="196" y="458"/>
                  <a:pt x="195" y="457"/>
                </a:cubicBezTo>
                <a:cubicBezTo>
                  <a:pt x="193" y="457"/>
                  <a:pt x="192" y="456"/>
                  <a:pt x="191" y="455"/>
                </a:cubicBezTo>
                <a:cubicBezTo>
                  <a:pt x="190" y="454"/>
                  <a:pt x="190" y="453"/>
                  <a:pt x="189" y="452"/>
                </a:cubicBezTo>
                <a:cubicBezTo>
                  <a:pt x="189" y="451"/>
                  <a:pt x="189" y="450"/>
                  <a:pt x="190" y="449"/>
                </a:cubicBezTo>
                <a:cubicBezTo>
                  <a:pt x="191" y="448"/>
                  <a:pt x="191" y="448"/>
                  <a:pt x="191" y="448"/>
                </a:cubicBezTo>
                <a:cubicBezTo>
                  <a:pt x="191" y="448"/>
                  <a:pt x="191" y="448"/>
                  <a:pt x="191" y="448"/>
                </a:cubicBezTo>
                <a:cubicBezTo>
                  <a:pt x="192" y="444"/>
                  <a:pt x="194" y="440"/>
                  <a:pt x="196" y="437"/>
                </a:cubicBezTo>
                <a:cubicBezTo>
                  <a:pt x="196" y="436"/>
                  <a:pt x="197" y="435"/>
                  <a:pt x="197" y="435"/>
                </a:cubicBezTo>
                <a:cubicBezTo>
                  <a:pt x="198" y="432"/>
                  <a:pt x="198" y="432"/>
                  <a:pt x="198" y="432"/>
                </a:cubicBezTo>
                <a:cubicBezTo>
                  <a:pt x="199" y="431"/>
                  <a:pt x="200" y="430"/>
                  <a:pt x="201" y="428"/>
                </a:cubicBezTo>
                <a:cubicBezTo>
                  <a:pt x="201" y="428"/>
                  <a:pt x="202" y="428"/>
                  <a:pt x="202" y="428"/>
                </a:cubicBezTo>
                <a:cubicBezTo>
                  <a:pt x="202" y="428"/>
                  <a:pt x="202" y="428"/>
                  <a:pt x="203" y="428"/>
                </a:cubicBezTo>
                <a:cubicBezTo>
                  <a:pt x="203" y="427"/>
                  <a:pt x="203" y="427"/>
                  <a:pt x="203" y="427"/>
                </a:cubicBezTo>
                <a:cubicBezTo>
                  <a:pt x="203" y="427"/>
                  <a:pt x="203" y="427"/>
                  <a:pt x="203" y="427"/>
                </a:cubicBezTo>
                <a:cubicBezTo>
                  <a:pt x="204" y="427"/>
                  <a:pt x="204" y="427"/>
                  <a:pt x="204" y="427"/>
                </a:cubicBezTo>
                <a:cubicBezTo>
                  <a:pt x="204" y="426"/>
                  <a:pt x="205" y="426"/>
                  <a:pt x="205" y="426"/>
                </a:cubicBezTo>
                <a:cubicBezTo>
                  <a:pt x="205" y="426"/>
                  <a:pt x="206" y="426"/>
                  <a:pt x="206" y="425"/>
                </a:cubicBezTo>
                <a:cubicBezTo>
                  <a:pt x="206" y="425"/>
                  <a:pt x="207" y="425"/>
                  <a:pt x="207" y="425"/>
                </a:cubicBezTo>
                <a:cubicBezTo>
                  <a:pt x="208" y="425"/>
                  <a:pt x="208" y="425"/>
                  <a:pt x="209" y="424"/>
                </a:cubicBezTo>
                <a:cubicBezTo>
                  <a:pt x="209" y="424"/>
                  <a:pt x="210" y="424"/>
                  <a:pt x="210" y="424"/>
                </a:cubicBezTo>
                <a:cubicBezTo>
                  <a:pt x="210" y="424"/>
                  <a:pt x="210" y="424"/>
                  <a:pt x="210" y="424"/>
                </a:cubicBezTo>
                <a:cubicBezTo>
                  <a:pt x="212" y="423"/>
                  <a:pt x="214" y="423"/>
                  <a:pt x="216" y="423"/>
                </a:cubicBezTo>
                <a:cubicBezTo>
                  <a:pt x="216" y="423"/>
                  <a:pt x="385" y="423"/>
                  <a:pt x="392" y="423"/>
                </a:cubicBezTo>
                <a:cubicBezTo>
                  <a:pt x="393" y="423"/>
                  <a:pt x="395" y="423"/>
                  <a:pt x="397" y="423"/>
                </a:cubicBezTo>
                <a:cubicBezTo>
                  <a:pt x="398" y="423"/>
                  <a:pt x="399" y="423"/>
                  <a:pt x="400" y="423"/>
                </a:cubicBezTo>
                <a:cubicBezTo>
                  <a:pt x="400" y="423"/>
                  <a:pt x="400" y="423"/>
                  <a:pt x="400" y="423"/>
                </a:cubicBezTo>
                <a:cubicBezTo>
                  <a:pt x="401" y="423"/>
                  <a:pt x="402" y="423"/>
                  <a:pt x="402" y="423"/>
                </a:cubicBezTo>
                <a:cubicBezTo>
                  <a:pt x="403" y="423"/>
                  <a:pt x="403" y="423"/>
                  <a:pt x="403" y="423"/>
                </a:cubicBezTo>
                <a:cubicBezTo>
                  <a:pt x="403" y="423"/>
                  <a:pt x="403" y="423"/>
                  <a:pt x="403" y="423"/>
                </a:cubicBezTo>
                <a:cubicBezTo>
                  <a:pt x="404" y="424"/>
                  <a:pt x="404" y="424"/>
                  <a:pt x="405" y="424"/>
                </a:cubicBezTo>
                <a:cubicBezTo>
                  <a:pt x="405" y="424"/>
                  <a:pt x="405" y="424"/>
                  <a:pt x="405" y="424"/>
                </a:cubicBezTo>
                <a:cubicBezTo>
                  <a:pt x="406" y="425"/>
                  <a:pt x="406" y="425"/>
                  <a:pt x="407" y="425"/>
                </a:cubicBezTo>
                <a:cubicBezTo>
                  <a:pt x="407" y="425"/>
                  <a:pt x="407" y="425"/>
                  <a:pt x="407" y="425"/>
                </a:cubicBezTo>
                <a:cubicBezTo>
                  <a:pt x="407" y="425"/>
                  <a:pt x="407" y="425"/>
                  <a:pt x="407" y="425"/>
                </a:cubicBezTo>
                <a:cubicBezTo>
                  <a:pt x="408" y="426"/>
                  <a:pt x="408" y="426"/>
                  <a:pt x="408" y="426"/>
                </a:cubicBezTo>
                <a:cubicBezTo>
                  <a:pt x="409" y="427"/>
                  <a:pt x="409" y="427"/>
                  <a:pt x="410" y="428"/>
                </a:cubicBezTo>
                <a:cubicBezTo>
                  <a:pt x="411" y="429"/>
                  <a:pt x="411" y="430"/>
                  <a:pt x="411" y="431"/>
                </a:cubicBezTo>
                <a:cubicBezTo>
                  <a:pt x="411" y="432"/>
                  <a:pt x="411" y="432"/>
                  <a:pt x="411" y="432"/>
                </a:cubicBezTo>
                <a:cubicBezTo>
                  <a:pt x="411" y="432"/>
                  <a:pt x="411" y="432"/>
                  <a:pt x="411" y="432"/>
                </a:cubicBezTo>
                <a:cubicBezTo>
                  <a:pt x="411" y="436"/>
                  <a:pt x="411" y="441"/>
                  <a:pt x="411" y="445"/>
                </a:cubicBezTo>
                <a:cubicBezTo>
                  <a:pt x="411" y="446"/>
                  <a:pt x="411" y="447"/>
                  <a:pt x="411" y="448"/>
                </a:cubicBezTo>
                <a:close/>
                <a:moveTo>
                  <a:pt x="434" y="366"/>
                </a:moveTo>
                <a:cubicBezTo>
                  <a:pt x="434" y="366"/>
                  <a:pt x="434" y="366"/>
                  <a:pt x="434" y="366"/>
                </a:cubicBezTo>
                <a:cubicBezTo>
                  <a:pt x="434" y="366"/>
                  <a:pt x="434" y="366"/>
                  <a:pt x="434" y="365"/>
                </a:cubicBezTo>
                <a:cubicBezTo>
                  <a:pt x="433" y="365"/>
                  <a:pt x="433" y="364"/>
                  <a:pt x="432" y="363"/>
                </a:cubicBezTo>
                <a:cubicBezTo>
                  <a:pt x="432" y="362"/>
                  <a:pt x="432" y="362"/>
                  <a:pt x="432" y="362"/>
                </a:cubicBezTo>
                <a:cubicBezTo>
                  <a:pt x="432" y="362"/>
                  <a:pt x="432" y="361"/>
                  <a:pt x="432" y="360"/>
                </a:cubicBezTo>
                <a:cubicBezTo>
                  <a:pt x="432" y="360"/>
                  <a:pt x="432" y="360"/>
                  <a:pt x="432" y="360"/>
                </a:cubicBezTo>
                <a:cubicBezTo>
                  <a:pt x="432" y="358"/>
                  <a:pt x="432" y="355"/>
                  <a:pt x="432" y="353"/>
                </a:cubicBezTo>
                <a:cubicBezTo>
                  <a:pt x="432" y="352"/>
                  <a:pt x="432" y="352"/>
                  <a:pt x="432" y="352"/>
                </a:cubicBezTo>
                <a:cubicBezTo>
                  <a:pt x="432" y="351"/>
                  <a:pt x="432" y="350"/>
                  <a:pt x="432" y="350"/>
                </a:cubicBezTo>
                <a:cubicBezTo>
                  <a:pt x="433" y="349"/>
                  <a:pt x="434" y="349"/>
                  <a:pt x="435" y="348"/>
                </a:cubicBezTo>
                <a:cubicBezTo>
                  <a:pt x="436" y="348"/>
                  <a:pt x="437" y="347"/>
                  <a:pt x="438" y="347"/>
                </a:cubicBezTo>
                <a:cubicBezTo>
                  <a:pt x="438" y="347"/>
                  <a:pt x="438" y="347"/>
                  <a:pt x="438" y="347"/>
                </a:cubicBezTo>
                <a:cubicBezTo>
                  <a:pt x="438" y="347"/>
                  <a:pt x="438" y="347"/>
                  <a:pt x="438" y="347"/>
                </a:cubicBezTo>
                <a:cubicBezTo>
                  <a:pt x="439" y="347"/>
                  <a:pt x="439" y="347"/>
                  <a:pt x="440" y="347"/>
                </a:cubicBezTo>
                <a:cubicBezTo>
                  <a:pt x="440" y="347"/>
                  <a:pt x="440" y="347"/>
                  <a:pt x="441" y="347"/>
                </a:cubicBezTo>
                <a:cubicBezTo>
                  <a:pt x="443" y="346"/>
                  <a:pt x="445" y="346"/>
                  <a:pt x="447" y="346"/>
                </a:cubicBezTo>
                <a:cubicBezTo>
                  <a:pt x="463" y="346"/>
                  <a:pt x="463" y="346"/>
                  <a:pt x="463" y="346"/>
                </a:cubicBezTo>
                <a:cubicBezTo>
                  <a:pt x="464" y="346"/>
                  <a:pt x="465" y="346"/>
                  <a:pt x="465" y="347"/>
                </a:cubicBezTo>
                <a:cubicBezTo>
                  <a:pt x="469" y="347"/>
                  <a:pt x="474" y="348"/>
                  <a:pt x="475" y="352"/>
                </a:cubicBezTo>
                <a:cubicBezTo>
                  <a:pt x="476" y="355"/>
                  <a:pt x="476" y="359"/>
                  <a:pt x="477" y="362"/>
                </a:cubicBezTo>
                <a:cubicBezTo>
                  <a:pt x="477" y="363"/>
                  <a:pt x="477" y="363"/>
                  <a:pt x="477" y="363"/>
                </a:cubicBezTo>
                <a:cubicBezTo>
                  <a:pt x="477" y="364"/>
                  <a:pt x="477" y="364"/>
                  <a:pt x="477" y="365"/>
                </a:cubicBezTo>
                <a:cubicBezTo>
                  <a:pt x="477" y="365"/>
                  <a:pt x="477" y="365"/>
                  <a:pt x="477" y="365"/>
                </a:cubicBezTo>
                <a:cubicBezTo>
                  <a:pt x="477" y="365"/>
                  <a:pt x="477" y="365"/>
                  <a:pt x="477" y="365"/>
                </a:cubicBezTo>
                <a:cubicBezTo>
                  <a:pt x="477" y="365"/>
                  <a:pt x="477" y="365"/>
                  <a:pt x="477" y="365"/>
                </a:cubicBezTo>
                <a:cubicBezTo>
                  <a:pt x="476" y="367"/>
                  <a:pt x="474" y="368"/>
                  <a:pt x="472" y="369"/>
                </a:cubicBezTo>
                <a:cubicBezTo>
                  <a:pt x="471" y="369"/>
                  <a:pt x="471" y="369"/>
                  <a:pt x="471" y="369"/>
                </a:cubicBezTo>
                <a:cubicBezTo>
                  <a:pt x="471" y="369"/>
                  <a:pt x="471" y="369"/>
                  <a:pt x="470" y="369"/>
                </a:cubicBezTo>
                <a:cubicBezTo>
                  <a:pt x="470" y="369"/>
                  <a:pt x="470" y="369"/>
                  <a:pt x="470" y="369"/>
                </a:cubicBezTo>
                <a:cubicBezTo>
                  <a:pt x="469" y="369"/>
                  <a:pt x="469" y="369"/>
                  <a:pt x="469" y="369"/>
                </a:cubicBezTo>
                <a:cubicBezTo>
                  <a:pt x="463" y="370"/>
                  <a:pt x="457" y="369"/>
                  <a:pt x="455" y="369"/>
                </a:cubicBezTo>
                <a:cubicBezTo>
                  <a:pt x="445" y="369"/>
                  <a:pt x="445" y="369"/>
                  <a:pt x="445" y="369"/>
                </a:cubicBezTo>
                <a:cubicBezTo>
                  <a:pt x="444" y="369"/>
                  <a:pt x="443" y="369"/>
                  <a:pt x="442" y="369"/>
                </a:cubicBezTo>
                <a:cubicBezTo>
                  <a:pt x="442" y="369"/>
                  <a:pt x="441" y="369"/>
                  <a:pt x="441" y="369"/>
                </a:cubicBezTo>
                <a:cubicBezTo>
                  <a:pt x="440" y="369"/>
                  <a:pt x="440" y="369"/>
                  <a:pt x="440" y="369"/>
                </a:cubicBezTo>
                <a:cubicBezTo>
                  <a:pt x="440" y="369"/>
                  <a:pt x="440" y="369"/>
                  <a:pt x="440" y="369"/>
                </a:cubicBezTo>
                <a:cubicBezTo>
                  <a:pt x="439" y="369"/>
                  <a:pt x="439" y="369"/>
                  <a:pt x="438" y="368"/>
                </a:cubicBezTo>
                <a:cubicBezTo>
                  <a:pt x="438" y="368"/>
                  <a:pt x="438" y="368"/>
                  <a:pt x="438" y="368"/>
                </a:cubicBezTo>
                <a:cubicBezTo>
                  <a:pt x="437" y="368"/>
                  <a:pt x="437" y="368"/>
                  <a:pt x="436" y="367"/>
                </a:cubicBezTo>
                <a:cubicBezTo>
                  <a:pt x="436" y="367"/>
                  <a:pt x="435" y="367"/>
                  <a:pt x="434" y="366"/>
                </a:cubicBezTo>
                <a:cubicBezTo>
                  <a:pt x="434" y="366"/>
                  <a:pt x="434" y="366"/>
                  <a:pt x="434" y="366"/>
                </a:cubicBezTo>
                <a:close/>
                <a:moveTo>
                  <a:pt x="437" y="404"/>
                </a:moveTo>
                <a:cubicBezTo>
                  <a:pt x="436" y="403"/>
                  <a:pt x="436" y="402"/>
                  <a:pt x="435" y="402"/>
                </a:cubicBezTo>
                <a:cubicBezTo>
                  <a:pt x="435" y="400"/>
                  <a:pt x="435" y="400"/>
                  <a:pt x="435" y="400"/>
                </a:cubicBezTo>
                <a:cubicBezTo>
                  <a:pt x="435" y="400"/>
                  <a:pt x="435" y="400"/>
                  <a:pt x="435" y="400"/>
                </a:cubicBezTo>
                <a:cubicBezTo>
                  <a:pt x="435" y="396"/>
                  <a:pt x="435" y="392"/>
                  <a:pt x="434" y="388"/>
                </a:cubicBezTo>
                <a:cubicBezTo>
                  <a:pt x="434" y="388"/>
                  <a:pt x="434" y="388"/>
                  <a:pt x="434" y="388"/>
                </a:cubicBezTo>
                <a:cubicBezTo>
                  <a:pt x="434" y="388"/>
                  <a:pt x="434" y="388"/>
                  <a:pt x="434" y="388"/>
                </a:cubicBezTo>
                <a:cubicBezTo>
                  <a:pt x="434" y="388"/>
                  <a:pt x="434" y="388"/>
                  <a:pt x="434" y="387"/>
                </a:cubicBezTo>
                <a:cubicBezTo>
                  <a:pt x="435" y="379"/>
                  <a:pt x="453" y="381"/>
                  <a:pt x="458" y="381"/>
                </a:cubicBezTo>
                <a:cubicBezTo>
                  <a:pt x="465" y="381"/>
                  <a:pt x="477" y="380"/>
                  <a:pt x="481" y="386"/>
                </a:cubicBezTo>
                <a:cubicBezTo>
                  <a:pt x="481" y="387"/>
                  <a:pt x="482" y="387"/>
                  <a:pt x="482" y="388"/>
                </a:cubicBezTo>
                <a:cubicBezTo>
                  <a:pt x="482" y="389"/>
                  <a:pt x="482" y="389"/>
                  <a:pt x="482" y="389"/>
                </a:cubicBezTo>
                <a:cubicBezTo>
                  <a:pt x="482" y="389"/>
                  <a:pt x="482" y="389"/>
                  <a:pt x="482" y="389"/>
                </a:cubicBezTo>
                <a:cubicBezTo>
                  <a:pt x="483" y="391"/>
                  <a:pt x="483" y="392"/>
                  <a:pt x="484" y="395"/>
                </a:cubicBezTo>
                <a:cubicBezTo>
                  <a:pt x="485" y="401"/>
                  <a:pt x="485" y="401"/>
                  <a:pt x="485" y="401"/>
                </a:cubicBezTo>
                <a:cubicBezTo>
                  <a:pt x="485" y="402"/>
                  <a:pt x="485" y="403"/>
                  <a:pt x="484" y="404"/>
                </a:cubicBezTo>
                <a:cubicBezTo>
                  <a:pt x="484" y="405"/>
                  <a:pt x="484" y="405"/>
                  <a:pt x="483" y="406"/>
                </a:cubicBezTo>
                <a:cubicBezTo>
                  <a:pt x="483" y="406"/>
                  <a:pt x="483" y="406"/>
                  <a:pt x="482" y="407"/>
                </a:cubicBezTo>
                <a:cubicBezTo>
                  <a:pt x="482" y="407"/>
                  <a:pt x="482" y="407"/>
                  <a:pt x="482" y="407"/>
                </a:cubicBezTo>
                <a:cubicBezTo>
                  <a:pt x="482" y="407"/>
                  <a:pt x="482" y="407"/>
                  <a:pt x="482" y="407"/>
                </a:cubicBezTo>
                <a:cubicBezTo>
                  <a:pt x="481" y="407"/>
                  <a:pt x="481" y="407"/>
                  <a:pt x="481" y="407"/>
                </a:cubicBezTo>
                <a:cubicBezTo>
                  <a:pt x="480" y="408"/>
                  <a:pt x="480" y="408"/>
                  <a:pt x="480" y="408"/>
                </a:cubicBezTo>
                <a:cubicBezTo>
                  <a:pt x="479" y="408"/>
                  <a:pt x="479" y="408"/>
                  <a:pt x="479" y="408"/>
                </a:cubicBezTo>
                <a:cubicBezTo>
                  <a:pt x="479" y="408"/>
                  <a:pt x="479" y="408"/>
                  <a:pt x="478" y="408"/>
                </a:cubicBezTo>
                <a:cubicBezTo>
                  <a:pt x="478" y="408"/>
                  <a:pt x="478" y="409"/>
                  <a:pt x="477" y="409"/>
                </a:cubicBezTo>
                <a:cubicBezTo>
                  <a:pt x="477" y="409"/>
                  <a:pt x="477" y="409"/>
                  <a:pt x="477" y="409"/>
                </a:cubicBezTo>
                <a:cubicBezTo>
                  <a:pt x="477" y="409"/>
                  <a:pt x="476" y="409"/>
                  <a:pt x="475" y="409"/>
                </a:cubicBezTo>
                <a:cubicBezTo>
                  <a:pt x="474" y="409"/>
                  <a:pt x="474" y="409"/>
                  <a:pt x="473" y="409"/>
                </a:cubicBezTo>
                <a:cubicBezTo>
                  <a:pt x="473" y="409"/>
                  <a:pt x="473" y="409"/>
                  <a:pt x="473" y="409"/>
                </a:cubicBezTo>
                <a:cubicBezTo>
                  <a:pt x="473" y="409"/>
                  <a:pt x="473" y="409"/>
                  <a:pt x="473" y="409"/>
                </a:cubicBezTo>
                <a:cubicBezTo>
                  <a:pt x="473" y="409"/>
                  <a:pt x="473" y="409"/>
                  <a:pt x="473" y="409"/>
                </a:cubicBezTo>
                <a:cubicBezTo>
                  <a:pt x="465" y="409"/>
                  <a:pt x="457" y="409"/>
                  <a:pt x="449" y="409"/>
                </a:cubicBezTo>
                <a:cubicBezTo>
                  <a:pt x="448" y="409"/>
                  <a:pt x="447" y="409"/>
                  <a:pt x="447" y="409"/>
                </a:cubicBezTo>
                <a:cubicBezTo>
                  <a:pt x="446" y="409"/>
                  <a:pt x="446" y="409"/>
                  <a:pt x="446" y="409"/>
                </a:cubicBezTo>
                <a:cubicBezTo>
                  <a:pt x="445" y="409"/>
                  <a:pt x="445" y="409"/>
                  <a:pt x="444" y="409"/>
                </a:cubicBezTo>
                <a:cubicBezTo>
                  <a:pt x="444" y="409"/>
                  <a:pt x="444" y="409"/>
                  <a:pt x="444" y="409"/>
                </a:cubicBezTo>
                <a:cubicBezTo>
                  <a:pt x="444" y="408"/>
                  <a:pt x="444" y="408"/>
                  <a:pt x="444" y="408"/>
                </a:cubicBezTo>
                <a:cubicBezTo>
                  <a:pt x="443" y="408"/>
                  <a:pt x="442" y="408"/>
                  <a:pt x="442" y="408"/>
                </a:cubicBezTo>
                <a:cubicBezTo>
                  <a:pt x="441" y="408"/>
                  <a:pt x="441" y="407"/>
                  <a:pt x="441" y="407"/>
                </a:cubicBezTo>
                <a:cubicBezTo>
                  <a:pt x="441" y="407"/>
                  <a:pt x="440" y="407"/>
                  <a:pt x="440" y="407"/>
                </a:cubicBezTo>
                <a:cubicBezTo>
                  <a:pt x="440" y="407"/>
                  <a:pt x="440" y="407"/>
                  <a:pt x="440" y="407"/>
                </a:cubicBezTo>
                <a:cubicBezTo>
                  <a:pt x="439" y="406"/>
                  <a:pt x="437" y="405"/>
                  <a:pt x="437" y="404"/>
                </a:cubicBezTo>
                <a:close/>
                <a:moveTo>
                  <a:pt x="494" y="451"/>
                </a:moveTo>
                <a:cubicBezTo>
                  <a:pt x="493" y="453"/>
                  <a:pt x="492" y="453"/>
                  <a:pt x="491" y="454"/>
                </a:cubicBezTo>
                <a:cubicBezTo>
                  <a:pt x="490" y="455"/>
                  <a:pt x="489" y="456"/>
                  <a:pt x="487" y="456"/>
                </a:cubicBezTo>
                <a:cubicBezTo>
                  <a:pt x="485" y="457"/>
                  <a:pt x="484" y="457"/>
                  <a:pt x="481" y="457"/>
                </a:cubicBezTo>
                <a:cubicBezTo>
                  <a:pt x="476" y="457"/>
                  <a:pt x="476" y="457"/>
                  <a:pt x="476" y="457"/>
                </a:cubicBezTo>
                <a:cubicBezTo>
                  <a:pt x="476" y="457"/>
                  <a:pt x="476" y="457"/>
                  <a:pt x="476" y="457"/>
                </a:cubicBezTo>
                <a:cubicBezTo>
                  <a:pt x="469" y="457"/>
                  <a:pt x="462" y="457"/>
                  <a:pt x="454" y="457"/>
                </a:cubicBezTo>
                <a:cubicBezTo>
                  <a:pt x="453" y="457"/>
                  <a:pt x="453" y="457"/>
                  <a:pt x="452" y="457"/>
                </a:cubicBezTo>
                <a:cubicBezTo>
                  <a:pt x="451" y="457"/>
                  <a:pt x="451" y="457"/>
                  <a:pt x="451" y="457"/>
                </a:cubicBezTo>
                <a:cubicBezTo>
                  <a:pt x="450" y="457"/>
                  <a:pt x="450" y="457"/>
                  <a:pt x="449" y="457"/>
                </a:cubicBezTo>
                <a:cubicBezTo>
                  <a:pt x="449" y="457"/>
                  <a:pt x="449" y="457"/>
                  <a:pt x="448" y="457"/>
                </a:cubicBezTo>
                <a:cubicBezTo>
                  <a:pt x="448" y="457"/>
                  <a:pt x="448" y="457"/>
                  <a:pt x="448" y="457"/>
                </a:cubicBezTo>
                <a:cubicBezTo>
                  <a:pt x="445" y="456"/>
                  <a:pt x="442" y="454"/>
                  <a:pt x="440" y="451"/>
                </a:cubicBezTo>
                <a:cubicBezTo>
                  <a:pt x="440" y="451"/>
                  <a:pt x="440" y="451"/>
                  <a:pt x="440" y="451"/>
                </a:cubicBezTo>
                <a:cubicBezTo>
                  <a:pt x="440" y="451"/>
                  <a:pt x="440" y="451"/>
                  <a:pt x="440" y="451"/>
                </a:cubicBezTo>
                <a:cubicBezTo>
                  <a:pt x="440" y="451"/>
                  <a:pt x="440" y="451"/>
                  <a:pt x="440" y="450"/>
                </a:cubicBezTo>
                <a:cubicBezTo>
                  <a:pt x="439" y="450"/>
                  <a:pt x="439" y="449"/>
                  <a:pt x="439" y="449"/>
                </a:cubicBezTo>
                <a:cubicBezTo>
                  <a:pt x="439" y="449"/>
                  <a:pt x="439" y="449"/>
                  <a:pt x="439" y="448"/>
                </a:cubicBezTo>
                <a:cubicBezTo>
                  <a:pt x="439" y="448"/>
                  <a:pt x="439" y="448"/>
                  <a:pt x="439" y="448"/>
                </a:cubicBezTo>
                <a:cubicBezTo>
                  <a:pt x="439" y="447"/>
                  <a:pt x="439" y="447"/>
                  <a:pt x="439" y="447"/>
                </a:cubicBezTo>
                <a:cubicBezTo>
                  <a:pt x="439" y="447"/>
                  <a:pt x="439" y="447"/>
                  <a:pt x="439" y="447"/>
                </a:cubicBezTo>
                <a:cubicBezTo>
                  <a:pt x="439" y="444"/>
                  <a:pt x="438" y="439"/>
                  <a:pt x="438" y="435"/>
                </a:cubicBezTo>
                <a:cubicBezTo>
                  <a:pt x="438" y="435"/>
                  <a:pt x="438" y="434"/>
                  <a:pt x="438" y="433"/>
                </a:cubicBezTo>
                <a:cubicBezTo>
                  <a:pt x="438" y="431"/>
                  <a:pt x="438" y="431"/>
                  <a:pt x="438" y="431"/>
                </a:cubicBezTo>
                <a:cubicBezTo>
                  <a:pt x="438" y="431"/>
                  <a:pt x="438" y="431"/>
                  <a:pt x="438" y="431"/>
                </a:cubicBezTo>
                <a:cubicBezTo>
                  <a:pt x="438" y="430"/>
                  <a:pt x="438" y="430"/>
                  <a:pt x="438" y="430"/>
                </a:cubicBezTo>
                <a:cubicBezTo>
                  <a:pt x="438" y="430"/>
                  <a:pt x="438" y="429"/>
                  <a:pt x="438" y="429"/>
                </a:cubicBezTo>
                <a:cubicBezTo>
                  <a:pt x="438" y="429"/>
                  <a:pt x="438" y="429"/>
                  <a:pt x="438" y="428"/>
                </a:cubicBezTo>
                <a:cubicBezTo>
                  <a:pt x="439" y="428"/>
                  <a:pt x="439" y="428"/>
                  <a:pt x="439" y="428"/>
                </a:cubicBezTo>
                <a:cubicBezTo>
                  <a:pt x="439" y="428"/>
                  <a:pt x="439" y="428"/>
                  <a:pt x="439" y="428"/>
                </a:cubicBezTo>
                <a:cubicBezTo>
                  <a:pt x="439" y="427"/>
                  <a:pt x="439" y="427"/>
                  <a:pt x="439" y="427"/>
                </a:cubicBezTo>
                <a:cubicBezTo>
                  <a:pt x="440" y="426"/>
                  <a:pt x="440" y="426"/>
                  <a:pt x="440" y="426"/>
                </a:cubicBezTo>
                <a:cubicBezTo>
                  <a:pt x="440" y="426"/>
                  <a:pt x="441" y="426"/>
                  <a:pt x="441" y="425"/>
                </a:cubicBezTo>
                <a:cubicBezTo>
                  <a:pt x="441" y="425"/>
                  <a:pt x="441" y="425"/>
                  <a:pt x="441" y="425"/>
                </a:cubicBezTo>
                <a:cubicBezTo>
                  <a:pt x="441" y="425"/>
                  <a:pt x="441" y="425"/>
                  <a:pt x="441" y="425"/>
                </a:cubicBezTo>
                <a:cubicBezTo>
                  <a:pt x="442" y="425"/>
                  <a:pt x="442" y="425"/>
                  <a:pt x="443" y="424"/>
                </a:cubicBezTo>
                <a:cubicBezTo>
                  <a:pt x="443" y="424"/>
                  <a:pt x="443" y="424"/>
                  <a:pt x="443" y="424"/>
                </a:cubicBezTo>
                <a:cubicBezTo>
                  <a:pt x="444" y="424"/>
                  <a:pt x="444" y="424"/>
                  <a:pt x="444" y="424"/>
                </a:cubicBezTo>
                <a:cubicBezTo>
                  <a:pt x="444" y="424"/>
                  <a:pt x="444" y="424"/>
                  <a:pt x="444" y="424"/>
                </a:cubicBezTo>
                <a:cubicBezTo>
                  <a:pt x="444" y="424"/>
                  <a:pt x="445" y="423"/>
                  <a:pt x="445" y="423"/>
                </a:cubicBezTo>
                <a:cubicBezTo>
                  <a:pt x="446" y="423"/>
                  <a:pt x="446" y="423"/>
                  <a:pt x="446" y="423"/>
                </a:cubicBezTo>
                <a:cubicBezTo>
                  <a:pt x="446" y="423"/>
                  <a:pt x="447" y="423"/>
                  <a:pt x="447" y="423"/>
                </a:cubicBezTo>
                <a:cubicBezTo>
                  <a:pt x="448" y="423"/>
                  <a:pt x="448" y="423"/>
                  <a:pt x="449" y="423"/>
                </a:cubicBezTo>
                <a:cubicBezTo>
                  <a:pt x="450" y="423"/>
                  <a:pt x="450" y="423"/>
                  <a:pt x="450" y="423"/>
                </a:cubicBezTo>
                <a:cubicBezTo>
                  <a:pt x="450" y="423"/>
                  <a:pt x="450" y="423"/>
                  <a:pt x="451" y="423"/>
                </a:cubicBezTo>
                <a:cubicBezTo>
                  <a:pt x="452" y="423"/>
                  <a:pt x="452" y="423"/>
                  <a:pt x="452" y="423"/>
                </a:cubicBezTo>
                <a:cubicBezTo>
                  <a:pt x="453" y="423"/>
                  <a:pt x="454" y="423"/>
                  <a:pt x="455" y="423"/>
                </a:cubicBezTo>
                <a:cubicBezTo>
                  <a:pt x="457" y="423"/>
                  <a:pt x="458" y="423"/>
                  <a:pt x="459" y="423"/>
                </a:cubicBezTo>
                <a:cubicBezTo>
                  <a:pt x="469" y="423"/>
                  <a:pt x="469" y="423"/>
                  <a:pt x="469" y="423"/>
                </a:cubicBezTo>
                <a:cubicBezTo>
                  <a:pt x="472" y="423"/>
                  <a:pt x="475" y="423"/>
                  <a:pt x="478" y="423"/>
                </a:cubicBezTo>
                <a:cubicBezTo>
                  <a:pt x="478" y="423"/>
                  <a:pt x="479" y="423"/>
                  <a:pt x="479" y="423"/>
                </a:cubicBezTo>
                <a:cubicBezTo>
                  <a:pt x="479" y="423"/>
                  <a:pt x="480" y="423"/>
                  <a:pt x="480" y="423"/>
                </a:cubicBezTo>
                <a:cubicBezTo>
                  <a:pt x="480" y="423"/>
                  <a:pt x="480" y="423"/>
                  <a:pt x="481" y="423"/>
                </a:cubicBezTo>
                <a:cubicBezTo>
                  <a:pt x="481" y="423"/>
                  <a:pt x="481" y="423"/>
                  <a:pt x="481" y="423"/>
                </a:cubicBezTo>
                <a:cubicBezTo>
                  <a:pt x="481" y="423"/>
                  <a:pt x="481" y="423"/>
                  <a:pt x="481" y="423"/>
                </a:cubicBezTo>
                <a:cubicBezTo>
                  <a:pt x="482" y="423"/>
                  <a:pt x="482" y="424"/>
                  <a:pt x="483" y="424"/>
                </a:cubicBezTo>
                <a:cubicBezTo>
                  <a:pt x="483" y="424"/>
                  <a:pt x="484" y="424"/>
                  <a:pt x="484" y="424"/>
                </a:cubicBezTo>
                <a:cubicBezTo>
                  <a:pt x="484" y="424"/>
                  <a:pt x="484" y="424"/>
                  <a:pt x="484" y="425"/>
                </a:cubicBezTo>
                <a:cubicBezTo>
                  <a:pt x="485" y="425"/>
                  <a:pt x="485" y="425"/>
                  <a:pt x="486" y="425"/>
                </a:cubicBezTo>
                <a:cubicBezTo>
                  <a:pt x="487" y="426"/>
                  <a:pt x="488" y="427"/>
                  <a:pt x="489" y="428"/>
                </a:cubicBezTo>
                <a:cubicBezTo>
                  <a:pt x="490" y="429"/>
                  <a:pt x="491" y="430"/>
                  <a:pt x="491" y="431"/>
                </a:cubicBezTo>
                <a:cubicBezTo>
                  <a:pt x="492" y="438"/>
                  <a:pt x="492" y="438"/>
                  <a:pt x="492" y="438"/>
                </a:cubicBezTo>
                <a:cubicBezTo>
                  <a:pt x="493" y="441"/>
                  <a:pt x="493" y="443"/>
                  <a:pt x="494" y="446"/>
                </a:cubicBezTo>
                <a:cubicBezTo>
                  <a:pt x="494" y="446"/>
                  <a:pt x="494" y="446"/>
                  <a:pt x="494" y="446"/>
                </a:cubicBezTo>
                <a:cubicBezTo>
                  <a:pt x="494" y="448"/>
                  <a:pt x="494" y="448"/>
                  <a:pt x="494" y="448"/>
                </a:cubicBezTo>
                <a:cubicBezTo>
                  <a:pt x="494" y="449"/>
                  <a:pt x="494" y="450"/>
                  <a:pt x="494" y="451"/>
                </a:cubicBezTo>
                <a:close/>
                <a:moveTo>
                  <a:pt x="508" y="369"/>
                </a:moveTo>
                <a:cubicBezTo>
                  <a:pt x="507" y="368"/>
                  <a:pt x="505" y="368"/>
                  <a:pt x="505" y="367"/>
                </a:cubicBezTo>
                <a:cubicBezTo>
                  <a:pt x="504" y="366"/>
                  <a:pt x="503" y="365"/>
                  <a:pt x="503" y="365"/>
                </a:cubicBezTo>
                <a:cubicBezTo>
                  <a:pt x="502" y="363"/>
                  <a:pt x="502" y="363"/>
                  <a:pt x="502" y="363"/>
                </a:cubicBezTo>
                <a:cubicBezTo>
                  <a:pt x="502" y="361"/>
                  <a:pt x="501" y="359"/>
                  <a:pt x="500" y="357"/>
                </a:cubicBezTo>
                <a:cubicBezTo>
                  <a:pt x="500" y="356"/>
                  <a:pt x="499" y="355"/>
                  <a:pt x="499" y="353"/>
                </a:cubicBezTo>
                <a:cubicBezTo>
                  <a:pt x="499" y="353"/>
                  <a:pt x="499" y="353"/>
                  <a:pt x="499" y="353"/>
                </a:cubicBezTo>
                <a:cubicBezTo>
                  <a:pt x="499" y="353"/>
                  <a:pt x="499" y="353"/>
                  <a:pt x="499" y="353"/>
                </a:cubicBezTo>
                <a:cubicBezTo>
                  <a:pt x="499" y="352"/>
                  <a:pt x="499" y="352"/>
                  <a:pt x="499" y="352"/>
                </a:cubicBezTo>
                <a:cubicBezTo>
                  <a:pt x="499" y="352"/>
                  <a:pt x="499" y="352"/>
                  <a:pt x="499" y="352"/>
                </a:cubicBezTo>
                <a:cubicBezTo>
                  <a:pt x="499" y="352"/>
                  <a:pt x="499" y="352"/>
                  <a:pt x="499" y="352"/>
                </a:cubicBezTo>
                <a:cubicBezTo>
                  <a:pt x="501" y="348"/>
                  <a:pt x="508" y="348"/>
                  <a:pt x="511" y="348"/>
                </a:cubicBezTo>
                <a:cubicBezTo>
                  <a:pt x="528" y="348"/>
                  <a:pt x="528" y="348"/>
                  <a:pt x="528" y="348"/>
                </a:cubicBezTo>
                <a:cubicBezTo>
                  <a:pt x="529" y="348"/>
                  <a:pt x="531" y="348"/>
                  <a:pt x="532" y="349"/>
                </a:cubicBezTo>
                <a:cubicBezTo>
                  <a:pt x="532" y="349"/>
                  <a:pt x="533" y="349"/>
                  <a:pt x="533" y="349"/>
                </a:cubicBezTo>
                <a:cubicBezTo>
                  <a:pt x="533" y="349"/>
                  <a:pt x="534" y="349"/>
                  <a:pt x="534" y="349"/>
                </a:cubicBezTo>
                <a:cubicBezTo>
                  <a:pt x="534" y="349"/>
                  <a:pt x="534" y="349"/>
                  <a:pt x="534" y="349"/>
                </a:cubicBezTo>
                <a:cubicBezTo>
                  <a:pt x="535" y="349"/>
                  <a:pt x="536" y="350"/>
                  <a:pt x="536" y="350"/>
                </a:cubicBezTo>
                <a:cubicBezTo>
                  <a:pt x="536" y="350"/>
                  <a:pt x="536" y="350"/>
                  <a:pt x="536" y="350"/>
                </a:cubicBezTo>
                <a:cubicBezTo>
                  <a:pt x="536" y="350"/>
                  <a:pt x="536" y="350"/>
                  <a:pt x="536" y="350"/>
                </a:cubicBezTo>
                <a:cubicBezTo>
                  <a:pt x="537" y="350"/>
                  <a:pt x="537" y="350"/>
                  <a:pt x="538" y="350"/>
                </a:cubicBezTo>
                <a:cubicBezTo>
                  <a:pt x="538" y="351"/>
                  <a:pt x="538" y="351"/>
                  <a:pt x="538" y="351"/>
                </a:cubicBezTo>
                <a:cubicBezTo>
                  <a:pt x="538" y="351"/>
                  <a:pt x="538" y="351"/>
                  <a:pt x="539" y="351"/>
                </a:cubicBezTo>
                <a:cubicBezTo>
                  <a:pt x="539" y="351"/>
                  <a:pt x="539" y="351"/>
                  <a:pt x="539" y="351"/>
                </a:cubicBezTo>
                <a:cubicBezTo>
                  <a:pt x="539" y="352"/>
                  <a:pt x="539" y="352"/>
                  <a:pt x="539" y="352"/>
                </a:cubicBezTo>
                <a:cubicBezTo>
                  <a:pt x="540" y="352"/>
                  <a:pt x="541" y="353"/>
                  <a:pt x="541" y="354"/>
                </a:cubicBezTo>
                <a:cubicBezTo>
                  <a:pt x="541" y="354"/>
                  <a:pt x="541" y="354"/>
                  <a:pt x="541" y="354"/>
                </a:cubicBezTo>
                <a:cubicBezTo>
                  <a:pt x="543" y="356"/>
                  <a:pt x="544" y="359"/>
                  <a:pt x="545" y="361"/>
                </a:cubicBezTo>
                <a:cubicBezTo>
                  <a:pt x="545" y="361"/>
                  <a:pt x="545" y="361"/>
                  <a:pt x="545" y="361"/>
                </a:cubicBezTo>
                <a:cubicBezTo>
                  <a:pt x="546" y="363"/>
                  <a:pt x="547" y="364"/>
                  <a:pt x="547" y="365"/>
                </a:cubicBezTo>
                <a:cubicBezTo>
                  <a:pt x="547" y="366"/>
                  <a:pt x="547" y="366"/>
                  <a:pt x="547" y="366"/>
                </a:cubicBezTo>
                <a:cubicBezTo>
                  <a:pt x="547" y="366"/>
                  <a:pt x="547" y="366"/>
                  <a:pt x="547" y="366"/>
                </a:cubicBezTo>
                <a:cubicBezTo>
                  <a:pt x="547" y="368"/>
                  <a:pt x="545" y="369"/>
                  <a:pt x="543" y="370"/>
                </a:cubicBezTo>
                <a:cubicBezTo>
                  <a:pt x="542" y="370"/>
                  <a:pt x="542" y="370"/>
                  <a:pt x="542" y="370"/>
                </a:cubicBezTo>
                <a:cubicBezTo>
                  <a:pt x="542" y="370"/>
                  <a:pt x="542" y="370"/>
                  <a:pt x="542" y="370"/>
                </a:cubicBezTo>
                <a:cubicBezTo>
                  <a:pt x="542" y="370"/>
                  <a:pt x="541" y="370"/>
                  <a:pt x="541" y="371"/>
                </a:cubicBezTo>
                <a:cubicBezTo>
                  <a:pt x="540" y="371"/>
                  <a:pt x="540" y="371"/>
                  <a:pt x="540" y="371"/>
                </a:cubicBezTo>
                <a:cubicBezTo>
                  <a:pt x="540" y="371"/>
                  <a:pt x="539" y="371"/>
                  <a:pt x="539" y="371"/>
                </a:cubicBezTo>
                <a:cubicBezTo>
                  <a:pt x="539" y="371"/>
                  <a:pt x="538" y="371"/>
                  <a:pt x="538" y="371"/>
                </a:cubicBezTo>
                <a:cubicBezTo>
                  <a:pt x="538" y="371"/>
                  <a:pt x="538" y="371"/>
                  <a:pt x="538" y="371"/>
                </a:cubicBezTo>
                <a:cubicBezTo>
                  <a:pt x="538" y="371"/>
                  <a:pt x="538" y="371"/>
                  <a:pt x="538" y="371"/>
                </a:cubicBezTo>
                <a:cubicBezTo>
                  <a:pt x="535" y="371"/>
                  <a:pt x="532" y="371"/>
                  <a:pt x="530" y="371"/>
                </a:cubicBezTo>
                <a:cubicBezTo>
                  <a:pt x="526" y="371"/>
                  <a:pt x="521" y="371"/>
                  <a:pt x="517" y="371"/>
                </a:cubicBezTo>
                <a:cubicBezTo>
                  <a:pt x="514" y="371"/>
                  <a:pt x="511" y="370"/>
                  <a:pt x="508" y="369"/>
                </a:cubicBezTo>
                <a:cubicBezTo>
                  <a:pt x="508" y="369"/>
                  <a:pt x="508" y="369"/>
                  <a:pt x="508" y="369"/>
                </a:cubicBezTo>
                <a:close/>
                <a:moveTo>
                  <a:pt x="519" y="405"/>
                </a:moveTo>
                <a:cubicBezTo>
                  <a:pt x="518" y="404"/>
                  <a:pt x="517" y="403"/>
                  <a:pt x="517" y="402"/>
                </a:cubicBezTo>
                <a:cubicBezTo>
                  <a:pt x="515" y="396"/>
                  <a:pt x="515" y="396"/>
                  <a:pt x="515" y="396"/>
                </a:cubicBezTo>
                <a:cubicBezTo>
                  <a:pt x="514" y="394"/>
                  <a:pt x="513" y="392"/>
                  <a:pt x="512" y="390"/>
                </a:cubicBezTo>
                <a:cubicBezTo>
                  <a:pt x="512" y="390"/>
                  <a:pt x="512" y="390"/>
                  <a:pt x="512" y="390"/>
                </a:cubicBezTo>
                <a:cubicBezTo>
                  <a:pt x="512" y="389"/>
                  <a:pt x="512" y="389"/>
                  <a:pt x="512" y="389"/>
                </a:cubicBezTo>
                <a:cubicBezTo>
                  <a:pt x="512" y="388"/>
                  <a:pt x="512" y="387"/>
                  <a:pt x="512" y="386"/>
                </a:cubicBezTo>
                <a:cubicBezTo>
                  <a:pt x="512" y="386"/>
                  <a:pt x="513" y="385"/>
                  <a:pt x="513" y="385"/>
                </a:cubicBezTo>
                <a:cubicBezTo>
                  <a:pt x="513" y="385"/>
                  <a:pt x="513" y="385"/>
                  <a:pt x="514" y="385"/>
                </a:cubicBezTo>
                <a:cubicBezTo>
                  <a:pt x="514" y="384"/>
                  <a:pt x="514" y="384"/>
                  <a:pt x="514" y="384"/>
                </a:cubicBezTo>
                <a:cubicBezTo>
                  <a:pt x="515" y="384"/>
                  <a:pt x="516" y="383"/>
                  <a:pt x="517" y="383"/>
                </a:cubicBezTo>
                <a:cubicBezTo>
                  <a:pt x="518" y="383"/>
                  <a:pt x="519" y="383"/>
                  <a:pt x="520" y="382"/>
                </a:cubicBezTo>
                <a:cubicBezTo>
                  <a:pt x="525" y="382"/>
                  <a:pt x="530" y="382"/>
                  <a:pt x="532" y="382"/>
                </a:cubicBezTo>
                <a:cubicBezTo>
                  <a:pt x="540" y="382"/>
                  <a:pt x="554" y="381"/>
                  <a:pt x="559" y="389"/>
                </a:cubicBezTo>
                <a:cubicBezTo>
                  <a:pt x="559" y="389"/>
                  <a:pt x="559" y="389"/>
                  <a:pt x="559" y="389"/>
                </a:cubicBezTo>
                <a:cubicBezTo>
                  <a:pt x="559" y="389"/>
                  <a:pt x="559" y="389"/>
                  <a:pt x="559" y="389"/>
                </a:cubicBezTo>
                <a:cubicBezTo>
                  <a:pt x="559" y="389"/>
                  <a:pt x="559" y="389"/>
                  <a:pt x="559" y="389"/>
                </a:cubicBezTo>
                <a:cubicBezTo>
                  <a:pt x="561" y="393"/>
                  <a:pt x="562" y="396"/>
                  <a:pt x="564" y="400"/>
                </a:cubicBezTo>
                <a:cubicBezTo>
                  <a:pt x="565" y="401"/>
                  <a:pt x="565" y="402"/>
                  <a:pt x="566" y="403"/>
                </a:cubicBezTo>
                <a:cubicBezTo>
                  <a:pt x="566" y="403"/>
                  <a:pt x="566" y="403"/>
                  <a:pt x="566" y="403"/>
                </a:cubicBezTo>
                <a:cubicBezTo>
                  <a:pt x="566" y="404"/>
                  <a:pt x="566" y="404"/>
                  <a:pt x="566" y="404"/>
                </a:cubicBezTo>
                <a:cubicBezTo>
                  <a:pt x="566" y="404"/>
                  <a:pt x="566" y="405"/>
                  <a:pt x="566" y="405"/>
                </a:cubicBezTo>
                <a:cubicBezTo>
                  <a:pt x="566" y="405"/>
                  <a:pt x="566" y="405"/>
                  <a:pt x="566" y="405"/>
                </a:cubicBezTo>
                <a:cubicBezTo>
                  <a:pt x="566" y="405"/>
                  <a:pt x="566" y="405"/>
                  <a:pt x="566" y="405"/>
                </a:cubicBezTo>
                <a:cubicBezTo>
                  <a:pt x="566" y="406"/>
                  <a:pt x="565" y="406"/>
                  <a:pt x="565" y="406"/>
                </a:cubicBezTo>
                <a:cubicBezTo>
                  <a:pt x="565" y="406"/>
                  <a:pt x="565" y="406"/>
                  <a:pt x="565" y="406"/>
                </a:cubicBezTo>
                <a:cubicBezTo>
                  <a:pt x="565" y="407"/>
                  <a:pt x="565" y="407"/>
                  <a:pt x="564" y="407"/>
                </a:cubicBezTo>
                <a:cubicBezTo>
                  <a:pt x="564" y="407"/>
                  <a:pt x="564" y="407"/>
                  <a:pt x="564" y="407"/>
                </a:cubicBezTo>
                <a:cubicBezTo>
                  <a:pt x="564" y="408"/>
                  <a:pt x="564" y="408"/>
                  <a:pt x="564" y="408"/>
                </a:cubicBezTo>
                <a:cubicBezTo>
                  <a:pt x="564" y="408"/>
                  <a:pt x="563" y="408"/>
                  <a:pt x="563" y="408"/>
                </a:cubicBezTo>
                <a:cubicBezTo>
                  <a:pt x="563" y="408"/>
                  <a:pt x="562" y="409"/>
                  <a:pt x="561" y="409"/>
                </a:cubicBezTo>
                <a:cubicBezTo>
                  <a:pt x="561" y="409"/>
                  <a:pt x="561" y="409"/>
                  <a:pt x="560" y="409"/>
                </a:cubicBezTo>
                <a:cubicBezTo>
                  <a:pt x="560" y="409"/>
                  <a:pt x="559" y="409"/>
                  <a:pt x="559" y="410"/>
                </a:cubicBezTo>
                <a:cubicBezTo>
                  <a:pt x="559" y="410"/>
                  <a:pt x="559" y="410"/>
                  <a:pt x="559" y="410"/>
                </a:cubicBezTo>
                <a:cubicBezTo>
                  <a:pt x="558" y="410"/>
                  <a:pt x="558" y="410"/>
                  <a:pt x="558" y="410"/>
                </a:cubicBezTo>
                <a:cubicBezTo>
                  <a:pt x="550" y="410"/>
                  <a:pt x="541" y="410"/>
                  <a:pt x="532" y="410"/>
                </a:cubicBezTo>
                <a:cubicBezTo>
                  <a:pt x="532" y="410"/>
                  <a:pt x="531" y="410"/>
                  <a:pt x="530" y="410"/>
                </a:cubicBezTo>
                <a:cubicBezTo>
                  <a:pt x="530" y="410"/>
                  <a:pt x="530" y="410"/>
                  <a:pt x="530" y="410"/>
                </a:cubicBezTo>
                <a:cubicBezTo>
                  <a:pt x="527" y="409"/>
                  <a:pt x="524" y="408"/>
                  <a:pt x="521" y="406"/>
                </a:cubicBezTo>
                <a:cubicBezTo>
                  <a:pt x="520" y="406"/>
                  <a:pt x="520" y="406"/>
                  <a:pt x="519" y="405"/>
                </a:cubicBezTo>
                <a:close/>
                <a:moveTo>
                  <a:pt x="589" y="451"/>
                </a:moveTo>
                <a:cubicBezTo>
                  <a:pt x="589" y="452"/>
                  <a:pt x="588" y="452"/>
                  <a:pt x="588" y="452"/>
                </a:cubicBezTo>
                <a:cubicBezTo>
                  <a:pt x="588" y="452"/>
                  <a:pt x="588" y="452"/>
                  <a:pt x="588" y="453"/>
                </a:cubicBezTo>
                <a:cubicBezTo>
                  <a:pt x="588" y="453"/>
                  <a:pt x="588" y="453"/>
                  <a:pt x="588" y="453"/>
                </a:cubicBezTo>
                <a:cubicBezTo>
                  <a:pt x="588" y="453"/>
                  <a:pt x="588" y="453"/>
                  <a:pt x="588" y="454"/>
                </a:cubicBezTo>
                <a:cubicBezTo>
                  <a:pt x="588" y="454"/>
                  <a:pt x="588" y="454"/>
                  <a:pt x="587" y="454"/>
                </a:cubicBezTo>
                <a:cubicBezTo>
                  <a:pt x="587" y="454"/>
                  <a:pt x="587" y="454"/>
                  <a:pt x="587" y="454"/>
                </a:cubicBezTo>
                <a:cubicBezTo>
                  <a:pt x="587" y="454"/>
                  <a:pt x="587" y="454"/>
                  <a:pt x="587" y="455"/>
                </a:cubicBezTo>
                <a:cubicBezTo>
                  <a:pt x="585" y="456"/>
                  <a:pt x="583" y="457"/>
                  <a:pt x="581" y="457"/>
                </a:cubicBezTo>
                <a:cubicBezTo>
                  <a:pt x="581" y="457"/>
                  <a:pt x="581" y="457"/>
                  <a:pt x="581" y="457"/>
                </a:cubicBezTo>
                <a:cubicBezTo>
                  <a:pt x="580" y="457"/>
                  <a:pt x="579" y="457"/>
                  <a:pt x="578" y="457"/>
                </a:cubicBezTo>
                <a:cubicBezTo>
                  <a:pt x="578" y="457"/>
                  <a:pt x="578" y="457"/>
                  <a:pt x="578" y="457"/>
                </a:cubicBezTo>
                <a:cubicBezTo>
                  <a:pt x="577" y="457"/>
                  <a:pt x="577" y="457"/>
                  <a:pt x="577" y="457"/>
                </a:cubicBezTo>
                <a:cubicBezTo>
                  <a:pt x="577" y="457"/>
                  <a:pt x="576" y="457"/>
                  <a:pt x="575" y="457"/>
                </a:cubicBezTo>
                <a:cubicBezTo>
                  <a:pt x="552" y="457"/>
                  <a:pt x="552" y="457"/>
                  <a:pt x="552" y="457"/>
                </a:cubicBezTo>
                <a:cubicBezTo>
                  <a:pt x="551" y="457"/>
                  <a:pt x="550" y="457"/>
                  <a:pt x="549" y="457"/>
                </a:cubicBezTo>
                <a:cubicBezTo>
                  <a:pt x="549" y="457"/>
                  <a:pt x="549" y="457"/>
                  <a:pt x="548" y="457"/>
                </a:cubicBezTo>
                <a:cubicBezTo>
                  <a:pt x="543" y="456"/>
                  <a:pt x="538" y="454"/>
                  <a:pt x="535" y="450"/>
                </a:cubicBezTo>
                <a:cubicBezTo>
                  <a:pt x="534" y="449"/>
                  <a:pt x="534" y="449"/>
                  <a:pt x="534" y="448"/>
                </a:cubicBezTo>
                <a:cubicBezTo>
                  <a:pt x="534" y="448"/>
                  <a:pt x="534" y="448"/>
                  <a:pt x="534" y="448"/>
                </a:cubicBezTo>
                <a:cubicBezTo>
                  <a:pt x="534" y="448"/>
                  <a:pt x="534" y="448"/>
                  <a:pt x="534" y="448"/>
                </a:cubicBezTo>
                <a:cubicBezTo>
                  <a:pt x="533" y="444"/>
                  <a:pt x="531" y="441"/>
                  <a:pt x="530" y="438"/>
                </a:cubicBezTo>
                <a:cubicBezTo>
                  <a:pt x="530" y="436"/>
                  <a:pt x="528" y="434"/>
                  <a:pt x="528" y="432"/>
                </a:cubicBezTo>
                <a:cubicBezTo>
                  <a:pt x="528" y="432"/>
                  <a:pt x="528" y="432"/>
                  <a:pt x="528" y="432"/>
                </a:cubicBezTo>
                <a:cubicBezTo>
                  <a:pt x="528" y="431"/>
                  <a:pt x="528" y="431"/>
                  <a:pt x="528" y="431"/>
                </a:cubicBezTo>
                <a:cubicBezTo>
                  <a:pt x="528" y="431"/>
                  <a:pt x="528" y="431"/>
                  <a:pt x="528" y="431"/>
                </a:cubicBezTo>
                <a:cubicBezTo>
                  <a:pt x="528" y="430"/>
                  <a:pt x="528" y="429"/>
                  <a:pt x="528" y="428"/>
                </a:cubicBezTo>
                <a:cubicBezTo>
                  <a:pt x="528" y="428"/>
                  <a:pt x="528" y="427"/>
                  <a:pt x="528" y="427"/>
                </a:cubicBezTo>
                <a:cubicBezTo>
                  <a:pt x="528" y="427"/>
                  <a:pt x="528" y="427"/>
                  <a:pt x="528" y="427"/>
                </a:cubicBezTo>
                <a:cubicBezTo>
                  <a:pt x="530" y="425"/>
                  <a:pt x="532" y="424"/>
                  <a:pt x="535" y="423"/>
                </a:cubicBezTo>
                <a:cubicBezTo>
                  <a:pt x="535" y="423"/>
                  <a:pt x="535" y="423"/>
                  <a:pt x="536" y="423"/>
                </a:cubicBezTo>
                <a:cubicBezTo>
                  <a:pt x="536" y="423"/>
                  <a:pt x="537" y="423"/>
                  <a:pt x="538" y="423"/>
                </a:cubicBezTo>
                <a:cubicBezTo>
                  <a:pt x="538" y="423"/>
                  <a:pt x="538" y="423"/>
                  <a:pt x="538" y="423"/>
                </a:cubicBezTo>
                <a:cubicBezTo>
                  <a:pt x="540" y="423"/>
                  <a:pt x="540" y="423"/>
                  <a:pt x="540" y="423"/>
                </a:cubicBezTo>
                <a:cubicBezTo>
                  <a:pt x="540" y="423"/>
                  <a:pt x="540" y="423"/>
                  <a:pt x="541" y="423"/>
                </a:cubicBezTo>
                <a:cubicBezTo>
                  <a:pt x="548" y="423"/>
                  <a:pt x="555" y="423"/>
                  <a:pt x="563" y="423"/>
                </a:cubicBezTo>
                <a:cubicBezTo>
                  <a:pt x="563" y="423"/>
                  <a:pt x="563" y="423"/>
                  <a:pt x="563" y="423"/>
                </a:cubicBezTo>
                <a:cubicBezTo>
                  <a:pt x="563" y="423"/>
                  <a:pt x="563" y="423"/>
                  <a:pt x="563" y="423"/>
                </a:cubicBezTo>
                <a:cubicBezTo>
                  <a:pt x="563" y="423"/>
                  <a:pt x="564" y="423"/>
                  <a:pt x="565" y="423"/>
                </a:cubicBezTo>
                <a:cubicBezTo>
                  <a:pt x="565" y="423"/>
                  <a:pt x="565" y="423"/>
                  <a:pt x="565" y="423"/>
                </a:cubicBezTo>
                <a:cubicBezTo>
                  <a:pt x="570" y="424"/>
                  <a:pt x="576" y="426"/>
                  <a:pt x="579" y="430"/>
                </a:cubicBezTo>
                <a:cubicBezTo>
                  <a:pt x="579" y="430"/>
                  <a:pt x="579" y="431"/>
                  <a:pt x="580" y="431"/>
                </a:cubicBezTo>
                <a:cubicBezTo>
                  <a:pt x="581" y="433"/>
                  <a:pt x="581" y="433"/>
                  <a:pt x="581" y="433"/>
                </a:cubicBezTo>
                <a:cubicBezTo>
                  <a:pt x="582" y="436"/>
                  <a:pt x="584" y="439"/>
                  <a:pt x="585" y="442"/>
                </a:cubicBezTo>
                <a:cubicBezTo>
                  <a:pt x="586" y="443"/>
                  <a:pt x="588" y="446"/>
                  <a:pt x="588" y="448"/>
                </a:cubicBezTo>
                <a:cubicBezTo>
                  <a:pt x="589" y="449"/>
                  <a:pt x="589" y="450"/>
                  <a:pt x="589" y="451"/>
                </a:cubicBezTo>
                <a:close/>
                <a:moveTo>
                  <a:pt x="594" y="406"/>
                </a:moveTo>
                <a:cubicBezTo>
                  <a:pt x="593" y="406"/>
                  <a:pt x="593" y="405"/>
                  <a:pt x="592" y="405"/>
                </a:cubicBezTo>
                <a:cubicBezTo>
                  <a:pt x="591" y="404"/>
                  <a:pt x="590" y="403"/>
                  <a:pt x="590" y="402"/>
                </a:cubicBezTo>
                <a:cubicBezTo>
                  <a:pt x="589" y="401"/>
                  <a:pt x="589" y="401"/>
                  <a:pt x="589" y="401"/>
                </a:cubicBezTo>
                <a:cubicBezTo>
                  <a:pt x="589" y="401"/>
                  <a:pt x="589" y="401"/>
                  <a:pt x="589" y="401"/>
                </a:cubicBezTo>
                <a:cubicBezTo>
                  <a:pt x="587" y="398"/>
                  <a:pt x="585" y="394"/>
                  <a:pt x="583" y="390"/>
                </a:cubicBezTo>
                <a:cubicBezTo>
                  <a:pt x="583" y="390"/>
                  <a:pt x="583" y="390"/>
                  <a:pt x="583" y="390"/>
                </a:cubicBezTo>
                <a:cubicBezTo>
                  <a:pt x="582" y="389"/>
                  <a:pt x="582" y="389"/>
                  <a:pt x="582" y="389"/>
                </a:cubicBezTo>
                <a:cubicBezTo>
                  <a:pt x="582" y="388"/>
                  <a:pt x="582" y="387"/>
                  <a:pt x="582" y="386"/>
                </a:cubicBezTo>
                <a:cubicBezTo>
                  <a:pt x="582" y="385"/>
                  <a:pt x="582" y="385"/>
                  <a:pt x="583" y="384"/>
                </a:cubicBezTo>
                <a:cubicBezTo>
                  <a:pt x="584" y="383"/>
                  <a:pt x="585" y="383"/>
                  <a:pt x="586" y="383"/>
                </a:cubicBezTo>
                <a:cubicBezTo>
                  <a:pt x="588" y="382"/>
                  <a:pt x="589" y="382"/>
                  <a:pt x="591" y="382"/>
                </a:cubicBezTo>
                <a:cubicBezTo>
                  <a:pt x="591" y="382"/>
                  <a:pt x="591" y="382"/>
                  <a:pt x="591" y="382"/>
                </a:cubicBezTo>
                <a:cubicBezTo>
                  <a:pt x="594" y="382"/>
                  <a:pt x="598" y="382"/>
                  <a:pt x="600" y="382"/>
                </a:cubicBezTo>
                <a:cubicBezTo>
                  <a:pt x="609" y="382"/>
                  <a:pt x="623" y="380"/>
                  <a:pt x="629" y="389"/>
                </a:cubicBezTo>
                <a:cubicBezTo>
                  <a:pt x="631" y="392"/>
                  <a:pt x="633" y="394"/>
                  <a:pt x="635" y="397"/>
                </a:cubicBezTo>
                <a:cubicBezTo>
                  <a:pt x="636" y="399"/>
                  <a:pt x="637" y="401"/>
                  <a:pt x="638" y="402"/>
                </a:cubicBezTo>
                <a:cubicBezTo>
                  <a:pt x="639" y="403"/>
                  <a:pt x="639" y="404"/>
                  <a:pt x="639" y="405"/>
                </a:cubicBezTo>
                <a:cubicBezTo>
                  <a:pt x="639" y="405"/>
                  <a:pt x="639" y="406"/>
                  <a:pt x="639" y="406"/>
                </a:cubicBezTo>
                <a:cubicBezTo>
                  <a:pt x="639" y="407"/>
                  <a:pt x="638" y="407"/>
                  <a:pt x="638" y="407"/>
                </a:cubicBezTo>
                <a:cubicBezTo>
                  <a:pt x="638" y="407"/>
                  <a:pt x="638" y="407"/>
                  <a:pt x="638" y="407"/>
                </a:cubicBezTo>
                <a:cubicBezTo>
                  <a:pt x="638" y="407"/>
                  <a:pt x="638" y="407"/>
                  <a:pt x="638" y="407"/>
                </a:cubicBezTo>
                <a:cubicBezTo>
                  <a:pt x="638" y="408"/>
                  <a:pt x="638" y="408"/>
                  <a:pt x="637" y="408"/>
                </a:cubicBezTo>
                <a:cubicBezTo>
                  <a:pt x="637" y="408"/>
                  <a:pt x="637" y="408"/>
                  <a:pt x="637" y="408"/>
                </a:cubicBezTo>
                <a:cubicBezTo>
                  <a:pt x="637" y="408"/>
                  <a:pt x="637" y="408"/>
                  <a:pt x="636" y="408"/>
                </a:cubicBezTo>
                <a:cubicBezTo>
                  <a:pt x="636" y="408"/>
                  <a:pt x="635" y="409"/>
                  <a:pt x="635" y="409"/>
                </a:cubicBezTo>
                <a:cubicBezTo>
                  <a:pt x="635" y="409"/>
                  <a:pt x="635" y="409"/>
                  <a:pt x="635" y="409"/>
                </a:cubicBezTo>
                <a:cubicBezTo>
                  <a:pt x="635" y="409"/>
                  <a:pt x="635" y="409"/>
                  <a:pt x="635" y="409"/>
                </a:cubicBezTo>
                <a:cubicBezTo>
                  <a:pt x="631" y="410"/>
                  <a:pt x="625" y="410"/>
                  <a:pt x="621" y="410"/>
                </a:cubicBezTo>
                <a:cubicBezTo>
                  <a:pt x="616" y="410"/>
                  <a:pt x="611" y="410"/>
                  <a:pt x="607" y="410"/>
                </a:cubicBezTo>
                <a:cubicBezTo>
                  <a:pt x="602" y="410"/>
                  <a:pt x="598" y="408"/>
                  <a:pt x="594" y="406"/>
                </a:cubicBezTo>
                <a:close/>
                <a:moveTo>
                  <a:pt x="670" y="454"/>
                </a:moveTo>
                <a:cubicBezTo>
                  <a:pt x="670" y="454"/>
                  <a:pt x="670" y="454"/>
                  <a:pt x="670" y="454"/>
                </a:cubicBezTo>
                <a:cubicBezTo>
                  <a:pt x="669" y="455"/>
                  <a:pt x="668" y="456"/>
                  <a:pt x="666" y="456"/>
                </a:cubicBezTo>
                <a:cubicBezTo>
                  <a:pt x="665" y="457"/>
                  <a:pt x="664" y="457"/>
                  <a:pt x="662" y="457"/>
                </a:cubicBezTo>
                <a:cubicBezTo>
                  <a:pt x="660" y="457"/>
                  <a:pt x="660" y="457"/>
                  <a:pt x="660" y="457"/>
                </a:cubicBezTo>
                <a:cubicBezTo>
                  <a:pt x="660" y="457"/>
                  <a:pt x="660" y="457"/>
                  <a:pt x="660" y="457"/>
                </a:cubicBezTo>
                <a:cubicBezTo>
                  <a:pt x="651" y="457"/>
                  <a:pt x="643" y="457"/>
                  <a:pt x="635" y="457"/>
                </a:cubicBezTo>
                <a:cubicBezTo>
                  <a:pt x="634" y="457"/>
                  <a:pt x="633" y="457"/>
                  <a:pt x="632" y="457"/>
                </a:cubicBezTo>
                <a:cubicBezTo>
                  <a:pt x="632" y="457"/>
                  <a:pt x="632" y="457"/>
                  <a:pt x="632" y="457"/>
                </a:cubicBezTo>
                <a:cubicBezTo>
                  <a:pt x="626" y="456"/>
                  <a:pt x="620" y="454"/>
                  <a:pt x="616" y="449"/>
                </a:cubicBezTo>
                <a:cubicBezTo>
                  <a:pt x="616" y="449"/>
                  <a:pt x="616" y="448"/>
                  <a:pt x="615" y="448"/>
                </a:cubicBezTo>
                <a:cubicBezTo>
                  <a:pt x="615" y="448"/>
                  <a:pt x="615" y="448"/>
                  <a:pt x="615" y="448"/>
                </a:cubicBezTo>
                <a:cubicBezTo>
                  <a:pt x="615" y="448"/>
                  <a:pt x="615" y="448"/>
                  <a:pt x="615" y="448"/>
                </a:cubicBezTo>
                <a:cubicBezTo>
                  <a:pt x="614" y="445"/>
                  <a:pt x="612" y="441"/>
                  <a:pt x="610" y="438"/>
                </a:cubicBezTo>
                <a:cubicBezTo>
                  <a:pt x="609" y="436"/>
                  <a:pt x="606" y="433"/>
                  <a:pt x="606" y="430"/>
                </a:cubicBezTo>
                <a:cubicBezTo>
                  <a:pt x="606" y="430"/>
                  <a:pt x="606" y="430"/>
                  <a:pt x="606" y="430"/>
                </a:cubicBezTo>
                <a:cubicBezTo>
                  <a:pt x="605" y="429"/>
                  <a:pt x="605" y="429"/>
                  <a:pt x="605" y="429"/>
                </a:cubicBezTo>
                <a:cubicBezTo>
                  <a:pt x="605" y="426"/>
                  <a:pt x="607" y="425"/>
                  <a:pt x="610" y="424"/>
                </a:cubicBezTo>
                <a:cubicBezTo>
                  <a:pt x="610" y="424"/>
                  <a:pt x="610" y="424"/>
                  <a:pt x="610" y="424"/>
                </a:cubicBezTo>
                <a:cubicBezTo>
                  <a:pt x="610" y="424"/>
                  <a:pt x="610" y="424"/>
                  <a:pt x="610" y="424"/>
                </a:cubicBezTo>
                <a:cubicBezTo>
                  <a:pt x="610" y="424"/>
                  <a:pt x="610" y="424"/>
                  <a:pt x="611" y="423"/>
                </a:cubicBezTo>
                <a:cubicBezTo>
                  <a:pt x="612" y="423"/>
                  <a:pt x="613" y="423"/>
                  <a:pt x="615" y="423"/>
                </a:cubicBezTo>
                <a:cubicBezTo>
                  <a:pt x="631" y="423"/>
                  <a:pt x="631" y="423"/>
                  <a:pt x="631" y="423"/>
                </a:cubicBezTo>
                <a:cubicBezTo>
                  <a:pt x="634" y="423"/>
                  <a:pt x="637" y="423"/>
                  <a:pt x="639" y="423"/>
                </a:cubicBezTo>
                <a:cubicBezTo>
                  <a:pt x="639" y="423"/>
                  <a:pt x="639" y="423"/>
                  <a:pt x="639" y="423"/>
                </a:cubicBezTo>
                <a:cubicBezTo>
                  <a:pt x="639" y="423"/>
                  <a:pt x="639" y="423"/>
                  <a:pt x="640" y="423"/>
                </a:cubicBezTo>
                <a:cubicBezTo>
                  <a:pt x="640" y="423"/>
                  <a:pt x="641" y="423"/>
                  <a:pt x="642" y="423"/>
                </a:cubicBezTo>
                <a:cubicBezTo>
                  <a:pt x="642" y="423"/>
                  <a:pt x="642" y="423"/>
                  <a:pt x="642" y="423"/>
                </a:cubicBezTo>
                <a:cubicBezTo>
                  <a:pt x="647" y="424"/>
                  <a:pt x="653" y="426"/>
                  <a:pt x="656" y="429"/>
                </a:cubicBezTo>
                <a:cubicBezTo>
                  <a:pt x="657" y="429"/>
                  <a:pt x="657" y="430"/>
                  <a:pt x="657" y="430"/>
                </a:cubicBezTo>
                <a:cubicBezTo>
                  <a:pt x="657" y="430"/>
                  <a:pt x="657" y="430"/>
                  <a:pt x="657" y="431"/>
                </a:cubicBezTo>
                <a:cubicBezTo>
                  <a:pt x="658" y="431"/>
                  <a:pt x="658" y="431"/>
                  <a:pt x="658" y="431"/>
                </a:cubicBezTo>
                <a:cubicBezTo>
                  <a:pt x="658" y="431"/>
                  <a:pt x="658" y="431"/>
                  <a:pt x="658" y="431"/>
                </a:cubicBezTo>
                <a:cubicBezTo>
                  <a:pt x="659" y="432"/>
                  <a:pt x="659" y="432"/>
                  <a:pt x="659" y="432"/>
                </a:cubicBezTo>
                <a:cubicBezTo>
                  <a:pt x="660" y="434"/>
                  <a:pt x="662" y="436"/>
                  <a:pt x="663" y="439"/>
                </a:cubicBezTo>
                <a:cubicBezTo>
                  <a:pt x="663" y="439"/>
                  <a:pt x="663" y="439"/>
                  <a:pt x="663" y="439"/>
                </a:cubicBezTo>
                <a:cubicBezTo>
                  <a:pt x="665" y="442"/>
                  <a:pt x="668" y="445"/>
                  <a:pt x="670" y="449"/>
                </a:cubicBezTo>
                <a:cubicBezTo>
                  <a:pt x="670" y="449"/>
                  <a:pt x="670" y="449"/>
                  <a:pt x="670" y="449"/>
                </a:cubicBezTo>
                <a:cubicBezTo>
                  <a:pt x="670" y="449"/>
                  <a:pt x="670" y="449"/>
                  <a:pt x="670" y="449"/>
                </a:cubicBezTo>
                <a:cubicBezTo>
                  <a:pt x="671" y="451"/>
                  <a:pt x="671" y="453"/>
                  <a:pt x="670" y="454"/>
                </a:cubicBezTo>
                <a:close/>
                <a:moveTo>
                  <a:pt x="729" y="79"/>
                </a:moveTo>
                <a:cubicBezTo>
                  <a:pt x="753" y="103"/>
                  <a:pt x="766" y="136"/>
                  <a:pt x="766" y="170"/>
                </a:cubicBezTo>
                <a:cubicBezTo>
                  <a:pt x="766" y="204"/>
                  <a:pt x="753" y="237"/>
                  <a:pt x="729" y="261"/>
                </a:cubicBezTo>
                <a:cubicBezTo>
                  <a:pt x="757" y="248"/>
                  <a:pt x="782" y="212"/>
                  <a:pt x="782" y="170"/>
                </a:cubicBezTo>
                <a:cubicBezTo>
                  <a:pt x="782" y="127"/>
                  <a:pt x="757" y="92"/>
                  <a:pt x="729" y="79"/>
                </a:cubicBezTo>
                <a:close/>
                <a:moveTo>
                  <a:pt x="53" y="79"/>
                </a:moveTo>
                <a:cubicBezTo>
                  <a:pt x="26" y="92"/>
                  <a:pt x="0" y="127"/>
                  <a:pt x="0" y="170"/>
                </a:cubicBezTo>
                <a:cubicBezTo>
                  <a:pt x="0" y="212"/>
                  <a:pt x="26" y="248"/>
                  <a:pt x="53" y="261"/>
                </a:cubicBezTo>
                <a:cubicBezTo>
                  <a:pt x="30" y="237"/>
                  <a:pt x="16" y="204"/>
                  <a:pt x="16" y="170"/>
                </a:cubicBezTo>
                <a:cubicBezTo>
                  <a:pt x="16" y="136"/>
                  <a:pt x="30" y="103"/>
                  <a:pt x="53" y="79"/>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61" name="Group 60"/>
          <p:cNvGrpSpPr>
            <a:grpSpLocks noChangeAspect="1"/>
          </p:cNvGrpSpPr>
          <p:nvPr/>
        </p:nvGrpSpPr>
        <p:grpSpPr bwMode="auto">
          <a:xfrm>
            <a:off x="921992" y="3817386"/>
            <a:ext cx="949499" cy="777927"/>
            <a:chOff x="4615" y="2434"/>
            <a:chExt cx="1378" cy="1129"/>
          </a:xfrm>
        </p:grpSpPr>
        <p:sp>
          <p:nvSpPr>
            <p:cNvPr id="62" name="Freeform 61"/>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19050"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63" name="Freeform 62"/>
            <p:cNvSpPr>
              <a:spLocks/>
            </p:cNvSpPr>
            <p:nvPr/>
          </p:nvSpPr>
          <p:spPr bwMode="auto">
            <a:xfrm>
              <a:off x="466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64" name="Freeform 63"/>
            <p:cNvSpPr>
              <a:spLocks noEditPoints="1"/>
            </p:cNvSpPr>
            <p:nvPr/>
          </p:nvSpPr>
          <p:spPr bwMode="auto">
            <a:xfrm>
              <a:off x="461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spTree>
    <p:extLst>
      <p:ext uri="{BB962C8B-B14F-4D97-AF65-F5344CB8AC3E}">
        <p14:creationId xmlns:p14="http://schemas.microsoft.com/office/powerpoint/2010/main" val="1052860673"/>
      </p:ext>
    </p:extLst>
  </p:cSld>
  <p:clrMapOvr>
    <a:masterClrMapping/>
  </p:clrMapOvr>
  <p:transition spd="slow">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4" y="1871904"/>
            <a:ext cx="7550838" cy="4614525"/>
          </a:xfrm>
          <a:prstGeom prst="rect">
            <a:avLst/>
          </a:prstGeom>
        </p:spPr>
      </p:pic>
      <p:sp>
        <p:nvSpPr>
          <p:cNvPr id="28" name="TextBox 27"/>
          <p:cNvSpPr txBox="1"/>
          <p:nvPr/>
        </p:nvSpPr>
        <p:spPr>
          <a:xfrm>
            <a:off x="8576199" y="3676622"/>
            <a:ext cx="2934123" cy="320182"/>
          </a:xfrm>
          <a:prstGeom prst="rect">
            <a:avLst/>
          </a:prstGeom>
          <a:noFill/>
        </p:spPr>
        <p:txBody>
          <a:bodyPr wrap="square" lIns="0" tIns="0" rIns="0" bIns="0" rtlCol="0">
            <a:spAutoFit/>
          </a:bodyPr>
          <a:lstStyle/>
          <a:p>
            <a:pPr marL="746077">
              <a:spcBef>
                <a:spcPts val="612"/>
              </a:spcBef>
              <a:spcAft>
                <a:spcPts val="1836"/>
              </a:spcAft>
            </a:pPr>
            <a:r>
              <a:rPr lang="en-US" sz="2040" dirty="0"/>
              <a:t>Image Content</a:t>
            </a:r>
          </a:p>
        </p:txBody>
      </p:sp>
      <p:sp>
        <p:nvSpPr>
          <p:cNvPr id="5" name="TextBox 4"/>
          <p:cNvSpPr txBox="1"/>
          <p:nvPr/>
        </p:nvSpPr>
        <p:spPr>
          <a:xfrm>
            <a:off x="8576199" y="3066575"/>
            <a:ext cx="2934123" cy="320182"/>
          </a:xfrm>
          <a:prstGeom prst="rect">
            <a:avLst/>
          </a:prstGeom>
          <a:noFill/>
        </p:spPr>
        <p:txBody>
          <a:bodyPr wrap="square" lIns="0" tIns="0" rIns="0" bIns="0" rtlCol="0">
            <a:spAutoFit/>
          </a:bodyPr>
          <a:lstStyle/>
          <a:p>
            <a:pPr marL="746077">
              <a:spcBef>
                <a:spcPts val="612"/>
              </a:spcBef>
              <a:spcAft>
                <a:spcPts val="1836"/>
              </a:spcAft>
            </a:pPr>
            <a:r>
              <a:rPr lang="en-US" sz="2040" dirty="0"/>
              <a:t>Text Content</a:t>
            </a:r>
          </a:p>
        </p:txBody>
      </p:sp>
      <p:sp>
        <p:nvSpPr>
          <p:cNvPr id="2" name="Title 1"/>
          <p:cNvSpPr>
            <a:spLocks noGrp="1"/>
          </p:cNvSpPr>
          <p:nvPr>
            <p:ph type="title"/>
          </p:nvPr>
        </p:nvSpPr>
        <p:spPr>
          <a:xfrm>
            <a:off x="259581" y="303805"/>
            <a:ext cx="11375536" cy="738664"/>
          </a:xfrm>
        </p:spPr>
        <p:txBody>
          <a:bodyPr/>
          <a:lstStyle/>
          <a:p>
            <a:r>
              <a:rPr lang="en-US" dirty="0" smtClean="0"/>
              <a:t>RemoteFX adaptive graphics</a:t>
            </a:r>
            <a:endParaRPr lang="en-US" dirty="0">
              <a:gradFill flip="none" rotWithShape="1">
                <a:gsLst>
                  <a:gs pos="5417">
                    <a:schemeClr val="tx2"/>
                  </a:gs>
                  <a:gs pos="98000">
                    <a:schemeClr val="tx2"/>
                  </a:gs>
                </a:gsLst>
                <a:lin ang="5400000" scaled="0"/>
                <a:tileRect/>
              </a:gradFill>
              <a:latin typeface="+mn-lt"/>
            </a:endParaRPr>
          </a:p>
        </p:txBody>
      </p:sp>
      <p:sp>
        <p:nvSpPr>
          <p:cNvPr id="6" name="Rectangle 5"/>
          <p:cNvSpPr/>
          <p:nvPr/>
        </p:nvSpPr>
        <p:spPr>
          <a:xfrm>
            <a:off x="457200" y="3223527"/>
            <a:ext cx="2463800" cy="1963176"/>
          </a:xfrm>
          <a:prstGeom prst="rect">
            <a:avLst/>
          </a:prstGeom>
          <a:solidFill>
            <a:schemeClr val="accent4">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6628" rIns="93256" bIns="93260" numCol="1" rtlCol="0" anchor="b" anchorCtr="0" compatLnSpc="1">
            <a:prstTxWarp prst="textNoShape">
              <a:avLst/>
            </a:prstTxWarp>
          </a:bodyPr>
          <a:lstStyle/>
          <a:p>
            <a:pPr defTabSz="932290" fontAlgn="base">
              <a:lnSpc>
                <a:spcPct val="90000"/>
              </a:lnSpc>
              <a:spcBef>
                <a:spcPct val="0"/>
              </a:spcBef>
              <a:spcAft>
                <a:spcPct val="0"/>
              </a:spcAft>
            </a:pPr>
            <a:endParaRPr lang="en-US" sz="1632" dirty="0">
              <a:solidFill>
                <a:srgbClr val="FFFFFE"/>
              </a:solidFill>
            </a:endParaRPr>
          </a:p>
        </p:txBody>
      </p:sp>
      <p:sp>
        <p:nvSpPr>
          <p:cNvPr id="8" name="Rectangle 7"/>
          <p:cNvSpPr/>
          <p:nvPr/>
        </p:nvSpPr>
        <p:spPr>
          <a:xfrm>
            <a:off x="457200" y="1871906"/>
            <a:ext cx="7549253" cy="1351622"/>
          </a:xfrm>
          <a:prstGeom prst="rect">
            <a:avLst/>
          </a:prstGeom>
          <a:solidFill>
            <a:schemeClr val="accent4">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6628" rIns="93256" bIns="93260" numCol="1" rtlCol="0" anchor="b" anchorCtr="0" compatLnSpc="1">
            <a:prstTxWarp prst="textNoShape">
              <a:avLst/>
            </a:prstTxWarp>
          </a:bodyPr>
          <a:lstStyle/>
          <a:p>
            <a:pPr defTabSz="932290" fontAlgn="base">
              <a:lnSpc>
                <a:spcPct val="90000"/>
              </a:lnSpc>
              <a:spcBef>
                <a:spcPct val="0"/>
              </a:spcBef>
              <a:spcAft>
                <a:spcPct val="0"/>
              </a:spcAft>
            </a:pPr>
            <a:endParaRPr lang="en-US" sz="1632" dirty="0">
              <a:solidFill>
                <a:srgbClr val="FFFFFE"/>
              </a:solidFill>
            </a:endParaRPr>
          </a:p>
        </p:txBody>
      </p:sp>
      <p:sp>
        <p:nvSpPr>
          <p:cNvPr id="11" name="Rectangle 10"/>
          <p:cNvSpPr/>
          <p:nvPr/>
        </p:nvSpPr>
        <p:spPr>
          <a:xfrm>
            <a:off x="457201" y="5186703"/>
            <a:ext cx="4815392" cy="1316291"/>
          </a:xfrm>
          <a:prstGeom prst="rect">
            <a:avLst/>
          </a:prstGeom>
          <a:solidFill>
            <a:schemeClr val="accent6">
              <a:alpha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6628" rIns="93256" bIns="93260" numCol="1" rtlCol="0" anchor="b" anchorCtr="0" compatLnSpc="1">
            <a:prstTxWarp prst="textNoShape">
              <a:avLst/>
            </a:prstTxWarp>
          </a:bodyPr>
          <a:lstStyle/>
          <a:p>
            <a:pPr defTabSz="932290" fontAlgn="base">
              <a:lnSpc>
                <a:spcPct val="90000"/>
              </a:lnSpc>
              <a:spcBef>
                <a:spcPct val="0"/>
              </a:spcBef>
              <a:spcAft>
                <a:spcPct val="0"/>
              </a:spcAft>
            </a:pPr>
            <a:endParaRPr lang="en-US" sz="1632" dirty="0">
              <a:solidFill>
                <a:srgbClr val="FFFFFE"/>
              </a:solidFill>
            </a:endParaRPr>
          </a:p>
        </p:txBody>
      </p:sp>
      <p:sp>
        <p:nvSpPr>
          <p:cNvPr id="15" name="Rectangle 14"/>
          <p:cNvSpPr/>
          <p:nvPr/>
        </p:nvSpPr>
        <p:spPr>
          <a:xfrm>
            <a:off x="2897728" y="3223527"/>
            <a:ext cx="2374864" cy="1963175"/>
          </a:xfrm>
          <a:prstGeom prst="rect">
            <a:avLst/>
          </a:prstGeom>
          <a:solidFill>
            <a:schemeClr val="accent6">
              <a:alpha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6628" rIns="93256" bIns="93260" numCol="1" rtlCol="0" anchor="b" anchorCtr="0" compatLnSpc="1">
            <a:prstTxWarp prst="textNoShape">
              <a:avLst/>
            </a:prstTxWarp>
          </a:bodyPr>
          <a:lstStyle/>
          <a:p>
            <a:pPr defTabSz="932290" fontAlgn="base">
              <a:lnSpc>
                <a:spcPct val="90000"/>
              </a:lnSpc>
              <a:spcBef>
                <a:spcPct val="0"/>
              </a:spcBef>
              <a:spcAft>
                <a:spcPct val="0"/>
              </a:spcAft>
            </a:pPr>
            <a:endParaRPr lang="en-US" sz="1632" dirty="0">
              <a:solidFill>
                <a:srgbClr val="FFFFFE"/>
              </a:solidFill>
            </a:endParaRPr>
          </a:p>
        </p:txBody>
      </p:sp>
      <p:sp>
        <p:nvSpPr>
          <p:cNvPr id="17" name="Rectangle 16"/>
          <p:cNvSpPr/>
          <p:nvPr/>
        </p:nvSpPr>
        <p:spPr>
          <a:xfrm>
            <a:off x="7498079" y="3223527"/>
            <a:ext cx="508373" cy="3292169"/>
          </a:xfrm>
          <a:prstGeom prst="rect">
            <a:avLst/>
          </a:prstGeom>
          <a:solidFill>
            <a:schemeClr val="accent4">
              <a:alpha val="50000"/>
            </a:schemeClr>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6628" rIns="93256" bIns="93260" numCol="1" rtlCol="0" anchor="b" anchorCtr="0" compatLnSpc="1">
            <a:prstTxWarp prst="textNoShape">
              <a:avLst/>
            </a:prstTxWarp>
          </a:bodyPr>
          <a:lstStyle/>
          <a:p>
            <a:pPr defTabSz="932290" fontAlgn="base">
              <a:lnSpc>
                <a:spcPct val="90000"/>
              </a:lnSpc>
              <a:spcBef>
                <a:spcPct val="0"/>
              </a:spcBef>
              <a:spcAft>
                <a:spcPct val="0"/>
              </a:spcAft>
            </a:pPr>
            <a:endParaRPr lang="en-US" sz="1632" dirty="0">
              <a:solidFill>
                <a:srgbClr val="FFFFFE"/>
              </a:solidFill>
            </a:endParaRPr>
          </a:p>
        </p:txBody>
      </p:sp>
      <p:sp>
        <p:nvSpPr>
          <p:cNvPr id="35" name="Rectangle 34"/>
          <p:cNvSpPr>
            <a:spLocks noChangeAspect="1"/>
          </p:cNvSpPr>
          <p:nvPr/>
        </p:nvSpPr>
        <p:spPr>
          <a:xfrm>
            <a:off x="8875616" y="3699303"/>
            <a:ext cx="265594" cy="268542"/>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6628" rIns="93256" bIns="93260" numCol="1" rtlCol="0" anchor="b" anchorCtr="0" compatLnSpc="1">
            <a:prstTxWarp prst="textNoShape">
              <a:avLst/>
            </a:prstTxWarp>
          </a:bodyPr>
          <a:lstStyle/>
          <a:p>
            <a:pPr defTabSz="932290" fontAlgn="base">
              <a:lnSpc>
                <a:spcPct val="90000"/>
              </a:lnSpc>
              <a:spcBef>
                <a:spcPct val="0"/>
              </a:spcBef>
              <a:spcAft>
                <a:spcPct val="0"/>
              </a:spcAft>
            </a:pPr>
            <a:endParaRPr lang="en-US" sz="1632" dirty="0">
              <a:solidFill>
                <a:srgbClr val="FFFFFE"/>
              </a:solidFill>
            </a:endParaRPr>
          </a:p>
        </p:txBody>
      </p:sp>
      <p:sp>
        <p:nvSpPr>
          <p:cNvPr id="37" name="Rectangle 36"/>
          <p:cNvSpPr>
            <a:spLocks noChangeAspect="1"/>
          </p:cNvSpPr>
          <p:nvPr/>
        </p:nvSpPr>
        <p:spPr>
          <a:xfrm>
            <a:off x="8875616" y="3089256"/>
            <a:ext cx="265594" cy="268542"/>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6628" rIns="93256" bIns="93260" numCol="1" rtlCol="0" anchor="b" anchorCtr="0" compatLnSpc="1">
            <a:prstTxWarp prst="textNoShape">
              <a:avLst/>
            </a:prstTxWarp>
          </a:bodyPr>
          <a:lstStyle/>
          <a:p>
            <a:pPr defTabSz="932290" fontAlgn="base">
              <a:lnSpc>
                <a:spcPct val="90000"/>
              </a:lnSpc>
              <a:spcBef>
                <a:spcPct val="0"/>
              </a:spcBef>
              <a:spcAft>
                <a:spcPct val="0"/>
              </a:spcAft>
            </a:pPr>
            <a:endParaRPr lang="en-US" sz="1632" dirty="0">
              <a:solidFill>
                <a:srgbClr val="FFFFFE"/>
              </a:solidFill>
            </a:endParaRPr>
          </a:p>
        </p:txBody>
      </p:sp>
      <p:sp>
        <p:nvSpPr>
          <p:cNvPr id="38" name="Rectangle 37"/>
          <p:cNvSpPr>
            <a:spLocks noChangeAspect="1"/>
          </p:cNvSpPr>
          <p:nvPr/>
        </p:nvSpPr>
        <p:spPr>
          <a:xfrm>
            <a:off x="8875616" y="4367267"/>
            <a:ext cx="265594" cy="26854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6628" rIns="93256" bIns="93260" numCol="1" rtlCol="0" anchor="b" anchorCtr="0" compatLnSpc="1">
            <a:prstTxWarp prst="textNoShape">
              <a:avLst/>
            </a:prstTxWarp>
          </a:bodyPr>
          <a:lstStyle/>
          <a:p>
            <a:pPr defTabSz="932290" fontAlgn="base">
              <a:lnSpc>
                <a:spcPct val="90000"/>
              </a:lnSpc>
              <a:spcBef>
                <a:spcPct val="0"/>
              </a:spcBef>
              <a:spcAft>
                <a:spcPct val="0"/>
              </a:spcAft>
            </a:pPr>
            <a:endParaRPr lang="en-US" sz="1632" dirty="0">
              <a:solidFill>
                <a:srgbClr val="FFFFFE"/>
              </a:solidFill>
            </a:endParaRPr>
          </a:p>
        </p:txBody>
      </p:sp>
      <p:sp>
        <p:nvSpPr>
          <p:cNvPr id="29" name="TextBox 28"/>
          <p:cNvSpPr txBox="1"/>
          <p:nvPr/>
        </p:nvSpPr>
        <p:spPr>
          <a:xfrm>
            <a:off x="8576199" y="4344587"/>
            <a:ext cx="2934123" cy="320182"/>
          </a:xfrm>
          <a:prstGeom prst="rect">
            <a:avLst/>
          </a:prstGeom>
          <a:noFill/>
        </p:spPr>
        <p:txBody>
          <a:bodyPr wrap="square" lIns="0" tIns="0" rIns="0" bIns="0" rtlCol="0">
            <a:spAutoFit/>
          </a:bodyPr>
          <a:lstStyle/>
          <a:p>
            <a:pPr marL="746077">
              <a:spcBef>
                <a:spcPts val="612"/>
              </a:spcBef>
              <a:spcAft>
                <a:spcPts val="1836"/>
              </a:spcAft>
            </a:pPr>
            <a:r>
              <a:rPr lang="en-US" sz="2040" dirty="0"/>
              <a:t>Video/Animations</a:t>
            </a:r>
          </a:p>
        </p:txBody>
      </p:sp>
      <p:sp>
        <p:nvSpPr>
          <p:cNvPr id="16" name="Rectangle 15"/>
          <p:cNvSpPr/>
          <p:nvPr/>
        </p:nvSpPr>
        <p:spPr>
          <a:xfrm>
            <a:off x="5272591" y="3223527"/>
            <a:ext cx="2225487" cy="3262903"/>
          </a:xfrm>
          <a:prstGeom prst="rect">
            <a:avLst/>
          </a:prstGeom>
          <a:solidFill>
            <a:schemeClr val="accent2">
              <a:alpha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6628" rIns="93256" bIns="93260" numCol="1" rtlCol="0" anchor="b" anchorCtr="0" compatLnSpc="1">
            <a:prstTxWarp prst="textNoShape">
              <a:avLst/>
            </a:prstTxWarp>
          </a:bodyPr>
          <a:lstStyle/>
          <a:p>
            <a:pPr defTabSz="932290" fontAlgn="base">
              <a:lnSpc>
                <a:spcPct val="90000"/>
              </a:lnSpc>
              <a:spcBef>
                <a:spcPct val="0"/>
              </a:spcBef>
              <a:spcAft>
                <a:spcPct val="0"/>
              </a:spcAft>
            </a:pPr>
            <a:endParaRPr lang="en-US" sz="1632" dirty="0">
              <a:solidFill>
                <a:srgbClr val="FFFFFE"/>
              </a:solidFill>
            </a:endParaRPr>
          </a:p>
        </p:txBody>
      </p:sp>
    </p:spTree>
    <p:extLst>
      <p:ext uri="{BB962C8B-B14F-4D97-AF65-F5344CB8AC3E}">
        <p14:creationId xmlns:p14="http://schemas.microsoft.com/office/powerpoint/2010/main" val="22968539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down)">
                                      <p:cBhvr>
                                        <p:cTn id="10" dur="500"/>
                                        <p:tgtEl>
                                          <p:spTgt spid="11"/>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wipe(down)">
                                      <p:cBhvr>
                                        <p:cTn id="13" dur="500"/>
                                        <p:tgtEl>
                                          <p:spTgt spid="37"/>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down)">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wipe(down)">
                                      <p:cBhvr>
                                        <p:cTn id="21" dur="500"/>
                                        <p:tgtEl>
                                          <p:spTgt spid="8"/>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down)">
                                      <p:cBhvr>
                                        <p:cTn id="24" dur="500"/>
                                        <p:tgtEl>
                                          <p:spTgt spid="17"/>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ipe(down)">
                                      <p:cBhvr>
                                        <p:cTn id="27" dur="500"/>
                                        <p:tgtEl>
                                          <p:spTgt spid="6"/>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wipe(down)">
                                      <p:cBhvr>
                                        <p:cTn id="30" dur="500"/>
                                        <p:tgtEl>
                                          <p:spTgt spid="28"/>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wipe(down)">
                                      <p:cBhvr>
                                        <p:cTn id="33" dur="500"/>
                                        <p:tgtEl>
                                          <p:spTgt spid="35"/>
                                        </p:tgtEl>
                                      </p:cBhvr>
                                    </p:animEffect>
                                  </p:childTnLst>
                                </p:cTn>
                              </p:par>
                            </p:childTnLst>
                          </p:cTn>
                        </p:par>
                      </p:childTnLst>
                    </p:cTn>
                  </p:par>
                  <p:par>
                    <p:cTn id="34" fill="hold">
                      <p:stCondLst>
                        <p:cond delay="indefinite"/>
                      </p:stCondLst>
                      <p:childTnLst>
                        <p:par>
                          <p:cTn id="35" fill="hold">
                            <p:stCondLst>
                              <p:cond delay="0"/>
                            </p:stCondLst>
                            <p:childTnLst>
                              <p:par>
                                <p:cTn id="36" presetID="21" presetClass="entr" presetSubtype="1" fill="hold" grpId="0"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wheel(1)">
                                      <p:cBhvr>
                                        <p:cTn id="38" dur="1000"/>
                                        <p:tgtEl>
                                          <p:spTgt spid="16"/>
                                        </p:tgtEl>
                                      </p:cBhvr>
                                    </p:animEffect>
                                  </p:childTnLst>
                                </p:cTn>
                              </p:par>
                              <p:par>
                                <p:cTn id="39" presetID="21" presetClass="entr" presetSubtype="1" fill="hold" grpId="0"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wheel(1)">
                                      <p:cBhvr>
                                        <p:cTn id="41" dur="1000"/>
                                        <p:tgtEl>
                                          <p:spTgt spid="38"/>
                                        </p:tgtEl>
                                      </p:cBhvr>
                                    </p:animEffect>
                                  </p:childTnLst>
                                </p:cTn>
                              </p:par>
                              <p:par>
                                <p:cTn id="42" presetID="21" presetClass="entr" presetSubtype="1" fill="hold" grpId="0" nodeType="withEffect">
                                  <p:stCondLst>
                                    <p:cond delay="0"/>
                                  </p:stCondLst>
                                  <p:childTnLst>
                                    <p:set>
                                      <p:cBhvr>
                                        <p:cTn id="43" dur="1" fill="hold">
                                          <p:stCondLst>
                                            <p:cond delay="0"/>
                                          </p:stCondLst>
                                        </p:cTn>
                                        <p:tgtEl>
                                          <p:spTgt spid="29"/>
                                        </p:tgtEl>
                                        <p:attrNameLst>
                                          <p:attrName>style.visibility</p:attrName>
                                        </p:attrNameLst>
                                      </p:cBhvr>
                                      <p:to>
                                        <p:strVal val="visible"/>
                                      </p:to>
                                    </p:set>
                                    <p:animEffect transition="in" filter="wheel(1)">
                                      <p:cBhvr>
                                        <p:cTn id="44"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5" grpId="0"/>
      <p:bldP spid="6" grpId="0" animBg="1"/>
      <p:bldP spid="8" grpId="0" animBg="1"/>
      <p:bldP spid="11" grpId="0" animBg="1"/>
      <p:bldP spid="15" grpId="0" animBg="1"/>
      <p:bldP spid="17" grpId="0" animBg="1"/>
      <p:bldP spid="35" grpId="0" animBg="1"/>
      <p:bldP spid="37" grpId="0" animBg="1"/>
      <p:bldP spid="38" grpId="0" animBg="1"/>
      <p:bldP spid="29" grpId="0"/>
      <p:bldP spid="1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581" y="303805"/>
            <a:ext cx="11375536" cy="738664"/>
          </a:xfrm>
        </p:spPr>
        <p:txBody>
          <a:bodyPr/>
          <a:lstStyle/>
          <a:p>
            <a:r>
              <a:rPr lang="en-US" dirty="0" smtClean="0"/>
              <a:t>RemoteFX progressive rendering</a:t>
            </a:r>
            <a:endParaRPr lang="en-US" dirty="0"/>
          </a:p>
        </p:txBody>
      </p:sp>
      <p:grpSp>
        <p:nvGrpSpPr>
          <p:cNvPr id="6" name="Group 5"/>
          <p:cNvGrpSpPr/>
          <p:nvPr/>
        </p:nvGrpSpPr>
        <p:grpSpPr>
          <a:xfrm>
            <a:off x="1179513" y="1721862"/>
            <a:ext cx="2186670" cy="3941324"/>
            <a:chOff x="831168" y="1721079"/>
            <a:chExt cx="2186670" cy="3941324"/>
          </a:xfrm>
        </p:grpSpPr>
        <p:pic>
          <p:nvPicPr>
            <p:cNvPr id="9"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1168" y="1721079"/>
              <a:ext cx="2186670" cy="3941324"/>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a:blip r:embed="rId4">
              <a:extLst>
                <a:ext uri="{BEBA8EAE-BF5A-486C-A8C5-ECC9F3942E4B}">
                  <a14:imgProps xmlns:a14="http://schemas.microsoft.com/office/drawing/2010/main">
                    <a14:imgLayer r:embed="rId5">
                      <a14:imgEffect>
                        <a14:artisticBlur/>
                      </a14:imgEffect>
                    </a14:imgLayer>
                  </a14:imgProps>
                </a:ext>
                <a:ext uri="{28A0092B-C50C-407E-A947-70E740481C1C}">
                  <a14:useLocalDpi xmlns:a14="http://schemas.microsoft.com/office/drawing/2010/main"/>
                </a:ext>
              </a:extLst>
            </a:blip>
            <a:srcRect/>
            <a:stretch>
              <a:fillRect/>
            </a:stretch>
          </p:blipFill>
          <p:spPr bwMode="auto">
            <a:xfrm>
              <a:off x="923190" y="2747711"/>
              <a:ext cx="2094019" cy="2074076"/>
            </a:xfrm>
            <a:prstGeom prst="rect">
              <a:avLst/>
            </a:prstGeom>
            <a:noFill/>
            <a:ln w="9525">
              <a:solidFill>
                <a:schemeClr val="bg1">
                  <a:alpha val="74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060768" y="1721863"/>
            <a:ext cx="2186670" cy="3941324"/>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 name="Group 3"/>
          <p:cNvGrpSpPr/>
          <p:nvPr/>
        </p:nvGrpSpPr>
        <p:grpSpPr>
          <a:xfrm>
            <a:off x="5202318" y="1721862"/>
            <a:ext cx="2186671" cy="3941324"/>
            <a:chOff x="4997763" y="1721079"/>
            <a:chExt cx="2186671" cy="3941324"/>
          </a:xfrm>
        </p:grpSpPr>
        <p:pic>
          <p:nvPicPr>
            <p:cNvPr id="15"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997763" y="1721079"/>
              <a:ext cx="2186670" cy="3941324"/>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artisticPaintBrush/>
                      </a14:imgEffect>
                    </a14:imgLayer>
                  </a14:imgProps>
                </a:ext>
                <a:ext uri="{28A0092B-C50C-407E-A947-70E740481C1C}">
                  <a14:useLocalDpi xmlns:a14="http://schemas.microsoft.com/office/drawing/2010/main"/>
                </a:ext>
              </a:extLst>
            </a:blip>
            <a:srcRect/>
            <a:stretch/>
          </p:blipFill>
          <p:spPr bwMode="auto">
            <a:xfrm>
              <a:off x="5091631" y="2747710"/>
              <a:ext cx="2092803" cy="2074076"/>
            </a:xfrm>
            <a:prstGeom prst="rect">
              <a:avLst/>
            </a:prstGeom>
            <a:noFill/>
            <a:ln w="9525">
              <a:solidFill>
                <a:schemeClr val="bg1">
                  <a:alpha val="74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0" name="Freeform 8"/>
          <p:cNvSpPr>
            <a:spLocks noEditPoints="1"/>
          </p:cNvSpPr>
          <p:nvPr/>
        </p:nvSpPr>
        <p:spPr bwMode="black">
          <a:xfrm rot="16200000" flipV="1">
            <a:off x="4106332" y="3212159"/>
            <a:ext cx="481337" cy="479395"/>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00188F"/>
          </a:solidFill>
          <a:ln>
            <a:noFill/>
          </a:ln>
          <a:extLst/>
        </p:spPr>
        <p:txBody>
          <a:bodyPr vert="horz" wrap="square" lIns="93260" tIns="46630" rIns="93260" bIns="46630" numCol="1" anchor="t" anchorCtr="0" compatLnSpc="1">
            <a:prstTxWarp prst="textNoShape">
              <a:avLst/>
            </a:prstTxWarp>
          </a:bodyPr>
          <a:lstStyle/>
          <a:p>
            <a:endParaRPr lang="en-US" sz="1836" dirty="0"/>
          </a:p>
        </p:txBody>
      </p:sp>
      <p:sp>
        <p:nvSpPr>
          <p:cNvPr id="19" name="Freeform 8"/>
          <p:cNvSpPr>
            <a:spLocks noEditPoints="1"/>
          </p:cNvSpPr>
          <p:nvPr/>
        </p:nvSpPr>
        <p:spPr bwMode="black">
          <a:xfrm rot="16200000" flipV="1">
            <a:off x="8023872" y="3209911"/>
            <a:ext cx="481337" cy="479395"/>
          </a:xfrm>
          <a:custGeom>
            <a:avLst/>
            <a:gdLst>
              <a:gd name="T0" fmla="*/ 68 w 150"/>
              <a:gd name="T1" fmla="*/ 61 h 149"/>
              <a:gd name="T2" fmla="*/ 46 w 150"/>
              <a:gd name="T3" fmla="*/ 84 h 149"/>
              <a:gd name="T4" fmla="*/ 46 w 150"/>
              <a:gd name="T5" fmla="*/ 65 h 149"/>
              <a:gd name="T6" fmla="*/ 75 w 150"/>
              <a:gd name="T7" fmla="*/ 34 h 149"/>
              <a:gd name="T8" fmla="*/ 104 w 150"/>
              <a:gd name="T9" fmla="*/ 65 h 149"/>
              <a:gd name="T10" fmla="*/ 104 w 150"/>
              <a:gd name="T11" fmla="*/ 84 h 149"/>
              <a:gd name="T12" fmla="*/ 82 w 150"/>
              <a:gd name="T13" fmla="*/ 61 h 149"/>
              <a:gd name="T14" fmla="*/ 82 w 150"/>
              <a:gd name="T15" fmla="*/ 113 h 149"/>
              <a:gd name="T16" fmla="*/ 68 w 150"/>
              <a:gd name="T17" fmla="*/ 113 h 149"/>
              <a:gd name="T18" fmla="*/ 68 w 150"/>
              <a:gd name="T19" fmla="*/ 61 h 149"/>
              <a:gd name="T20" fmla="*/ 10 w 150"/>
              <a:gd name="T21" fmla="*/ 75 h 149"/>
              <a:gd name="T22" fmla="*/ 75 w 150"/>
              <a:gd name="T23" fmla="*/ 9 h 149"/>
              <a:gd name="T24" fmla="*/ 140 w 150"/>
              <a:gd name="T25" fmla="*/ 75 h 149"/>
              <a:gd name="T26" fmla="*/ 75 w 150"/>
              <a:gd name="T27" fmla="*/ 140 h 149"/>
              <a:gd name="T28" fmla="*/ 10 w 150"/>
              <a:gd name="T29" fmla="*/ 75 h 149"/>
              <a:gd name="T30" fmla="*/ 0 w 150"/>
              <a:gd name="T31" fmla="*/ 75 h 149"/>
              <a:gd name="T32" fmla="*/ 75 w 150"/>
              <a:gd name="T33" fmla="*/ 149 h 149"/>
              <a:gd name="T34" fmla="*/ 150 w 150"/>
              <a:gd name="T35" fmla="*/ 75 h 149"/>
              <a:gd name="T36" fmla="*/ 75 w 150"/>
              <a:gd name="T37" fmla="*/ 0 h 149"/>
              <a:gd name="T38" fmla="*/ 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8" y="61"/>
                </a:moveTo>
                <a:cubicBezTo>
                  <a:pt x="46" y="84"/>
                  <a:pt x="46" y="84"/>
                  <a:pt x="46" y="84"/>
                </a:cubicBezTo>
                <a:cubicBezTo>
                  <a:pt x="46" y="65"/>
                  <a:pt x="46" y="65"/>
                  <a:pt x="46" y="65"/>
                </a:cubicBezTo>
                <a:cubicBezTo>
                  <a:pt x="75" y="34"/>
                  <a:pt x="75" y="34"/>
                  <a:pt x="75" y="34"/>
                </a:cubicBezTo>
                <a:cubicBezTo>
                  <a:pt x="104" y="65"/>
                  <a:pt x="104" y="65"/>
                  <a:pt x="104" y="65"/>
                </a:cubicBezTo>
                <a:cubicBezTo>
                  <a:pt x="104" y="84"/>
                  <a:pt x="104" y="84"/>
                  <a:pt x="104" y="84"/>
                </a:cubicBezTo>
                <a:cubicBezTo>
                  <a:pt x="82" y="61"/>
                  <a:pt x="82" y="61"/>
                  <a:pt x="82" y="61"/>
                </a:cubicBezTo>
                <a:cubicBezTo>
                  <a:pt x="82" y="113"/>
                  <a:pt x="82" y="113"/>
                  <a:pt x="82" y="113"/>
                </a:cubicBezTo>
                <a:cubicBezTo>
                  <a:pt x="68" y="113"/>
                  <a:pt x="68" y="113"/>
                  <a:pt x="68" y="113"/>
                </a:cubicBezTo>
                <a:lnTo>
                  <a:pt x="68" y="61"/>
                </a:lnTo>
                <a:close/>
                <a:moveTo>
                  <a:pt x="10" y="75"/>
                </a:moveTo>
                <a:cubicBezTo>
                  <a:pt x="10" y="39"/>
                  <a:pt x="39" y="9"/>
                  <a:pt x="75" y="9"/>
                </a:cubicBezTo>
                <a:cubicBezTo>
                  <a:pt x="111" y="9"/>
                  <a:pt x="140" y="39"/>
                  <a:pt x="140" y="75"/>
                </a:cubicBezTo>
                <a:cubicBezTo>
                  <a:pt x="140" y="111"/>
                  <a:pt x="111" y="140"/>
                  <a:pt x="75" y="140"/>
                </a:cubicBezTo>
                <a:cubicBezTo>
                  <a:pt x="39" y="140"/>
                  <a:pt x="10" y="111"/>
                  <a:pt x="10" y="75"/>
                </a:cubicBezTo>
                <a:moveTo>
                  <a:pt x="0" y="75"/>
                </a:moveTo>
                <a:cubicBezTo>
                  <a:pt x="0" y="116"/>
                  <a:pt x="34" y="149"/>
                  <a:pt x="75" y="149"/>
                </a:cubicBezTo>
                <a:cubicBezTo>
                  <a:pt x="116" y="149"/>
                  <a:pt x="150" y="116"/>
                  <a:pt x="150" y="75"/>
                </a:cubicBezTo>
                <a:cubicBezTo>
                  <a:pt x="150" y="33"/>
                  <a:pt x="116" y="0"/>
                  <a:pt x="75" y="0"/>
                </a:cubicBezTo>
                <a:cubicBezTo>
                  <a:pt x="34" y="0"/>
                  <a:pt x="0" y="33"/>
                  <a:pt x="0" y="75"/>
                </a:cubicBezTo>
              </a:path>
            </a:pathLst>
          </a:custGeom>
          <a:solidFill>
            <a:srgbClr val="00188F"/>
          </a:solidFill>
          <a:ln>
            <a:noFill/>
          </a:ln>
          <a:extLst/>
        </p:spPr>
        <p:txBody>
          <a:bodyPr vert="horz" wrap="square" lIns="93260" tIns="46630" rIns="93260" bIns="46630" numCol="1" anchor="t" anchorCtr="0" compatLnSpc="1">
            <a:prstTxWarp prst="textNoShape">
              <a:avLst/>
            </a:prstTxWarp>
          </a:bodyPr>
          <a:lstStyle/>
          <a:p>
            <a:endParaRPr lang="en-US" sz="1836" dirty="0"/>
          </a:p>
        </p:txBody>
      </p:sp>
    </p:spTree>
    <p:extLst>
      <p:ext uri="{BB962C8B-B14F-4D97-AF65-F5344CB8AC3E}">
        <p14:creationId xmlns:p14="http://schemas.microsoft.com/office/powerpoint/2010/main" val="8956986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581" y="303805"/>
            <a:ext cx="11375536" cy="738664"/>
          </a:xfrm>
        </p:spPr>
        <p:txBody>
          <a:bodyPr/>
          <a:lstStyle/>
          <a:p>
            <a:r>
              <a:rPr lang="en-US" dirty="0" smtClean="0"/>
              <a:t>RemoteFX for WAN</a:t>
            </a:r>
            <a:br>
              <a:rPr lang="en-US" dirty="0" smtClean="0"/>
            </a:br>
            <a:endParaRPr lang="en-US" dirty="0">
              <a:gradFill flip="none" rotWithShape="1">
                <a:gsLst>
                  <a:gs pos="5417">
                    <a:schemeClr val="tx2"/>
                  </a:gs>
                  <a:gs pos="98000">
                    <a:schemeClr val="tx2"/>
                  </a:gs>
                </a:gsLst>
                <a:lin ang="5400000" scaled="0"/>
                <a:tileRect/>
              </a:gradFill>
              <a:latin typeface="+mn-lt"/>
            </a:endParaRPr>
          </a:p>
        </p:txBody>
      </p:sp>
      <p:sp>
        <p:nvSpPr>
          <p:cNvPr id="5" name="Rectangle 4"/>
          <p:cNvSpPr>
            <a:spLocks noChangeArrowheads="1"/>
          </p:cNvSpPr>
          <p:nvPr/>
        </p:nvSpPr>
        <p:spPr bwMode="auto">
          <a:xfrm>
            <a:off x="684066" y="5922170"/>
            <a:ext cx="11511640" cy="500063"/>
          </a:xfrm>
          <a:prstGeom prst="rect">
            <a:avLst/>
          </a:prstGeom>
          <a:noFill/>
          <a:ln w="9525">
            <a:noFill/>
            <a:miter lim="800000"/>
            <a:headEnd/>
            <a:tailEnd/>
          </a:ln>
        </p:spPr>
        <p:txBody>
          <a:bodyPr lIns="155390" tIns="0" rIns="155390" bIns="0" anchor="ctr"/>
          <a:lstStyle/>
          <a:p>
            <a:pPr algn="ctr" defTabSz="932597"/>
            <a:r>
              <a:rPr lang="en-US" sz="2000" dirty="0">
                <a:solidFill>
                  <a:srgbClr val="505050"/>
                </a:solidFill>
              </a:rPr>
              <a:t>Balances </a:t>
            </a:r>
            <a:r>
              <a:rPr lang="en-US" sz="2000" b="1" dirty="0">
                <a:solidFill>
                  <a:schemeClr val="accent1"/>
                </a:solidFill>
              </a:rPr>
              <a:t>bandwidth</a:t>
            </a:r>
            <a:r>
              <a:rPr lang="en-US" sz="2000" dirty="0">
                <a:solidFill>
                  <a:srgbClr val="505050"/>
                </a:solidFill>
              </a:rPr>
              <a:t> and </a:t>
            </a:r>
            <a:r>
              <a:rPr lang="en-US" sz="2000" b="1" dirty="0">
                <a:solidFill>
                  <a:schemeClr val="accent1"/>
                </a:solidFill>
              </a:rPr>
              <a:t>scale</a:t>
            </a:r>
            <a:r>
              <a:rPr lang="en-US" sz="2000" dirty="0">
                <a:solidFill>
                  <a:srgbClr val="505050"/>
                </a:solidFill>
              </a:rPr>
              <a:t> to give the best user experience</a:t>
            </a:r>
          </a:p>
        </p:txBody>
      </p:sp>
      <p:sp>
        <p:nvSpPr>
          <p:cNvPr id="6" name="Rectangle 5"/>
          <p:cNvSpPr>
            <a:spLocks noChangeArrowheads="1"/>
          </p:cNvSpPr>
          <p:nvPr/>
        </p:nvSpPr>
        <p:spPr bwMode="auto">
          <a:xfrm>
            <a:off x="1502624" y="3142852"/>
            <a:ext cx="4767145" cy="3038874"/>
          </a:xfrm>
          <a:prstGeom prst="rect">
            <a:avLst/>
          </a:prstGeom>
          <a:noFill/>
          <a:ln w="9525">
            <a:noFill/>
            <a:miter lim="800000"/>
            <a:headEnd/>
            <a:tailEnd/>
          </a:ln>
        </p:spPr>
        <p:txBody>
          <a:bodyPr lIns="279781" tIns="194238" rIns="373041" bIns="38847"/>
          <a:lstStyle/>
          <a:p>
            <a:pPr defTabSz="932597">
              <a:spcBef>
                <a:spcPct val="75000"/>
              </a:spcBef>
              <a:spcAft>
                <a:spcPts val="1020"/>
              </a:spcAft>
              <a:buClr>
                <a:srgbClr val="002050"/>
              </a:buClr>
            </a:pPr>
            <a:r>
              <a:rPr lang="en-US" sz="2000" dirty="0">
                <a:solidFill>
                  <a:schemeClr val="accent1"/>
                </a:solidFill>
              </a:rPr>
              <a:t>Combines RemoteFX adaptive graphics with intelligent WAN-aware transports</a:t>
            </a:r>
          </a:p>
          <a:p>
            <a:pPr marL="0" lvl="1" defTabSz="932597">
              <a:lnSpc>
                <a:spcPct val="115000"/>
              </a:lnSpc>
              <a:spcAft>
                <a:spcPts val="306"/>
              </a:spcAft>
              <a:buClr>
                <a:srgbClr val="FFFFFF"/>
              </a:buClr>
            </a:pPr>
            <a:r>
              <a:rPr lang="en-US" sz="1600" dirty="0"/>
              <a:t>Automatic choice of TCP or secure UDP transport</a:t>
            </a:r>
          </a:p>
          <a:p>
            <a:pPr marL="0" lvl="1" defTabSz="932597">
              <a:lnSpc>
                <a:spcPct val="115000"/>
              </a:lnSpc>
              <a:spcAft>
                <a:spcPts val="306"/>
              </a:spcAft>
              <a:buClr>
                <a:srgbClr val="FFFFFF"/>
              </a:buClr>
            </a:pPr>
            <a:r>
              <a:rPr lang="en-US" sz="1600" dirty="0"/>
              <a:t>Detects and tunes graphics to network dynamically and automatically</a:t>
            </a:r>
          </a:p>
          <a:p>
            <a:pPr marL="0" lvl="1" defTabSz="932597">
              <a:lnSpc>
                <a:spcPct val="115000"/>
              </a:lnSpc>
              <a:spcAft>
                <a:spcPts val="306"/>
              </a:spcAft>
              <a:buClr>
                <a:srgbClr val="FFFFFF"/>
              </a:buClr>
            </a:pPr>
            <a:r>
              <a:rPr lang="en-US" sz="1600" dirty="0"/>
              <a:t>Integrated with Remote Desktop Gateway</a:t>
            </a:r>
          </a:p>
        </p:txBody>
      </p:sp>
      <p:sp>
        <p:nvSpPr>
          <p:cNvPr id="7" name="Rectangle 12"/>
          <p:cNvSpPr>
            <a:spLocks noChangeArrowheads="1"/>
          </p:cNvSpPr>
          <p:nvPr/>
        </p:nvSpPr>
        <p:spPr bwMode="auto">
          <a:xfrm>
            <a:off x="6677779" y="3138663"/>
            <a:ext cx="4030362" cy="2636815"/>
          </a:xfrm>
          <a:prstGeom prst="rect">
            <a:avLst/>
          </a:prstGeom>
          <a:noFill/>
          <a:ln w="9525">
            <a:noFill/>
            <a:miter lim="800000"/>
            <a:headEnd/>
            <a:tailEnd/>
          </a:ln>
        </p:spPr>
        <p:txBody>
          <a:bodyPr lIns="155390" tIns="194238" rIns="155390" bIns="38847" anchor="t"/>
          <a:lstStyle/>
          <a:p>
            <a:pPr defTabSz="932597">
              <a:spcBef>
                <a:spcPct val="75000"/>
              </a:spcBef>
              <a:spcAft>
                <a:spcPts val="1020"/>
              </a:spcAft>
              <a:buClr>
                <a:srgbClr val="002050"/>
              </a:buClr>
            </a:pPr>
            <a:r>
              <a:rPr lang="en-US" sz="2000" dirty="0">
                <a:solidFill>
                  <a:schemeClr val="accent1"/>
                </a:solidFill>
              </a:rPr>
              <a:t>Delivers a great user experience beyond corporate networks</a:t>
            </a:r>
          </a:p>
          <a:p>
            <a:pPr marL="0" lvl="1" defTabSz="932597">
              <a:lnSpc>
                <a:spcPct val="115000"/>
              </a:lnSpc>
              <a:spcAft>
                <a:spcPts val="306"/>
              </a:spcAft>
              <a:buClr>
                <a:srgbClr val="FFFFFF"/>
              </a:buClr>
            </a:pPr>
            <a:r>
              <a:rPr lang="en-US" sz="1600" dirty="0"/>
              <a:t>Branch offices</a:t>
            </a:r>
          </a:p>
          <a:p>
            <a:pPr marL="0" lvl="1" defTabSz="932597">
              <a:lnSpc>
                <a:spcPct val="115000"/>
              </a:lnSpc>
              <a:spcAft>
                <a:spcPts val="306"/>
              </a:spcAft>
              <a:buClr>
                <a:srgbClr val="FFFFFF"/>
              </a:buClr>
            </a:pPr>
            <a:r>
              <a:rPr lang="en-US" sz="1600" dirty="0"/>
              <a:t>Wireless devices</a:t>
            </a:r>
          </a:p>
          <a:p>
            <a:pPr marL="0" lvl="1" defTabSz="932597">
              <a:lnSpc>
                <a:spcPct val="115000"/>
              </a:lnSpc>
              <a:spcAft>
                <a:spcPts val="306"/>
              </a:spcAft>
              <a:buClr>
                <a:srgbClr val="FFFFFF"/>
              </a:buClr>
            </a:pPr>
            <a:r>
              <a:rPr lang="en-US" sz="1600" dirty="0"/>
              <a:t>Work-from-home offices</a:t>
            </a:r>
          </a:p>
          <a:p>
            <a:pPr marL="0" lvl="1" defTabSz="932597">
              <a:lnSpc>
                <a:spcPct val="115000"/>
              </a:lnSpc>
              <a:spcAft>
                <a:spcPts val="306"/>
              </a:spcAft>
              <a:buClr>
                <a:srgbClr val="FFFFFF"/>
              </a:buClr>
            </a:pPr>
            <a:r>
              <a:rPr lang="en-US" sz="1600" dirty="0"/>
              <a:t>Roaming users on 3G/4G networks</a:t>
            </a:r>
          </a:p>
        </p:txBody>
      </p:sp>
      <p:sp>
        <p:nvSpPr>
          <p:cNvPr id="9" name="Rectangle 12"/>
          <p:cNvSpPr>
            <a:spLocks noChangeArrowheads="1"/>
          </p:cNvSpPr>
          <p:nvPr/>
        </p:nvSpPr>
        <p:spPr bwMode="auto">
          <a:xfrm>
            <a:off x="5369469" y="1871398"/>
            <a:ext cx="1374985" cy="1473513"/>
          </a:xfrm>
          <a:prstGeom prst="rect">
            <a:avLst/>
          </a:prstGeom>
          <a:noFill/>
          <a:ln w="9525">
            <a:noFill/>
            <a:miter lim="800000"/>
            <a:headEnd/>
            <a:tailEnd/>
          </a:ln>
        </p:spPr>
        <p:txBody>
          <a:bodyPr lIns="155390" tIns="194238" rIns="155390" bIns="38847"/>
          <a:lstStyle/>
          <a:p>
            <a:pPr defTabSz="932597">
              <a:spcBef>
                <a:spcPct val="75000"/>
              </a:spcBef>
              <a:spcAft>
                <a:spcPts val="1020"/>
              </a:spcAft>
              <a:buClr>
                <a:srgbClr val="002050"/>
              </a:buClr>
            </a:pPr>
            <a:endParaRPr lang="en-US" sz="2448" dirty="0">
              <a:latin typeface="+mj-lt"/>
            </a:endParaRPr>
          </a:p>
        </p:txBody>
      </p:sp>
      <p:sp>
        <p:nvSpPr>
          <p:cNvPr id="10" name="Rectangle 12"/>
          <p:cNvSpPr>
            <a:spLocks noChangeArrowheads="1"/>
          </p:cNvSpPr>
          <p:nvPr/>
        </p:nvSpPr>
        <p:spPr bwMode="auto">
          <a:xfrm>
            <a:off x="5369469" y="3436759"/>
            <a:ext cx="1374985" cy="1473513"/>
          </a:xfrm>
          <a:prstGeom prst="rect">
            <a:avLst/>
          </a:prstGeom>
          <a:noFill/>
          <a:ln w="9525">
            <a:noFill/>
            <a:miter lim="800000"/>
            <a:headEnd/>
            <a:tailEnd/>
          </a:ln>
        </p:spPr>
        <p:txBody>
          <a:bodyPr lIns="155390" tIns="194238" rIns="155390" bIns="38847"/>
          <a:lstStyle/>
          <a:p>
            <a:pPr defTabSz="932597">
              <a:spcBef>
                <a:spcPct val="75000"/>
              </a:spcBef>
              <a:spcAft>
                <a:spcPts val="1020"/>
              </a:spcAft>
              <a:buClr>
                <a:srgbClr val="002050"/>
              </a:buClr>
            </a:pPr>
            <a:endParaRPr lang="en-US" sz="2448" dirty="0">
              <a:latin typeface="+mj-lt"/>
            </a:endParaRPr>
          </a:p>
        </p:txBody>
      </p:sp>
      <p:sp>
        <p:nvSpPr>
          <p:cNvPr id="13" name="Rectangle 12"/>
          <p:cNvSpPr>
            <a:spLocks noChangeArrowheads="1"/>
          </p:cNvSpPr>
          <p:nvPr/>
        </p:nvSpPr>
        <p:spPr bwMode="auto">
          <a:xfrm>
            <a:off x="4999037" y="2380446"/>
            <a:ext cx="2503363" cy="311480"/>
          </a:xfrm>
          <a:prstGeom prst="rect">
            <a:avLst/>
          </a:prstGeom>
          <a:noFill/>
          <a:ln w="9525">
            <a:noFill/>
            <a:miter lim="800000"/>
            <a:headEnd/>
            <a:tailEnd/>
          </a:ln>
        </p:spPr>
        <p:txBody>
          <a:bodyPr lIns="279781" tIns="0" rIns="373041" bIns="0" anchor="ctr"/>
          <a:lstStyle/>
          <a:p>
            <a:pPr algn="ctr" defTabSz="932597">
              <a:spcBef>
                <a:spcPct val="75000"/>
              </a:spcBef>
              <a:spcAft>
                <a:spcPts val="1020"/>
              </a:spcAft>
              <a:buClr>
                <a:srgbClr val="002050"/>
              </a:buClr>
            </a:pPr>
            <a:r>
              <a:rPr lang="en-US" sz="2400" b="1" dirty="0">
                <a:solidFill>
                  <a:schemeClr val="accent1"/>
                </a:solidFill>
              </a:rPr>
              <a:t>Benefits</a:t>
            </a:r>
          </a:p>
        </p:txBody>
      </p:sp>
      <p:pic>
        <p:nvPicPr>
          <p:cNvPr id="19" name="Picture 18" descr="Untitled-3.png"/>
          <p:cNvPicPr>
            <a:picLocks noChangeAspect="1"/>
          </p:cNvPicPr>
          <p:nvPr/>
        </p:nvPicPr>
        <p:blipFill rotWithShape="1">
          <a:blip r:embed="rId3">
            <a:extLst>
              <a:ext uri="{28A0092B-C50C-407E-A947-70E740481C1C}">
                <a14:useLocalDpi xmlns:a14="http://schemas.microsoft.com/office/drawing/2010/main"/>
              </a:ext>
            </a:extLst>
          </a:blip>
          <a:srcRect b="30933"/>
          <a:stretch/>
        </p:blipFill>
        <p:spPr>
          <a:xfrm>
            <a:off x="4348065" y="1304925"/>
            <a:ext cx="3843408" cy="1166014"/>
          </a:xfrm>
          <a:prstGeom prst="rect">
            <a:avLst/>
          </a:prstGeom>
        </p:spPr>
      </p:pic>
    </p:spTree>
    <p:extLst>
      <p:ext uri="{BB962C8B-B14F-4D97-AF65-F5344CB8AC3E}">
        <p14:creationId xmlns:p14="http://schemas.microsoft.com/office/powerpoint/2010/main" val="11985091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le 138241"/>
          <p:cNvSpPr>
            <a:spLocks noGrp="1" noChangeArrowheads="1"/>
          </p:cNvSpPr>
          <p:nvPr>
            <p:ph type="title"/>
          </p:nvPr>
        </p:nvSpPr>
        <p:spPr>
          <a:xfrm>
            <a:off x="255208" y="288453"/>
            <a:ext cx="11373923" cy="627864"/>
          </a:xfrm>
        </p:spPr>
        <p:txBody>
          <a:bodyPr/>
          <a:lstStyle/>
          <a:p>
            <a:r>
              <a:rPr lang="en-US" sz="3200" dirty="0"/>
              <a:t>Disclaimer</a:t>
            </a:r>
          </a:p>
        </p:txBody>
      </p:sp>
      <p:sp>
        <p:nvSpPr>
          <p:cNvPr id="5124" name="TextBox 138243"/>
          <p:cNvSpPr txBox="1">
            <a:spLocks noChangeArrowheads="1"/>
          </p:cNvSpPr>
          <p:nvPr/>
        </p:nvSpPr>
        <p:spPr bwMode="auto">
          <a:xfrm>
            <a:off x="359110" y="2044804"/>
            <a:ext cx="11481846" cy="2976199"/>
          </a:xfrm>
          <a:prstGeom prst="rect">
            <a:avLst/>
          </a:prstGeom>
          <a:noFill/>
          <a:ln w="9525" algn="ctr">
            <a:noFill/>
            <a:miter lim="800000"/>
            <a:headEnd/>
            <a:tailEnd/>
          </a:ln>
        </p:spPr>
        <p:txBody>
          <a:bodyPr wrap="square">
            <a:spAutoFit/>
          </a:bodyPr>
          <a:lstStyle/>
          <a:p>
            <a:pPr defTabSz="932597" eaLnBrk="0" hangingPunct="0">
              <a:buClr>
                <a:srgbClr val="00188F"/>
              </a:buClr>
            </a:pPr>
            <a:r>
              <a:rPr lang="en-US" sz="1224" b="1" i="1" dirty="0">
                <a:solidFill>
                  <a:srgbClr val="00188F"/>
                </a:solidFill>
              </a:rPr>
              <a:t>Disclaimer</a:t>
            </a:r>
          </a:p>
          <a:p>
            <a:pPr defTabSz="932597" eaLnBrk="0" hangingPunct="0">
              <a:buClr>
                <a:srgbClr val="00188F"/>
              </a:buClr>
            </a:pPr>
            <a:r>
              <a:rPr lang="en-US" sz="1224" i="1" dirty="0">
                <a:solidFill>
                  <a:srgbClr val="00188F"/>
                </a:solidFill>
              </a:rPr>
              <a:t>The following slides contain preliminary information that may be changed substantially prior to final commercial release of the software described herein.</a:t>
            </a:r>
            <a:br>
              <a:rPr lang="en-US" sz="1224" i="1" dirty="0">
                <a:solidFill>
                  <a:srgbClr val="00188F"/>
                </a:solidFill>
              </a:rPr>
            </a:br>
            <a:r>
              <a:rPr lang="en-US" sz="1224" i="1" dirty="0">
                <a:solidFill>
                  <a:srgbClr val="00188F"/>
                </a:solidFill>
              </a:rPr>
              <a:t/>
            </a:r>
            <a:br>
              <a:rPr lang="en-US" sz="1224" i="1" dirty="0">
                <a:solidFill>
                  <a:srgbClr val="00188F"/>
                </a:solidFill>
              </a:rPr>
            </a:br>
            <a:r>
              <a:rPr lang="en-US" sz="1224" i="1" dirty="0">
                <a:solidFill>
                  <a:srgbClr val="00188F"/>
                </a:solidFill>
              </a:rPr>
              <a:t>The information contained represents the current view of Microsoft Corporation on the issues discussed as of the date of the presentation.  Because Microsoft must respond to changing market conditions, it should not be interpreted to be a commitment on the part of Microsoft, and Microsoft cannot guarantee the accuracy of any information presented after the date of the presentation.</a:t>
            </a:r>
            <a:br>
              <a:rPr lang="en-US" sz="1224" i="1" dirty="0">
                <a:solidFill>
                  <a:srgbClr val="00188F"/>
                </a:solidFill>
              </a:rPr>
            </a:br>
            <a:r>
              <a:rPr lang="en-US" sz="1224" i="1" dirty="0">
                <a:solidFill>
                  <a:srgbClr val="00188F"/>
                </a:solidFill>
              </a:rPr>
              <a:t/>
            </a:r>
            <a:br>
              <a:rPr lang="en-US" sz="1224" i="1" dirty="0">
                <a:solidFill>
                  <a:srgbClr val="00188F"/>
                </a:solidFill>
              </a:rPr>
            </a:br>
            <a:r>
              <a:rPr lang="en-US" sz="1224" i="1" dirty="0">
                <a:solidFill>
                  <a:srgbClr val="00188F"/>
                </a:solidFill>
              </a:rPr>
              <a:t>This presentation is for informational purposes only.  MICROSOFT MAKES NO WARRANTIES, EXPRESS, IMPLIED OR STATUTORY, AS TO THE INFORMATION IN THE ROADMAP PORTION OF THIS PRESENTATION.</a:t>
            </a:r>
            <a:br>
              <a:rPr lang="en-US" sz="1224" i="1" dirty="0">
                <a:solidFill>
                  <a:srgbClr val="00188F"/>
                </a:solidFill>
              </a:rPr>
            </a:br>
            <a:r>
              <a:rPr lang="en-US" sz="1224" i="1" dirty="0">
                <a:solidFill>
                  <a:srgbClr val="00188F"/>
                </a:solidFill>
              </a:rPr>
              <a:t/>
            </a:r>
            <a:br>
              <a:rPr lang="en-US" sz="1224" i="1" dirty="0">
                <a:solidFill>
                  <a:srgbClr val="00188F"/>
                </a:solidFill>
              </a:rPr>
            </a:br>
            <a:r>
              <a:rPr lang="en-US" sz="1224" i="1" dirty="0">
                <a:solidFill>
                  <a:srgbClr val="00188F"/>
                </a:solidFill>
              </a:rPr>
              <a:t>Microsoft may have patents, patent applications, trademarks, copyrights, or other intellectual property rights covering subject matter in this presentation.  Except as expressly provided in any written license agreement from Microsoft, the furnishing of this information does not give you any license to these patents, trademarks, copyrights, or other intellectual property.</a:t>
            </a:r>
            <a:br>
              <a:rPr lang="en-US" sz="1224" i="1" dirty="0">
                <a:solidFill>
                  <a:srgbClr val="00188F"/>
                </a:solidFill>
              </a:rPr>
            </a:br>
            <a:r>
              <a:rPr lang="en-US" sz="1224" i="1" dirty="0">
                <a:solidFill>
                  <a:srgbClr val="00188F"/>
                </a:solidFill>
              </a:rPr>
              <a:t/>
            </a:r>
            <a:br>
              <a:rPr lang="en-US" sz="1224" i="1" dirty="0">
                <a:solidFill>
                  <a:srgbClr val="00188F"/>
                </a:solidFill>
              </a:rPr>
            </a:br>
            <a:r>
              <a:rPr lang="en-US" sz="1224" i="1" dirty="0">
                <a:solidFill>
                  <a:srgbClr val="00188F"/>
                </a:solidFill>
              </a:rPr>
              <a:t>© 2013 Microsoft Corporation.  All rights reserved.</a:t>
            </a:r>
          </a:p>
        </p:txBody>
      </p:sp>
    </p:spTree>
    <p:extLst>
      <p:ext uri="{BB962C8B-B14F-4D97-AF65-F5344CB8AC3E}">
        <p14:creationId xmlns:p14="http://schemas.microsoft.com/office/powerpoint/2010/main" val="400753787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581" y="303805"/>
            <a:ext cx="11375536" cy="738664"/>
          </a:xfrm>
        </p:spPr>
        <p:txBody>
          <a:bodyPr/>
          <a:lstStyle/>
          <a:p>
            <a:r>
              <a:rPr lang="en-US" dirty="0" smtClean="0"/>
              <a:t>RemoteFX Media Streaming</a:t>
            </a:r>
            <a:endParaRPr lang="en-US" dirty="0"/>
          </a:p>
        </p:txBody>
      </p:sp>
      <p:sp>
        <p:nvSpPr>
          <p:cNvPr id="25" name="Rectangle 24"/>
          <p:cNvSpPr/>
          <p:nvPr/>
        </p:nvSpPr>
        <p:spPr bwMode="auto">
          <a:xfrm>
            <a:off x="7668565" y="3311096"/>
            <a:ext cx="3828092" cy="11340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600" tIns="0" rIns="155140" bIns="186235" numCol="1" spcCol="0" rtlCol="0" fromWordArt="0" anchor="b" anchorCtr="0" forceAA="0" compatLnSpc="1">
            <a:prstTxWarp prst="textNoShape">
              <a:avLst/>
            </a:prstTxWarp>
            <a:noAutofit/>
          </a:bodyPr>
          <a:lstStyle/>
          <a:p>
            <a:pPr defTabSz="931077"/>
            <a:r>
              <a:rPr lang="en-US" sz="2000" dirty="0">
                <a:solidFill>
                  <a:schemeClr val="tx1"/>
                </a:solidFill>
              </a:rPr>
              <a:t>Uses dynamic codecs that have low bit rates for audio and video</a:t>
            </a:r>
          </a:p>
        </p:txBody>
      </p:sp>
      <p:sp>
        <p:nvSpPr>
          <p:cNvPr id="26" name="Rectangle 25"/>
          <p:cNvSpPr/>
          <p:nvPr/>
        </p:nvSpPr>
        <p:spPr bwMode="auto">
          <a:xfrm>
            <a:off x="7661246" y="1313398"/>
            <a:ext cx="3860811" cy="8646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600" tIns="0" rIns="155140" bIns="186235" numCol="1" spcCol="0" rtlCol="0" fromWordArt="0" anchor="b" anchorCtr="0" forceAA="0" compatLnSpc="1">
            <a:prstTxWarp prst="textNoShape">
              <a:avLst/>
            </a:prstTxWarp>
            <a:noAutofit/>
          </a:bodyPr>
          <a:lstStyle/>
          <a:p>
            <a:pPr defTabSz="931077"/>
            <a:r>
              <a:rPr lang="en-US" sz="2000" dirty="0">
                <a:solidFill>
                  <a:schemeClr val="tx1"/>
                </a:solidFill>
              </a:rPr>
              <a:t>Supports redirection of Windows Media</a:t>
            </a:r>
          </a:p>
        </p:txBody>
      </p:sp>
      <p:sp>
        <p:nvSpPr>
          <p:cNvPr id="27" name="Rectangle 26"/>
          <p:cNvSpPr/>
          <p:nvPr/>
        </p:nvSpPr>
        <p:spPr bwMode="auto">
          <a:xfrm>
            <a:off x="7661245" y="2286536"/>
            <a:ext cx="3824975" cy="9144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600" tIns="0" rIns="155140" bIns="186235" numCol="1" spcCol="0" rtlCol="0" fromWordArt="0" anchor="b" anchorCtr="0" forceAA="0" compatLnSpc="1">
            <a:prstTxWarp prst="textNoShape">
              <a:avLst/>
            </a:prstTxWarp>
            <a:noAutofit/>
          </a:bodyPr>
          <a:lstStyle/>
          <a:p>
            <a:r>
              <a:rPr lang="en-US" sz="2000" dirty="0">
                <a:solidFill>
                  <a:schemeClr val="tx1"/>
                </a:solidFill>
              </a:rPr>
              <a:t>Decreases bandwidth consumption as much as 90%</a:t>
            </a:r>
          </a:p>
        </p:txBody>
      </p:sp>
      <p:grpSp>
        <p:nvGrpSpPr>
          <p:cNvPr id="3" name="Group 2"/>
          <p:cNvGrpSpPr/>
          <p:nvPr/>
        </p:nvGrpSpPr>
        <p:grpSpPr>
          <a:xfrm>
            <a:off x="7651192" y="4536415"/>
            <a:ext cx="3955535" cy="1770384"/>
            <a:chOff x="8023740" y="3658998"/>
            <a:chExt cx="3955535" cy="1770384"/>
          </a:xfrm>
        </p:grpSpPr>
        <p:sp>
          <p:nvSpPr>
            <p:cNvPr id="10" name="Rectangle 9"/>
            <p:cNvSpPr/>
            <p:nvPr/>
          </p:nvSpPr>
          <p:spPr bwMode="auto">
            <a:xfrm>
              <a:off x="8023740" y="4543258"/>
              <a:ext cx="3955535" cy="8861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600" tIns="0" rIns="155140" bIns="186235" numCol="1" spcCol="0" rtlCol="0" fromWordArt="0" anchor="b" anchorCtr="0" forceAA="0" compatLnSpc="1">
              <a:prstTxWarp prst="textNoShape">
                <a:avLst/>
              </a:prstTxWarp>
              <a:noAutofit/>
            </a:bodyPr>
            <a:lstStyle/>
            <a:p>
              <a:r>
                <a:rPr lang="en-US" sz="2000" dirty="0">
                  <a:solidFill>
                    <a:schemeClr val="tx1"/>
                  </a:solidFill>
                </a:rPr>
                <a:t>Provides server-side video detection for </a:t>
              </a:r>
              <a:r>
                <a:rPr lang="en-US" sz="2000" dirty="0" smtClean="0">
                  <a:solidFill>
                    <a:schemeClr val="tx1"/>
                  </a:solidFill>
                </a:rPr>
                <a:t>other </a:t>
              </a:r>
              <a:r>
                <a:rPr lang="en-US" sz="2000" dirty="0">
                  <a:solidFill>
                    <a:schemeClr val="tx1"/>
                  </a:solidFill>
                </a:rPr>
                <a:t>media types</a:t>
              </a:r>
            </a:p>
          </p:txBody>
        </p:sp>
        <p:pic>
          <p:nvPicPr>
            <p:cNvPr id="24" name="Picture 23"/>
            <p:cNvPicPr>
              <a:picLocks noChangeAspect="1"/>
            </p:cNvPicPr>
            <p:nvPr/>
          </p:nvPicPr>
          <p:blipFill>
            <a:blip r:embed="rId3" cstate="print">
              <a:duotone>
                <a:prstClr val="black"/>
                <a:schemeClr val="accent5">
                  <a:tint val="45000"/>
                  <a:satMod val="400000"/>
                </a:schemeClr>
              </a:duotone>
              <a:extLst>
                <a:ext uri="{BEBA8EAE-BF5A-486C-A8C5-ECC9F3942E4B}">
                  <a14:imgProps xmlns:a14="http://schemas.microsoft.com/office/drawing/2010/main">
                    <a14:imgLayer r:embed="rId4">
                      <a14:imgEffect>
                        <a14:colorTemperature colorTemp="6250"/>
                      </a14:imgEffect>
                      <a14:imgEffect>
                        <a14:saturation sat="0"/>
                      </a14:imgEffect>
                      <a14:imgEffect>
                        <a14:brightnessContrast bright="100000"/>
                      </a14:imgEffect>
                    </a14:imgLayer>
                  </a14:imgProps>
                </a:ext>
                <a:ext uri="{28A0092B-C50C-407E-A947-70E740481C1C}">
                  <a14:useLocalDpi xmlns:a14="http://schemas.microsoft.com/office/drawing/2010/main"/>
                </a:ext>
              </a:extLst>
            </a:blip>
            <a:stretch>
              <a:fillRect/>
            </a:stretch>
          </p:blipFill>
          <p:spPr>
            <a:xfrm>
              <a:off x="10106193" y="3672308"/>
              <a:ext cx="652986" cy="782122"/>
            </a:xfrm>
            <a:prstGeom prst="rect">
              <a:avLst/>
            </a:prstGeom>
            <a:noFill/>
          </p:spPr>
        </p:pic>
        <p:pic>
          <p:nvPicPr>
            <p:cNvPr id="29" name="Picture 28" descr="189258294686187446.png"/>
            <p:cNvPicPr>
              <a:picLocks noChangeAspect="1"/>
            </p:cNvPicPr>
            <p:nvPr/>
          </p:nvPicPr>
          <p:blipFill>
            <a:blip r:embed="rId5" cstate="print">
              <a:duotone>
                <a:schemeClr val="accent3">
                  <a:shade val="45000"/>
                  <a:satMod val="135000"/>
                </a:schemeClr>
                <a:prstClr val="white"/>
              </a:duotone>
              <a:extLst>
                <a:ext uri="{BEBA8EAE-BF5A-486C-A8C5-ECC9F3942E4B}">
                  <a14:imgProps xmlns:a14="http://schemas.microsoft.com/office/drawing/2010/main">
                    <a14:imgLayer r:embed="rId6">
                      <a14:imgEffect>
                        <a14:colorTemperature colorTemp="10000"/>
                      </a14:imgEffect>
                      <a14:imgEffect>
                        <a14:saturation sat="400000"/>
                      </a14:imgEffect>
                      <a14:imgEffect>
                        <a14:brightnessContrast bright="-88000" contrast="18000"/>
                      </a14:imgEffect>
                    </a14:imgLayer>
                  </a14:imgProps>
                </a:ext>
                <a:ext uri="{28A0092B-C50C-407E-A947-70E740481C1C}">
                  <a14:useLocalDpi xmlns:a14="http://schemas.microsoft.com/office/drawing/2010/main"/>
                </a:ext>
              </a:extLst>
            </a:blip>
            <a:stretch>
              <a:fillRect/>
            </a:stretch>
          </p:blipFill>
          <p:spPr>
            <a:xfrm>
              <a:off x="10885219" y="3692617"/>
              <a:ext cx="788390" cy="788390"/>
            </a:xfrm>
            <a:prstGeom prst="rect">
              <a:avLst/>
            </a:prstGeom>
          </p:spPr>
        </p:pic>
        <p:pic>
          <p:nvPicPr>
            <p:cNvPr id="7" name="Picture 6"/>
            <p:cNvPicPr>
              <a:picLocks noChangeAspect="1"/>
            </p:cNvPicPr>
            <p:nvPr/>
          </p:nvPicPr>
          <p:blipFill>
            <a:blip r:embed="rId7" cstate="print">
              <a:duotone>
                <a:schemeClr val="accent4">
                  <a:shade val="45000"/>
                  <a:satMod val="135000"/>
                </a:schemeClr>
                <a:prstClr val="white"/>
              </a:duotone>
              <a:extLst>
                <a:ext uri="{BEBA8EAE-BF5A-486C-A8C5-ECC9F3942E4B}">
                  <a14:imgProps xmlns:a14="http://schemas.microsoft.com/office/drawing/2010/main">
                    <a14:imgLayer r:embed="rId8">
                      <a14:imgEffect>
                        <a14:brightnessContrast bright="-99000"/>
                      </a14:imgEffect>
                    </a14:imgLayer>
                  </a14:imgProps>
                </a:ext>
                <a:ext uri="{28A0092B-C50C-407E-A947-70E740481C1C}">
                  <a14:useLocalDpi xmlns:a14="http://schemas.microsoft.com/office/drawing/2010/main"/>
                </a:ext>
              </a:extLst>
            </a:blip>
            <a:stretch>
              <a:fillRect/>
            </a:stretch>
          </p:blipFill>
          <p:spPr>
            <a:xfrm>
              <a:off x="8184828" y="3658998"/>
              <a:ext cx="874597" cy="874597"/>
            </a:xfrm>
            <a:prstGeom prst="rect">
              <a:avLst/>
            </a:prstGeom>
          </p:spPr>
        </p:pic>
        <p:pic>
          <p:nvPicPr>
            <p:cNvPr id="30" name="Picture 29"/>
            <p:cNvPicPr>
              <a:picLocks noChangeAspect="1"/>
            </p:cNvPicPr>
            <p:nvPr/>
          </p:nvPicPr>
          <p:blipFill>
            <a:blip r:embed="rId9">
              <a:duotone>
                <a:schemeClr val="accent4">
                  <a:shade val="45000"/>
                  <a:satMod val="135000"/>
                </a:schemeClr>
                <a:prstClr val="white"/>
              </a:duotone>
              <a:extLst>
                <a:ext uri="{BEBA8EAE-BF5A-486C-A8C5-ECC9F3942E4B}">
                  <a14:imgProps xmlns:a14="http://schemas.microsoft.com/office/drawing/2010/main">
                    <a14:imgLayer r:embed="rId10">
                      <a14:imgEffect>
                        <a14:brightnessContrast bright="-50000"/>
                      </a14:imgEffect>
                    </a14:imgLayer>
                  </a14:imgProps>
                </a:ext>
                <a:ext uri="{28A0092B-C50C-407E-A947-70E740481C1C}">
                  <a14:useLocalDpi xmlns:a14="http://schemas.microsoft.com/office/drawing/2010/main"/>
                </a:ext>
              </a:extLst>
            </a:blip>
            <a:stretch>
              <a:fillRect/>
            </a:stretch>
          </p:blipFill>
          <p:spPr>
            <a:xfrm>
              <a:off x="9185058" y="3716211"/>
              <a:ext cx="826029" cy="826029"/>
            </a:xfrm>
            <a:prstGeom prst="rect">
              <a:avLst/>
            </a:prstGeom>
          </p:spPr>
        </p:pic>
      </p:grpSp>
      <p:grpSp>
        <p:nvGrpSpPr>
          <p:cNvPr id="9" name="Group 8"/>
          <p:cNvGrpSpPr/>
          <p:nvPr/>
        </p:nvGrpSpPr>
        <p:grpSpPr>
          <a:xfrm>
            <a:off x="858652" y="2968862"/>
            <a:ext cx="3710144" cy="1524847"/>
            <a:chOff x="4191750" y="4029552"/>
            <a:chExt cx="3172445" cy="1303856"/>
          </a:xfrm>
        </p:grpSpPr>
        <p:sp>
          <p:nvSpPr>
            <p:cNvPr id="8" name="TextBox 7"/>
            <p:cNvSpPr txBox="1"/>
            <p:nvPr/>
          </p:nvSpPr>
          <p:spPr>
            <a:xfrm>
              <a:off x="4191750" y="4841671"/>
              <a:ext cx="3172445" cy="491737"/>
            </a:xfrm>
            <a:prstGeom prst="rect">
              <a:avLst/>
            </a:prstGeom>
            <a:noFill/>
          </p:spPr>
          <p:txBody>
            <a:bodyPr wrap="square" lIns="147600" tIns="147600" rIns="147600" bIns="147600" rtlCol="0">
              <a:spAutoFit/>
            </a:bodyPr>
            <a:lstStyle/>
            <a:p>
              <a:pPr algn="ctr">
                <a:lnSpc>
                  <a:spcPct val="90000"/>
                </a:lnSpc>
              </a:pPr>
              <a:r>
                <a:rPr lang="en-GB" sz="2000" b="1" dirty="0" smtClean="0">
                  <a:solidFill>
                    <a:schemeClr val="accent1"/>
                  </a:solidFill>
                </a:rPr>
                <a:t>Media Streaming</a:t>
              </a:r>
            </a:p>
          </p:txBody>
        </p:sp>
        <p:pic>
          <p:nvPicPr>
            <p:cNvPr id="16" name="Picture 15" descr="Untitled-3.png"/>
            <p:cNvPicPr>
              <a:picLocks noChangeAspect="1"/>
            </p:cNvPicPr>
            <p:nvPr/>
          </p:nvPicPr>
          <p:blipFill rotWithShape="1">
            <a:blip r:embed="rId11">
              <a:extLst>
                <a:ext uri="{28A0092B-C50C-407E-A947-70E740481C1C}">
                  <a14:useLocalDpi xmlns:a14="http://schemas.microsoft.com/office/drawing/2010/main"/>
                </a:ext>
              </a:extLst>
            </a:blip>
            <a:srcRect b="30933"/>
            <a:stretch/>
          </p:blipFill>
          <p:spPr>
            <a:xfrm>
              <a:off x="4191750" y="4029552"/>
              <a:ext cx="3172444" cy="962457"/>
            </a:xfrm>
            <a:prstGeom prst="rect">
              <a:avLst/>
            </a:prstGeom>
          </p:spPr>
        </p:pic>
      </p:grpSp>
      <p:cxnSp>
        <p:nvCxnSpPr>
          <p:cNvPr id="17" name="Straight Arrow Connector 16"/>
          <p:cNvCxnSpPr/>
          <p:nvPr/>
        </p:nvCxnSpPr>
        <p:spPr>
          <a:xfrm>
            <a:off x="7015145" y="1651409"/>
            <a:ext cx="462612" cy="0"/>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7019262" y="2661020"/>
            <a:ext cx="468958" cy="0"/>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7029584" y="3682627"/>
            <a:ext cx="458636" cy="1431"/>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7029584" y="5510813"/>
            <a:ext cx="448173" cy="3110"/>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7019262" y="1651409"/>
            <a:ext cx="0" cy="3860959"/>
          </a:xfrm>
          <a:prstGeom prst="straightConnector1">
            <a:avLst/>
          </a:prstGeom>
          <a:ln w="19050" cap="rnd">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4758249" y="3682627"/>
            <a:ext cx="2256896" cy="0"/>
          </a:xfrm>
          <a:prstGeom prst="straightConnector1">
            <a:avLst/>
          </a:prstGeom>
          <a:ln w="19050" cap="rnd">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64455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p:cNvSpPr txBox="1"/>
          <p:nvPr/>
        </p:nvSpPr>
        <p:spPr>
          <a:xfrm>
            <a:off x="6313488" y="5367842"/>
            <a:ext cx="5486400" cy="737676"/>
          </a:xfrm>
          <a:prstGeom prst="rect">
            <a:avLst/>
          </a:prstGeom>
          <a:noFill/>
        </p:spPr>
        <p:txBody>
          <a:bodyPr wrap="square" lIns="147600" tIns="147600" rIns="147600" bIns="147600" rtlCol="0">
            <a:noAutofit/>
          </a:bodyPr>
          <a:lstStyle/>
          <a:p>
            <a:pPr defTabSz="931077">
              <a:lnSpc>
                <a:spcPct val="90000"/>
              </a:lnSpc>
            </a:pPr>
            <a:r>
              <a:rPr lang="en-US" sz="2000" dirty="0" err="1">
                <a:solidFill>
                  <a:srgbClr val="282828"/>
                </a:solidFill>
              </a:rPr>
              <a:t>RemoteFX</a:t>
            </a:r>
            <a:r>
              <a:rPr lang="en-US" sz="2000" dirty="0">
                <a:solidFill>
                  <a:srgbClr val="282828"/>
                </a:solidFill>
              </a:rPr>
              <a:t> </a:t>
            </a:r>
            <a:r>
              <a:rPr lang="en-US" sz="2000" dirty="0" smtClean="0">
                <a:solidFill>
                  <a:srgbClr val="282828"/>
                </a:solidFill>
              </a:rPr>
              <a:t>USB Device </a:t>
            </a:r>
            <a:r>
              <a:rPr lang="en-US" sz="2000" dirty="0">
                <a:solidFill>
                  <a:srgbClr val="282828"/>
                </a:solidFill>
              </a:rPr>
              <a:t>Redirection</a:t>
            </a:r>
          </a:p>
        </p:txBody>
      </p:sp>
      <p:sp>
        <p:nvSpPr>
          <p:cNvPr id="3" name="Title 2"/>
          <p:cNvSpPr>
            <a:spLocks noGrp="1"/>
          </p:cNvSpPr>
          <p:nvPr>
            <p:ph type="title"/>
          </p:nvPr>
        </p:nvSpPr>
        <p:spPr>
          <a:xfrm>
            <a:off x="259580" y="303805"/>
            <a:ext cx="11902257" cy="738664"/>
          </a:xfrm>
        </p:spPr>
        <p:txBody>
          <a:bodyPr/>
          <a:lstStyle/>
          <a:p>
            <a:r>
              <a:rPr lang="en-US" dirty="0" smtClean="0"/>
              <a:t>RemoteFX USB device redirection</a:t>
            </a:r>
            <a:endParaRPr lang="en-US" dirty="0"/>
          </a:p>
        </p:txBody>
      </p:sp>
      <p:sp>
        <p:nvSpPr>
          <p:cNvPr id="24" name="Rounded Rectangle 23"/>
          <p:cNvSpPr/>
          <p:nvPr/>
        </p:nvSpPr>
        <p:spPr bwMode="auto">
          <a:xfrm>
            <a:off x="6313488" y="4667123"/>
            <a:ext cx="5514967" cy="497525"/>
          </a:xfrm>
          <a:prstGeom prst="roundRect">
            <a:avLst>
              <a:gd name="adj" fmla="val 0"/>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7600" tIns="147600" rIns="147600" bIns="147600" numCol="1" rtlCol="0" anchor="t" anchorCtr="0" compatLnSpc="1">
            <a:prstTxWarp prst="textNoShape">
              <a:avLst/>
            </a:prstTxWarp>
          </a:bodyPr>
          <a:lstStyle/>
          <a:p>
            <a:pPr defTabSz="931077">
              <a:lnSpc>
                <a:spcPct val="90000"/>
              </a:lnSpc>
            </a:pPr>
            <a:r>
              <a:rPr lang="en-US" sz="2000" dirty="0">
                <a:solidFill>
                  <a:schemeClr val="tx1"/>
                </a:solidFill>
              </a:rPr>
              <a:t>Isochronous transfer</a:t>
            </a:r>
          </a:p>
        </p:txBody>
      </p:sp>
      <p:sp>
        <p:nvSpPr>
          <p:cNvPr id="6" name="Rectangle 5"/>
          <p:cNvSpPr/>
          <p:nvPr/>
        </p:nvSpPr>
        <p:spPr>
          <a:xfrm>
            <a:off x="6313488" y="3548386"/>
            <a:ext cx="5486400" cy="1129080"/>
          </a:xfrm>
          <a:prstGeom prst="rect">
            <a:avLst/>
          </a:prstGeom>
        </p:spPr>
        <p:txBody>
          <a:bodyPr wrap="square" lIns="147600" tIns="147600" rIns="147600" bIns="147600">
            <a:spAutoFit/>
          </a:bodyPr>
          <a:lstStyle/>
          <a:p>
            <a:pPr marL="0" lvl="1" defTabSz="471596">
              <a:lnSpc>
                <a:spcPct val="90000"/>
              </a:lnSpc>
              <a:spcBef>
                <a:spcPts val="612"/>
              </a:spcBef>
              <a:spcAft>
                <a:spcPts val="612"/>
              </a:spcAft>
            </a:pPr>
            <a:r>
              <a:rPr lang="en-US" sz="2000" dirty="0" smtClean="0">
                <a:cs typeface="Segoe UI" pitchFamily="34" charset="0"/>
              </a:rPr>
              <a:t>Uses </a:t>
            </a:r>
            <a:r>
              <a:rPr lang="en-US" sz="2000" dirty="0">
                <a:cs typeface="Segoe UI" pitchFamily="34" charset="0"/>
              </a:rPr>
              <a:t>a wide variety of USB peripherals, including those requiring isochronous transfers</a:t>
            </a:r>
          </a:p>
        </p:txBody>
      </p:sp>
      <p:grpSp>
        <p:nvGrpSpPr>
          <p:cNvPr id="19" name="Group 18"/>
          <p:cNvGrpSpPr/>
          <p:nvPr/>
        </p:nvGrpSpPr>
        <p:grpSpPr>
          <a:xfrm>
            <a:off x="457200" y="3040143"/>
            <a:ext cx="3710144" cy="1341442"/>
            <a:chOff x="906213" y="2955473"/>
            <a:chExt cx="3710144" cy="1341442"/>
          </a:xfrm>
        </p:grpSpPr>
        <p:pic>
          <p:nvPicPr>
            <p:cNvPr id="37" name="Picture 36" descr="Untitled-3.png"/>
            <p:cNvPicPr>
              <a:picLocks noChangeAspect="1"/>
            </p:cNvPicPr>
            <p:nvPr/>
          </p:nvPicPr>
          <p:blipFill rotWithShape="1">
            <a:blip r:embed="rId3">
              <a:extLst>
                <a:ext uri="{28A0092B-C50C-407E-A947-70E740481C1C}">
                  <a14:useLocalDpi xmlns:a14="http://schemas.microsoft.com/office/drawing/2010/main"/>
                </a:ext>
              </a:extLst>
            </a:blip>
            <a:srcRect b="30933"/>
            <a:stretch/>
          </p:blipFill>
          <p:spPr>
            <a:xfrm>
              <a:off x="906214" y="2955473"/>
              <a:ext cx="3710143" cy="1125584"/>
            </a:xfrm>
            <a:prstGeom prst="rect">
              <a:avLst/>
            </a:prstGeom>
          </p:spPr>
        </p:pic>
        <p:sp>
          <p:nvSpPr>
            <p:cNvPr id="7" name="TextBox 6"/>
            <p:cNvSpPr txBox="1"/>
            <p:nvPr/>
          </p:nvSpPr>
          <p:spPr>
            <a:xfrm>
              <a:off x="906213" y="4019916"/>
              <a:ext cx="3710143" cy="276999"/>
            </a:xfrm>
            <a:prstGeom prst="rect">
              <a:avLst/>
            </a:prstGeom>
            <a:noFill/>
          </p:spPr>
          <p:txBody>
            <a:bodyPr wrap="square" lIns="147600" tIns="0" rIns="0" bIns="0" rtlCol="0">
              <a:spAutoFit/>
            </a:bodyPr>
            <a:lstStyle/>
            <a:p>
              <a:pPr algn="ctr">
                <a:lnSpc>
                  <a:spcPct val="90000"/>
                </a:lnSpc>
              </a:pPr>
              <a:r>
                <a:rPr lang="en-GB" sz="2000" b="1" dirty="0" smtClean="0">
                  <a:solidFill>
                    <a:schemeClr val="accent1"/>
                  </a:solidFill>
                </a:rPr>
                <a:t>USB Device Redirection</a:t>
              </a:r>
            </a:p>
          </p:txBody>
        </p:sp>
      </p:grpSp>
      <p:sp>
        <p:nvSpPr>
          <p:cNvPr id="8" name="Rectangle 7"/>
          <p:cNvSpPr/>
          <p:nvPr/>
        </p:nvSpPr>
        <p:spPr>
          <a:xfrm>
            <a:off x="6307644" y="1379835"/>
            <a:ext cx="5489078" cy="1433221"/>
          </a:xfrm>
          <a:prstGeom prst="rect">
            <a:avLst/>
          </a:prstGeom>
        </p:spPr>
        <p:txBody>
          <a:bodyPr wrap="square" lIns="147600" tIns="147600" rIns="147600" bIns="147600">
            <a:spAutoFit/>
          </a:bodyPr>
          <a:lstStyle/>
          <a:p>
            <a:pPr marL="0" lvl="1" defTabSz="471596">
              <a:lnSpc>
                <a:spcPct val="90000"/>
              </a:lnSpc>
              <a:spcBef>
                <a:spcPts val="612"/>
              </a:spcBef>
              <a:spcAft>
                <a:spcPts val="612"/>
              </a:spcAft>
            </a:pPr>
            <a:r>
              <a:rPr lang="en-US" sz="2000" dirty="0">
                <a:cs typeface="Segoe UI" pitchFamily="34" charset="0"/>
              </a:rPr>
              <a:t>Can be used with all scenarios</a:t>
            </a:r>
          </a:p>
          <a:p>
            <a:pPr marL="176481" lvl="2" defTabSz="471596">
              <a:lnSpc>
                <a:spcPct val="90000"/>
              </a:lnSpc>
              <a:spcBef>
                <a:spcPts val="612"/>
              </a:spcBef>
              <a:spcAft>
                <a:spcPts val="612"/>
              </a:spcAft>
            </a:pPr>
            <a:r>
              <a:rPr lang="en-US" sz="2000" dirty="0">
                <a:cs typeface="Segoe UI" pitchFamily="34" charset="0"/>
              </a:rPr>
              <a:t>Physical, virtual, or session desktop</a:t>
            </a:r>
          </a:p>
          <a:p>
            <a:pPr marL="176481" lvl="2" defTabSz="471596">
              <a:lnSpc>
                <a:spcPct val="90000"/>
              </a:lnSpc>
              <a:spcBef>
                <a:spcPts val="612"/>
              </a:spcBef>
              <a:spcAft>
                <a:spcPts val="612"/>
              </a:spcAft>
            </a:pPr>
            <a:r>
              <a:rPr lang="en-US" sz="2000" dirty="0">
                <a:cs typeface="Segoe UI" pitchFamily="34" charset="0"/>
              </a:rPr>
              <a:t>No GPU needed</a:t>
            </a:r>
          </a:p>
        </p:txBody>
      </p:sp>
      <p:sp>
        <p:nvSpPr>
          <p:cNvPr id="9" name="Rectangle 8"/>
          <p:cNvSpPr/>
          <p:nvPr/>
        </p:nvSpPr>
        <p:spPr>
          <a:xfrm>
            <a:off x="6310322" y="2865979"/>
            <a:ext cx="5486400" cy="571447"/>
          </a:xfrm>
          <a:prstGeom prst="rect">
            <a:avLst/>
          </a:prstGeom>
        </p:spPr>
        <p:txBody>
          <a:bodyPr wrap="square" lIns="147600" tIns="147600" rIns="147600" bIns="147600">
            <a:spAutoFit/>
          </a:bodyPr>
          <a:lstStyle/>
          <a:p>
            <a:pPr marL="0" lvl="1" defTabSz="471596">
              <a:lnSpc>
                <a:spcPct val="90000"/>
              </a:lnSpc>
              <a:spcBef>
                <a:spcPts val="612"/>
              </a:spcBef>
              <a:spcAft>
                <a:spcPts val="612"/>
              </a:spcAft>
            </a:pPr>
            <a:r>
              <a:rPr lang="en-US" sz="2000" dirty="0">
                <a:cs typeface="Segoe UI" pitchFamily="34" charset="0"/>
              </a:rPr>
              <a:t>Isolates devices to the user’s session</a:t>
            </a:r>
          </a:p>
        </p:txBody>
      </p:sp>
      <p:cxnSp>
        <p:nvCxnSpPr>
          <p:cNvPr id="45" name="Straight Arrow Connector 44"/>
          <p:cNvCxnSpPr/>
          <p:nvPr/>
        </p:nvCxnSpPr>
        <p:spPr>
          <a:xfrm>
            <a:off x="5269433" y="1668445"/>
            <a:ext cx="671785" cy="0"/>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273550" y="3152245"/>
            <a:ext cx="693069" cy="0"/>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V="1">
            <a:off x="5283872" y="3834562"/>
            <a:ext cx="682747" cy="1"/>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283872" y="4965270"/>
            <a:ext cx="682747" cy="0"/>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5273550" y="1668445"/>
            <a:ext cx="0" cy="3975330"/>
          </a:xfrm>
          <a:prstGeom prst="straightConnector1">
            <a:avLst/>
          </a:prstGeom>
          <a:ln w="19050" cap="rnd">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4221947" y="3835033"/>
            <a:ext cx="1039019" cy="0"/>
          </a:xfrm>
          <a:prstGeom prst="straightConnector1">
            <a:avLst/>
          </a:prstGeom>
          <a:ln w="19050" cap="rnd">
            <a:solidFill>
              <a:srgbClr val="0070C0"/>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5283872" y="5643775"/>
            <a:ext cx="682747" cy="0"/>
          </a:xfrm>
          <a:prstGeom prst="straightConnector1">
            <a:avLst/>
          </a:prstGeom>
          <a:ln w="19050"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799836"/>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494406450"/>
              </p:ext>
            </p:extLst>
          </p:nvPr>
        </p:nvGraphicFramePr>
        <p:xfrm>
          <a:off x="531999" y="1395046"/>
          <a:ext cx="11418461" cy="5010916"/>
        </p:xfrm>
        <a:graphic>
          <a:graphicData uri="http://schemas.openxmlformats.org/drawingml/2006/table">
            <a:tbl>
              <a:tblPr firstRow="1" bandRow="1">
                <a:tableStyleId>{2D5ABB26-0587-4C30-8999-92F81FD0307C}</a:tableStyleId>
              </a:tblPr>
              <a:tblGrid>
                <a:gridCol w="3541266"/>
                <a:gridCol w="7877195"/>
              </a:tblGrid>
              <a:tr h="2391508">
                <a:tc>
                  <a:txBody>
                    <a:bodyPr/>
                    <a:lstStyle/>
                    <a:p>
                      <a:pPr marL="0" marR="0" lvl="0" indent="0" algn="l" defTabSz="1088456" rtl="0" eaLnBrk="0" fontAlgn="base" latinLnBrk="0" hangingPunct="0">
                        <a:lnSpc>
                          <a:spcPct val="100000"/>
                        </a:lnSpc>
                        <a:spcBef>
                          <a:spcPct val="20000"/>
                        </a:spcBef>
                        <a:spcAft>
                          <a:spcPts val="0"/>
                        </a:spcAft>
                        <a:buClrTx/>
                        <a:buSzTx/>
                        <a:buFontTx/>
                        <a:buNone/>
                        <a:tabLst/>
                        <a:defRPr/>
                      </a:pPr>
                      <a:r>
                        <a:rPr kumimoji="0" lang="en-US" sz="2400" b="0" i="0" u="none" strike="noStrike" kern="1200" cap="none" spc="0" normalizeH="0" baseline="0" noProof="0" dirty="0" smtClean="0">
                          <a:ln>
                            <a:noFill/>
                          </a:ln>
                          <a:solidFill>
                            <a:srgbClr val="00188F"/>
                          </a:solidFill>
                          <a:effectLst/>
                          <a:uLnTx/>
                          <a:uFillTx/>
                          <a:latin typeface="+mn-lt"/>
                          <a:ea typeface="+mn-ea"/>
                          <a:cs typeface="Arial" pitchFamily="34" charset="0"/>
                        </a:rPr>
                        <a:t>CPU-emulated DirectX 11.1 software GPU</a:t>
                      </a:r>
                    </a:p>
                  </a:txBody>
                  <a:tcPr marL="93260" marR="93260" marT="46630" marB="46630" anchor="ctr">
                    <a:lnB w="6350" cap="flat" cmpd="sng" algn="ctr">
                      <a:solidFill>
                        <a:srgbClr val="969696"/>
                      </a:solidFill>
                      <a:prstDash val="solid"/>
                      <a:round/>
                      <a:headEnd type="none" w="med" len="med"/>
                      <a:tailEnd type="none" w="med" len="med"/>
                    </a:lnB>
                  </a:tcPr>
                </a:tc>
                <a:tc>
                  <a:txBody>
                    <a:bodyPr/>
                    <a:lstStyle/>
                    <a:p>
                      <a:pPr marL="0" marR="0" lvl="0" indent="0" algn="l" defTabSz="816401" rtl="0" eaLnBrk="1" fontAlgn="base" latinLnBrk="0" hangingPunct="1">
                        <a:lnSpc>
                          <a:spcPct val="90000"/>
                        </a:lnSpc>
                        <a:spcBef>
                          <a:spcPct val="0"/>
                        </a:spcBef>
                        <a:spcAft>
                          <a:spcPts val="1200"/>
                        </a:spcAft>
                        <a:buClrTx/>
                        <a:buSzTx/>
                        <a:buFontTx/>
                        <a:buNone/>
                        <a:tabLst/>
                        <a:defRPr/>
                      </a:pPr>
                      <a:r>
                        <a:rPr kumimoji="0" lang="en-US" sz="1600" b="0" i="0" u="none" strike="noStrike" kern="1200" cap="none" spc="-30" normalizeH="0" baseline="0" noProof="0" dirty="0" smtClean="0">
                          <a:ln>
                            <a:noFill/>
                          </a:ln>
                          <a:solidFill>
                            <a:srgbClr val="505050"/>
                          </a:solidFill>
                          <a:effectLst/>
                          <a:uLnTx/>
                          <a:uFillTx/>
                          <a:latin typeface="+mn-lt"/>
                          <a:ea typeface="Segoe UI" pitchFamily="34" charset="0"/>
                          <a:cs typeface="Segoe UI" pitchFamily="34" charset="0"/>
                        </a:rPr>
                        <a:t>Provides 3-D capabilities to sessions and virtual machines at high scale</a:t>
                      </a:r>
                    </a:p>
                    <a:p>
                      <a:pPr marL="0" marR="0" lvl="0" indent="0" algn="l" defTabSz="816401" rtl="0" eaLnBrk="1" fontAlgn="base" latinLnBrk="0" hangingPunct="1">
                        <a:lnSpc>
                          <a:spcPct val="90000"/>
                        </a:lnSpc>
                        <a:spcBef>
                          <a:spcPct val="0"/>
                        </a:spcBef>
                        <a:spcAft>
                          <a:spcPts val="1200"/>
                        </a:spcAft>
                        <a:buClrTx/>
                        <a:buSzTx/>
                        <a:buFontTx/>
                        <a:buNone/>
                        <a:tabLst/>
                        <a:defRPr/>
                      </a:pPr>
                      <a:r>
                        <a:rPr kumimoji="0" lang="en-US" sz="1600" b="0" i="0" u="none" strike="noStrike" kern="1200" cap="none" spc="-30" normalizeH="0" baseline="0" noProof="0" dirty="0" smtClean="0">
                          <a:ln>
                            <a:noFill/>
                          </a:ln>
                          <a:solidFill>
                            <a:srgbClr val="505050"/>
                          </a:solidFill>
                          <a:effectLst/>
                          <a:uLnTx/>
                          <a:uFillTx/>
                          <a:latin typeface="+mn-lt"/>
                          <a:ea typeface="Segoe UI" pitchFamily="34" charset="0"/>
                          <a:cs typeface="Segoe UI" pitchFamily="34" charset="0"/>
                        </a:rPr>
                        <a:t>Optimized for knowledge worker workloads such as Microsoft Office and web browsing</a:t>
                      </a:r>
                    </a:p>
                    <a:p>
                      <a:pPr marL="0" marR="0" lvl="0" indent="0" algn="l" defTabSz="816401" rtl="0" eaLnBrk="1" fontAlgn="base" latinLnBrk="0" hangingPunct="1">
                        <a:lnSpc>
                          <a:spcPct val="90000"/>
                        </a:lnSpc>
                        <a:spcBef>
                          <a:spcPct val="0"/>
                        </a:spcBef>
                        <a:spcAft>
                          <a:spcPts val="1200"/>
                        </a:spcAft>
                        <a:buClrTx/>
                        <a:buSzTx/>
                        <a:buFontTx/>
                        <a:buNone/>
                        <a:tabLst/>
                        <a:defRPr/>
                      </a:pPr>
                      <a:r>
                        <a:rPr kumimoji="0" lang="en-US" sz="1600" b="0" i="0" u="none" strike="noStrike" kern="1200" cap="none" spc="-30" normalizeH="0" baseline="0" noProof="0" dirty="0" smtClean="0">
                          <a:ln>
                            <a:noFill/>
                          </a:ln>
                          <a:solidFill>
                            <a:srgbClr val="505050"/>
                          </a:solidFill>
                          <a:effectLst/>
                          <a:uLnTx/>
                          <a:uFillTx/>
                          <a:latin typeface="+mn-lt"/>
                          <a:ea typeface="Segoe UI" pitchFamily="34" charset="0"/>
                          <a:cs typeface="Segoe UI" pitchFamily="34" charset="0"/>
                        </a:rPr>
                        <a:t>Provides the highest scale for session host and VDI</a:t>
                      </a:r>
                    </a:p>
                  </a:txBody>
                  <a:tcPr marL="93260" marR="93260" marT="46630" marB="46630" anchor="ctr">
                    <a:lnB w="6350" cap="flat" cmpd="sng" algn="ctr">
                      <a:solidFill>
                        <a:srgbClr val="969696"/>
                      </a:solidFill>
                      <a:prstDash val="solid"/>
                      <a:round/>
                      <a:headEnd type="none" w="med" len="med"/>
                      <a:tailEnd type="none" w="med" len="med"/>
                    </a:lnB>
                  </a:tcPr>
                </a:tc>
              </a:tr>
              <a:tr h="2619408">
                <a:tc>
                  <a:txBody>
                    <a:bodyPr/>
                    <a:lstStyle/>
                    <a:p>
                      <a:pPr marL="0" marR="0" lvl="0" indent="0" algn="l" defTabSz="1088456" rtl="0" eaLnBrk="0" fontAlgn="base" latinLnBrk="0" hangingPunct="0">
                        <a:lnSpc>
                          <a:spcPct val="100000"/>
                        </a:lnSpc>
                        <a:spcBef>
                          <a:spcPct val="20000"/>
                        </a:spcBef>
                        <a:spcAft>
                          <a:spcPts val="0"/>
                        </a:spcAft>
                        <a:buClrTx/>
                        <a:buSzTx/>
                        <a:buFontTx/>
                        <a:buNone/>
                        <a:tabLst/>
                        <a:defRPr/>
                      </a:pPr>
                      <a:r>
                        <a:rPr kumimoji="0" lang="en-US" sz="2400" b="0" i="0" u="none" strike="noStrike" kern="1200" cap="none" spc="0" normalizeH="0" baseline="0" noProof="0" dirty="0" smtClean="0">
                          <a:ln>
                            <a:noFill/>
                          </a:ln>
                          <a:solidFill>
                            <a:srgbClr val="00188F"/>
                          </a:solidFill>
                          <a:effectLst/>
                          <a:uLnTx/>
                          <a:uFillTx/>
                          <a:latin typeface="+mn-lt"/>
                          <a:ea typeface="+mn-ea"/>
                          <a:cs typeface="Arial" pitchFamily="34" charset="0"/>
                        </a:rPr>
                        <a:t>RemoteFX vGPU</a:t>
                      </a:r>
                    </a:p>
                  </a:txBody>
                  <a:tcPr marL="93260" marR="93260" marT="46630" marB="46630" anchor="ctr">
                    <a:lnT w="6350" cap="flat" cmpd="sng" algn="ctr">
                      <a:solidFill>
                        <a:srgbClr val="969696"/>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816401" rtl="0" eaLnBrk="1" fontAlgn="base" latinLnBrk="0" hangingPunct="1">
                        <a:lnSpc>
                          <a:spcPct val="90000"/>
                        </a:lnSpc>
                        <a:spcBef>
                          <a:spcPct val="0"/>
                        </a:spcBef>
                        <a:spcAft>
                          <a:spcPts val="1200"/>
                        </a:spcAft>
                        <a:buClrTx/>
                        <a:buSzTx/>
                        <a:buFontTx/>
                        <a:buNone/>
                        <a:tabLst/>
                        <a:defRPr/>
                      </a:pPr>
                      <a:r>
                        <a:rPr kumimoji="0" lang="en-US" sz="1600" b="0" i="0" u="none" strike="noStrike" kern="1200" cap="none" spc="-30" normalizeH="0" baseline="0" noProof="0" dirty="0" smtClean="0">
                          <a:ln>
                            <a:noFill/>
                          </a:ln>
                          <a:solidFill>
                            <a:srgbClr val="505050"/>
                          </a:solidFill>
                          <a:effectLst/>
                          <a:uLnTx/>
                          <a:uFillTx/>
                          <a:latin typeface="+mn-lt"/>
                          <a:ea typeface="Segoe UI" pitchFamily="34" charset="0"/>
                          <a:cs typeface="Segoe UI" pitchFamily="34" charset="0"/>
                        </a:rPr>
                        <a:t>Provides a virtualized hardware-accelerated DirectX 11 GPU for VDI, optimized for:</a:t>
                      </a:r>
                    </a:p>
                    <a:p>
                      <a:pPr marL="0" marR="0" lvl="0" indent="0" algn="l" defTabSz="816401" rtl="0" eaLnBrk="1" fontAlgn="base" latinLnBrk="0" hangingPunct="1">
                        <a:lnSpc>
                          <a:spcPct val="90000"/>
                        </a:lnSpc>
                        <a:spcBef>
                          <a:spcPct val="0"/>
                        </a:spcBef>
                        <a:spcAft>
                          <a:spcPts val="1200"/>
                        </a:spcAft>
                        <a:buClrTx/>
                        <a:buSzTx/>
                        <a:buFontTx/>
                        <a:buNone/>
                        <a:tabLst/>
                        <a:defRPr/>
                      </a:pPr>
                      <a:r>
                        <a:rPr kumimoji="0" lang="en-US" sz="1600" b="1" i="0" u="none" strike="noStrike" kern="1200" cap="none" spc="-30" normalizeH="0" baseline="0" noProof="0" dirty="0" smtClean="0">
                          <a:ln>
                            <a:noFill/>
                          </a:ln>
                          <a:solidFill>
                            <a:srgbClr val="505050"/>
                          </a:solidFill>
                          <a:effectLst/>
                          <a:uLnTx/>
                          <a:uFillTx/>
                          <a:latin typeface="+mn-lt"/>
                          <a:ea typeface="Segoe UI" pitchFamily="34" charset="0"/>
                          <a:cs typeface="Segoe UI" pitchFamily="34" charset="0"/>
                        </a:rPr>
                        <a:t>Best performance </a:t>
                      </a:r>
                      <a:r>
                        <a:rPr kumimoji="0" lang="en-US" sz="1600" b="0" i="0" u="none" strike="noStrike" kern="1200" cap="none" spc="-30" normalizeH="0" baseline="0" noProof="0" dirty="0" smtClean="0">
                          <a:ln>
                            <a:noFill/>
                          </a:ln>
                          <a:solidFill>
                            <a:srgbClr val="505050"/>
                          </a:solidFill>
                          <a:effectLst/>
                          <a:uLnTx/>
                          <a:uFillTx/>
                          <a:latin typeface="+mn-lt"/>
                          <a:ea typeface="Segoe UI" pitchFamily="34" charset="0"/>
                          <a:cs typeface="Segoe UI" pitchFamily="34" charset="0"/>
                        </a:rPr>
                        <a:t>for 3-D graphics-intensive applications</a:t>
                      </a:r>
                    </a:p>
                    <a:p>
                      <a:pPr marL="0" marR="0" lvl="0" indent="0" algn="l" defTabSz="816401" rtl="0" eaLnBrk="1" fontAlgn="base" latinLnBrk="0" hangingPunct="1">
                        <a:lnSpc>
                          <a:spcPct val="90000"/>
                        </a:lnSpc>
                        <a:spcBef>
                          <a:spcPct val="0"/>
                        </a:spcBef>
                        <a:spcAft>
                          <a:spcPts val="1200"/>
                        </a:spcAft>
                        <a:buClrTx/>
                        <a:buSzTx/>
                        <a:buFontTx/>
                        <a:buNone/>
                        <a:tabLst/>
                        <a:defRPr/>
                      </a:pPr>
                      <a:r>
                        <a:rPr kumimoji="0" lang="en-US" sz="1600" b="1" i="0" u="none" strike="noStrike" kern="1200" cap="none" spc="-30" normalizeH="0" baseline="0" noProof="0" dirty="0" smtClean="0">
                          <a:ln>
                            <a:noFill/>
                          </a:ln>
                          <a:solidFill>
                            <a:srgbClr val="505050"/>
                          </a:solidFill>
                          <a:effectLst/>
                          <a:uLnTx/>
                          <a:uFillTx/>
                          <a:latin typeface="+mn-lt"/>
                          <a:ea typeface="Segoe UI" pitchFamily="34" charset="0"/>
                          <a:cs typeface="Segoe UI" pitchFamily="34" charset="0"/>
                        </a:rPr>
                        <a:t>Best experience </a:t>
                      </a:r>
                      <a:r>
                        <a:rPr kumimoji="0" lang="en-US" sz="1600" b="0" i="0" u="none" strike="noStrike" kern="1200" cap="none" spc="-30" normalizeH="0" baseline="0" noProof="0" dirty="0" smtClean="0">
                          <a:ln>
                            <a:noFill/>
                          </a:ln>
                          <a:solidFill>
                            <a:srgbClr val="505050"/>
                          </a:solidFill>
                          <a:effectLst/>
                          <a:uLnTx/>
                          <a:uFillTx/>
                          <a:latin typeface="+mn-lt"/>
                          <a:ea typeface="Segoe UI" pitchFamily="34" charset="0"/>
                          <a:cs typeface="Segoe UI" pitchFamily="34" charset="0"/>
                        </a:rPr>
                        <a:t>with full animations and transitions </a:t>
                      </a:r>
                    </a:p>
                    <a:p>
                      <a:pPr marL="0" marR="0" lvl="0" indent="0" algn="l" defTabSz="816401" rtl="0" eaLnBrk="1" fontAlgn="base" latinLnBrk="0" hangingPunct="1">
                        <a:lnSpc>
                          <a:spcPct val="90000"/>
                        </a:lnSpc>
                        <a:spcBef>
                          <a:spcPct val="0"/>
                        </a:spcBef>
                        <a:spcAft>
                          <a:spcPts val="1200"/>
                        </a:spcAft>
                        <a:buClrTx/>
                        <a:buSzTx/>
                        <a:buFontTx/>
                        <a:buNone/>
                        <a:tabLst/>
                        <a:defRPr/>
                      </a:pPr>
                      <a:r>
                        <a:rPr kumimoji="0" lang="en-US" sz="1600" b="1" i="0" u="none" strike="noStrike" kern="1200" cap="none" spc="-30" normalizeH="0" baseline="0" noProof="0" dirty="0" smtClean="0">
                          <a:ln>
                            <a:noFill/>
                          </a:ln>
                          <a:solidFill>
                            <a:srgbClr val="505050"/>
                          </a:solidFill>
                          <a:effectLst/>
                          <a:uLnTx/>
                          <a:uFillTx/>
                          <a:latin typeface="+mn-lt"/>
                          <a:ea typeface="Segoe UI" pitchFamily="34" charset="0"/>
                          <a:cs typeface="Segoe UI" pitchFamily="34" charset="0"/>
                        </a:rPr>
                        <a:t>Best application compatibility</a:t>
                      </a:r>
                      <a:r>
                        <a:rPr kumimoji="0" lang="en-US" sz="1600" b="0" i="0" u="none" strike="noStrike" kern="1200" cap="none" spc="-30" normalizeH="0" baseline="0" noProof="0" dirty="0" smtClean="0">
                          <a:ln>
                            <a:noFill/>
                          </a:ln>
                          <a:solidFill>
                            <a:srgbClr val="505050"/>
                          </a:solidFill>
                          <a:effectLst/>
                          <a:uLnTx/>
                          <a:uFillTx/>
                          <a:latin typeface="+mn-lt"/>
                          <a:ea typeface="Segoe UI" pitchFamily="34" charset="0"/>
                          <a:cs typeface="Segoe UI" pitchFamily="34" charset="0"/>
                        </a:rPr>
                        <a:t>, running as a console session in a virtual machine</a:t>
                      </a:r>
                    </a:p>
                  </a:txBody>
                  <a:tcPr marL="93260" marR="93260" marT="46630" marB="46630" anchor="ctr">
                    <a:lnT w="6350" cap="flat" cmpd="sng" algn="ctr">
                      <a:solidFill>
                        <a:srgbClr val="969696"/>
                      </a:solid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sp>
        <p:nvSpPr>
          <p:cNvPr id="2" name="Title 1"/>
          <p:cNvSpPr>
            <a:spLocks noGrp="1"/>
          </p:cNvSpPr>
          <p:nvPr>
            <p:ph type="title"/>
          </p:nvPr>
        </p:nvSpPr>
        <p:spPr>
          <a:xfrm>
            <a:off x="283027" y="303805"/>
            <a:ext cx="11375536" cy="738664"/>
          </a:xfrm>
        </p:spPr>
        <p:txBody>
          <a:bodyPr/>
          <a:lstStyle/>
          <a:p>
            <a:r>
              <a:rPr lang="en-US" dirty="0" smtClean="0"/>
              <a:t>Choice of GPU on server</a:t>
            </a:r>
            <a:endParaRPr lang="en-US" dirty="0"/>
          </a:p>
        </p:txBody>
      </p:sp>
    </p:spTree>
    <p:extLst>
      <p:ext uri="{BB962C8B-B14F-4D97-AF65-F5344CB8AC3E}">
        <p14:creationId xmlns:p14="http://schemas.microsoft.com/office/powerpoint/2010/main" val="378210004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p:cNvSpPr>
            <a:spLocks noGrp="1"/>
          </p:cNvSpPr>
          <p:nvPr>
            <p:ph type="title"/>
          </p:nvPr>
        </p:nvSpPr>
        <p:spPr>
          <a:xfrm>
            <a:off x="251193" y="296863"/>
            <a:ext cx="9667601" cy="779309"/>
          </a:xfrm>
        </p:spPr>
        <p:txBody>
          <a:bodyPr/>
          <a:lstStyle/>
          <a:p>
            <a:pPr lvl="0"/>
            <a:r>
              <a:rPr lang="en-US" dirty="0" smtClean="0"/>
              <a:t>New for R2</a:t>
            </a:r>
            <a:endParaRPr lang="en-US" dirty="0"/>
          </a:p>
        </p:txBody>
      </p:sp>
      <p:sp>
        <p:nvSpPr>
          <p:cNvPr id="65" name="Rectangle 6"/>
          <p:cNvSpPr>
            <a:spLocks noChangeArrowheads="1"/>
          </p:cNvSpPr>
          <p:nvPr/>
        </p:nvSpPr>
        <p:spPr bwMode="auto">
          <a:xfrm>
            <a:off x="2888815" y="4536006"/>
            <a:ext cx="3141483" cy="873651"/>
          </a:xfrm>
          <a:prstGeom prst="rect">
            <a:avLst/>
          </a:prstGeom>
          <a:noFill/>
          <a:ln w="9525" algn="ctr">
            <a:noFill/>
            <a:miter lim="800000"/>
            <a:headEnd/>
            <a:tailEnd/>
          </a:ln>
        </p:spPr>
        <p:txBody>
          <a:bodyPr lIns="279781" tIns="38495" rIns="279781" bIns="177195" anchor="b"/>
          <a:lstStyle/>
          <a:p>
            <a:pPr>
              <a:spcBef>
                <a:spcPct val="50000"/>
              </a:spcBef>
              <a:buClr>
                <a:schemeClr val="accent2"/>
              </a:buClr>
            </a:pPr>
            <a:r>
              <a:rPr lang="en-US" sz="2000" b="1" dirty="0" smtClean="0"/>
              <a:t>Improved RemoteApp behavior</a:t>
            </a:r>
            <a:endParaRPr lang="en-US" sz="2000" b="1" dirty="0"/>
          </a:p>
        </p:txBody>
      </p:sp>
      <p:sp>
        <p:nvSpPr>
          <p:cNvPr id="66" name="Rectangle 7"/>
          <p:cNvSpPr>
            <a:spLocks noChangeArrowheads="1"/>
          </p:cNvSpPr>
          <p:nvPr/>
        </p:nvSpPr>
        <p:spPr bwMode="auto">
          <a:xfrm>
            <a:off x="161925" y="4600275"/>
            <a:ext cx="3181350" cy="1114981"/>
          </a:xfrm>
          <a:prstGeom prst="rect">
            <a:avLst/>
          </a:prstGeom>
          <a:noFill/>
          <a:ln w="9525" algn="ctr">
            <a:noFill/>
            <a:miter lim="800000"/>
            <a:headEnd/>
            <a:tailEnd/>
          </a:ln>
        </p:spPr>
        <p:txBody>
          <a:bodyPr lIns="279781" tIns="38495" rIns="279781" bIns="177195" anchor="b"/>
          <a:lstStyle/>
          <a:p>
            <a:pPr>
              <a:spcBef>
                <a:spcPct val="50000"/>
              </a:spcBef>
              <a:buClr>
                <a:schemeClr val="accent2"/>
              </a:buClr>
            </a:pPr>
            <a:r>
              <a:rPr lang="en-US" sz="2000" b="1" dirty="0" smtClean="0"/>
              <a:t>Dynamically Add/Remove monitors</a:t>
            </a:r>
            <a:endParaRPr lang="en-US" sz="2000" b="1" dirty="0"/>
          </a:p>
        </p:txBody>
      </p:sp>
      <p:sp>
        <p:nvSpPr>
          <p:cNvPr id="67" name="Rectangle 8"/>
          <p:cNvSpPr>
            <a:spLocks noChangeArrowheads="1"/>
          </p:cNvSpPr>
          <p:nvPr/>
        </p:nvSpPr>
        <p:spPr bwMode="auto">
          <a:xfrm>
            <a:off x="6407488" y="4563602"/>
            <a:ext cx="2704001" cy="539624"/>
          </a:xfrm>
          <a:prstGeom prst="rect">
            <a:avLst/>
          </a:prstGeom>
          <a:noFill/>
          <a:ln w="9525" algn="ctr">
            <a:noFill/>
            <a:miter lim="800000"/>
            <a:headEnd/>
            <a:tailEnd/>
          </a:ln>
        </p:spPr>
        <p:txBody>
          <a:bodyPr lIns="279781" tIns="38495" rIns="279781" bIns="177195" anchor="b"/>
          <a:lstStyle/>
          <a:p>
            <a:pPr>
              <a:spcBef>
                <a:spcPct val="50000"/>
              </a:spcBef>
              <a:buClr>
                <a:schemeClr val="accent2"/>
              </a:buClr>
            </a:pPr>
            <a:r>
              <a:rPr lang="en-US" sz="2000" b="1" dirty="0" smtClean="0"/>
              <a:t>Quick Reconnect</a:t>
            </a:r>
            <a:endParaRPr lang="en-US" sz="2000" b="1" dirty="0"/>
          </a:p>
        </p:txBody>
      </p:sp>
      <p:sp>
        <p:nvSpPr>
          <p:cNvPr id="68" name="Rectangle 9"/>
          <p:cNvSpPr>
            <a:spLocks noChangeArrowheads="1"/>
          </p:cNvSpPr>
          <p:nvPr/>
        </p:nvSpPr>
        <p:spPr bwMode="auto">
          <a:xfrm>
            <a:off x="9320496" y="4478324"/>
            <a:ext cx="3310180" cy="1236663"/>
          </a:xfrm>
          <a:prstGeom prst="rect">
            <a:avLst/>
          </a:prstGeom>
          <a:noFill/>
          <a:ln w="9525" algn="ctr">
            <a:noFill/>
            <a:miter lim="800000"/>
            <a:headEnd/>
            <a:tailEnd/>
          </a:ln>
        </p:spPr>
        <p:txBody>
          <a:bodyPr lIns="279781" tIns="38495" rIns="279781" bIns="177195" anchor="b"/>
          <a:lstStyle/>
          <a:p>
            <a:pPr>
              <a:spcBef>
                <a:spcPct val="50000"/>
              </a:spcBef>
              <a:buClr>
                <a:schemeClr val="accent2"/>
              </a:buClr>
            </a:pPr>
            <a:r>
              <a:rPr lang="en-US" sz="2000" b="1" dirty="0" smtClean="0"/>
              <a:t>DX11.1 support and improved Codec performance</a:t>
            </a:r>
            <a:endParaRPr lang="en-US" sz="2000" b="1" dirty="0"/>
          </a:p>
        </p:txBody>
      </p:sp>
      <p:grpSp>
        <p:nvGrpSpPr>
          <p:cNvPr id="6" name="Group 5"/>
          <p:cNvGrpSpPr/>
          <p:nvPr/>
        </p:nvGrpSpPr>
        <p:grpSpPr>
          <a:xfrm>
            <a:off x="6563715" y="1601557"/>
            <a:ext cx="1991799" cy="2594758"/>
            <a:chOff x="6675438" y="1883566"/>
            <a:chExt cx="1991799" cy="2594758"/>
          </a:xfrm>
        </p:grpSpPr>
        <p:grpSp>
          <p:nvGrpSpPr>
            <p:cNvPr id="19" name="Group 29"/>
            <p:cNvGrpSpPr>
              <a:grpSpLocks noChangeAspect="1"/>
            </p:cNvGrpSpPr>
            <p:nvPr/>
          </p:nvGrpSpPr>
          <p:grpSpPr bwMode="auto">
            <a:xfrm>
              <a:off x="6675438" y="1883566"/>
              <a:ext cx="1991799" cy="2594758"/>
              <a:chOff x="5121" y="2489"/>
              <a:chExt cx="882" cy="1149"/>
            </a:xfrm>
          </p:grpSpPr>
          <p:sp>
            <p:nvSpPr>
              <p:cNvPr id="20"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 name="Freeform 5"/>
            <p:cNvSpPr>
              <a:spLocks noEditPoints="1"/>
            </p:cNvSpPr>
            <p:nvPr/>
          </p:nvSpPr>
          <p:spPr bwMode="auto">
            <a:xfrm>
              <a:off x="7093286" y="2641838"/>
              <a:ext cx="769938" cy="828675"/>
            </a:xfrm>
            <a:custGeom>
              <a:avLst/>
              <a:gdLst>
                <a:gd name="T0" fmla="*/ 847 w 986"/>
                <a:gd name="T1" fmla="*/ 545 h 1061"/>
                <a:gd name="T2" fmla="*/ 843 w 986"/>
                <a:gd name="T3" fmla="*/ 595 h 1061"/>
                <a:gd name="T4" fmla="*/ 834 w 986"/>
                <a:gd name="T5" fmla="*/ 635 h 1061"/>
                <a:gd name="T6" fmla="*/ 828 w 986"/>
                <a:gd name="T7" fmla="*/ 656 h 1061"/>
                <a:gd name="T8" fmla="*/ 817 w 986"/>
                <a:gd name="T9" fmla="*/ 684 h 1061"/>
                <a:gd name="T10" fmla="*/ 807 w 986"/>
                <a:gd name="T11" fmla="*/ 703 h 1061"/>
                <a:gd name="T12" fmla="*/ 797 w 986"/>
                <a:gd name="T13" fmla="*/ 721 h 1061"/>
                <a:gd name="T14" fmla="*/ 786 w 986"/>
                <a:gd name="T15" fmla="*/ 738 h 1061"/>
                <a:gd name="T16" fmla="*/ 773 w 986"/>
                <a:gd name="T17" fmla="*/ 757 h 1061"/>
                <a:gd name="T18" fmla="*/ 760 w 986"/>
                <a:gd name="T19" fmla="*/ 773 h 1061"/>
                <a:gd name="T20" fmla="*/ 743 w 986"/>
                <a:gd name="T21" fmla="*/ 790 h 1061"/>
                <a:gd name="T22" fmla="*/ 673 w 986"/>
                <a:gd name="T23" fmla="*/ 845 h 1061"/>
                <a:gd name="T24" fmla="*/ 337 w 986"/>
                <a:gd name="T25" fmla="*/ 696 h 1061"/>
                <a:gd name="T26" fmla="*/ 47 w 986"/>
                <a:gd name="T27" fmla="*/ 986 h 1061"/>
                <a:gd name="T28" fmla="*/ 667 w 986"/>
                <a:gd name="T29" fmla="*/ 1000 h 1061"/>
                <a:gd name="T30" fmla="*/ 853 w 986"/>
                <a:gd name="T31" fmla="*/ 875 h 1061"/>
                <a:gd name="T32" fmla="*/ 871 w 986"/>
                <a:gd name="T33" fmla="*/ 854 h 1061"/>
                <a:gd name="T34" fmla="*/ 888 w 986"/>
                <a:gd name="T35" fmla="*/ 834 h 1061"/>
                <a:gd name="T36" fmla="*/ 903 w 986"/>
                <a:gd name="T37" fmla="*/ 812 h 1061"/>
                <a:gd name="T38" fmla="*/ 916 w 986"/>
                <a:gd name="T39" fmla="*/ 791 h 1061"/>
                <a:gd name="T40" fmla="*/ 930 w 986"/>
                <a:gd name="T41" fmla="*/ 766 h 1061"/>
                <a:gd name="T42" fmla="*/ 942 w 986"/>
                <a:gd name="T43" fmla="*/ 741 h 1061"/>
                <a:gd name="T44" fmla="*/ 952 w 986"/>
                <a:gd name="T45" fmla="*/ 718 h 1061"/>
                <a:gd name="T46" fmla="*/ 960 w 986"/>
                <a:gd name="T47" fmla="*/ 694 h 1061"/>
                <a:gd name="T48" fmla="*/ 968 w 986"/>
                <a:gd name="T49" fmla="*/ 670 h 1061"/>
                <a:gd name="T50" fmla="*/ 979 w 986"/>
                <a:gd name="T51" fmla="*/ 617 h 1061"/>
                <a:gd name="T52" fmla="*/ 982 w 986"/>
                <a:gd name="T53" fmla="*/ 592 h 1061"/>
                <a:gd name="T54" fmla="*/ 984 w 986"/>
                <a:gd name="T55" fmla="*/ 567 h 1061"/>
                <a:gd name="T56" fmla="*/ 985 w 986"/>
                <a:gd name="T57" fmla="*/ 542 h 1061"/>
                <a:gd name="T58" fmla="*/ 841 w 986"/>
                <a:gd name="T59" fmla="*/ 192 h 1061"/>
                <a:gd name="T60" fmla="*/ 132 w 986"/>
                <a:gd name="T61" fmla="*/ 205 h 1061"/>
                <a:gd name="T62" fmla="*/ 114 w 986"/>
                <a:gd name="T63" fmla="*/ 226 h 1061"/>
                <a:gd name="T64" fmla="*/ 98 w 986"/>
                <a:gd name="T65" fmla="*/ 246 h 1061"/>
                <a:gd name="T66" fmla="*/ 83 w 986"/>
                <a:gd name="T67" fmla="*/ 268 h 1061"/>
                <a:gd name="T68" fmla="*/ 70 w 986"/>
                <a:gd name="T69" fmla="*/ 289 h 1061"/>
                <a:gd name="T70" fmla="*/ 56 w 986"/>
                <a:gd name="T71" fmla="*/ 315 h 1061"/>
                <a:gd name="T72" fmla="*/ 44 w 986"/>
                <a:gd name="T73" fmla="*/ 339 h 1061"/>
                <a:gd name="T74" fmla="*/ 34 w 986"/>
                <a:gd name="T75" fmla="*/ 362 h 1061"/>
                <a:gd name="T76" fmla="*/ 26 w 986"/>
                <a:gd name="T77" fmla="*/ 386 h 1061"/>
                <a:gd name="T78" fmla="*/ 18 w 986"/>
                <a:gd name="T79" fmla="*/ 410 h 1061"/>
                <a:gd name="T80" fmla="*/ 7 w 986"/>
                <a:gd name="T81" fmla="*/ 463 h 1061"/>
                <a:gd name="T82" fmla="*/ 4 w 986"/>
                <a:gd name="T83" fmla="*/ 488 h 1061"/>
                <a:gd name="T84" fmla="*/ 2 w 986"/>
                <a:gd name="T85" fmla="*/ 513 h 1061"/>
                <a:gd name="T86" fmla="*/ 1 w 986"/>
                <a:gd name="T87" fmla="*/ 538 h 1061"/>
                <a:gd name="T88" fmla="*/ 142 w 986"/>
                <a:gd name="T89" fmla="*/ 586 h 1061"/>
                <a:gd name="T90" fmla="*/ 139 w 986"/>
                <a:gd name="T91" fmla="*/ 535 h 1061"/>
                <a:gd name="T92" fmla="*/ 143 w 986"/>
                <a:gd name="T93" fmla="*/ 485 h 1061"/>
                <a:gd name="T94" fmla="*/ 152 w 986"/>
                <a:gd name="T95" fmla="*/ 445 h 1061"/>
                <a:gd name="T96" fmla="*/ 158 w 986"/>
                <a:gd name="T97" fmla="*/ 424 h 1061"/>
                <a:gd name="T98" fmla="*/ 169 w 986"/>
                <a:gd name="T99" fmla="*/ 396 h 1061"/>
                <a:gd name="T100" fmla="*/ 179 w 986"/>
                <a:gd name="T101" fmla="*/ 377 h 1061"/>
                <a:gd name="T102" fmla="*/ 189 w 986"/>
                <a:gd name="T103" fmla="*/ 359 h 1061"/>
                <a:gd name="T104" fmla="*/ 200 w 986"/>
                <a:gd name="T105" fmla="*/ 342 h 1061"/>
                <a:gd name="T106" fmla="*/ 213 w 986"/>
                <a:gd name="T107" fmla="*/ 323 h 1061"/>
                <a:gd name="T108" fmla="*/ 226 w 986"/>
                <a:gd name="T109" fmla="*/ 307 h 1061"/>
                <a:gd name="T110" fmla="*/ 243 w 986"/>
                <a:gd name="T111" fmla="*/ 290 h 1061"/>
                <a:gd name="T112" fmla="*/ 338 w 986"/>
                <a:gd name="T113" fmla="*/ 222 h 1061"/>
                <a:gd name="T114" fmla="*/ 972 w 986"/>
                <a:gd name="T115" fmla="*/ 429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6" h="1061">
                  <a:moveTo>
                    <a:pt x="842" y="484"/>
                  </a:moveTo>
                  <a:cubicBezTo>
                    <a:pt x="845" y="500"/>
                    <a:pt x="847" y="518"/>
                    <a:pt x="847" y="535"/>
                  </a:cubicBezTo>
                  <a:cubicBezTo>
                    <a:pt x="847" y="535"/>
                    <a:pt x="847" y="535"/>
                    <a:pt x="847" y="535"/>
                  </a:cubicBezTo>
                  <a:cubicBezTo>
                    <a:pt x="847" y="538"/>
                    <a:pt x="847" y="541"/>
                    <a:pt x="847" y="545"/>
                  </a:cubicBezTo>
                  <a:cubicBezTo>
                    <a:pt x="847" y="545"/>
                    <a:pt x="847" y="545"/>
                    <a:pt x="847" y="545"/>
                  </a:cubicBezTo>
                  <a:cubicBezTo>
                    <a:pt x="847" y="559"/>
                    <a:pt x="846" y="572"/>
                    <a:pt x="844" y="585"/>
                  </a:cubicBezTo>
                  <a:cubicBezTo>
                    <a:pt x="844" y="586"/>
                    <a:pt x="844" y="586"/>
                    <a:pt x="844" y="586"/>
                  </a:cubicBezTo>
                  <a:cubicBezTo>
                    <a:pt x="844" y="589"/>
                    <a:pt x="843" y="592"/>
                    <a:pt x="843" y="595"/>
                  </a:cubicBezTo>
                  <a:cubicBezTo>
                    <a:pt x="843" y="596"/>
                    <a:pt x="843" y="596"/>
                    <a:pt x="842" y="596"/>
                  </a:cubicBezTo>
                  <a:cubicBezTo>
                    <a:pt x="841" y="606"/>
                    <a:pt x="839" y="616"/>
                    <a:pt x="836" y="626"/>
                  </a:cubicBezTo>
                  <a:cubicBezTo>
                    <a:pt x="836" y="627"/>
                    <a:pt x="836" y="627"/>
                    <a:pt x="836" y="627"/>
                  </a:cubicBezTo>
                  <a:cubicBezTo>
                    <a:pt x="835" y="630"/>
                    <a:pt x="835" y="633"/>
                    <a:pt x="834" y="635"/>
                  </a:cubicBezTo>
                  <a:cubicBezTo>
                    <a:pt x="834" y="636"/>
                    <a:pt x="834" y="637"/>
                    <a:pt x="833" y="637"/>
                  </a:cubicBezTo>
                  <a:cubicBezTo>
                    <a:pt x="833" y="640"/>
                    <a:pt x="832" y="642"/>
                    <a:pt x="831" y="645"/>
                  </a:cubicBezTo>
                  <a:cubicBezTo>
                    <a:pt x="831" y="646"/>
                    <a:pt x="831" y="646"/>
                    <a:pt x="831" y="647"/>
                  </a:cubicBezTo>
                  <a:cubicBezTo>
                    <a:pt x="830" y="650"/>
                    <a:pt x="829" y="653"/>
                    <a:pt x="828" y="656"/>
                  </a:cubicBezTo>
                  <a:cubicBezTo>
                    <a:pt x="828" y="656"/>
                    <a:pt x="828" y="656"/>
                    <a:pt x="827" y="656"/>
                  </a:cubicBezTo>
                  <a:cubicBezTo>
                    <a:pt x="825" y="662"/>
                    <a:pt x="823" y="669"/>
                    <a:pt x="820" y="675"/>
                  </a:cubicBezTo>
                  <a:cubicBezTo>
                    <a:pt x="820" y="676"/>
                    <a:pt x="820" y="676"/>
                    <a:pt x="819" y="677"/>
                  </a:cubicBezTo>
                  <a:cubicBezTo>
                    <a:pt x="819" y="679"/>
                    <a:pt x="818" y="682"/>
                    <a:pt x="817" y="684"/>
                  </a:cubicBezTo>
                  <a:cubicBezTo>
                    <a:pt x="816" y="685"/>
                    <a:pt x="816" y="686"/>
                    <a:pt x="815" y="686"/>
                  </a:cubicBezTo>
                  <a:cubicBezTo>
                    <a:pt x="814" y="689"/>
                    <a:pt x="813" y="691"/>
                    <a:pt x="812" y="693"/>
                  </a:cubicBezTo>
                  <a:cubicBezTo>
                    <a:pt x="812" y="694"/>
                    <a:pt x="812" y="695"/>
                    <a:pt x="811" y="695"/>
                  </a:cubicBezTo>
                  <a:cubicBezTo>
                    <a:pt x="810" y="698"/>
                    <a:pt x="809" y="701"/>
                    <a:pt x="807" y="703"/>
                  </a:cubicBezTo>
                  <a:cubicBezTo>
                    <a:pt x="807" y="703"/>
                    <a:pt x="807" y="704"/>
                    <a:pt x="807" y="704"/>
                  </a:cubicBezTo>
                  <a:cubicBezTo>
                    <a:pt x="805" y="707"/>
                    <a:pt x="804" y="710"/>
                    <a:pt x="802" y="713"/>
                  </a:cubicBezTo>
                  <a:cubicBezTo>
                    <a:pt x="802" y="713"/>
                    <a:pt x="801" y="714"/>
                    <a:pt x="801" y="715"/>
                  </a:cubicBezTo>
                  <a:cubicBezTo>
                    <a:pt x="800" y="717"/>
                    <a:pt x="798" y="719"/>
                    <a:pt x="797" y="721"/>
                  </a:cubicBezTo>
                  <a:cubicBezTo>
                    <a:pt x="797" y="722"/>
                    <a:pt x="796" y="723"/>
                    <a:pt x="795" y="724"/>
                  </a:cubicBezTo>
                  <a:cubicBezTo>
                    <a:pt x="794" y="726"/>
                    <a:pt x="793" y="728"/>
                    <a:pt x="792" y="730"/>
                  </a:cubicBezTo>
                  <a:cubicBezTo>
                    <a:pt x="791" y="731"/>
                    <a:pt x="791" y="732"/>
                    <a:pt x="790" y="733"/>
                  </a:cubicBezTo>
                  <a:cubicBezTo>
                    <a:pt x="789" y="735"/>
                    <a:pt x="787" y="737"/>
                    <a:pt x="786" y="738"/>
                  </a:cubicBezTo>
                  <a:cubicBezTo>
                    <a:pt x="786" y="739"/>
                    <a:pt x="785" y="740"/>
                    <a:pt x="784" y="741"/>
                  </a:cubicBezTo>
                  <a:cubicBezTo>
                    <a:pt x="783" y="743"/>
                    <a:pt x="781" y="746"/>
                    <a:pt x="779" y="748"/>
                  </a:cubicBezTo>
                  <a:cubicBezTo>
                    <a:pt x="779" y="749"/>
                    <a:pt x="779" y="749"/>
                    <a:pt x="779" y="749"/>
                  </a:cubicBezTo>
                  <a:cubicBezTo>
                    <a:pt x="777" y="752"/>
                    <a:pt x="775" y="754"/>
                    <a:pt x="773" y="757"/>
                  </a:cubicBezTo>
                  <a:cubicBezTo>
                    <a:pt x="772" y="758"/>
                    <a:pt x="771" y="759"/>
                    <a:pt x="771" y="759"/>
                  </a:cubicBezTo>
                  <a:cubicBezTo>
                    <a:pt x="769" y="761"/>
                    <a:pt x="768" y="763"/>
                    <a:pt x="766" y="765"/>
                  </a:cubicBezTo>
                  <a:cubicBezTo>
                    <a:pt x="766" y="766"/>
                    <a:pt x="765" y="767"/>
                    <a:pt x="764" y="768"/>
                  </a:cubicBezTo>
                  <a:cubicBezTo>
                    <a:pt x="763" y="769"/>
                    <a:pt x="761" y="771"/>
                    <a:pt x="760" y="773"/>
                  </a:cubicBezTo>
                  <a:cubicBezTo>
                    <a:pt x="759" y="774"/>
                    <a:pt x="758" y="775"/>
                    <a:pt x="757" y="775"/>
                  </a:cubicBezTo>
                  <a:cubicBezTo>
                    <a:pt x="756" y="777"/>
                    <a:pt x="754" y="779"/>
                    <a:pt x="753" y="781"/>
                  </a:cubicBezTo>
                  <a:cubicBezTo>
                    <a:pt x="752" y="781"/>
                    <a:pt x="751" y="782"/>
                    <a:pt x="750" y="783"/>
                  </a:cubicBezTo>
                  <a:cubicBezTo>
                    <a:pt x="748" y="785"/>
                    <a:pt x="746" y="788"/>
                    <a:pt x="743" y="790"/>
                  </a:cubicBezTo>
                  <a:cubicBezTo>
                    <a:pt x="735" y="799"/>
                    <a:pt x="726" y="807"/>
                    <a:pt x="716" y="815"/>
                  </a:cubicBezTo>
                  <a:cubicBezTo>
                    <a:pt x="712" y="818"/>
                    <a:pt x="707" y="822"/>
                    <a:pt x="702" y="826"/>
                  </a:cubicBezTo>
                  <a:cubicBezTo>
                    <a:pt x="698" y="829"/>
                    <a:pt x="693" y="832"/>
                    <a:pt x="688" y="836"/>
                  </a:cubicBezTo>
                  <a:cubicBezTo>
                    <a:pt x="683" y="839"/>
                    <a:pt x="678" y="842"/>
                    <a:pt x="673" y="845"/>
                  </a:cubicBezTo>
                  <a:cubicBezTo>
                    <a:pt x="670" y="846"/>
                    <a:pt x="668" y="848"/>
                    <a:pt x="665" y="849"/>
                  </a:cubicBezTo>
                  <a:cubicBezTo>
                    <a:pt x="648" y="859"/>
                    <a:pt x="631" y="867"/>
                    <a:pt x="613" y="873"/>
                  </a:cubicBezTo>
                  <a:cubicBezTo>
                    <a:pt x="488" y="918"/>
                    <a:pt x="343" y="890"/>
                    <a:pt x="243" y="790"/>
                  </a:cubicBezTo>
                  <a:cubicBezTo>
                    <a:pt x="337" y="696"/>
                    <a:pt x="337" y="696"/>
                    <a:pt x="337" y="696"/>
                  </a:cubicBezTo>
                  <a:cubicBezTo>
                    <a:pt x="165" y="672"/>
                    <a:pt x="165" y="672"/>
                    <a:pt x="165" y="672"/>
                  </a:cubicBezTo>
                  <a:cubicBezTo>
                    <a:pt x="14" y="651"/>
                    <a:pt x="14" y="651"/>
                    <a:pt x="14" y="651"/>
                  </a:cubicBezTo>
                  <a:cubicBezTo>
                    <a:pt x="0" y="649"/>
                    <a:pt x="0" y="649"/>
                    <a:pt x="0" y="649"/>
                  </a:cubicBezTo>
                  <a:cubicBezTo>
                    <a:pt x="47" y="986"/>
                    <a:pt x="47" y="986"/>
                    <a:pt x="47" y="986"/>
                  </a:cubicBezTo>
                  <a:cubicBezTo>
                    <a:pt x="145" y="888"/>
                    <a:pt x="145" y="888"/>
                    <a:pt x="145" y="888"/>
                  </a:cubicBezTo>
                  <a:cubicBezTo>
                    <a:pt x="277" y="1020"/>
                    <a:pt x="466" y="1061"/>
                    <a:pt x="633" y="1012"/>
                  </a:cubicBezTo>
                  <a:cubicBezTo>
                    <a:pt x="637" y="1011"/>
                    <a:pt x="641" y="1009"/>
                    <a:pt x="644" y="1008"/>
                  </a:cubicBezTo>
                  <a:cubicBezTo>
                    <a:pt x="652" y="1006"/>
                    <a:pt x="660" y="1003"/>
                    <a:pt x="667" y="1000"/>
                  </a:cubicBezTo>
                  <a:cubicBezTo>
                    <a:pt x="723" y="979"/>
                    <a:pt x="776" y="948"/>
                    <a:pt x="823" y="905"/>
                  </a:cubicBezTo>
                  <a:cubicBezTo>
                    <a:pt x="829" y="900"/>
                    <a:pt x="835" y="894"/>
                    <a:pt x="841" y="888"/>
                  </a:cubicBezTo>
                  <a:cubicBezTo>
                    <a:pt x="844" y="885"/>
                    <a:pt x="847" y="882"/>
                    <a:pt x="850" y="878"/>
                  </a:cubicBezTo>
                  <a:cubicBezTo>
                    <a:pt x="851" y="877"/>
                    <a:pt x="852" y="876"/>
                    <a:pt x="853" y="875"/>
                  </a:cubicBezTo>
                  <a:cubicBezTo>
                    <a:pt x="855" y="873"/>
                    <a:pt x="857" y="871"/>
                    <a:pt x="859" y="869"/>
                  </a:cubicBezTo>
                  <a:cubicBezTo>
                    <a:pt x="860" y="867"/>
                    <a:pt x="861" y="866"/>
                    <a:pt x="863" y="865"/>
                  </a:cubicBezTo>
                  <a:cubicBezTo>
                    <a:pt x="864" y="863"/>
                    <a:pt x="866" y="861"/>
                    <a:pt x="868" y="859"/>
                  </a:cubicBezTo>
                  <a:cubicBezTo>
                    <a:pt x="869" y="857"/>
                    <a:pt x="870" y="856"/>
                    <a:pt x="871" y="854"/>
                  </a:cubicBezTo>
                  <a:cubicBezTo>
                    <a:pt x="873" y="852"/>
                    <a:pt x="875" y="850"/>
                    <a:pt x="876" y="848"/>
                  </a:cubicBezTo>
                  <a:cubicBezTo>
                    <a:pt x="877" y="847"/>
                    <a:pt x="879" y="846"/>
                    <a:pt x="880" y="844"/>
                  </a:cubicBezTo>
                  <a:cubicBezTo>
                    <a:pt x="881" y="842"/>
                    <a:pt x="883" y="840"/>
                    <a:pt x="884" y="838"/>
                  </a:cubicBezTo>
                  <a:cubicBezTo>
                    <a:pt x="886" y="837"/>
                    <a:pt x="887" y="835"/>
                    <a:pt x="888" y="834"/>
                  </a:cubicBezTo>
                  <a:cubicBezTo>
                    <a:pt x="889" y="832"/>
                    <a:pt x="891" y="830"/>
                    <a:pt x="892" y="828"/>
                  </a:cubicBezTo>
                  <a:cubicBezTo>
                    <a:pt x="893" y="826"/>
                    <a:pt x="894" y="825"/>
                    <a:pt x="895" y="823"/>
                  </a:cubicBezTo>
                  <a:cubicBezTo>
                    <a:pt x="897" y="821"/>
                    <a:pt x="898" y="819"/>
                    <a:pt x="900" y="817"/>
                  </a:cubicBezTo>
                  <a:cubicBezTo>
                    <a:pt x="901" y="815"/>
                    <a:pt x="902" y="814"/>
                    <a:pt x="903" y="812"/>
                  </a:cubicBezTo>
                  <a:cubicBezTo>
                    <a:pt x="904" y="810"/>
                    <a:pt x="906" y="808"/>
                    <a:pt x="907" y="806"/>
                  </a:cubicBezTo>
                  <a:cubicBezTo>
                    <a:pt x="908" y="804"/>
                    <a:pt x="909" y="803"/>
                    <a:pt x="910" y="802"/>
                  </a:cubicBezTo>
                  <a:cubicBezTo>
                    <a:pt x="911" y="799"/>
                    <a:pt x="913" y="797"/>
                    <a:pt x="914" y="794"/>
                  </a:cubicBezTo>
                  <a:cubicBezTo>
                    <a:pt x="915" y="793"/>
                    <a:pt x="916" y="792"/>
                    <a:pt x="916" y="791"/>
                  </a:cubicBezTo>
                  <a:cubicBezTo>
                    <a:pt x="918" y="787"/>
                    <a:pt x="920" y="784"/>
                    <a:pt x="922" y="780"/>
                  </a:cubicBezTo>
                  <a:cubicBezTo>
                    <a:pt x="923" y="780"/>
                    <a:pt x="923" y="780"/>
                    <a:pt x="923" y="780"/>
                  </a:cubicBezTo>
                  <a:cubicBezTo>
                    <a:pt x="925" y="776"/>
                    <a:pt x="927" y="772"/>
                    <a:pt x="929" y="768"/>
                  </a:cubicBezTo>
                  <a:cubicBezTo>
                    <a:pt x="929" y="768"/>
                    <a:pt x="930" y="767"/>
                    <a:pt x="930" y="766"/>
                  </a:cubicBezTo>
                  <a:cubicBezTo>
                    <a:pt x="932" y="763"/>
                    <a:pt x="933" y="760"/>
                    <a:pt x="935" y="757"/>
                  </a:cubicBezTo>
                  <a:cubicBezTo>
                    <a:pt x="935" y="756"/>
                    <a:pt x="936" y="755"/>
                    <a:pt x="936" y="753"/>
                  </a:cubicBezTo>
                  <a:cubicBezTo>
                    <a:pt x="938" y="751"/>
                    <a:pt x="939" y="748"/>
                    <a:pt x="940" y="745"/>
                  </a:cubicBezTo>
                  <a:cubicBezTo>
                    <a:pt x="941" y="744"/>
                    <a:pt x="941" y="743"/>
                    <a:pt x="942" y="741"/>
                  </a:cubicBezTo>
                  <a:cubicBezTo>
                    <a:pt x="943" y="739"/>
                    <a:pt x="944" y="736"/>
                    <a:pt x="945" y="734"/>
                  </a:cubicBezTo>
                  <a:cubicBezTo>
                    <a:pt x="946" y="732"/>
                    <a:pt x="947" y="731"/>
                    <a:pt x="947" y="730"/>
                  </a:cubicBezTo>
                  <a:cubicBezTo>
                    <a:pt x="948" y="727"/>
                    <a:pt x="949" y="725"/>
                    <a:pt x="950" y="722"/>
                  </a:cubicBezTo>
                  <a:cubicBezTo>
                    <a:pt x="951" y="721"/>
                    <a:pt x="951" y="719"/>
                    <a:pt x="952" y="718"/>
                  </a:cubicBezTo>
                  <a:cubicBezTo>
                    <a:pt x="953" y="715"/>
                    <a:pt x="954" y="713"/>
                    <a:pt x="955" y="710"/>
                  </a:cubicBezTo>
                  <a:cubicBezTo>
                    <a:pt x="955" y="709"/>
                    <a:pt x="956" y="707"/>
                    <a:pt x="956" y="706"/>
                  </a:cubicBezTo>
                  <a:cubicBezTo>
                    <a:pt x="957" y="703"/>
                    <a:pt x="958" y="701"/>
                    <a:pt x="959" y="698"/>
                  </a:cubicBezTo>
                  <a:cubicBezTo>
                    <a:pt x="959" y="697"/>
                    <a:pt x="960" y="695"/>
                    <a:pt x="960" y="694"/>
                  </a:cubicBezTo>
                  <a:cubicBezTo>
                    <a:pt x="961" y="691"/>
                    <a:pt x="962" y="688"/>
                    <a:pt x="963" y="685"/>
                  </a:cubicBezTo>
                  <a:cubicBezTo>
                    <a:pt x="963" y="684"/>
                    <a:pt x="964" y="683"/>
                    <a:pt x="964" y="682"/>
                  </a:cubicBezTo>
                  <a:cubicBezTo>
                    <a:pt x="965" y="679"/>
                    <a:pt x="966" y="676"/>
                    <a:pt x="967" y="672"/>
                  </a:cubicBezTo>
                  <a:cubicBezTo>
                    <a:pt x="967" y="672"/>
                    <a:pt x="967" y="671"/>
                    <a:pt x="968" y="670"/>
                  </a:cubicBezTo>
                  <a:cubicBezTo>
                    <a:pt x="971" y="658"/>
                    <a:pt x="974" y="645"/>
                    <a:pt x="976" y="633"/>
                  </a:cubicBezTo>
                  <a:cubicBezTo>
                    <a:pt x="976" y="632"/>
                    <a:pt x="976" y="631"/>
                    <a:pt x="977" y="631"/>
                  </a:cubicBezTo>
                  <a:cubicBezTo>
                    <a:pt x="977" y="627"/>
                    <a:pt x="978" y="624"/>
                    <a:pt x="978" y="620"/>
                  </a:cubicBezTo>
                  <a:cubicBezTo>
                    <a:pt x="979" y="619"/>
                    <a:pt x="979" y="618"/>
                    <a:pt x="979" y="617"/>
                  </a:cubicBezTo>
                  <a:cubicBezTo>
                    <a:pt x="979" y="614"/>
                    <a:pt x="980" y="611"/>
                    <a:pt x="980" y="608"/>
                  </a:cubicBezTo>
                  <a:cubicBezTo>
                    <a:pt x="980" y="607"/>
                    <a:pt x="981" y="606"/>
                    <a:pt x="981" y="604"/>
                  </a:cubicBezTo>
                  <a:cubicBezTo>
                    <a:pt x="981" y="601"/>
                    <a:pt x="981" y="598"/>
                    <a:pt x="982" y="595"/>
                  </a:cubicBezTo>
                  <a:cubicBezTo>
                    <a:pt x="982" y="594"/>
                    <a:pt x="982" y="593"/>
                    <a:pt x="982" y="592"/>
                  </a:cubicBezTo>
                  <a:cubicBezTo>
                    <a:pt x="983" y="589"/>
                    <a:pt x="983" y="586"/>
                    <a:pt x="983" y="583"/>
                  </a:cubicBezTo>
                  <a:cubicBezTo>
                    <a:pt x="983" y="582"/>
                    <a:pt x="983" y="580"/>
                    <a:pt x="983" y="579"/>
                  </a:cubicBezTo>
                  <a:cubicBezTo>
                    <a:pt x="984" y="576"/>
                    <a:pt x="984" y="573"/>
                    <a:pt x="984" y="570"/>
                  </a:cubicBezTo>
                  <a:cubicBezTo>
                    <a:pt x="984" y="569"/>
                    <a:pt x="984" y="568"/>
                    <a:pt x="984" y="567"/>
                  </a:cubicBezTo>
                  <a:cubicBezTo>
                    <a:pt x="984" y="563"/>
                    <a:pt x="985" y="560"/>
                    <a:pt x="985" y="557"/>
                  </a:cubicBezTo>
                  <a:cubicBezTo>
                    <a:pt x="985" y="556"/>
                    <a:pt x="985" y="555"/>
                    <a:pt x="985" y="554"/>
                  </a:cubicBezTo>
                  <a:cubicBezTo>
                    <a:pt x="985" y="551"/>
                    <a:pt x="985" y="547"/>
                    <a:pt x="985" y="544"/>
                  </a:cubicBezTo>
                  <a:cubicBezTo>
                    <a:pt x="985" y="543"/>
                    <a:pt x="985" y="542"/>
                    <a:pt x="985" y="542"/>
                  </a:cubicBezTo>
                  <a:cubicBezTo>
                    <a:pt x="985" y="529"/>
                    <a:pt x="985" y="516"/>
                    <a:pt x="984" y="503"/>
                  </a:cubicBezTo>
                  <a:cubicBezTo>
                    <a:pt x="984" y="503"/>
                    <a:pt x="984" y="503"/>
                    <a:pt x="984" y="503"/>
                  </a:cubicBezTo>
                  <a:cubicBezTo>
                    <a:pt x="842" y="484"/>
                    <a:pt x="842" y="484"/>
                    <a:pt x="842" y="484"/>
                  </a:cubicBezTo>
                  <a:close/>
                  <a:moveTo>
                    <a:pt x="841" y="192"/>
                  </a:moveTo>
                  <a:cubicBezTo>
                    <a:pt x="649" y="0"/>
                    <a:pt x="337" y="0"/>
                    <a:pt x="145" y="192"/>
                  </a:cubicBezTo>
                  <a:cubicBezTo>
                    <a:pt x="145" y="192"/>
                    <a:pt x="144" y="193"/>
                    <a:pt x="144" y="193"/>
                  </a:cubicBezTo>
                  <a:cubicBezTo>
                    <a:pt x="141" y="196"/>
                    <a:pt x="139" y="199"/>
                    <a:pt x="136" y="202"/>
                  </a:cubicBezTo>
                  <a:cubicBezTo>
                    <a:pt x="135" y="203"/>
                    <a:pt x="134" y="204"/>
                    <a:pt x="132" y="205"/>
                  </a:cubicBezTo>
                  <a:cubicBezTo>
                    <a:pt x="131" y="207"/>
                    <a:pt x="129" y="209"/>
                    <a:pt x="127" y="211"/>
                  </a:cubicBezTo>
                  <a:cubicBezTo>
                    <a:pt x="126" y="213"/>
                    <a:pt x="124" y="214"/>
                    <a:pt x="123" y="216"/>
                  </a:cubicBezTo>
                  <a:cubicBezTo>
                    <a:pt x="121" y="217"/>
                    <a:pt x="120" y="219"/>
                    <a:pt x="118" y="221"/>
                  </a:cubicBezTo>
                  <a:cubicBezTo>
                    <a:pt x="117" y="223"/>
                    <a:pt x="116" y="224"/>
                    <a:pt x="114" y="226"/>
                  </a:cubicBezTo>
                  <a:cubicBezTo>
                    <a:pt x="113" y="228"/>
                    <a:pt x="111" y="230"/>
                    <a:pt x="110" y="231"/>
                  </a:cubicBezTo>
                  <a:cubicBezTo>
                    <a:pt x="109" y="233"/>
                    <a:pt x="107" y="235"/>
                    <a:pt x="106" y="236"/>
                  </a:cubicBezTo>
                  <a:cubicBezTo>
                    <a:pt x="105" y="238"/>
                    <a:pt x="103" y="240"/>
                    <a:pt x="102" y="242"/>
                  </a:cubicBezTo>
                  <a:cubicBezTo>
                    <a:pt x="101" y="243"/>
                    <a:pt x="99" y="245"/>
                    <a:pt x="98" y="246"/>
                  </a:cubicBezTo>
                  <a:cubicBezTo>
                    <a:pt x="97" y="248"/>
                    <a:pt x="95" y="250"/>
                    <a:pt x="94" y="252"/>
                  </a:cubicBezTo>
                  <a:cubicBezTo>
                    <a:pt x="93" y="254"/>
                    <a:pt x="92" y="255"/>
                    <a:pt x="91" y="257"/>
                  </a:cubicBezTo>
                  <a:cubicBezTo>
                    <a:pt x="89" y="259"/>
                    <a:pt x="88" y="261"/>
                    <a:pt x="86" y="263"/>
                  </a:cubicBezTo>
                  <a:cubicBezTo>
                    <a:pt x="85" y="265"/>
                    <a:pt x="84" y="266"/>
                    <a:pt x="83" y="268"/>
                  </a:cubicBezTo>
                  <a:cubicBezTo>
                    <a:pt x="82" y="270"/>
                    <a:pt x="80" y="272"/>
                    <a:pt x="79" y="274"/>
                  </a:cubicBezTo>
                  <a:cubicBezTo>
                    <a:pt x="78" y="275"/>
                    <a:pt x="77" y="277"/>
                    <a:pt x="76" y="278"/>
                  </a:cubicBezTo>
                  <a:cubicBezTo>
                    <a:pt x="75" y="281"/>
                    <a:pt x="73" y="283"/>
                    <a:pt x="72" y="286"/>
                  </a:cubicBezTo>
                  <a:cubicBezTo>
                    <a:pt x="71" y="287"/>
                    <a:pt x="70" y="288"/>
                    <a:pt x="70" y="289"/>
                  </a:cubicBezTo>
                  <a:cubicBezTo>
                    <a:pt x="68" y="292"/>
                    <a:pt x="66" y="296"/>
                    <a:pt x="64" y="299"/>
                  </a:cubicBezTo>
                  <a:cubicBezTo>
                    <a:pt x="64" y="299"/>
                    <a:pt x="63" y="300"/>
                    <a:pt x="63" y="300"/>
                  </a:cubicBezTo>
                  <a:cubicBezTo>
                    <a:pt x="61" y="304"/>
                    <a:pt x="59" y="308"/>
                    <a:pt x="57" y="312"/>
                  </a:cubicBezTo>
                  <a:cubicBezTo>
                    <a:pt x="57" y="313"/>
                    <a:pt x="56" y="314"/>
                    <a:pt x="56" y="315"/>
                  </a:cubicBezTo>
                  <a:cubicBezTo>
                    <a:pt x="54" y="317"/>
                    <a:pt x="53" y="320"/>
                    <a:pt x="51" y="323"/>
                  </a:cubicBezTo>
                  <a:cubicBezTo>
                    <a:pt x="51" y="324"/>
                    <a:pt x="50" y="326"/>
                    <a:pt x="49" y="327"/>
                  </a:cubicBezTo>
                  <a:cubicBezTo>
                    <a:pt x="48" y="329"/>
                    <a:pt x="47" y="332"/>
                    <a:pt x="46" y="335"/>
                  </a:cubicBezTo>
                  <a:cubicBezTo>
                    <a:pt x="45" y="336"/>
                    <a:pt x="45" y="337"/>
                    <a:pt x="44" y="339"/>
                  </a:cubicBezTo>
                  <a:cubicBezTo>
                    <a:pt x="43" y="341"/>
                    <a:pt x="42" y="344"/>
                    <a:pt x="41" y="346"/>
                  </a:cubicBezTo>
                  <a:cubicBezTo>
                    <a:pt x="40" y="348"/>
                    <a:pt x="39" y="349"/>
                    <a:pt x="39" y="351"/>
                  </a:cubicBezTo>
                  <a:cubicBezTo>
                    <a:pt x="38" y="353"/>
                    <a:pt x="37" y="355"/>
                    <a:pt x="36" y="358"/>
                  </a:cubicBezTo>
                  <a:cubicBezTo>
                    <a:pt x="35" y="359"/>
                    <a:pt x="35" y="361"/>
                    <a:pt x="34" y="362"/>
                  </a:cubicBezTo>
                  <a:cubicBezTo>
                    <a:pt x="33" y="365"/>
                    <a:pt x="32" y="367"/>
                    <a:pt x="31" y="370"/>
                  </a:cubicBezTo>
                  <a:cubicBezTo>
                    <a:pt x="31" y="371"/>
                    <a:pt x="30" y="373"/>
                    <a:pt x="30" y="374"/>
                  </a:cubicBezTo>
                  <a:cubicBezTo>
                    <a:pt x="29" y="377"/>
                    <a:pt x="28" y="379"/>
                    <a:pt x="27" y="382"/>
                  </a:cubicBezTo>
                  <a:cubicBezTo>
                    <a:pt x="27" y="383"/>
                    <a:pt x="26" y="385"/>
                    <a:pt x="26" y="386"/>
                  </a:cubicBezTo>
                  <a:cubicBezTo>
                    <a:pt x="25" y="389"/>
                    <a:pt x="24" y="392"/>
                    <a:pt x="23" y="394"/>
                  </a:cubicBezTo>
                  <a:cubicBezTo>
                    <a:pt x="23" y="396"/>
                    <a:pt x="22" y="397"/>
                    <a:pt x="22" y="398"/>
                  </a:cubicBezTo>
                  <a:cubicBezTo>
                    <a:pt x="21" y="401"/>
                    <a:pt x="20" y="404"/>
                    <a:pt x="19" y="407"/>
                  </a:cubicBezTo>
                  <a:cubicBezTo>
                    <a:pt x="19" y="408"/>
                    <a:pt x="19" y="409"/>
                    <a:pt x="18" y="410"/>
                  </a:cubicBezTo>
                  <a:cubicBezTo>
                    <a:pt x="15" y="422"/>
                    <a:pt x="12" y="435"/>
                    <a:pt x="10" y="447"/>
                  </a:cubicBezTo>
                  <a:cubicBezTo>
                    <a:pt x="10" y="448"/>
                    <a:pt x="10" y="449"/>
                    <a:pt x="9" y="449"/>
                  </a:cubicBezTo>
                  <a:cubicBezTo>
                    <a:pt x="9" y="453"/>
                    <a:pt x="8" y="456"/>
                    <a:pt x="8" y="460"/>
                  </a:cubicBezTo>
                  <a:cubicBezTo>
                    <a:pt x="7" y="461"/>
                    <a:pt x="7" y="462"/>
                    <a:pt x="7" y="463"/>
                  </a:cubicBezTo>
                  <a:cubicBezTo>
                    <a:pt x="7" y="466"/>
                    <a:pt x="6" y="469"/>
                    <a:pt x="6" y="472"/>
                  </a:cubicBezTo>
                  <a:cubicBezTo>
                    <a:pt x="6" y="473"/>
                    <a:pt x="5" y="474"/>
                    <a:pt x="5" y="476"/>
                  </a:cubicBezTo>
                  <a:cubicBezTo>
                    <a:pt x="5" y="479"/>
                    <a:pt x="5" y="482"/>
                    <a:pt x="4" y="485"/>
                  </a:cubicBezTo>
                  <a:cubicBezTo>
                    <a:pt x="4" y="486"/>
                    <a:pt x="4" y="487"/>
                    <a:pt x="4" y="488"/>
                  </a:cubicBezTo>
                  <a:cubicBezTo>
                    <a:pt x="3" y="491"/>
                    <a:pt x="3" y="494"/>
                    <a:pt x="3" y="497"/>
                  </a:cubicBezTo>
                  <a:cubicBezTo>
                    <a:pt x="3" y="498"/>
                    <a:pt x="3" y="500"/>
                    <a:pt x="3" y="501"/>
                  </a:cubicBezTo>
                  <a:cubicBezTo>
                    <a:pt x="2" y="504"/>
                    <a:pt x="2" y="507"/>
                    <a:pt x="2" y="510"/>
                  </a:cubicBezTo>
                  <a:cubicBezTo>
                    <a:pt x="2" y="511"/>
                    <a:pt x="2" y="512"/>
                    <a:pt x="2" y="513"/>
                  </a:cubicBezTo>
                  <a:cubicBezTo>
                    <a:pt x="2" y="517"/>
                    <a:pt x="1" y="520"/>
                    <a:pt x="1" y="523"/>
                  </a:cubicBezTo>
                  <a:cubicBezTo>
                    <a:pt x="1" y="524"/>
                    <a:pt x="1" y="525"/>
                    <a:pt x="1" y="526"/>
                  </a:cubicBezTo>
                  <a:cubicBezTo>
                    <a:pt x="1" y="529"/>
                    <a:pt x="1" y="533"/>
                    <a:pt x="1" y="537"/>
                  </a:cubicBezTo>
                  <a:cubicBezTo>
                    <a:pt x="1" y="537"/>
                    <a:pt x="1" y="538"/>
                    <a:pt x="1" y="538"/>
                  </a:cubicBezTo>
                  <a:cubicBezTo>
                    <a:pt x="1" y="551"/>
                    <a:pt x="1" y="564"/>
                    <a:pt x="2" y="577"/>
                  </a:cubicBezTo>
                  <a:cubicBezTo>
                    <a:pt x="144" y="596"/>
                    <a:pt x="144" y="596"/>
                    <a:pt x="144" y="596"/>
                  </a:cubicBezTo>
                  <a:cubicBezTo>
                    <a:pt x="144" y="596"/>
                    <a:pt x="144" y="596"/>
                    <a:pt x="144" y="596"/>
                  </a:cubicBezTo>
                  <a:cubicBezTo>
                    <a:pt x="143" y="593"/>
                    <a:pt x="143" y="590"/>
                    <a:pt x="142" y="586"/>
                  </a:cubicBezTo>
                  <a:cubicBezTo>
                    <a:pt x="142" y="586"/>
                    <a:pt x="142" y="586"/>
                    <a:pt x="142" y="586"/>
                  </a:cubicBezTo>
                  <a:cubicBezTo>
                    <a:pt x="140" y="573"/>
                    <a:pt x="139" y="559"/>
                    <a:pt x="139" y="545"/>
                  </a:cubicBezTo>
                  <a:cubicBezTo>
                    <a:pt x="139" y="545"/>
                    <a:pt x="139" y="545"/>
                    <a:pt x="139" y="545"/>
                  </a:cubicBezTo>
                  <a:cubicBezTo>
                    <a:pt x="139" y="542"/>
                    <a:pt x="139" y="539"/>
                    <a:pt x="139" y="535"/>
                  </a:cubicBezTo>
                  <a:cubicBezTo>
                    <a:pt x="139" y="535"/>
                    <a:pt x="139" y="535"/>
                    <a:pt x="139" y="535"/>
                  </a:cubicBezTo>
                  <a:cubicBezTo>
                    <a:pt x="139" y="521"/>
                    <a:pt x="140" y="508"/>
                    <a:pt x="142" y="495"/>
                  </a:cubicBezTo>
                  <a:cubicBezTo>
                    <a:pt x="142" y="494"/>
                    <a:pt x="142" y="494"/>
                    <a:pt x="142" y="494"/>
                  </a:cubicBezTo>
                  <a:cubicBezTo>
                    <a:pt x="142" y="491"/>
                    <a:pt x="143" y="488"/>
                    <a:pt x="143" y="485"/>
                  </a:cubicBezTo>
                  <a:cubicBezTo>
                    <a:pt x="143" y="484"/>
                    <a:pt x="143" y="484"/>
                    <a:pt x="144" y="484"/>
                  </a:cubicBezTo>
                  <a:cubicBezTo>
                    <a:pt x="145" y="474"/>
                    <a:pt x="147" y="464"/>
                    <a:pt x="150" y="454"/>
                  </a:cubicBezTo>
                  <a:cubicBezTo>
                    <a:pt x="150" y="454"/>
                    <a:pt x="150" y="453"/>
                    <a:pt x="150" y="453"/>
                  </a:cubicBezTo>
                  <a:cubicBezTo>
                    <a:pt x="151" y="450"/>
                    <a:pt x="151" y="447"/>
                    <a:pt x="152" y="445"/>
                  </a:cubicBezTo>
                  <a:cubicBezTo>
                    <a:pt x="152" y="444"/>
                    <a:pt x="152" y="443"/>
                    <a:pt x="153" y="443"/>
                  </a:cubicBezTo>
                  <a:cubicBezTo>
                    <a:pt x="153" y="440"/>
                    <a:pt x="154" y="438"/>
                    <a:pt x="155" y="435"/>
                  </a:cubicBezTo>
                  <a:cubicBezTo>
                    <a:pt x="155" y="434"/>
                    <a:pt x="155" y="434"/>
                    <a:pt x="155" y="433"/>
                  </a:cubicBezTo>
                  <a:cubicBezTo>
                    <a:pt x="156" y="430"/>
                    <a:pt x="157" y="427"/>
                    <a:pt x="158" y="424"/>
                  </a:cubicBezTo>
                  <a:cubicBezTo>
                    <a:pt x="158" y="424"/>
                    <a:pt x="158" y="424"/>
                    <a:pt x="159" y="424"/>
                  </a:cubicBezTo>
                  <a:cubicBezTo>
                    <a:pt x="161" y="418"/>
                    <a:pt x="163" y="411"/>
                    <a:pt x="166" y="405"/>
                  </a:cubicBezTo>
                  <a:cubicBezTo>
                    <a:pt x="166" y="404"/>
                    <a:pt x="166" y="404"/>
                    <a:pt x="166" y="403"/>
                  </a:cubicBezTo>
                  <a:cubicBezTo>
                    <a:pt x="167" y="401"/>
                    <a:pt x="168" y="398"/>
                    <a:pt x="169" y="396"/>
                  </a:cubicBezTo>
                  <a:cubicBezTo>
                    <a:pt x="170" y="395"/>
                    <a:pt x="170" y="394"/>
                    <a:pt x="171" y="394"/>
                  </a:cubicBezTo>
                  <a:cubicBezTo>
                    <a:pt x="172" y="391"/>
                    <a:pt x="173" y="389"/>
                    <a:pt x="174" y="387"/>
                  </a:cubicBezTo>
                  <a:cubicBezTo>
                    <a:pt x="174" y="386"/>
                    <a:pt x="174" y="385"/>
                    <a:pt x="175" y="385"/>
                  </a:cubicBezTo>
                  <a:cubicBezTo>
                    <a:pt x="176" y="382"/>
                    <a:pt x="177" y="379"/>
                    <a:pt x="179" y="377"/>
                  </a:cubicBezTo>
                  <a:cubicBezTo>
                    <a:pt x="179" y="377"/>
                    <a:pt x="179" y="376"/>
                    <a:pt x="179" y="376"/>
                  </a:cubicBezTo>
                  <a:cubicBezTo>
                    <a:pt x="181" y="373"/>
                    <a:pt x="182" y="370"/>
                    <a:pt x="184" y="367"/>
                  </a:cubicBezTo>
                  <a:cubicBezTo>
                    <a:pt x="184" y="367"/>
                    <a:pt x="185" y="366"/>
                    <a:pt x="185" y="366"/>
                  </a:cubicBezTo>
                  <a:cubicBezTo>
                    <a:pt x="186" y="363"/>
                    <a:pt x="188" y="361"/>
                    <a:pt x="189" y="359"/>
                  </a:cubicBezTo>
                  <a:cubicBezTo>
                    <a:pt x="189" y="358"/>
                    <a:pt x="190" y="357"/>
                    <a:pt x="191" y="356"/>
                  </a:cubicBezTo>
                  <a:cubicBezTo>
                    <a:pt x="192" y="354"/>
                    <a:pt x="193" y="352"/>
                    <a:pt x="194" y="350"/>
                  </a:cubicBezTo>
                  <a:cubicBezTo>
                    <a:pt x="195" y="349"/>
                    <a:pt x="195" y="348"/>
                    <a:pt x="196" y="347"/>
                  </a:cubicBezTo>
                  <a:cubicBezTo>
                    <a:pt x="197" y="345"/>
                    <a:pt x="199" y="343"/>
                    <a:pt x="200" y="342"/>
                  </a:cubicBezTo>
                  <a:cubicBezTo>
                    <a:pt x="200" y="341"/>
                    <a:pt x="201" y="340"/>
                    <a:pt x="202" y="339"/>
                  </a:cubicBezTo>
                  <a:cubicBezTo>
                    <a:pt x="203" y="337"/>
                    <a:pt x="205" y="334"/>
                    <a:pt x="207" y="332"/>
                  </a:cubicBezTo>
                  <a:cubicBezTo>
                    <a:pt x="207" y="331"/>
                    <a:pt x="207" y="331"/>
                    <a:pt x="207" y="331"/>
                  </a:cubicBezTo>
                  <a:cubicBezTo>
                    <a:pt x="209" y="328"/>
                    <a:pt x="211" y="326"/>
                    <a:pt x="213" y="323"/>
                  </a:cubicBezTo>
                  <a:cubicBezTo>
                    <a:pt x="214" y="322"/>
                    <a:pt x="215" y="321"/>
                    <a:pt x="215" y="321"/>
                  </a:cubicBezTo>
                  <a:cubicBezTo>
                    <a:pt x="217" y="319"/>
                    <a:pt x="218" y="317"/>
                    <a:pt x="220" y="315"/>
                  </a:cubicBezTo>
                  <a:cubicBezTo>
                    <a:pt x="220" y="314"/>
                    <a:pt x="221" y="313"/>
                    <a:pt x="222" y="312"/>
                  </a:cubicBezTo>
                  <a:cubicBezTo>
                    <a:pt x="223" y="311"/>
                    <a:pt x="225" y="309"/>
                    <a:pt x="226" y="307"/>
                  </a:cubicBezTo>
                  <a:cubicBezTo>
                    <a:pt x="227" y="306"/>
                    <a:pt x="228" y="305"/>
                    <a:pt x="229" y="305"/>
                  </a:cubicBezTo>
                  <a:cubicBezTo>
                    <a:pt x="230" y="303"/>
                    <a:pt x="232" y="301"/>
                    <a:pt x="233" y="299"/>
                  </a:cubicBezTo>
                  <a:cubicBezTo>
                    <a:pt x="234" y="299"/>
                    <a:pt x="235" y="298"/>
                    <a:pt x="236" y="297"/>
                  </a:cubicBezTo>
                  <a:cubicBezTo>
                    <a:pt x="238" y="295"/>
                    <a:pt x="240" y="292"/>
                    <a:pt x="243" y="290"/>
                  </a:cubicBezTo>
                  <a:cubicBezTo>
                    <a:pt x="251" y="281"/>
                    <a:pt x="260" y="273"/>
                    <a:pt x="270" y="265"/>
                  </a:cubicBezTo>
                  <a:cubicBezTo>
                    <a:pt x="274" y="262"/>
                    <a:pt x="279" y="258"/>
                    <a:pt x="284" y="254"/>
                  </a:cubicBezTo>
                  <a:cubicBezTo>
                    <a:pt x="288" y="251"/>
                    <a:pt x="293" y="248"/>
                    <a:pt x="298" y="244"/>
                  </a:cubicBezTo>
                  <a:cubicBezTo>
                    <a:pt x="311" y="236"/>
                    <a:pt x="324" y="228"/>
                    <a:pt x="338" y="222"/>
                  </a:cubicBezTo>
                  <a:cubicBezTo>
                    <a:pt x="470" y="157"/>
                    <a:pt x="634" y="180"/>
                    <a:pt x="743" y="290"/>
                  </a:cubicBezTo>
                  <a:cubicBezTo>
                    <a:pt x="649" y="384"/>
                    <a:pt x="649" y="384"/>
                    <a:pt x="649" y="384"/>
                  </a:cubicBezTo>
                  <a:cubicBezTo>
                    <a:pt x="821" y="408"/>
                    <a:pt x="821" y="408"/>
                    <a:pt x="821" y="408"/>
                  </a:cubicBezTo>
                  <a:cubicBezTo>
                    <a:pt x="972" y="429"/>
                    <a:pt x="972" y="429"/>
                    <a:pt x="972" y="429"/>
                  </a:cubicBezTo>
                  <a:cubicBezTo>
                    <a:pt x="986" y="431"/>
                    <a:pt x="986" y="431"/>
                    <a:pt x="986" y="431"/>
                  </a:cubicBezTo>
                  <a:cubicBezTo>
                    <a:pt x="939" y="94"/>
                    <a:pt x="939" y="94"/>
                    <a:pt x="939" y="94"/>
                  </a:cubicBezTo>
                  <a:lnTo>
                    <a:pt x="841" y="19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8" name="Group 7"/>
          <p:cNvGrpSpPr/>
          <p:nvPr/>
        </p:nvGrpSpPr>
        <p:grpSpPr>
          <a:xfrm>
            <a:off x="2984209" y="1629763"/>
            <a:ext cx="3031193" cy="2549592"/>
            <a:chOff x="2984209" y="1528163"/>
            <a:chExt cx="3031193" cy="2549592"/>
          </a:xfrm>
        </p:grpSpPr>
        <p:sp>
          <p:nvSpPr>
            <p:cNvPr id="33" name="Freeform 30"/>
            <p:cNvSpPr>
              <a:spLocks noEditPoints="1"/>
            </p:cNvSpPr>
            <p:nvPr/>
          </p:nvSpPr>
          <p:spPr bwMode="auto">
            <a:xfrm>
              <a:off x="4683019" y="1528163"/>
              <a:ext cx="1332383" cy="2549592"/>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31"/>
            <p:cNvSpPr>
              <a:spLocks/>
            </p:cNvSpPr>
            <p:nvPr/>
          </p:nvSpPr>
          <p:spPr bwMode="auto">
            <a:xfrm>
              <a:off x="3031373" y="2267747"/>
              <a:ext cx="1993553" cy="1424777"/>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7" name="Group 6"/>
            <p:cNvGrpSpPr/>
            <p:nvPr/>
          </p:nvGrpSpPr>
          <p:grpSpPr>
            <a:xfrm>
              <a:off x="2984209" y="2215808"/>
              <a:ext cx="2100784" cy="1798490"/>
              <a:chOff x="3638708" y="2569791"/>
              <a:chExt cx="1641695" cy="1405462"/>
            </a:xfrm>
          </p:grpSpPr>
          <p:sp>
            <p:nvSpPr>
              <p:cNvPr id="26" name="Freeform 6"/>
              <p:cNvSpPr>
                <a:spLocks noEditPoints="1"/>
              </p:cNvSpPr>
              <p:nvPr/>
            </p:nvSpPr>
            <p:spPr bwMode="auto">
              <a:xfrm>
                <a:off x="3638708" y="2569791"/>
                <a:ext cx="1641695" cy="1405462"/>
              </a:xfrm>
              <a:custGeom>
                <a:avLst/>
                <a:gdLst>
                  <a:gd name="T0" fmla="*/ 1325 w 1369"/>
                  <a:gd name="T1" fmla="*/ 0 h 1170"/>
                  <a:gd name="T2" fmla="*/ 47 w 1369"/>
                  <a:gd name="T3" fmla="*/ 0 h 1170"/>
                  <a:gd name="T4" fmla="*/ 0 w 1369"/>
                  <a:gd name="T5" fmla="*/ 42 h 1170"/>
                  <a:gd name="T6" fmla="*/ 0 w 1369"/>
                  <a:gd name="T7" fmla="*/ 957 h 1170"/>
                  <a:gd name="T8" fmla="*/ 47 w 1369"/>
                  <a:gd name="T9" fmla="*/ 1001 h 1170"/>
                  <a:gd name="T10" fmla="*/ 467 w 1369"/>
                  <a:gd name="T11" fmla="*/ 1001 h 1170"/>
                  <a:gd name="T12" fmla="*/ 454 w 1369"/>
                  <a:gd name="T13" fmla="*/ 1067 h 1170"/>
                  <a:gd name="T14" fmla="*/ 382 w 1369"/>
                  <a:gd name="T15" fmla="*/ 1092 h 1170"/>
                  <a:gd name="T16" fmla="*/ 375 w 1369"/>
                  <a:gd name="T17" fmla="*/ 1092 h 1170"/>
                  <a:gd name="T18" fmla="*/ 346 w 1369"/>
                  <a:gd name="T19" fmla="*/ 1123 h 1170"/>
                  <a:gd name="T20" fmla="*/ 346 w 1369"/>
                  <a:gd name="T21" fmla="*/ 1139 h 1170"/>
                  <a:gd name="T22" fmla="*/ 375 w 1369"/>
                  <a:gd name="T23" fmla="*/ 1170 h 1170"/>
                  <a:gd name="T24" fmla="*/ 1011 w 1369"/>
                  <a:gd name="T25" fmla="*/ 1170 h 1170"/>
                  <a:gd name="T26" fmla="*/ 1040 w 1369"/>
                  <a:gd name="T27" fmla="*/ 1139 h 1170"/>
                  <a:gd name="T28" fmla="*/ 1040 w 1369"/>
                  <a:gd name="T29" fmla="*/ 1123 h 1170"/>
                  <a:gd name="T30" fmla="*/ 1011 w 1369"/>
                  <a:gd name="T31" fmla="*/ 1092 h 1170"/>
                  <a:gd name="T32" fmla="*/ 1008 w 1369"/>
                  <a:gd name="T33" fmla="*/ 1092 h 1170"/>
                  <a:gd name="T34" fmla="*/ 940 w 1369"/>
                  <a:gd name="T35" fmla="*/ 1067 h 1170"/>
                  <a:gd name="T36" fmla="*/ 929 w 1369"/>
                  <a:gd name="T37" fmla="*/ 1001 h 1170"/>
                  <a:gd name="T38" fmla="*/ 1325 w 1369"/>
                  <a:gd name="T39" fmla="*/ 1001 h 1170"/>
                  <a:gd name="T40" fmla="*/ 1369 w 1369"/>
                  <a:gd name="T41" fmla="*/ 957 h 1170"/>
                  <a:gd name="T42" fmla="*/ 1369 w 1369"/>
                  <a:gd name="T43" fmla="*/ 42 h 1170"/>
                  <a:gd name="T44" fmla="*/ 1325 w 1369"/>
                  <a:gd name="T45" fmla="*/ 0 h 1170"/>
                  <a:gd name="T46" fmla="*/ 1290 w 1369"/>
                  <a:gd name="T47" fmla="*/ 889 h 1170"/>
                  <a:gd name="T48" fmla="*/ 1254 w 1369"/>
                  <a:gd name="T49" fmla="*/ 925 h 1170"/>
                  <a:gd name="T50" fmla="*/ 118 w 1369"/>
                  <a:gd name="T51" fmla="*/ 925 h 1170"/>
                  <a:gd name="T52" fmla="*/ 80 w 1369"/>
                  <a:gd name="T53" fmla="*/ 889 h 1170"/>
                  <a:gd name="T54" fmla="*/ 80 w 1369"/>
                  <a:gd name="T55" fmla="*/ 110 h 1170"/>
                  <a:gd name="T56" fmla="*/ 118 w 1369"/>
                  <a:gd name="T57" fmla="*/ 74 h 1170"/>
                  <a:gd name="T58" fmla="*/ 1254 w 1369"/>
                  <a:gd name="T59" fmla="*/ 74 h 1170"/>
                  <a:gd name="T60" fmla="*/ 1290 w 1369"/>
                  <a:gd name="T61" fmla="*/ 110 h 1170"/>
                  <a:gd name="T62" fmla="*/ 1290 w 1369"/>
                  <a:gd name="T63" fmla="*/ 889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9" h="1170">
                    <a:moveTo>
                      <a:pt x="1325" y="0"/>
                    </a:moveTo>
                    <a:cubicBezTo>
                      <a:pt x="47" y="0"/>
                      <a:pt x="47" y="0"/>
                      <a:pt x="47" y="0"/>
                    </a:cubicBezTo>
                    <a:cubicBezTo>
                      <a:pt x="21" y="0"/>
                      <a:pt x="0" y="18"/>
                      <a:pt x="0" y="42"/>
                    </a:cubicBezTo>
                    <a:cubicBezTo>
                      <a:pt x="0" y="957"/>
                      <a:pt x="0" y="957"/>
                      <a:pt x="0" y="957"/>
                    </a:cubicBezTo>
                    <a:cubicBezTo>
                      <a:pt x="0" y="981"/>
                      <a:pt x="21" y="1001"/>
                      <a:pt x="47" y="1001"/>
                    </a:cubicBezTo>
                    <a:cubicBezTo>
                      <a:pt x="467" y="1001"/>
                      <a:pt x="467" y="1001"/>
                      <a:pt x="467" y="1001"/>
                    </a:cubicBezTo>
                    <a:cubicBezTo>
                      <a:pt x="467" y="1001"/>
                      <a:pt x="464" y="1053"/>
                      <a:pt x="454" y="1067"/>
                    </a:cubicBezTo>
                    <a:cubicBezTo>
                      <a:pt x="437" y="1092"/>
                      <a:pt x="405" y="1085"/>
                      <a:pt x="382" y="1092"/>
                    </a:cubicBezTo>
                    <a:cubicBezTo>
                      <a:pt x="375" y="1092"/>
                      <a:pt x="375" y="1092"/>
                      <a:pt x="375" y="1092"/>
                    </a:cubicBezTo>
                    <a:cubicBezTo>
                      <a:pt x="359" y="1092"/>
                      <a:pt x="346" y="1106"/>
                      <a:pt x="346" y="1123"/>
                    </a:cubicBezTo>
                    <a:cubicBezTo>
                      <a:pt x="346" y="1139"/>
                      <a:pt x="346" y="1139"/>
                      <a:pt x="346" y="1139"/>
                    </a:cubicBezTo>
                    <a:cubicBezTo>
                      <a:pt x="346" y="1156"/>
                      <a:pt x="359" y="1170"/>
                      <a:pt x="375" y="1170"/>
                    </a:cubicBezTo>
                    <a:cubicBezTo>
                      <a:pt x="1011" y="1170"/>
                      <a:pt x="1011" y="1170"/>
                      <a:pt x="1011" y="1170"/>
                    </a:cubicBezTo>
                    <a:cubicBezTo>
                      <a:pt x="1026" y="1170"/>
                      <a:pt x="1040" y="1156"/>
                      <a:pt x="1040" y="1139"/>
                    </a:cubicBezTo>
                    <a:cubicBezTo>
                      <a:pt x="1040" y="1123"/>
                      <a:pt x="1040" y="1123"/>
                      <a:pt x="1040" y="1123"/>
                    </a:cubicBezTo>
                    <a:cubicBezTo>
                      <a:pt x="1040" y="1106"/>
                      <a:pt x="1026" y="1092"/>
                      <a:pt x="1011" y="1092"/>
                    </a:cubicBezTo>
                    <a:cubicBezTo>
                      <a:pt x="1008" y="1092"/>
                      <a:pt x="1008" y="1092"/>
                      <a:pt x="1008" y="1092"/>
                    </a:cubicBezTo>
                    <a:cubicBezTo>
                      <a:pt x="995" y="1090"/>
                      <a:pt x="957" y="1093"/>
                      <a:pt x="940" y="1067"/>
                    </a:cubicBezTo>
                    <a:cubicBezTo>
                      <a:pt x="932" y="1053"/>
                      <a:pt x="929" y="1001"/>
                      <a:pt x="929" y="1001"/>
                    </a:cubicBezTo>
                    <a:cubicBezTo>
                      <a:pt x="1325" y="1001"/>
                      <a:pt x="1325" y="1001"/>
                      <a:pt x="1325" y="1001"/>
                    </a:cubicBezTo>
                    <a:cubicBezTo>
                      <a:pt x="1349" y="1001"/>
                      <a:pt x="1369" y="981"/>
                      <a:pt x="1369" y="957"/>
                    </a:cubicBezTo>
                    <a:cubicBezTo>
                      <a:pt x="1369" y="42"/>
                      <a:pt x="1369" y="42"/>
                      <a:pt x="1369" y="42"/>
                    </a:cubicBezTo>
                    <a:cubicBezTo>
                      <a:pt x="1369" y="18"/>
                      <a:pt x="1349" y="0"/>
                      <a:pt x="1325" y="0"/>
                    </a:cubicBezTo>
                    <a:close/>
                    <a:moveTo>
                      <a:pt x="1290" y="889"/>
                    </a:moveTo>
                    <a:cubicBezTo>
                      <a:pt x="1290" y="910"/>
                      <a:pt x="1273" y="925"/>
                      <a:pt x="1254" y="925"/>
                    </a:cubicBezTo>
                    <a:cubicBezTo>
                      <a:pt x="118" y="925"/>
                      <a:pt x="118" y="925"/>
                      <a:pt x="118" y="925"/>
                    </a:cubicBezTo>
                    <a:cubicBezTo>
                      <a:pt x="97" y="925"/>
                      <a:pt x="80" y="910"/>
                      <a:pt x="80" y="889"/>
                    </a:cubicBezTo>
                    <a:cubicBezTo>
                      <a:pt x="80" y="110"/>
                      <a:pt x="80" y="110"/>
                      <a:pt x="80" y="110"/>
                    </a:cubicBezTo>
                    <a:cubicBezTo>
                      <a:pt x="80" y="89"/>
                      <a:pt x="97" y="74"/>
                      <a:pt x="118" y="74"/>
                    </a:cubicBezTo>
                    <a:cubicBezTo>
                      <a:pt x="1254" y="74"/>
                      <a:pt x="1254" y="74"/>
                      <a:pt x="1254" y="74"/>
                    </a:cubicBezTo>
                    <a:cubicBezTo>
                      <a:pt x="1273" y="74"/>
                      <a:pt x="1290" y="89"/>
                      <a:pt x="1290" y="110"/>
                    </a:cubicBezTo>
                    <a:cubicBezTo>
                      <a:pt x="1290" y="889"/>
                      <a:pt x="1290" y="889"/>
                      <a:pt x="1290" y="889"/>
                    </a:cubicBezTo>
                    <a:close/>
                  </a:path>
                </a:pathLst>
              </a:custGeom>
              <a:solidFill>
                <a:srgbClr val="0071BC"/>
              </a:solidFill>
              <a:ln w="2"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5"/>
              <p:cNvSpPr>
                <a:spLocks noEditPoints="1"/>
              </p:cNvSpPr>
              <p:nvPr/>
            </p:nvSpPr>
            <p:spPr bwMode="auto">
              <a:xfrm>
                <a:off x="3888055" y="2856112"/>
                <a:ext cx="1176332" cy="761581"/>
              </a:xfrm>
              <a:custGeom>
                <a:avLst/>
                <a:gdLst>
                  <a:gd name="T0" fmla="*/ 1080 w 1136"/>
                  <a:gd name="T1" fmla="*/ 0 h 737"/>
                  <a:gd name="T2" fmla="*/ 56 w 1136"/>
                  <a:gd name="T3" fmla="*/ 0 h 737"/>
                  <a:gd name="T4" fmla="*/ 0 w 1136"/>
                  <a:gd name="T5" fmla="*/ 56 h 737"/>
                  <a:gd name="T6" fmla="*/ 0 w 1136"/>
                  <a:gd name="T7" fmla="*/ 681 h 737"/>
                  <a:gd name="T8" fmla="*/ 56 w 1136"/>
                  <a:gd name="T9" fmla="*/ 737 h 737"/>
                  <a:gd name="T10" fmla="*/ 1080 w 1136"/>
                  <a:gd name="T11" fmla="*/ 737 h 737"/>
                  <a:gd name="T12" fmla="*/ 1136 w 1136"/>
                  <a:gd name="T13" fmla="*/ 681 h 737"/>
                  <a:gd name="T14" fmla="*/ 1136 w 1136"/>
                  <a:gd name="T15" fmla="*/ 56 h 737"/>
                  <a:gd name="T16" fmla="*/ 1080 w 1136"/>
                  <a:gd name="T17" fmla="*/ 0 h 737"/>
                  <a:gd name="T18" fmla="*/ 1080 w 1136"/>
                  <a:gd name="T19" fmla="*/ 681 h 737"/>
                  <a:gd name="T20" fmla="*/ 1080 w 1136"/>
                  <a:gd name="T21" fmla="*/ 681 h 737"/>
                  <a:gd name="T22" fmla="*/ 56 w 1136"/>
                  <a:gd name="T23" fmla="*/ 681 h 737"/>
                  <a:gd name="T24" fmla="*/ 56 w 1136"/>
                  <a:gd name="T25" fmla="*/ 681 h 737"/>
                  <a:gd name="T26" fmla="*/ 56 w 1136"/>
                  <a:gd name="T27" fmla="*/ 56 h 737"/>
                  <a:gd name="T28" fmla="*/ 56 w 1136"/>
                  <a:gd name="T29" fmla="*/ 56 h 737"/>
                  <a:gd name="T30" fmla="*/ 1080 w 1136"/>
                  <a:gd name="T31" fmla="*/ 56 h 737"/>
                  <a:gd name="T32" fmla="*/ 1080 w 1136"/>
                  <a:gd name="T33" fmla="*/ 56 h 737"/>
                  <a:gd name="T34" fmla="*/ 1080 w 1136"/>
                  <a:gd name="T35" fmla="*/ 681 h 737"/>
                  <a:gd name="T36" fmla="*/ 1080 w 1136"/>
                  <a:gd name="T37" fmla="*/ 68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6" h="737">
                    <a:moveTo>
                      <a:pt x="1080" y="0"/>
                    </a:moveTo>
                    <a:cubicBezTo>
                      <a:pt x="56" y="0"/>
                      <a:pt x="56" y="0"/>
                      <a:pt x="56" y="0"/>
                    </a:cubicBezTo>
                    <a:cubicBezTo>
                      <a:pt x="25" y="0"/>
                      <a:pt x="0" y="25"/>
                      <a:pt x="0" y="56"/>
                    </a:cubicBezTo>
                    <a:cubicBezTo>
                      <a:pt x="0" y="681"/>
                      <a:pt x="0" y="681"/>
                      <a:pt x="0" y="681"/>
                    </a:cubicBezTo>
                    <a:cubicBezTo>
                      <a:pt x="0" y="712"/>
                      <a:pt x="25" y="737"/>
                      <a:pt x="56" y="737"/>
                    </a:cubicBezTo>
                    <a:cubicBezTo>
                      <a:pt x="1080" y="737"/>
                      <a:pt x="1080" y="737"/>
                      <a:pt x="1080" y="737"/>
                    </a:cubicBezTo>
                    <a:cubicBezTo>
                      <a:pt x="1111" y="737"/>
                      <a:pt x="1136" y="712"/>
                      <a:pt x="1136" y="681"/>
                    </a:cubicBezTo>
                    <a:cubicBezTo>
                      <a:pt x="1136" y="56"/>
                      <a:pt x="1136" y="56"/>
                      <a:pt x="1136" y="56"/>
                    </a:cubicBezTo>
                    <a:cubicBezTo>
                      <a:pt x="1136" y="25"/>
                      <a:pt x="1111" y="0"/>
                      <a:pt x="1080" y="0"/>
                    </a:cubicBezTo>
                    <a:close/>
                    <a:moveTo>
                      <a:pt x="1080" y="681"/>
                    </a:moveTo>
                    <a:cubicBezTo>
                      <a:pt x="1080" y="681"/>
                      <a:pt x="1080" y="681"/>
                      <a:pt x="1080" y="681"/>
                    </a:cubicBezTo>
                    <a:cubicBezTo>
                      <a:pt x="56" y="681"/>
                      <a:pt x="56" y="681"/>
                      <a:pt x="56" y="681"/>
                    </a:cubicBezTo>
                    <a:cubicBezTo>
                      <a:pt x="56" y="681"/>
                      <a:pt x="56" y="681"/>
                      <a:pt x="56" y="681"/>
                    </a:cubicBezTo>
                    <a:cubicBezTo>
                      <a:pt x="56" y="56"/>
                      <a:pt x="56" y="56"/>
                      <a:pt x="56" y="56"/>
                    </a:cubicBezTo>
                    <a:cubicBezTo>
                      <a:pt x="56" y="56"/>
                      <a:pt x="56" y="56"/>
                      <a:pt x="56" y="56"/>
                    </a:cubicBezTo>
                    <a:cubicBezTo>
                      <a:pt x="1080" y="56"/>
                      <a:pt x="1080" y="56"/>
                      <a:pt x="1080" y="56"/>
                    </a:cubicBezTo>
                    <a:cubicBezTo>
                      <a:pt x="1080" y="56"/>
                      <a:pt x="1080" y="56"/>
                      <a:pt x="1080" y="56"/>
                    </a:cubicBezTo>
                    <a:cubicBezTo>
                      <a:pt x="1080" y="681"/>
                      <a:pt x="1080" y="681"/>
                      <a:pt x="1080" y="681"/>
                    </a:cubicBezTo>
                    <a:cubicBezTo>
                      <a:pt x="1080" y="681"/>
                      <a:pt x="1080" y="681"/>
                      <a:pt x="1080" y="681"/>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6"/>
              <p:cNvSpPr>
                <a:spLocks noEditPoints="1"/>
              </p:cNvSpPr>
              <p:nvPr/>
            </p:nvSpPr>
            <p:spPr bwMode="auto">
              <a:xfrm>
                <a:off x="3888055" y="2705819"/>
                <a:ext cx="1176332" cy="137287"/>
              </a:xfrm>
              <a:custGeom>
                <a:avLst/>
                <a:gdLst>
                  <a:gd name="T0" fmla="*/ 1080 w 1136"/>
                  <a:gd name="T1" fmla="*/ 0 h 132"/>
                  <a:gd name="T2" fmla="*/ 56 w 1136"/>
                  <a:gd name="T3" fmla="*/ 0 h 132"/>
                  <a:gd name="T4" fmla="*/ 0 w 1136"/>
                  <a:gd name="T5" fmla="*/ 56 h 132"/>
                  <a:gd name="T6" fmla="*/ 0 w 1136"/>
                  <a:gd name="T7" fmla="*/ 127 h 132"/>
                  <a:gd name="T8" fmla="*/ 39 w 1136"/>
                  <a:gd name="T9" fmla="*/ 112 h 132"/>
                  <a:gd name="T10" fmla="*/ 1092 w 1136"/>
                  <a:gd name="T11" fmla="*/ 112 h 132"/>
                  <a:gd name="T12" fmla="*/ 1136 w 1136"/>
                  <a:gd name="T13" fmla="*/ 132 h 132"/>
                  <a:gd name="T14" fmla="*/ 1136 w 1136"/>
                  <a:gd name="T15" fmla="*/ 56 h 132"/>
                  <a:gd name="T16" fmla="*/ 1080 w 1136"/>
                  <a:gd name="T17" fmla="*/ 0 h 132"/>
                  <a:gd name="T18" fmla="*/ 909 w 1136"/>
                  <a:gd name="T19" fmla="*/ 79 h 132"/>
                  <a:gd name="T20" fmla="*/ 859 w 1136"/>
                  <a:gd name="T21" fmla="*/ 79 h 132"/>
                  <a:gd name="T22" fmla="*/ 859 w 1136"/>
                  <a:gd name="T23" fmla="*/ 69 h 132"/>
                  <a:gd name="T24" fmla="*/ 909 w 1136"/>
                  <a:gd name="T25" fmla="*/ 69 h 132"/>
                  <a:gd name="T26" fmla="*/ 909 w 1136"/>
                  <a:gd name="T27" fmla="*/ 79 h 132"/>
                  <a:gd name="T28" fmla="*/ 979 w 1136"/>
                  <a:gd name="T29" fmla="*/ 78 h 132"/>
                  <a:gd name="T30" fmla="*/ 938 w 1136"/>
                  <a:gd name="T31" fmla="*/ 78 h 132"/>
                  <a:gd name="T32" fmla="*/ 938 w 1136"/>
                  <a:gd name="T33" fmla="*/ 37 h 132"/>
                  <a:gd name="T34" fmla="*/ 979 w 1136"/>
                  <a:gd name="T35" fmla="*/ 37 h 132"/>
                  <a:gd name="T36" fmla="*/ 979 w 1136"/>
                  <a:gd name="T37" fmla="*/ 78 h 132"/>
                  <a:gd name="T38" fmla="*/ 1069 w 1136"/>
                  <a:gd name="T39" fmla="*/ 78 h 132"/>
                  <a:gd name="T40" fmla="*/ 1055 w 1136"/>
                  <a:gd name="T41" fmla="*/ 78 h 132"/>
                  <a:gd name="T42" fmla="*/ 1047 w 1136"/>
                  <a:gd name="T43" fmla="*/ 70 h 132"/>
                  <a:gd name="T44" fmla="*/ 1041 w 1136"/>
                  <a:gd name="T45" fmla="*/ 64 h 132"/>
                  <a:gd name="T46" fmla="*/ 1028 w 1136"/>
                  <a:gd name="T47" fmla="*/ 77 h 132"/>
                  <a:gd name="T48" fmla="*/ 1027 w 1136"/>
                  <a:gd name="T49" fmla="*/ 78 h 132"/>
                  <a:gd name="T50" fmla="*/ 1014 w 1136"/>
                  <a:gd name="T51" fmla="*/ 78 h 132"/>
                  <a:gd name="T52" fmla="*/ 1035 w 1136"/>
                  <a:gd name="T53" fmla="*/ 57 h 132"/>
                  <a:gd name="T54" fmla="*/ 1014 w 1136"/>
                  <a:gd name="T55" fmla="*/ 36 h 132"/>
                  <a:gd name="T56" fmla="*/ 1027 w 1136"/>
                  <a:gd name="T57" fmla="*/ 37 h 132"/>
                  <a:gd name="T58" fmla="*/ 1041 w 1136"/>
                  <a:gd name="T59" fmla="*/ 51 h 132"/>
                  <a:gd name="T60" fmla="*/ 1055 w 1136"/>
                  <a:gd name="T61" fmla="*/ 37 h 132"/>
                  <a:gd name="T62" fmla="*/ 1069 w 1136"/>
                  <a:gd name="T63" fmla="*/ 37 h 132"/>
                  <a:gd name="T64" fmla="*/ 1048 w 1136"/>
                  <a:gd name="T65" fmla="*/ 57 h 132"/>
                  <a:gd name="T66" fmla="*/ 1069 w 1136"/>
                  <a:gd name="T67" fmla="*/ 78 h 132"/>
                  <a:gd name="T68" fmla="*/ 973 w 1136"/>
                  <a:gd name="T69" fmla="*/ 44 h 132"/>
                  <a:gd name="T70" fmla="*/ 945 w 1136"/>
                  <a:gd name="T71" fmla="*/ 44 h 132"/>
                  <a:gd name="T72" fmla="*/ 945 w 1136"/>
                  <a:gd name="T73" fmla="*/ 72 h 132"/>
                  <a:gd name="T74" fmla="*/ 973 w 1136"/>
                  <a:gd name="T75" fmla="*/ 72 h 132"/>
                  <a:gd name="T76" fmla="*/ 973 w 1136"/>
                  <a:gd name="T77"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6" h="132">
                    <a:moveTo>
                      <a:pt x="1080" y="0"/>
                    </a:moveTo>
                    <a:cubicBezTo>
                      <a:pt x="56" y="0"/>
                      <a:pt x="56" y="0"/>
                      <a:pt x="56" y="0"/>
                    </a:cubicBezTo>
                    <a:cubicBezTo>
                      <a:pt x="25" y="0"/>
                      <a:pt x="0" y="25"/>
                      <a:pt x="0" y="56"/>
                    </a:cubicBezTo>
                    <a:cubicBezTo>
                      <a:pt x="0" y="127"/>
                      <a:pt x="0" y="127"/>
                      <a:pt x="0" y="127"/>
                    </a:cubicBezTo>
                    <a:cubicBezTo>
                      <a:pt x="10" y="118"/>
                      <a:pt x="24" y="112"/>
                      <a:pt x="39" y="112"/>
                    </a:cubicBezTo>
                    <a:cubicBezTo>
                      <a:pt x="1092" y="112"/>
                      <a:pt x="1092" y="112"/>
                      <a:pt x="1092" y="112"/>
                    </a:cubicBezTo>
                    <a:cubicBezTo>
                      <a:pt x="1110" y="112"/>
                      <a:pt x="1126" y="120"/>
                      <a:pt x="1136" y="132"/>
                    </a:cubicBezTo>
                    <a:cubicBezTo>
                      <a:pt x="1136" y="56"/>
                      <a:pt x="1136" y="56"/>
                      <a:pt x="1136" y="56"/>
                    </a:cubicBezTo>
                    <a:cubicBezTo>
                      <a:pt x="1136" y="25"/>
                      <a:pt x="1111" y="0"/>
                      <a:pt x="1080" y="0"/>
                    </a:cubicBezTo>
                    <a:close/>
                    <a:moveTo>
                      <a:pt x="909" y="79"/>
                    </a:moveTo>
                    <a:cubicBezTo>
                      <a:pt x="859" y="79"/>
                      <a:pt x="859" y="79"/>
                      <a:pt x="859" y="79"/>
                    </a:cubicBezTo>
                    <a:cubicBezTo>
                      <a:pt x="859" y="69"/>
                      <a:pt x="859" y="69"/>
                      <a:pt x="859" y="69"/>
                    </a:cubicBezTo>
                    <a:cubicBezTo>
                      <a:pt x="909" y="69"/>
                      <a:pt x="909" y="69"/>
                      <a:pt x="909" y="69"/>
                    </a:cubicBezTo>
                    <a:lnTo>
                      <a:pt x="909" y="79"/>
                    </a:lnTo>
                    <a:close/>
                    <a:moveTo>
                      <a:pt x="979" y="78"/>
                    </a:moveTo>
                    <a:cubicBezTo>
                      <a:pt x="938" y="78"/>
                      <a:pt x="938" y="78"/>
                      <a:pt x="938" y="78"/>
                    </a:cubicBezTo>
                    <a:cubicBezTo>
                      <a:pt x="938" y="37"/>
                      <a:pt x="938" y="37"/>
                      <a:pt x="938" y="37"/>
                    </a:cubicBezTo>
                    <a:cubicBezTo>
                      <a:pt x="979" y="37"/>
                      <a:pt x="979" y="37"/>
                      <a:pt x="979" y="37"/>
                    </a:cubicBezTo>
                    <a:lnTo>
                      <a:pt x="979" y="78"/>
                    </a:lnTo>
                    <a:close/>
                    <a:moveTo>
                      <a:pt x="1069" y="78"/>
                    </a:moveTo>
                    <a:cubicBezTo>
                      <a:pt x="1055" y="78"/>
                      <a:pt x="1055" y="78"/>
                      <a:pt x="1055" y="78"/>
                    </a:cubicBezTo>
                    <a:cubicBezTo>
                      <a:pt x="1047" y="70"/>
                      <a:pt x="1047" y="70"/>
                      <a:pt x="1047" y="70"/>
                    </a:cubicBezTo>
                    <a:cubicBezTo>
                      <a:pt x="1041" y="64"/>
                      <a:pt x="1041" y="64"/>
                      <a:pt x="1041" y="64"/>
                    </a:cubicBezTo>
                    <a:cubicBezTo>
                      <a:pt x="1028" y="77"/>
                      <a:pt x="1028" y="77"/>
                      <a:pt x="1028" y="77"/>
                    </a:cubicBezTo>
                    <a:cubicBezTo>
                      <a:pt x="1027" y="78"/>
                      <a:pt x="1027" y="78"/>
                      <a:pt x="1027" y="78"/>
                    </a:cubicBezTo>
                    <a:cubicBezTo>
                      <a:pt x="1014" y="78"/>
                      <a:pt x="1014" y="78"/>
                      <a:pt x="1014" y="78"/>
                    </a:cubicBezTo>
                    <a:cubicBezTo>
                      <a:pt x="1035" y="57"/>
                      <a:pt x="1035" y="57"/>
                      <a:pt x="1035" y="57"/>
                    </a:cubicBezTo>
                    <a:cubicBezTo>
                      <a:pt x="1014" y="36"/>
                      <a:pt x="1014" y="36"/>
                      <a:pt x="1014" y="36"/>
                    </a:cubicBezTo>
                    <a:cubicBezTo>
                      <a:pt x="1027" y="37"/>
                      <a:pt x="1027" y="37"/>
                      <a:pt x="1027" y="37"/>
                    </a:cubicBezTo>
                    <a:cubicBezTo>
                      <a:pt x="1041" y="51"/>
                      <a:pt x="1041" y="51"/>
                      <a:pt x="1041" y="51"/>
                    </a:cubicBezTo>
                    <a:cubicBezTo>
                      <a:pt x="1055" y="37"/>
                      <a:pt x="1055" y="37"/>
                      <a:pt x="1055" y="37"/>
                    </a:cubicBezTo>
                    <a:cubicBezTo>
                      <a:pt x="1069" y="37"/>
                      <a:pt x="1069" y="37"/>
                      <a:pt x="1069" y="37"/>
                    </a:cubicBezTo>
                    <a:cubicBezTo>
                      <a:pt x="1048" y="57"/>
                      <a:pt x="1048" y="57"/>
                      <a:pt x="1048" y="57"/>
                    </a:cubicBezTo>
                    <a:lnTo>
                      <a:pt x="1069" y="78"/>
                    </a:lnTo>
                    <a:close/>
                    <a:moveTo>
                      <a:pt x="973" y="44"/>
                    </a:moveTo>
                    <a:cubicBezTo>
                      <a:pt x="945" y="44"/>
                      <a:pt x="945" y="44"/>
                      <a:pt x="945" y="44"/>
                    </a:cubicBezTo>
                    <a:cubicBezTo>
                      <a:pt x="945" y="72"/>
                      <a:pt x="945" y="72"/>
                      <a:pt x="945" y="72"/>
                    </a:cubicBezTo>
                    <a:cubicBezTo>
                      <a:pt x="973" y="72"/>
                      <a:pt x="973" y="72"/>
                      <a:pt x="973" y="72"/>
                    </a:cubicBezTo>
                    <a:lnTo>
                      <a:pt x="973" y="4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pic>
        <p:nvPicPr>
          <p:cNvPr id="37" name="Picture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5722" y="3188504"/>
            <a:ext cx="1596304" cy="1065977"/>
          </a:xfrm>
          <a:prstGeom prst="rect">
            <a:avLst/>
          </a:prstGeom>
        </p:spPr>
      </p:pic>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8615" y="2044347"/>
            <a:ext cx="821796" cy="844310"/>
          </a:xfrm>
          <a:prstGeom prst="rect">
            <a:avLst/>
          </a:prstGeom>
        </p:spPr>
      </p:pic>
      <p:sp>
        <p:nvSpPr>
          <p:cNvPr id="39" name="Freeform 5"/>
          <p:cNvSpPr>
            <a:spLocks noChangeAspect="1" noEditPoints="1"/>
          </p:cNvSpPr>
          <p:nvPr/>
        </p:nvSpPr>
        <p:spPr bwMode="auto">
          <a:xfrm>
            <a:off x="9688046" y="2092073"/>
            <a:ext cx="1951326" cy="1954797"/>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Tree>
    <p:extLst>
      <p:ext uri="{BB962C8B-B14F-4D97-AF65-F5344CB8AC3E}">
        <p14:creationId xmlns:p14="http://schemas.microsoft.com/office/powerpoint/2010/main" val="1945942064"/>
      </p:ext>
    </p:extLst>
  </p:cSld>
  <p:clrMapOvr>
    <a:masterClrMapping/>
  </p:clrMapOvr>
  <p:transition spd="slow">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442359"/>
        </a:solidFill>
        <a:effectLst/>
      </p:bgPr>
    </p:bg>
    <p:spTree>
      <p:nvGrpSpPr>
        <p:cNvPr id="1" name=""/>
        <p:cNvGrpSpPr/>
        <p:nvPr/>
      </p:nvGrpSpPr>
      <p:grpSpPr>
        <a:xfrm>
          <a:off x="0" y="0"/>
          <a:ext cx="0" cy="0"/>
          <a:chOff x="0" y="0"/>
          <a:chExt cx="0" cy="0"/>
        </a:xfrm>
      </p:grpSpPr>
      <p:sp>
        <p:nvSpPr>
          <p:cNvPr id="8" name="Title 1"/>
          <p:cNvSpPr txBox="1">
            <a:spLocks/>
          </p:cNvSpPr>
          <p:nvPr/>
        </p:nvSpPr>
        <p:spPr>
          <a:xfrm>
            <a:off x="385153" y="1919801"/>
            <a:ext cx="3776683" cy="830997"/>
          </a:xfrm>
          <a:prstGeom prst="rect">
            <a:avLst/>
          </a:prstGeom>
        </p:spPr>
        <p:txBody>
          <a:bodyPr wrap="square" lIns="0" tIns="0" rIns="0" bIns="0">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6000" dirty="0">
                <a:gradFill>
                  <a:gsLst>
                    <a:gs pos="1667">
                      <a:srgbClr val="EFEFEF"/>
                    </a:gs>
                    <a:gs pos="26000">
                      <a:srgbClr val="EFEFEF"/>
                    </a:gs>
                  </a:gsLst>
                  <a:lin ang="5400000" scaled="0"/>
                </a:gradFill>
              </a:rPr>
              <a:t>Demo</a:t>
            </a:r>
          </a:p>
        </p:txBody>
      </p:sp>
      <p:sp>
        <p:nvSpPr>
          <p:cNvPr id="9" name="Title 1"/>
          <p:cNvSpPr txBox="1">
            <a:spLocks/>
          </p:cNvSpPr>
          <p:nvPr/>
        </p:nvSpPr>
        <p:spPr>
          <a:xfrm>
            <a:off x="420322" y="2855874"/>
            <a:ext cx="3776683" cy="830997"/>
          </a:xfrm>
          <a:prstGeom prst="rect">
            <a:avLst/>
          </a:prstGeom>
        </p:spPr>
        <p:txBody>
          <a:bodyPr wrap="square" lIns="0" tIns="0" rIns="0" bIns="0">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a:spcBef>
                <a:spcPts val="1224"/>
              </a:spcBef>
            </a:pPr>
            <a:r>
              <a:rPr sz="3000" dirty="0">
                <a:gradFill>
                  <a:gsLst>
                    <a:gs pos="1667">
                      <a:srgbClr val="EFEFEF"/>
                    </a:gs>
                    <a:gs pos="26000">
                      <a:srgbClr val="EFEFEF"/>
                    </a:gs>
                  </a:gsLst>
                  <a:lin ang="5400000" scaled="0"/>
                </a:gradFill>
              </a:rPr>
              <a:t>User experience improvements in VDI</a:t>
            </a:r>
          </a:p>
        </p:txBody>
      </p:sp>
      <p:sp>
        <p:nvSpPr>
          <p:cNvPr id="2" name="Slide Number Placeholder 1"/>
          <p:cNvSpPr>
            <a:spLocks noGrp="1"/>
          </p:cNvSpPr>
          <p:nvPr>
            <p:ph type="sldNum" sz="quarter" idx="4294967295"/>
          </p:nvPr>
        </p:nvSpPr>
        <p:spPr>
          <a:xfrm>
            <a:off x="11674615" y="6557369"/>
            <a:ext cx="233151" cy="131883"/>
          </a:xfrm>
          <a:prstGeom prst="rect">
            <a:avLst/>
          </a:prstGeom>
        </p:spPr>
        <p:txBody>
          <a:bodyPr/>
          <a:lstStyle/>
          <a:p>
            <a:pPr>
              <a:lnSpc>
                <a:spcPct val="90000"/>
              </a:lnSpc>
            </a:pPr>
            <a:fld id="{1BC86A1F-E589-44B2-A543-2EC98F5547A7}" type="slidenum">
              <a:rPr lang="en-US" smtClean="0"/>
              <a:pPr>
                <a:lnSpc>
                  <a:spcPct val="90000"/>
                </a:lnSpc>
              </a:pPr>
              <a:t>34</a:t>
            </a:fld>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3496" y="6146389"/>
            <a:ext cx="1659467" cy="355482"/>
          </a:xfrm>
          <a:prstGeom prst="rect">
            <a:avLst/>
          </a:prstGeom>
        </p:spPr>
      </p:pic>
    </p:spTree>
    <p:extLst>
      <p:ext uri="{BB962C8B-B14F-4D97-AF65-F5344CB8AC3E}">
        <p14:creationId xmlns:p14="http://schemas.microsoft.com/office/powerpoint/2010/main" val="406866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461328" y="3694891"/>
            <a:ext cx="3616714" cy="270591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39891" rIns="186521" bIns="46506" numCol="1" rtlCol="0" anchor="t" anchorCtr="0" compatLnSpc="1">
            <a:prstTxWarp prst="textNoShape">
              <a:avLst/>
            </a:prstTxWarp>
          </a:bodyPr>
          <a:lstStyle/>
          <a:p>
            <a:pPr marL="174862" indent="-174862" defTabSz="932290" fontAlgn="base">
              <a:spcBef>
                <a:spcPct val="0"/>
              </a:spcBef>
              <a:spcAft>
                <a:spcPts val="918"/>
              </a:spcAft>
              <a:buFont typeface="Arial" pitchFamily="34" charset="0"/>
              <a:buChar char="•"/>
            </a:pPr>
            <a:r>
              <a:rPr lang="en-US" sz="1600" spc="-51" dirty="0">
                <a:solidFill>
                  <a:schemeClr val="tx1"/>
                </a:solidFill>
                <a:ea typeface="Segoe UI" pitchFamily="34" charset="0"/>
                <a:cs typeface="Segoe UI" pitchFamily="34" charset="0"/>
              </a:rPr>
              <a:t>Single-management UI for simplification</a:t>
            </a:r>
          </a:p>
          <a:p>
            <a:pPr marL="174862" indent="-174862" defTabSz="932290" fontAlgn="base">
              <a:spcBef>
                <a:spcPct val="0"/>
              </a:spcBef>
              <a:spcAft>
                <a:spcPts val="918"/>
              </a:spcAft>
              <a:buFont typeface="Arial" pitchFamily="34" charset="0"/>
              <a:buChar char="•"/>
            </a:pPr>
            <a:r>
              <a:rPr lang="en-US" sz="1600" spc="-51" dirty="0">
                <a:solidFill>
                  <a:schemeClr val="tx1"/>
                </a:solidFill>
                <a:ea typeface="Segoe UI" pitchFamily="34" charset="0"/>
                <a:cs typeface="Segoe UI" pitchFamily="34" charset="0"/>
              </a:rPr>
              <a:t>Scenario and advanced administration</a:t>
            </a:r>
          </a:p>
          <a:p>
            <a:pPr marL="174862" indent="-174862" defTabSz="932290" fontAlgn="base">
              <a:spcBef>
                <a:spcPct val="0"/>
              </a:spcBef>
              <a:spcAft>
                <a:spcPts val="918"/>
              </a:spcAft>
              <a:buFont typeface="Arial" pitchFamily="34" charset="0"/>
              <a:buChar char="•"/>
            </a:pPr>
            <a:r>
              <a:rPr lang="en-US" sz="1600" spc="-51" dirty="0">
                <a:solidFill>
                  <a:schemeClr val="tx1"/>
                </a:solidFill>
                <a:ea typeface="Segoe UI" pitchFamily="34" charset="0"/>
                <a:cs typeface="Segoe UI" pitchFamily="34" charset="0"/>
              </a:rPr>
              <a:t>Active/active connection brokering</a:t>
            </a:r>
          </a:p>
          <a:p>
            <a:pPr marL="174862" indent="-174862" defTabSz="932290" fontAlgn="base">
              <a:spcBef>
                <a:spcPct val="0"/>
              </a:spcBef>
              <a:spcAft>
                <a:spcPts val="918"/>
              </a:spcAft>
              <a:buFont typeface="Arial" pitchFamily="34" charset="0"/>
              <a:buChar char="•"/>
            </a:pPr>
            <a:r>
              <a:rPr lang="en-US" sz="1600" spc="-51" dirty="0">
                <a:solidFill>
                  <a:schemeClr val="tx1"/>
                </a:solidFill>
                <a:ea typeface="Segoe UI" pitchFamily="34" charset="0"/>
                <a:cs typeface="Segoe UI" pitchFamily="34" charset="0"/>
              </a:rPr>
              <a:t>Windows PowerShell administration across Remote Desktop Services</a:t>
            </a:r>
          </a:p>
          <a:p>
            <a:pPr marL="174862" indent="-174862" defTabSz="932290" fontAlgn="base">
              <a:spcBef>
                <a:spcPct val="0"/>
              </a:spcBef>
              <a:spcAft>
                <a:spcPts val="918"/>
              </a:spcAft>
              <a:buFont typeface="Arial" pitchFamily="34" charset="0"/>
              <a:buChar char="•"/>
            </a:pPr>
            <a:r>
              <a:rPr lang="en-US" sz="1600" spc="-51" dirty="0">
                <a:solidFill>
                  <a:schemeClr val="tx1"/>
                </a:solidFill>
                <a:ea typeface="Segoe UI" pitchFamily="34" charset="0"/>
                <a:cs typeface="Segoe UI" pitchFamily="34" charset="0"/>
              </a:rPr>
              <a:t>Reduced number of roles to manage</a:t>
            </a:r>
          </a:p>
        </p:txBody>
      </p:sp>
      <p:sp>
        <p:nvSpPr>
          <p:cNvPr id="16" name="Rectangle 15"/>
          <p:cNvSpPr/>
          <p:nvPr/>
        </p:nvSpPr>
        <p:spPr bwMode="auto">
          <a:xfrm>
            <a:off x="461328" y="3287511"/>
            <a:ext cx="3616714" cy="6264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7584" tIns="38786" rIns="186521" bIns="38786" numCol="1" rtlCol="0" anchor="ctr" anchorCtr="0" compatLnSpc="1">
            <a:prstTxWarp prst="textNoShape">
              <a:avLst/>
            </a:prstTxWarp>
          </a:bodyPr>
          <a:lstStyle/>
          <a:p>
            <a:pPr algn="ctr">
              <a:lnSpc>
                <a:spcPct val="90000"/>
              </a:lnSpc>
            </a:pPr>
            <a:r>
              <a:rPr lang="en-US" sz="2400" dirty="0" smtClean="0">
                <a:solidFill>
                  <a:schemeClr val="accent1"/>
                </a:solidFill>
              </a:rPr>
              <a:t>Efficient Management</a:t>
            </a:r>
            <a:endParaRPr lang="en-US" sz="2400" dirty="0">
              <a:solidFill>
                <a:schemeClr val="accent1"/>
              </a:solidFill>
            </a:endParaRPr>
          </a:p>
        </p:txBody>
      </p:sp>
      <p:sp>
        <p:nvSpPr>
          <p:cNvPr id="17" name="Rectangle 16"/>
          <p:cNvSpPr/>
          <p:nvPr/>
        </p:nvSpPr>
        <p:spPr bwMode="auto">
          <a:xfrm>
            <a:off x="4391297" y="3288288"/>
            <a:ext cx="3616714" cy="62645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7584" tIns="38786" rIns="186521" bIns="38786" numCol="1" rtlCol="0" anchor="ctr" anchorCtr="0" compatLnSpc="1">
            <a:prstTxWarp prst="textNoShape">
              <a:avLst/>
            </a:prstTxWarp>
          </a:bodyPr>
          <a:lstStyle/>
          <a:p>
            <a:pPr algn="ctr">
              <a:lnSpc>
                <a:spcPct val="90000"/>
              </a:lnSpc>
            </a:pPr>
            <a:r>
              <a:rPr lang="en-US" sz="2400" dirty="0" smtClean="0">
                <a:solidFill>
                  <a:schemeClr val="accent1"/>
                </a:solidFill>
              </a:rPr>
              <a:t>Best Value for VDI</a:t>
            </a:r>
            <a:endParaRPr lang="en-US" sz="2400" dirty="0">
              <a:solidFill>
                <a:schemeClr val="accent1"/>
              </a:solidFill>
            </a:endParaRPr>
          </a:p>
        </p:txBody>
      </p:sp>
      <p:sp>
        <p:nvSpPr>
          <p:cNvPr id="18" name="Rectangle 17"/>
          <p:cNvSpPr/>
          <p:nvPr/>
        </p:nvSpPr>
        <p:spPr bwMode="auto">
          <a:xfrm>
            <a:off x="8356495" y="3287510"/>
            <a:ext cx="3616714" cy="62645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7584" tIns="38786" rIns="186521" bIns="38786" numCol="1" rtlCol="0" anchor="ctr" anchorCtr="0" compatLnSpc="1">
            <a:prstTxWarp prst="textNoShape">
              <a:avLst/>
            </a:prstTxWarp>
          </a:bodyPr>
          <a:lstStyle/>
          <a:p>
            <a:pPr algn="ctr">
              <a:lnSpc>
                <a:spcPct val="90000"/>
              </a:lnSpc>
            </a:pPr>
            <a:r>
              <a:rPr lang="en-US" sz="2400" dirty="0" smtClean="0">
                <a:solidFill>
                  <a:schemeClr val="accent1"/>
                </a:solidFill>
              </a:rPr>
              <a:t>Rich User Experience</a:t>
            </a:r>
            <a:endParaRPr lang="en-US" sz="2400" dirty="0">
              <a:solidFill>
                <a:schemeClr val="accent1"/>
              </a:solidFill>
            </a:endParaRPr>
          </a:p>
        </p:txBody>
      </p:sp>
      <p:sp>
        <p:nvSpPr>
          <p:cNvPr id="19" name="Rectangle 18"/>
          <p:cNvSpPr/>
          <p:nvPr/>
        </p:nvSpPr>
        <p:spPr bwMode="auto">
          <a:xfrm>
            <a:off x="4391297" y="3695668"/>
            <a:ext cx="3616714" cy="32107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39891" rIns="186521" bIns="46506" numCol="1" rtlCol="0" anchor="t" anchorCtr="0" compatLnSpc="1">
            <a:prstTxWarp prst="textNoShape">
              <a:avLst/>
            </a:prstTxWarp>
          </a:bodyPr>
          <a:lstStyle/>
          <a:p>
            <a:pPr marL="174862" indent="-174862" defTabSz="932290" fontAlgn="base">
              <a:spcBef>
                <a:spcPct val="0"/>
              </a:spcBef>
              <a:spcAft>
                <a:spcPts val="918"/>
              </a:spcAft>
              <a:buFont typeface="Arial" pitchFamily="34" charset="0"/>
              <a:buChar char="•"/>
            </a:pPr>
            <a:r>
              <a:rPr lang="en-US" sz="1450" spc="-51" dirty="0">
                <a:solidFill>
                  <a:schemeClr val="tx1"/>
                </a:solidFill>
                <a:ea typeface="Segoe UI" pitchFamily="34" charset="0"/>
                <a:cs typeface="Segoe UI" pitchFamily="34" charset="0"/>
              </a:rPr>
              <a:t>Increased use cases for pooled desktops</a:t>
            </a:r>
          </a:p>
          <a:p>
            <a:pPr marL="174862" indent="-174862" defTabSz="932290" fontAlgn="base">
              <a:spcBef>
                <a:spcPct val="0"/>
              </a:spcBef>
              <a:spcAft>
                <a:spcPts val="918"/>
              </a:spcAft>
              <a:buFont typeface="Arial" pitchFamily="34" charset="0"/>
              <a:buChar char="•"/>
            </a:pPr>
            <a:r>
              <a:rPr lang="en-US" sz="1450" spc="-51" dirty="0">
                <a:solidFill>
                  <a:schemeClr val="tx1"/>
                </a:solidFill>
                <a:ea typeface="Segoe UI" pitchFamily="34" charset="0"/>
                <a:cs typeface="Segoe UI" pitchFamily="34" charset="0"/>
              </a:rPr>
              <a:t>Cheaper storage alternatives</a:t>
            </a:r>
          </a:p>
          <a:p>
            <a:pPr marL="174862" indent="-174862" defTabSz="932290" fontAlgn="base">
              <a:spcBef>
                <a:spcPct val="0"/>
              </a:spcBef>
              <a:spcAft>
                <a:spcPts val="918"/>
              </a:spcAft>
              <a:buFont typeface="Arial" pitchFamily="34" charset="0"/>
              <a:buChar char="•"/>
            </a:pPr>
            <a:r>
              <a:rPr lang="en-US" sz="1450" spc="-51" dirty="0">
                <a:solidFill>
                  <a:schemeClr val="tx1"/>
                </a:solidFill>
                <a:ea typeface="Segoe UI" pitchFamily="34" charset="0"/>
                <a:cs typeface="Segoe UI" pitchFamily="34" charset="0"/>
              </a:rPr>
              <a:t>Simplified virtual machine creation, assignment, and patching</a:t>
            </a:r>
          </a:p>
          <a:p>
            <a:pPr marL="174862" indent="-174862" defTabSz="932290" fontAlgn="base">
              <a:spcBef>
                <a:spcPct val="0"/>
              </a:spcBef>
              <a:spcAft>
                <a:spcPts val="918"/>
              </a:spcAft>
              <a:buFont typeface="Arial" pitchFamily="34" charset="0"/>
              <a:buChar char="•"/>
            </a:pPr>
            <a:r>
              <a:rPr lang="en-US" sz="1450" spc="-51" dirty="0">
                <a:solidFill>
                  <a:schemeClr val="tx1"/>
                </a:solidFill>
                <a:ea typeface="Segoe UI" pitchFamily="34" charset="0"/>
                <a:cs typeface="Segoe UI" pitchFamily="34" charset="0"/>
              </a:rPr>
              <a:t>Fair Share: network, disk I/O, and processor</a:t>
            </a:r>
          </a:p>
          <a:p>
            <a:pPr marL="174862" indent="-174862" defTabSz="932290" fontAlgn="base">
              <a:spcBef>
                <a:spcPct val="0"/>
              </a:spcBef>
              <a:spcAft>
                <a:spcPts val="918"/>
              </a:spcAft>
              <a:buFont typeface="Arial" pitchFamily="34" charset="0"/>
              <a:buChar char="•"/>
            </a:pPr>
            <a:r>
              <a:rPr lang="en-US" sz="1450" spc="-51" dirty="0">
                <a:solidFill>
                  <a:schemeClr val="tx1"/>
                </a:solidFill>
                <a:ea typeface="Segoe UI" pitchFamily="34" charset="0"/>
                <a:cs typeface="Segoe UI" pitchFamily="34" charset="0"/>
              </a:rPr>
              <a:t>GPU is optional, synthetic GPU is supplied</a:t>
            </a:r>
          </a:p>
          <a:p>
            <a:pPr marL="174862" indent="-174862" defTabSz="932290" fontAlgn="base">
              <a:spcBef>
                <a:spcPct val="0"/>
              </a:spcBef>
              <a:spcAft>
                <a:spcPts val="918"/>
              </a:spcAft>
              <a:buFont typeface="Arial" pitchFamily="34" charset="0"/>
              <a:buChar char="•"/>
            </a:pPr>
            <a:r>
              <a:rPr lang="en-US" sz="1450" spc="-51" dirty="0">
                <a:solidFill>
                  <a:schemeClr val="tx1"/>
                </a:solidFill>
                <a:ea typeface="Segoe UI" pitchFamily="34" charset="0"/>
                <a:cs typeface="Segoe UI" pitchFamily="34" charset="0"/>
              </a:rPr>
              <a:t>Full partner-extensible platform</a:t>
            </a:r>
          </a:p>
        </p:txBody>
      </p:sp>
      <p:sp>
        <p:nvSpPr>
          <p:cNvPr id="20" name="Rectangle 19"/>
          <p:cNvSpPr/>
          <p:nvPr/>
        </p:nvSpPr>
        <p:spPr bwMode="auto">
          <a:xfrm>
            <a:off x="8356495" y="3696360"/>
            <a:ext cx="3616714" cy="321004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139891" rIns="186521" bIns="46506" numCol="1" rtlCol="0" anchor="t" anchorCtr="0" compatLnSpc="1">
            <a:prstTxWarp prst="textNoShape">
              <a:avLst/>
            </a:prstTxWarp>
          </a:bodyPr>
          <a:lstStyle/>
          <a:p>
            <a:pPr marL="174862" indent="-174862" defTabSz="932290" fontAlgn="base">
              <a:spcBef>
                <a:spcPct val="0"/>
              </a:spcBef>
              <a:spcAft>
                <a:spcPts val="918"/>
              </a:spcAft>
              <a:buFont typeface="Arial" pitchFamily="34" charset="0"/>
              <a:buChar char="•"/>
            </a:pPr>
            <a:r>
              <a:rPr lang="en-US" sz="1375" spc="-51" dirty="0">
                <a:solidFill>
                  <a:schemeClr val="tx1"/>
                </a:solidFill>
                <a:ea typeface="Segoe UI" pitchFamily="34" charset="0"/>
                <a:cs typeface="Segoe UI" pitchFamily="34" charset="0"/>
              </a:rPr>
              <a:t>Support for WAN</a:t>
            </a:r>
          </a:p>
          <a:p>
            <a:pPr marL="174862" indent="-174862" defTabSz="932290" fontAlgn="base">
              <a:spcBef>
                <a:spcPct val="0"/>
              </a:spcBef>
              <a:spcAft>
                <a:spcPts val="918"/>
              </a:spcAft>
              <a:buFont typeface="Arial" pitchFamily="34" charset="0"/>
              <a:buChar char="•"/>
            </a:pPr>
            <a:r>
              <a:rPr lang="en-US" sz="1375" spc="-51" dirty="0">
                <a:solidFill>
                  <a:schemeClr val="tx1"/>
                </a:solidFill>
                <a:ea typeface="Segoe UI" pitchFamily="34" charset="0"/>
                <a:cs typeface="Segoe UI" pitchFamily="34" charset="0"/>
              </a:rPr>
              <a:t>Adaptive encoding</a:t>
            </a:r>
          </a:p>
          <a:p>
            <a:pPr marL="174862" indent="-174862" defTabSz="932290" fontAlgn="base">
              <a:spcBef>
                <a:spcPct val="0"/>
              </a:spcBef>
              <a:spcAft>
                <a:spcPts val="918"/>
              </a:spcAft>
              <a:buFont typeface="Arial" pitchFamily="34" charset="0"/>
              <a:buChar char="•"/>
            </a:pPr>
            <a:r>
              <a:rPr lang="en-US" sz="1375" spc="-51" dirty="0">
                <a:solidFill>
                  <a:schemeClr val="tx1"/>
                </a:solidFill>
                <a:ea typeface="Segoe UI" pitchFamily="34" charset="0"/>
                <a:cs typeface="Segoe UI" pitchFamily="34" charset="0"/>
              </a:rPr>
              <a:t>Multitouch</a:t>
            </a:r>
          </a:p>
          <a:p>
            <a:pPr marL="174862" indent="-174862" defTabSz="932290" fontAlgn="base">
              <a:spcBef>
                <a:spcPct val="0"/>
              </a:spcBef>
              <a:spcAft>
                <a:spcPts val="918"/>
              </a:spcAft>
              <a:buFont typeface="Arial" pitchFamily="34" charset="0"/>
              <a:buChar char="•"/>
            </a:pPr>
            <a:r>
              <a:rPr lang="en-US" sz="1375" spc="-51" dirty="0">
                <a:solidFill>
                  <a:schemeClr val="tx1"/>
                </a:solidFill>
                <a:ea typeface="Segoe UI" pitchFamily="34" charset="0"/>
                <a:cs typeface="Segoe UI" pitchFamily="34" charset="0"/>
              </a:rPr>
              <a:t>USB remoting for sessions, virtual machines, and physical machines</a:t>
            </a:r>
          </a:p>
          <a:p>
            <a:pPr marL="174862" indent="-174862" defTabSz="932290" fontAlgn="base">
              <a:spcBef>
                <a:spcPct val="0"/>
              </a:spcBef>
              <a:spcAft>
                <a:spcPts val="918"/>
              </a:spcAft>
              <a:buFont typeface="Arial" pitchFamily="34" charset="0"/>
              <a:buChar char="•"/>
            </a:pPr>
            <a:r>
              <a:rPr lang="en-US" sz="1375" spc="-51" dirty="0">
                <a:solidFill>
                  <a:schemeClr val="tx1"/>
                </a:solidFill>
                <a:ea typeface="Segoe UI" pitchFamily="34" charset="0"/>
                <a:cs typeface="Segoe UI" pitchFamily="34" charset="0"/>
              </a:rPr>
              <a:t>Simplified user discovery and single sign-on</a:t>
            </a:r>
          </a:p>
          <a:p>
            <a:pPr marL="174862" indent="-174862" defTabSz="932290" fontAlgn="base">
              <a:spcBef>
                <a:spcPct val="0"/>
              </a:spcBef>
              <a:spcAft>
                <a:spcPts val="918"/>
              </a:spcAft>
              <a:buFont typeface="Arial" pitchFamily="34" charset="0"/>
              <a:buChar char="•"/>
            </a:pPr>
            <a:r>
              <a:rPr lang="en-US" sz="1375" spc="-51" dirty="0">
                <a:solidFill>
                  <a:schemeClr val="tx1"/>
                </a:solidFill>
                <a:ea typeface="Segoe UI" pitchFamily="34" charset="0"/>
                <a:cs typeface="Segoe UI" pitchFamily="34" charset="0"/>
              </a:rPr>
              <a:t>Remote Desktop web folders and file type association</a:t>
            </a:r>
          </a:p>
          <a:p>
            <a:pPr marL="174862" indent="-174862" defTabSz="932290" fontAlgn="base">
              <a:spcBef>
                <a:spcPct val="0"/>
              </a:spcBef>
              <a:spcAft>
                <a:spcPts val="918"/>
              </a:spcAft>
              <a:buFont typeface="Arial" pitchFamily="34" charset="0"/>
              <a:buChar char="•"/>
            </a:pPr>
            <a:r>
              <a:rPr lang="en-US" sz="1375" spc="-51" dirty="0">
                <a:solidFill>
                  <a:schemeClr val="tx1"/>
                </a:solidFill>
                <a:ea typeface="Segoe UI" pitchFamily="34" charset="0"/>
                <a:cs typeface="Segoe UI" pitchFamily="34" charset="0"/>
              </a:rPr>
              <a:t>Easily extensible by partners and customers</a:t>
            </a:r>
          </a:p>
        </p:txBody>
      </p:sp>
      <p:sp>
        <p:nvSpPr>
          <p:cNvPr id="2" name="Title 1"/>
          <p:cNvSpPr>
            <a:spLocks noGrp="1"/>
          </p:cNvSpPr>
          <p:nvPr>
            <p:ph type="title"/>
          </p:nvPr>
        </p:nvSpPr>
        <p:spPr>
          <a:xfrm>
            <a:off x="283027" y="309016"/>
            <a:ext cx="11375536" cy="738664"/>
          </a:xfrm>
        </p:spPr>
        <p:txBody>
          <a:bodyPr/>
          <a:lstStyle/>
          <a:p>
            <a:r>
              <a:rPr lang="en-US" dirty="0" smtClean="0"/>
              <a:t>Top features to answer challenges</a:t>
            </a:r>
            <a:endParaRPr lang="en-US" dirty="0"/>
          </a:p>
        </p:txBody>
      </p:sp>
      <p:sp>
        <p:nvSpPr>
          <p:cNvPr id="58" name="TextBox 57"/>
          <p:cNvSpPr txBox="1"/>
          <p:nvPr/>
        </p:nvSpPr>
        <p:spPr>
          <a:xfrm>
            <a:off x="8949557" y="1447405"/>
            <a:ext cx="2081414" cy="172647"/>
          </a:xfrm>
          <a:prstGeom prst="rect">
            <a:avLst/>
          </a:prstGeom>
          <a:noFill/>
        </p:spPr>
        <p:txBody>
          <a:bodyPr wrap="square" lIns="0" tIns="0" rIns="0" bIns="0" rtlCol="0">
            <a:spAutoFit/>
          </a:bodyPr>
          <a:lstStyle/>
          <a:p>
            <a:pPr algn="r">
              <a:lnSpc>
                <a:spcPct val="90000"/>
              </a:lnSpc>
            </a:pPr>
            <a:endParaRPr lang="en-US" sz="1224" dirty="0">
              <a:solidFill>
                <a:srgbClr val="FFFFFF"/>
              </a:solidFill>
            </a:endParaRPr>
          </a:p>
        </p:txBody>
      </p:sp>
      <p:grpSp>
        <p:nvGrpSpPr>
          <p:cNvPr id="11" name="Group 29"/>
          <p:cNvGrpSpPr>
            <a:grpSpLocks noChangeAspect="1"/>
          </p:cNvGrpSpPr>
          <p:nvPr/>
        </p:nvGrpSpPr>
        <p:grpSpPr bwMode="auto">
          <a:xfrm>
            <a:off x="5267390" y="1283993"/>
            <a:ext cx="1408048" cy="1834294"/>
            <a:chOff x="5121" y="2489"/>
            <a:chExt cx="882" cy="1149"/>
          </a:xfrm>
        </p:grpSpPr>
        <p:sp>
          <p:nvSpPr>
            <p:cNvPr id="12"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 name="Group 21"/>
          <p:cNvGrpSpPr/>
          <p:nvPr/>
        </p:nvGrpSpPr>
        <p:grpSpPr>
          <a:xfrm>
            <a:off x="1093880" y="1297922"/>
            <a:ext cx="2068420" cy="1950157"/>
            <a:chOff x="4468813" y="3567113"/>
            <a:chExt cx="1360487" cy="1282700"/>
          </a:xfrm>
          <a:solidFill>
            <a:srgbClr val="0070C0"/>
          </a:solidFill>
        </p:grpSpPr>
        <p:sp>
          <p:nvSpPr>
            <p:cNvPr id="23" name="Freeform 579"/>
            <p:cNvSpPr>
              <a:spLocks noEditPoints="1"/>
            </p:cNvSpPr>
            <p:nvPr/>
          </p:nvSpPr>
          <p:spPr bwMode="auto">
            <a:xfrm>
              <a:off x="4813300" y="3913188"/>
              <a:ext cx="668337" cy="668338"/>
            </a:xfrm>
            <a:custGeom>
              <a:avLst/>
              <a:gdLst>
                <a:gd name="T0" fmla="*/ 346 w 693"/>
                <a:gd name="T1" fmla="*/ 0 h 693"/>
                <a:gd name="T2" fmla="*/ 0 w 693"/>
                <a:gd name="T3" fmla="*/ 347 h 693"/>
                <a:gd name="T4" fmla="*/ 346 w 693"/>
                <a:gd name="T5" fmla="*/ 693 h 693"/>
                <a:gd name="T6" fmla="*/ 693 w 693"/>
                <a:gd name="T7" fmla="*/ 347 h 693"/>
                <a:gd name="T8" fmla="*/ 346 w 693"/>
                <a:gd name="T9" fmla="*/ 0 h 693"/>
                <a:gd name="T10" fmla="*/ 346 w 693"/>
                <a:gd name="T11" fmla="*/ 674 h 693"/>
                <a:gd name="T12" fmla="*/ 19 w 693"/>
                <a:gd name="T13" fmla="*/ 347 h 693"/>
                <a:gd name="T14" fmla="*/ 346 w 693"/>
                <a:gd name="T15" fmla="*/ 19 h 693"/>
                <a:gd name="T16" fmla="*/ 674 w 693"/>
                <a:gd name="T17" fmla="*/ 347 h 693"/>
                <a:gd name="T18" fmla="*/ 346 w 693"/>
                <a:gd name="T19" fmla="*/ 6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3" h="693">
                  <a:moveTo>
                    <a:pt x="346" y="0"/>
                  </a:moveTo>
                  <a:cubicBezTo>
                    <a:pt x="155" y="0"/>
                    <a:pt x="0" y="155"/>
                    <a:pt x="0" y="347"/>
                  </a:cubicBezTo>
                  <a:cubicBezTo>
                    <a:pt x="0" y="538"/>
                    <a:pt x="155" y="693"/>
                    <a:pt x="346" y="693"/>
                  </a:cubicBezTo>
                  <a:cubicBezTo>
                    <a:pt x="538" y="693"/>
                    <a:pt x="693" y="538"/>
                    <a:pt x="693" y="347"/>
                  </a:cubicBezTo>
                  <a:cubicBezTo>
                    <a:pt x="693" y="155"/>
                    <a:pt x="538" y="0"/>
                    <a:pt x="346" y="0"/>
                  </a:cubicBezTo>
                  <a:close/>
                  <a:moveTo>
                    <a:pt x="346" y="674"/>
                  </a:moveTo>
                  <a:cubicBezTo>
                    <a:pt x="165" y="674"/>
                    <a:pt x="19" y="527"/>
                    <a:pt x="19" y="347"/>
                  </a:cubicBezTo>
                  <a:cubicBezTo>
                    <a:pt x="19" y="166"/>
                    <a:pt x="165" y="19"/>
                    <a:pt x="346" y="19"/>
                  </a:cubicBezTo>
                  <a:cubicBezTo>
                    <a:pt x="527" y="19"/>
                    <a:pt x="674" y="166"/>
                    <a:pt x="674" y="347"/>
                  </a:cubicBezTo>
                  <a:cubicBezTo>
                    <a:pt x="674" y="527"/>
                    <a:pt x="527" y="674"/>
                    <a:pt x="346" y="6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580"/>
            <p:cNvSpPr>
              <a:spLocks/>
            </p:cNvSpPr>
            <p:nvPr/>
          </p:nvSpPr>
          <p:spPr bwMode="auto">
            <a:xfrm>
              <a:off x="4918075" y="4098925"/>
              <a:ext cx="260350" cy="355600"/>
            </a:xfrm>
            <a:custGeom>
              <a:avLst/>
              <a:gdLst>
                <a:gd name="T0" fmla="*/ 187 w 270"/>
                <a:gd name="T1" fmla="*/ 150 h 370"/>
                <a:gd name="T2" fmla="*/ 230 w 270"/>
                <a:gd name="T3" fmla="*/ 79 h 370"/>
                <a:gd name="T4" fmla="*/ 151 w 270"/>
                <a:gd name="T5" fmla="*/ 0 h 370"/>
                <a:gd name="T6" fmla="*/ 72 w 270"/>
                <a:gd name="T7" fmla="*/ 79 h 370"/>
                <a:gd name="T8" fmla="*/ 110 w 270"/>
                <a:gd name="T9" fmla="*/ 147 h 370"/>
                <a:gd name="T10" fmla="*/ 28 w 270"/>
                <a:gd name="T11" fmla="*/ 230 h 370"/>
                <a:gd name="T12" fmla="*/ 21 w 270"/>
                <a:gd name="T13" fmla="*/ 312 h 370"/>
                <a:gd name="T14" fmla="*/ 35 w 270"/>
                <a:gd name="T15" fmla="*/ 281 h 370"/>
                <a:gd name="T16" fmla="*/ 39 w 270"/>
                <a:gd name="T17" fmla="*/ 322 h 370"/>
                <a:gd name="T18" fmla="*/ 130 w 270"/>
                <a:gd name="T19" fmla="*/ 356 h 370"/>
                <a:gd name="T20" fmla="*/ 270 w 270"/>
                <a:gd name="T21" fmla="*/ 281 h 370"/>
                <a:gd name="T22" fmla="*/ 187 w 270"/>
                <a:gd name="T23" fmla="*/ 15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370">
                  <a:moveTo>
                    <a:pt x="187" y="150"/>
                  </a:moveTo>
                  <a:cubicBezTo>
                    <a:pt x="213" y="137"/>
                    <a:pt x="230" y="110"/>
                    <a:pt x="230" y="79"/>
                  </a:cubicBezTo>
                  <a:cubicBezTo>
                    <a:pt x="230" y="35"/>
                    <a:pt x="195" y="0"/>
                    <a:pt x="151" y="0"/>
                  </a:cubicBezTo>
                  <a:cubicBezTo>
                    <a:pt x="107" y="0"/>
                    <a:pt x="72" y="35"/>
                    <a:pt x="72" y="79"/>
                  </a:cubicBezTo>
                  <a:cubicBezTo>
                    <a:pt x="72" y="108"/>
                    <a:pt x="87" y="133"/>
                    <a:pt x="110" y="147"/>
                  </a:cubicBezTo>
                  <a:cubicBezTo>
                    <a:pt x="70" y="155"/>
                    <a:pt x="50" y="180"/>
                    <a:pt x="28" y="230"/>
                  </a:cubicBezTo>
                  <a:cubicBezTo>
                    <a:pt x="0" y="294"/>
                    <a:pt x="21" y="312"/>
                    <a:pt x="21" y="312"/>
                  </a:cubicBezTo>
                  <a:cubicBezTo>
                    <a:pt x="35" y="281"/>
                    <a:pt x="35" y="281"/>
                    <a:pt x="35" y="281"/>
                  </a:cubicBezTo>
                  <a:cubicBezTo>
                    <a:pt x="39" y="322"/>
                    <a:pt x="39" y="322"/>
                    <a:pt x="39" y="322"/>
                  </a:cubicBezTo>
                  <a:cubicBezTo>
                    <a:pt x="39" y="322"/>
                    <a:pt x="63" y="350"/>
                    <a:pt x="130" y="356"/>
                  </a:cubicBezTo>
                  <a:cubicBezTo>
                    <a:pt x="201" y="362"/>
                    <a:pt x="270" y="370"/>
                    <a:pt x="270" y="281"/>
                  </a:cubicBezTo>
                  <a:cubicBezTo>
                    <a:pt x="270" y="211"/>
                    <a:pt x="234" y="166"/>
                    <a:pt x="187"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581"/>
            <p:cNvSpPr>
              <a:spLocks noEditPoints="1"/>
            </p:cNvSpPr>
            <p:nvPr/>
          </p:nvSpPr>
          <p:spPr bwMode="auto">
            <a:xfrm>
              <a:off x="5003800" y="3567113"/>
              <a:ext cx="287337" cy="288925"/>
            </a:xfrm>
            <a:custGeom>
              <a:avLst/>
              <a:gdLst>
                <a:gd name="T0" fmla="*/ 149 w 299"/>
                <a:gd name="T1" fmla="*/ 0 h 299"/>
                <a:gd name="T2" fmla="*/ 0 w 299"/>
                <a:gd name="T3" fmla="*/ 150 h 299"/>
                <a:gd name="T4" fmla="*/ 149 w 299"/>
                <a:gd name="T5" fmla="*/ 299 h 299"/>
                <a:gd name="T6" fmla="*/ 299 w 299"/>
                <a:gd name="T7" fmla="*/ 150 h 299"/>
                <a:gd name="T8" fmla="*/ 149 w 299"/>
                <a:gd name="T9" fmla="*/ 0 h 299"/>
                <a:gd name="T10" fmla="*/ 149 w 299"/>
                <a:gd name="T11" fmla="*/ 280 h 299"/>
                <a:gd name="T12" fmla="*/ 19 w 299"/>
                <a:gd name="T13" fmla="*/ 150 h 299"/>
                <a:gd name="T14" fmla="*/ 149 w 299"/>
                <a:gd name="T15" fmla="*/ 19 h 299"/>
                <a:gd name="T16" fmla="*/ 280 w 299"/>
                <a:gd name="T17" fmla="*/ 150 h 299"/>
                <a:gd name="T18" fmla="*/ 149 w 299"/>
                <a:gd name="T19"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9" h="299">
                  <a:moveTo>
                    <a:pt x="149" y="0"/>
                  </a:moveTo>
                  <a:cubicBezTo>
                    <a:pt x="67" y="0"/>
                    <a:pt x="0" y="67"/>
                    <a:pt x="0" y="150"/>
                  </a:cubicBezTo>
                  <a:cubicBezTo>
                    <a:pt x="0" y="232"/>
                    <a:pt x="67" y="299"/>
                    <a:pt x="149" y="299"/>
                  </a:cubicBezTo>
                  <a:cubicBezTo>
                    <a:pt x="232" y="299"/>
                    <a:pt x="299" y="232"/>
                    <a:pt x="299" y="150"/>
                  </a:cubicBezTo>
                  <a:cubicBezTo>
                    <a:pt x="299" y="67"/>
                    <a:pt x="232" y="0"/>
                    <a:pt x="149" y="0"/>
                  </a:cubicBezTo>
                  <a:close/>
                  <a:moveTo>
                    <a:pt x="149" y="280"/>
                  </a:moveTo>
                  <a:cubicBezTo>
                    <a:pt x="77" y="280"/>
                    <a:pt x="19" y="222"/>
                    <a:pt x="19" y="150"/>
                  </a:cubicBezTo>
                  <a:cubicBezTo>
                    <a:pt x="19" y="78"/>
                    <a:pt x="77" y="19"/>
                    <a:pt x="149" y="19"/>
                  </a:cubicBezTo>
                  <a:cubicBezTo>
                    <a:pt x="221" y="19"/>
                    <a:pt x="280" y="78"/>
                    <a:pt x="280" y="150"/>
                  </a:cubicBezTo>
                  <a:cubicBezTo>
                    <a:pt x="280" y="222"/>
                    <a:pt x="221" y="280"/>
                    <a:pt x="149"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582"/>
            <p:cNvSpPr>
              <a:spLocks noChangeArrowheads="1"/>
            </p:cNvSpPr>
            <p:nvPr/>
          </p:nvSpPr>
          <p:spPr bwMode="auto">
            <a:xfrm>
              <a:off x="5138738" y="3836988"/>
              <a:ext cx="17462"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583"/>
            <p:cNvSpPr>
              <a:spLocks noEditPoints="1"/>
            </p:cNvSpPr>
            <p:nvPr/>
          </p:nvSpPr>
          <p:spPr bwMode="auto">
            <a:xfrm>
              <a:off x="4468813" y="3935413"/>
              <a:ext cx="322262" cy="323850"/>
            </a:xfrm>
            <a:custGeom>
              <a:avLst/>
              <a:gdLst>
                <a:gd name="T0" fmla="*/ 26 w 335"/>
                <a:gd name="T1" fmla="*/ 121 h 335"/>
                <a:gd name="T2" fmla="*/ 121 w 335"/>
                <a:gd name="T3" fmla="*/ 309 h 335"/>
                <a:gd name="T4" fmla="*/ 310 w 335"/>
                <a:gd name="T5" fmla="*/ 213 h 335"/>
                <a:gd name="T6" fmla="*/ 214 w 335"/>
                <a:gd name="T7" fmla="*/ 25 h 335"/>
                <a:gd name="T8" fmla="*/ 26 w 335"/>
                <a:gd name="T9" fmla="*/ 121 h 335"/>
                <a:gd name="T10" fmla="*/ 292 w 335"/>
                <a:gd name="T11" fmla="*/ 208 h 335"/>
                <a:gd name="T12" fmla="*/ 127 w 335"/>
                <a:gd name="T13" fmla="*/ 291 h 335"/>
                <a:gd name="T14" fmla="*/ 44 w 335"/>
                <a:gd name="T15" fmla="*/ 127 h 335"/>
                <a:gd name="T16" fmla="*/ 208 w 335"/>
                <a:gd name="T17" fmla="*/ 43 h 335"/>
                <a:gd name="T18" fmla="*/ 292 w 335"/>
                <a:gd name="T19" fmla="*/ 20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5" h="335">
                  <a:moveTo>
                    <a:pt x="26" y="121"/>
                  </a:moveTo>
                  <a:cubicBezTo>
                    <a:pt x="0" y="200"/>
                    <a:pt x="43" y="284"/>
                    <a:pt x="121" y="309"/>
                  </a:cubicBezTo>
                  <a:cubicBezTo>
                    <a:pt x="200" y="335"/>
                    <a:pt x="284" y="292"/>
                    <a:pt x="310" y="213"/>
                  </a:cubicBezTo>
                  <a:cubicBezTo>
                    <a:pt x="335" y="135"/>
                    <a:pt x="292" y="51"/>
                    <a:pt x="214" y="25"/>
                  </a:cubicBezTo>
                  <a:cubicBezTo>
                    <a:pt x="135" y="0"/>
                    <a:pt x="51" y="43"/>
                    <a:pt x="26" y="121"/>
                  </a:cubicBezTo>
                  <a:close/>
                  <a:moveTo>
                    <a:pt x="292" y="208"/>
                  </a:moveTo>
                  <a:cubicBezTo>
                    <a:pt x="269" y="276"/>
                    <a:pt x="196" y="314"/>
                    <a:pt x="127" y="291"/>
                  </a:cubicBezTo>
                  <a:cubicBezTo>
                    <a:pt x="59" y="269"/>
                    <a:pt x="21" y="195"/>
                    <a:pt x="44" y="127"/>
                  </a:cubicBezTo>
                  <a:cubicBezTo>
                    <a:pt x="66" y="58"/>
                    <a:pt x="139" y="21"/>
                    <a:pt x="208" y="43"/>
                  </a:cubicBezTo>
                  <a:cubicBezTo>
                    <a:pt x="276" y="65"/>
                    <a:pt x="314" y="139"/>
                    <a:pt x="292"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584"/>
            <p:cNvSpPr>
              <a:spLocks/>
            </p:cNvSpPr>
            <p:nvPr/>
          </p:nvSpPr>
          <p:spPr bwMode="auto">
            <a:xfrm>
              <a:off x="4746625" y="4125913"/>
              <a:ext cx="95250" cy="47625"/>
            </a:xfrm>
            <a:custGeom>
              <a:avLst/>
              <a:gdLst>
                <a:gd name="T0" fmla="*/ 4 w 60"/>
                <a:gd name="T1" fmla="*/ 0 h 30"/>
                <a:gd name="T2" fmla="*/ 60 w 60"/>
                <a:gd name="T3" fmla="*/ 19 h 30"/>
                <a:gd name="T4" fmla="*/ 56 w 60"/>
                <a:gd name="T5" fmla="*/ 30 h 30"/>
                <a:gd name="T6" fmla="*/ 0 w 60"/>
                <a:gd name="T7" fmla="*/ 12 h 30"/>
                <a:gd name="T8" fmla="*/ 4 w 60"/>
                <a:gd name="T9" fmla="*/ 0 h 30"/>
              </a:gdLst>
              <a:ahLst/>
              <a:cxnLst>
                <a:cxn ang="0">
                  <a:pos x="T0" y="T1"/>
                </a:cxn>
                <a:cxn ang="0">
                  <a:pos x="T2" y="T3"/>
                </a:cxn>
                <a:cxn ang="0">
                  <a:pos x="T4" y="T5"/>
                </a:cxn>
                <a:cxn ang="0">
                  <a:pos x="T6" y="T7"/>
                </a:cxn>
                <a:cxn ang="0">
                  <a:pos x="T8" y="T9"/>
                </a:cxn>
              </a:cxnLst>
              <a:rect l="0" t="0" r="r" b="b"/>
              <a:pathLst>
                <a:path w="60" h="30">
                  <a:moveTo>
                    <a:pt x="4" y="0"/>
                  </a:moveTo>
                  <a:lnTo>
                    <a:pt x="60" y="19"/>
                  </a:lnTo>
                  <a:lnTo>
                    <a:pt x="56" y="30"/>
                  </a:lnTo>
                  <a:lnTo>
                    <a:pt x="0" y="1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585"/>
            <p:cNvSpPr>
              <a:spLocks noEditPoints="1"/>
            </p:cNvSpPr>
            <p:nvPr/>
          </p:nvSpPr>
          <p:spPr bwMode="auto">
            <a:xfrm>
              <a:off x="5507038" y="3935413"/>
              <a:ext cx="322262" cy="323850"/>
            </a:xfrm>
            <a:custGeom>
              <a:avLst/>
              <a:gdLst>
                <a:gd name="T0" fmla="*/ 121 w 335"/>
                <a:gd name="T1" fmla="*/ 25 h 335"/>
                <a:gd name="T2" fmla="*/ 25 w 335"/>
                <a:gd name="T3" fmla="*/ 213 h 335"/>
                <a:gd name="T4" fmla="*/ 214 w 335"/>
                <a:gd name="T5" fmla="*/ 309 h 335"/>
                <a:gd name="T6" fmla="*/ 309 w 335"/>
                <a:gd name="T7" fmla="*/ 121 h 335"/>
                <a:gd name="T8" fmla="*/ 121 w 335"/>
                <a:gd name="T9" fmla="*/ 25 h 335"/>
                <a:gd name="T10" fmla="*/ 127 w 335"/>
                <a:gd name="T11" fmla="*/ 43 h 335"/>
                <a:gd name="T12" fmla="*/ 291 w 335"/>
                <a:gd name="T13" fmla="*/ 127 h 335"/>
                <a:gd name="T14" fmla="*/ 208 w 335"/>
                <a:gd name="T15" fmla="*/ 291 h 335"/>
                <a:gd name="T16" fmla="*/ 43 w 335"/>
                <a:gd name="T17" fmla="*/ 208 h 335"/>
                <a:gd name="T18" fmla="*/ 127 w 335"/>
                <a:gd name="T19" fmla="*/ 4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5" h="335">
                  <a:moveTo>
                    <a:pt x="121" y="25"/>
                  </a:moveTo>
                  <a:cubicBezTo>
                    <a:pt x="43" y="51"/>
                    <a:pt x="0" y="135"/>
                    <a:pt x="25" y="213"/>
                  </a:cubicBezTo>
                  <a:cubicBezTo>
                    <a:pt x="51" y="292"/>
                    <a:pt x="135" y="335"/>
                    <a:pt x="214" y="309"/>
                  </a:cubicBezTo>
                  <a:cubicBezTo>
                    <a:pt x="292" y="284"/>
                    <a:pt x="335" y="200"/>
                    <a:pt x="309" y="121"/>
                  </a:cubicBezTo>
                  <a:cubicBezTo>
                    <a:pt x="284" y="43"/>
                    <a:pt x="200" y="0"/>
                    <a:pt x="121" y="25"/>
                  </a:cubicBezTo>
                  <a:close/>
                  <a:moveTo>
                    <a:pt x="127" y="43"/>
                  </a:moveTo>
                  <a:cubicBezTo>
                    <a:pt x="196" y="21"/>
                    <a:pt x="269" y="58"/>
                    <a:pt x="291" y="127"/>
                  </a:cubicBezTo>
                  <a:cubicBezTo>
                    <a:pt x="314" y="195"/>
                    <a:pt x="276" y="269"/>
                    <a:pt x="208" y="291"/>
                  </a:cubicBezTo>
                  <a:cubicBezTo>
                    <a:pt x="139" y="314"/>
                    <a:pt x="66" y="276"/>
                    <a:pt x="43" y="208"/>
                  </a:cubicBezTo>
                  <a:cubicBezTo>
                    <a:pt x="21" y="139"/>
                    <a:pt x="59" y="65"/>
                    <a:pt x="12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586"/>
            <p:cNvSpPr>
              <a:spLocks/>
            </p:cNvSpPr>
            <p:nvPr/>
          </p:nvSpPr>
          <p:spPr bwMode="auto">
            <a:xfrm>
              <a:off x="5456238" y="4125913"/>
              <a:ext cx="95250" cy="47625"/>
            </a:xfrm>
            <a:custGeom>
              <a:avLst/>
              <a:gdLst>
                <a:gd name="T0" fmla="*/ 56 w 60"/>
                <a:gd name="T1" fmla="*/ 0 h 30"/>
                <a:gd name="T2" fmla="*/ 0 w 60"/>
                <a:gd name="T3" fmla="*/ 19 h 30"/>
                <a:gd name="T4" fmla="*/ 4 w 60"/>
                <a:gd name="T5" fmla="*/ 30 h 30"/>
                <a:gd name="T6" fmla="*/ 60 w 60"/>
                <a:gd name="T7" fmla="*/ 12 h 30"/>
                <a:gd name="T8" fmla="*/ 56 w 60"/>
                <a:gd name="T9" fmla="*/ 0 h 30"/>
              </a:gdLst>
              <a:ahLst/>
              <a:cxnLst>
                <a:cxn ang="0">
                  <a:pos x="T0" y="T1"/>
                </a:cxn>
                <a:cxn ang="0">
                  <a:pos x="T2" y="T3"/>
                </a:cxn>
                <a:cxn ang="0">
                  <a:pos x="T4" y="T5"/>
                </a:cxn>
                <a:cxn ang="0">
                  <a:pos x="T6" y="T7"/>
                </a:cxn>
                <a:cxn ang="0">
                  <a:pos x="T8" y="T9"/>
                </a:cxn>
              </a:cxnLst>
              <a:rect l="0" t="0" r="r" b="b"/>
              <a:pathLst>
                <a:path w="60" h="30">
                  <a:moveTo>
                    <a:pt x="56" y="0"/>
                  </a:moveTo>
                  <a:lnTo>
                    <a:pt x="0" y="19"/>
                  </a:lnTo>
                  <a:lnTo>
                    <a:pt x="4" y="30"/>
                  </a:lnTo>
                  <a:lnTo>
                    <a:pt x="60" y="12"/>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587"/>
            <p:cNvSpPr>
              <a:spLocks noEditPoints="1"/>
            </p:cNvSpPr>
            <p:nvPr/>
          </p:nvSpPr>
          <p:spPr bwMode="auto">
            <a:xfrm>
              <a:off x="4664075" y="4522788"/>
              <a:ext cx="325437" cy="327025"/>
            </a:xfrm>
            <a:custGeom>
              <a:avLst/>
              <a:gdLst>
                <a:gd name="T0" fmla="*/ 81 w 338"/>
                <a:gd name="T1" fmla="*/ 290 h 339"/>
                <a:gd name="T2" fmla="*/ 290 w 338"/>
                <a:gd name="T3" fmla="*/ 257 h 339"/>
                <a:gd name="T4" fmla="*/ 257 w 338"/>
                <a:gd name="T5" fmla="*/ 48 h 339"/>
                <a:gd name="T6" fmla="*/ 48 w 338"/>
                <a:gd name="T7" fmla="*/ 81 h 339"/>
                <a:gd name="T8" fmla="*/ 81 w 338"/>
                <a:gd name="T9" fmla="*/ 290 h 339"/>
                <a:gd name="T10" fmla="*/ 246 w 338"/>
                <a:gd name="T11" fmla="*/ 64 h 339"/>
                <a:gd name="T12" fmla="*/ 275 w 338"/>
                <a:gd name="T13" fmla="*/ 246 h 339"/>
                <a:gd name="T14" fmla="*/ 92 w 338"/>
                <a:gd name="T15" fmla="*/ 275 h 339"/>
                <a:gd name="T16" fmla="*/ 64 w 338"/>
                <a:gd name="T17" fmla="*/ 93 h 339"/>
                <a:gd name="T18" fmla="*/ 246 w 338"/>
                <a:gd name="T19" fmla="*/ 6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9">
                  <a:moveTo>
                    <a:pt x="81" y="290"/>
                  </a:moveTo>
                  <a:cubicBezTo>
                    <a:pt x="148" y="339"/>
                    <a:pt x="241" y="324"/>
                    <a:pt x="290" y="257"/>
                  </a:cubicBezTo>
                  <a:cubicBezTo>
                    <a:pt x="338" y="190"/>
                    <a:pt x="324" y="97"/>
                    <a:pt x="257" y="48"/>
                  </a:cubicBezTo>
                  <a:cubicBezTo>
                    <a:pt x="190" y="0"/>
                    <a:pt x="97" y="15"/>
                    <a:pt x="48" y="81"/>
                  </a:cubicBezTo>
                  <a:cubicBezTo>
                    <a:pt x="0" y="148"/>
                    <a:pt x="15" y="242"/>
                    <a:pt x="81" y="290"/>
                  </a:cubicBezTo>
                  <a:close/>
                  <a:moveTo>
                    <a:pt x="246" y="64"/>
                  </a:moveTo>
                  <a:cubicBezTo>
                    <a:pt x="304" y="106"/>
                    <a:pt x="317" y="188"/>
                    <a:pt x="275" y="246"/>
                  </a:cubicBezTo>
                  <a:cubicBezTo>
                    <a:pt x="232" y="304"/>
                    <a:pt x="151" y="317"/>
                    <a:pt x="92" y="275"/>
                  </a:cubicBezTo>
                  <a:cubicBezTo>
                    <a:pt x="34" y="232"/>
                    <a:pt x="21" y="151"/>
                    <a:pt x="64" y="93"/>
                  </a:cubicBezTo>
                  <a:cubicBezTo>
                    <a:pt x="106" y="34"/>
                    <a:pt x="187" y="21"/>
                    <a:pt x="246"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88"/>
            <p:cNvSpPr>
              <a:spLocks/>
            </p:cNvSpPr>
            <p:nvPr/>
          </p:nvSpPr>
          <p:spPr bwMode="auto">
            <a:xfrm>
              <a:off x="4892675" y="4502150"/>
              <a:ext cx="69850" cy="87313"/>
            </a:xfrm>
            <a:custGeom>
              <a:avLst/>
              <a:gdLst>
                <a:gd name="T0" fmla="*/ 0 w 44"/>
                <a:gd name="T1" fmla="*/ 48 h 55"/>
                <a:gd name="T2" fmla="*/ 35 w 44"/>
                <a:gd name="T3" fmla="*/ 0 h 55"/>
                <a:gd name="T4" fmla="*/ 44 w 44"/>
                <a:gd name="T5" fmla="*/ 7 h 55"/>
                <a:gd name="T6" fmla="*/ 9 w 44"/>
                <a:gd name="T7" fmla="*/ 55 h 55"/>
                <a:gd name="T8" fmla="*/ 0 w 44"/>
                <a:gd name="T9" fmla="*/ 48 h 55"/>
              </a:gdLst>
              <a:ahLst/>
              <a:cxnLst>
                <a:cxn ang="0">
                  <a:pos x="T0" y="T1"/>
                </a:cxn>
                <a:cxn ang="0">
                  <a:pos x="T2" y="T3"/>
                </a:cxn>
                <a:cxn ang="0">
                  <a:pos x="T4" y="T5"/>
                </a:cxn>
                <a:cxn ang="0">
                  <a:pos x="T6" y="T7"/>
                </a:cxn>
                <a:cxn ang="0">
                  <a:pos x="T8" y="T9"/>
                </a:cxn>
              </a:cxnLst>
              <a:rect l="0" t="0" r="r" b="b"/>
              <a:pathLst>
                <a:path w="44" h="55">
                  <a:moveTo>
                    <a:pt x="0" y="48"/>
                  </a:moveTo>
                  <a:lnTo>
                    <a:pt x="35" y="0"/>
                  </a:lnTo>
                  <a:lnTo>
                    <a:pt x="44" y="7"/>
                  </a:lnTo>
                  <a:lnTo>
                    <a:pt x="9" y="55"/>
                  </a:lnTo>
                  <a:lnTo>
                    <a:pt x="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589"/>
            <p:cNvSpPr>
              <a:spLocks noEditPoints="1"/>
            </p:cNvSpPr>
            <p:nvPr/>
          </p:nvSpPr>
          <p:spPr bwMode="auto">
            <a:xfrm>
              <a:off x="5291138" y="4522788"/>
              <a:ext cx="327025" cy="327025"/>
            </a:xfrm>
            <a:custGeom>
              <a:avLst/>
              <a:gdLst>
                <a:gd name="T0" fmla="*/ 257 w 339"/>
                <a:gd name="T1" fmla="*/ 290 h 339"/>
                <a:gd name="T2" fmla="*/ 290 w 339"/>
                <a:gd name="T3" fmla="*/ 81 h 339"/>
                <a:gd name="T4" fmla="*/ 81 w 339"/>
                <a:gd name="T5" fmla="*/ 48 h 339"/>
                <a:gd name="T6" fmla="*/ 48 w 339"/>
                <a:gd name="T7" fmla="*/ 257 h 339"/>
                <a:gd name="T8" fmla="*/ 257 w 339"/>
                <a:gd name="T9" fmla="*/ 290 h 339"/>
                <a:gd name="T10" fmla="*/ 93 w 339"/>
                <a:gd name="T11" fmla="*/ 64 h 339"/>
                <a:gd name="T12" fmla="*/ 275 w 339"/>
                <a:gd name="T13" fmla="*/ 93 h 339"/>
                <a:gd name="T14" fmla="*/ 246 w 339"/>
                <a:gd name="T15" fmla="*/ 275 h 339"/>
                <a:gd name="T16" fmla="*/ 64 w 339"/>
                <a:gd name="T17" fmla="*/ 246 h 339"/>
                <a:gd name="T18" fmla="*/ 93 w 339"/>
                <a:gd name="T19" fmla="*/ 6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9" h="339">
                  <a:moveTo>
                    <a:pt x="257" y="290"/>
                  </a:moveTo>
                  <a:cubicBezTo>
                    <a:pt x="324" y="242"/>
                    <a:pt x="339" y="148"/>
                    <a:pt x="290" y="81"/>
                  </a:cubicBezTo>
                  <a:cubicBezTo>
                    <a:pt x="242" y="15"/>
                    <a:pt x="148" y="0"/>
                    <a:pt x="81" y="48"/>
                  </a:cubicBezTo>
                  <a:cubicBezTo>
                    <a:pt x="15" y="97"/>
                    <a:pt x="0" y="190"/>
                    <a:pt x="48" y="257"/>
                  </a:cubicBezTo>
                  <a:cubicBezTo>
                    <a:pt x="97" y="324"/>
                    <a:pt x="190" y="339"/>
                    <a:pt x="257" y="290"/>
                  </a:cubicBezTo>
                  <a:close/>
                  <a:moveTo>
                    <a:pt x="93" y="64"/>
                  </a:moveTo>
                  <a:cubicBezTo>
                    <a:pt x="151" y="21"/>
                    <a:pt x="232" y="34"/>
                    <a:pt x="275" y="93"/>
                  </a:cubicBezTo>
                  <a:cubicBezTo>
                    <a:pt x="317" y="151"/>
                    <a:pt x="304" y="232"/>
                    <a:pt x="246" y="275"/>
                  </a:cubicBezTo>
                  <a:cubicBezTo>
                    <a:pt x="188" y="317"/>
                    <a:pt x="106" y="304"/>
                    <a:pt x="64" y="246"/>
                  </a:cubicBezTo>
                  <a:cubicBezTo>
                    <a:pt x="21" y="188"/>
                    <a:pt x="34" y="106"/>
                    <a:pt x="93"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590"/>
            <p:cNvSpPr>
              <a:spLocks/>
            </p:cNvSpPr>
            <p:nvPr/>
          </p:nvSpPr>
          <p:spPr bwMode="auto">
            <a:xfrm>
              <a:off x="5318125" y="4502150"/>
              <a:ext cx="69850" cy="87313"/>
            </a:xfrm>
            <a:custGeom>
              <a:avLst/>
              <a:gdLst>
                <a:gd name="T0" fmla="*/ 35 w 44"/>
                <a:gd name="T1" fmla="*/ 55 h 55"/>
                <a:gd name="T2" fmla="*/ 0 w 44"/>
                <a:gd name="T3" fmla="*/ 7 h 55"/>
                <a:gd name="T4" fmla="*/ 9 w 44"/>
                <a:gd name="T5" fmla="*/ 0 h 55"/>
                <a:gd name="T6" fmla="*/ 44 w 44"/>
                <a:gd name="T7" fmla="*/ 48 h 55"/>
                <a:gd name="T8" fmla="*/ 35 w 44"/>
                <a:gd name="T9" fmla="*/ 55 h 55"/>
              </a:gdLst>
              <a:ahLst/>
              <a:cxnLst>
                <a:cxn ang="0">
                  <a:pos x="T0" y="T1"/>
                </a:cxn>
                <a:cxn ang="0">
                  <a:pos x="T2" y="T3"/>
                </a:cxn>
                <a:cxn ang="0">
                  <a:pos x="T4" y="T5"/>
                </a:cxn>
                <a:cxn ang="0">
                  <a:pos x="T6" y="T7"/>
                </a:cxn>
                <a:cxn ang="0">
                  <a:pos x="T8" y="T9"/>
                </a:cxn>
              </a:cxnLst>
              <a:rect l="0" t="0" r="r" b="b"/>
              <a:pathLst>
                <a:path w="44" h="55">
                  <a:moveTo>
                    <a:pt x="35" y="55"/>
                  </a:moveTo>
                  <a:lnTo>
                    <a:pt x="0" y="7"/>
                  </a:lnTo>
                  <a:lnTo>
                    <a:pt x="9" y="0"/>
                  </a:lnTo>
                  <a:lnTo>
                    <a:pt x="44" y="48"/>
                  </a:lnTo>
                  <a:lnTo>
                    <a:pt x="35"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591"/>
            <p:cNvSpPr>
              <a:spLocks noEditPoints="1"/>
            </p:cNvSpPr>
            <p:nvPr/>
          </p:nvSpPr>
          <p:spPr bwMode="auto">
            <a:xfrm>
              <a:off x="5048250" y="3630613"/>
              <a:ext cx="176212" cy="169863"/>
            </a:xfrm>
            <a:custGeom>
              <a:avLst/>
              <a:gdLst>
                <a:gd name="T0" fmla="*/ 170 w 183"/>
                <a:gd name="T1" fmla="*/ 103 h 177"/>
                <a:gd name="T2" fmla="*/ 169 w 183"/>
                <a:gd name="T3" fmla="*/ 99 h 177"/>
                <a:gd name="T4" fmla="*/ 160 w 183"/>
                <a:gd name="T5" fmla="*/ 97 h 177"/>
                <a:gd name="T6" fmla="*/ 175 w 183"/>
                <a:gd name="T7" fmla="*/ 97 h 177"/>
                <a:gd name="T8" fmla="*/ 183 w 183"/>
                <a:gd name="T9" fmla="*/ 0 h 177"/>
                <a:gd name="T10" fmla="*/ 65 w 183"/>
                <a:gd name="T11" fmla="*/ 4 h 177"/>
                <a:gd name="T12" fmla="*/ 59 w 183"/>
                <a:gd name="T13" fmla="*/ 86 h 177"/>
                <a:gd name="T14" fmla="*/ 70 w 183"/>
                <a:gd name="T15" fmla="*/ 88 h 177"/>
                <a:gd name="T16" fmla="*/ 63 w 183"/>
                <a:gd name="T17" fmla="*/ 88 h 177"/>
                <a:gd name="T18" fmla="*/ 61 w 183"/>
                <a:gd name="T19" fmla="*/ 92 h 177"/>
                <a:gd name="T20" fmla="*/ 14 w 183"/>
                <a:gd name="T21" fmla="*/ 121 h 177"/>
                <a:gd name="T22" fmla="*/ 0 w 183"/>
                <a:gd name="T23" fmla="*/ 133 h 177"/>
                <a:gd name="T24" fmla="*/ 3 w 183"/>
                <a:gd name="T25" fmla="*/ 143 h 177"/>
                <a:gd name="T26" fmla="*/ 4 w 183"/>
                <a:gd name="T27" fmla="*/ 144 h 177"/>
                <a:gd name="T28" fmla="*/ 5 w 183"/>
                <a:gd name="T29" fmla="*/ 145 h 177"/>
                <a:gd name="T30" fmla="*/ 9 w 183"/>
                <a:gd name="T31" fmla="*/ 148 h 177"/>
                <a:gd name="T32" fmla="*/ 138 w 183"/>
                <a:gd name="T33" fmla="*/ 177 h 177"/>
                <a:gd name="T34" fmla="*/ 158 w 183"/>
                <a:gd name="T35" fmla="*/ 145 h 177"/>
                <a:gd name="T36" fmla="*/ 165 w 183"/>
                <a:gd name="T37" fmla="*/ 133 h 177"/>
                <a:gd name="T38" fmla="*/ 168 w 183"/>
                <a:gd name="T39" fmla="*/ 130 h 177"/>
                <a:gd name="T40" fmla="*/ 174 w 183"/>
                <a:gd name="T41" fmla="*/ 104 h 177"/>
                <a:gd name="T42" fmla="*/ 170 w 183"/>
                <a:gd name="T43" fmla="*/ 103 h 177"/>
                <a:gd name="T44" fmla="*/ 78 w 183"/>
                <a:gd name="T45" fmla="*/ 131 h 177"/>
                <a:gd name="T46" fmla="*/ 56 w 183"/>
                <a:gd name="T47" fmla="*/ 126 h 177"/>
                <a:gd name="T48" fmla="*/ 65 w 183"/>
                <a:gd name="T49" fmla="*/ 119 h 177"/>
                <a:gd name="T50" fmla="*/ 88 w 183"/>
                <a:gd name="T51" fmla="*/ 123 h 177"/>
                <a:gd name="T52" fmla="*/ 78 w 183"/>
                <a:gd name="T53" fmla="*/ 131 h 177"/>
                <a:gd name="T54" fmla="*/ 145 w 183"/>
                <a:gd name="T55" fmla="*/ 127 h 177"/>
                <a:gd name="T56" fmla="*/ 43 w 183"/>
                <a:gd name="T57" fmla="*/ 111 h 177"/>
                <a:gd name="T58" fmla="*/ 64 w 183"/>
                <a:gd name="T59" fmla="*/ 97 h 177"/>
                <a:gd name="T60" fmla="*/ 157 w 183"/>
                <a:gd name="T61" fmla="*/ 110 h 177"/>
                <a:gd name="T62" fmla="*/ 145 w 183"/>
                <a:gd name="T63" fmla="*/ 127 h 177"/>
                <a:gd name="T64" fmla="*/ 70 w 183"/>
                <a:gd name="T65" fmla="*/ 80 h 177"/>
                <a:gd name="T66" fmla="*/ 75 w 183"/>
                <a:gd name="T67" fmla="*/ 11 h 177"/>
                <a:gd name="T68" fmla="*/ 171 w 183"/>
                <a:gd name="T69" fmla="*/ 8 h 177"/>
                <a:gd name="T70" fmla="*/ 162 w 183"/>
                <a:gd name="T71" fmla="*/ 89 h 177"/>
                <a:gd name="T72" fmla="*/ 70 w 183"/>
                <a:gd name="T73" fmla="*/ 8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3" h="177">
                  <a:moveTo>
                    <a:pt x="170" y="103"/>
                  </a:moveTo>
                  <a:cubicBezTo>
                    <a:pt x="169" y="102"/>
                    <a:pt x="170" y="99"/>
                    <a:pt x="169" y="99"/>
                  </a:cubicBezTo>
                  <a:cubicBezTo>
                    <a:pt x="166" y="98"/>
                    <a:pt x="162" y="99"/>
                    <a:pt x="160" y="97"/>
                  </a:cubicBezTo>
                  <a:cubicBezTo>
                    <a:pt x="165" y="96"/>
                    <a:pt x="171" y="98"/>
                    <a:pt x="175" y="97"/>
                  </a:cubicBezTo>
                  <a:cubicBezTo>
                    <a:pt x="178" y="64"/>
                    <a:pt x="183" y="0"/>
                    <a:pt x="183" y="0"/>
                  </a:cubicBezTo>
                  <a:cubicBezTo>
                    <a:pt x="65" y="4"/>
                    <a:pt x="65" y="4"/>
                    <a:pt x="65" y="4"/>
                  </a:cubicBezTo>
                  <a:cubicBezTo>
                    <a:pt x="65" y="4"/>
                    <a:pt x="61" y="58"/>
                    <a:pt x="59" y="86"/>
                  </a:cubicBezTo>
                  <a:cubicBezTo>
                    <a:pt x="63" y="86"/>
                    <a:pt x="68" y="86"/>
                    <a:pt x="70" y="88"/>
                  </a:cubicBezTo>
                  <a:cubicBezTo>
                    <a:pt x="67" y="88"/>
                    <a:pt x="65" y="87"/>
                    <a:pt x="63" y="88"/>
                  </a:cubicBezTo>
                  <a:cubicBezTo>
                    <a:pt x="62" y="89"/>
                    <a:pt x="62" y="91"/>
                    <a:pt x="61" y="92"/>
                  </a:cubicBezTo>
                  <a:cubicBezTo>
                    <a:pt x="47" y="101"/>
                    <a:pt x="30" y="112"/>
                    <a:pt x="14" y="121"/>
                  </a:cubicBezTo>
                  <a:cubicBezTo>
                    <a:pt x="10" y="123"/>
                    <a:pt x="1" y="128"/>
                    <a:pt x="0" y="133"/>
                  </a:cubicBezTo>
                  <a:cubicBezTo>
                    <a:pt x="0" y="136"/>
                    <a:pt x="2" y="140"/>
                    <a:pt x="3" y="143"/>
                  </a:cubicBezTo>
                  <a:cubicBezTo>
                    <a:pt x="3" y="143"/>
                    <a:pt x="3" y="144"/>
                    <a:pt x="4" y="144"/>
                  </a:cubicBezTo>
                  <a:cubicBezTo>
                    <a:pt x="4" y="144"/>
                    <a:pt x="4" y="144"/>
                    <a:pt x="5" y="145"/>
                  </a:cubicBezTo>
                  <a:cubicBezTo>
                    <a:pt x="6" y="145"/>
                    <a:pt x="7" y="147"/>
                    <a:pt x="9" y="148"/>
                  </a:cubicBezTo>
                  <a:cubicBezTo>
                    <a:pt x="18" y="151"/>
                    <a:pt x="122" y="176"/>
                    <a:pt x="138" y="177"/>
                  </a:cubicBezTo>
                  <a:cubicBezTo>
                    <a:pt x="145" y="168"/>
                    <a:pt x="152" y="155"/>
                    <a:pt x="158" y="145"/>
                  </a:cubicBezTo>
                  <a:cubicBezTo>
                    <a:pt x="161" y="141"/>
                    <a:pt x="163" y="136"/>
                    <a:pt x="165" y="133"/>
                  </a:cubicBezTo>
                  <a:cubicBezTo>
                    <a:pt x="166" y="132"/>
                    <a:pt x="167" y="131"/>
                    <a:pt x="168" y="130"/>
                  </a:cubicBezTo>
                  <a:cubicBezTo>
                    <a:pt x="173" y="123"/>
                    <a:pt x="177" y="114"/>
                    <a:pt x="174" y="104"/>
                  </a:cubicBezTo>
                  <a:cubicBezTo>
                    <a:pt x="174" y="103"/>
                    <a:pt x="171" y="104"/>
                    <a:pt x="170" y="103"/>
                  </a:cubicBezTo>
                  <a:close/>
                  <a:moveTo>
                    <a:pt x="78" y="131"/>
                  </a:moveTo>
                  <a:cubicBezTo>
                    <a:pt x="56" y="126"/>
                    <a:pt x="56" y="126"/>
                    <a:pt x="56" y="126"/>
                  </a:cubicBezTo>
                  <a:cubicBezTo>
                    <a:pt x="65" y="119"/>
                    <a:pt x="65" y="119"/>
                    <a:pt x="65" y="119"/>
                  </a:cubicBezTo>
                  <a:cubicBezTo>
                    <a:pt x="88" y="123"/>
                    <a:pt x="88" y="123"/>
                    <a:pt x="88" y="123"/>
                  </a:cubicBezTo>
                  <a:lnTo>
                    <a:pt x="78" y="131"/>
                  </a:lnTo>
                  <a:close/>
                  <a:moveTo>
                    <a:pt x="145" y="127"/>
                  </a:moveTo>
                  <a:cubicBezTo>
                    <a:pt x="43" y="111"/>
                    <a:pt x="43" y="111"/>
                    <a:pt x="43" y="111"/>
                  </a:cubicBezTo>
                  <a:cubicBezTo>
                    <a:pt x="64" y="97"/>
                    <a:pt x="64" y="97"/>
                    <a:pt x="64" y="97"/>
                  </a:cubicBezTo>
                  <a:cubicBezTo>
                    <a:pt x="157" y="110"/>
                    <a:pt x="157" y="110"/>
                    <a:pt x="157" y="110"/>
                  </a:cubicBezTo>
                  <a:lnTo>
                    <a:pt x="145" y="127"/>
                  </a:lnTo>
                  <a:close/>
                  <a:moveTo>
                    <a:pt x="70" y="80"/>
                  </a:moveTo>
                  <a:cubicBezTo>
                    <a:pt x="75" y="11"/>
                    <a:pt x="75" y="11"/>
                    <a:pt x="75" y="11"/>
                  </a:cubicBezTo>
                  <a:cubicBezTo>
                    <a:pt x="171" y="8"/>
                    <a:pt x="171" y="8"/>
                    <a:pt x="171" y="8"/>
                  </a:cubicBezTo>
                  <a:cubicBezTo>
                    <a:pt x="162" y="89"/>
                    <a:pt x="162" y="89"/>
                    <a:pt x="162" y="89"/>
                  </a:cubicBezTo>
                  <a:lnTo>
                    <a:pt x="7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592"/>
            <p:cNvSpPr>
              <a:spLocks noEditPoints="1"/>
            </p:cNvSpPr>
            <p:nvPr/>
          </p:nvSpPr>
          <p:spPr bwMode="auto">
            <a:xfrm>
              <a:off x="5583238" y="3995738"/>
              <a:ext cx="168275" cy="190500"/>
            </a:xfrm>
            <a:custGeom>
              <a:avLst/>
              <a:gdLst>
                <a:gd name="T0" fmla="*/ 174 w 175"/>
                <a:gd name="T1" fmla="*/ 159 h 197"/>
                <a:gd name="T2" fmla="*/ 169 w 175"/>
                <a:gd name="T3" fmla="*/ 158 h 197"/>
                <a:gd name="T4" fmla="*/ 168 w 175"/>
                <a:gd name="T5" fmla="*/ 55 h 197"/>
                <a:gd name="T6" fmla="*/ 96 w 175"/>
                <a:gd name="T7" fmla="*/ 0 h 197"/>
                <a:gd name="T8" fmla="*/ 18 w 175"/>
                <a:gd name="T9" fmla="*/ 55 h 197"/>
                <a:gd name="T10" fmla="*/ 16 w 175"/>
                <a:gd name="T11" fmla="*/ 159 h 197"/>
                <a:gd name="T12" fmla="*/ 1 w 175"/>
                <a:gd name="T13" fmla="*/ 162 h 197"/>
                <a:gd name="T14" fmla="*/ 0 w 175"/>
                <a:gd name="T15" fmla="*/ 165 h 197"/>
                <a:gd name="T16" fmla="*/ 87 w 175"/>
                <a:gd name="T17" fmla="*/ 197 h 197"/>
                <a:gd name="T18" fmla="*/ 175 w 175"/>
                <a:gd name="T19" fmla="*/ 167 h 197"/>
                <a:gd name="T20" fmla="*/ 174 w 175"/>
                <a:gd name="T21" fmla="*/ 159 h 197"/>
                <a:gd name="T22" fmla="*/ 20 w 175"/>
                <a:gd name="T23" fmla="*/ 57 h 197"/>
                <a:gd name="T24" fmla="*/ 96 w 175"/>
                <a:gd name="T25" fmla="*/ 4 h 197"/>
                <a:gd name="T26" fmla="*/ 98 w 175"/>
                <a:gd name="T27" fmla="*/ 176 h 197"/>
                <a:gd name="T28" fmla="*/ 19 w 175"/>
                <a:gd name="T29" fmla="*/ 158 h 197"/>
                <a:gd name="T30" fmla="*/ 20 w 175"/>
                <a:gd name="T31" fmla="*/ 57 h 197"/>
                <a:gd name="T32" fmla="*/ 87 w 175"/>
                <a:gd name="T33" fmla="*/ 191 h 197"/>
                <a:gd name="T34" fmla="*/ 3 w 175"/>
                <a:gd name="T35" fmla="*/ 163 h 197"/>
                <a:gd name="T36" fmla="*/ 17 w 175"/>
                <a:gd name="T37" fmla="*/ 160 h 197"/>
                <a:gd name="T38" fmla="*/ 19 w 175"/>
                <a:gd name="T39" fmla="*/ 160 h 197"/>
                <a:gd name="T40" fmla="*/ 98 w 175"/>
                <a:gd name="T41" fmla="*/ 179 h 197"/>
                <a:gd name="T42" fmla="*/ 134 w 175"/>
                <a:gd name="T43" fmla="*/ 177 h 197"/>
                <a:gd name="T44" fmla="*/ 87 w 175"/>
                <a:gd name="T45" fmla="*/ 19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5" h="197">
                  <a:moveTo>
                    <a:pt x="174" y="159"/>
                  </a:moveTo>
                  <a:cubicBezTo>
                    <a:pt x="172" y="158"/>
                    <a:pt x="171" y="158"/>
                    <a:pt x="169" y="158"/>
                  </a:cubicBezTo>
                  <a:cubicBezTo>
                    <a:pt x="169" y="154"/>
                    <a:pt x="168" y="55"/>
                    <a:pt x="168" y="55"/>
                  </a:cubicBezTo>
                  <a:cubicBezTo>
                    <a:pt x="96" y="0"/>
                    <a:pt x="96" y="0"/>
                    <a:pt x="96" y="0"/>
                  </a:cubicBezTo>
                  <a:cubicBezTo>
                    <a:pt x="18" y="55"/>
                    <a:pt x="18" y="55"/>
                    <a:pt x="18" y="55"/>
                  </a:cubicBezTo>
                  <a:cubicBezTo>
                    <a:pt x="18" y="55"/>
                    <a:pt x="17" y="157"/>
                    <a:pt x="16" y="159"/>
                  </a:cubicBezTo>
                  <a:cubicBezTo>
                    <a:pt x="11" y="160"/>
                    <a:pt x="6" y="161"/>
                    <a:pt x="1" y="162"/>
                  </a:cubicBezTo>
                  <a:cubicBezTo>
                    <a:pt x="1" y="163"/>
                    <a:pt x="1" y="164"/>
                    <a:pt x="0" y="165"/>
                  </a:cubicBezTo>
                  <a:cubicBezTo>
                    <a:pt x="29" y="176"/>
                    <a:pt x="57" y="186"/>
                    <a:pt x="87" y="197"/>
                  </a:cubicBezTo>
                  <a:cubicBezTo>
                    <a:pt x="117" y="187"/>
                    <a:pt x="139" y="179"/>
                    <a:pt x="175" y="167"/>
                  </a:cubicBezTo>
                  <a:cubicBezTo>
                    <a:pt x="175" y="164"/>
                    <a:pt x="175" y="162"/>
                    <a:pt x="174" y="159"/>
                  </a:cubicBezTo>
                  <a:close/>
                  <a:moveTo>
                    <a:pt x="20" y="57"/>
                  </a:moveTo>
                  <a:cubicBezTo>
                    <a:pt x="96" y="4"/>
                    <a:pt x="96" y="4"/>
                    <a:pt x="96" y="4"/>
                  </a:cubicBezTo>
                  <a:cubicBezTo>
                    <a:pt x="98" y="176"/>
                    <a:pt x="98" y="176"/>
                    <a:pt x="98" y="176"/>
                  </a:cubicBezTo>
                  <a:cubicBezTo>
                    <a:pt x="91" y="176"/>
                    <a:pt x="25" y="160"/>
                    <a:pt x="19" y="158"/>
                  </a:cubicBezTo>
                  <a:cubicBezTo>
                    <a:pt x="19" y="154"/>
                    <a:pt x="20" y="57"/>
                    <a:pt x="20" y="57"/>
                  </a:cubicBezTo>
                  <a:close/>
                  <a:moveTo>
                    <a:pt x="87" y="191"/>
                  </a:moveTo>
                  <a:cubicBezTo>
                    <a:pt x="74" y="187"/>
                    <a:pt x="10" y="165"/>
                    <a:pt x="3" y="163"/>
                  </a:cubicBezTo>
                  <a:cubicBezTo>
                    <a:pt x="8" y="162"/>
                    <a:pt x="13" y="161"/>
                    <a:pt x="17" y="160"/>
                  </a:cubicBezTo>
                  <a:cubicBezTo>
                    <a:pt x="18" y="160"/>
                    <a:pt x="19" y="160"/>
                    <a:pt x="19" y="160"/>
                  </a:cubicBezTo>
                  <a:cubicBezTo>
                    <a:pt x="27" y="162"/>
                    <a:pt x="98" y="179"/>
                    <a:pt x="98" y="179"/>
                  </a:cubicBezTo>
                  <a:cubicBezTo>
                    <a:pt x="134" y="177"/>
                    <a:pt x="134" y="177"/>
                    <a:pt x="134" y="177"/>
                  </a:cubicBezTo>
                  <a:cubicBezTo>
                    <a:pt x="117" y="182"/>
                    <a:pt x="96" y="189"/>
                    <a:pt x="87"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593"/>
            <p:cNvSpPr>
              <a:spLocks/>
            </p:cNvSpPr>
            <p:nvPr/>
          </p:nvSpPr>
          <p:spPr bwMode="auto">
            <a:xfrm>
              <a:off x="5605463" y="4011613"/>
              <a:ext cx="65087" cy="49213"/>
            </a:xfrm>
            <a:custGeom>
              <a:avLst/>
              <a:gdLst>
                <a:gd name="T0" fmla="*/ 41 w 41"/>
                <a:gd name="T1" fmla="*/ 0 h 31"/>
                <a:gd name="T2" fmla="*/ 0 w 41"/>
                <a:gd name="T3" fmla="*/ 26 h 31"/>
                <a:gd name="T4" fmla="*/ 0 w 41"/>
                <a:gd name="T5" fmla="*/ 31 h 31"/>
                <a:gd name="T6" fmla="*/ 41 w 41"/>
                <a:gd name="T7" fmla="*/ 9 h 31"/>
                <a:gd name="T8" fmla="*/ 41 w 41"/>
                <a:gd name="T9" fmla="*/ 0 h 31"/>
              </a:gdLst>
              <a:ahLst/>
              <a:cxnLst>
                <a:cxn ang="0">
                  <a:pos x="T0" y="T1"/>
                </a:cxn>
                <a:cxn ang="0">
                  <a:pos x="T2" y="T3"/>
                </a:cxn>
                <a:cxn ang="0">
                  <a:pos x="T4" y="T5"/>
                </a:cxn>
                <a:cxn ang="0">
                  <a:pos x="T6" y="T7"/>
                </a:cxn>
                <a:cxn ang="0">
                  <a:pos x="T8" y="T9"/>
                </a:cxn>
              </a:cxnLst>
              <a:rect l="0" t="0" r="r" b="b"/>
              <a:pathLst>
                <a:path w="41" h="31">
                  <a:moveTo>
                    <a:pt x="41" y="0"/>
                  </a:moveTo>
                  <a:lnTo>
                    <a:pt x="0" y="26"/>
                  </a:lnTo>
                  <a:lnTo>
                    <a:pt x="0" y="31"/>
                  </a:lnTo>
                  <a:lnTo>
                    <a:pt x="41" y="9"/>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594"/>
            <p:cNvSpPr>
              <a:spLocks/>
            </p:cNvSpPr>
            <p:nvPr/>
          </p:nvSpPr>
          <p:spPr bwMode="auto">
            <a:xfrm>
              <a:off x="5605463" y="4121150"/>
              <a:ext cx="66675" cy="14288"/>
            </a:xfrm>
            <a:custGeom>
              <a:avLst/>
              <a:gdLst>
                <a:gd name="T0" fmla="*/ 42 w 42"/>
                <a:gd name="T1" fmla="*/ 0 h 9"/>
                <a:gd name="T2" fmla="*/ 0 w 42"/>
                <a:gd name="T3" fmla="*/ 1 h 9"/>
                <a:gd name="T4" fmla="*/ 0 w 42"/>
                <a:gd name="T5" fmla="*/ 7 h 9"/>
                <a:gd name="T6" fmla="*/ 42 w 42"/>
                <a:gd name="T7" fmla="*/ 9 h 9"/>
                <a:gd name="T8" fmla="*/ 42 w 42"/>
                <a:gd name="T9" fmla="*/ 0 h 9"/>
              </a:gdLst>
              <a:ahLst/>
              <a:cxnLst>
                <a:cxn ang="0">
                  <a:pos x="T0" y="T1"/>
                </a:cxn>
                <a:cxn ang="0">
                  <a:pos x="T2" y="T3"/>
                </a:cxn>
                <a:cxn ang="0">
                  <a:pos x="T4" y="T5"/>
                </a:cxn>
                <a:cxn ang="0">
                  <a:pos x="T6" y="T7"/>
                </a:cxn>
                <a:cxn ang="0">
                  <a:pos x="T8" y="T9"/>
                </a:cxn>
              </a:cxnLst>
              <a:rect l="0" t="0" r="r" b="b"/>
              <a:pathLst>
                <a:path w="42" h="9">
                  <a:moveTo>
                    <a:pt x="42" y="0"/>
                  </a:moveTo>
                  <a:lnTo>
                    <a:pt x="0" y="1"/>
                  </a:lnTo>
                  <a:lnTo>
                    <a:pt x="0" y="7"/>
                  </a:lnTo>
                  <a:lnTo>
                    <a:pt x="42" y="9"/>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595"/>
            <p:cNvSpPr>
              <a:spLocks/>
            </p:cNvSpPr>
            <p:nvPr/>
          </p:nvSpPr>
          <p:spPr bwMode="auto">
            <a:xfrm>
              <a:off x="5605463" y="4137025"/>
              <a:ext cx="66675" cy="20638"/>
            </a:xfrm>
            <a:custGeom>
              <a:avLst/>
              <a:gdLst>
                <a:gd name="T0" fmla="*/ 42 w 42"/>
                <a:gd name="T1" fmla="*/ 4 h 13"/>
                <a:gd name="T2" fmla="*/ 0 w 42"/>
                <a:gd name="T3" fmla="*/ 0 h 13"/>
                <a:gd name="T4" fmla="*/ 0 w 42"/>
                <a:gd name="T5" fmla="*/ 5 h 13"/>
                <a:gd name="T6" fmla="*/ 42 w 42"/>
                <a:gd name="T7" fmla="*/ 13 h 13"/>
                <a:gd name="T8" fmla="*/ 42 w 42"/>
                <a:gd name="T9" fmla="*/ 4 h 13"/>
              </a:gdLst>
              <a:ahLst/>
              <a:cxnLst>
                <a:cxn ang="0">
                  <a:pos x="T0" y="T1"/>
                </a:cxn>
                <a:cxn ang="0">
                  <a:pos x="T2" y="T3"/>
                </a:cxn>
                <a:cxn ang="0">
                  <a:pos x="T4" y="T5"/>
                </a:cxn>
                <a:cxn ang="0">
                  <a:pos x="T6" y="T7"/>
                </a:cxn>
                <a:cxn ang="0">
                  <a:pos x="T8" y="T9"/>
                </a:cxn>
              </a:cxnLst>
              <a:rect l="0" t="0" r="r" b="b"/>
              <a:pathLst>
                <a:path w="42" h="13">
                  <a:moveTo>
                    <a:pt x="42" y="4"/>
                  </a:moveTo>
                  <a:lnTo>
                    <a:pt x="0" y="0"/>
                  </a:lnTo>
                  <a:lnTo>
                    <a:pt x="0" y="5"/>
                  </a:lnTo>
                  <a:lnTo>
                    <a:pt x="42" y="13"/>
                  </a:lnTo>
                  <a:lnTo>
                    <a:pt x="4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596"/>
            <p:cNvSpPr>
              <a:spLocks/>
            </p:cNvSpPr>
            <p:nvPr/>
          </p:nvSpPr>
          <p:spPr bwMode="auto">
            <a:xfrm>
              <a:off x="5605463" y="4033838"/>
              <a:ext cx="65087" cy="41275"/>
            </a:xfrm>
            <a:custGeom>
              <a:avLst/>
              <a:gdLst>
                <a:gd name="T0" fmla="*/ 41 w 41"/>
                <a:gd name="T1" fmla="*/ 0 h 26"/>
                <a:gd name="T2" fmla="*/ 0 w 41"/>
                <a:gd name="T3" fmla="*/ 20 h 26"/>
                <a:gd name="T4" fmla="*/ 0 w 41"/>
                <a:gd name="T5" fmla="*/ 26 h 26"/>
                <a:gd name="T6" fmla="*/ 41 w 41"/>
                <a:gd name="T7" fmla="*/ 9 h 26"/>
                <a:gd name="T8" fmla="*/ 41 w 41"/>
                <a:gd name="T9" fmla="*/ 0 h 26"/>
              </a:gdLst>
              <a:ahLst/>
              <a:cxnLst>
                <a:cxn ang="0">
                  <a:pos x="T0" y="T1"/>
                </a:cxn>
                <a:cxn ang="0">
                  <a:pos x="T2" y="T3"/>
                </a:cxn>
                <a:cxn ang="0">
                  <a:pos x="T4" y="T5"/>
                </a:cxn>
                <a:cxn ang="0">
                  <a:pos x="T6" y="T7"/>
                </a:cxn>
                <a:cxn ang="0">
                  <a:pos x="T8" y="T9"/>
                </a:cxn>
              </a:cxnLst>
              <a:rect l="0" t="0" r="r" b="b"/>
              <a:pathLst>
                <a:path w="41" h="26">
                  <a:moveTo>
                    <a:pt x="41" y="0"/>
                  </a:moveTo>
                  <a:lnTo>
                    <a:pt x="0" y="20"/>
                  </a:lnTo>
                  <a:lnTo>
                    <a:pt x="0" y="26"/>
                  </a:lnTo>
                  <a:lnTo>
                    <a:pt x="41" y="9"/>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597"/>
            <p:cNvSpPr>
              <a:spLocks/>
            </p:cNvSpPr>
            <p:nvPr/>
          </p:nvSpPr>
          <p:spPr bwMode="auto">
            <a:xfrm>
              <a:off x="5605463" y="4098925"/>
              <a:ext cx="66675" cy="17463"/>
            </a:xfrm>
            <a:custGeom>
              <a:avLst/>
              <a:gdLst>
                <a:gd name="T0" fmla="*/ 42 w 42"/>
                <a:gd name="T1" fmla="*/ 0 h 11"/>
                <a:gd name="T2" fmla="*/ 0 w 42"/>
                <a:gd name="T3" fmla="*/ 7 h 11"/>
                <a:gd name="T4" fmla="*/ 0 w 42"/>
                <a:gd name="T5" fmla="*/ 11 h 11"/>
                <a:gd name="T6" fmla="*/ 42 w 42"/>
                <a:gd name="T7" fmla="*/ 9 h 11"/>
                <a:gd name="T8" fmla="*/ 42 w 42"/>
                <a:gd name="T9" fmla="*/ 0 h 11"/>
              </a:gdLst>
              <a:ahLst/>
              <a:cxnLst>
                <a:cxn ang="0">
                  <a:pos x="T0" y="T1"/>
                </a:cxn>
                <a:cxn ang="0">
                  <a:pos x="T2" y="T3"/>
                </a:cxn>
                <a:cxn ang="0">
                  <a:pos x="T4" y="T5"/>
                </a:cxn>
                <a:cxn ang="0">
                  <a:pos x="T6" y="T7"/>
                </a:cxn>
                <a:cxn ang="0">
                  <a:pos x="T8" y="T9"/>
                </a:cxn>
              </a:cxnLst>
              <a:rect l="0" t="0" r="r" b="b"/>
              <a:pathLst>
                <a:path w="42" h="11">
                  <a:moveTo>
                    <a:pt x="42" y="0"/>
                  </a:moveTo>
                  <a:lnTo>
                    <a:pt x="0" y="7"/>
                  </a:lnTo>
                  <a:lnTo>
                    <a:pt x="0" y="11"/>
                  </a:lnTo>
                  <a:lnTo>
                    <a:pt x="42" y="9"/>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598"/>
            <p:cNvSpPr>
              <a:spLocks/>
            </p:cNvSpPr>
            <p:nvPr/>
          </p:nvSpPr>
          <p:spPr bwMode="auto">
            <a:xfrm>
              <a:off x="5605463" y="4078288"/>
              <a:ext cx="66675" cy="25400"/>
            </a:xfrm>
            <a:custGeom>
              <a:avLst/>
              <a:gdLst>
                <a:gd name="T0" fmla="*/ 41 w 42"/>
                <a:gd name="T1" fmla="*/ 0 h 16"/>
                <a:gd name="T2" fmla="*/ 0 w 42"/>
                <a:gd name="T3" fmla="*/ 10 h 16"/>
                <a:gd name="T4" fmla="*/ 0 w 42"/>
                <a:gd name="T5" fmla="*/ 16 h 16"/>
                <a:gd name="T6" fmla="*/ 42 w 42"/>
                <a:gd name="T7" fmla="*/ 8 h 16"/>
                <a:gd name="T8" fmla="*/ 41 w 42"/>
                <a:gd name="T9" fmla="*/ 0 h 16"/>
              </a:gdLst>
              <a:ahLst/>
              <a:cxnLst>
                <a:cxn ang="0">
                  <a:pos x="T0" y="T1"/>
                </a:cxn>
                <a:cxn ang="0">
                  <a:pos x="T2" y="T3"/>
                </a:cxn>
                <a:cxn ang="0">
                  <a:pos x="T4" y="T5"/>
                </a:cxn>
                <a:cxn ang="0">
                  <a:pos x="T6" y="T7"/>
                </a:cxn>
                <a:cxn ang="0">
                  <a:pos x="T8" y="T9"/>
                </a:cxn>
              </a:cxnLst>
              <a:rect l="0" t="0" r="r" b="b"/>
              <a:pathLst>
                <a:path w="42" h="16">
                  <a:moveTo>
                    <a:pt x="41" y="0"/>
                  </a:moveTo>
                  <a:lnTo>
                    <a:pt x="0" y="10"/>
                  </a:lnTo>
                  <a:lnTo>
                    <a:pt x="0" y="16"/>
                  </a:lnTo>
                  <a:lnTo>
                    <a:pt x="42" y="8"/>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599"/>
            <p:cNvSpPr>
              <a:spLocks/>
            </p:cNvSpPr>
            <p:nvPr/>
          </p:nvSpPr>
          <p:spPr bwMode="auto">
            <a:xfrm>
              <a:off x="5605463" y="4056063"/>
              <a:ext cx="65087" cy="33338"/>
            </a:xfrm>
            <a:custGeom>
              <a:avLst/>
              <a:gdLst>
                <a:gd name="T0" fmla="*/ 41 w 41"/>
                <a:gd name="T1" fmla="*/ 0 h 21"/>
                <a:gd name="T2" fmla="*/ 0 w 41"/>
                <a:gd name="T3" fmla="*/ 15 h 21"/>
                <a:gd name="T4" fmla="*/ 0 w 41"/>
                <a:gd name="T5" fmla="*/ 21 h 21"/>
                <a:gd name="T6" fmla="*/ 41 w 41"/>
                <a:gd name="T7" fmla="*/ 8 h 21"/>
                <a:gd name="T8" fmla="*/ 41 w 41"/>
                <a:gd name="T9" fmla="*/ 0 h 21"/>
              </a:gdLst>
              <a:ahLst/>
              <a:cxnLst>
                <a:cxn ang="0">
                  <a:pos x="T0" y="T1"/>
                </a:cxn>
                <a:cxn ang="0">
                  <a:pos x="T2" y="T3"/>
                </a:cxn>
                <a:cxn ang="0">
                  <a:pos x="T4" y="T5"/>
                </a:cxn>
                <a:cxn ang="0">
                  <a:pos x="T6" y="T7"/>
                </a:cxn>
                <a:cxn ang="0">
                  <a:pos x="T8" y="T9"/>
                </a:cxn>
              </a:cxnLst>
              <a:rect l="0" t="0" r="r" b="b"/>
              <a:pathLst>
                <a:path w="41" h="21">
                  <a:moveTo>
                    <a:pt x="41" y="0"/>
                  </a:moveTo>
                  <a:lnTo>
                    <a:pt x="0" y="15"/>
                  </a:lnTo>
                  <a:lnTo>
                    <a:pt x="0" y="21"/>
                  </a:lnTo>
                  <a:lnTo>
                    <a:pt x="41" y="8"/>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600"/>
            <p:cNvSpPr>
              <a:spLocks noChangeArrowheads="1"/>
            </p:cNvSpPr>
            <p:nvPr/>
          </p:nvSpPr>
          <p:spPr bwMode="auto">
            <a:xfrm>
              <a:off x="5427663" y="4740275"/>
              <a:ext cx="11112" cy="11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601"/>
            <p:cNvSpPr>
              <a:spLocks/>
            </p:cNvSpPr>
            <p:nvPr/>
          </p:nvSpPr>
          <p:spPr bwMode="auto">
            <a:xfrm>
              <a:off x="5526088" y="46370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602"/>
            <p:cNvSpPr>
              <a:spLocks/>
            </p:cNvSpPr>
            <p:nvPr/>
          </p:nvSpPr>
          <p:spPr bwMode="auto">
            <a:xfrm>
              <a:off x="5526088" y="46116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603"/>
            <p:cNvSpPr>
              <a:spLocks/>
            </p:cNvSpPr>
            <p:nvPr/>
          </p:nvSpPr>
          <p:spPr bwMode="auto">
            <a:xfrm>
              <a:off x="5526088" y="46640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604"/>
            <p:cNvSpPr>
              <a:spLocks/>
            </p:cNvSpPr>
            <p:nvPr/>
          </p:nvSpPr>
          <p:spPr bwMode="auto">
            <a:xfrm>
              <a:off x="5387975" y="4632325"/>
              <a:ext cx="131762" cy="41275"/>
            </a:xfrm>
            <a:custGeom>
              <a:avLst/>
              <a:gdLst>
                <a:gd name="T0" fmla="*/ 2 w 137"/>
                <a:gd name="T1" fmla="*/ 37 h 44"/>
                <a:gd name="T2" fmla="*/ 2 w 137"/>
                <a:gd name="T3" fmla="*/ 37 h 44"/>
                <a:gd name="T4" fmla="*/ 3 w 137"/>
                <a:gd name="T5" fmla="*/ 38 h 44"/>
                <a:gd name="T6" fmla="*/ 4 w 137"/>
                <a:gd name="T7" fmla="*/ 38 h 44"/>
                <a:gd name="T8" fmla="*/ 5 w 137"/>
                <a:gd name="T9" fmla="*/ 38 h 44"/>
                <a:gd name="T10" fmla="*/ 6 w 137"/>
                <a:gd name="T11" fmla="*/ 38 h 44"/>
                <a:gd name="T12" fmla="*/ 6 w 137"/>
                <a:gd name="T13" fmla="*/ 38 h 44"/>
                <a:gd name="T14" fmla="*/ 7 w 137"/>
                <a:gd name="T15" fmla="*/ 38 h 44"/>
                <a:gd name="T16" fmla="*/ 8 w 137"/>
                <a:gd name="T17" fmla="*/ 38 h 44"/>
                <a:gd name="T18" fmla="*/ 78 w 137"/>
                <a:gd name="T19" fmla="*/ 44 h 44"/>
                <a:gd name="T20" fmla="*/ 79 w 137"/>
                <a:gd name="T21" fmla="*/ 44 h 44"/>
                <a:gd name="T22" fmla="*/ 81 w 137"/>
                <a:gd name="T23" fmla="*/ 44 h 44"/>
                <a:gd name="T24" fmla="*/ 82 w 137"/>
                <a:gd name="T25" fmla="*/ 44 h 44"/>
                <a:gd name="T26" fmla="*/ 83 w 137"/>
                <a:gd name="T27" fmla="*/ 44 h 44"/>
                <a:gd name="T28" fmla="*/ 85 w 137"/>
                <a:gd name="T29" fmla="*/ 44 h 44"/>
                <a:gd name="T30" fmla="*/ 88 w 137"/>
                <a:gd name="T31" fmla="*/ 44 h 44"/>
                <a:gd name="T32" fmla="*/ 90 w 137"/>
                <a:gd name="T33" fmla="*/ 44 h 44"/>
                <a:gd name="T34" fmla="*/ 91 w 137"/>
                <a:gd name="T35" fmla="*/ 44 h 44"/>
                <a:gd name="T36" fmla="*/ 92 w 137"/>
                <a:gd name="T37" fmla="*/ 44 h 44"/>
                <a:gd name="T38" fmla="*/ 93 w 137"/>
                <a:gd name="T39" fmla="*/ 43 h 44"/>
                <a:gd name="T40" fmla="*/ 94 w 137"/>
                <a:gd name="T41" fmla="*/ 43 h 44"/>
                <a:gd name="T42" fmla="*/ 95 w 137"/>
                <a:gd name="T43" fmla="*/ 43 h 44"/>
                <a:gd name="T44" fmla="*/ 96 w 137"/>
                <a:gd name="T45" fmla="*/ 43 h 44"/>
                <a:gd name="T46" fmla="*/ 96 w 137"/>
                <a:gd name="T47" fmla="*/ 42 h 44"/>
                <a:gd name="T48" fmla="*/ 136 w 137"/>
                <a:gd name="T49" fmla="*/ 21 h 44"/>
                <a:gd name="T50" fmla="*/ 136 w 137"/>
                <a:gd name="T51" fmla="*/ 21 h 44"/>
                <a:gd name="T52" fmla="*/ 136 w 137"/>
                <a:gd name="T53" fmla="*/ 21 h 44"/>
                <a:gd name="T54" fmla="*/ 137 w 137"/>
                <a:gd name="T55" fmla="*/ 20 h 44"/>
                <a:gd name="T56" fmla="*/ 137 w 137"/>
                <a:gd name="T57" fmla="*/ 3 h 44"/>
                <a:gd name="T58" fmla="*/ 137 w 137"/>
                <a:gd name="T59" fmla="*/ 3 h 44"/>
                <a:gd name="T60" fmla="*/ 97 w 137"/>
                <a:gd name="T61" fmla="*/ 18 h 44"/>
                <a:gd name="T62" fmla="*/ 96 w 137"/>
                <a:gd name="T63" fmla="*/ 18 h 44"/>
                <a:gd name="T64" fmla="*/ 96 w 137"/>
                <a:gd name="T65" fmla="*/ 18 h 44"/>
                <a:gd name="T66" fmla="*/ 95 w 137"/>
                <a:gd name="T67" fmla="*/ 18 h 44"/>
                <a:gd name="T68" fmla="*/ 94 w 137"/>
                <a:gd name="T69" fmla="*/ 19 h 44"/>
                <a:gd name="T70" fmla="*/ 93 w 137"/>
                <a:gd name="T71" fmla="*/ 19 h 44"/>
                <a:gd name="T72" fmla="*/ 92 w 137"/>
                <a:gd name="T73" fmla="*/ 19 h 44"/>
                <a:gd name="T74" fmla="*/ 90 w 137"/>
                <a:gd name="T75" fmla="*/ 19 h 44"/>
                <a:gd name="T76" fmla="*/ 88 w 137"/>
                <a:gd name="T77" fmla="*/ 19 h 44"/>
                <a:gd name="T78" fmla="*/ 86 w 137"/>
                <a:gd name="T79" fmla="*/ 19 h 44"/>
                <a:gd name="T80" fmla="*/ 85 w 137"/>
                <a:gd name="T81" fmla="*/ 19 h 44"/>
                <a:gd name="T82" fmla="*/ 83 w 137"/>
                <a:gd name="T83" fmla="*/ 19 h 44"/>
                <a:gd name="T84" fmla="*/ 82 w 137"/>
                <a:gd name="T85" fmla="*/ 19 h 44"/>
                <a:gd name="T86" fmla="*/ 80 w 137"/>
                <a:gd name="T87" fmla="*/ 19 h 44"/>
                <a:gd name="T88" fmla="*/ 79 w 137"/>
                <a:gd name="T89" fmla="*/ 19 h 44"/>
                <a:gd name="T90" fmla="*/ 9 w 137"/>
                <a:gd name="T91" fmla="*/ 14 h 44"/>
                <a:gd name="T92" fmla="*/ 8 w 137"/>
                <a:gd name="T93" fmla="*/ 14 h 44"/>
                <a:gd name="T94" fmla="*/ 7 w 137"/>
                <a:gd name="T95" fmla="*/ 14 h 44"/>
                <a:gd name="T96" fmla="*/ 6 w 137"/>
                <a:gd name="T97" fmla="*/ 13 h 44"/>
                <a:gd name="T98" fmla="*/ 1 w 137"/>
                <a:gd name="T99" fmla="*/ 16 h 44"/>
                <a:gd name="T100" fmla="*/ 1 w 137"/>
                <a:gd name="T101" fmla="*/ 37 h 44"/>
                <a:gd name="T102" fmla="*/ 1 w 137"/>
                <a:gd name="T103"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7" h="44">
                  <a:moveTo>
                    <a:pt x="1" y="37"/>
                  </a:moveTo>
                  <a:cubicBezTo>
                    <a:pt x="1" y="37"/>
                    <a:pt x="2" y="37"/>
                    <a:pt x="2" y="37"/>
                  </a:cubicBezTo>
                  <a:cubicBezTo>
                    <a:pt x="2" y="37"/>
                    <a:pt x="2" y="37"/>
                    <a:pt x="2" y="37"/>
                  </a:cubicBezTo>
                  <a:cubicBezTo>
                    <a:pt x="2" y="37"/>
                    <a:pt x="2" y="37"/>
                    <a:pt x="2" y="37"/>
                  </a:cubicBezTo>
                  <a:cubicBezTo>
                    <a:pt x="2" y="37"/>
                    <a:pt x="3" y="37"/>
                    <a:pt x="3" y="37"/>
                  </a:cubicBezTo>
                  <a:cubicBezTo>
                    <a:pt x="3" y="38"/>
                    <a:pt x="3" y="38"/>
                    <a:pt x="3" y="38"/>
                  </a:cubicBezTo>
                  <a:cubicBezTo>
                    <a:pt x="3" y="38"/>
                    <a:pt x="3" y="38"/>
                    <a:pt x="3" y="38"/>
                  </a:cubicBezTo>
                  <a:cubicBezTo>
                    <a:pt x="4" y="38"/>
                    <a:pt x="4" y="38"/>
                    <a:pt x="4" y="38"/>
                  </a:cubicBezTo>
                  <a:cubicBezTo>
                    <a:pt x="4" y="38"/>
                    <a:pt x="4" y="38"/>
                    <a:pt x="4" y="38"/>
                  </a:cubicBezTo>
                  <a:cubicBezTo>
                    <a:pt x="5" y="38"/>
                    <a:pt x="5" y="38"/>
                    <a:pt x="5" y="38"/>
                  </a:cubicBezTo>
                  <a:cubicBezTo>
                    <a:pt x="5" y="38"/>
                    <a:pt x="5" y="38"/>
                    <a:pt x="5" y="38"/>
                  </a:cubicBezTo>
                  <a:cubicBezTo>
                    <a:pt x="5" y="38"/>
                    <a:pt x="5" y="38"/>
                    <a:pt x="6" y="38"/>
                  </a:cubicBezTo>
                  <a:cubicBezTo>
                    <a:pt x="6" y="38"/>
                    <a:pt x="6" y="38"/>
                    <a:pt x="6" y="38"/>
                  </a:cubicBezTo>
                  <a:cubicBezTo>
                    <a:pt x="6" y="38"/>
                    <a:pt x="6" y="38"/>
                    <a:pt x="6" y="38"/>
                  </a:cubicBezTo>
                  <a:cubicBezTo>
                    <a:pt x="7" y="38"/>
                    <a:pt x="7" y="38"/>
                    <a:pt x="7" y="38"/>
                  </a:cubicBezTo>
                  <a:cubicBezTo>
                    <a:pt x="7" y="38"/>
                    <a:pt x="7" y="38"/>
                    <a:pt x="7" y="38"/>
                  </a:cubicBezTo>
                  <a:cubicBezTo>
                    <a:pt x="8" y="38"/>
                    <a:pt x="8" y="38"/>
                    <a:pt x="8" y="38"/>
                  </a:cubicBezTo>
                  <a:cubicBezTo>
                    <a:pt x="8" y="38"/>
                    <a:pt x="8" y="38"/>
                    <a:pt x="8" y="38"/>
                  </a:cubicBezTo>
                  <a:cubicBezTo>
                    <a:pt x="9" y="38"/>
                    <a:pt x="9" y="38"/>
                    <a:pt x="9" y="39"/>
                  </a:cubicBezTo>
                  <a:cubicBezTo>
                    <a:pt x="78" y="44"/>
                    <a:pt x="78" y="44"/>
                    <a:pt x="78" y="44"/>
                  </a:cubicBezTo>
                  <a:cubicBezTo>
                    <a:pt x="78" y="44"/>
                    <a:pt x="78" y="44"/>
                    <a:pt x="79" y="44"/>
                  </a:cubicBezTo>
                  <a:cubicBezTo>
                    <a:pt x="79" y="44"/>
                    <a:pt x="79" y="44"/>
                    <a:pt x="79" y="44"/>
                  </a:cubicBezTo>
                  <a:cubicBezTo>
                    <a:pt x="80" y="44"/>
                    <a:pt x="80" y="44"/>
                    <a:pt x="80" y="44"/>
                  </a:cubicBezTo>
                  <a:cubicBezTo>
                    <a:pt x="80" y="44"/>
                    <a:pt x="81" y="44"/>
                    <a:pt x="81" y="44"/>
                  </a:cubicBezTo>
                  <a:cubicBezTo>
                    <a:pt x="81" y="44"/>
                    <a:pt x="81" y="44"/>
                    <a:pt x="82" y="44"/>
                  </a:cubicBezTo>
                  <a:cubicBezTo>
                    <a:pt x="82" y="44"/>
                    <a:pt x="82" y="44"/>
                    <a:pt x="82" y="44"/>
                  </a:cubicBezTo>
                  <a:cubicBezTo>
                    <a:pt x="82" y="44"/>
                    <a:pt x="83" y="44"/>
                    <a:pt x="83" y="44"/>
                  </a:cubicBezTo>
                  <a:cubicBezTo>
                    <a:pt x="83" y="44"/>
                    <a:pt x="83" y="44"/>
                    <a:pt x="83" y="44"/>
                  </a:cubicBezTo>
                  <a:cubicBezTo>
                    <a:pt x="84" y="44"/>
                    <a:pt x="84" y="44"/>
                    <a:pt x="85" y="44"/>
                  </a:cubicBezTo>
                  <a:cubicBezTo>
                    <a:pt x="85" y="44"/>
                    <a:pt x="85" y="44"/>
                    <a:pt x="85" y="44"/>
                  </a:cubicBezTo>
                  <a:cubicBezTo>
                    <a:pt x="85" y="44"/>
                    <a:pt x="86" y="44"/>
                    <a:pt x="86" y="44"/>
                  </a:cubicBezTo>
                  <a:cubicBezTo>
                    <a:pt x="87" y="44"/>
                    <a:pt x="87" y="44"/>
                    <a:pt x="88" y="44"/>
                  </a:cubicBezTo>
                  <a:cubicBezTo>
                    <a:pt x="88" y="44"/>
                    <a:pt x="88" y="44"/>
                    <a:pt x="88" y="44"/>
                  </a:cubicBezTo>
                  <a:cubicBezTo>
                    <a:pt x="89" y="44"/>
                    <a:pt x="89" y="44"/>
                    <a:pt x="90" y="44"/>
                  </a:cubicBezTo>
                  <a:cubicBezTo>
                    <a:pt x="90" y="44"/>
                    <a:pt x="90" y="44"/>
                    <a:pt x="90" y="44"/>
                  </a:cubicBezTo>
                  <a:cubicBezTo>
                    <a:pt x="91" y="44"/>
                    <a:pt x="91" y="44"/>
                    <a:pt x="91" y="44"/>
                  </a:cubicBezTo>
                  <a:cubicBezTo>
                    <a:pt x="91" y="44"/>
                    <a:pt x="91" y="44"/>
                    <a:pt x="92" y="44"/>
                  </a:cubicBezTo>
                  <a:cubicBezTo>
                    <a:pt x="92" y="44"/>
                    <a:pt x="92" y="44"/>
                    <a:pt x="92" y="44"/>
                  </a:cubicBezTo>
                  <a:cubicBezTo>
                    <a:pt x="92" y="43"/>
                    <a:pt x="93" y="43"/>
                    <a:pt x="93" y="43"/>
                  </a:cubicBezTo>
                  <a:cubicBezTo>
                    <a:pt x="93" y="43"/>
                    <a:pt x="93" y="43"/>
                    <a:pt x="93" y="43"/>
                  </a:cubicBezTo>
                  <a:cubicBezTo>
                    <a:pt x="93" y="43"/>
                    <a:pt x="94" y="43"/>
                    <a:pt x="94" y="43"/>
                  </a:cubicBezTo>
                  <a:cubicBezTo>
                    <a:pt x="94" y="43"/>
                    <a:pt x="94" y="43"/>
                    <a:pt x="94" y="43"/>
                  </a:cubicBezTo>
                  <a:cubicBezTo>
                    <a:pt x="94" y="43"/>
                    <a:pt x="94" y="43"/>
                    <a:pt x="95" y="43"/>
                  </a:cubicBezTo>
                  <a:cubicBezTo>
                    <a:pt x="95" y="43"/>
                    <a:pt x="95" y="43"/>
                    <a:pt x="95" y="43"/>
                  </a:cubicBezTo>
                  <a:cubicBezTo>
                    <a:pt x="95" y="43"/>
                    <a:pt x="95" y="43"/>
                    <a:pt x="96" y="43"/>
                  </a:cubicBezTo>
                  <a:cubicBezTo>
                    <a:pt x="96" y="43"/>
                    <a:pt x="96" y="43"/>
                    <a:pt x="96" y="43"/>
                  </a:cubicBezTo>
                  <a:cubicBezTo>
                    <a:pt x="96" y="43"/>
                    <a:pt x="96" y="43"/>
                    <a:pt x="96" y="43"/>
                  </a:cubicBezTo>
                  <a:cubicBezTo>
                    <a:pt x="96" y="43"/>
                    <a:pt x="96" y="43"/>
                    <a:pt x="96" y="42"/>
                  </a:cubicBezTo>
                  <a:cubicBezTo>
                    <a:pt x="97" y="42"/>
                    <a:pt x="97" y="42"/>
                    <a:pt x="97" y="42"/>
                  </a:cubicBezTo>
                  <a:cubicBezTo>
                    <a:pt x="136" y="21"/>
                    <a:pt x="136" y="21"/>
                    <a:pt x="136" y="21"/>
                  </a:cubicBezTo>
                  <a:cubicBezTo>
                    <a:pt x="136" y="21"/>
                    <a:pt x="136" y="21"/>
                    <a:pt x="136" y="21"/>
                  </a:cubicBezTo>
                  <a:cubicBezTo>
                    <a:pt x="136" y="21"/>
                    <a:pt x="136" y="21"/>
                    <a:pt x="136" y="21"/>
                  </a:cubicBezTo>
                  <a:cubicBezTo>
                    <a:pt x="136" y="21"/>
                    <a:pt x="136" y="21"/>
                    <a:pt x="136" y="21"/>
                  </a:cubicBezTo>
                  <a:cubicBezTo>
                    <a:pt x="136" y="21"/>
                    <a:pt x="136" y="21"/>
                    <a:pt x="136" y="21"/>
                  </a:cubicBezTo>
                  <a:cubicBezTo>
                    <a:pt x="137" y="21"/>
                    <a:pt x="137" y="20"/>
                    <a:pt x="137" y="20"/>
                  </a:cubicBezTo>
                  <a:cubicBezTo>
                    <a:pt x="137" y="20"/>
                    <a:pt x="137" y="20"/>
                    <a:pt x="137" y="20"/>
                  </a:cubicBezTo>
                  <a:cubicBezTo>
                    <a:pt x="137" y="20"/>
                    <a:pt x="137" y="20"/>
                    <a:pt x="137" y="20"/>
                  </a:cubicBezTo>
                  <a:cubicBezTo>
                    <a:pt x="137" y="3"/>
                    <a:pt x="137" y="3"/>
                    <a:pt x="137" y="3"/>
                  </a:cubicBezTo>
                  <a:cubicBezTo>
                    <a:pt x="137" y="3"/>
                    <a:pt x="137" y="3"/>
                    <a:pt x="137" y="3"/>
                  </a:cubicBezTo>
                  <a:cubicBezTo>
                    <a:pt x="137" y="3"/>
                    <a:pt x="137" y="3"/>
                    <a:pt x="137" y="3"/>
                  </a:cubicBezTo>
                  <a:cubicBezTo>
                    <a:pt x="137" y="2"/>
                    <a:pt x="135" y="1"/>
                    <a:pt x="130" y="0"/>
                  </a:cubicBezTo>
                  <a:cubicBezTo>
                    <a:pt x="97" y="18"/>
                    <a:pt x="97" y="18"/>
                    <a:pt x="97" y="18"/>
                  </a:cubicBezTo>
                  <a:cubicBezTo>
                    <a:pt x="97" y="18"/>
                    <a:pt x="97" y="18"/>
                    <a:pt x="96" y="18"/>
                  </a:cubicBezTo>
                  <a:cubicBezTo>
                    <a:pt x="96" y="18"/>
                    <a:pt x="96" y="18"/>
                    <a:pt x="96" y="18"/>
                  </a:cubicBezTo>
                  <a:cubicBezTo>
                    <a:pt x="96" y="18"/>
                    <a:pt x="96" y="18"/>
                    <a:pt x="96" y="18"/>
                  </a:cubicBezTo>
                  <a:cubicBezTo>
                    <a:pt x="96" y="18"/>
                    <a:pt x="96" y="18"/>
                    <a:pt x="96" y="18"/>
                  </a:cubicBezTo>
                  <a:cubicBezTo>
                    <a:pt x="95" y="18"/>
                    <a:pt x="95" y="18"/>
                    <a:pt x="95" y="18"/>
                  </a:cubicBezTo>
                  <a:cubicBezTo>
                    <a:pt x="95" y="18"/>
                    <a:pt x="95" y="18"/>
                    <a:pt x="95" y="18"/>
                  </a:cubicBezTo>
                  <a:cubicBezTo>
                    <a:pt x="94" y="18"/>
                    <a:pt x="94" y="18"/>
                    <a:pt x="94" y="18"/>
                  </a:cubicBezTo>
                  <a:cubicBezTo>
                    <a:pt x="94" y="18"/>
                    <a:pt x="94" y="19"/>
                    <a:pt x="94" y="19"/>
                  </a:cubicBezTo>
                  <a:cubicBezTo>
                    <a:pt x="94" y="19"/>
                    <a:pt x="93" y="19"/>
                    <a:pt x="93" y="19"/>
                  </a:cubicBezTo>
                  <a:cubicBezTo>
                    <a:pt x="93" y="19"/>
                    <a:pt x="93" y="19"/>
                    <a:pt x="93" y="19"/>
                  </a:cubicBezTo>
                  <a:cubicBezTo>
                    <a:pt x="93" y="19"/>
                    <a:pt x="93" y="19"/>
                    <a:pt x="92" y="19"/>
                  </a:cubicBezTo>
                  <a:cubicBezTo>
                    <a:pt x="92" y="19"/>
                    <a:pt x="92" y="19"/>
                    <a:pt x="92" y="19"/>
                  </a:cubicBezTo>
                  <a:cubicBezTo>
                    <a:pt x="91" y="19"/>
                    <a:pt x="91" y="19"/>
                    <a:pt x="91" y="19"/>
                  </a:cubicBezTo>
                  <a:cubicBezTo>
                    <a:pt x="91" y="19"/>
                    <a:pt x="91" y="19"/>
                    <a:pt x="90" y="19"/>
                  </a:cubicBezTo>
                  <a:cubicBezTo>
                    <a:pt x="90" y="19"/>
                    <a:pt x="90" y="19"/>
                    <a:pt x="90" y="19"/>
                  </a:cubicBezTo>
                  <a:cubicBezTo>
                    <a:pt x="89" y="19"/>
                    <a:pt x="89" y="19"/>
                    <a:pt x="88" y="19"/>
                  </a:cubicBezTo>
                  <a:cubicBezTo>
                    <a:pt x="88" y="19"/>
                    <a:pt x="88" y="19"/>
                    <a:pt x="88" y="19"/>
                  </a:cubicBezTo>
                  <a:cubicBezTo>
                    <a:pt x="87" y="19"/>
                    <a:pt x="87" y="19"/>
                    <a:pt x="86" y="19"/>
                  </a:cubicBezTo>
                  <a:cubicBezTo>
                    <a:pt x="86" y="19"/>
                    <a:pt x="85" y="19"/>
                    <a:pt x="85" y="19"/>
                  </a:cubicBezTo>
                  <a:cubicBezTo>
                    <a:pt x="85" y="19"/>
                    <a:pt x="85" y="19"/>
                    <a:pt x="85" y="19"/>
                  </a:cubicBezTo>
                  <a:cubicBezTo>
                    <a:pt x="84" y="19"/>
                    <a:pt x="84" y="19"/>
                    <a:pt x="83" y="19"/>
                  </a:cubicBezTo>
                  <a:cubicBezTo>
                    <a:pt x="83" y="19"/>
                    <a:pt x="83" y="19"/>
                    <a:pt x="83" y="19"/>
                  </a:cubicBezTo>
                  <a:cubicBezTo>
                    <a:pt x="83" y="19"/>
                    <a:pt x="82" y="19"/>
                    <a:pt x="82" y="19"/>
                  </a:cubicBezTo>
                  <a:cubicBezTo>
                    <a:pt x="82" y="19"/>
                    <a:pt x="82" y="19"/>
                    <a:pt x="82" y="19"/>
                  </a:cubicBezTo>
                  <a:cubicBezTo>
                    <a:pt x="81" y="19"/>
                    <a:pt x="81" y="19"/>
                    <a:pt x="81" y="19"/>
                  </a:cubicBezTo>
                  <a:cubicBezTo>
                    <a:pt x="80" y="19"/>
                    <a:pt x="80" y="19"/>
                    <a:pt x="80" y="19"/>
                  </a:cubicBezTo>
                  <a:cubicBezTo>
                    <a:pt x="80" y="19"/>
                    <a:pt x="80" y="19"/>
                    <a:pt x="79" y="19"/>
                  </a:cubicBezTo>
                  <a:cubicBezTo>
                    <a:pt x="79" y="19"/>
                    <a:pt x="79" y="19"/>
                    <a:pt x="79" y="19"/>
                  </a:cubicBezTo>
                  <a:cubicBezTo>
                    <a:pt x="79" y="19"/>
                    <a:pt x="78" y="19"/>
                    <a:pt x="78" y="19"/>
                  </a:cubicBezTo>
                  <a:cubicBezTo>
                    <a:pt x="9" y="14"/>
                    <a:pt x="9" y="14"/>
                    <a:pt x="9" y="14"/>
                  </a:cubicBezTo>
                  <a:cubicBezTo>
                    <a:pt x="9" y="14"/>
                    <a:pt x="9" y="14"/>
                    <a:pt x="8" y="14"/>
                  </a:cubicBezTo>
                  <a:cubicBezTo>
                    <a:pt x="8" y="14"/>
                    <a:pt x="8" y="14"/>
                    <a:pt x="8" y="14"/>
                  </a:cubicBezTo>
                  <a:cubicBezTo>
                    <a:pt x="8" y="14"/>
                    <a:pt x="8" y="14"/>
                    <a:pt x="7" y="14"/>
                  </a:cubicBezTo>
                  <a:cubicBezTo>
                    <a:pt x="7" y="14"/>
                    <a:pt x="7" y="14"/>
                    <a:pt x="7" y="14"/>
                  </a:cubicBezTo>
                  <a:cubicBezTo>
                    <a:pt x="7" y="14"/>
                    <a:pt x="7" y="14"/>
                    <a:pt x="6" y="13"/>
                  </a:cubicBezTo>
                  <a:cubicBezTo>
                    <a:pt x="6" y="13"/>
                    <a:pt x="6" y="13"/>
                    <a:pt x="6" y="13"/>
                  </a:cubicBezTo>
                  <a:cubicBezTo>
                    <a:pt x="6" y="13"/>
                    <a:pt x="6" y="13"/>
                    <a:pt x="6" y="13"/>
                  </a:cubicBezTo>
                  <a:cubicBezTo>
                    <a:pt x="1" y="16"/>
                    <a:pt x="1" y="16"/>
                    <a:pt x="1" y="16"/>
                  </a:cubicBezTo>
                  <a:cubicBezTo>
                    <a:pt x="1" y="16"/>
                    <a:pt x="0" y="16"/>
                    <a:pt x="0" y="16"/>
                  </a:cubicBezTo>
                  <a:cubicBezTo>
                    <a:pt x="1" y="37"/>
                    <a:pt x="1" y="37"/>
                    <a:pt x="1" y="37"/>
                  </a:cubicBezTo>
                  <a:cubicBezTo>
                    <a:pt x="1" y="37"/>
                    <a:pt x="1" y="37"/>
                    <a:pt x="1" y="37"/>
                  </a:cubicBezTo>
                  <a:cubicBezTo>
                    <a:pt x="1" y="37"/>
                    <a:pt x="1" y="37"/>
                    <a:pt x="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605"/>
            <p:cNvSpPr>
              <a:spLocks/>
            </p:cNvSpPr>
            <p:nvPr/>
          </p:nvSpPr>
          <p:spPr bwMode="auto">
            <a:xfrm>
              <a:off x="5387975" y="4600575"/>
              <a:ext cx="131762" cy="42863"/>
            </a:xfrm>
            <a:custGeom>
              <a:avLst/>
              <a:gdLst>
                <a:gd name="T0" fmla="*/ 1 w 137"/>
                <a:gd name="T1" fmla="*/ 38 h 45"/>
                <a:gd name="T2" fmla="*/ 2 w 137"/>
                <a:gd name="T3" fmla="*/ 38 h 45"/>
                <a:gd name="T4" fmla="*/ 2 w 137"/>
                <a:gd name="T5" fmla="*/ 38 h 45"/>
                <a:gd name="T6" fmla="*/ 3 w 137"/>
                <a:gd name="T7" fmla="*/ 38 h 45"/>
                <a:gd name="T8" fmla="*/ 4 w 137"/>
                <a:gd name="T9" fmla="*/ 38 h 45"/>
                <a:gd name="T10" fmla="*/ 5 w 137"/>
                <a:gd name="T11" fmla="*/ 39 h 45"/>
                <a:gd name="T12" fmla="*/ 6 w 137"/>
                <a:gd name="T13" fmla="*/ 39 h 45"/>
                <a:gd name="T14" fmla="*/ 6 w 137"/>
                <a:gd name="T15" fmla="*/ 39 h 45"/>
                <a:gd name="T16" fmla="*/ 7 w 137"/>
                <a:gd name="T17" fmla="*/ 39 h 45"/>
                <a:gd name="T18" fmla="*/ 8 w 137"/>
                <a:gd name="T19" fmla="*/ 39 h 45"/>
                <a:gd name="T20" fmla="*/ 78 w 137"/>
                <a:gd name="T21" fmla="*/ 45 h 45"/>
                <a:gd name="T22" fmla="*/ 79 w 137"/>
                <a:gd name="T23" fmla="*/ 45 h 45"/>
                <a:gd name="T24" fmla="*/ 81 w 137"/>
                <a:gd name="T25" fmla="*/ 45 h 45"/>
                <a:gd name="T26" fmla="*/ 82 w 137"/>
                <a:gd name="T27" fmla="*/ 45 h 45"/>
                <a:gd name="T28" fmla="*/ 83 w 137"/>
                <a:gd name="T29" fmla="*/ 45 h 45"/>
                <a:gd name="T30" fmla="*/ 85 w 137"/>
                <a:gd name="T31" fmla="*/ 45 h 45"/>
                <a:gd name="T32" fmla="*/ 88 w 137"/>
                <a:gd name="T33" fmla="*/ 45 h 45"/>
                <a:gd name="T34" fmla="*/ 90 w 137"/>
                <a:gd name="T35" fmla="*/ 44 h 45"/>
                <a:gd name="T36" fmla="*/ 91 w 137"/>
                <a:gd name="T37" fmla="*/ 44 h 45"/>
                <a:gd name="T38" fmla="*/ 92 w 137"/>
                <a:gd name="T39" fmla="*/ 44 h 45"/>
                <a:gd name="T40" fmla="*/ 93 w 137"/>
                <a:gd name="T41" fmla="*/ 44 h 45"/>
                <a:gd name="T42" fmla="*/ 94 w 137"/>
                <a:gd name="T43" fmla="*/ 44 h 45"/>
                <a:gd name="T44" fmla="*/ 95 w 137"/>
                <a:gd name="T45" fmla="*/ 44 h 45"/>
                <a:gd name="T46" fmla="*/ 96 w 137"/>
                <a:gd name="T47" fmla="*/ 43 h 45"/>
                <a:gd name="T48" fmla="*/ 96 w 137"/>
                <a:gd name="T49" fmla="*/ 43 h 45"/>
                <a:gd name="T50" fmla="*/ 136 w 137"/>
                <a:gd name="T51" fmla="*/ 23 h 45"/>
                <a:gd name="T52" fmla="*/ 136 w 137"/>
                <a:gd name="T53" fmla="*/ 23 h 45"/>
                <a:gd name="T54" fmla="*/ 136 w 137"/>
                <a:gd name="T55" fmla="*/ 22 h 45"/>
                <a:gd name="T56" fmla="*/ 137 w 137"/>
                <a:gd name="T57" fmla="*/ 22 h 45"/>
                <a:gd name="T58" fmla="*/ 137 w 137"/>
                <a:gd name="T59" fmla="*/ 7 h 45"/>
                <a:gd name="T60" fmla="*/ 137 w 137"/>
                <a:gd name="T61" fmla="*/ 7 h 45"/>
                <a:gd name="T62" fmla="*/ 59 w 137"/>
                <a:gd name="T63" fmla="*/ 0 h 45"/>
                <a:gd name="T64" fmla="*/ 1 w 137"/>
                <a:gd name="T65" fmla="*/ 17 h 45"/>
                <a:gd name="T66" fmla="*/ 0 w 137"/>
                <a:gd name="T67" fmla="*/ 37 h 45"/>
                <a:gd name="T68" fmla="*/ 1 w 137"/>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45">
                  <a:moveTo>
                    <a:pt x="1" y="37"/>
                  </a:moveTo>
                  <a:cubicBezTo>
                    <a:pt x="1" y="37"/>
                    <a:pt x="1" y="38"/>
                    <a:pt x="1" y="38"/>
                  </a:cubicBezTo>
                  <a:cubicBezTo>
                    <a:pt x="1" y="38"/>
                    <a:pt x="1" y="38"/>
                    <a:pt x="1" y="38"/>
                  </a:cubicBezTo>
                  <a:cubicBezTo>
                    <a:pt x="1" y="38"/>
                    <a:pt x="2" y="38"/>
                    <a:pt x="2" y="38"/>
                  </a:cubicBezTo>
                  <a:cubicBezTo>
                    <a:pt x="2" y="38"/>
                    <a:pt x="2" y="38"/>
                    <a:pt x="2" y="38"/>
                  </a:cubicBezTo>
                  <a:cubicBezTo>
                    <a:pt x="2" y="38"/>
                    <a:pt x="2" y="38"/>
                    <a:pt x="2" y="38"/>
                  </a:cubicBezTo>
                  <a:cubicBezTo>
                    <a:pt x="2" y="38"/>
                    <a:pt x="3" y="38"/>
                    <a:pt x="3" y="38"/>
                  </a:cubicBezTo>
                  <a:cubicBezTo>
                    <a:pt x="3" y="38"/>
                    <a:pt x="3" y="38"/>
                    <a:pt x="3" y="38"/>
                  </a:cubicBezTo>
                  <a:cubicBezTo>
                    <a:pt x="3" y="38"/>
                    <a:pt x="3" y="38"/>
                    <a:pt x="3" y="38"/>
                  </a:cubicBezTo>
                  <a:cubicBezTo>
                    <a:pt x="4" y="38"/>
                    <a:pt x="4" y="38"/>
                    <a:pt x="4" y="38"/>
                  </a:cubicBezTo>
                  <a:cubicBezTo>
                    <a:pt x="4" y="38"/>
                    <a:pt x="4" y="39"/>
                    <a:pt x="4" y="39"/>
                  </a:cubicBezTo>
                  <a:cubicBezTo>
                    <a:pt x="5" y="39"/>
                    <a:pt x="5" y="39"/>
                    <a:pt x="5" y="39"/>
                  </a:cubicBezTo>
                  <a:cubicBezTo>
                    <a:pt x="5" y="39"/>
                    <a:pt x="5" y="39"/>
                    <a:pt x="5" y="39"/>
                  </a:cubicBezTo>
                  <a:cubicBezTo>
                    <a:pt x="5" y="39"/>
                    <a:pt x="5" y="39"/>
                    <a:pt x="6" y="39"/>
                  </a:cubicBezTo>
                  <a:cubicBezTo>
                    <a:pt x="6" y="39"/>
                    <a:pt x="6" y="39"/>
                    <a:pt x="6" y="39"/>
                  </a:cubicBezTo>
                  <a:cubicBezTo>
                    <a:pt x="6" y="39"/>
                    <a:pt x="6" y="39"/>
                    <a:pt x="6" y="39"/>
                  </a:cubicBezTo>
                  <a:cubicBezTo>
                    <a:pt x="7" y="39"/>
                    <a:pt x="7" y="39"/>
                    <a:pt x="7" y="39"/>
                  </a:cubicBezTo>
                  <a:cubicBezTo>
                    <a:pt x="7" y="39"/>
                    <a:pt x="7" y="39"/>
                    <a:pt x="7" y="39"/>
                  </a:cubicBezTo>
                  <a:cubicBezTo>
                    <a:pt x="8" y="39"/>
                    <a:pt x="8" y="39"/>
                    <a:pt x="8" y="39"/>
                  </a:cubicBezTo>
                  <a:cubicBezTo>
                    <a:pt x="8" y="39"/>
                    <a:pt x="8" y="39"/>
                    <a:pt x="8" y="39"/>
                  </a:cubicBezTo>
                  <a:cubicBezTo>
                    <a:pt x="9" y="39"/>
                    <a:pt x="9" y="39"/>
                    <a:pt x="9" y="39"/>
                  </a:cubicBezTo>
                  <a:cubicBezTo>
                    <a:pt x="78" y="45"/>
                    <a:pt x="78" y="45"/>
                    <a:pt x="78" y="45"/>
                  </a:cubicBezTo>
                  <a:cubicBezTo>
                    <a:pt x="78" y="45"/>
                    <a:pt x="78" y="45"/>
                    <a:pt x="79" y="45"/>
                  </a:cubicBezTo>
                  <a:cubicBezTo>
                    <a:pt x="79" y="45"/>
                    <a:pt x="79" y="45"/>
                    <a:pt x="79" y="45"/>
                  </a:cubicBezTo>
                  <a:cubicBezTo>
                    <a:pt x="80" y="45"/>
                    <a:pt x="80" y="45"/>
                    <a:pt x="80" y="45"/>
                  </a:cubicBezTo>
                  <a:cubicBezTo>
                    <a:pt x="80" y="45"/>
                    <a:pt x="81" y="45"/>
                    <a:pt x="81" y="45"/>
                  </a:cubicBezTo>
                  <a:cubicBezTo>
                    <a:pt x="81" y="45"/>
                    <a:pt x="81" y="45"/>
                    <a:pt x="82" y="45"/>
                  </a:cubicBezTo>
                  <a:cubicBezTo>
                    <a:pt x="82" y="45"/>
                    <a:pt x="82" y="45"/>
                    <a:pt x="82" y="45"/>
                  </a:cubicBezTo>
                  <a:cubicBezTo>
                    <a:pt x="82" y="45"/>
                    <a:pt x="83" y="45"/>
                    <a:pt x="83" y="45"/>
                  </a:cubicBezTo>
                  <a:cubicBezTo>
                    <a:pt x="83" y="45"/>
                    <a:pt x="83" y="45"/>
                    <a:pt x="83" y="45"/>
                  </a:cubicBezTo>
                  <a:cubicBezTo>
                    <a:pt x="84" y="45"/>
                    <a:pt x="84" y="45"/>
                    <a:pt x="85" y="45"/>
                  </a:cubicBezTo>
                  <a:cubicBezTo>
                    <a:pt x="85" y="45"/>
                    <a:pt x="85" y="45"/>
                    <a:pt x="85" y="45"/>
                  </a:cubicBezTo>
                  <a:cubicBezTo>
                    <a:pt x="85" y="45"/>
                    <a:pt x="86" y="45"/>
                    <a:pt x="86" y="45"/>
                  </a:cubicBezTo>
                  <a:cubicBezTo>
                    <a:pt x="87" y="45"/>
                    <a:pt x="87" y="45"/>
                    <a:pt x="88" y="45"/>
                  </a:cubicBezTo>
                  <a:cubicBezTo>
                    <a:pt x="88" y="45"/>
                    <a:pt x="88" y="45"/>
                    <a:pt x="88" y="45"/>
                  </a:cubicBezTo>
                  <a:cubicBezTo>
                    <a:pt x="89" y="45"/>
                    <a:pt x="89" y="45"/>
                    <a:pt x="90" y="44"/>
                  </a:cubicBezTo>
                  <a:cubicBezTo>
                    <a:pt x="90" y="44"/>
                    <a:pt x="90" y="44"/>
                    <a:pt x="90" y="44"/>
                  </a:cubicBezTo>
                  <a:cubicBezTo>
                    <a:pt x="91" y="44"/>
                    <a:pt x="91" y="44"/>
                    <a:pt x="91" y="44"/>
                  </a:cubicBezTo>
                  <a:cubicBezTo>
                    <a:pt x="91" y="44"/>
                    <a:pt x="91" y="44"/>
                    <a:pt x="92" y="44"/>
                  </a:cubicBezTo>
                  <a:cubicBezTo>
                    <a:pt x="92" y="44"/>
                    <a:pt x="92" y="44"/>
                    <a:pt x="92" y="44"/>
                  </a:cubicBezTo>
                  <a:cubicBezTo>
                    <a:pt x="92" y="44"/>
                    <a:pt x="93" y="44"/>
                    <a:pt x="93" y="44"/>
                  </a:cubicBezTo>
                  <a:cubicBezTo>
                    <a:pt x="93" y="44"/>
                    <a:pt x="93" y="44"/>
                    <a:pt x="93" y="44"/>
                  </a:cubicBezTo>
                  <a:cubicBezTo>
                    <a:pt x="93" y="44"/>
                    <a:pt x="94" y="44"/>
                    <a:pt x="94" y="44"/>
                  </a:cubicBezTo>
                  <a:cubicBezTo>
                    <a:pt x="94" y="44"/>
                    <a:pt x="94" y="44"/>
                    <a:pt x="94" y="44"/>
                  </a:cubicBezTo>
                  <a:cubicBezTo>
                    <a:pt x="94" y="44"/>
                    <a:pt x="94" y="44"/>
                    <a:pt x="95" y="44"/>
                  </a:cubicBezTo>
                  <a:cubicBezTo>
                    <a:pt x="95" y="44"/>
                    <a:pt x="95" y="44"/>
                    <a:pt x="95" y="44"/>
                  </a:cubicBezTo>
                  <a:cubicBezTo>
                    <a:pt x="95" y="44"/>
                    <a:pt x="95" y="43"/>
                    <a:pt x="96" y="43"/>
                  </a:cubicBezTo>
                  <a:cubicBezTo>
                    <a:pt x="96" y="43"/>
                    <a:pt x="96" y="43"/>
                    <a:pt x="96" y="43"/>
                  </a:cubicBezTo>
                  <a:cubicBezTo>
                    <a:pt x="96" y="43"/>
                    <a:pt x="96" y="43"/>
                    <a:pt x="96" y="43"/>
                  </a:cubicBezTo>
                  <a:cubicBezTo>
                    <a:pt x="96" y="43"/>
                    <a:pt x="96" y="43"/>
                    <a:pt x="96" y="43"/>
                  </a:cubicBezTo>
                  <a:cubicBezTo>
                    <a:pt x="97" y="43"/>
                    <a:pt x="97" y="43"/>
                    <a:pt x="97" y="43"/>
                  </a:cubicBezTo>
                  <a:cubicBezTo>
                    <a:pt x="136" y="23"/>
                    <a:pt x="136" y="23"/>
                    <a:pt x="136" y="23"/>
                  </a:cubicBezTo>
                  <a:cubicBezTo>
                    <a:pt x="136" y="23"/>
                    <a:pt x="136" y="23"/>
                    <a:pt x="136" y="23"/>
                  </a:cubicBezTo>
                  <a:cubicBezTo>
                    <a:pt x="136" y="23"/>
                    <a:pt x="136" y="23"/>
                    <a:pt x="136" y="23"/>
                  </a:cubicBezTo>
                  <a:cubicBezTo>
                    <a:pt x="136" y="23"/>
                    <a:pt x="136" y="23"/>
                    <a:pt x="136" y="22"/>
                  </a:cubicBezTo>
                  <a:cubicBezTo>
                    <a:pt x="136" y="22"/>
                    <a:pt x="136" y="22"/>
                    <a:pt x="136" y="22"/>
                  </a:cubicBezTo>
                  <a:cubicBezTo>
                    <a:pt x="137" y="22"/>
                    <a:pt x="137" y="22"/>
                    <a:pt x="137" y="22"/>
                  </a:cubicBezTo>
                  <a:cubicBezTo>
                    <a:pt x="137" y="22"/>
                    <a:pt x="137" y="22"/>
                    <a:pt x="137" y="22"/>
                  </a:cubicBezTo>
                  <a:cubicBezTo>
                    <a:pt x="137" y="22"/>
                    <a:pt x="137" y="22"/>
                    <a:pt x="137" y="22"/>
                  </a:cubicBezTo>
                  <a:cubicBezTo>
                    <a:pt x="137" y="7"/>
                    <a:pt x="137" y="7"/>
                    <a:pt x="137" y="7"/>
                  </a:cubicBezTo>
                  <a:cubicBezTo>
                    <a:pt x="137" y="7"/>
                    <a:pt x="137" y="7"/>
                    <a:pt x="137" y="7"/>
                  </a:cubicBezTo>
                  <a:cubicBezTo>
                    <a:pt x="137" y="7"/>
                    <a:pt x="137" y="7"/>
                    <a:pt x="137" y="7"/>
                  </a:cubicBezTo>
                  <a:cubicBezTo>
                    <a:pt x="137" y="6"/>
                    <a:pt x="133" y="5"/>
                    <a:pt x="127" y="4"/>
                  </a:cubicBezTo>
                  <a:cubicBezTo>
                    <a:pt x="59" y="0"/>
                    <a:pt x="59" y="0"/>
                    <a:pt x="59" y="0"/>
                  </a:cubicBezTo>
                  <a:cubicBezTo>
                    <a:pt x="51" y="0"/>
                    <a:pt x="42" y="0"/>
                    <a:pt x="39" y="2"/>
                  </a:cubicBezTo>
                  <a:cubicBezTo>
                    <a:pt x="1" y="17"/>
                    <a:pt x="1" y="17"/>
                    <a:pt x="1" y="17"/>
                  </a:cubicBezTo>
                  <a:cubicBezTo>
                    <a:pt x="0" y="17"/>
                    <a:pt x="0" y="17"/>
                    <a:pt x="0" y="17"/>
                  </a:cubicBezTo>
                  <a:cubicBezTo>
                    <a:pt x="0" y="37"/>
                    <a:pt x="0" y="37"/>
                    <a:pt x="0" y="37"/>
                  </a:cubicBezTo>
                  <a:cubicBezTo>
                    <a:pt x="0" y="37"/>
                    <a:pt x="0" y="37"/>
                    <a:pt x="0" y="37"/>
                  </a:cubicBezTo>
                  <a:cubicBezTo>
                    <a:pt x="0" y="37"/>
                    <a:pt x="0" y="37"/>
                    <a:pt x="1" y="37"/>
                  </a:cubicBezTo>
                  <a:cubicBezTo>
                    <a:pt x="1" y="37"/>
                    <a:pt x="1" y="37"/>
                    <a:pt x="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606"/>
            <p:cNvSpPr>
              <a:spLocks noEditPoints="1"/>
            </p:cNvSpPr>
            <p:nvPr/>
          </p:nvSpPr>
          <p:spPr bwMode="auto">
            <a:xfrm>
              <a:off x="5387975" y="4692650"/>
              <a:ext cx="131762" cy="85725"/>
            </a:xfrm>
            <a:custGeom>
              <a:avLst/>
              <a:gdLst>
                <a:gd name="T0" fmla="*/ 129 w 136"/>
                <a:gd name="T1" fmla="*/ 0 h 89"/>
                <a:gd name="T2" fmla="*/ 95 w 136"/>
                <a:gd name="T3" fmla="*/ 19 h 89"/>
                <a:gd name="T4" fmla="*/ 95 w 136"/>
                <a:gd name="T5" fmla="*/ 20 h 89"/>
                <a:gd name="T6" fmla="*/ 94 w 136"/>
                <a:gd name="T7" fmla="*/ 20 h 89"/>
                <a:gd name="T8" fmla="*/ 93 w 136"/>
                <a:gd name="T9" fmla="*/ 20 h 89"/>
                <a:gd name="T10" fmla="*/ 92 w 136"/>
                <a:gd name="T11" fmla="*/ 20 h 89"/>
                <a:gd name="T12" fmla="*/ 91 w 136"/>
                <a:gd name="T13" fmla="*/ 21 h 89"/>
                <a:gd name="T14" fmla="*/ 90 w 136"/>
                <a:gd name="T15" fmla="*/ 21 h 89"/>
                <a:gd name="T16" fmla="*/ 89 w 136"/>
                <a:gd name="T17" fmla="*/ 21 h 89"/>
                <a:gd name="T18" fmla="*/ 87 w 136"/>
                <a:gd name="T19" fmla="*/ 21 h 89"/>
                <a:gd name="T20" fmla="*/ 84 w 136"/>
                <a:gd name="T21" fmla="*/ 21 h 89"/>
                <a:gd name="T22" fmla="*/ 82 w 136"/>
                <a:gd name="T23" fmla="*/ 21 h 89"/>
                <a:gd name="T24" fmla="*/ 81 w 136"/>
                <a:gd name="T25" fmla="*/ 21 h 89"/>
                <a:gd name="T26" fmla="*/ 80 w 136"/>
                <a:gd name="T27" fmla="*/ 21 h 89"/>
                <a:gd name="T28" fmla="*/ 78 w 136"/>
                <a:gd name="T29" fmla="*/ 21 h 89"/>
                <a:gd name="T30" fmla="*/ 77 w 136"/>
                <a:gd name="T31" fmla="*/ 21 h 89"/>
                <a:gd name="T32" fmla="*/ 7 w 136"/>
                <a:gd name="T33" fmla="*/ 15 h 89"/>
                <a:gd name="T34" fmla="*/ 6 w 136"/>
                <a:gd name="T35" fmla="*/ 15 h 89"/>
                <a:gd name="T36" fmla="*/ 5 w 136"/>
                <a:gd name="T37" fmla="*/ 15 h 89"/>
                <a:gd name="T38" fmla="*/ 5 w 136"/>
                <a:gd name="T39" fmla="*/ 15 h 89"/>
                <a:gd name="T40" fmla="*/ 1 w 136"/>
                <a:gd name="T41" fmla="*/ 79 h 89"/>
                <a:gd name="T42" fmla="*/ 2 w 136"/>
                <a:gd name="T43" fmla="*/ 79 h 89"/>
                <a:gd name="T44" fmla="*/ 3 w 136"/>
                <a:gd name="T45" fmla="*/ 80 h 89"/>
                <a:gd name="T46" fmla="*/ 3 w 136"/>
                <a:gd name="T47" fmla="*/ 80 h 89"/>
                <a:gd name="T48" fmla="*/ 4 w 136"/>
                <a:gd name="T49" fmla="*/ 80 h 89"/>
                <a:gd name="T50" fmla="*/ 5 w 136"/>
                <a:gd name="T51" fmla="*/ 80 h 89"/>
                <a:gd name="T52" fmla="*/ 6 w 136"/>
                <a:gd name="T53" fmla="*/ 80 h 89"/>
                <a:gd name="T54" fmla="*/ 7 w 136"/>
                <a:gd name="T55" fmla="*/ 80 h 89"/>
                <a:gd name="T56" fmla="*/ 8 w 136"/>
                <a:gd name="T57" fmla="*/ 80 h 89"/>
                <a:gd name="T58" fmla="*/ 8 w 136"/>
                <a:gd name="T59" fmla="*/ 81 h 89"/>
                <a:gd name="T60" fmla="*/ 77 w 136"/>
                <a:gd name="T61" fmla="*/ 89 h 89"/>
                <a:gd name="T62" fmla="*/ 78 w 136"/>
                <a:gd name="T63" fmla="*/ 89 h 89"/>
                <a:gd name="T64" fmla="*/ 80 w 136"/>
                <a:gd name="T65" fmla="*/ 89 h 89"/>
                <a:gd name="T66" fmla="*/ 81 w 136"/>
                <a:gd name="T67" fmla="*/ 89 h 89"/>
                <a:gd name="T68" fmla="*/ 82 w 136"/>
                <a:gd name="T69" fmla="*/ 89 h 89"/>
                <a:gd name="T70" fmla="*/ 84 w 136"/>
                <a:gd name="T71" fmla="*/ 89 h 89"/>
                <a:gd name="T72" fmla="*/ 87 w 136"/>
                <a:gd name="T73" fmla="*/ 89 h 89"/>
                <a:gd name="T74" fmla="*/ 89 w 136"/>
                <a:gd name="T75" fmla="*/ 89 h 89"/>
                <a:gd name="T76" fmla="*/ 90 w 136"/>
                <a:gd name="T77" fmla="*/ 89 h 89"/>
                <a:gd name="T78" fmla="*/ 91 w 136"/>
                <a:gd name="T79" fmla="*/ 88 h 89"/>
                <a:gd name="T80" fmla="*/ 92 w 136"/>
                <a:gd name="T81" fmla="*/ 88 h 89"/>
                <a:gd name="T82" fmla="*/ 93 w 136"/>
                <a:gd name="T83" fmla="*/ 88 h 89"/>
                <a:gd name="T84" fmla="*/ 94 w 136"/>
                <a:gd name="T85" fmla="*/ 88 h 89"/>
                <a:gd name="T86" fmla="*/ 95 w 136"/>
                <a:gd name="T87" fmla="*/ 88 h 89"/>
                <a:gd name="T88" fmla="*/ 95 w 136"/>
                <a:gd name="T89" fmla="*/ 87 h 89"/>
                <a:gd name="T90" fmla="*/ 96 w 136"/>
                <a:gd name="T91" fmla="*/ 87 h 89"/>
                <a:gd name="T92" fmla="*/ 136 w 136"/>
                <a:gd name="T93" fmla="*/ 2 h 89"/>
                <a:gd name="T94" fmla="*/ 43 w 136"/>
                <a:gd name="T95" fmla="*/ 63 h 89"/>
                <a:gd name="T96" fmla="*/ 43 w 136"/>
                <a:gd name="T97" fmla="*/ 52 h 89"/>
                <a:gd name="T98" fmla="*/ 43 w 136"/>
                <a:gd name="T99" fmla="*/ 6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89">
                  <a:moveTo>
                    <a:pt x="136" y="2"/>
                  </a:moveTo>
                  <a:cubicBezTo>
                    <a:pt x="136" y="1"/>
                    <a:pt x="134" y="0"/>
                    <a:pt x="129" y="0"/>
                  </a:cubicBezTo>
                  <a:cubicBezTo>
                    <a:pt x="96" y="19"/>
                    <a:pt x="96" y="19"/>
                    <a:pt x="96" y="19"/>
                  </a:cubicBezTo>
                  <a:cubicBezTo>
                    <a:pt x="96" y="19"/>
                    <a:pt x="96" y="19"/>
                    <a:pt x="95" y="19"/>
                  </a:cubicBezTo>
                  <a:cubicBezTo>
                    <a:pt x="95" y="20"/>
                    <a:pt x="95" y="20"/>
                    <a:pt x="95" y="20"/>
                  </a:cubicBezTo>
                  <a:cubicBezTo>
                    <a:pt x="95" y="20"/>
                    <a:pt x="95" y="20"/>
                    <a:pt x="95" y="20"/>
                  </a:cubicBezTo>
                  <a:cubicBezTo>
                    <a:pt x="95" y="20"/>
                    <a:pt x="95" y="20"/>
                    <a:pt x="95" y="20"/>
                  </a:cubicBezTo>
                  <a:cubicBezTo>
                    <a:pt x="94" y="20"/>
                    <a:pt x="94" y="20"/>
                    <a:pt x="94" y="20"/>
                  </a:cubicBezTo>
                  <a:cubicBezTo>
                    <a:pt x="94" y="20"/>
                    <a:pt x="94" y="20"/>
                    <a:pt x="94" y="20"/>
                  </a:cubicBezTo>
                  <a:cubicBezTo>
                    <a:pt x="93" y="20"/>
                    <a:pt x="93" y="20"/>
                    <a:pt x="93" y="20"/>
                  </a:cubicBezTo>
                  <a:cubicBezTo>
                    <a:pt x="93" y="20"/>
                    <a:pt x="93" y="20"/>
                    <a:pt x="93" y="20"/>
                  </a:cubicBezTo>
                  <a:cubicBezTo>
                    <a:pt x="93" y="20"/>
                    <a:pt x="92" y="20"/>
                    <a:pt x="92" y="20"/>
                  </a:cubicBezTo>
                  <a:cubicBezTo>
                    <a:pt x="92" y="20"/>
                    <a:pt x="92" y="20"/>
                    <a:pt x="92" y="20"/>
                  </a:cubicBezTo>
                  <a:cubicBezTo>
                    <a:pt x="92" y="20"/>
                    <a:pt x="91" y="20"/>
                    <a:pt x="91" y="21"/>
                  </a:cubicBezTo>
                  <a:cubicBezTo>
                    <a:pt x="91" y="21"/>
                    <a:pt x="91" y="21"/>
                    <a:pt x="91" y="21"/>
                  </a:cubicBezTo>
                  <a:cubicBezTo>
                    <a:pt x="90" y="21"/>
                    <a:pt x="90" y="21"/>
                    <a:pt x="90" y="21"/>
                  </a:cubicBezTo>
                  <a:cubicBezTo>
                    <a:pt x="90" y="21"/>
                    <a:pt x="90" y="21"/>
                    <a:pt x="89" y="21"/>
                  </a:cubicBezTo>
                  <a:cubicBezTo>
                    <a:pt x="89" y="21"/>
                    <a:pt x="89" y="21"/>
                    <a:pt x="89" y="21"/>
                  </a:cubicBezTo>
                  <a:cubicBezTo>
                    <a:pt x="88" y="21"/>
                    <a:pt x="88" y="21"/>
                    <a:pt x="87" y="21"/>
                  </a:cubicBezTo>
                  <a:cubicBezTo>
                    <a:pt x="87" y="21"/>
                    <a:pt x="87" y="21"/>
                    <a:pt x="87" y="21"/>
                  </a:cubicBezTo>
                  <a:cubicBezTo>
                    <a:pt x="86" y="21"/>
                    <a:pt x="86" y="21"/>
                    <a:pt x="85" y="21"/>
                  </a:cubicBezTo>
                  <a:cubicBezTo>
                    <a:pt x="85" y="21"/>
                    <a:pt x="84" y="21"/>
                    <a:pt x="84" y="21"/>
                  </a:cubicBezTo>
                  <a:cubicBezTo>
                    <a:pt x="84" y="21"/>
                    <a:pt x="84" y="21"/>
                    <a:pt x="84" y="21"/>
                  </a:cubicBezTo>
                  <a:cubicBezTo>
                    <a:pt x="83" y="21"/>
                    <a:pt x="83" y="21"/>
                    <a:pt x="82" y="21"/>
                  </a:cubicBezTo>
                  <a:cubicBezTo>
                    <a:pt x="82" y="21"/>
                    <a:pt x="82" y="21"/>
                    <a:pt x="82" y="21"/>
                  </a:cubicBezTo>
                  <a:cubicBezTo>
                    <a:pt x="82" y="21"/>
                    <a:pt x="81" y="21"/>
                    <a:pt x="81" y="21"/>
                  </a:cubicBezTo>
                  <a:cubicBezTo>
                    <a:pt x="81" y="21"/>
                    <a:pt x="81" y="21"/>
                    <a:pt x="81" y="21"/>
                  </a:cubicBezTo>
                  <a:cubicBezTo>
                    <a:pt x="80" y="21"/>
                    <a:pt x="80" y="21"/>
                    <a:pt x="80" y="21"/>
                  </a:cubicBezTo>
                  <a:cubicBezTo>
                    <a:pt x="80" y="21"/>
                    <a:pt x="79" y="21"/>
                    <a:pt x="79" y="21"/>
                  </a:cubicBezTo>
                  <a:cubicBezTo>
                    <a:pt x="79" y="21"/>
                    <a:pt x="79" y="21"/>
                    <a:pt x="78" y="21"/>
                  </a:cubicBezTo>
                  <a:cubicBezTo>
                    <a:pt x="78" y="21"/>
                    <a:pt x="78" y="21"/>
                    <a:pt x="78" y="21"/>
                  </a:cubicBezTo>
                  <a:cubicBezTo>
                    <a:pt x="77" y="21"/>
                    <a:pt x="77" y="21"/>
                    <a:pt x="77" y="21"/>
                  </a:cubicBezTo>
                  <a:cubicBezTo>
                    <a:pt x="8" y="16"/>
                    <a:pt x="8" y="16"/>
                    <a:pt x="8" y="16"/>
                  </a:cubicBezTo>
                  <a:cubicBezTo>
                    <a:pt x="8" y="15"/>
                    <a:pt x="8" y="15"/>
                    <a:pt x="7" y="15"/>
                  </a:cubicBezTo>
                  <a:cubicBezTo>
                    <a:pt x="7" y="15"/>
                    <a:pt x="7" y="15"/>
                    <a:pt x="7" y="15"/>
                  </a:cubicBezTo>
                  <a:cubicBezTo>
                    <a:pt x="7" y="15"/>
                    <a:pt x="7" y="15"/>
                    <a:pt x="6" y="15"/>
                  </a:cubicBezTo>
                  <a:cubicBezTo>
                    <a:pt x="6" y="15"/>
                    <a:pt x="6" y="15"/>
                    <a:pt x="6" y="15"/>
                  </a:cubicBezTo>
                  <a:cubicBezTo>
                    <a:pt x="6" y="15"/>
                    <a:pt x="6" y="15"/>
                    <a:pt x="5" y="15"/>
                  </a:cubicBezTo>
                  <a:cubicBezTo>
                    <a:pt x="5" y="15"/>
                    <a:pt x="5" y="15"/>
                    <a:pt x="5" y="15"/>
                  </a:cubicBezTo>
                  <a:cubicBezTo>
                    <a:pt x="5" y="15"/>
                    <a:pt x="5" y="15"/>
                    <a:pt x="5" y="15"/>
                  </a:cubicBezTo>
                  <a:cubicBezTo>
                    <a:pt x="0" y="18"/>
                    <a:pt x="0" y="18"/>
                    <a:pt x="0" y="18"/>
                  </a:cubicBezTo>
                  <a:cubicBezTo>
                    <a:pt x="1" y="79"/>
                    <a:pt x="1" y="79"/>
                    <a:pt x="1" y="79"/>
                  </a:cubicBezTo>
                  <a:cubicBezTo>
                    <a:pt x="1" y="79"/>
                    <a:pt x="2" y="79"/>
                    <a:pt x="2" y="79"/>
                  </a:cubicBezTo>
                  <a:cubicBezTo>
                    <a:pt x="2" y="79"/>
                    <a:pt x="2" y="79"/>
                    <a:pt x="2" y="79"/>
                  </a:cubicBezTo>
                  <a:cubicBezTo>
                    <a:pt x="2" y="79"/>
                    <a:pt x="2" y="79"/>
                    <a:pt x="2" y="79"/>
                  </a:cubicBezTo>
                  <a:cubicBezTo>
                    <a:pt x="2" y="80"/>
                    <a:pt x="2" y="80"/>
                    <a:pt x="3" y="80"/>
                  </a:cubicBezTo>
                  <a:cubicBezTo>
                    <a:pt x="3" y="80"/>
                    <a:pt x="3" y="80"/>
                    <a:pt x="3" y="80"/>
                  </a:cubicBezTo>
                  <a:cubicBezTo>
                    <a:pt x="3" y="80"/>
                    <a:pt x="3" y="80"/>
                    <a:pt x="3" y="80"/>
                  </a:cubicBezTo>
                  <a:cubicBezTo>
                    <a:pt x="4" y="80"/>
                    <a:pt x="4" y="80"/>
                    <a:pt x="4" y="80"/>
                  </a:cubicBezTo>
                  <a:cubicBezTo>
                    <a:pt x="4" y="80"/>
                    <a:pt x="4" y="80"/>
                    <a:pt x="4" y="80"/>
                  </a:cubicBezTo>
                  <a:cubicBezTo>
                    <a:pt x="4" y="80"/>
                    <a:pt x="5" y="80"/>
                    <a:pt x="5" y="80"/>
                  </a:cubicBezTo>
                  <a:cubicBezTo>
                    <a:pt x="5" y="80"/>
                    <a:pt x="5" y="80"/>
                    <a:pt x="5" y="80"/>
                  </a:cubicBezTo>
                  <a:cubicBezTo>
                    <a:pt x="5" y="80"/>
                    <a:pt x="5" y="80"/>
                    <a:pt x="5" y="80"/>
                  </a:cubicBezTo>
                  <a:cubicBezTo>
                    <a:pt x="6" y="80"/>
                    <a:pt x="6" y="80"/>
                    <a:pt x="6" y="80"/>
                  </a:cubicBezTo>
                  <a:cubicBezTo>
                    <a:pt x="6" y="80"/>
                    <a:pt x="6" y="80"/>
                    <a:pt x="6" y="80"/>
                  </a:cubicBezTo>
                  <a:cubicBezTo>
                    <a:pt x="7" y="80"/>
                    <a:pt x="7" y="80"/>
                    <a:pt x="7" y="80"/>
                  </a:cubicBezTo>
                  <a:cubicBezTo>
                    <a:pt x="7" y="80"/>
                    <a:pt x="7" y="80"/>
                    <a:pt x="7" y="80"/>
                  </a:cubicBezTo>
                  <a:cubicBezTo>
                    <a:pt x="7" y="80"/>
                    <a:pt x="8" y="80"/>
                    <a:pt x="8" y="80"/>
                  </a:cubicBezTo>
                  <a:cubicBezTo>
                    <a:pt x="8" y="80"/>
                    <a:pt x="8" y="80"/>
                    <a:pt x="8" y="80"/>
                  </a:cubicBezTo>
                  <a:cubicBezTo>
                    <a:pt x="8" y="80"/>
                    <a:pt x="8" y="81"/>
                    <a:pt x="8" y="81"/>
                  </a:cubicBezTo>
                  <a:cubicBezTo>
                    <a:pt x="9" y="81"/>
                    <a:pt x="9" y="81"/>
                    <a:pt x="9" y="81"/>
                  </a:cubicBezTo>
                  <a:cubicBezTo>
                    <a:pt x="77" y="89"/>
                    <a:pt x="77" y="89"/>
                    <a:pt x="77" y="89"/>
                  </a:cubicBezTo>
                  <a:cubicBezTo>
                    <a:pt x="77" y="89"/>
                    <a:pt x="77" y="89"/>
                    <a:pt x="78" y="89"/>
                  </a:cubicBezTo>
                  <a:cubicBezTo>
                    <a:pt x="78" y="89"/>
                    <a:pt x="78" y="89"/>
                    <a:pt x="78" y="89"/>
                  </a:cubicBezTo>
                  <a:cubicBezTo>
                    <a:pt x="79" y="89"/>
                    <a:pt x="79" y="89"/>
                    <a:pt x="79" y="89"/>
                  </a:cubicBezTo>
                  <a:cubicBezTo>
                    <a:pt x="79" y="89"/>
                    <a:pt x="80" y="89"/>
                    <a:pt x="80" y="89"/>
                  </a:cubicBezTo>
                  <a:cubicBezTo>
                    <a:pt x="80" y="89"/>
                    <a:pt x="80" y="89"/>
                    <a:pt x="81" y="89"/>
                  </a:cubicBezTo>
                  <a:cubicBezTo>
                    <a:pt x="81" y="89"/>
                    <a:pt x="81" y="89"/>
                    <a:pt x="81" y="89"/>
                  </a:cubicBezTo>
                  <a:cubicBezTo>
                    <a:pt x="81" y="89"/>
                    <a:pt x="82" y="89"/>
                    <a:pt x="82" y="89"/>
                  </a:cubicBezTo>
                  <a:cubicBezTo>
                    <a:pt x="82" y="89"/>
                    <a:pt x="82" y="89"/>
                    <a:pt x="82" y="89"/>
                  </a:cubicBezTo>
                  <a:cubicBezTo>
                    <a:pt x="83" y="89"/>
                    <a:pt x="83" y="89"/>
                    <a:pt x="84" y="89"/>
                  </a:cubicBezTo>
                  <a:cubicBezTo>
                    <a:pt x="84" y="89"/>
                    <a:pt x="84" y="89"/>
                    <a:pt x="84" y="89"/>
                  </a:cubicBezTo>
                  <a:cubicBezTo>
                    <a:pt x="84" y="89"/>
                    <a:pt x="85" y="89"/>
                    <a:pt x="85" y="89"/>
                  </a:cubicBezTo>
                  <a:cubicBezTo>
                    <a:pt x="86" y="89"/>
                    <a:pt x="86" y="89"/>
                    <a:pt x="87" y="89"/>
                  </a:cubicBezTo>
                  <a:cubicBezTo>
                    <a:pt x="87" y="89"/>
                    <a:pt x="87" y="89"/>
                    <a:pt x="87" y="89"/>
                  </a:cubicBezTo>
                  <a:cubicBezTo>
                    <a:pt x="88" y="89"/>
                    <a:pt x="88" y="89"/>
                    <a:pt x="89" y="89"/>
                  </a:cubicBezTo>
                  <a:cubicBezTo>
                    <a:pt x="89" y="89"/>
                    <a:pt x="89" y="89"/>
                    <a:pt x="89" y="89"/>
                  </a:cubicBezTo>
                  <a:cubicBezTo>
                    <a:pt x="90" y="89"/>
                    <a:pt x="90" y="89"/>
                    <a:pt x="90" y="89"/>
                  </a:cubicBezTo>
                  <a:cubicBezTo>
                    <a:pt x="90" y="89"/>
                    <a:pt x="90" y="88"/>
                    <a:pt x="91" y="88"/>
                  </a:cubicBezTo>
                  <a:cubicBezTo>
                    <a:pt x="91" y="88"/>
                    <a:pt x="91" y="88"/>
                    <a:pt x="91" y="88"/>
                  </a:cubicBezTo>
                  <a:cubicBezTo>
                    <a:pt x="92" y="88"/>
                    <a:pt x="92" y="88"/>
                    <a:pt x="92" y="88"/>
                  </a:cubicBezTo>
                  <a:cubicBezTo>
                    <a:pt x="92" y="88"/>
                    <a:pt x="92" y="88"/>
                    <a:pt x="92" y="88"/>
                  </a:cubicBezTo>
                  <a:cubicBezTo>
                    <a:pt x="92" y="88"/>
                    <a:pt x="93" y="88"/>
                    <a:pt x="93" y="88"/>
                  </a:cubicBezTo>
                  <a:cubicBezTo>
                    <a:pt x="93" y="88"/>
                    <a:pt x="93" y="88"/>
                    <a:pt x="93" y="88"/>
                  </a:cubicBezTo>
                  <a:cubicBezTo>
                    <a:pt x="93" y="88"/>
                    <a:pt x="93" y="88"/>
                    <a:pt x="93" y="88"/>
                  </a:cubicBezTo>
                  <a:cubicBezTo>
                    <a:pt x="93" y="88"/>
                    <a:pt x="93" y="88"/>
                    <a:pt x="94" y="88"/>
                  </a:cubicBezTo>
                  <a:cubicBezTo>
                    <a:pt x="94" y="88"/>
                    <a:pt x="94" y="88"/>
                    <a:pt x="94" y="88"/>
                  </a:cubicBezTo>
                  <a:cubicBezTo>
                    <a:pt x="94" y="88"/>
                    <a:pt x="94" y="88"/>
                    <a:pt x="95" y="88"/>
                  </a:cubicBezTo>
                  <a:cubicBezTo>
                    <a:pt x="95" y="88"/>
                    <a:pt x="95" y="88"/>
                    <a:pt x="95" y="88"/>
                  </a:cubicBezTo>
                  <a:cubicBezTo>
                    <a:pt x="95" y="88"/>
                    <a:pt x="95" y="87"/>
                    <a:pt x="95" y="87"/>
                  </a:cubicBezTo>
                  <a:cubicBezTo>
                    <a:pt x="95" y="87"/>
                    <a:pt x="95" y="87"/>
                    <a:pt x="95" y="87"/>
                  </a:cubicBezTo>
                  <a:cubicBezTo>
                    <a:pt x="96" y="87"/>
                    <a:pt x="96" y="87"/>
                    <a:pt x="96" y="87"/>
                  </a:cubicBezTo>
                  <a:cubicBezTo>
                    <a:pt x="135" y="57"/>
                    <a:pt x="135" y="57"/>
                    <a:pt x="135" y="57"/>
                  </a:cubicBezTo>
                  <a:cubicBezTo>
                    <a:pt x="135" y="57"/>
                    <a:pt x="136" y="23"/>
                    <a:pt x="136" y="2"/>
                  </a:cubicBezTo>
                  <a:cubicBezTo>
                    <a:pt x="136" y="2"/>
                    <a:pt x="136" y="2"/>
                    <a:pt x="136" y="2"/>
                  </a:cubicBezTo>
                  <a:close/>
                  <a:moveTo>
                    <a:pt x="43" y="63"/>
                  </a:moveTo>
                  <a:cubicBezTo>
                    <a:pt x="40" y="63"/>
                    <a:pt x="38" y="60"/>
                    <a:pt x="38" y="57"/>
                  </a:cubicBezTo>
                  <a:cubicBezTo>
                    <a:pt x="38" y="54"/>
                    <a:pt x="40" y="52"/>
                    <a:pt x="43" y="52"/>
                  </a:cubicBezTo>
                  <a:cubicBezTo>
                    <a:pt x="46" y="52"/>
                    <a:pt x="48" y="54"/>
                    <a:pt x="48" y="57"/>
                  </a:cubicBezTo>
                  <a:cubicBezTo>
                    <a:pt x="48" y="60"/>
                    <a:pt x="46" y="63"/>
                    <a:pt x="43"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607"/>
            <p:cNvSpPr>
              <a:spLocks/>
            </p:cNvSpPr>
            <p:nvPr/>
          </p:nvSpPr>
          <p:spPr bwMode="auto">
            <a:xfrm>
              <a:off x="5387975" y="4660900"/>
              <a:ext cx="131762" cy="44450"/>
            </a:xfrm>
            <a:custGeom>
              <a:avLst/>
              <a:gdLst>
                <a:gd name="T0" fmla="*/ 1 w 136"/>
                <a:gd name="T1" fmla="*/ 39 h 46"/>
                <a:gd name="T2" fmla="*/ 2 w 136"/>
                <a:gd name="T3" fmla="*/ 39 h 46"/>
                <a:gd name="T4" fmla="*/ 3 w 136"/>
                <a:gd name="T5" fmla="*/ 39 h 46"/>
                <a:gd name="T6" fmla="*/ 4 w 136"/>
                <a:gd name="T7" fmla="*/ 39 h 46"/>
                <a:gd name="T8" fmla="*/ 5 w 136"/>
                <a:gd name="T9" fmla="*/ 39 h 46"/>
                <a:gd name="T10" fmla="*/ 5 w 136"/>
                <a:gd name="T11" fmla="*/ 40 h 46"/>
                <a:gd name="T12" fmla="*/ 6 w 136"/>
                <a:gd name="T13" fmla="*/ 40 h 46"/>
                <a:gd name="T14" fmla="*/ 7 w 136"/>
                <a:gd name="T15" fmla="*/ 40 h 46"/>
                <a:gd name="T16" fmla="*/ 77 w 136"/>
                <a:gd name="T17" fmla="*/ 45 h 46"/>
                <a:gd name="T18" fmla="*/ 78 w 136"/>
                <a:gd name="T19" fmla="*/ 45 h 46"/>
                <a:gd name="T20" fmla="*/ 80 w 136"/>
                <a:gd name="T21" fmla="*/ 45 h 46"/>
                <a:gd name="T22" fmla="*/ 81 w 136"/>
                <a:gd name="T23" fmla="*/ 46 h 46"/>
                <a:gd name="T24" fmla="*/ 82 w 136"/>
                <a:gd name="T25" fmla="*/ 46 h 46"/>
                <a:gd name="T26" fmla="*/ 84 w 136"/>
                <a:gd name="T27" fmla="*/ 45 h 46"/>
                <a:gd name="T28" fmla="*/ 87 w 136"/>
                <a:gd name="T29" fmla="*/ 45 h 46"/>
                <a:gd name="T30" fmla="*/ 89 w 136"/>
                <a:gd name="T31" fmla="*/ 45 h 46"/>
                <a:gd name="T32" fmla="*/ 90 w 136"/>
                <a:gd name="T33" fmla="*/ 45 h 46"/>
                <a:gd name="T34" fmla="*/ 91 w 136"/>
                <a:gd name="T35" fmla="*/ 45 h 46"/>
                <a:gd name="T36" fmla="*/ 92 w 136"/>
                <a:gd name="T37" fmla="*/ 45 h 46"/>
                <a:gd name="T38" fmla="*/ 93 w 136"/>
                <a:gd name="T39" fmla="*/ 45 h 46"/>
                <a:gd name="T40" fmla="*/ 94 w 136"/>
                <a:gd name="T41" fmla="*/ 44 h 46"/>
                <a:gd name="T42" fmla="*/ 95 w 136"/>
                <a:gd name="T43" fmla="*/ 44 h 46"/>
                <a:gd name="T44" fmla="*/ 95 w 136"/>
                <a:gd name="T45" fmla="*/ 44 h 46"/>
                <a:gd name="T46" fmla="*/ 135 w 136"/>
                <a:gd name="T47" fmla="*/ 21 h 46"/>
                <a:gd name="T48" fmla="*/ 135 w 136"/>
                <a:gd name="T49" fmla="*/ 21 h 46"/>
                <a:gd name="T50" fmla="*/ 135 w 136"/>
                <a:gd name="T51" fmla="*/ 21 h 46"/>
                <a:gd name="T52" fmla="*/ 136 w 136"/>
                <a:gd name="T53" fmla="*/ 20 h 46"/>
                <a:gd name="T54" fmla="*/ 136 w 136"/>
                <a:gd name="T55" fmla="*/ 3 h 46"/>
                <a:gd name="T56" fmla="*/ 136 w 136"/>
                <a:gd name="T57" fmla="*/ 3 h 46"/>
                <a:gd name="T58" fmla="*/ 96 w 136"/>
                <a:gd name="T59" fmla="*/ 19 h 46"/>
                <a:gd name="T60" fmla="*/ 95 w 136"/>
                <a:gd name="T61" fmla="*/ 19 h 46"/>
                <a:gd name="T62" fmla="*/ 95 w 136"/>
                <a:gd name="T63" fmla="*/ 19 h 46"/>
                <a:gd name="T64" fmla="*/ 94 w 136"/>
                <a:gd name="T65" fmla="*/ 20 h 46"/>
                <a:gd name="T66" fmla="*/ 93 w 136"/>
                <a:gd name="T67" fmla="*/ 20 h 46"/>
                <a:gd name="T68" fmla="*/ 92 w 136"/>
                <a:gd name="T69" fmla="*/ 20 h 46"/>
                <a:gd name="T70" fmla="*/ 91 w 136"/>
                <a:gd name="T71" fmla="*/ 20 h 46"/>
                <a:gd name="T72" fmla="*/ 89 w 136"/>
                <a:gd name="T73" fmla="*/ 20 h 46"/>
                <a:gd name="T74" fmla="*/ 87 w 136"/>
                <a:gd name="T75" fmla="*/ 21 h 46"/>
                <a:gd name="T76" fmla="*/ 85 w 136"/>
                <a:gd name="T77" fmla="*/ 21 h 46"/>
                <a:gd name="T78" fmla="*/ 84 w 136"/>
                <a:gd name="T79" fmla="*/ 21 h 46"/>
                <a:gd name="T80" fmla="*/ 82 w 136"/>
                <a:gd name="T81" fmla="*/ 21 h 46"/>
                <a:gd name="T82" fmla="*/ 81 w 136"/>
                <a:gd name="T83" fmla="*/ 21 h 46"/>
                <a:gd name="T84" fmla="*/ 79 w 136"/>
                <a:gd name="T85" fmla="*/ 21 h 46"/>
                <a:gd name="T86" fmla="*/ 78 w 136"/>
                <a:gd name="T87" fmla="*/ 21 h 46"/>
                <a:gd name="T88" fmla="*/ 8 w 136"/>
                <a:gd name="T89" fmla="*/ 15 h 46"/>
                <a:gd name="T90" fmla="*/ 7 w 136"/>
                <a:gd name="T91" fmla="*/ 15 h 46"/>
                <a:gd name="T92" fmla="*/ 6 w 136"/>
                <a:gd name="T93" fmla="*/ 15 h 46"/>
                <a:gd name="T94" fmla="*/ 5 w 136"/>
                <a:gd name="T95" fmla="*/ 15 h 46"/>
                <a:gd name="T96" fmla="*/ 0 w 136"/>
                <a:gd name="T97" fmla="*/ 17 h 46"/>
                <a:gd name="T98" fmla="*/ 1 w 136"/>
                <a:gd name="T99" fmla="*/ 3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46">
                  <a:moveTo>
                    <a:pt x="1" y="39"/>
                  </a:moveTo>
                  <a:cubicBezTo>
                    <a:pt x="1" y="39"/>
                    <a:pt x="1" y="39"/>
                    <a:pt x="1" y="39"/>
                  </a:cubicBezTo>
                  <a:cubicBezTo>
                    <a:pt x="1" y="39"/>
                    <a:pt x="2" y="39"/>
                    <a:pt x="2" y="39"/>
                  </a:cubicBezTo>
                  <a:cubicBezTo>
                    <a:pt x="2" y="39"/>
                    <a:pt x="2" y="39"/>
                    <a:pt x="2" y="39"/>
                  </a:cubicBezTo>
                  <a:cubicBezTo>
                    <a:pt x="2" y="39"/>
                    <a:pt x="2" y="39"/>
                    <a:pt x="2" y="39"/>
                  </a:cubicBezTo>
                  <a:cubicBezTo>
                    <a:pt x="3" y="39"/>
                    <a:pt x="3" y="39"/>
                    <a:pt x="3" y="39"/>
                  </a:cubicBezTo>
                  <a:cubicBezTo>
                    <a:pt x="3" y="39"/>
                    <a:pt x="3" y="39"/>
                    <a:pt x="3" y="39"/>
                  </a:cubicBezTo>
                  <a:cubicBezTo>
                    <a:pt x="4" y="39"/>
                    <a:pt x="4" y="39"/>
                    <a:pt x="4" y="39"/>
                  </a:cubicBezTo>
                  <a:cubicBezTo>
                    <a:pt x="4" y="39"/>
                    <a:pt x="4" y="39"/>
                    <a:pt x="4" y="39"/>
                  </a:cubicBezTo>
                  <a:cubicBezTo>
                    <a:pt x="4" y="39"/>
                    <a:pt x="4" y="39"/>
                    <a:pt x="5" y="39"/>
                  </a:cubicBezTo>
                  <a:cubicBezTo>
                    <a:pt x="5" y="39"/>
                    <a:pt x="5" y="40"/>
                    <a:pt x="5" y="40"/>
                  </a:cubicBezTo>
                  <a:cubicBezTo>
                    <a:pt x="5" y="40"/>
                    <a:pt x="5" y="40"/>
                    <a:pt x="5" y="40"/>
                  </a:cubicBezTo>
                  <a:cubicBezTo>
                    <a:pt x="6" y="40"/>
                    <a:pt x="6" y="40"/>
                    <a:pt x="6" y="40"/>
                  </a:cubicBezTo>
                  <a:cubicBezTo>
                    <a:pt x="6" y="40"/>
                    <a:pt x="6" y="40"/>
                    <a:pt x="6" y="40"/>
                  </a:cubicBezTo>
                  <a:cubicBezTo>
                    <a:pt x="7" y="40"/>
                    <a:pt x="7" y="40"/>
                    <a:pt x="7" y="40"/>
                  </a:cubicBezTo>
                  <a:cubicBezTo>
                    <a:pt x="7" y="40"/>
                    <a:pt x="7" y="40"/>
                    <a:pt x="7" y="40"/>
                  </a:cubicBezTo>
                  <a:cubicBezTo>
                    <a:pt x="8" y="40"/>
                    <a:pt x="8" y="40"/>
                    <a:pt x="8" y="40"/>
                  </a:cubicBezTo>
                  <a:cubicBezTo>
                    <a:pt x="77" y="45"/>
                    <a:pt x="77" y="45"/>
                    <a:pt x="77" y="45"/>
                  </a:cubicBezTo>
                  <a:cubicBezTo>
                    <a:pt x="77" y="45"/>
                    <a:pt x="77" y="45"/>
                    <a:pt x="78" y="45"/>
                  </a:cubicBezTo>
                  <a:cubicBezTo>
                    <a:pt x="78" y="45"/>
                    <a:pt x="78" y="45"/>
                    <a:pt x="78" y="45"/>
                  </a:cubicBezTo>
                  <a:cubicBezTo>
                    <a:pt x="79" y="45"/>
                    <a:pt x="79" y="45"/>
                    <a:pt x="79" y="45"/>
                  </a:cubicBezTo>
                  <a:cubicBezTo>
                    <a:pt x="79" y="45"/>
                    <a:pt x="80" y="45"/>
                    <a:pt x="80" y="45"/>
                  </a:cubicBezTo>
                  <a:cubicBezTo>
                    <a:pt x="80" y="45"/>
                    <a:pt x="80" y="45"/>
                    <a:pt x="81" y="46"/>
                  </a:cubicBezTo>
                  <a:cubicBezTo>
                    <a:pt x="81" y="46"/>
                    <a:pt x="81" y="46"/>
                    <a:pt x="81" y="46"/>
                  </a:cubicBezTo>
                  <a:cubicBezTo>
                    <a:pt x="81" y="46"/>
                    <a:pt x="82" y="46"/>
                    <a:pt x="82" y="46"/>
                  </a:cubicBezTo>
                  <a:cubicBezTo>
                    <a:pt x="82" y="46"/>
                    <a:pt x="82" y="46"/>
                    <a:pt x="82" y="46"/>
                  </a:cubicBezTo>
                  <a:cubicBezTo>
                    <a:pt x="83" y="46"/>
                    <a:pt x="83" y="46"/>
                    <a:pt x="84" y="45"/>
                  </a:cubicBezTo>
                  <a:cubicBezTo>
                    <a:pt x="84" y="45"/>
                    <a:pt x="84" y="45"/>
                    <a:pt x="84" y="45"/>
                  </a:cubicBezTo>
                  <a:cubicBezTo>
                    <a:pt x="84" y="45"/>
                    <a:pt x="85" y="45"/>
                    <a:pt x="85" y="45"/>
                  </a:cubicBezTo>
                  <a:cubicBezTo>
                    <a:pt x="86" y="45"/>
                    <a:pt x="86" y="45"/>
                    <a:pt x="87" y="45"/>
                  </a:cubicBezTo>
                  <a:cubicBezTo>
                    <a:pt x="87" y="45"/>
                    <a:pt x="87" y="45"/>
                    <a:pt x="87" y="45"/>
                  </a:cubicBezTo>
                  <a:cubicBezTo>
                    <a:pt x="88" y="45"/>
                    <a:pt x="88" y="45"/>
                    <a:pt x="89" y="45"/>
                  </a:cubicBezTo>
                  <a:cubicBezTo>
                    <a:pt x="89" y="45"/>
                    <a:pt x="89" y="45"/>
                    <a:pt x="89" y="45"/>
                  </a:cubicBezTo>
                  <a:cubicBezTo>
                    <a:pt x="90" y="45"/>
                    <a:pt x="90" y="45"/>
                    <a:pt x="90" y="45"/>
                  </a:cubicBezTo>
                  <a:cubicBezTo>
                    <a:pt x="90" y="45"/>
                    <a:pt x="90" y="45"/>
                    <a:pt x="91" y="45"/>
                  </a:cubicBezTo>
                  <a:cubicBezTo>
                    <a:pt x="91" y="45"/>
                    <a:pt x="91" y="45"/>
                    <a:pt x="91" y="45"/>
                  </a:cubicBezTo>
                  <a:cubicBezTo>
                    <a:pt x="91" y="45"/>
                    <a:pt x="92" y="45"/>
                    <a:pt x="92" y="45"/>
                  </a:cubicBezTo>
                  <a:cubicBezTo>
                    <a:pt x="92" y="45"/>
                    <a:pt x="92" y="45"/>
                    <a:pt x="92" y="45"/>
                  </a:cubicBezTo>
                  <a:cubicBezTo>
                    <a:pt x="92" y="45"/>
                    <a:pt x="93" y="45"/>
                    <a:pt x="93" y="45"/>
                  </a:cubicBezTo>
                  <a:cubicBezTo>
                    <a:pt x="93" y="45"/>
                    <a:pt x="93" y="45"/>
                    <a:pt x="93" y="45"/>
                  </a:cubicBezTo>
                  <a:cubicBezTo>
                    <a:pt x="93" y="45"/>
                    <a:pt x="93" y="44"/>
                    <a:pt x="94" y="44"/>
                  </a:cubicBezTo>
                  <a:cubicBezTo>
                    <a:pt x="94" y="44"/>
                    <a:pt x="94" y="44"/>
                    <a:pt x="94" y="44"/>
                  </a:cubicBezTo>
                  <a:cubicBezTo>
                    <a:pt x="94" y="44"/>
                    <a:pt x="94" y="44"/>
                    <a:pt x="95" y="44"/>
                  </a:cubicBezTo>
                  <a:cubicBezTo>
                    <a:pt x="95" y="44"/>
                    <a:pt x="95" y="44"/>
                    <a:pt x="95" y="44"/>
                  </a:cubicBezTo>
                  <a:cubicBezTo>
                    <a:pt x="95" y="44"/>
                    <a:pt x="95" y="44"/>
                    <a:pt x="95" y="44"/>
                  </a:cubicBezTo>
                  <a:cubicBezTo>
                    <a:pt x="95" y="44"/>
                    <a:pt x="95" y="44"/>
                    <a:pt x="95" y="44"/>
                  </a:cubicBezTo>
                  <a:cubicBezTo>
                    <a:pt x="96" y="44"/>
                    <a:pt x="96" y="44"/>
                    <a:pt x="96" y="4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6" y="21"/>
                    <a:pt x="136" y="21"/>
                    <a:pt x="136" y="20"/>
                  </a:cubicBezTo>
                  <a:cubicBezTo>
                    <a:pt x="136" y="20"/>
                    <a:pt x="136" y="20"/>
                    <a:pt x="136" y="20"/>
                  </a:cubicBezTo>
                  <a:cubicBezTo>
                    <a:pt x="136" y="20"/>
                    <a:pt x="136" y="20"/>
                    <a:pt x="136" y="20"/>
                  </a:cubicBezTo>
                  <a:cubicBezTo>
                    <a:pt x="136" y="3"/>
                    <a:pt x="136" y="3"/>
                    <a:pt x="136" y="3"/>
                  </a:cubicBezTo>
                  <a:cubicBezTo>
                    <a:pt x="136" y="3"/>
                    <a:pt x="136" y="3"/>
                    <a:pt x="136" y="3"/>
                  </a:cubicBezTo>
                  <a:cubicBezTo>
                    <a:pt x="136" y="3"/>
                    <a:pt x="136" y="3"/>
                    <a:pt x="136" y="3"/>
                  </a:cubicBezTo>
                  <a:cubicBezTo>
                    <a:pt x="136" y="2"/>
                    <a:pt x="134" y="1"/>
                    <a:pt x="129" y="0"/>
                  </a:cubicBezTo>
                  <a:cubicBezTo>
                    <a:pt x="96" y="19"/>
                    <a:pt x="96" y="19"/>
                    <a:pt x="96" y="19"/>
                  </a:cubicBezTo>
                  <a:cubicBezTo>
                    <a:pt x="96" y="19"/>
                    <a:pt x="96" y="19"/>
                    <a:pt x="95" y="19"/>
                  </a:cubicBezTo>
                  <a:cubicBezTo>
                    <a:pt x="95" y="19"/>
                    <a:pt x="95" y="19"/>
                    <a:pt x="95" y="19"/>
                  </a:cubicBezTo>
                  <a:cubicBezTo>
                    <a:pt x="95" y="19"/>
                    <a:pt x="95" y="19"/>
                    <a:pt x="95" y="19"/>
                  </a:cubicBezTo>
                  <a:cubicBezTo>
                    <a:pt x="95" y="19"/>
                    <a:pt x="95" y="19"/>
                    <a:pt x="95" y="19"/>
                  </a:cubicBezTo>
                  <a:cubicBezTo>
                    <a:pt x="94" y="19"/>
                    <a:pt x="94" y="20"/>
                    <a:pt x="94" y="20"/>
                  </a:cubicBezTo>
                  <a:cubicBezTo>
                    <a:pt x="94" y="20"/>
                    <a:pt x="94" y="20"/>
                    <a:pt x="94" y="20"/>
                  </a:cubicBezTo>
                  <a:cubicBezTo>
                    <a:pt x="93" y="20"/>
                    <a:pt x="93" y="20"/>
                    <a:pt x="93" y="20"/>
                  </a:cubicBezTo>
                  <a:cubicBezTo>
                    <a:pt x="93" y="20"/>
                    <a:pt x="93" y="20"/>
                    <a:pt x="93" y="20"/>
                  </a:cubicBezTo>
                  <a:cubicBezTo>
                    <a:pt x="93" y="20"/>
                    <a:pt x="92" y="20"/>
                    <a:pt x="92" y="20"/>
                  </a:cubicBezTo>
                  <a:cubicBezTo>
                    <a:pt x="92" y="20"/>
                    <a:pt x="92" y="20"/>
                    <a:pt x="92" y="20"/>
                  </a:cubicBezTo>
                  <a:cubicBezTo>
                    <a:pt x="92" y="20"/>
                    <a:pt x="92" y="20"/>
                    <a:pt x="91" y="20"/>
                  </a:cubicBezTo>
                  <a:cubicBezTo>
                    <a:pt x="91" y="20"/>
                    <a:pt x="91" y="20"/>
                    <a:pt x="91" y="20"/>
                  </a:cubicBezTo>
                  <a:cubicBezTo>
                    <a:pt x="90" y="20"/>
                    <a:pt x="90" y="20"/>
                    <a:pt x="90" y="20"/>
                  </a:cubicBezTo>
                  <a:cubicBezTo>
                    <a:pt x="90" y="20"/>
                    <a:pt x="90" y="20"/>
                    <a:pt x="89" y="20"/>
                  </a:cubicBezTo>
                  <a:cubicBezTo>
                    <a:pt x="89" y="20"/>
                    <a:pt x="89" y="20"/>
                    <a:pt x="89" y="20"/>
                  </a:cubicBezTo>
                  <a:cubicBezTo>
                    <a:pt x="88" y="21"/>
                    <a:pt x="88" y="21"/>
                    <a:pt x="87" y="21"/>
                  </a:cubicBezTo>
                  <a:cubicBezTo>
                    <a:pt x="87" y="21"/>
                    <a:pt x="87" y="21"/>
                    <a:pt x="87" y="21"/>
                  </a:cubicBezTo>
                  <a:cubicBezTo>
                    <a:pt x="86" y="21"/>
                    <a:pt x="86" y="21"/>
                    <a:pt x="85" y="21"/>
                  </a:cubicBezTo>
                  <a:cubicBezTo>
                    <a:pt x="85" y="21"/>
                    <a:pt x="84" y="21"/>
                    <a:pt x="84" y="21"/>
                  </a:cubicBezTo>
                  <a:cubicBezTo>
                    <a:pt x="84" y="21"/>
                    <a:pt x="84" y="21"/>
                    <a:pt x="84" y="21"/>
                  </a:cubicBezTo>
                  <a:cubicBezTo>
                    <a:pt x="83" y="21"/>
                    <a:pt x="83" y="21"/>
                    <a:pt x="82" y="21"/>
                  </a:cubicBezTo>
                  <a:cubicBezTo>
                    <a:pt x="82" y="21"/>
                    <a:pt x="82" y="21"/>
                    <a:pt x="82" y="21"/>
                  </a:cubicBezTo>
                  <a:cubicBezTo>
                    <a:pt x="82" y="21"/>
                    <a:pt x="81" y="21"/>
                    <a:pt x="81" y="21"/>
                  </a:cubicBezTo>
                  <a:cubicBezTo>
                    <a:pt x="81" y="21"/>
                    <a:pt x="81" y="21"/>
                    <a:pt x="81" y="21"/>
                  </a:cubicBezTo>
                  <a:cubicBezTo>
                    <a:pt x="80" y="21"/>
                    <a:pt x="80" y="21"/>
                    <a:pt x="80" y="21"/>
                  </a:cubicBezTo>
                  <a:cubicBezTo>
                    <a:pt x="79" y="21"/>
                    <a:pt x="79" y="21"/>
                    <a:pt x="79" y="21"/>
                  </a:cubicBezTo>
                  <a:cubicBezTo>
                    <a:pt x="79" y="21"/>
                    <a:pt x="79" y="21"/>
                    <a:pt x="78" y="21"/>
                  </a:cubicBezTo>
                  <a:cubicBezTo>
                    <a:pt x="78" y="21"/>
                    <a:pt x="78" y="21"/>
                    <a:pt x="78" y="21"/>
                  </a:cubicBezTo>
                  <a:cubicBezTo>
                    <a:pt x="78" y="21"/>
                    <a:pt x="77" y="21"/>
                    <a:pt x="77" y="21"/>
                  </a:cubicBezTo>
                  <a:cubicBezTo>
                    <a:pt x="8" y="15"/>
                    <a:pt x="8" y="15"/>
                    <a:pt x="8" y="15"/>
                  </a:cubicBezTo>
                  <a:cubicBezTo>
                    <a:pt x="8" y="15"/>
                    <a:pt x="8" y="15"/>
                    <a:pt x="7" y="15"/>
                  </a:cubicBezTo>
                  <a:cubicBezTo>
                    <a:pt x="7" y="15"/>
                    <a:pt x="7" y="15"/>
                    <a:pt x="7" y="15"/>
                  </a:cubicBezTo>
                  <a:cubicBezTo>
                    <a:pt x="7" y="15"/>
                    <a:pt x="7" y="15"/>
                    <a:pt x="6" y="15"/>
                  </a:cubicBezTo>
                  <a:cubicBezTo>
                    <a:pt x="6" y="15"/>
                    <a:pt x="6" y="15"/>
                    <a:pt x="6" y="15"/>
                  </a:cubicBezTo>
                  <a:cubicBezTo>
                    <a:pt x="6" y="15"/>
                    <a:pt x="6" y="15"/>
                    <a:pt x="5" y="15"/>
                  </a:cubicBezTo>
                  <a:cubicBezTo>
                    <a:pt x="5" y="15"/>
                    <a:pt x="5" y="15"/>
                    <a:pt x="5" y="15"/>
                  </a:cubicBezTo>
                  <a:cubicBezTo>
                    <a:pt x="5" y="15"/>
                    <a:pt x="5" y="15"/>
                    <a:pt x="5" y="15"/>
                  </a:cubicBezTo>
                  <a:cubicBezTo>
                    <a:pt x="0" y="17"/>
                    <a:pt x="0" y="17"/>
                    <a:pt x="0" y="17"/>
                  </a:cubicBezTo>
                  <a:cubicBezTo>
                    <a:pt x="0" y="38"/>
                    <a:pt x="0" y="38"/>
                    <a:pt x="0" y="38"/>
                  </a:cubicBezTo>
                  <a:cubicBezTo>
                    <a:pt x="0" y="38"/>
                    <a:pt x="1" y="38"/>
                    <a:pt x="1" y="39"/>
                  </a:cubicBezTo>
                  <a:cubicBezTo>
                    <a:pt x="1" y="39"/>
                    <a:pt x="1" y="39"/>
                    <a:pt x="1"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608"/>
            <p:cNvSpPr>
              <a:spLocks noEditPoints="1"/>
            </p:cNvSpPr>
            <p:nvPr/>
          </p:nvSpPr>
          <p:spPr bwMode="auto">
            <a:xfrm>
              <a:off x="4740275" y="4645025"/>
              <a:ext cx="171450" cy="109538"/>
            </a:xfrm>
            <a:custGeom>
              <a:avLst/>
              <a:gdLst>
                <a:gd name="T0" fmla="*/ 168 w 177"/>
                <a:gd name="T1" fmla="*/ 0 h 114"/>
                <a:gd name="T2" fmla="*/ 9 w 177"/>
                <a:gd name="T3" fmla="*/ 0 h 114"/>
                <a:gd name="T4" fmla="*/ 0 w 177"/>
                <a:gd name="T5" fmla="*/ 9 h 114"/>
                <a:gd name="T6" fmla="*/ 0 w 177"/>
                <a:gd name="T7" fmla="*/ 106 h 114"/>
                <a:gd name="T8" fmla="*/ 9 w 177"/>
                <a:gd name="T9" fmla="*/ 114 h 114"/>
                <a:gd name="T10" fmla="*/ 168 w 177"/>
                <a:gd name="T11" fmla="*/ 114 h 114"/>
                <a:gd name="T12" fmla="*/ 177 w 177"/>
                <a:gd name="T13" fmla="*/ 106 h 114"/>
                <a:gd name="T14" fmla="*/ 177 w 177"/>
                <a:gd name="T15" fmla="*/ 9 h 114"/>
                <a:gd name="T16" fmla="*/ 168 w 177"/>
                <a:gd name="T17" fmla="*/ 0 h 114"/>
                <a:gd name="T18" fmla="*/ 168 w 177"/>
                <a:gd name="T19" fmla="*/ 106 h 114"/>
                <a:gd name="T20" fmla="*/ 168 w 177"/>
                <a:gd name="T21" fmla="*/ 106 h 114"/>
                <a:gd name="T22" fmla="*/ 9 w 177"/>
                <a:gd name="T23" fmla="*/ 106 h 114"/>
                <a:gd name="T24" fmla="*/ 9 w 177"/>
                <a:gd name="T25" fmla="*/ 106 h 114"/>
                <a:gd name="T26" fmla="*/ 9 w 177"/>
                <a:gd name="T27" fmla="*/ 9 h 114"/>
                <a:gd name="T28" fmla="*/ 9 w 177"/>
                <a:gd name="T29" fmla="*/ 9 h 114"/>
                <a:gd name="T30" fmla="*/ 168 w 177"/>
                <a:gd name="T31" fmla="*/ 9 h 114"/>
                <a:gd name="T32" fmla="*/ 168 w 177"/>
                <a:gd name="T33" fmla="*/ 9 h 114"/>
                <a:gd name="T34" fmla="*/ 168 w 177"/>
                <a:gd name="T35" fmla="*/ 106 h 114"/>
                <a:gd name="T36" fmla="*/ 168 w 177"/>
                <a:gd name="T37"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14">
                  <a:moveTo>
                    <a:pt x="168" y="0"/>
                  </a:moveTo>
                  <a:cubicBezTo>
                    <a:pt x="9" y="0"/>
                    <a:pt x="9" y="0"/>
                    <a:pt x="9" y="0"/>
                  </a:cubicBezTo>
                  <a:cubicBezTo>
                    <a:pt x="4" y="0"/>
                    <a:pt x="0" y="4"/>
                    <a:pt x="0" y="9"/>
                  </a:cubicBezTo>
                  <a:cubicBezTo>
                    <a:pt x="0" y="106"/>
                    <a:pt x="0" y="106"/>
                    <a:pt x="0" y="106"/>
                  </a:cubicBezTo>
                  <a:cubicBezTo>
                    <a:pt x="0" y="111"/>
                    <a:pt x="4" y="114"/>
                    <a:pt x="9" y="114"/>
                  </a:cubicBezTo>
                  <a:cubicBezTo>
                    <a:pt x="168" y="114"/>
                    <a:pt x="168" y="114"/>
                    <a:pt x="168" y="114"/>
                  </a:cubicBezTo>
                  <a:cubicBezTo>
                    <a:pt x="173" y="114"/>
                    <a:pt x="177" y="111"/>
                    <a:pt x="177" y="106"/>
                  </a:cubicBezTo>
                  <a:cubicBezTo>
                    <a:pt x="177" y="9"/>
                    <a:pt x="177" y="9"/>
                    <a:pt x="177" y="9"/>
                  </a:cubicBezTo>
                  <a:cubicBezTo>
                    <a:pt x="177" y="4"/>
                    <a:pt x="173" y="0"/>
                    <a:pt x="168" y="0"/>
                  </a:cubicBezTo>
                  <a:close/>
                  <a:moveTo>
                    <a:pt x="168" y="106"/>
                  </a:moveTo>
                  <a:cubicBezTo>
                    <a:pt x="168" y="106"/>
                    <a:pt x="168" y="106"/>
                    <a:pt x="168" y="106"/>
                  </a:cubicBezTo>
                  <a:cubicBezTo>
                    <a:pt x="9" y="106"/>
                    <a:pt x="9" y="106"/>
                    <a:pt x="9" y="106"/>
                  </a:cubicBezTo>
                  <a:cubicBezTo>
                    <a:pt x="9" y="106"/>
                    <a:pt x="9" y="106"/>
                    <a:pt x="9" y="106"/>
                  </a:cubicBezTo>
                  <a:cubicBezTo>
                    <a:pt x="9" y="9"/>
                    <a:pt x="9" y="9"/>
                    <a:pt x="9" y="9"/>
                  </a:cubicBezTo>
                  <a:cubicBezTo>
                    <a:pt x="9" y="9"/>
                    <a:pt x="9" y="9"/>
                    <a:pt x="9" y="9"/>
                  </a:cubicBezTo>
                  <a:cubicBezTo>
                    <a:pt x="168" y="9"/>
                    <a:pt x="168" y="9"/>
                    <a:pt x="168" y="9"/>
                  </a:cubicBezTo>
                  <a:cubicBezTo>
                    <a:pt x="168" y="9"/>
                    <a:pt x="168" y="9"/>
                    <a:pt x="168" y="9"/>
                  </a:cubicBezTo>
                  <a:cubicBezTo>
                    <a:pt x="168" y="106"/>
                    <a:pt x="168" y="106"/>
                    <a:pt x="168" y="106"/>
                  </a:cubicBezTo>
                  <a:cubicBezTo>
                    <a:pt x="168" y="106"/>
                    <a:pt x="168" y="106"/>
                    <a:pt x="168"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09"/>
            <p:cNvSpPr>
              <a:spLocks/>
            </p:cNvSpPr>
            <p:nvPr/>
          </p:nvSpPr>
          <p:spPr bwMode="auto">
            <a:xfrm>
              <a:off x="4740275" y="4622800"/>
              <a:ext cx="171450" cy="20638"/>
            </a:xfrm>
            <a:custGeom>
              <a:avLst/>
              <a:gdLst>
                <a:gd name="T0" fmla="*/ 168 w 177"/>
                <a:gd name="T1" fmla="*/ 0 h 21"/>
                <a:gd name="T2" fmla="*/ 9 w 177"/>
                <a:gd name="T3" fmla="*/ 0 h 21"/>
                <a:gd name="T4" fmla="*/ 0 w 177"/>
                <a:gd name="T5" fmla="*/ 9 h 21"/>
                <a:gd name="T6" fmla="*/ 0 w 177"/>
                <a:gd name="T7" fmla="*/ 20 h 21"/>
                <a:gd name="T8" fmla="*/ 6 w 177"/>
                <a:gd name="T9" fmla="*/ 18 h 21"/>
                <a:gd name="T10" fmla="*/ 170 w 177"/>
                <a:gd name="T11" fmla="*/ 18 h 21"/>
                <a:gd name="T12" fmla="*/ 177 w 177"/>
                <a:gd name="T13" fmla="*/ 21 h 21"/>
                <a:gd name="T14" fmla="*/ 177 w 177"/>
                <a:gd name="T15" fmla="*/ 9 h 21"/>
                <a:gd name="T16" fmla="*/ 168 w 177"/>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21">
                  <a:moveTo>
                    <a:pt x="168" y="0"/>
                  </a:moveTo>
                  <a:cubicBezTo>
                    <a:pt x="9" y="0"/>
                    <a:pt x="9" y="0"/>
                    <a:pt x="9" y="0"/>
                  </a:cubicBezTo>
                  <a:cubicBezTo>
                    <a:pt x="4" y="0"/>
                    <a:pt x="0" y="4"/>
                    <a:pt x="0" y="9"/>
                  </a:cubicBezTo>
                  <a:cubicBezTo>
                    <a:pt x="0" y="20"/>
                    <a:pt x="0" y="20"/>
                    <a:pt x="0" y="20"/>
                  </a:cubicBezTo>
                  <a:cubicBezTo>
                    <a:pt x="2" y="19"/>
                    <a:pt x="4" y="18"/>
                    <a:pt x="6" y="18"/>
                  </a:cubicBezTo>
                  <a:cubicBezTo>
                    <a:pt x="170" y="18"/>
                    <a:pt x="170" y="18"/>
                    <a:pt x="170" y="18"/>
                  </a:cubicBezTo>
                  <a:cubicBezTo>
                    <a:pt x="173" y="18"/>
                    <a:pt x="175" y="19"/>
                    <a:pt x="177" y="21"/>
                  </a:cubicBezTo>
                  <a:cubicBezTo>
                    <a:pt x="177" y="9"/>
                    <a:pt x="177" y="9"/>
                    <a:pt x="177" y="9"/>
                  </a:cubicBezTo>
                  <a:cubicBezTo>
                    <a:pt x="177" y="4"/>
                    <a:pt x="173"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610"/>
            <p:cNvSpPr>
              <a:spLocks noEditPoints="1"/>
            </p:cNvSpPr>
            <p:nvPr/>
          </p:nvSpPr>
          <p:spPr bwMode="auto">
            <a:xfrm>
              <a:off x="4816475" y="4679950"/>
              <a:ext cx="52387" cy="52388"/>
            </a:xfrm>
            <a:custGeom>
              <a:avLst/>
              <a:gdLst>
                <a:gd name="T0" fmla="*/ 48 w 55"/>
                <a:gd name="T1" fmla="*/ 36 h 54"/>
                <a:gd name="T2" fmla="*/ 54 w 55"/>
                <a:gd name="T3" fmla="*/ 31 h 54"/>
                <a:gd name="T4" fmla="*/ 54 w 55"/>
                <a:gd name="T5" fmla="*/ 24 h 54"/>
                <a:gd name="T6" fmla="*/ 48 w 55"/>
                <a:gd name="T7" fmla="*/ 19 h 54"/>
                <a:gd name="T8" fmla="*/ 49 w 55"/>
                <a:gd name="T9" fmla="*/ 11 h 54"/>
                <a:gd name="T10" fmla="*/ 44 w 55"/>
                <a:gd name="T11" fmla="*/ 6 h 54"/>
                <a:gd name="T12" fmla="*/ 36 w 55"/>
                <a:gd name="T13" fmla="*/ 7 h 54"/>
                <a:gd name="T14" fmla="*/ 31 w 55"/>
                <a:gd name="T15" fmla="*/ 0 h 54"/>
                <a:gd name="T16" fmla="*/ 23 w 55"/>
                <a:gd name="T17" fmla="*/ 0 h 54"/>
                <a:gd name="T18" fmla="*/ 19 w 55"/>
                <a:gd name="T19" fmla="*/ 7 h 54"/>
                <a:gd name="T20" fmla="*/ 11 w 55"/>
                <a:gd name="T21" fmla="*/ 6 h 54"/>
                <a:gd name="T22" fmla="*/ 6 w 55"/>
                <a:gd name="T23" fmla="*/ 11 h 54"/>
                <a:gd name="T24" fmla="*/ 7 w 55"/>
                <a:gd name="T25" fmla="*/ 19 h 54"/>
                <a:gd name="T26" fmla="*/ 0 w 55"/>
                <a:gd name="T27" fmla="*/ 24 h 54"/>
                <a:gd name="T28" fmla="*/ 0 w 55"/>
                <a:gd name="T29" fmla="*/ 31 h 54"/>
                <a:gd name="T30" fmla="*/ 7 w 55"/>
                <a:gd name="T31" fmla="*/ 35 h 54"/>
                <a:gd name="T32" fmla="*/ 6 w 55"/>
                <a:gd name="T33" fmla="*/ 43 h 54"/>
                <a:gd name="T34" fmla="*/ 11 w 55"/>
                <a:gd name="T35" fmla="*/ 49 h 54"/>
                <a:gd name="T36" fmla="*/ 19 w 55"/>
                <a:gd name="T37" fmla="*/ 47 h 54"/>
                <a:gd name="T38" fmla="*/ 23 w 55"/>
                <a:gd name="T39" fmla="*/ 54 h 54"/>
                <a:gd name="T40" fmla="*/ 31 w 55"/>
                <a:gd name="T41" fmla="*/ 54 h 54"/>
                <a:gd name="T42" fmla="*/ 36 w 55"/>
                <a:gd name="T43" fmla="*/ 47 h 54"/>
                <a:gd name="T44" fmla="*/ 44 w 55"/>
                <a:gd name="T45" fmla="*/ 49 h 54"/>
                <a:gd name="T46" fmla="*/ 49 w 55"/>
                <a:gd name="T47" fmla="*/ 43 h 54"/>
                <a:gd name="T48" fmla="*/ 48 w 55"/>
                <a:gd name="T49" fmla="*/ 36 h 54"/>
                <a:gd name="T50" fmla="*/ 21 w 55"/>
                <a:gd name="T51" fmla="*/ 42 h 54"/>
                <a:gd name="T52" fmla="*/ 12 w 55"/>
                <a:gd name="T53" fmla="*/ 21 h 54"/>
                <a:gd name="T54" fmla="*/ 34 w 55"/>
                <a:gd name="T55" fmla="*/ 12 h 54"/>
                <a:gd name="T56" fmla="*/ 42 w 55"/>
                <a:gd name="T57" fmla="*/ 34 h 54"/>
                <a:gd name="T58" fmla="*/ 21 w 55"/>
                <a:gd name="T5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54">
                  <a:moveTo>
                    <a:pt x="48" y="36"/>
                  </a:moveTo>
                  <a:cubicBezTo>
                    <a:pt x="49" y="33"/>
                    <a:pt x="51" y="31"/>
                    <a:pt x="54" y="31"/>
                  </a:cubicBezTo>
                  <a:cubicBezTo>
                    <a:pt x="55" y="28"/>
                    <a:pt x="55" y="26"/>
                    <a:pt x="54" y="24"/>
                  </a:cubicBezTo>
                  <a:cubicBezTo>
                    <a:pt x="51" y="23"/>
                    <a:pt x="49" y="22"/>
                    <a:pt x="48" y="19"/>
                  </a:cubicBezTo>
                  <a:cubicBezTo>
                    <a:pt x="47" y="16"/>
                    <a:pt x="47" y="13"/>
                    <a:pt x="49" y="11"/>
                  </a:cubicBezTo>
                  <a:cubicBezTo>
                    <a:pt x="48" y="9"/>
                    <a:pt x="46" y="7"/>
                    <a:pt x="44" y="6"/>
                  </a:cubicBezTo>
                  <a:cubicBezTo>
                    <a:pt x="42" y="7"/>
                    <a:pt x="39" y="8"/>
                    <a:pt x="36" y="7"/>
                  </a:cubicBezTo>
                  <a:cubicBezTo>
                    <a:pt x="33" y="6"/>
                    <a:pt x="31" y="3"/>
                    <a:pt x="31" y="0"/>
                  </a:cubicBezTo>
                  <a:cubicBezTo>
                    <a:pt x="29" y="0"/>
                    <a:pt x="26" y="0"/>
                    <a:pt x="23" y="0"/>
                  </a:cubicBezTo>
                  <a:cubicBezTo>
                    <a:pt x="23" y="3"/>
                    <a:pt x="21" y="6"/>
                    <a:pt x="19" y="7"/>
                  </a:cubicBezTo>
                  <a:cubicBezTo>
                    <a:pt x="16" y="8"/>
                    <a:pt x="13" y="7"/>
                    <a:pt x="11" y="6"/>
                  </a:cubicBezTo>
                  <a:cubicBezTo>
                    <a:pt x="9" y="7"/>
                    <a:pt x="7" y="9"/>
                    <a:pt x="6" y="11"/>
                  </a:cubicBezTo>
                  <a:cubicBezTo>
                    <a:pt x="7" y="13"/>
                    <a:pt x="8" y="16"/>
                    <a:pt x="7" y="19"/>
                  </a:cubicBezTo>
                  <a:cubicBezTo>
                    <a:pt x="6" y="22"/>
                    <a:pt x="3" y="23"/>
                    <a:pt x="0" y="24"/>
                  </a:cubicBezTo>
                  <a:cubicBezTo>
                    <a:pt x="0" y="26"/>
                    <a:pt x="0" y="28"/>
                    <a:pt x="0" y="31"/>
                  </a:cubicBezTo>
                  <a:cubicBezTo>
                    <a:pt x="3" y="31"/>
                    <a:pt x="6" y="33"/>
                    <a:pt x="7" y="35"/>
                  </a:cubicBezTo>
                  <a:cubicBezTo>
                    <a:pt x="8" y="38"/>
                    <a:pt x="7" y="41"/>
                    <a:pt x="6" y="43"/>
                  </a:cubicBezTo>
                  <a:cubicBezTo>
                    <a:pt x="7" y="45"/>
                    <a:pt x="9" y="47"/>
                    <a:pt x="11" y="49"/>
                  </a:cubicBezTo>
                  <a:cubicBezTo>
                    <a:pt x="13" y="47"/>
                    <a:pt x="16" y="46"/>
                    <a:pt x="19" y="47"/>
                  </a:cubicBezTo>
                  <a:cubicBezTo>
                    <a:pt x="21" y="49"/>
                    <a:pt x="23" y="51"/>
                    <a:pt x="23" y="54"/>
                  </a:cubicBezTo>
                  <a:cubicBezTo>
                    <a:pt x="26" y="54"/>
                    <a:pt x="29" y="54"/>
                    <a:pt x="31" y="54"/>
                  </a:cubicBezTo>
                  <a:cubicBezTo>
                    <a:pt x="32" y="51"/>
                    <a:pt x="33" y="49"/>
                    <a:pt x="36" y="47"/>
                  </a:cubicBezTo>
                  <a:cubicBezTo>
                    <a:pt x="39" y="46"/>
                    <a:pt x="42" y="47"/>
                    <a:pt x="44" y="49"/>
                  </a:cubicBezTo>
                  <a:cubicBezTo>
                    <a:pt x="46" y="47"/>
                    <a:pt x="48" y="45"/>
                    <a:pt x="49" y="43"/>
                  </a:cubicBezTo>
                  <a:cubicBezTo>
                    <a:pt x="47" y="41"/>
                    <a:pt x="47" y="38"/>
                    <a:pt x="48" y="36"/>
                  </a:cubicBezTo>
                  <a:close/>
                  <a:moveTo>
                    <a:pt x="21" y="42"/>
                  </a:moveTo>
                  <a:cubicBezTo>
                    <a:pt x="13" y="39"/>
                    <a:pt x="9" y="29"/>
                    <a:pt x="12" y="21"/>
                  </a:cubicBezTo>
                  <a:cubicBezTo>
                    <a:pt x="16" y="12"/>
                    <a:pt x="25" y="8"/>
                    <a:pt x="34" y="12"/>
                  </a:cubicBezTo>
                  <a:cubicBezTo>
                    <a:pt x="42" y="16"/>
                    <a:pt x="46" y="25"/>
                    <a:pt x="42" y="34"/>
                  </a:cubicBezTo>
                  <a:cubicBezTo>
                    <a:pt x="39" y="42"/>
                    <a:pt x="29" y="46"/>
                    <a:pt x="2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611"/>
            <p:cNvSpPr>
              <a:spLocks noEditPoints="1"/>
            </p:cNvSpPr>
            <p:nvPr/>
          </p:nvSpPr>
          <p:spPr bwMode="auto">
            <a:xfrm>
              <a:off x="4830763" y="4692650"/>
              <a:ext cx="23812" cy="25400"/>
            </a:xfrm>
            <a:custGeom>
              <a:avLst/>
              <a:gdLst>
                <a:gd name="T0" fmla="*/ 17 w 25"/>
                <a:gd name="T1" fmla="*/ 3 h 26"/>
                <a:gd name="T2" fmla="*/ 2 w 25"/>
                <a:gd name="T3" fmla="*/ 9 h 26"/>
                <a:gd name="T4" fmla="*/ 8 w 25"/>
                <a:gd name="T5" fmla="*/ 23 h 26"/>
                <a:gd name="T6" fmla="*/ 23 w 25"/>
                <a:gd name="T7" fmla="*/ 18 h 26"/>
                <a:gd name="T8" fmla="*/ 17 w 25"/>
                <a:gd name="T9" fmla="*/ 3 h 26"/>
                <a:gd name="T10" fmla="*/ 10 w 25"/>
                <a:gd name="T11" fmla="*/ 18 h 26"/>
                <a:gd name="T12" fmla="*/ 7 w 25"/>
                <a:gd name="T13" fmla="*/ 11 h 26"/>
                <a:gd name="T14" fmla="*/ 15 w 25"/>
                <a:gd name="T15" fmla="*/ 8 h 26"/>
                <a:gd name="T16" fmla="*/ 18 w 25"/>
                <a:gd name="T17" fmla="*/ 15 h 26"/>
                <a:gd name="T18" fmla="*/ 10 w 25"/>
                <a:gd name="T19"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6">
                  <a:moveTo>
                    <a:pt x="17" y="3"/>
                  </a:moveTo>
                  <a:cubicBezTo>
                    <a:pt x="11" y="0"/>
                    <a:pt x="4" y="3"/>
                    <a:pt x="2" y="9"/>
                  </a:cubicBezTo>
                  <a:cubicBezTo>
                    <a:pt x="0" y="14"/>
                    <a:pt x="2" y="21"/>
                    <a:pt x="8" y="23"/>
                  </a:cubicBezTo>
                  <a:cubicBezTo>
                    <a:pt x="14" y="26"/>
                    <a:pt x="20" y="23"/>
                    <a:pt x="23" y="18"/>
                  </a:cubicBezTo>
                  <a:cubicBezTo>
                    <a:pt x="25" y="12"/>
                    <a:pt x="22" y="5"/>
                    <a:pt x="17" y="3"/>
                  </a:cubicBezTo>
                  <a:close/>
                  <a:moveTo>
                    <a:pt x="10" y="18"/>
                  </a:moveTo>
                  <a:cubicBezTo>
                    <a:pt x="7" y="17"/>
                    <a:pt x="6" y="14"/>
                    <a:pt x="7" y="11"/>
                  </a:cubicBezTo>
                  <a:cubicBezTo>
                    <a:pt x="8" y="8"/>
                    <a:pt x="12" y="7"/>
                    <a:pt x="15" y="8"/>
                  </a:cubicBezTo>
                  <a:cubicBezTo>
                    <a:pt x="18" y="9"/>
                    <a:pt x="19" y="12"/>
                    <a:pt x="18" y="15"/>
                  </a:cubicBezTo>
                  <a:cubicBezTo>
                    <a:pt x="16" y="18"/>
                    <a:pt x="13" y="20"/>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612"/>
            <p:cNvSpPr>
              <a:spLocks noEditPoints="1"/>
            </p:cNvSpPr>
            <p:nvPr/>
          </p:nvSpPr>
          <p:spPr bwMode="auto">
            <a:xfrm>
              <a:off x="4786313" y="4665663"/>
              <a:ext cx="33337" cy="34925"/>
            </a:xfrm>
            <a:custGeom>
              <a:avLst/>
              <a:gdLst>
                <a:gd name="T0" fmla="*/ 31 w 35"/>
                <a:gd name="T1" fmla="*/ 24 h 36"/>
                <a:gd name="T2" fmla="*/ 35 w 35"/>
                <a:gd name="T3" fmla="*/ 21 h 36"/>
                <a:gd name="T4" fmla="*/ 35 w 35"/>
                <a:gd name="T5" fmla="*/ 16 h 36"/>
                <a:gd name="T6" fmla="*/ 31 w 35"/>
                <a:gd name="T7" fmla="*/ 13 h 36"/>
                <a:gd name="T8" fmla="*/ 32 w 35"/>
                <a:gd name="T9" fmla="*/ 8 h 36"/>
                <a:gd name="T10" fmla="*/ 28 w 35"/>
                <a:gd name="T11" fmla="*/ 4 h 36"/>
                <a:gd name="T12" fmla="*/ 23 w 35"/>
                <a:gd name="T13" fmla="*/ 5 h 36"/>
                <a:gd name="T14" fmla="*/ 20 w 35"/>
                <a:gd name="T15" fmla="*/ 1 h 36"/>
                <a:gd name="T16" fmla="*/ 15 w 35"/>
                <a:gd name="T17" fmla="*/ 1 h 36"/>
                <a:gd name="T18" fmla="*/ 12 w 35"/>
                <a:gd name="T19" fmla="*/ 5 h 36"/>
                <a:gd name="T20" fmla="*/ 6 w 35"/>
                <a:gd name="T21" fmla="*/ 4 h 36"/>
                <a:gd name="T22" fmla="*/ 3 w 35"/>
                <a:gd name="T23" fmla="*/ 8 h 36"/>
                <a:gd name="T24" fmla="*/ 4 w 35"/>
                <a:gd name="T25" fmla="*/ 13 h 36"/>
                <a:gd name="T26" fmla="*/ 0 w 35"/>
                <a:gd name="T27" fmla="*/ 16 h 36"/>
                <a:gd name="T28" fmla="*/ 0 w 35"/>
                <a:gd name="T29" fmla="*/ 21 h 36"/>
                <a:gd name="T30" fmla="*/ 4 w 35"/>
                <a:gd name="T31" fmla="*/ 24 h 36"/>
                <a:gd name="T32" fmla="*/ 3 w 35"/>
                <a:gd name="T33" fmla="*/ 29 h 36"/>
                <a:gd name="T34" fmla="*/ 6 w 35"/>
                <a:gd name="T35" fmla="*/ 32 h 36"/>
                <a:gd name="T36" fmla="*/ 12 w 35"/>
                <a:gd name="T37" fmla="*/ 32 h 36"/>
                <a:gd name="T38" fmla="*/ 15 w 35"/>
                <a:gd name="T39" fmla="*/ 36 h 36"/>
                <a:gd name="T40" fmla="*/ 20 w 35"/>
                <a:gd name="T41" fmla="*/ 36 h 36"/>
                <a:gd name="T42" fmla="*/ 23 w 35"/>
                <a:gd name="T43" fmla="*/ 32 h 36"/>
                <a:gd name="T44" fmla="*/ 28 w 35"/>
                <a:gd name="T45" fmla="*/ 32 h 36"/>
                <a:gd name="T46" fmla="*/ 32 w 35"/>
                <a:gd name="T47" fmla="*/ 29 h 36"/>
                <a:gd name="T48" fmla="*/ 31 w 35"/>
                <a:gd name="T49" fmla="*/ 24 h 36"/>
                <a:gd name="T50" fmla="*/ 13 w 35"/>
                <a:gd name="T51" fmla="*/ 28 h 36"/>
                <a:gd name="T52" fmla="*/ 7 w 35"/>
                <a:gd name="T53" fmla="*/ 14 h 36"/>
                <a:gd name="T54" fmla="*/ 22 w 35"/>
                <a:gd name="T55" fmla="*/ 8 h 36"/>
                <a:gd name="T56" fmla="*/ 27 w 35"/>
                <a:gd name="T57" fmla="*/ 23 h 36"/>
                <a:gd name="T58" fmla="*/ 13 w 35"/>
                <a:gd name="T59"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36">
                  <a:moveTo>
                    <a:pt x="31" y="24"/>
                  </a:moveTo>
                  <a:cubicBezTo>
                    <a:pt x="32" y="22"/>
                    <a:pt x="33" y="21"/>
                    <a:pt x="35" y="21"/>
                  </a:cubicBezTo>
                  <a:cubicBezTo>
                    <a:pt x="35" y="19"/>
                    <a:pt x="35" y="18"/>
                    <a:pt x="35" y="16"/>
                  </a:cubicBezTo>
                  <a:cubicBezTo>
                    <a:pt x="33" y="16"/>
                    <a:pt x="32" y="15"/>
                    <a:pt x="31" y="13"/>
                  </a:cubicBezTo>
                  <a:cubicBezTo>
                    <a:pt x="30" y="11"/>
                    <a:pt x="30" y="9"/>
                    <a:pt x="32" y="8"/>
                  </a:cubicBezTo>
                  <a:cubicBezTo>
                    <a:pt x="31" y="6"/>
                    <a:pt x="30" y="5"/>
                    <a:pt x="28" y="4"/>
                  </a:cubicBezTo>
                  <a:cubicBezTo>
                    <a:pt x="27" y="5"/>
                    <a:pt x="25" y="6"/>
                    <a:pt x="23" y="5"/>
                  </a:cubicBezTo>
                  <a:cubicBezTo>
                    <a:pt x="21" y="4"/>
                    <a:pt x="20" y="3"/>
                    <a:pt x="20" y="1"/>
                  </a:cubicBezTo>
                  <a:cubicBezTo>
                    <a:pt x="18" y="0"/>
                    <a:pt x="16" y="0"/>
                    <a:pt x="15" y="1"/>
                  </a:cubicBezTo>
                  <a:cubicBezTo>
                    <a:pt x="15" y="3"/>
                    <a:pt x="13" y="4"/>
                    <a:pt x="12" y="5"/>
                  </a:cubicBezTo>
                  <a:cubicBezTo>
                    <a:pt x="10" y="6"/>
                    <a:pt x="8" y="5"/>
                    <a:pt x="6" y="4"/>
                  </a:cubicBezTo>
                  <a:cubicBezTo>
                    <a:pt x="5" y="5"/>
                    <a:pt x="4" y="6"/>
                    <a:pt x="3" y="8"/>
                  </a:cubicBezTo>
                  <a:cubicBezTo>
                    <a:pt x="4" y="9"/>
                    <a:pt x="5" y="11"/>
                    <a:pt x="4" y="13"/>
                  </a:cubicBezTo>
                  <a:cubicBezTo>
                    <a:pt x="3" y="15"/>
                    <a:pt x="2" y="16"/>
                    <a:pt x="0" y="16"/>
                  </a:cubicBezTo>
                  <a:cubicBezTo>
                    <a:pt x="0" y="18"/>
                    <a:pt x="0" y="19"/>
                    <a:pt x="0" y="21"/>
                  </a:cubicBezTo>
                  <a:cubicBezTo>
                    <a:pt x="2" y="21"/>
                    <a:pt x="3" y="22"/>
                    <a:pt x="4" y="24"/>
                  </a:cubicBezTo>
                  <a:cubicBezTo>
                    <a:pt x="5" y="26"/>
                    <a:pt x="4" y="28"/>
                    <a:pt x="3" y="29"/>
                  </a:cubicBezTo>
                  <a:cubicBezTo>
                    <a:pt x="4" y="30"/>
                    <a:pt x="5" y="31"/>
                    <a:pt x="6" y="32"/>
                  </a:cubicBezTo>
                  <a:cubicBezTo>
                    <a:pt x="8" y="31"/>
                    <a:pt x="10" y="31"/>
                    <a:pt x="12" y="32"/>
                  </a:cubicBezTo>
                  <a:cubicBezTo>
                    <a:pt x="13" y="32"/>
                    <a:pt x="15" y="34"/>
                    <a:pt x="15" y="36"/>
                  </a:cubicBezTo>
                  <a:cubicBezTo>
                    <a:pt x="17" y="36"/>
                    <a:pt x="18" y="36"/>
                    <a:pt x="20" y="36"/>
                  </a:cubicBezTo>
                  <a:cubicBezTo>
                    <a:pt x="20" y="34"/>
                    <a:pt x="21" y="32"/>
                    <a:pt x="23" y="32"/>
                  </a:cubicBezTo>
                  <a:cubicBezTo>
                    <a:pt x="25" y="31"/>
                    <a:pt x="27" y="31"/>
                    <a:pt x="28" y="32"/>
                  </a:cubicBezTo>
                  <a:cubicBezTo>
                    <a:pt x="29" y="31"/>
                    <a:pt x="31" y="30"/>
                    <a:pt x="32" y="29"/>
                  </a:cubicBezTo>
                  <a:cubicBezTo>
                    <a:pt x="30" y="28"/>
                    <a:pt x="30" y="26"/>
                    <a:pt x="31" y="24"/>
                  </a:cubicBezTo>
                  <a:close/>
                  <a:moveTo>
                    <a:pt x="13" y="28"/>
                  </a:moveTo>
                  <a:cubicBezTo>
                    <a:pt x="8" y="26"/>
                    <a:pt x="5" y="20"/>
                    <a:pt x="7" y="14"/>
                  </a:cubicBezTo>
                  <a:cubicBezTo>
                    <a:pt x="10" y="9"/>
                    <a:pt x="16" y="6"/>
                    <a:pt x="22" y="8"/>
                  </a:cubicBezTo>
                  <a:cubicBezTo>
                    <a:pt x="27" y="11"/>
                    <a:pt x="30" y="17"/>
                    <a:pt x="27" y="23"/>
                  </a:cubicBezTo>
                  <a:cubicBezTo>
                    <a:pt x="25" y="28"/>
                    <a:pt x="19" y="31"/>
                    <a:pt x="13"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3"/>
            <p:cNvSpPr>
              <a:spLocks noEditPoints="1"/>
            </p:cNvSpPr>
            <p:nvPr/>
          </p:nvSpPr>
          <p:spPr bwMode="auto">
            <a:xfrm>
              <a:off x="4794250" y="4675188"/>
              <a:ext cx="17462" cy="15875"/>
            </a:xfrm>
            <a:custGeom>
              <a:avLst/>
              <a:gdLst>
                <a:gd name="T0" fmla="*/ 11 w 17"/>
                <a:gd name="T1" fmla="*/ 2 h 17"/>
                <a:gd name="T2" fmla="*/ 2 w 17"/>
                <a:gd name="T3" fmla="*/ 5 h 17"/>
                <a:gd name="T4" fmla="*/ 5 w 17"/>
                <a:gd name="T5" fmla="*/ 15 h 17"/>
                <a:gd name="T6" fmla="*/ 15 w 17"/>
                <a:gd name="T7" fmla="*/ 11 h 17"/>
                <a:gd name="T8" fmla="*/ 11 w 17"/>
                <a:gd name="T9" fmla="*/ 2 h 17"/>
                <a:gd name="T10" fmla="*/ 7 w 17"/>
                <a:gd name="T11" fmla="*/ 12 h 17"/>
                <a:gd name="T12" fmla="*/ 5 w 17"/>
                <a:gd name="T13" fmla="*/ 7 h 17"/>
                <a:gd name="T14" fmla="*/ 10 w 17"/>
                <a:gd name="T15" fmla="*/ 5 h 17"/>
                <a:gd name="T16" fmla="*/ 12 w 17"/>
                <a:gd name="T17" fmla="*/ 10 h 17"/>
                <a:gd name="T18" fmla="*/ 7 w 17"/>
                <a:gd name="T19"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11" y="2"/>
                  </a:moveTo>
                  <a:cubicBezTo>
                    <a:pt x="7" y="0"/>
                    <a:pt x="3" y="2"/>
                    <a:pt x="2" y="5"/>
                  </a:cubicBezTo>
                  <a:cubicBezTo>
                    <a:pt x="0" y="9"/>
                    <a:pt x="2" y="14"/>
                    <a:pt x="5" y="15"/>
                  </a:cubicBezTo>
                  <a:cubicBezTo>
                    <a:pt x="9" y="17"/>
                    <a:pt x="14" y="15"/>
                    <a:pt x="15" y="11"/>
                  </a:cubicBezTo>
                  <a:cubicBezTo>
                    <a:pt x="17" y="7"/>
                    <a:pt x="15" y="3"/>
                    <a:pt x="11" y="2"/>
                  </a:cubicBezTo>
                  <a:close/>
                  <a:moveTo>
                    <a:pt x="7" y="12"/>
                  </a:moveTo>
                  <a:cubicBezTo>
                    <a:pt x="5" y="11"/>
                    <a:pt x="4" y="9"/>
                    <a:pt x="5" y="7"/>
                  </a:cubicBezTo>
                  <a:cubicBezTo>
                    <a:pt x="6" y="5"/>
                    <a:pt x="8" y="4"/>
                    <a:pt x="10" y="5"/>
                  </a:cubicBezTo>
                  <a:cubicBezTo>
                    <a:pt x="12" y="6"/>
                    <a:pt x="13" y="8"/>
                    <a:pt x="12" y="10"/>
                  </a:cubicBezTo>
                  <a:cubicBezTo>
                    <a:pt x="11" y="12"/>
                    <a:pt x="9" y="13"/>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14"/>
            <p:cNvSpPr>
              <a:spLocks noEditPoints="1"/>
            </p:cNvSpPr>
            <p:nvPr/>
          </p:nvSpPr>
          <p:spPr bwMode="auto">
            <a:xfrm>
              <a:off x="4540250" y="4003675"/>
              <a:ext cx="176212" cy="187325"/>
            </a:xfrm>
            <a:custGeom>
              <a:avLst/>
              <a:gdLst>
                <a:gd name="T0" fmla="*/ 183 w 183"/>
                <a:gd name="T1" fmla="*/ 77 h 193"/>
                <a:gd name="T2" fmla="*/ 107 w 183"/>
                <a:gd name="T3" fmla="*/ 122 h 193"/>
                <a:gd name="T4" fmla="*/ 7 w 183"/>
                <a:gd name="T5" fmla="*/ 52 h 193"/>
                <a:gd name="T6" fmla="*/ 2 w 183"/>
                <a:gd name="T7" fmla="*/ 55 h 193"/>
                <a:gd name="T8" fmla="*/ 1 w 183"/>
                <a:gd name="T9" fmla="*/ 57 h 193"/>
                <a:gd name="T10" fmla="*/ 0 w 183"/>
                <a:gd name="T11" fmla="*/ 59 h 193"/>
                <a:gd name="T12" fmla="*/ 0 w 183"/>
                <a:gd name="T13" fmla="*/ 80 h 193"/>
                <a:gd name="T14" fmla="*/ 1 w 183"/>
                <a:gd name="T15" fmla="*/ 82 h 193"/>
                <a:gd name="T16" fmla="*/ 4 w 183"/>
                <a:gd name="T17" fmla="*/ 85 h 193"/>
                <a:gd name="T18" fmla="*/ 8 w 183"/>
                <a:gd name="T19" fmla="*/ 84 h 193"/>
                <a:gd name="T20" fmla="*/ 21 w 183"/>
                <a:gd name="T21" fmla="*/ 106 h 193"/>
                <a:gd name="T22" fmla="*/ 15 w 183"/>
                <a:gd name="T23" fmla="*/ 74 h 193"/>
                <a:gd name="T24" fmla="*/ 6 w 183"/>
                <a:gd name="T25" fmla="*/ 82 h 193"/>
                <a:gd name="T26" fmla="*/ 4 w 183"/>
                <a:gd name="T27" fmla="*/ 82 h 193"/>
                <a:gd name="T28" fmla="*/ 3 w 183"/>
                <a:gd name="T29" fmla="*/ 81 h 193"/>
                <a:gd name="T30" fmla="*/ 3 w 183"/>
                <a:gd name="T31" fmla="*/ 79 h 193"/>
                <a:gd name="T32" fmla="*/ 3 w 183"/>
                <a:gd name="T33" fmla="*/ 59 h 193"/>
                <a:gd name="T34" fmla="*/ 4 w 183"/>
                <a:gd name="T35" fmla="*/ 57 h 193"/>
                <a:gd name="T36" fmla="*/ 15 w 183"/>
                <a:gd name="T37" fmla="*/ 55 h 193"/>
                <a:gd name="T38" fmla="*/ 82 w 183"/>
                <a:gd name="T39" fmla="*/ 115 h 193"/>
                <a:gd name="T40" fmla="*/ 82 w 183"/>
                <a:gd name="T41" fmla="*/ 104 h 193"/>
                <a:gd name="T42" fmla="*/ 82 w 183"/>
                <a:gd name="T43" fmla="*/ 104 h 193"/>
                <a:gd name="T44" fmla="*/ 90 w 183"/>
                <a:gd name="T45" fmla="*/ 131 h 193"/>
                <a:gd name="T46" fmla="*/ 87 w 183"/>
                <a:gd name="T47" fmla="*/ 131 h 193"/>
                <a:gd name="T48" fmla="*/ 86 w 183"/>
                <a:gd name="T49" fmla="*/ 130 h 193"/>
                <a:gd name="T50" fmla="*/ 86 w 183"/>
                <a:gd name="T51" fmla="*/ 129 h 193"/>
                <a:gd name="T52" fmla="*/ 85 w 183"/>
                <a:gd name="T53" fmla="*/ 108 h 193"/>
                <a:gd name="T54" fmla="*/ 86 w 183"/>
                <a:gd name="T55" fmla="*/ 107 h 193"/>
                <a:gd name="T56" fmla="*/ 87 w 183"/>
                <a:gd name="T57" fmla="*/ 106 h 193"/>
                <a:gd name="T58" fmla="*/ 91 w 183"/>
                <a:gd name="T59" fmla="*/ 124 h 193"/>
                <a:gd name="T60" fmla="*/ 3 w 183"/>
                <a:gd name="T61" fmla="*/ 113 h 193"/>
                <a:gd name="T62" fmla="*/ 1 w 183"/>
                <a:gd name="T63" fmla="*/ 115 h 193"/>
                <a:gd name="T64" fmla="*/ 0 w 183"/>
                <a:gd name="T65" fmla="*/ 117 h 193"/>
                <a:gd name="T66" fmla="*/ 0 w 183"/>
                <a:gd name="T67" fmla="*/ 138 h 193"/>
                <a:gd name="T68" fmla="*/ 1 w 183"/>
                <a:gd name="T69" fmla="*/ 141 h 193"/>
                <a:gd name="T70" fmla="*/ 3 w 183"/>
                <a:gd name="T71" fmla="*/ 143 h 193"/>
                <a:gd name="T72" fmla="*/ 7 w 183"/>
                <a:gd name="T73" fmla="*/ 144 h 193"/>
                <a:gd name="T74" fmla="*/ 14 w 183"/>
                <a:gd name="T75" fmla="*/ 140 h 193"/>
                <a:gd name="T76" fmla="*/ 83 w 183"/>
                <a:gd name="T77" fmla="*/ 188 h 193"/>
                <a:gd name="T78" fmla="*/ 83 w 183"/>
                <a:gd name="T79" fmla="*/ 190 h 193"/>
                <a:gd name="T80" fmla="*/ 87 w 183"/>
                <a:gd name="T81" fmla="*/ 193 h 193"/>
                <a:gd name="T82" fmla="*/ 90 w 183"/>
                <a:gd name="T83" fmla="*/ 193 h 193"/>
                <a:gd name="T84" fmla="*/ 100 w 183"/>
                <a:gd name="T85" fmla="*/ 191 h 193"/>
                <a:gd name="T86" fmla="*/ 85 w 183"/>
                <a:gd name="T87" fmla="*/ 167 h 193"/>
                <a:gd name="T88" fmla="*/ 86 w 183"/>
                <a:gd name="T89" fmla="*/ 166 h 193"/>
                <a:gd name="T90" fmla="*/ 87 w 183"/>
                <a:gd name="T91" fmla="*/ 165 h 193"/>
                <a:gd name="T92" fmla="*/ 96 w 183"/>
                <a:gd name="T93" fmla="*/ 166 h 193"/>
                <a:gd name="T94" fmla="*/ 96 w 183"/>
                <a:gd name="T95" fmla="*/ 186 h 193"/>
                <a:gd name="T96" fmla="*/ 88 w 183"/>
                <a:gd name="T97" fmla="*/ 190 h 193"/>
                <a:gd name="T98" fmla="*/ 86 w 183"/>
                <a:gd name="T99" fmla="*/ 189 h 193"/>
                <a:gd name="T100" fmla="*/ 86 w 183"/>
                <a:gd name="T101" fmla="*/ 188 h 193"/>
                <a:gd name="T102" fmla="*/ 85 w 183"/>
                <a:gd name="T103" fmla="*/ 167 h 193"/>
                <a:gd name="T104" fmla="*/ 57 w 183"/>
                <a:gd name="T105" fmla="*/ 141 h 193"/>
                <a:gd name="T106" fmla="*/ 57 w 183"/>
                <a:gd name="T107" fmla="*/ 152 h 193"/>
                <a:gd name="T108" fmla="*/ 11 w 183"/>
                <a:gd name="T109" fmla="*/ 132 h 193"/>
                <a:gd name="T110" fmla="*/ 7 w 183"/>
                <a:gd name="T111" fmla="*/ 141 h 193"/>
                <a:gd name="T112" fmla="*/ 4 w 183"/>
                <a:gd name="T113" fmla="*/ 141 h 193"/>
                <a:gd name="T114" fmla="*/ 3 w 183"/>
                <a:gd name="T115" fmla="*/ 140 h 193"/>
                <a:gd name="T116" fmla="*/ 3 w 183"/>
                <a:gd name="T117" fmla="*/ 138 h 193"/>
                <a:gd name="T118" fmla="*/ 3 w 183"/>
                <a:gd name="T119" fmla="*/ 118 h 193"/>
                <a:gd name="T120" fmla="*/ 4 w 183"/>
                <a:gd name="T121" fmla="*/ 116 h 193"/>
                <a:gd name="T122" fmla="*/ 11 w 183"/>
                <a:gd name="T123" fmla="*/ 11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3" h="193">
                  <a:moveTo>
                    <a:pt x="101" y="191"/>
                  </a:moveTo>
                  <a:cubicBezTo>
                    <a:pt x="183" y="134"/>
                    <a:pt x="183" y="134"/>
                    <a:pt x="183" y="134"/>
                  </a:cubicBezTo>
                  <a:cubicBezTo>
                    <a:pt x="183" y="106"/>
                    <a:pt x="183" y="106"/>
                    <a:pt x="183" y="106"/>
                  </a:cubicBezTo>
                  <a:cubicBezTo>
                    <a:pt x="159" y="92"/>
                    <a:pt x="159" y="92"/>
                    <a:pt x="159" y="92"/>
                  </a:cubicBezTo>
                  <a:cubicBezTo>
                    <a:pt x="183" y="77"/>
                    <a:pt x="183" y="77"/>
                    <a:pt x="183" y="77"/>
                  </a:cubicBezTo>
                  <a:cubicBezTo>
                    <a:pt x="183" y="47"/>
                    <a:pt x="183" y="47"/>
                    <a:pt x="183" y="47"/>
                  </a:cubicBezTo>
                  <a:cubicBezTo>
                    <a:pt x="102" y="0"/>
                    <a:pt x="102" y="0"/>
                    <a:pt x="102" y="0"/>
                  </a:cubicBezTo>
                  <a:cubicBezTo>
                    <a:pt x="21" y="47"/>
                    <a:pt x="21" y="47"/>
                    <a:pt x="21" y="47"/>
                  </a:cubicBezTo>
                  <a:cubicBezTo>
                    <a:pt x="107" y="96"/>
                    <a:pt x="107" y="96"/>
                    <a:pt x="107" y="96"/>
                  </a:cubicBezTo>
                  <a:cubicBezTo>
                    <a:pt x="107" y="122"/>
                    <a:pt x="107" y="122"/>
                    <a:pt x="107" y="122"/>
                  </a:cubicBezTo>
                  <a:cubicBezTo>
                    <a:pt x="101" y="132"/>
                    <a:pt x="101" y="132"/>
                    <a:pt x="101" y="132"/>
                  </a:cubicBezTo>
                  <a:cubicBezTo>
                    <a:pt x="101" y="99"/>
                    <a:pt x="101" y="99"/>
                    <a:pt x="101" y="99"/>
                  </a:cubicBezTo>
                  <a:cubicBezTo>
                    <a:pt x="67" y="80"/>
                    <a:pt x="67" y="80"/>
                    <a:pt x="67" y="80"/>
                  </a:cubicBezTo>
                  <a:cubicBezTo>
                    <a:pt x="7" y="46"/>
                    <a:pt x="7" y="46"/>
                    <a:pt x="7" y="46"/>
                  </a:cubicBezTo>
                  <a:cubicBezTo>
                    <a:pt x="7" y="52"/>
                    <a:pt x="7" y="52"/>
                    <a:pt x="7" y="52"/>
                  </a:cubicBezTo>
                  <a:cubicBezTo>
                    <a:pt x="3" y="54"/>
                    <a:pt x="3" y="54"/>
                    <a:pt x="3" y="54"/>
                  </a:cubicBezTo>
                  <a:cubicBezTo>
                    <a:pt x="3" y="55"/>
                    <a:pt x="3" y="55"/>
                    <a:pt x="3" y="55"/>
                  </a:cubicBezTo>
                  <a:cubicBezTo>
                    <a:pt x="3" y="55"/>
                    <a:pt x="3" y="55"/>
                    <a:pt x="3" y="55"/>
                  </a:cubicBezTo>
                  <a:cubicBezTo>
                    <a:pt x="3" y="55"/>
                    <a:pt x="2" y="55"/>
                    <a:pt x="2" y="55"/>
                  </a:cubicBezTo>
                  <a:cubicBezTo>
                    <a:pt x="2" y="55"/>
                    <a:pt x="2" y="55"/>
                    <a:pt x="2" y="55"/>
                  </a:cubicBezTo>
                  <a:cubicBezTo>
                    <a:pt x="2" y="55"/>
                    <a:pt x="2" y="56"/>
                    <a:pt x="2" y="56"/>
                  </a:cubicBezTo>
                  <a:cubicBezTo>
                    <a:pt x="1" y="56"/>
                    <a:pt x="1" y="56"/>
                    <a:pt x="1" y="56"/>
                  </a:cubicBezTo>
                  <a:cubicBezTo>
                    <a:pt x="1" y="56"/>
                    <a:pt x="1" y="56"/>
                    <a:pt x="1" y="56"/>
                  </a:cubicBezTo>
                  <a:cubicBezTo>
                    <a:pt x="1" y="57"/>
                    <a:pt x="1" y="57"/>
                    <a:pt x="1" y="57"/>
                  </a:cubicBezTo>
                  <a:cubicBezTo>
                    <a:pt x="1" y="57"/>
                    <a:pt x="1" y="57"/>
                    <a:pt x="1" y="57"/>
                  </a:cubicBezTo>
                  <a:cubicBezTo>
                    <a:pt x="1" y="57"/>
                    <a:pt x="1" y="57"/>
                    <a:pt x="1" y="57"/>
                  </a:cubicBezTo>
                  <a:cubicBezTo>
                    <a:pt x="1" y="57"/>
                    <a:pt x="0" y="57"/>
                    <a:pt x="0" y="58"/>
                  </a:cubicBezTo>
                  <a:cubicBezTo>
                    <a:pt x="0" y="58"/>
                    <a:pt x="0" y="58"/>
                    <a:pt x="0" y="58"/>
                  </a:cubicBezTo>
                  <a:cubicBezTo>
                    <a:pt x="0" y="58"/>
                    <a:pt x="0" y="58"/>
                    <a:pt x="0" y="59"/>
                  </a:cubicBezTo>
                  <a:cubicBezTo>
                    <a:pt x="0" y="59"/>
                    <a:pt x="0" y="59"/>
                    <a:pt x="0" y="59"/>
                  </a:cubicBezTo>
                  <a:cubicBezTo>
                    <a:pt x="0" y="59"/>
                    <a:pt x="0" y="59"/>
                    <a:pt x="0" y="59"/>
                  </a:cubicBezTo>
                  <a:cubicBezTo>
                    <a:pt x="0" y="79"/>
                    <a:pt x="0" y="79"/>
                    <a:pt x="0" y="79"/>
                  </a:cubicBezTo>
                  <a:cubicBezTo>
                    <a:pt x="0" y="80"/>
                    <a:pt x="0" y="80"/>
                    <a:pt x="0" y="80"/>
                  </a:cubicBezTo>
                  <a:cubicBezTo>
                    <a:pt x="0" y="80"/>
                    <a:pt x="0" y="80"/>
                    <a:pt x="0" y="80"/>
                  </a:cubicBezTo>
                  <a:cubicBezTo>
                    <a:pt x="0" y="80"/>
                    <a:pt x="0" y="80"/>
                    <a:pt x="0" y="80"/>
                  </a:cubicBezTo>
                  <a:cubicBezTo>
                    <a:pt x="0" y="80"/>
                    <a:pt x="0" y="81"/>
                    <a:pt x="0" y="81"/>
                  </a:cubicBezTo>
                  <a:cubicBezTo>
                    <a:pt x="0" y="81"/>
                    <a:pt x="0" y="81"/>
                    <a:pt x="0" y="81"/>
                  </a:cubicBezTo>
                  <a:cubicBezTo>
                    <a:pt x="0" y="82"/>
                    <a:pt x="1" y="82"/>
                    <a:pt x="1" y="82"/>
                  </a:cubicBezTo>
                  <a:cubicBezTo>
                    <a:pt x="1" y="82"/>
                    <a:pt x="1" y="82"/>
                    <a:pt x="1" y="82"/>
                  </a:cubicBezTo>
                  <a:cubicBezTo>
                    <a:pt x="1" y="82"/>
                    <a:pt x="1" y="82"/>
                    <a:pt x="1" y="82"/>
                  </a:cubicBezTo>
                  <a:cubicBezTo>
                    <a:pt x="1" y="82"/>
                    <a:pt x="1" y="82"/>
                    <a:pt x="1" y="82"/>
                  </a:cubicBezTo>
                  <a:cubicBezTo>
                    <a:pt x="1" y="83"/>
                    <a:pt x="1" y="83"/>
                    <a:pt x="2" y="83"/>
                  </a:cubicBezTo>
                  <a:cubicBezTo>
                    <a:pt x="2" y="84"/>
                    <a:pt x="2" y="84"/>
                    <a:pt x="3" y="84"/>
                  </a:cubicBezTo>
                  <a:cubicBezTo>
                    <a:pt x="3" y="84"/>
                    <a:pt x="3" y="84"/>
                    <a:pt x="3" y="84"/>
                  </a:cubicBezTo>
                  <a:cubicBezTo>
                    <a:pt x="3" y="85"/>
                    <a:pt x="4" y="85"/>
                    <a:pt x="4" y="85"/>
                  </a:cubicBezTo>
                  <a:cubicBezTo>
                    <a:pt x="4" y="85"/>
                    <a:pt x="4" y="85"/>
                    <a:pt x="4" y="85"/>
                  </a:cubicBezTo>
                  <a:cubicBezTo>
                    <a:pt x="5" y="85"/>
                    <a:pt x="5" y="85"/>
                    <a:pt x="6" y="85"/>
                  </a:cubicBezTo>
                  <a:cubicBezTo>
                    <a:pt x="6" y="85"/>
                    <a:pt x="7" y="85"/>
                    <a:pt x="7" y="85"/>
                  </a:cubicBezTo>
                  <a:cubicBezTo>
                    <a:pt x="7" y="85"/>
                    <a:pt x="7" y="85"/>
                    <a:pt x="7" y="85"/>
                  </a:cubicBezTo>
                  <a:cubicBezTo>
                    <a:pt x="8" y="85"/>
                    <a:pt x="8" y="85"/>
                    <a:pt x="8" y="84"/>
                  </a:cubicBezTo>
                  <a:cubicBezTo>
                    <a:pt x="9" y="84"/>
                    <a:pt x="9" y="84"/>
                    <a:pt x="9" y="84"/>
                  </a:cubicBezTo>
                  <a:cubicBezTo>
                    <a:pt x="9" y="84"/>
                    <a:pt x="9" y="84"/>
                    <a:pt x="9" y="84"/>
                  </a:cubicBezTo>
                  <a:cubicBezTo>
                    <a:pt x="14" y="82"/>
                    <a:pt x="14" y="82"/>
                    <a:pt x="14" y="82"/>
                  </a:cubicBezTo>
                  <a:cubicBezTo>
                    <a:pt x="38" y="96"/>
                    <a:pt x="38" y="96"/>
                    <a:pt x="38" y="96"/>
                  </a:cubicBezTo>
                  <a:cubicBezTo>
                    <a:pt x="21" y="106"/>
                    <a:pt x="21" y="106"/>
                    <a:pt x="21" y="106"/>
                  </a:cubicBezTo>
                  <a:cubicBezTo>
                    <a:pt x="107" y="155"/>
                    <a:pt x="107" y="155"/>
                    <a:pt x="107" y="155"/>
                  </a:cubicBezTo>
                  <a:cubicBezTo>
                    <a:pt x="107" y="180"/>
                    <a:pt x="107" y="180"/>
                    <a:pt x="107" y="180"/>
                  </a:cubicBezTo>
                  <a:lnTo>
                    <a:pt x="101" y="191"/>
                  </a:lnTo>
                  <a:close/>
                  <a:moveTo>
                    <a:pt x="11" y="73"/>
                  </a:moveTo>
                  <a:cubicBezTo>
                    <a:pt x="12" y="72"/>
                    <a:pt x="14" y="73"/>
                    <a:pt x="15" y="74"/>
                  </a:cubicBezTo>
                  <a:cubicBezTo>
                    <a:pt x="16" y="76"/>
                    <a:pt x="15" y="78"/>
                    <a:pt x="14" y="78"/>
                  </a:cubicBezTo>
                  <a:cubicBezTo>
                    <a:pt x="7" y="82"/>
                    <a:pt x="7" y="82"/>
                    <a:pt x="7" y="82"/>
                  </a:cubicBezTo>
                  <a:cubicBezTo>
                    <a:pt x="7" y="82"/>
                    <a:pt x="7" y="82"/>
                    <a:pt x="7" y="82"/>
                  </a:cubicBezTo>
                  <a:cubicBezTo>
                    <a:pt x="7" y="82"/>
                    <a:pt x="7" y="82"/>
                    <a:pt x="7" y="82"/>
                  </a:cubicBezTo>
                  <a:cubicBezTo>
                    <a:pt x="7" y="82"/>
                    <a:pt x="6" y="82"/>
                    <a:pt x="6" y="82"/>
                  </a:cubicBezTo>
                  <a:cubicBezTo>
                    <a:pt x="6" y="82"/>
                    <a:pt x="6" y="82"/>
                    <a:pt x="6" y="82"/>
                  </a:cubicBezTo>
                  <a:cubicBezTo>
                    <a:pt x="6" y="82"/>
                    <a:pt x="5" y="82"/>
                    <a:pt x="5" y="82"/>
                  </a:cubicBezTo>
                  <a:cubicBezTo>
                    <a:pt x="5" y="82"/>
                    <a:pt x="5" y="82"/>
                    <a:pt x="5" y="82"/>
                  </a:cubicBezTo>
                  <a:cubicBezTo>
                    <a:pt x="5" y="82"/>
                    <a:pt x="5" y="82"/>
                    <a:pt x="4" y="82"/>
                  </a:cubicBezTo>
                  <a:cubicBezTo>
                    <a:pt x="4" y="82"/>
                    <a:pt x="4" y="82"/>
                    <a:pt x="4" y="82"/>
                  </a:cubicBezTo>
                  <a:cubicBezTo>
                    <a:pt x="4" y="82"/>
                    <a:pt x="4" y="82"/>
                    <a:pt x="4" y="81"/>
                  </a:cubicBezTo>
                  <a:cubicBezTo>
                    <a:pt x="4" y="81"/>
                    <a:pt x="4" y="81"/>
                    <a:pt x="4" y="81"/>
                  </a:cubicBezTo>
                  <a:cubicBezTo>
                    <a:pt x="4" y="81"/>
                    <a:pt x="3" y="81"/>
                    <a:pt x="3" y="81"/>
                  </a:cubicBezTo>
                  <a:cubicBezTo>
                    <a:pt x="3" y="81"/>
                    <a:pt x="3" y="81"/>
                    <a:pt x="3" y="81"/>
                  </a:cubicBezTo>
                  <a:cubicBezTo>
                    <a:pt x="3" y="81"/>
                    <a:pt x="3" y="81"/>
                    <a:pt x="3" y="81"/>
                  </a:cubicBezTo>
                  <a:cubicBezTo>
                    <a:pt x="3" y="81"/>
                    <a:pt x="3" y="80"/>
                    <a:pt x="3" y="80"/>
                  </a:cubicBezTo>
                  <a:cubicBezTo>
                    <a:pt x="3" y="80"/>
                    <a:pt x="3" y="80"/>
                    <a:pt x="3" y="80"/>
                  </a:cubicBezTo>
                  <a:cubicBezTo>
                    <a:pt x="3" y="80"/>
                    <a:pt x="3" y="80"/>
                    <a:pt x="3" y="80"/>
                  </a:cubicBezTo>
                  <a:cubicBezTo>
                    <a:pt x="3" y="80"/>
                    <a:pt x="3" y="80"/>
                    <a:pt x="3" y="79"/>
                  </a:cubicBezTo>
                  <a:cubicBezTo>
                    <a:pt x="3" y="79"/>
                    <a:pt x="3" y="79"/>
                    <a:pt x="3" y="79"/>
                  </a:cubicBezTo>
                  <a:cubicBezTo>
                    <a:pt x="3" y="60"/>
                    <a:pt x="3" y="60"/>
                    <a:pt x="3" y="60"/>
                  </a:cubicBezTo>
                  <a:cubicBezTo>
                    <a:pt x="3" y="59"/>
                    <a:pt x="3" y="59"/>
                    <a:pt x="3" y="59"/>
                  </a:cubicBezTo>
                  <a:cubicBezTo>
                    <a:pt x="3" y="59"/>
                    <a:pt x="3" y="59"/>
                    <a:pt x="3" y="59"/>
                  </a:cubicBezTo>
                  <a:cubicBezTo>
                    <a:pt x="3" y="59"/>
                    <a:pt x="3" y="59"/>
                    <a:pt x="3" y="59"/>
                  </a:cubicBezTo>
                  <a:cubicBezTo>
                    <a:pt x="3" y="59"/>
                    <a:pt x="3" y="59"/>
                    <a:pt x="3" y="59"/>
                  </a:cubicBezTo>
                  <a:cubicBezTo>
                    <a:pt x="3" y="58"/>
                    <a:pt x="3" y="58"/>
                    <a:pt x="3" y="58"/>
                  </a:cubicBezTo>
                  <a:cubicBezTo>
                    <a:pt x="3" y="58"/>
                    <a:pt x="3" y="58"/>
                    <a:pt x="3" y="58"/>
                  </a:cubicBezTo>
                  <a:cubicBezTo>
                    <a:pt x="3" y="58"/>
                    <a:pt x="3" y="58"/>
                    <a:pt x="3" y="58"/>
                  </a:cubicBezTo>
                  <a:cubicBezTo>
                    <a:pt x="4" y="58"/>
                    <a:pt x="4" y="58"/>
                    <a:pt x="4" y="58"/>
                  </a:cubicBezTo>
                  <a:cubicBezTo>
                    <a:pt x="4" y="58"/>
                    <a:pt x="4" y="57"/>
                    <a:pt x="4" y="57"/>
                  </a:cubicBezTo>
                  <a:cubicBezTo>
                    <a:pt x="4" y="57"/>
                    <a:pt x="4" y="57"/>
                    <a:pt x="4" y="57"/>
                  </a:cubicBezTo>
                  <a:cubicBezTo>
                    <a:pt x="4" y="57"/>
                    <a:pt x="4" y="57"/>
                    <a:pt x="4" y="57"/>
                  </a:cubicBezTo>
                  <a:cubicBezTo>
                    <a:pt x="4" y="57"/>
                    <a:pt x="4" y="57"/>
                    <a:pt x="4" y="57"/>
                  </a:cubicBezTo>
                  <a:cubicBezTo>
                    <a:pt x="11" y="53"/>
                    <a:pt x="11" y="53"/>
                    <a:pt x="11" y="53"/>
                  </a:cubicBezTo>
                  <a:cubicBezTo>
                    <a:pt x="12" y="53"/>
                    <a:pt x="14" y="53"/>
                    <a:pt x="15" y="55"/>
                  </a:cubicBezTo>
                  <a:cubicBezTo>
                    <a:pt x="16" y="56"/>
                    <a:pt x="15" y="58"/>
                    <a:pt x="14" y="58"/>
                  </a:cubicBezTo>
                  <a:cubicBezTo>
                    <a:pt x="9" y="61"/>
                    <a:pt x="9" y="61"/>
                    <a:pt x="9" y="61"/>
                  </a:cubicBezTo>
                  <a:cubicBezTo>
                    <a:pt x="9" y="74"/>
                    <a:pt x="9" y="74"/>
                    <a:pt x="9" y="74"/>
                  </a:cubicBezTo>
                  <a:lnTo>
                    <a:pt x="11" y="73"/>
                  </a:lnTo>
                  <a:close/>
                  <a:moveTo>
                    <a:pt x="82" y="115"/>
                  </a:moveTo>
                  <a:cubicBezTo>
                    <a:pt x="57" y="100"/>
                    <a:pt x="57" y="100"/>
                    <a:pt x="57" y="100"/>
                  </a:cubicBezTo>
                  <a:cubicBezTo>
                    <a:pt x="57" y="93"/>
                    <a:pt x="57" y="93"/>
                    <a:pt x="57" y="93"/>
                  </a:cubicBezTo>
                  <a:cubicBezTo>
                    <a:pt x="82" y="108"/>
                    <a:pt x="82" y="108"/>
                    <a:pt x="82" y="108"/>
                  </a:cubicBezTo>
                  <a:lnTo>
                    <a:pt x="82" y="115"/>
                  </a:lnTo>
                  <a:close/>
                  <a:moveTo>
                    <a:pt x="82" y="104"/>
                  </a:moveTo>
                  <a:cubicBezTo>
                    <a:pt x="57" y="89"/>
                    <a:pt x="57" y="89"/>
                    <a:pt x="57" y="89"/>
                  </a:cubicBezTo>
                  <a:cubicBezTo>
                    <a:pt x="57" y="82"/>
                    <a:pt x="57" y="82"/>
                    <a:pt x="57" y="82"/>
                  </a:cubicBezTo>
                  <a:cubicBezTo>
                    <a:pt x="59" y="84"/>
                    <a:pt x="59" y="84"/>
                    <a:pt x="59" y="84"/>
                  </a:cubicBezTo>
                  <a:cubicBezTo>
                    <a:pt x="82" y="97"/>
                    <a:pt x="82" y="97"/>
                    <a:pt x="82" y="97"/>
                  </a:cubicBezTo>
                  <a:lnTo>
                    <a:pt x="82" y="104"/>
                  </a:lnTo>
                  <a:close/>
                  <a:moveTo>
                    <a:pt x="93" y="122"/>
                  </a:moveTo>
                  <a:cubicBezTo>
                    <a:pt x="95" y="122"/>
                    <a:pt x="97" y="122"/>
                    <a:pt x="97" y="123"/>
                  </a:cubicBezTo>
                  <a:cubicBezTo>
                    <a:pt x="98" y="125"/>
                    <a:pt x="98" y="127"/>
                    <a:pt x="96" y="127"/>
                  </a:cubicBezTo>
                  <a:cubicBezTo>
                    <a:pt x="90" y="131"/>
                    <a:pt x="90" y="131"/>
                    <a:pt x="90" y="131"/>
                  </a:cubicBezTo>
                  <a:cubicBezTo>
                    <a:pt x="90" y="131"/>
                    <a:pt x="90" y="131"/>
                    <a:pt x="90" y="131"/>
                  </a:cubicBezTo>
                  <a:cubicBezTo>
                    <a:pt x="89" y="131"/>
                    <a:pt x="89" y="131"/>
                    <a:pt x="89" y="131"/>
                  </a:cubicBezTo>
                  <a:cubicBezTo>
                    <a:pt x="89" y="131"/>
                    <a:pt x="89" y="131"/>
                    <a:pt x="89" y="131"/>
                  </a:cubicBezTo>
                  <a:cubicBezTo>
                    <a:pt x="89" y="131"/>
                    <a:pt x="89" y="131"/>
                    <a:pt x="88" y="131"/>
                  </a:cubicBezTo>
                  <a:cubicBezTo>
                    <a:pt x="88" y="131"/>
                    <a:pt x="88" y="131"/>
                    <a:pt x="88" y="131"/>
                  </a:cubicBezTo>
                  <a:cubicBezTo>
                    <a:pt x="88" y="131"/>
                    <a:pt x="88" y="131"/>
                    <a:pt x="87" y="131"/>
                  </a:cubicBezTo>
                  <a:cubicBezTo>
                    <a:pt x="87" y="131"/>
                    <a:pt x="87" y="131"/>
                    <a:pt x="87" y="131"/>
                  </a:cubicBezTo>
                  <a:cubicBezTo>
                    <a:pt x="87" y="131"/>
                    <a:pt x="87" y="131"/>
                    <a:pt x="87" y="131"/>
                  </a:cubicBezTo>
                  <a:cubicBezTo>
                    <a:pt x="87" y="131"/>
                    <a:pt x="86" y="131"/>
                    <a:pt x="86" y="130"/>
                  </a:cubicBezTo>
                  <a:cubicBezTo>
                    <a:pt x="86" y="130"/>
                    <a:pt x="86" y="130"/>
                    <a:pt x="86" y="130"/>
                  </a:cubicBezTo>
                  <a:cubicBezTo>
                    <a:pt x="86" y="130"/>
                    <a:pt x="86" y="130"/>
                    <a:pt x="86" y="130"/>
                  </a:cubicBezTo>
                  <a:cubicBezTo>
                    <a:pt x="86" y="130"/>
                    <a:pt x="86" y="130"/>
                    <a:pt x="86" y="130"/>
                  </a:cubicBezTo>
                  <a:cubicBezTo>
                    <a:pt x="86" y="130"/>
                    <a:pt x="86" y="130"/>
                    <a:pt x="86" y="130"/>
                  </a:cubicBezTo>
                  <a:cubicBezTo>
                    <a:pt x="86" y="130"/>
                    <a:pt x="86" y="129"/>
                    <a:pt x="86" y="129"/>
                  </a:cubicBezTo>
                  <a:cubicBezTo>
                    <a:pt x="86" y="129"/>
                    <a:pt x="86" y="129"/>
                    <a:pt x="86" y="129"/>
                  </a:cubicBezTo>
                  <a:cubicBezTo>
                    <a:pt x="86" y="129"/>
                    <a:pt x="86" y="129"/>
                    <a:pt x="86" y="129"/>
                  </a:cubicBezTo>
                  <a:cubicBezTo>
                    <a:pt x="85" y="129"/>
                    <a:pt x="85" y="129"/>
                    <a:pt x="85" y="129"/>
                  </a:cubicBezTo>
                  <a:cubicBezTo>
                    <a:pt x="85" y="129"/>
                    <a:pt x="85" y="128"/>
                    <a:pt x="85" y="128"/>
                  </a:cubicBezTo>
                  <a:cubicBezTo>
                    <a:pt x="85" y="109"/>
                    <a:pt x="85" y="109"/>
                    <a:pt x="85" y="109"/>
                  </a:cubicBezTo>
                  <a:cubicBezTo>
                    <a:pt x="85" y="109"/>
                    <a:pt x="85" y="108"/>
                    <a:pt x="85" y="108"/>
                  </a:cubicBezTo>
                  <a:cubicBezTo>
                    <a:pt x="85" y="108"/>
                    <a:pt x="85" y="108"/>
                    <a:pt x="85" y="108"/>
                  </a:cubicBezTo>
                  <a:cubicBezTo>
                    <a:pt x="86" y="108"/>
                    <a:pt x="86" y="108"/>
                    <a:pt x="86" y="108"/>
                  </a:cubicBezTo>
                  <a:cubicBezTo>
                    <a:pt x="86" y="108"/>
                    <a:pt x="86" y="108"/>
                    <a:pt x="86" y="108"/>
                  </a:cubicBezTo>
                  <a:cubicBezTo>
                    <a:pt x="86" y="108"/>
                    <a:pt x="86" y="107"/>
                    <a:pt x="86" y="107"/>
                  </a:cubicBezTo>
                  <a:cubicBezTo>
                    <a:pt x="86" y="107"/>
                    <a:pt x="86" y="107"/>
                    <a:pt x="86" y="107"/>
                  </a:cubicBezTo>
                  <a:cubicBezTo>
                    <a:pt x="86" y="107"/>
                    <a:pt x="86" y="107"/>
                    <a:pt x="86" y="107"/>
                  </a:cubicBezTo>
                  <a:cubicBezTo>
                    <a:pt x="86" y="107"/>
                    <a:pt x="86" y="107"/>
                    <a:pt x="86" y="107"/>
                  </a:cubicBezTo>
                  <a:cubicBezTo>
                    <a:pt x="86" y="107"/>
                    <a:pt x="86" y="107"/>
                    <a:pt x="86" y="106"/>
                  </a:cubicBezTo>
                  <a:cubicBezTo>
                    <a:pt x="86" y="106"/>
                    <a:pt x="87" y="106"/>
                    <a:pt x="87" y="106"/>
                  </a:cubicBezTo>
                  <a:cubicBezTo>
                    <a:pt x="87" y="106"/>
                    <a:pt x="87" y="106"/>
                    <a:pt x="87" y="106"/>
                  </a:cubicBezTo>
                  <a:cubicBezTo>
                    <a:pt x="87" y="106"/>
                    <a:pt x="87" y="106"/>
                    <a:pt x="87" y="106"/>
                  </a:cubicBezTo>
                  <a:cubicBezTo>
                    <a:pt x="93" y="102"/>
                    <a:pt x="93" y="102"/>
                    <a:pt x="93" y="102"/>
                  </a:cubicBezTo>
                  <a:cubicBezTo>
                    <a:pt x="95" y="102"/>
                    <a:pt x="97" y="102"/>
                    <a:pt x="97" y="104"/>
                  </a:cubicBezTo>
                  <a:cubicBezTo>
                    <a:pt x="98" y="105"/>
                    <a:pt x="98" y="107"/>
                    <a:pt x="96" y="107"/>
                  </a:cubicBezTo>
                  <a:cubicBezTo>
                    <a:pt x="91" y="110"/>
                    <a:pt x="91" y="110"/>
                    <a:pt x="91" y="110"/>
                  </a:cubicBezTo>
                  <a:cubicBezTo>
                    <a:pt x="91" y="124"/>
                    <a:pt x="91" y="124"/>
                    <a:pt x="91" y="124"/>
                  </a:cubicBezTo>
                  <a:lnTo>
                    <a:pt x="93" y="122"/>
                  </a:lnTo>
                  <a:close/>
                  <a:moveTo>
                    <a:pt x="7" y="111"/>
                  </a:moveTo>
                  <a:cubicBezTo>
                    <a:pt x="3" y="113"/>
                    <a:pt x="3" y="113"/>
                    <a:pt x="3" y="113"/>
                  </a:cubicBezTo>
                  <a:cubicBezTo>
                    <a:pt x="3" y="113"/>
                    <a:pt x="3" y="113"/>
                    <a:pt x="3" y="113"/>
                  </a:cubicBezTo>
                  <a:cubicBezTo>
                    <a:pt x="3" y="113"/>
                    <a:pt x="3" y="113"/>
                    <a:pt x="3" y="113"/>
                  </a:cubicBezTo>
                  <a:cubicBezTo>
                    <a:pt x="3" y="113"/>
                    <a:pt x="2" y="114"/>
                    <a:pt x="2" y="114"/>
                  </a:cubicBezTo>
                  <a:cubicBezTo>
                    <a:pt x="2" y="114"/>
                    <a:pt x="2" y="114"/>
                    <a:pt x="2" y="114"/>
                  </a:cubicBezTo>
                  <a:cubicBezTo>
                    <a:pt x="2" y="114"/>
                    <a:pt x="2" y="114"/>
                    <a:pt x="2" y="114"/>
                  </a:cubicBezTo>
                  <a:cubicBezTo>
                    <a:pt x="1" y="115"/>
                    <a:pt x="1" y="115"/>
                    <a:pt x="1" y="115"/>
                  </a:cubicBezTo>
                  <a:cubicBezTo>
                    <a:pt x="1" y="115"/>
                    <a:pt x="1" y="115"/>
                    <a:pt x="1" y="115"/>
                  </a:cubicBezTo>
                  <a:cubicBezTo>
                    <a:pt x="1" y="115"/>
                    <a:pt x="1" y="115"/>
                    <a:pt x="1" y="115"/>
                  </a:cubicBezTo>
                  <a:cubicBezTo>
                    <a:pt x="1" y="115"/>
                    <a:pt x="1" y="115"/>
                    <a:pt x="1" y="115"/>
                  </a:cubicBezTo>
                  <a:cubicBezTo>
                    <a:pt x="1" y="116"/>
                    <a:pt x="1" y="116"/>
                    <a:pt x="1" y="116"/>
                  </a:cubicBezTo>
                  <a:cubicBezTo>
                    <a:pt x="1" y="116"/>
                    <a:pt x="0" y="116"/>
                    <a:pt x="0" y="116"/>
                  </a:cubicBezTo>
                  <a:cubicBezTo>
                    <a:pt x="0" y="117"/>
                    <a:pt x="0" y="117"/>
                    <a:pt x="0" y="117"/>
                  </a:cubicBezTo>
                  <a:cubicBezTo>
                    <a:pt x="0" y="117"/>
                    <a:pt x="0" y="117"/>
                    <a:pt x="0" y="117"/>
                  </a:cubicBezTo>
                  <a:cubicBezTo>
                    <a:pt x="0" y="118"/>
                    <a:pt x="0" y="118"/>
                    <a:pt x="0" y="118"/>
                  </a:cubicBezTo>
                  <a:cubicBezTo>
                    <a:pt x="0" y="118"/>
                    <a:pt x="0" y="118"/>
                    <a:pt x="0" y="118"/>
                  </a:cubicBezTo>
                  <a:cubicBezTo>
                    <a:pt x="0" y="138"/>
                    <a:pt x="0" y="138"/>
                    <a:pt x="0" y="138"/>
                  </a:cubicBezTo>
                  <a:cubicBezTo>
                    <a:pt x="0" y="138"/>
                    <a:pt x="0" y="138"/>
                    <a:pt x="0" y="138"/>
                  </a:cubicBezTo>
                  <a:cubicBezTo>
                    <a:pt x="0" y="138"/>
                    <a:pt x="0" y="138"/>
                    <a:pt x="0" y="138"/>
                  </a:cubicBezTo>
                  <a:cubicBezTo>
                    <a:pt x="0" y="139"/>
                    <a:pt x="0" y="139"/>
                    <a:pt x="0" y="139"/>
                  </a:cubicBezTo>
                  <a:cubicBezTo>
                    <a:pt x="0" y="139"/>
                    <a:pt x="0" y="139"/>
                    <a:pt x="0" y="140"/>
                  </a:cubicBezTo>
                  <a:cubicBezTo>
                    <a:pt x="0" y="140"/>
                    <a:pt x="0" y="140"/>
                    <a:pt x="0" y="140"/>
                  </a:cubicBezTo>
                  <a:cubicBezTo>
                    <a:pt x="0" y="140"/>
                    <a:pt x="1" y="140"/>
                    <a:pt x="1" y="141"/>
                  </a:cubicBezTo>
                  <a:cubicBezTo>
                    <a:pt x="1" y="141"/>
                    <a:pt x="1" y="141"/>
                    <a:pt x="1" y="141"/>
                  </a:cubicBezTo>
                  <a:cubicBezTo>
                    <a:pt x="1" y="141"/>
                    <a:pt x="1" y="141"/>
                    <a:pt x="1" y="141"/>
                  </a:cubicBezTo>
                  <a:cubicBezTo>
                    <a:pt x="1" y="141"/>
                    <a:pt x="1" y="141"/>
                    <a:pt x="1" y="141"/>
                  </a:cubicBezTo>
                  <a:cubicBezTo>
                    <a:pt x="1" y="141"/>
                    <a:pt x="1" y="142"/>
                    <a:pt x="2" y="142"/>
                  </a:cubicBezTo>
                  <a:cubicBezTo>
                    <a:pt x="2" y="142"/>
                    <a:pt x="2" y="143"/>
                    <a:pt x="3" y="143"/>
                  </a:cubicBezTo>
                  <a:cubicBezTo>
                    <a:pt x="3" y="143"/>
                    <a:pt x="3" y="143"/>
                    <a:pt x="3" y="143"/>
                  </a:cubicBezTo>
                  <a:cubicBezTo>
                    <a:pt x="3" y="143"/>
                    <a:pt x="4" y="144"/>
                    <a:pt x="4" y="144"/>
                  </a:cubicBezTo>
                  <a:cubicBezTo>
                    <a:pt x="4" y="144"/>
                    <a:pt x="4" y="144"/>
                    <a:pt x="4" y="144"/>
                  </a:cubicBezTo>
                  <a:cubicBezTo>
                    <a:pt x="5" y="144"/>
                    <a:pt x="5" y="144"/>
                    <a:pt x="6" y="144"/>
                  </a:cubicBezTo>
                  <a:cubicBezTo>
                    <a:pt x="6" y="144"/>
                    <a:pt x="7" y="144"/>
                    <a:pt x="7" y="144"/>
                  </a:cubicBezTo>
                  <a:cubicBezTo>
                    <a:pt x="7" y="144"/>
                    <a:pt x="7" y="144"/>
                    <a:pt x="7" y="144"/>
                  </a:cubicBezTo>
                  <a:cubicBezTo>
                    <a:pt x="8" y="144"/>
                    <a:pt x="8" y="143"/>
                    <a:pt x="8" y="143"/>
                  </a:cubicBezTo>
                  <a:cubicBezTo>
                    <a:pt x="9" y="143"/>
                    <a:pt x="9" y="143"/>
                    <a:pt x="9" y="143"/>
                  </a:cubicBezTo>
                  <a:cubicBezTo>
                    <a:pt x="9" y="143"/>
                    <a:pt x="9" y="143"/>
                    <a:pt x="9" y="143"/>
                  </a:cubicBezTo>
                  <a:cubicBezTo>
                    <a:pt x="14" y="140"/>
                    <a:pt x="14" y="140"/>
                    <a:pt x="14" y="140"/>
                  </a:cubicBezTo>
                  <a:cubicBezTo>
                    <a:pt x="83" y="181"/>
                    <a:pt x="83" y="181"/>
                    <a:pt x="83" y="181"/>
                  </a:cubicBezTo>
                  <a:cubicBezTo>
                    <a:pt x="83" y="187"/>
                    <a:pt x="83" y="187"/>
                    <a:pt x="83" y="187"/>
                  </a:cubicBezTo>
                  <a:cubicBezTo>
                    <a:pt x="83" y="187"/>
                    <a:pt x="83" y="187"/>
                    <a:pt x="83" y="187"/>
                  </a:cubicBezTo>
                  <a:cubicBezTo>
                    <a:pt x="83" y="187"/>
                    <a:pt x="83" y="187"/>
                    <a:pt x="83" y="187"/>
                  </a:cubicBezTo>
                  <a:cubicBezTo>
                    <a:pt x="83" y="188"/>
                    <a:pt x="83" y="188"/>
                    <a:pt x="83" y="188"/>
                  </a:cubicBezTo>
                  <a:cubicBezTo>
                    <a:pt x="83" y="188"/>
                    <a:pt x="83" y="188"/>
                    <a:pt x="83" y="189"/>
                  </a:cubicBezTo>
                  <a:cubicBezTo>
                    <a:pt x="83" y="189"/>
                    <a:pt x="83" y="189"/>
                    <a:pt x="83" y="189"/>
                  </a:cubicBezTo>
                  <a:cubicBezTo>
                    <a:pt x="83" y="189"/>
                    <a:pt x="83" y="189"/>
                    <a:pt x="83" y="190"/>
                  </a:cubicBezTo>
                  <a:cubicBezTo>
                    <a:pt x="83" y="190"/>
                    <a:pt x="83" y="190"/>
                    <a:pt x="83" y="190"/>
                  </a:cubicBezTo>
                  <a:cubicBezTo>
                    <a:pt x="83" y="190"/>
                    <a:pt x="83" y="190"/>
                    <a:pt x="83" y="190"/>
                  </a:cubicBezTo>
                  <a:cubicBezTo>
                    <a:pt x="83" y="190"/>
                    <a:pt x="83" y="190"/>
                    <a:pt x="83" y="190"/>
                  </a:cubicBezTo>
                  <a:cubicBezTo>
                    <a:pt x="84" y="191"/>
                    <a:pt x="84" y="191"/>
                    <a:pt x="84" y="191"/>
                  </a:cubicBezTo>
                  <a:cubicBezTo>
                    <a:pt x="85" y="192"/>
                    <a:pt x="85" y="192"/>
                    <a:pt x="85" y="192"/>
                  </a:cubicBezTo>
                  <a:cubicBezTo>
                    <a:pt x="86" y="192"/>
                    <a:pt x="86" y="192"/>
                    <a:pt x="86" y="192"/>
                  </a:cubicBezTo>
                  <a:cubicBezTo>
                    <a:pt x="86" y="192"/>
                    <a:pt x="86" y="193"/>
                    <a:pt x="87" y="193"/>
                  </a:cubicBezTo>
                  <a:cubicBezTo>
                    <a:pt x="87" y="193"/>
                    <a:pt x="87" y="193"/>
                    <a:pt x="87" y="193"/>
                  </a:cubicBezTo>
                  <a:cubicBezTo>
                    <a:pt x="87" y="193"/>
                    <a:pt x="87" y="193"/>
                    <a:pt x="87" y="193"/>
                  </a:cubicBezTo>
                  <a:cubicBezTo>
                    <a:pt x="87" y="193"/>
                    <a:pt x="88" y="193"/>
                    <a:pt x="88" y="193"/>
                  </a:cubicBezTo>
                  <a:cubicBezTo>
                    <a:pt x="89" y="193"/>
                    <a:pt x="89" y="193"/>
                    <a:pt x="90" y="193"/>
                  </a:cubicBezTo>
                  <a:cubicBezTo>
                    <a:pt x="90" y="193"/>
                    <a:pt x="90" y="193"/>
                    <a:pt x="90" y="193"/>
                  </a:cubicBezTo>
                  <a:cubicBezTo>
                    <a:pt x="90" y="193"/>
                    <a:pt x="91" y="192"/>
                    <a:pt x="91" y="192"/>
                  </a:cubicBezTo>
                  <a:cubicBezTo>
                    <a:pt x="91" y="192"/>
                    <a:pt x="91" y="192"/>
                    <a:pt x="91" y="192"/>
                  </a:cubicBezTo>
                  <a:cubicBezTo>
                    <a:pt x="91" y="192"/>
                    <a:pt x="91" y="192"/>
                    <a:pt x="91" y="192"/>
                  </a:cubicBezTo>
                  <a:cubicBezTo>
                    <a:pt x="97" y="189"/>
                    <a:pt x="97" y="189"/>
                    <a:pt x="97" y="189"/>
                  </a:cubicBezTo>
                  <a:cubicBezTo>
                    <a:pt x="100" y="191"/>
                    <a:pt x="100" y="191"/>
                    <a:pt x="100" y="191"/>
                  </a:cubicBezTo>
                  <a:cubicBezTo>
                    <a:pt x="101" y="191"/>
                    <a:pt x="101" y="191"/>
                    <a:pt x="101" y="191"/>
                  </a:cubicBezTo>
                  <a:cubicBezTo>
                    <a:pt x="101" y="158"/>
                    <a:pt x="101" y="158"/>
                    <a:pt x="101" y="158"/>
                  </a:cubicBezTo>
                  <a:cubicBezTo>
                    <a:pt x="7" y="104"/>
                    <a:pt x="7" y="104"/>
                    <a:pt x="7" y="104"/>
                  </a:cubicBezTo>
                  <a:lnTo>
                    <a:pt x="7" y="111"/>
                  </a:lnTo>
                  <a:close/>
                  <a:moveTo>
                    <a:pt x="85" y="167"/>
                  </a:moveTo>
                  <a:cubicBezTo>
                    <a:pt x="85" y="167"/>
                    <a:pt x="85" y="167"/>
                    <a:pt x="85" y="167"/>
                  </a:cubicBezTo>
                  <a:cubicBezTo>
                    <a:pt x="85" y="167"/>
                    <a:pt x="85" y="167"/>
                    <a:pt x="85" y="167"/>
                  </a:cubicBezTo>
                  <a:cubicBezTo>
                    <a:pt x="86" y="167"/>
                    <a:pt x="86" y="167"/>
                    <a:pt x="86" y="167"/>
                  </a:cubicBezTo>
                  <a:cubicBezTo>
                    <a:pt x="86" y="167"/>
                    <a:pt x="86" y="166"/>
                    <a:pt x="86" y="166"/>
                  </a:cubicBezTo>
                  <a:cubicBezTo>
                    <a:pt x="86" y="166"/>
                    <a:pt x="86" y="166"/>
                    <a:pt x="86" y="166"/>
                  </a:cubicBezTo>
                  <a:cubicBezTo>
                    <a:pt x="86" y="166"/>
                    <a:pt x="86" y="166"/>
                    <a:pt x="86" y="166"/>
                  </a:cubicBezTo>
                  <a:cubicBezTo>
                    <a:pt x="86" y="166"/>
                    <a:pt x="86" y="166"/>
                    <a:pt x="86" y="166"/>
                  </a:cubicBezTo>
                  <a:cubicBezTo>
                    <a:pt x="86" y="166"/>
                    <a:pt x="86" y="165"/>
                    <a:pt x="86" y="165"/>
                  </a:cubicBezTo>
                  <a:cubicBezTo>
                    <a:pt x="86" y="165"/>
                    <a:pt x="86" y="165"/>
                    <a:pt x="86" y="165"/>
                  </a:cubicBezTo>
                  <a:cubicBezTo>
                    <a:pt x="86" y="165"/>
                    <a:pt x="87" y="165"/>
                    <a:pt x="87" y="165"/>
                  </a:cubicBezTo>
                  <a:cubicBezTo>
                    <a:pt x="87" y="165"/>
                    <a:pt x="87" y="165"/>
                    <a:pt x="87" y="165"/>
                  </a:cubicBezTo>
                  <a:cubicBezTo>
                    <a:pt x="87" y="165"/>
                    <a:pt x="87" y="165"/>
                    <a:pt x="87" y="165"/>
                  </a:cubicBezTo>
                  <a:cubicBezTo>
                    <a:pt x="93" y="161"/>
                    <a:pt x="93" y="161"/>
                    <a:pt x="93" y="161"/>
                  </a:cubicBezTo>
                  <a:cubicBezTo>
                    <a:pt x="95" y="160"/>
                    <a:pt x="97" y="161"/>
                    <a:pt x="97" y="162"/>
                  </a:cubicBezTo>
                  <a:cubicBezTo>
                    <a:pt x="98" y="164"/>
                    <a:pt x="98" y="165"/>
                    <a:pt x="96" y="166"/>
                  </a:cubicBezTo>
                  <a:cubicBezTo>
                    <a:pt x="91" y="169"/>
                    <a:pt x="91" y="169"/>
                    <a:pt x="91" y="169"/>
                  </a:cubicBezTo>
                  <a:cubicBezTo>
                    <a:pt x="91" y="182"/>
                    <a:pt x="91" y="182"/>
                    <a:pt x="91" y="182"/>
                  </a:cubicBezTo>
                  <a:cubicBezTo>
                    <a:pt x="93" y="181"/>
                    <a:pt x="93" y="181"/>
                    <a:pt x="93" y="181"/>
                  </a:cubicBezTo>
                  <a:cubicBezTo>
                    <a:pt x="95" y="180"/>
                    <a:pt x="97" y="181"/>
                    <a:pt x="97" y="182"/>
                  </a:cubicBezTo>
                  <a:cubicBezTo>
                    <a:pt x="98" y="184"/>
                    <a:pt x="98" y="185"/>
                    <a:pt x="96" y="186"/>
                  </a:cubicBezTo>
                  <a:cubicBezTo>
                    <a:pt x="90" y="190"/>
                    <a:pt x="90" y="190"/>
                    <a:pt x="90" y="190"/>
                  </a:cubicBezTo>
                  <a:cubicBezTo>
                    <a:pt x="90" y="190"/>
                    <a:pt x="90" y="190"/>
                    <a:pt x="90" y="190"/>
                  </a:cubicBezTo>
                  <a:cubicBezTo>
                    <a:pt x="89" y="190"/>
                    <a:pt x="89" y="190"/>
                    <a:pt x="89" y="190"/>
                  </a:cubicBezTo>
                  <a:cubicBezTo>
                    <a:pt x="89" y="190"/>
                    <a:pt x="89" y="190"/>
                    <a:pt x="89" y="190"/>
                  </a:cubicBezTo>
                  <a:cubicBezTo>
                    <a:pt x="89" y="190"/>
                    <a:pt x="89" y="190"/>
                    <a:pt x="88" y="190"/>
                  </a:cubicBezTo>
                  <a:cubicBezTo>
                    <a:pt x="88" y="190"/>
                    <a:pt x="88" y="190"/>
                    <a:pt x="88" y="190"/>
                  </a:cubicBezTo>
                  <a:cubicBezTo>
                    <a:pt x="88" y="190"/>
                    <a:pt x="88" y="190"/>
                    <a:pt x="87" y="190"/>
                  </a:cubicBezTo>
                  <a:cubicBezTo>
                    <a:pt x="87" y="190"/>
                    <a:pt x="87" y="190"/>
                    <a:pt x="87" y="190"/>
                  </a:cubicBezTo>
                  <a:cubicBezTo>
                    <a:pt x="87" y="190"/>
                    <a:pt x="87" y="190"/>
                    <a:pt x="87" y="190"/>
                  </a:cubicBezTo>
                  <a:cubicBezTo>
                    <a:pt x="87" y="190"/>
                    <a:pt x="86" y="189"/>
                    <a:pt x="86" y="189"/>
                  </a:cubicBezTo>
                  <a:cubicBezTo>
                    <a:pt x="86" y="189"/>
                    <a:pt x="86" y="189"/>
                    <a:pt x="86" y="189"/>
                  </a:cubicBezTo>
                  <a:cubicBezTo>
                    <a:pt x="86" y="189"/>
                    <a:pt x="86" y="189"/>
                    <a:pt x="86" y="189"/>
                  </a:cubicBezTo>
                  <a:cubicBezTo>
                    <a:pt x="86" y="189"/>
                    <a:pt x="86" y="189"/>
                    <a:pt x="86" y="189"/>
                  </a:cubicBezTo>
                  <a:cubicBezTo>
                    <a:pt x="86" y="189"/>
                    <a:pt x="86" y="188"/>
                    <a:pt x="86" y="188"/>
                  </a:cubicBezTo>
                  <a:cubicBezTo>
                    <a:pt x="86" y="188"/>
                    <a:pt x="86" y="188"/>
                    <a:pt x="86" y="188"/>
                  </a:cubicBezTo>
                  <a:cubicBezTo>
                    <a:pt x="86" y="188"/>
                    <a:pt x="86" y="188"/>
                    <a:pt x="86" y="188"/>
                  </a:cubicBezTo>
                  <a:cubicBezTo>
                    <a:pt x="86" y="188"/>
                    <a:pt x="86" y="188"/>
                    <a:pt x="86" y="188"/>
                  </a:cubicBezTo>
                  <a:cubicBezTo>
                    <a:pt x="85" y="188"/>
                    <a:pt x="85" y="187"/>
                    <a:pt x="85" y="187"/>
                  </a:cubicBezTo>
                  <a:cubicBezTo>
                    <a:pt x="85" y="187"/>
                    <a:pt x="85" y="187"/>
                    <a:pt x="85" y="187"/>
                  </a:cubicBezTo>
                  <a:lnTo>
                    <a:pt x="85" y="167"/>
                  </a:lnTo>
                  <a:close/>
                  <a:moveTo>
                    <a:pt x="57" y="141"/>
                  </a:moveTo>
                  <a:cubicBezTo>
                    <a:pt x="82" y="156"/>
                    <a:pt x="82" y="156"/>
                    <a:pt x="82" y="156"/>
                  </a:cubicBezTo>
                  <a:cubicBezTo>
                    <a:pt x="82" y="163"/>
                    <a:pt x="82" y="163"/>
                    <a:pt x="82" y="163"/>
                  </a:cubicBezTo>
                  <a:cubicBezTo>
                    <a:pt x="57" y="148"/>
                    <a:pt x="57" y="148"/>
                    <a:pt x="57" y="148"/>
                  </a:cubicBezTo>
                  <a:lnTo>
                    <a:pt x="57" y="141"/>
                  </a:lnTo>
                  <a:close/>
                  <a:moveTo>
                    <a:pt x="57" y="152"/>
                  </a:moveTo>
                  <a:cubicBezTo>
                    <a:pt x="82" y="167"/>
                    <a:pt x="82" y="167"/>
                    <a:pt x="82" y="167"/>
                  </a:cubicBezTo>
                  <a:cubicBezTo>
                    <a:pt x="82" y="174"/>
                    <a:pt x="82" y="174"/>
                    <a:pt x="82" y="174"/>
                  </a:cubicBezTo>
                  <a:cubicBezTo>
                    <a:pt x="57" y="159"/>
                    <a:pt x="57" y="159"/>
                    <a:pt x="57" y="159"/>
                  </a:cubicBezTo>
                  <a:lnTo>
                    <a:pt x="57" y="152"/>
                  </a:lnTo>
                  <a:close/>
                  <a:moveTo>
                    <a:pt x="15" y="113"/>
                  </a:moveTo>
                  <a:cubicBezTo>
                    <a:pt x="16" y="115"/>
                    <a:pt x="15" y="116"/>
                    <a:pt x="14" y="117"/>
                  </a:cubicBezTo>
                  <a:cubicBezTo>
                    <a:pt x="9" y="120"/>
                    <a:pt x="9" y="120"/>
                    <a:pt x="9" y="120"/>
                  </a:cubicBezTo>
                  <a:cubicBezTo>
                    <a:pt x="9" y="133"/>
                    <a:pt x="9" y="133"/>
                    <a:pt x="9" y="133"/>
                  </a:cubicBezTo>
                  <a:cubicBezTo>
                    <a:pt x="11" y="132"/>
                    <a:pt x="11" y="132"/>
                    <a:pt x="11" y="132"/>
                  </a:cubicBezTo>
                  <a:cubicBezTo>
                    <a:pt x="12" y="131"/>
                    <a:pt x="14" y="132"/>
                    <a:pt x="15" y="133"/>
                  </a:cubicBezTo>
                  <a:cubicBezTo>
                    <a:pt x="16" y="135"/>
                    <a:pt x="15" y="136"/>
                    <a:pt x="14" y="137"/>
                  </a:cubicBezTo>
                  <a:cubicBezTo>
                    <a:pt x="7" y="141"/>
                    <a:pt x="7" y="141"/>
                    <a:pt x="7" y="141"/>
                  </a:cubicBezTo>
                  <a:cubicBezTo>
                    <a:pt x="7" y="141"/>
                    <a:pt x="7" y="141"/>
                    <a:pt x="7" y="141"/>
                  </a:cubicBezTo>
                  <a:cubicBezTo>
                    <a:pt x="7" y="141"/>
                    <a:pt x="7" y="141"/>
                    <a:pt x="7" y="141"/>
                  </a:cubicBezTo>
                  <a:cubicBezTo>
                    <a:pt x="7" y="141"/>
                    <a:pt x="6" y="141"/>
                    <a:pt x="6" y="141"/>
                  </a:cubicBezTo>
                  <a:cubicBezTo>
                    <a:pt x="6" y="141"/>
                    <a:pt x="6" y="141"/>
                    <a:pt x="6" y="141"/>
                  </a:cubicBezTo>
                  <a:cubicBezTo>
                    <a:pt x="6" y="141"/>
                    <a:pt x="5" y="141"/>
                    <a:pt x="5" y="141"/>
                  </a:cubicBezTo>
                  <a:cubicBezTo>
                    <a:pt x="5" y="141"/>
                    <a:pt x="5" y="141"/>
                    <a:pt x="5" y="141"/>
                  </a:cubicBezTo>
                  <a:cubicBezTo>
                    <a:pt x="5" y="141"/>
                    <a:pt x="5" y="141"/>
                    <a:pt x="4" y="141"/>
                  </a:cubicBezTo>
                  <a:cubicBezTo>
                    <a:pt x="4" y="141"/>
                    <a:pt x="4" y="141"/>
                    <a:pt x="4" y="141"/>
                  </a:cubicBezTo>
                  <a:cubicBezTo>
                    <a:pt x="4" y="140"/>
                    <a:pt x="4" y="140"/>
                    <a:pt x="4" y="140"/>
                  </a:cubicBezTo>
                  <a:cubicBezTo>
                    <a:pt x="4" y="140"/>
                    <a:pt x="4" y="140"/>
                    <a:pt x="4" y="140"/>
                  </a:cubicBezTo>
                  <a:cubicBezTo>
                    <a:pt x="4" y="140"/>
                    <a:pt x="3" y="140"/>
                    <a:pt x="3" y="140"/>
                  </a:cubicBezTo>
                  <a:cubicBezTo>
                    <a:pt x="3" y="140"/>
                    <a:pt x="3" y="140"/>
                    <a:pt x="3" y="140"/>
                  </a:cubicBezTo>
                  <a:cubicBezTo>
                    <a:pt x="3" y="139"/>
                    <a:pt x="3" y="139"/>
                    <a:pt x="3" y="139"/>
                  </a:cubicBezTo>
                  <a:cubicBezTo>
                    <a:pt x="3" y="139"/>
                    <a:pt x="3" y="139"/>
                    <a:pt x="3" y="139"/>
                  </a:cubicBezTo>
                  <a:cubicBezTo>
                    <a:pt x="3" y="139"/>
                    <a:pt x="3" y="139"/>
                    <a:pt x="3" y="139"/>
                  </a:cubicBezTo>
                  <a:cubicBezTo>
                    <a:pt x="3" y="139"/>
                    <a:pt x="3" y="139"/>
                    <a:pt x="3" y="139"/>
                  </a:cubicBezTo>
                  <a:cubicBezTo>
                    <a:pt x="3" y="138"/>
                    <a:pt x="3" y="138"/>
                    <a:pt x="3" y="138"/>
                  </a:cubicBezTo>
                  <a:cubicBezTo>
                    <a:pt x="3" y="138"/>
                    <a:pt x="3" y="138"/>
                    <a:pt x="3" y="138"/>
                  </a:cubicBezTo>
                  <a:cubicBezTo>
                    <a:pt x="3" y="118"/>
                    <a:pt x="3" y="118"/>
                    <a:pt x="3" y="118"/>
                  </a:cubicBezTo>
                  <a:cubicBezTo>
                    <a:pt x="3" y="118"/>
                    <a:pt x="3" y="118"/>
                    <a:pt x="3" y="118"/>
                  </a:cubicBezTo>
                  <a:cubicBezTo>
                    <a:pt x="3" y="118"/>
                    <a:pt x="3" y="118"/>
                    <a:pt x="3" y="118"/>
                  </a:cubicBezTo>
                  <a:cubicBezTo>
                    <a:pt x="3" y="118"/>
                    <a:pt x="3" y="118"/>
                    <a:pt x="3" y="118"/>
                  </a:cubicBezTo>
                  <a:cubicBezTo>
                    <a:pt x="3" y="118"/>
                    <a:pt x="3" y="117"/>
                    <a:pt x="3" y="117"/>
                  </a:cubicBezTo>
                  <a:cubicBezTo>
                    <a:pt x="3" y="117"/>
                    <a:pt x="3" y="117"/>
                    <a:pt x="3" y="117"/>
                  </a:cubicBezTo>
                  <a:cubicBezTo>
                    <a:pt x="3" y="117"/>
                    <a:pt x="3" y="117"/>
                    <a:pt x="3" y="117"/>
                  </a:cubicBezTo>
                  <a:cubicBezTo>
                    <a:pt x="3" y="117"/>
                    <a:pt x="3" y="117"/>
                    <a:pt x="3" y="117"/>
                  </a:cubicBezTo>
                  <a:cubicBezTo>
                    <a:pt x="4" y="117"/>
                    <a:pt x="4" y="116"/>
                    <a:pt x="4" y="116"/>
                  </a:cubicBezTo>
                  <a:cubicBezTo>
                    <a:pt x="4" y="116"/>
                    <a:pt x="4" y="116"/>
                    <a:pt x="4" y="116"/>
                  </a:cubicBezTo>
                  <a:cubicBezTo>
                    <a:pt x="4" y="116"/>
                    <a:pt x="4" y="116"/>
                    <a:pt x="4" y="116"/>
                  </a:cubicBezTo>
                  <a:cubicBezTo>
                    <a:pt x="4" y="116"/>
                    <a:pt x="4" y="116"/>
                    <a:pt x="4" y="116"/>
                  </a:cubicBezTo>
                  <a:cubicBezTo>
                    <a:pt x="4" y="116"/>
                    <a:pt x="4" y="116"/>
                    <a:pt x="4" y="116"/>
                  </a:cubicBezTo>
                  <a:cubicBezTo>
                    <a:pt x="11" y="112"/>
                    <a:pt x="11" y="112"/>
                    <a:pt x="11" y="112"/>
                  </a:cubicBezTo>
                  <a:cubicBezTo>
                    <a:pt x="12" y="111"/>
                    <a:pt x="14" y="112"/>
                    <a:pt x="15"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15"/>
            <p:cNvSpPr>
              <a:spLocks noEditPoints="1"/>
            </p:cNvSpPr>
            <p:nvPr/>
          </p:nvSpPr>
          <p:spPr bwMode="auto">
            <a:xfrm>
              <a:off x="4529138" y="3994150"/>
              <a:ext cx="196850" cy="204788"/>
            </a:xfrm>
            <a:custGeom>
              <a:avLst/>
              <a:gdLst>
                <a:gd name="T0" fmla="*/ 86 w 203"/>
                <a:gd name="T1" fmla="*/ 207 h 212"/>
                <a:gd name="T2" fmla="*/ 93 w 203"/>
                <a:gd name="T3" fmla="*/ 207 h 212"/>
                <a:gd name="T4" fmla="*/ 99 w 203"/>
                <a:gd name="T5" fmla="*/ 212 h 212"/>
                <a:gd name="T6" fmla="*/ 106 w 203"/>
                <a:gd name="T7" fmla="*/ 206 h 212"/>
                <a:gd name="T8" fmla="*/ 119 w 203"/>
                <a:gd name="T9" fmla="*/ 205 h 212"/>
                <a:gd name="T10" fmla="*/ 136 w 203"/>
                <a:gd name="T11" fmla="*/ 190 h 212"/>
                <a:gd name="T12" fmla="*/ 73 w 203"/>
                <a:gd name="T13" fmla="*/ 190 h 212"/>
                <a:gd name="T14" fmla="*/ 83 w 203"/>
                <a:gd name="T15" fmla="*/ 196 h 212"/>
                <a:gd name="T16" fmla="*/ 147 w 203"/>
                <a:gd name="T17" fmla="*/ 187 h 212"/>
                <a:gd name="T18" fmla="*/ 65 w 203"/>
                <a:gd name="T19" fmla="*/ 183 h 212"/>
                <a:gd name="T20" fmla="*/ 179 w 203"/>
                <a:gd name="T21" fmla="*/ 164 h 212"/>
                <a:gd name="T22" fmla="*/ 31 w 203"/>
                <a:gd name="T23" fmla="*/ 163 h 212"/>
                <a:gd name="T24" fmla="*/ 11 w 203"/>
                <a:gd name="T25" fmla="*/ 162 h 212"/>
                <a:gd name="T26" fmla="*/ 13 w 203"/>
                <a:gd name="T27" fmla="*/ 159 h 212"/>
                <a:gd name="T28" fmla="*/ 24 w 203"/>
                <a:gd name="T29" fmla="*/ 159 h 212"/>
                <a:gd name="T30" fmla="*/ 12 w 203"/>
                <a:gd name="T31" fmla="*/ 163 h 212"/>
                <a:gd name="T32" fmla="*/ 187 w 203"/>
                <a:gd name="T33" fmla="*/ 160 h 212"/>
                <a:gd name="T34" fmla="*/ 0 w 203"/>
                <a:gd name="T35" fmla="*/ 149 h 212"/>
                <a:gd name="T36" fmla="*/ 4 w 203"/>
                <a:gd name="T37" fmla="*/ 139 h 212"/>
                <a:gd name="T38" fmla="*/ 5 w 203"/>
                <a:gd name="T39" fmla="*/ 150 h 212"/>
                <a:gd name="T40" fmla="*/ 199 w 203"/>
                <a:gd name="T41" fmla="*/ 129 h 212"/>
                <a:gd name="T42" fmla="*/ 0 w 203"/>
                <a:gd name="T43" fmla="*/ 127 h 212"/>
                <a:gd name="T44" fmla="*/ 1 w 203"/>
                <a:gd name="T45" fmla="*/ 124 h 212"/>
                <a:gd name="T46" fmla="*/ 4 w 203"/>
                <a:gd name="T47" fmla="*/ 118 h 212"/>
                <a:gd name="T48" fmla="*/ 5 w 203"/>
                <a:gd name="T49" fmla="*/ 116 h 212"/>
                <a:gd name="T50" fmla="*/ 5 w 203"/>
                <a:gd name="T51" fmla="*/ 116 h 212"/>
                <a:gd name="T52" fmla="*/ 8 w 203"/>
                <a:gd name="T53" fmla="*/ 119 h 212"/>
                <a:gd name="T54" fmla="*/ 7 w 203"/>
                <a:gd name="T55" fmla="*/ 120 h 212"/>
                <a:gd name="T56" fmla="*/ 5 w 203"/>
                <a:gd name="T57" fmla="*/ 125 h 212"/>
                <a:gd name="T58" fmla="*/ 4 w 203"/>
                <a:gd name="T59" fmla="*/ 127 h 212"/>
                <a:gd name="T60" fmla="*/ 194 w 203"/>
                <a:gd name="T61" fmla="*/ 106 h 212"/>
                <a:gd name="T62" fmla="*/ 10 w 203"/>
                <a:gd name="T63" fmla="*/ 108 h 212"/>
                <a:gd name="T64" fmla="*/ 13 w 203"/>
                <a:gd name="T65" fmla="*/ 100 h 212"/>
                <a:gd name="T66" fmla="*/ 17 w 203"/>
                <a:gd name="T67" fmla="*/ 108 h 212"/>
                <a:gd name="T68" fmla="*/ 184 w 203"/>
                <a:gd name="T69" fmla="*/ 99 h 212"/>
                <a:gd name="T70" fmla="*/ 186 w 203"/>
                <a:gd name="T71" fmla="*/ 103 h 212"/>
                <a:gd name="T72" fmla="*/ 1 w 203"/>
                <a:gd name="T73" fmla="*/ 93 h 212"/>
                <a:gd name="T74" fmla="*/ 4 w 203"/>
                <a:gd name="T75" fmla="*/ 83 h 212"/>
                <a:gd name="T76" fmla="*/ 5 w 203"/>
                <a:gd name="T77" fmla="*/ 93 h 212"/>
                <a:gd name="T78" fmla="*/ 2 w 203"/>
                <a:gd name="T79" fmla="*/ 96 h 212"/>
                <a:gd name="T80" fmla="*/ 199 w 203"/>
                <a:gd name="T81" fmla="*/ 86 h 212"/>
                <a:gd name="T82" fmla="*/ 1 w 203"/>
                <a:gd name="T83" fmla="*/ 65 h 212"/>
                <a:gd name="T84" fmla="*/ 3 w 203"/>
                <a:gd name="T85" fmla="*/ 59 h 212"/>
                <a:gd name="T86" fmla="*/ 6 w 203"/>
                <a:gd name="T87" fmla="*/ 62 h 212"/>
                <a:gd name="T88" fmla="*/ 5 w 203"/>
                <a:gd name="T89" fmla="*/ 66 h 212"/>
                <a:gd name="T90" fmla="*/ 199 w 203"/>
                <a:gd name="T91" fmla="*/ 62 h 212"/>
                <a:gd name="T92" fmla="*/ 203 w 203"/>
                <a:gd name="T93" fmla="*/ 56 h 212"/>
                <a:gd name="T94" fmla="*/ 9 w 203"/>
                <a:gd name="T95" fmla="*/ 49 h 212"/>
                <a:gd name="T96" fmla="*/ 21 w 203"/>
                <a:gd name="T97" fmla="*/ 49 h 212"/>
                <a:gd name="T98" fmla="*/ 10 w 203"/>
                <a:gd name="T99" fmla="*/ 52 h 212"/>
                <a:gd name="T100" fmla="*/ 34 w 203"/>
                <a:gd name="T101" fmla="*/ 48 h 212"/>
                <a:gd name="T102" fmla="*/ 190 w 203"/>
                <a:gd name="T103" fmla="*/ 43 h 212"/>
                <a:gd name="T104" fmla="*/ 66 w 203"/>
                <a:gd name="T105" fmla="*/ 27 h 212"/>
                <a:gd name="T106" fmla="*/ 156 w 203"/>
                <a:gd name="T107" fmla="*/ 26 h 212"/>
                <a:gd name="T108" fmla="*/ 72 w 203"/>
                <a:gd name="T109" fmla="*/ 23 h 212"/>
                <a:gd name="T110" fmla="*/ 74 w 203"/>
                <a:gd name="T111" fmla="*/ 24 h 212"/>
                <a:gd name="T112" fmla="*/ 149 w 203"/>
                <a:gd name="T113" fmla="*/ 21 h 212"/>
                <a:gd name="T114" fmla="*/ 106 w 203"/>
                <a:gd name="T115" fmla="*/ 6 h 212"/>
                <a:gd name="T116" fmla="*/ 118 w 203"/>
                <a:gd name="T117" fmla="*/ 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212">
                  <a:moveTo>
                    <a:pt x="95" y="212"/>
                  </a:moveTo>
                  <a:cubicBezTo>
                    <a:pt x="95" y="212"/>
                    <a:pt x="94" y="212"/>
                    <a:pt x="94" y="211"/>
                  </a:cubicBezTo>
                  <a:cubicBezTo>
                    <a:pt x="94" y="211"/>
                    <a:pt x="94" y="211"/>
                    <a:pt x="94" y="211"/>
                  </a:cubicBezTo>
                  <a:cubicBezTo>
                    <a:pt x="93" y="211"/>
                    <a:pt x="92" y="211"/>
                    <a:pt x="91" y="210"/>
                  </a:cubicBezTo>
                  <a:cubicBezTo>
                    <a:pt x="91" y="210"/>
                    <a:pt x="91" y="210"/>
                    <a:pt x="91" y="210"/>
                  </a:cubicBezTo>
                  <a:cubicBezTo>
                    <a:pt x="91" y="210"/>
                    <a:pt x="91" y="210"/>
                    <a:pt x="90" y="210"/>
                  </a:cubicBezTo>
                  <a:cubicBezTo>
                    <a:pt x="90" y="210"/>
                    <a:pt x="90" y="210"/>
                    <a:pt x="90" y="210"/>
                  </a:cubicBezTo>
                  <a:cubicBezTo>
                    <a:pt x="89" y="209"/>
                    <a:pt x="88" y="208"/>
                    <a:pt x="87" y="208"/>
                  </a:cubicBezTo>
                  <a:cubicBezTo>
                    <a:pt x="87" y="208"/>
                    <a:pt x="87" y="208"/>
                    <a:pt x="87" y="208"/>
                  </a:cubicBezTo>
                  <a:cubicBezTo>
                    <a:pt x="87" y="207"/>
                    <a:pt x="87" y="207"/>
                    <a:pt x="86" y="207"/>
                  </a:cubicBezTo>
                  <a:cubicBezTo>
                    <a:pt x="86" y="207"/>
                    <a:pt x="86" y="207"/>
                    <a:pt x="86" y="207"/>
                  </a:cubicBezTo>
                  <a:cubicBezTo>
                    <a:pt x="86" y="206"/>
                    <a:pt x="86" y="204"/>
                    <a:pt x="87" y="204"/>
                  </a:cubicBezTo>
                  <a:cubicBezTo>
                    <a:pt x="87" y="204"/>
                    <a:pt x="87" y="204"/>
                    <a:pt x="87" y="204"/>
                  </a:cubicBezTo>
                  <a:cubicBezTo>
                    <a:pt x="88" y="203"/>
                    <a:pt x="89" y="203"/>
                    <a:pt x="90" y="204"/>
                  </a:cubicBezTo>
                  <a:cubicBezTo>
                    <a:pt x="90" y="204"/>
                    <a:pt x="90" y="204"/>
                    <a:pt x="90" y="204"/>
                  </a:cubicBezTo>
                  <a:cubicBezTo>
                    <a:pt x="90" y="204"/>
                    <a:pt x="90" y="205"/>
                    <a:pt x="90" y="205"/>
                  </a:cubicBezTo>
                  <a:cubicBezTo>
                    <a:pt x="90" y="205"/>
                    <a:pt x="90" y="205"/>
                    <a:pt x="90" y="205"/>
                  </a:cubicBezTo>
                  <a:cubicBezTo>
                    <a:pt x="91" y="205"/>
                    <a:pt x="92" y="206"/>
                    <a:pt x="92" y="206"/>
                  </a:cubicBezTo>
                  <a:cubicBezTo>
                    <a:pt x="92" y="206"/>
                    <a:pt x="92" y="206"/>
                    <a:pt x="92" y="206"/>
                  </a:cubicBezTo>
                  <a:cubicBezTo>
                    <a:pt x="92" y="206"/>
                    <a:pt x="93" y="207"/>
                    <a:pt x="93" y="207"/>
                  </a:cubicBezTo>
                  <a:cubicBezTo>
                    <a:pt x="93" y="207"/>
                    <a:pt x="93" y="207"/>
                    <a:pt x="93" y="207"/>
                  </a:cubicBezTo>
                  <a:cubicBezTo>
                    <a:pt x="94" y="207"/>
                    <a:pt x="94" y="207"/>
                    <a:pt x="95" y="208"/>
                  </a:cubicBezTo>
                  <a:cubicBezTo>
                    <a:pt x="95" y="208"/>
                    <a:pt x="95" y="208"/>
                    <a:pt x="95" y="208"/>
                  </a:cubicBezTo>
                  <a:cubicBezTo>
                    <a:pt x="95" y="208"/>
                    <a:pt x="96" y="208"/>
                    <a:pt x="96" y="208"/>
                  </a:cubicBezTo>
                  <a:cubicBezTo>
                    <a:pt x="96" y="208"/>
                    <a:pt x="96" y="208"/>
                    <a:pt x="96" y="208"/>
                  </a:cubicBezTo>
                  <a:cubicBezTo>
                    <a:pt x="97" y="208"/>
                    <a:pt x="98" y="208"/>
                    <a:pt x="99" y="208"/>
                  </a:cubicBezTo>
                  <a:cubicBezTo>
                    <a:pt x="99" y="208"/>
                    <a:pt x="99" y="208"/>
                    <a:pt x="99" y="208"/>
                  </a:cubicBezTo>
                  <a:cubicBezTo>
                    <a:pt x="100" y="208"/>
                    <a:pt x="101" y="209"/>
                    <a:pt x="101" y="210"/>
                  </a:cubicBezTo>
                  <a:cubicBezTo>
                    <a:pt x="101" y="210"/>
                    <a:pt x="101" y="210"/>
                    <a:pt x="101" y="210"/>
                  </a:cubicBezTo>
                  <a:cubicBezTo>
                    <a:pt x="101" y="211"/>
                    <a:pt x="100" y="212"/>
                    <a:pt x="99" y="212"/>
                  </a:cubicBezTo>
                  <a:cubicBezTo>
                    <a:pt x="99" y="212"/>
                    <a:pt x="99" y="212"/>
                    <a:pt x="99" y="212"/>
                  </a:cubicBezTo>
                  <a:cubicBezTo>
                    <a:pt x="97" y="212"/>
                    <a:pt x="96" y="212"/>
                    <a:pt x="95" y="212"/>
                  </a:cubicBezTo>
                  <a:close/>
                  <a:moveTo>
                    <a:pt x="110" y="210"/>
                  </a:moveTo>
                  <a:cubicBezTo>
                    <a:pt x="109" y="210"/>
                    <a:pt x="108" y="210"/>
                    <a:pt x="107" y="210"/>
                  </a:cubicBezTo>
                  <a:cubicBezTo>
                    <a:pt x="107" y="210"/>
                    <a:pt x="107" y="210"/>
                    <a:pt x="107" y="210"/>
                  </a:cubicBezTo>
                  <a:cubicBezTo>
                    <a:pt x="106" y="210"/>
                    <a:pt x="105" y="209"/>
                    <a:pt x="105" y="209"/>
                  </a:cubicBezTo>
                  <a:cubicBezTo>
                    <a:pt x="105" y="209"/>
                    <a:pt x="105" y="209"/>
                    <a:pt x="105" y="209"/>
                  </a:cubicBezTo>
                  <a:cubicBezTo>
                    <a:pt x="104" y="208"/>
                    <a:pt x="105" y="207"/>
                    <a:pt x="106" y="206"/>
                  </a:cubicBezTo>
                  <a:cubicBezTo>
                    <a:pt x="106" y="206"/>
                    <a:pt x="106" y="206"/>
                    <a:pt x="106" y="206"/>
                  </a:cubicBezTo>
                  <a:cubicBezTo>
                    <a:pt x="106" y="206"/>
                    <a:pt x="106" y="206"/>
                    <a:pt x="106" y="206"/>
                  </a:cubicBezTo>
                  <a:cubicBezTo>
                    <a:pt x="106" y="206"/>
                    <a:pt x="107" y="206"/>
                    <a:pt x="108" y="206"/>
                  </a:cubicBezTo>
                  <a:cubicBezTo>
                    <a:pt x="108" y="206"/>
                    <a:pt x="108" y="206"/>
                    <a:pt x="108" y="206"/>
                  </a:cubicBezTo>
                  <a:cubicBezTo>
                    <a:pt x="108" y="206"/>
                    <a:pt x="109" y="206"/>
                    <a:pt x="110" y="206"/>
                  </a:cubicBezTo>
                  <a:cubicBezTo>
                    <a:pt x="110" y="206"/>
                    <a:pt x="110" y="206"/>
                    <a:pt x="110" y="206"/>
                  </a:cubicBezTo>
                  <a:cubicBezTo>
                    <a:pt x="111" y="206"/>
                    <a:pt x="111" y="206"/>
                    <a:pt x="111" y="206"/>
                  </a:cubicBezTo>
                  <a:cubicBezTo>
                    <a:pt x="113" y="206"/>
                    <a:pt x="114" y="206"/>
                    <a:pt x="115" y="205"/>
                  </a:cubicBezTo>
                  <a:cubicBezTo>
                    <a:pt x="115" y="205"/>
                    <a:pt x="115" y="205"/>
                    <a:pt x="115" y="205"/>
                  </a:cubicBezTo>
                  <a:cubicBezTo>
                    <a:pt x="117" y="204"/>
                    <a:pt x="117" y="204"/>
                    <a:pt x="117" y="204"/>
                  </a:cubicBezTo>
                  <a:cubicBezTo>
                    <a:pt x="117" y="204"/>
                    <a:pt x="119" y="204"/>
                    <a:pt x="119" y="205"/>
                  </a:cubicBezTo>
                  <a:cubicBezTo>
                    <a:pt x="119" y="205"/>
                    <a:pt x="119" y="205"/>
                    <a:pt x="119" y="205"/>
                  </a:cubicBezTo>
                  <a:cubicBezTo>
                    <a:pt x="120" y="206"/>
                    <a:pt x="120" y="207"/>
                    <a:pt x="119" y="207"/>
                  </a:cubicBezTo>
                  <a:cubicBezTo>
                    <a:pt x="119" y="207"/>
                    <a:pt x="119" y="207"/>
                    <a:pt x="119" y="207"/>
                  </a:cubicBezTo>
                  <a:cubicBezTo>
                    <a:pt x="117" y="209"/>
                    <a:pt x="117" y="209"/>
                    <a:pt x="117" y="209"/>
                  </a:cubicBezTo>
                  <a:cubicBezTo>
                    <a:pt x="115" y="210"/>
                    <a:pt x="113" y="210"/>
                    <a:pt x="111" y="210"/>
                  </a:cubicBezTo>
                  <a:cubicBezTo>
                    <a:pt x="111" y="210"/>
                    <a:pt x="111" y="210"/>
                    <a:pt x="111" y="210"/>
                  </a:cubicBezTo>
                  <a:cubicBezTo>
                    <a:pt x="110" y="210"/>
                    <a:pt x="110" y="210"/>
                    <a:pt x="110" y="210"/>
                  </a:cubicBezTo>
                  <a:close/>
                  <a:moveTo>
                    <a:pt x="126" y="200"/>
                  </a:moveTo>
                  <a:cubicBezTo>
                    <a:pt x="125" y="199"/>
                    <a:pt x="126" y="198"/>
                    <a:pt x="126" y="197"/>
                  </a:cubicBezTo>
                  <a:cubicBezTo>
                    <a:pt x="126" y="197"/>
                    <a:pt x="126" y="197"/>
                    <a:pt x="126" y="197"/>
                  </a:cubicBezTo>
                  <a:cubicBezTo>
                    <a:pt x="136" y="190"/>
                    <a:pt x="136" y="190"/>
                    <a:pt x="136" y="190"/>
                  </a:cubicBezTo>
                  <a:cubicBezTo>
                    <a:pt x="137" y="190"/>
                    <a:pt x="138" y="190"/>
                    <a:pt x="139" y="191"/>
                  </a:cubicBezTo>
                  <a:cubicBezTo>
                    <a:pt x="139" y="191"/>
                    <a:pt x="139" y="191"/>
                    <a:pt x="139" y="191"/>
                  </a:cubicBezTo>
                  <a:cubicBezTo>
                    <a:pt x="140" y="192"/>
                    <a:pt x="139" y="193"/>
                    <a:pt x="139" y="194"/>
                  </a:cubicBezTo>
                  <a:cubicBezTo>
                    <a:pt x="139" y="194"/>
                    <a:pt x="139" y="194"/>
                    <a:pt x="139" y="194"/>
                  </a:cubicBezTo>
                  <a:cubicBezTo>
                    <a:pt x="129" y="201"/>
                    <a:pt x="129" y="201"/>
                    <a:pt x="129" y="201"/>
                  </a:cubicBezTo>
                  <a:cubicBezTo>
                    <a:pt x="128" y="201"/>
                    <a:pt x="128" y="201"/>
                    <a:pt x="128" y="201"/>
                  </a:cubicBezTo>
                  <a:cubicBezTo>
                    <a:pt x="128" y="201"/>
                    <a:pt x="128" y="201"/>
                    <a:pt x="128" y="201"/>
                  </a:cubicBezTo>
                  <a:cubicBezTo>
                    <a:pt x="127" y="201"/>
                    <a:pt x="126" y="201"/>
                    <a:pt x="126" y="200"/>
                  </a:cubicBezTo>
                  <a:close/>
                  <a:moveTo>
                    <a:pt x="83" y="196"/>
                  </a:moveTo>
                  <a:cubicBezTo>
                    <a:pt x="73" y="190"/>
                    <a:pt x="73" y="190"/>
                    <a:pt x="73" y="190"/>
                  </a:cubicBezTo>
                  <a:cubicBezTo>
                    <a:pt x="72" y="189"/>
                    <a:pt x="72" y="188"/>
                    <a:pt x="72" y="187"/>
                  </a:cubicBezTo>
                  <a:cubicBezTo>
                    <a:pt x="72" y="187"/>
                    <a:pt x="72" y="187"/>
                    <a:pt x="72" y="187"/>
                  </a:cubicBezTo>
                  <a:cubicBezTo>
                    <a:pt x="73" y="186"/>
                    <a:pt x="74" y="186"/>
                    <a:pt x="75" y="187"/>
                  </a:cubicBezTo>
                  <a:cubicBezTo>
                    <a:pt x="75" y="187"/>
                    <a:pt x="75" y="187"/>
                    <a:pt x="75" y="187"/>
                  </a:cubicBezTo>
                  <a:cubicBezTo>
                    <a:pt x="85" y="193"/>
                    <a:pt x="85" y="193"/>
                    <a:pt x="85" y="193"/>
                  </a:cubicBezTo>
                  <a:cubicBezTo>
                    <a:pt x="86" y="193"/>
                    <a:pt x="86" y="194"/>
                    <a:pt x="86" y="195"/>
                  </a:cubicBezTo>
                  <a:cubicBezTo>
                    <a:pt x="86" y="195"/>
                    <a:pt x="86" y="195"/>
                    <a:pt x="86" y="195"/>
                  </a:cubicBezTo>
                  <a:cubicBezTo>
                    <a:pt x="86" y="196"/>
                    <a:pt x="85" y="196"/>
                    <a:pt x="84" y="196"/>
                  </a:cubicBezTo>
                  <a:cubicBezTo>
                    <a:pt x="84" y="196"/>
                    <a:pt x="84" y="196"/>
                    <a:pt x="84" y="196"/>
                  </a:cubicBezTo>
                  <a:cubicBezTo>
                    <a:pt x="84" y="196"/>
                    <a:pt x="83" y="196"/>
                    <a:pt x="83" y="196"/>
                  </a:cubicBezTo>
                  <a:close/>
                  <a:moveTo>
                    <a:pt x="146" y="186"/>
                  </a:moveTo>
                  <a:cubicBezTo>
                    <a:pt x="145" y="185"/>
                    <a:pt x="145" y="184"/>
                    <a:pt x="146" y="184"/>
                  </a:cubicBezTo>
                  <a:cubicBezTo>
                    <a:pt x="146" y="184"/>
                    <a:pt x="146" y="184"/>
                    <a:pt x="146" y="184"/>
                  </a:cubicBezTo>
                  <a:cubicBezTo>
                    <a:pt x="156" y="177"/>
                    <a:pt x="156" y="177"/>
                    <a:pt x="156" y="177"/>
                  </a:cubicBezTo>
                  <a:cubicBezTo>
                    <a:pt x="157" y="176"/>
                    <a:pt x="158" y="176"/>
                    <a:pt x="159" y="177"/>
                  </a:cubicBezTo>
                  <a:cubicBezTo>
                    <a:pt x="159" y="177"/>
                    <a:pt x="159" y="177"/>
                    <a:pt x="159" y="177"/>
                  </a:cubicBezTo>
                  <a:cubicBezTo>
                    <a:pt x="159" y="178"/>
                    <a:pt x="159" y="179"/>
                    <a:pt x="158" y="180"/>
                  </a:cubicBezTo>
                  <a:cubicBezTo>
                    <a:pt x="158" y="180"/>
                    <a:pt x="158" y="180"/>
                    <a:pt x="158" y="180"/>
                  </a:cubicBezTo>
                  <a:cubicBezTo>
                    <a:pt x="148" y="187"/>
                    <a:pt x="148" y="187"/>
                    <a:pt x="148" y="187"/>
                  </a:cubicBezTo>
                  <a:cubicBezTo>
                    <a:pt x="148" y="187"/>
                    <a:pt x="148" y="187"/>
                    <a:pt x="147" y="187"/>
                  </a:cubicBezTo>
                  <a:cubicBezTo>
                    <a:pt x="147" y="187"/>
                    <a:pt x="147" y="187"/>
                    <a:pt x="147" y="187"/>
                  </a:cubicBezTo>
                  <a:cubicBezTo>
                    <a:pt x="147" y="187"/>
                    <a:pt x="146" y="187"/>
                    <a:pt x="146" y="186"/>
                  </a:cubicBezTo>
                  <a:close/>
                  <a:moveTo>
                    <a:pt x="62" y="184"/>
                  </a:moveTo>
                  <a:cubicBezTo>
                    <a:pt x="52" y="178"/>
                    <a:pt x="52" y="178"/>
                    <a:pt x="52" y="178"/>
                  </a:cubicBezTo>
                  <a:cubicBezTo>
                    <a:pt x="51" y="177"/>
                    <a:pt x="51" y="176"/>
                    <a:pt x="51" y="175"/>
                  </a:cubicBezTo>
                  <a:cubicBezTo>
                    <a:pt x="51" y="175"/>
                    <a:pt x="51" y="175"/>
                    <a:pt x="51" y="175"/>
                  </a:cubicBezTo>
                  <a:cubicBezTo>
                    <a:pt x="52" y="174"/>
                    <a:pt x="53" y="174"/>
                    <a:pt x="54" y="174"/>
                  </a:cubicBezTo>
                  <a:cubicBezTo>
                    <a:pt x="54" y="174"/>
                    <a:pt x="54" y="174"/>
                    <a:pt x="54" y="174"/>
                  </a:cubicBezTo>
                  <a:cubicBezTo>
                    <a:pt x="65" y="180"/>
                    <a:pt x="65" y="180"/>
                    <a:pt x="65" y="180"/>
                  </a:cubicBezTo>
                  <a:cubicBezTo>
                    <a:pt x="65" y="181"/>
                    <a:pt x="66" y="182"/>
                    <a:pt x="65" y="183"/>
                  </a:cubicBezTo>
                  <a:cubicBezTo>
                    <a:pt x="65" y="183"/>
                    <a:pt x="65" y="183"/>
                    <a:pt x="65" y="183"/>
                  </a:cubicBezTo>
                  <a:cubicBezTo>
                    <a:pt x="65" y="184"/>
                    <a:pt x="64" y="184"/>
                    <a:pt x="63" y="184"/>
                  </a:cubicBezTo>
                  <a:cubicBezTo>
                    <a:pt x="63" y="184"/>
                    <a:pt x="63" y="184"/>
                    <a:pt x="63" y="184"/>
                  </a:cubicBezTo>
                  <a:cubicBezTo>
                    <a:pt x="63" y="184"/>
                    <a:pt x="63" y="184"/>
                    <a:pt x="62" y="184"/>
                  </a:cubicBezTo>
                  <a:close/>
                  <a:moveTo>
                    <a:pt x="165" y="173"/>
                  </a:moveTo>
                  <a:cubicBezTo>
                    <a:pt x="165" y="172"/>
                    <a:pt x="165" y="171"/>
                    <a:pt x="166" y="170"/>
                  </a:cubicBezTo>
                  <a:cubicBezTo>
                    <a:pt x="166" y="170"/>
                    <a:pt x="166" y="170"/>
                    <a:pt x="166" y="170"/>
                  </a:cubicBezTo>
                  <a:cubicBezTo>
                    <a:pt x="176" y="163"/>
                    <a:pt x="176" y="163"/>
                    <a:pt x="176" y="163"/>
                  </a:cubicBezTo>
                  <a:cubicBezTo>
                    <a:pt x="177" y="162"/>
                    <a:pt x="178" y="163"/>
                    <a:pt x="179" y="164"/>
                  </a:cubicBezTo>
                  <a:cubicBezTo>
                    <a:pt x="179" y="164"/>
                    <a:pt x="179" y="164"/>
                    <a:pt x="179" y="164"/>
                  </a:cubicBezTo>
                  <a:cubicBezTo>
                    <a:pt x="179" y="164"/>
                    <a:pt x="179" y="166"/>
                    <a:pt x="178" y="166"/>
                  </a:cubicBezTo>
                  <a:cubicBezTo>
                    <a:pt x="178" y="166"/>
                    <a:pt x="178" y="166"/>
                    <a:pt x="178" y="166"/>
                  </a:cubicBezTo>
                  <a:cubicBezTo>
                    <a:pt x="168" y="173"/>
                    <a:pt x="168" y="173"/>
                    <a:pt x="168" y="173"/>
                  </a:cubicBezTo>
                  <a:cubicBezTo>
                    <a:pt x="168" y="173"/>
                    <a:pt x="167" y="174"/>
                    <a:pt x="167" y="174"/>
                  </a:cubicBezTo>
                  <a:cubicBezTo>
                    <a:pt x="167" y="174"/>
                    <a:pt x="167" y="174"/>
                    <a:pt x="167" y="174"/>
                  </a:cubicBezTo>
                  <a:cubicBezTo>
                    <a:pt x="166" y="174"/>
                    <a:pt x="166" y="173"/>
                    <a:pt x="165" y="173"/>
                  </a:cubicBezTo>
                  <a:close/>
                  <a:moveTo>
                    <a:pt x="42" y="172"/>
                  </a:moveTo>
                  <a:cubicBezTo>
                    <a:pt x="31" y="166"/>
                    <a:pt x="31" y="166"/>
                    <a:pt x="31" y="166"/>
                  </a:cubicBezTo>
                  <a:cubicBezTo>
                    <a:pt x="30" y="165"/>
                    <a:pt x="30" y="164"/>
                    <a:pt x="31" y="163"/>
                  </a:cubicBezTo>
                  <a:cubicBezTo>
                    <a:pt x="31" y="163"/>
                    <a:pt x="31" y="163"/>
                    <a:pt x="31" y="163"/>
                  </a:cubicBezTo>
                  <a:cubicBezTo>
                    <a:pt x="31" y="162"/>
                    <a:pt x="33" y="162"/>
                    <a:pt x="33" y="162"/>
                  </a:cubicBezTo>
                  <a:cubicBezTo>
                    <a:pt x="33" y="162"/>
                    <a:pt x="33" y="162"/>
                    <a:pt x="33" y="162"/>
                  </a:cubicBezTo>
                  <a:cubicBezTo>
                    <a:pt x="44" y="168"/>
                    <a:pt x="44" y="168"/>
                    <a:pt x="44" y="168"/>
                  </a:cubicBezTo>
                  <a:cubicBezTo>
                    <a:pt x="45" y="169"/>
                    <a:pt x="45" y="170"/>
                    <a:pt x="45" y="171"/>
                  </a:cubicBezTo>
                  <a:cubicBezTo>
                    <a:pt x="45" y="171"/>
                    <a:pt x="45" y="171"/>
                    <a:pt x="45" y="171"/>
                  </a:cubicBezTo>
                  <a:cubicBezTo>
                    <a:pt x="44" y="172"/>
                    <a:pt x="43" y="172"/>
                    <a:pt x="43" y="172"/>
                  </a:cubicBezTo>
                  <a:cubicBezTo>
                    <a:pt x="43" y="172"/>
                    <a:pt x="43" y="172"/>
                    <a:pt x="43" y="172"/>
                  </a:cubicBezTo>
                  <a:cubicBezTo>
                    <a:pt x="42" y="172"/>
                    <a:pt x="42" y="172"/>
                    <a:pt x="42" y="172"/>
                  </a:cubicBezTo>
                  <a:close/>
                  <a:moveTo>
                    <a:pt x="12" y="163"/>
                  </a:moveTo>
                  <a:cubicBezTo>
                    <a:pt x="12" y="163"/>
                    <a:pt x="11" y="162"/>
                    <a:pt x="11" y="162"/>
                  </a:cubicBezTo>
                  <a:cubicBezTo>
                    <a:pt x="11" y="162"/>
                    <a:pt x="11" y="162"/>
                    <a:pt x="11" y="162"/>
                  </a:cubicBezTo>
                  <a:cubicBezTo>
                    <a:pt x="10" y="162"/>
                    <a:pt x="10" y="162"/>
                    <a:pt x="10" y="162"/>
                  </a:cubicBezTo>
                  <a:cubicBezTo>
                    <a:pt x="10" y="162"/>
                    <a:pt x="10" y="162"/>
                    <a:pt x="10" y="162"/>
                  </a:cubicBezTo>
                  <a:cubicBezTo>
                    <a:pt x="9" y="161"/>
                    <a:pt x="8" y="160"/>
                    <a:pt x="9" y="159"/>
                  </a:cubicBezTo>
                  <a:cubicBezTo>
                    <a:pt x="9" y="159"/>
                    <a:pt x="9" y="159"/>
                    <a:pt x="9" y="159"/>
                  </a:cubicBezTo>
                  <a:cubicBezTo>
                    <a:pt x="9" y="158"/>
                    <a:pt x="10" y="158"/>
                    <a:pt x="11" y="158"/>
                  </a:cubicBezTo>
                  <a:cubicBezTo>
                    <a:pt x="11" y="158"/>
                    <a:pt x="11" y="158"/>
                    <a:pt x="11" y="158"/>
                  </a:cubicBezTo>
                  <a:cubicBezTo>
                    <a:pt x="12" y="158"/>
                    <a:pt x="12" y="158"/>
                    <a:pt x="12" y="158"/>
                  </a:cubicBezTo>
                  <a:cubicBezTo>
                    <a:pt x="12" y="158"/>
                    <a:pt x="12" y="158"/>
                    <a:pt x="12" y="158"/>
                  </a:cubicBezTo>
                  <a:cubicBezTo>
                    <a:pt x="12" y="159"/>
                    <a:pt x="13" y="159"/>
                    <a:pt x="13" y="159"/>
                  </a:cubicBezTo>
                  <a:cubicBezTo>
                    <a:pt x="13" y="159"/>
                    <a:pt x="13" y="159"/>
                    <a:pt x="13" y="159"/>
                  </a:cubicBezTo>
                  <a:cubicBezTo>
                    <a:pt x="14" y="159"/>
                    <a:pt x="15" y="159"/>
                    <a:pt x="16" y="159"/>
                  </a:cubicBezTo>
                  <a:cubicBezTo>
                    <a:pt x="16" y="159"/>
                    <a:pt x="16" y="159"/>
                    <a:pt x="16" y="159"/>
                  </a:cubicBezTo>
                  <a:cubicBezTo>
                    <a:pt x="17" y="159"/>
                    <a:pt x="18" y="159"/>
                    <a:pt x="19" y="159"/>
                  </a:cubicBezTo>
                  <a:cubicBezTo>
                    <a:pt x="19" y="159"/>
                    <a:pt x="19" y="159"/>
                    <a:pt x="19" y="159"/>
                  </a:cubicBezTo>
                  <a:cubicBezTo>
                    <a:pt x="19" y="159"/>
                    <a:pt x="19" y="159"/>
                    <a:pt x="19" y="159"/>
                  </a:cubicBezTo>
                  <a:cubicBezTo>
                    <a:pt x="19" y="159"/>
                    <a:pt x="19" y="159"/>
                    <a:pt x="19" y="159"/>
                  </a:cubicBezTo>
                  <a:cubicBezTo>
                    <a:pt x="20" y="158"/>
                    <a:pt x="21" y="158"/>
                    <a:pt x="21" y="158"/>
                  </a:cubicBezTo>
                  <a:cubicBezTo>
                    <a:pt x="21" y="158"/>
                    <a:pt x="21" y="158"/>
                    <a:pt x="21" y="158"/>
                  </a:cubicBezTo>
                  <a:cubicBezTo>
                    <a:pt x="22" y="157"/>
                    <a:pt x="23" y="158"/>
                    <a:pt x="24" y="159"/>
                  </a:cubicBezTo>
                  <a:cubicBezTo>
                    <a:pt x="24" y="159"/>
                    <a:pt x="24" y="159"/>
                    <a:pt x="24" y="159"/>
                  </a:cubicBezTo>
                  <a:cubicBezTo>
                    <a:pt x="24" y="160"/>
                    <a:pt x="24" y="161"/>
                    <a:pt x="23" y="161"/>
                  </a:cubicBezTo>
                  <a:cubicBezTo>
                    <a:pt x="23" y="161"/>
                    <a:pt x="23" y="161"/>
                    <a:pt x="23" y="161"/>
                  </a:cubicBezTo>
                  <a:cubicBezTo>
                    <a:pt x="22" y="162"/>
                    <a:pt x="21" y="162"/>
                    <a:pt x="20" y="162"/>
                  </a:cubicBezTo>
                  <a:cubicBezTo>
                    <a:pt x="20" y="162"/>
                    <a:pt x="20" y="162"/>
                    <a:pt x="20" y="162"/>
                  </a:cubicBezTo>
                  <a:cubicBezTo>
                    <a:pt x="20" y="163"/>
                    <a:pt x="20" y="163"/>
                    <a:pt x="20" y="163"/>
                  </a:cubicBezTo>
                  <a:cubicBezTo>
                    <a:pt x="20" y="163"/>
                    <a:pt x="20" y="163"/>
                    <a:pt x="20" y="163"/>
                  </a:cubicBezTo>
                  <a:cubicBezTo>
                    <a:pt x="18" y="163"/>
                    <a:pt x="17" y="163"/>
                    <a:pt x="16" y="163"/>
                  </a:cubicBezTo>
                  <a:cubicBezTo>
                    <a:pt x="16" y="163"/>
                    <a:pt x="16" y="163"/>
                    <a:pt x="16" y="163"/>
                  </a:cubicBezTo>
                  <a:cubicBezTo>
                    <a:pt x="15" y="163"/>
                    <a:pt x="13" y="163"/>
                    <a:pt x="12" y="163"/>
                  </a:cubicBezTo>
                  <a:close/>
                  <a:moveTo>
                    <a:pt x="185" y="159"/>
                  </a:moveTo>
                  <a:cubicBezTo>
                    <a:pt x="184" y="158"/>
                    <a:pt x="185" y="157"/>
                    <a:pt x="186" y="156"/>
                  </a:cubicBezTo>
                  <a:cubicBezTo>
                    <a:pt x="186" y="156"/>
                    <a:pt x="186" y="156"/>
                    <a:pt x="186" y="156"/>
                  </a:cubicBezTo>
                  <a:cubicBezTo>
                    <a:pt x="195" y="149"/>
                    <a:pt x="195" y="149"/>
                    <a:pt x="195" y="149"/>
                  </a:cubicBezTo>
                  <a:cubicBezTo>
                    <a:pt x="196" y="149"/>
                    <a:pt x="198" y="149"/>
                    <a:pt x="198" y="150"/>
                  </a:cubicBezTo>
                  <a:cubicBezTo>
                    <a:pt x="198" y="150"/>
                    <a:pt x="198" y="150"/>
                    <a:pt x="198" y="150"/>
                  </a:cubicBezTo>
                  <a:cubicBezTo>
                    <a:pt x="199" y="151"/>
                    <a:pt x="199" y="152"/>
                    <a:pt x="198" y="153"/>
                  </a:cubicBezTo>
                  <a:cubicBezTo>
                    <a:pt x="198" y="153"/>
                    <a:pt x="198" y="153"/>
                    <a:pt x="198" y="153"/>
                  </a:cubicBezTo>
                  <a:cubicBezTo>
                    <a:pt x="188" y="160"/>
                    <a:pt x="188" y="160"/>
                    <a:pt x="188" y="160"/>
                  </a:cubicBezTo>
                  <a:cubicBezTo>
                    <a:pt x="188" y="160"/>
                    <a:pt x="187" y="160"/>
                    <a:pt x="187" y="160"/>
                  </a:cubicBezTo>
                  <a:cubicBezTo>
                    <a:pt x="187" y="160"/>
                    <a:pt x="187" y="160"/>
                    <a:pt x="187" y="160"/>
                  </a:cubicBezTo>
                  <a:cubicBezTo>
                    <a:pt x="186" y="160"/>
                    <a:pt x="185" y="160"/>
                    <a:pt x="185" y="159"/>
                  </a:cubicBezTo>
                  <a:close/>
                  <a:moveTo>
                    <a:pt x="1" y="152"/>
                  </a:moveTo>
                  <a:cubicBezTo>
                    <a:pt x="1" y="152"/>
                    <a:pt x="1" y="152"/>
                    <a:pt x="1" y="151"/>
                  </a:cubicBezTo>
                  <a:cubicBezTo>
                    <a:pt x="1" y="151"/>
                    <a:pt x="1" y="151"/>
                    <a:pt x="1" y="151"/>
                  </a:cubicBezTo>
                  <a:cubicBezTo>
                    <a:pt x="1" y="151"/>
                    <a:pt x="0" y="150"/>
                    <a:pt x="0" y="149"/>
                  </a:cubicBezTo>
                  <a:cubicBezTo>
                    <a:pt x="0" y="149"/>
                    <a:pt x="0" y="149"/>
                    <a:pt x="0" y="149"/>
                  </a:cubicBezTo>
                  <a:cubicBezTo>
                    <a:pt x="0" y="149"/>
                    <a:pt x="0" y="149"/>
                    <a:pt x="0" y="149"/>
                  </a:cubicBezTo>
                  <a:cubicBezTo>
                    <a:pt x="0" y="149"/>
                    <a:pt x="0" y="149"/>
                    <a:pt x="0" y="149"/>
                  </a:cubicBezTo>
                  <a:cubicBezTo>
                    <a:pt x="0" y="149"/>
                    <a:pt x="0" y="149"/>
                    <a:pt x="0" y="149"/>
                  </a:cubicBezTo>
                  <a:cubicBezTo>
                    <a:pt x="0" y="149"/>
                    <a:pt x="0" y="149"/>
                    <a:pt x="0" y="149"/>
                  </a:cubicBezTo>
                  <a:cubicBezTo>
                    <a:pt x="0" y="149"/>
                    <a:pt x="0" y="148"/>
                    <a:pt x="0" y="148"/>
                  </a:cubicBezTo>
                  <a:cubicBezTo>
                    <a:pt x="0" y="148"/>
                    <a:pt x="0" y="148"/>
                    <a:pt x="0" y="148"/>
                  </a:cubicBezTo>
                  <a:cubicBezTo>
                    <a:pt x="0" y="148"/>
                    <a:pt x="0" y="148"/>
                    <a:pt x="0" y="147"/>
                  </a:cubicBezTo>
                  <a:cubicBezTo>
                    <a:pt x="0" y="147"/>
                    <a:pt x="0" y="147"/>
                    <a:pt x="0" y="147"/>
                  </a:cubicBezTo>
                  <a:cubicBezTo>
                    <a:pt x="0" y="139"/>
                    <a:pt x="0" y="139"/>
                    <a:pt x="0" y="139"/>
                  </a:cubicBezTo>
                  <a:cubicBezTo>
                    <a:pt x="0" y="138"/>
                    <a:pt x="1" y="137"/>
                    <a:pt x="2" y="137"/>
                  </a:cubicBezTo>
                  <a:cubicBezTo>
                    <a:pt x="2" y="137"/>
                    <a:pt x="2" y="137"/>
                    <a:pt x="2" y="137"/>
                  </a:cubicBezTo>
                  <a:cubicBezTo>
                    <a:pt x="3" y="137"/>
                    <a:pt x="4" y="138"/>
                    <a:pt x="4" y="139"/>
                  </a:cubicBezTo>
                  <a:cubicBezTo>
                    <a:pt x="4" y="139"/>
                    <a:pt x="4" y="139"/>
                    <a:pt x="4" y="139"/>
                  </a:cubicBezTo>
                  <a:cubicBezTo>
                    <a:pt x="4" y="147"/>
                    <a:pt x="4" y="147"/>
                    <a:pt x="4" y="147"/>
                  </a:cubicBezTo>
                  <a:cubicBezTo>
                    <a:pt x="4" y="147"/>
                    <a:pt x="4" y="148"/>
                    <a:pt x="4" y="148"/>
                  </a:cubicBezTo>
                  <a:cubicBezTo>
                    <a:pt x="4" y="148"/>
                    <a:pt x="4" y="148"/>
                    <a:pt x="4" y="148"/>
                  </a:cubicBezTo>
                  <a:cubicBezTo>
                    <a:pt x="4" y="148"/>
                    <a:pt x="4" y="148"/>
                    <a:pt x="4" y="148"/>
                  </a:cubicBezTo>
                  <a:cubicBezTo>
                    <a:pt x="4" y="148"/>
                    <a:pt x="4" y="148"/>
                    <a:pt x="4" y="148"/>
                  </a:cubicBezTo>
                  <a:cubicBezTo>
                    <a:pt x="4" y="149"/>
                    <a:pt x="4" y="149"/>
                    <a:pt x="4" y="149"/>
                  </a:cubicBezTo>
                  <a:cubicBezTo>
                    <a:pt x="4" y="149"/>
                    <a:pt x="4" y="149"/>
                    <a:pt x="4" y="149"/>
                  </a:cubicBezTo>
                  <a:cubicBezTo>
                    <a:pt x="4" y="149"/>
                    <a:pt x="4" y="149"/>
                    <a:pt x="4" y="149"/>
                  </a:cubicBezTo>
                  <a:cubicBezTo>
                    <a:pt x="4" y="149"/>
                    <a:pt x="4" y="149"/>
                    <a:pt x="4" y="149"/>
                  </a:cubicBezTo>
                  <a:cubicBezTo>
                    <a:pt x="4" y="149"/>
                    <a:pt x="4" y="150"/>
                    <a:pt x="5" y="150"/>
                  </a:cubicBezTo>
                  <a:cubicBezTo>
                    <a:pt x="5" y="150"/>
                    <a:pt x="5" y="150"/>
                    <a:pt x="5" y="150"/>
                  </a:cubicBezTo>
                  <a:cubicBezTo>
                    <a:pt x="5" y="150"/>
                    <a:pt x="5" y="151"/>
                    <a:pt x="5" y="151"/>
                  </a:cubicBezTo>
                  <a:cubicBezTo>
                    <a:pt x="5" y="151"/>
                    <a:pt x="5" y="151"/>
                    <a:pt x="5" y="151"/>
                  </a:cubicBezTo>
                  <a:cubicBezTo>
                    <a:pt x="5" y="152"/>
                    <a:pt x="4" y="153"/>
                    <a:pt x="3" y="153"/>
                  </a:cubicBezTo>
                  <a:cubicBezTo>
                    <a:pt x="3" y="153"/>
                    <a:pt x="3" y="153"/>
                    <a:pt x="3" y="153"/>
                  </a:cubicBezTo>
                  <a:cubicBezTo>
                    <a:pt x="3" y="153"/>
                    <a:pt x="3" y="153"/>
                    <a:pt x="3" y="153"/>
                  </a:cubicBezTo>
                  <a:cubicBezTo>
                    <a:pt x="3" y="153"/>
                    <a:pt x="3" y="153"/>
                    <a:pt x="3" y="153"/>
                  </a:cubicBezTo>
                  <a:cubicBezTo>
                    <a:pt x="2" y="153"/>
                    <a:pt x="1" y="153"/>
                    <a:pt x="1" y="152"/>
                  </a:cubicBezTo>
                  <a:close/>
                  <a:moveTo>
                    <a:pt x="199" y="141"/>
                  </a:moveTo>
                  <a:cubicBezTo>
                    <a:pt x="199" y="129"/>
                    <a:pt x="199" y="129"/>
                    <a:pt x="199" y="129"/>
                  </a:cubicBezTo>
                  <a:cubicBezTo>
                    <a:pt x="199" y="128"/>
                    <a:pt x="200" y="127"/>
                    <a:pt x="201" y="127"/>
                  </a:cubicBezTo>
                  <a:cubicBezTo>
                    <a:pt x="201" y="127"/>
                    <a:pt x="201" y="127"/>
                    <a:pt x="201" y="127"/>
                  </a:cubicBezTo>
                  <a:cubicBezTo>
                    <a:pt x="203" y="127"/>
                    <a:pt x="203" y="128"/>
                    <a:pt x="203" y="129"/>
                  </a:cubicBezTo>
                  <a:cubicBezTo>
                    <a:pt x="203" y="129"/>
                    <a:pt x="203" y="129"/>
                    <a:pt x="203" y="129"/>
                  </a:cubicBezTo>
                  <a:cubicBezTo>
                    <a:pt x="203" y="141"/>
                    <a:pt x="203" y="141"/>
                    <a:pt x="203" y="141"/>
                  </a:cubicBezTo>
                  <a:cubicBezTo>
                    <a:pt x="203" y="142"/>
                    <a:pt x="203" y="143"/>
                    <a:pt x="201" y="143"/>
                  </a:cubicBezTo>
                  <a:cubicBezTo>
                    <a:pt x="201" y="143"/>
                    <a:pt x="201" y="143"/>
                    <a:pt x="201" y="143"/>
                  </a:cubicBezTo>
                  <a:cubicBezTo>
                    <a:pt x="200" y="143"/>
                    <a:pt x="199" y="142"/>
                    <a:pt x="199" y="141"/>
                  </a:cubicBezTo>
                  <a:close/>
                  <a:moveTo>
                    <a:pt x="2" y="129"/>
                  </a:moveTo>
                  <a:cubicBezTo>
                    <a:pt x="1" y="129"/>
                    <a:pt x="0" y="129"/>
                    <a:pt x="0" y="127"/>
                  </a:cubicBezTo>
                  <a:cubicBezTo>
                    <a:pt x="0" y="127"/>
                    <a:pt x="0" y="127"/>
                    <a:pt x="0" y="127"/>
                  </a:cubicBezTo>
                  <a:cubicBezTo>
                    <a:pt x="0" y="127"/>
                    <a:pt x="0" y="126"/>
                    <a:pt x="0" y="125"/>
                  </a:cubicBezTo>
                  <a:cubicBezTo>
                    <a:pt x="0" y="125"/>
                    <a:pt x="0" y="125"/>
                    <a:pt x="0" y="125"/>
                  </a:cubicBezTo>
                  <a:cubicBezTo>
                    <a:pt x="0" y="125"/>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3"/>
                    <a:pt x="1" y="123"/>
                    <a:pt x="1" y="123"/>
                  </a:cubicBezTo>
                  <a:cubicBezTo>
                    <a:pt x="1" y="123"/>
                    <a:pt x="1" y="123"/>
                    <a:pt x="1" y="123"/>
                  </a:cubicBezTo>
                  <a:cubicBezTo>
                    <a:pt x="1" y="122"/>
                    <a:pt x="2" y="121"/>
                    <a:pt x="2" y="120"/>
                  </a:cubicBezTo>
                  <a:cubicBezTo>
                    <a:pt x="2" y="120"/>
                    <a:pt x="2" y="120"/>
                    <a:pt x="2" y="120"/>
                  </a:cubicBezTo>
                  <a:cubicBezTo>
                    <a:pt x="2" y="120"/>
                    <a:pt x="2" y="120"/>
                    <a:pt x="2" y="120"/>
                  </a:cubicBezTo>
                  <a:cubicBezTo>
                    <a:pt x="2" y="120"/>
                    <a:pt x="2" y="120"/>
                    <a:pt x="2" y="120"/>
                  </a:cubicBezTo>
                  <a:cubicBezTo>
                    <a:pt x="2" y="119"/>
                    <a:pt x="3" y="119"/>
                    <a:pt x="3" y="119"/>
                  </a:cubicBezTo>
                  <a:cubicBezTo>
                    <a:pt x="3" y="119"/>
                    <a:pt x="3" y="119"/>
                    <a:pt x="3" y="119"/>
                  </a:cubicBezTo>
                  <a:cubicBezTo>
                    <a:pt x="3" y="119"/>
                    <a:pt x="3" y="118"/>
                    <a:pt x="4" y="118"/>
                  </a:cubicBezTo>
                  <a:cubicBezTo>
                    <a:pt x="4" y="118"/>
                    <a:pt x="4" y="118"/>
                    <a:pt x="4" y="118"/>
                  </a:cubicBezTo>
                  <a:cubicBezTo>
                    <a:pt x="4" y="117"/>
                    <a:pt x="4" y="117"/>
                    <a:pt x="4" y="117"/>
                  </a:cubicBezTo>
                  <a:cubicBezTo>
                    <a:pt x="4" y="117"/>
                    <a:pt x="4" y="117"/>
                    <a:pt x="4" y="117"/>
                  </a:cubicBezTo>
                  <a:cubicBezTo>
                    <a:pt x="5" y="117"/>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6" y="115"/>
                    <a:pt x="8" y="115"/>
                    <a:pt x="8" y="116"/>
                  </a:cubicBezTo>
                  <a:cubicBezTo>
                    <a:pt x="8" y="116"/>
                    <a:pt x="8" y="116"/>
                    <a:pt x="8" y="116"/>
                  </a:cubicBezTo>
                  <a:cubicBezTo>
                    <a:pt x="9" y="117"/>
                    <a:pt x="9" y="118"/>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7" y="119"/>
                    <a:pt x="7" y="120"/>
                  </a:cubicBezTo>
                  <a:cubicBezTo>
                    <a:pt x="7" y="120"/>
                    <a:pt x="7" y="120"/>
                    <a:pt x="7" y="120"/>
                  </a:cubicBezTo>
                  <a:cubicBezTo>
                    <a:pt x="7" y="120"/>
                    <a:pt x="7" y="120"/>
                    <a:pt x="7" y="120"/>
                  </a:cubicBezTo>
                  <a:cubicBezTo>
                    <a:pt x="7" y="120"/>
                    <a:pt x="7" y="120"/>
                    <a:pt x="7" y="120"/>
                  </a:cubicBezTo>
                  <a:cubicBezTo>
                    <a:pt x="7" y="120"/>
                    <a:pt x="6" y="121"/>
                    <a:pt x="6" y="121"/>
                  </a:cubicBezTo>
                  <a:cubicBezTo>
                    <a:pt x="6" y="121"/>
                    <a:pt x="6" y="121"/>
                    <a:pt x="6" y="121"/>
                  </a:cubicBezTo>
                  <a:cubicBezTo>
                    <a:pt x="6" y="121"/>
                    <a:pt x="6" y="122"/>
                    <a:pt x="6" y="122"/>
                  </a:cubicBezTo>
                  <a:cubicBezTo>
                    <a:pt x="6" y="122"/>
                    <a:pt x="6" y="122"/>
                    <a:pt x="6" y="122"/>
                  </a:cubicBezTo>
                  <a:cubicBezTo>
                    <a:pt x="6" y="122"/>
                    <a:pt x="6" y="122"/>
                    <a:pt x="6" y="122"/>
                  </a:cubicBezTo>
                  <a:cubicBezTo>
                    <a:pt x="6" y="122"/>
                    <a:pt x="6" y="122"/>
                    <a:pt x="6" y="122"/>
                  </a:cubicBezTo>
                  <a:cubicBezTo>
                    <a:pt x="5" y="123"/>
                    <a:pt x="5" y="123"/>
                    <a:pt x="5" y="124"/>
                  </a:cubicBezTo>
                  <a:cubicBezTo>
                    <a:pt x="5" y="124"/>
                    <a:pt x="5" y="124"/>
                    <a:pt x="5" y="124"/>
                  </a:cubicBezTo>
                  <a:cubicBezTo>
                    <a:pt x="5" y="124"/>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4" y="125"/>
                    <a:pt x="4" y="126"/>
                    <a:pt x="4" y="126"/>
                  </a:cubicBezTo>
                  <a:cubicBezTo>
                    <a:pt x="4" y="126"/>
                    <a:pt x="4" y="126"/>
                    <a:pt x="4" y="126"/>
                  </a:cubicBezTo>
                  <a:cubicBezTo>
                    <a:pt x="4" y="126"/>
                    <a:pt x="4" y="127"/>
                    <a:pt x="4" y="127"/>
                  </a:cubicBezTo>
                  <a:cubicBezTo>
                    <a:pt x="4" y="127"/>
                    <a:pt x="4" y="127"/>
                    <a:pt x="4" y="127"/>
                  </a:cubicBezTo>
                  <a:cubicBezTo>
                    <a:pt x="4" y="129"/>
                    <a:pt x="3" y="129"/>
                    <a:pt x="2" y="129"/>
                  </a:cubicBezTo>
                  <a:cubicBezTo>
                    <a:pt x="2" y="129"/>
                    <a:pt x="2" y="129"/>
                    <a:pt x="2" y="129"/>
                  </a:cubicBezTo>
                  <a:cubicBezTo>
                    <a:pt x="2" y="129"/>
                    <a:pt x="2" y="129"/>
                    <a:pt x="2" y="129"/>
                  </a:cubicBezTo>
                  <a:close/>
                  <a:moveTo>
                    <a:pt x="199" y="117"/>
                  </a:moveTo>
                  <a:cubicBezTo>
                    <a:pt x="199" y="115"/>
                    <a:pt x="199" y="115"/>
                    <a:pt x="199" y="115"/>
                  </a:cubicBezTo>
                  <a:cubicBezTo>
                    <a:pt x="199" y="113"/>
                    <a:pt x="198" y="111"/>
                    <a:pt x="196" y="110"/>
                  </a:cubicBezTo>
                  <a:cubicBezTo>
                    <a:pt x="196" y="110"/>
                    <a:pt x="196" y="110"/>
                    <a:pt x="196" y="110"/>
                  </a:cubicBezTo>
                  <a:cubicBezTo>
                    <a:pt x="195" y="109"/>
                    <a:pt x="195" y="109"/>
                    <a:pt x="195" y="109"/>
                  </a:cubicBezTo>
                  <a:cubicBezTo>
                    <a:pt x="194" y="108"/>
                    <a:pt x="194" y="107"/>
                    <a:pt x="194" y="106"/>
                  </a:cubicBezTo>
                  <a:cubicBezTo>
                    <a:pt x="194" y="106"/>
                    <a:pt x="194" y="106"/>
                    <a:pt x="194" y="106"/>
                  </a:cubicBezTo>
                  <a:cubicBezTo>
                    <a:pt x="195" y="105"/>
                    <a:pt x="196" y="105"/>
                    <a:pt x="197" y="105"/>
                  </a:cubicBezTo>
                  <a:cubicBezTo>
                    <a:pt x="197" y="105"/>
                    <a:pt x="197" y="105"/>
                    <a:pt x="197" y="105"/>
                  </a:cubicBezTo>
                  <a:cubicBezTo>
                    <a:pt x="198" y="106"/>
                    <a:pt x="198" y="106"/>
                    <a:pt x="198" y="106"/>
                  </a:cubicBezTo>
                  <a:cubicBezTo>
                    <a:pt x="202" y="108"/>
                    <a:pt x="203" y="111"/>
                    <a:pt x="203" y="115"/>
                  </a:cubicBezTo>
                  <a:cubicBezTo>
                    <a:pt x="203" y="115"/>
                    <a:pt x="203" y="115"/>
                    <a:pt x="203" y="115"/>
                  </a:cubicBezTo>
                  <a:cubicBezTo>
                    <a:pt x="203" y="117"/>
                    <a:pt x="203" y="117"/>
                    <a:pt x="203" y="117"/>
                  </a:cubicBezTo>
                  <a:cubicBezTo>
                    <a:pt x="203" y="118"/>
                    <a:pt x="203" y="119"/>
                    <a:pt x="201" y="119"/>
                  </a:cubicBezTo>
                  <a:cubicBezTo>
                    <a:pt x="201" y="119"/>
                    <a:pt x="201" y="119"/>
                    <a:pt x="201" y="119"/>
                  </a:cubicBezTo>
                  <a:cubicBezTo>
                    <a:pt x="200" y="119"/>
                    <a:pt x="199" y="118"/>
                    <a:pt x="199" y="117"/>
                  </a:cubicBezTo>
                  <a:close/>
                  <a:moveTo>
                    <a:pt x="10" y="108"/>
                  </a:moveTo>
                  <a:cubicBezTo>
                    <a:pt x="10" y="108"/>
                    <a:pt x="10" y="106"/>
                    <a:pt x="11" y="106"/>
                  </a:cubicBezTo>
                  <a:cubicBezTo>
                    <a:pt x="11" y="106"/>
                    <a:pt x="11" y="106"/>
                    <a:pt x="11" y="106"/>
                  </a:cubicBezTo>
                  <a:cubicBezTo>
                    <a:pt x="11" y="105"/>
                    <a:pt x="12" y="105"/>
                    <a:pt x="13" y="104"/>
                  </a:cubicBezTo>
                  <a:cubicBezTo>
                    <a:pt x="13" y="104"/>
                    <a:pt x="13" y="104"/>
                    <a:pt x="13" y="104"/>
                  </a:cubicBezTo>
                  <a:cubicBezTo>
                    <a:pt x="13" y="104"/>
                    <a:pt x="13" y="104"/>
                    <a:pt x="12" y="104"/>
                  </a:cubicBezTo>
                  <a:cubicBezTo>
                    <a:pt x="12" y="104"/>
                    <a:pt x="12" y="104"/>
                    <a:pt x="12" y="104"/>
                  </a:cubicBezTo>
                  <a:cubicBezTo>
                    <a:pt x="11" y="104"/>
                    <a:pt x="11" y="103"/>
                    <a:pt x="11" y="102"/>
                  </a:cubicBezTo>
                  <a:cubicBezTo>
                    <a:pt x="11" y="102"/>
                    <a:pt x="11" y="102"/>
                    <a:pt x="11" y="102"/>
                  </a:cubicBezTo>
                  <a:cubicBezTo>
                    <a:pt x="11" y="100"/>
                    <a:pt x="12" y="100"/>
                    <a:pt x="13" y="100"/>
                  </a:cubicBezTo>
                  <a:cubicBezTo>
                    <a:pt x="13" y="100"/>
                    <a:pt x="13" y="100"/>
                    <a:pt x="13" y="100"/>
                  </a:cubicBezTo>
                  <a:cubicBezTo>
                    <a:pt x="14" y="100"/>
                    <a:pt x="15" y="100"/>
                    <a:pt x="16" y="100"/>
                  </a:cubicBezTo>
                  <a:cubicBezTo>
                    <a:pt x="16" y="100"/>
                    <a:pt x="16" y="100"/>
                    <a:pt x="16" y="100"/>
                  </a:cubicBezTo>
                  <a:cubicBezTo>
                    <a:pt x="18" y="100"/>
                    <a:pt x="18" y="102"/>
                    <a:pt x="19" y="102"/>
                  </a:cubicBezTo>
                  <a:cubicBezTo>
                    <a:pt x="19" y="102"/>
                    <a:pt x="19" y="102"/>
                    <a:pt x="19" y="102"/>
                  </a:cubicBezTo>
                  <a:cubicBezTo>
                    <a:pt x="19" y="103"/>
                    <a:pt x="19" y="104"/>
                    <a:pt x="19" y="105"/>
                  </a:cubicBezTo>
                  <a:cubicBezTo>
                    <a:pt x="19" y="105"/>
                    <a:pt x="19" y="105"/>
                    <a:pt x="19" y="105"/>
                  </a:cubicBezTo>
                  <a:cubicBezTo>
                    <a:pt x="19" y="105"/>
                    <a:pt x="19" y="106"/>
                    <a:pt x="19" y="106"/>
                  </a:cubicBezTo>
                  <a:cubicBezTo>
                    <a:pt x="19" y="106"/>
                    <a:pt x="19" y="106"/>
                    <a:pt x="19" y="106"/>
                  </a:cubicBezTo>
                  <a:cubicBezTo>
                    <a:pt x="18" y="106"/>
                    <a:pt x="18" y="107"/>
                    <a:pt x="17" y="108"/>
                  </a:cubicBezTo>
                  <a:cubicBezTo>
                    <a:pt x="17" y="108"/>
                    <a:pt x="17" y="108"/>
                    <a:pt x="17" y="108"/>
                  </a:cubicBezTo>
                  <a:cubicBezTo>
                    <a:pt x="15" y="108"/>
                    <a:pt x="14" y="108"/>
                    <a:pt x="13" y="109"/>
                  </a:cubicBezTo>
                  <a:cubicBezTo>
                    <a:pt x="13" y="109"/>
                    <a:pt x="13" y="109"/>
                    <a:pt x="13" y="109"/>
                  </a:cubicBezTo>
                  <a:cubicBezTo>
                    <a:pt x="13" y="109"/>
                    <a:pt x="12" y="109"/>
                    <a:pt x="12" y="109"/>
                  </a:cubicBezTo>
                  <a:cubicBezTo>
                    <a:pt x="12" y="109"/>
                    <a:pt x="12" y="109"/>
                    <a:pt x="12" y="109"/>
                  </a:cubicBezTo>
                  <a:cubicBezTo>
                    <a:pt x="11" y="109"/>
                    <a:pt x="11" y="109"/>
                    <a:pt x="10" y="108"/>
                  </a:cubicBezTo>
                  <a:close/>
                  <a:moveTo>
                    <a:pt x="185" y="103"/>
                  </a:moveTo>
                  <a:cubicBezTo>
                    <a:pt x="184" y="102"/>
                    <a:pt x="184" y="102"/>
                    <a:pt x="184" y="102"/>
                  </a:cubicBezTo>
                  <a:cubicBezTo>
                    <a:pt x="183" y="102"/>
                    <a:pt x="183" y="101"/>
                    <a:pt x="183" y="101"/>
                  </a:cubicBezTo>
                  <a:cubicBezTo>
                    <a:pt x="183" y="101"/>
                    <a:pt x="183" y="101"/>
                    <a:pt x="183" y="101"/>
                  </a:cubicBezTo>
                  <a:cubicBezTo>
                    <a:pt x="183" y="100"/>
                    <a:pt x="183" y="99"/>
                    <a:pt x="184" y="99"/>
                  </a:cubicBezTo>
                  <a:cubicBezTo>
                    <a:pt x="184" y="99"/>
                    <a:pt x="184" y="99"/>
                    <a:pt x="184" y="99"/>
                  </a:cubicBezTo>
                  <a:cubicBezTo>
                    <a:pt x="193" y="93"/>
                    <a:pt x="193" y="93"/>
                    <a:pt x="193" y="93"/>
                  </a:cubicBezTo>
                  <a:cubicBezTo>
                    <a:pt x="194" y="93"/>
                    <a:pt x="196" y="93"/>
                    <a:pt x="196" y="94"/>
                  </a:cubicBezTo>
                  <a:cubicBezTo>
                    <a:pt x="196" y="94"/>
                    <a:pt x="196" y="94"/>
                    <a:pt x="196" y="94"/>
                  </a:cubicBezTo>
                  <a:cubicBezTo>
                    <a:pt x="197" y="95"/>
                    <a:pt x="196" y="96"/>
                    <a:pt x="195" y="97"/>
                  </a:cubicBezTo>
                  <a:cubicBezTo>
                    <a:pt x="195" y="97"/>
                    <a:pt x="195" y="97"/>
                    <a:pt x="195" y="97"/>
                  </a:cubicBezTo>
                  <a:cubicBezTo>
                    <a:pt x="188" y="101"/>
                    <a:pt x="188" y="101"/>
                    <a:pt x="188" y="101"/>
                  </a:cubicBezTo>
                  <a:cubicBezTo>
                    <a:pt x="187" y="102"/>
                    <a:pt x="187" y="102"/>
                    <a:pt x="187" y="102"/>
                  </a:cubicBezTo>
                  <a:cubicBezTo>
                    <a:pt x="187" y="102"/>
                    <a:pt x="187" y="102"/>
                    <a:pt x="187" y="102"/>
                  </a:cubicBezTo>
                  <a:cubicBezTo>
                    <a:pt x="187" y="103"/>
                    <a:pt x="186" y="103"/>
                    <a:pt x="186" y="103"/>
                  </a:cubicBezTo>
                  <a:cubicBezTo>
                    <a:pt x="186" y="103"/>
                    <a:pt x="186" y="103"/>
                    <a:pt x="186" y="103"/>
                  </a:cubicBezTo>
                  <a:cubicBezTo>
                    <a:pt x="185" y="103"/>
                    <a:pt x="185" y="103"/>
                    <a:pt x="185" y="103"/>
                  </a:cubicBezTo>
                  <a:close/>
                  <a:moveTo>
                    <a:pt x="2" y="96"/>
                  </a:moveTo>
                  <a:cubicBezTo>
                    <a:pt x="2" y="96"/>
                    <a:pt x="2" y="96"/>
                    <a:pt x="2" y="96"/>
                  </a:cubicBezTo>
                  <a:cubicBezTo>
                    <a:pt x="2" y="96"/>
                    <a:pt x="2" y="96"/>
                    <a:pt x="2" y="96"/>
                  </a:cubicBezTo>
                  <a:cubicBezTo>
                    <a:pt x="2" y="95"/>
                    <a:pt x="2" y="95"/>
                    <a:pt x="1" y="95"/>
                  </a:cubicBezTo>
                  <a:cubicBezTo>
                    <a:pt x="1" y="95"/>
                    <a:pt x="1" y="95"/>
                    <a:pt x="1" y="95"/>
                  </a:cubicBezTo>
                  <a:cubicBezTo>
                    <a:pt x="1" y="94"/>
                    <a:pt x="1" y="94"/>
                    <a:pt x="1" y="94"/>
                  </a:cubicBezTo>
                  <a:cubicBezTo>
                    <a:pt x="1" y="94"/>
                    <a:pt x="1" y="93"/>
                    <a:pt x="1" y="93"/>
                  </a:cubicBezTo>
                  <a:cubicBezTo>
                    <a:pt x="1" y="93"/>
                    <a:pt x="1" y="93"/>
                    <a:pt x="1" y="93"/>
                  </a:cubicBezTo>
                  <a:cubicBezTo>
                    <a:pt x="1" y="92"/>
                    <a:pt x="0" y="91"/>
                    <a:pt x="0" y="91"/>
                  </a:cubicBezTo>
                  <a:cubicBezTo>
                    <a:pt x="0" y="91"/>
                    <a:pt x="0" y="91"/>
                    <a:pt x="0" y="91"/>
                  </a:cubicBezTo>
                  <a:cubicBezTo>
                    <a:pt x="0" y="90"/>
                    <a:pt x="0" y="90"/>
                    <a:pt x="0" y="90"/>
                  </a:cubicBezTo>
                  <a:cubicBezTo>
                    <a:pt x="0" y="90"/>
                    <a:pt x="0" y="90"/>
                    <a:pt x="0" y="90"/>
                  </a:cubicBezTo>
                  <a:cubicBezTo>
                    <a:pt x="0" y="90"/>
                    <a:pt x="0" y="89"/>
                    <a:pt x="0" y="89"/>
                  </a:cubicBezTo>
                  <a:cubicBezTo>
                    <a:pt x="0" y="89"/>
                    <a:pt x="0" y="89"/>
                    <a:pt x="0" y="89"/>
                  </a:cubicBezTo>
                  <a:cubicBezTo>
                    <a:pt x="0" y="83"/>
                    <a:pt x="0" y="83"/>
                    <a:pt x="0" y="83"/>
                  </a:cubicBezTo>
                  <a:cubicBezTo>
                    <a:pt x="0" y="82"/>
                    <a:pt x="1" y="81"/>
                    <a:pt x="2" y="81"/>
                  </a:cubicBezTo>
                  <a:cubicBezTo>
                    <a:pt x="2" y="81"/>
                    <a:pt x="2" y="81"/>
                    <a:pt x="2" y="81"/>
                  </a:cubicBezTo>
                  <a:cubicBezTo>
                    <a:pt x="3" y="81"/>
                    <a:pt x="4" y="82"/>
                    <a:pt x="4" y="83"/>
                  </a:cubicBezTo>
                  <a:cubicBezTo>
                    <a:pt x="4" y="83"/>
                    <a:pt x="4" y="83"/>
                    <a:pt x="4" y="83"/>
                  </a:cubicBezTo>
                  <a:cubicBezTo>
                    <a:pt x="4" y="89"/>
                    <a:pt x="4" y="89"/>
                    <a:pt x="4" y="89"/>
                  </a:cubicBezTo>
                  <a:cubicBezTo>
                    <a:pt x="4" y="89"/>
                    <a:pt x="4" y="89"/>
                    <a:pt x="4" y="90"/>
                  </a:cubicBezTo>
                  <a:cubicBezTo>
                    <a:pt x="4" y="90"/>
                    <a:pt x="4" y="90"/>
                    <a:pt x="4" y="90"/>
                  </a:cubicBezTo>
                  <a:cubicBezTo>
                    <a:pt x="4" y="90"/>
                    <a:pt x="4" y="90"/>
                    <a:pt x="4" y="90"/>
                  </a:cubicBezTo>
                  <a:cubicBezTo>
                    <a:pt x="4" y="90"/>
                    <a:pt x="4" y="90"/>
                    <a:pt x="4" y="90"/>
                  </a:cubicBezTo>
                  <a:cubicBezTo>
                    <a:pt x="4" y="91"/>
                    <a:pt x="4" y="91"/>
                    <a:pt x="5" y="92"/>
                  </a:cubicBezTo>
                  <a:cubicBezTo>
                    <a:pt x="5" y="92"/>
                    <a:pt x="5" y="92"/>
                    <a:pt x="5" y="92"/>
                  </a:cubicBezTo>
                  <a:cubicBezTo>
                    <a:pt x="5" y="92"/>
                    <a:pt x="5" y="92"/>
                    <a:pt x="5" y="93"/>
                  </a:cubicBezTo>
                  <a:cubicBezTo>
                    <a:pt x="5" y="93"/>
                    <a:pt x="5" y="93"/>
                    <a:pt x="5" y="93"/>
                  </a:cubicBezTo>
                  <a:cubicBezTo>
                    <a:pt x="5" y="93"/>
                    <a:pt x="5" y="93"/>
                    <a:pt x="5" y="93"/>
                  </a:cubicBezTo>
                  <a:cubicBezTo>
                    <a:pt x="5" y="93"/>
                    <a:pt x="5" y="94"/>
                    <a:pt x="5" y="94"/>
                  </a:cubicBezTo>
                  <a:cubicBezTo>
                    <a:pt x="5" y="94"/>
                    <a:pt x="5" y="94"/>
                    <a:pt x="5" y="94"/>
                  </a:cubicBezTo>
                  <a:cubicBezTo>
                    <a:pt x="5" y="94"/>
                    <a:pt x="5" y="94"/>
                    <a:pt x="5" y="94"/>
                  </a:cubicBezTo>
                  <a:cubicBezTo>
                    <a:pt x="5" y="94"/>
                    <a:pt x="5" y="94"/>
                    <a:pt x="5" y="94"/>
                  </a:cubicBezTo>
                  <a:cubicBezTo>
                    <a:pt x="6" y="95"/>
                    <a:pt x="6" y="96"/>
                    <a:pt x="5" y="97"/>
                  </a:cubicBezTo>
                  <a:cubicBezTo>
                    <a:pt x="5" y="97"/>
                    <a:pt x="5" y="97"/>
                    <a:pt x="5" y="97"/>
                  </a:cubicBezTo>
                  <a:cubicBezTo>
                    <a:pt x="4" y="97"/>
                    <a:pt x="4" y="97"/>
                    <a:pt x="4" y="97"/>
                  </a:cubicBezTo>
                  <a:cubicBezTo>
                    <a:pt x="4" y="97"/>
                    <a:pt x="4" y="97"/>
                    <a:pt x="4" y="97"/>
                  </a:cubicBezTo>
                  <a:cubicBezTo>
                    <a:pt x="3" y="97"/>
                    <a:pt x="2" y="96"/>
                    <a:pt x="2" y="96"/>
                  </a:cubicBezTo>
                  <a:close/>
                  <a:moveTo>
                    <a:pt x="199" y="86"/>
                  </a:moveTo>
                  <a:cubicBezTo>
                    <a:pt x="199" y="74"/>
                    <a:pt x="199" y="74"/>
                    <a:pt x="199" y="74"/>
                  </a:cubicBezTo>
                  <a:cubicBezTo>
                    <a:pt x="199" y="73"/>
                    <a:pt x="200" y="72"/>
                    <a:pt x="201" y="72"/>
                  </a:cubicBezTo>
                  <a:cubicBezTo>
                    <a:pt x="201" y="72"/>
                    <a:pt x="201" y="72"/>
                    <a:pt x="201" y="72"/>
                  </a:cubicBezTo>
                  <a:cubicBezTo>
                    <a:pt x="203" y="72"/>
                    <a:pt x="203" y="73"/>
                    <a:pt x="203" y="74"/>
                  </a:cubicBezTo>
                  <a:cubicBezTo>
                    <a:pt x="203" y="74"/>
                    <a:pt x="203" y="74"/>
                    <a:pt x="203" y="74"/>
                  </a:cubicBezTo>
                  <a:cubicBezTo>
                    <a:pt x="203" y="86"/>
                    <a:pt x="203" y="86"/>
                    <a:pt x="203" y="86"/>
                  </a:cubicBezTo>
                  <a:cubicBezTo>
                    <a:pt x="203" y="87"/>
                    <a:pt x="203" y="88"/>
                    <a:pt x="201" y="88"/>
                  </a:cubicBezTo>
                  <a:cubicBezTo>
                    <a:pt x="201" y="88"/>
                    <a:pt x="201" y="88"/>
                    <a:pt x="201" y="88"/>
                  </a:cubicBezTo>
                  <a:cubicBezTo>
                    <a:pt x="200" y="88"/>
                    <a:pt x="199" y="87"/>
                    <a:pt x="199" y="86"/>
                  </a:cubicBezTo>
                  <a:close/>
                  <a:moveTo>
                    <a:pt x="0" y="71"/>
                  </a:moveTo>
                  <a:cubicBezTo>
                    <a:pt x="0" y="69"/>
                    <a:pt x="0" y="69"/>
                    <a:pt x="0" y="69"/>
                  </a:cubicBezTo>
                  <a:cubicBezTo>
                    <a:pt x="0" y="68"/>
                    <a:pt x="0" y="67"/>
                    <a:pt x="0" y="66"/>
                  </a:cubicBezTo>
                  <a:cubicBezTo>
                    <a:pt x="0" y="66"/>
                    <a:pt x="0" y="66"/>
                    <a:pt x="0" y="66"/>
                  </a:cubicBezTo>
                  <a:cubicBezTo>
                    <a:pt x="0" y="66"/>
                    <a:pt x="1" y="66"/>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4"/>
                    <a:pt x="1" y="64"/>
                  </a:cubicBezTo>
                  <a:cubicBezTo>
                    <a:pt x="1" y="64"/>
                    <a:pt x="1" y="64"/>
                    <a:pt x="1" y="64"/>
                  </a:cubicBezTo>
                  <a:cubicBezTo>
                    <a:pt x="1" y="63"/>
                    <a:pt x="2" y="62"/>
                    <a:pt x="2" y="62"/>
                  </a:cubicBezTo>
                  <a:cubicBezTo>
                    <a:pt x="2" y="62"/>
                    <a:pt x="2" y="62"/>
                    <a:pt x="2" y="62"/>
                  </a:cubicBezTo>
                  <a:cubicBezTo>
                    <a:pt x="2" y="61"/>
                    <a:pt x="3" y="61"/>
                    <a:pt x="3" y="60"/>
                  </a:cubicBezTo>
                  <a:cubicBezTo>
                    <a:pt x="3" y="60"/>
                    <a:pt x="3" y="60"/>
                    <a:pt x="3" y="60"/>
                  </a:cubicBezTo>
                  <a:cubicBezTo>
                    <a:pt x="3" y="60"/>
                    <a:pt x="3" y="60"/>
                    <a:pt x="3" y="59"/>
                  </a:cubicBezTo>
                  <a:cubicBezTo>
                    <a:pt x="3" y="59"/>
                    <a:pt x="3" y="59"/>
                    <a:pt x="3" y="59"/>
                  </a:cubicBezTo>
                  <a:cubicBezTo>
                    <a:pt x="4" y="59"/>
                    <a:pt x="4" y="59"/>
                    <a:pt x="4" y="59"/>
                  </a:cubicBezTo>
                  <a:cubicBezTo>
                    <a:pt x="4" y="59"/>
                    <a:pt x="4" y="59"/>
                    <a:pt x="4" y="59"/>
                  </a:cubicBezTo>
                  <a:cubicBezTo>
                    <a:pt x="4" y="58"/>
                    <a:pt x="6" y="58"/>
                    <a:pt x="7" y="59"/>
                  </a:cubicBezTo>
                  <a:cubicBezTo>
                    <a:pt x="7" y="59"/>
                    <a:pt x="7" y="59"/>
                    <a:pt x="7" y="59"/>
                  </a:cubicBezTo>
                  <a:cubicBezTo>
                    <a:pt x="7" y="59"/>
                    <a:pt x="8" y="61"/>
                    <a:pt x="7" y="61"/>
                  </a:cubicBezTo>
                  <a:cubicBezTo>
                    <a:pt x="7" y="61"/>
                    <a:pt x="7" y="61"/>
                    <a:pt x="7" y="61"/>
                  </a:cubicBezTo>
                  <a:cubicBezTo>
                    <a:pt x="7" y="61"/>
                    <a:pt x="7" y="62"/>
                    <a:pt x="7" y="62"/>
                  </a:cubicBezTo>
                  <a:cubicBezTo>
                    <a:pt x="7" y="62"/>
                    <a:pt x="7" y="62"/>
                    <a:pt x="7" y="62"/>
                  </a:cubicBezTo>
                  <a:cubicBezTo>
                    <a:pt x="6" y="62"/>
                    <a:pt x="6" y="62"/>
                    <a:pt x="6" y="62"/>
                  </a:cubicBezTo>
                  <a:cubicBezTo>
                    <a:pt x="6" y="62"/>
                    <a:pt x="6" y="62"/>
                    <a:pt x="6" y="62"/>
                  </a:cubicBezTo>
                  <a:cubicBezTo>
                    <a:pt x="6" y="62"/>
                    <a:pt x="6" y="62"/>
                    <a:pt x="6" y="62"/>
                  </a:cubicBezTo>
                  <a:cubicBezTo>
                    <a:pt x="6" y="62"/>
                    <a:pt x="6" y="62"/>
                    <a:pt x="6" y="62"/>
                  </a:cubicBezTo>
                  <a:cubicBezTo>
                    <a:pt x="6" y="62"/>
                    <a:pt x="6" y="62"/>
                    <a:pt x="6" y="62"/>
                  </a:cubicBezTo>
                  <a:cubicBezTo>
                    <a:pt x="6" y="62"/>
                    <a:pt x="6" y="63"/>
                    <a:pt x="6" y="63"/>
                  </a:cubicBezTo>
                  <a:cubicBezTo>
                    <a:pt x="6" y="63"/>
                    <a:pt x="6" y="63"/>
                    <a:pt x="6" y="63"/>
                  </a:cubicBezTo>
                  <a:cubicBezTo>
                    <a:pt x="5" y="64"/>
                    <a:pt x="5" y="64"/>
                    <a:pt x="5" y="65"/>
                  </a:cubicBezTo>
                  <a:cubicBezTo>
                    <a:pt x="5" y="65"/>
                    <a:pt x="5" y="65"/>
                    <a:pt x="5" y="65"/>
                  </a:cubicBezTo>
                  <a:cubicBezTo>
                    <a:pt x="5" y="65"/>
                    <a:pt x="5" y="66"/>
                    <a:pt x="5" y="66"/>
                  </a:cubicBezTo>
                  <a:cubicBezTo>
                    <a:pt x="5" y="66"/>
                    <a:pt x="5" y="66"/>
                    <a:pt x="5" y="66"/>
                  </a:cubicBezTo>
                  <a:cubicBezTo>
                    <a:pt x="5" y="66"/>
                    <a:pt x="5" y="66"/>
                    <a:pt x="5" y="66"/>
                  </a:cubicBezTo>
                  <a:cubicBezTo>
                    <a:pt x="5" y="66"/>
                    <a:pt x="5" y="66"/>
                    <a:pt x="5" y="66"/>
                  </a:cubicBezTo>
                  <a:cubicBezTo>
                    <a:pt x="4" y="67"/>
                    <a:pt x="4" y="67"/>
                    <a:pt x="4" y="67"/>
                  </a:cubicBezTo>
                  <a:cubicBezTo>
                    <a:pt x="4" y="67"/>
                    <a:pt x="4" y="67"/>
                    <a:pt x="4" y="67"/>
                  </a:cubicBezTo>
                  <a:cubicBezTo>
                    <a:pt x="4" y="68"/>
                    <a:pt x="4" y="68"/>
                    <a:pt x="4" y="69"/>
                  </a:cubicBezTo>
                  <a:cubicBezTo>
                    <a:pt x="4" y="69"/>
                    <a:pt x="4" y="69"/>
                    <a:pt x="4" y="69"/>
                  </a:cubicBezTo>
                  <a:cubicBezTo>
                    <a:pt x="4" y="71"/>
                    <a:pt x="4" y="71"/>
                    <a:pt x="4" y="71"/>
                  </a:cubicBezTo>
                  <a:cubicBezTo>
                    <a:pt x="4" y="72"/>
                    <a:pt x="3" y="73"/>
                    <a:pt x="2" y="73"/>
                  </a:cubicBezTo>
                  <a:cubicBezTo>
                    <a:pt x="2" y="73"/>
                    <a:pt x="2" y="73"/>
                    <a:pt x="2" y="73"/>
                  </a:cubicBezTo>
                  <a:cubicBezTo>
                    <a:pt x="1" y="73"/>
                    <a:pt x="0" y="72"/>
                    <a:pt x="0" y="71"/>
                  </a:cubicBezTo>
                  <a:close/>
                  <a:moveTo>
                    <a:pt x="199" y="62"/>
                  </a:moveTo>
                  <a:cubicBezTo>
                    <a:pt x="199" y="56"/>
                    <a:pt x="199" y="56"/>
                    <a:pt x="199" y="56"/>
                  </a:cubicBezTo>
                  <a:cubicBezTo>
                    <a:pt x="199" y="55"/>
                    <a:pt x="199" y="53"/>
                    <a:pt x="198" y="52"/>
                  </a:cubicBezTo>
                  <a:cubicBezTo>
                    <a:pt x="198" y="52"/>
                    <a:pt x="198" y="52"/>
                    <a:pt x="198" y="52"/>
                  </a:cubicBezTo>
                  <a:cubicBezTo>
                    <a:pt x="198" y="52"/>
                    <a:pt x="198" y="52"/>
                    <a:pt x="198" y="52"/>
                  </a:cubicBezTo>
                  <a:cubicBezTo>
                    <a:pt x="197" y="51"/>
                    <a:pt x="197" y="50"/>
                    <a:pt x="198" y="49"/>
                  </a:cubicBezTo>
                  <a:cubicBezTo>
                    <a:pt x="198" y="49"/>
                    <a:pt x="198" y="49"/>
                    <a:pt x="198" y="49"/>
                  </a:cubicBezTo>
                  <a:cubicBezTo>
                    <a:pt x="199" y="49"/>
                    <a:pt x="200" y="49"/>
                    <a:pt x="201" y="50"/>
                  </a:cubicBezTo>
                  <a:cubicBezTo>
                    <a:pt x="201" y="50"/>
                    <a:pt x="201" y="50"/>
                    <a:pt x="201" y="50"/>
                  </a:cubicBezTo>
                  <a:cubicBezTo>
                    <a:pt x="202" y="51"/>
                    <a:pt x="203" y="54"/>
                    <a:pt x="203" y="56"/>
                  </a:cubicBezTo>
                  <a:cubicBezTo>
                    <a:pt x="203" y="56"/>
                    <a:pt x="203" y="56"/>
                    <a:pt x="203" y="56"/>
                  </a:cubicBezTo>
                  <a:cubicBezTo>
                    <a:pt x="203" y="62"/>
                    <a:pt x="203" y="62"/>
                    <a:pt x="203" y="62"/>
                  </a:cubicBezTo>
                  <a:cubicBezTo>
                    <a:pt x="203" y="63"/>
                    <a:pt x="203" y="64"/>
                    <a:pt x="201" y="64"/>
                  </a:cubicBezTo>
                  <a:cubicBezTo>
                    <a:pt x="201" y="64"/>
                    <a:pt x="201" y="64"/>
                    <a:pt x="201" y="64"/>
                  </a:cubicBezTo>
                  <a:cubicBezTo>
                    <a:pt x="200" y="64"/>
                    <a:pt x="199" y="63"/>
                    <a:pt x="199" y="62"/>
                  </a:cubicBezTo>
                  <a:close/>
                  <a:moveTo>
                    <a:pt x="6" y="62"/>
                  </a:moveTo>
                  <a:cubicBezTo>
                    <a:pt x="6" y="62"/>
                    <a:pt x="6" y="62"/>
                    <a:pt x="6" y="62"/>
                  </a:cubicBezTo>
                  <a:cubicBezTo>
                    <a:pt x="6" y="62"/>
                    <a:pt x="6" y="62"/>
                    <a:pt x="6" y="62"/>
                  </a:cubicBezTo>
                  <a:close/>
                  <a:moveTo>
                    <a:pt x="9" y="52"/>
                  </a:moveTo>
                  <a:cubicBezTo>
                    <a:pt x="8" y="51"/>
                    <a:pt x="8" y="50"/>
                    <a:pt x="9" y="49"/>
                  </a:cubicBezTo>
                  <a:cubicBezTo>
                    <a:pt x="9" y="49"/>
                    <a:pt x="9" y="49"/>
                    <a:pt x="9" y="49"/>
                  </a:cubicBezTo>
                  <a:cubicBezTo>
                    <a:pt x="9" y="48"/>
                    <a:pt x="9" y="48"/>
                    <a:pt x="10" y="47"/>
                  </a:cubicBezTo>
                  <a:cubicBezTo>
                    <a:pt x="10" y="47"/>
                    <a:pt x="10" y="47"/>
                    <a:pt x="10" y="47"/>
                  </a:cubicBezTo>
                  <a:cubicBezTo>
                    <a:pt x="12" y="46"/>
                    <a:pt x="14" y="45"/>
                    <a:pt x="17" y="45"/>
                  </a:cubicBezTo>
                  <a:cubicBezTo>
                    <a:pt x="17" y="45"/>
                    <a:pt x="17" y="45"/>
                    <a:pt x="17" y="45"/>
                  </a:cubicBezTo>
                  <a:cubicBezTo>
                    <a:pt x="17" y="45"/>
                    <a:pt x="17" y="45"/>
                    <a:pt x="18" y="45"/>
                  </a:cubicBezTo>
                  <a:cubicBezTo>
                    <a:pt x="18" y="45"/>
                    <a:pt x="18" y="45"/>
                    <a:pt x="18" y="45"/>
                  </a:cubicBezTo>
                  <a:cubicBezTo>
                    <a:pt x="21" y="45"/>
                    <a:pt x="21" y="45"/>
                    <a:pt x="21" y="45"/>
                  </a:cubicBezTo>
                  <a:cubicBezTo>
                    <a:pt x="23" y="45"/>
                    <a:pt x="23" y="46"/>
                    <a:pt x="23" y="47"/>
                  </a:cubicBezTo>
                  <a:cubicBezTo>
                    <a:pt x="23" y="47"/>
                    <a:pt x="23" y="47"/>
                    <a:pt x="23" y="47"/>
                  </a:cubicBezTo>
                  <a:cubicBezTo>
                    <a:pt x="23" y="49"/>
                    <a:pt x="22" y="49"/>
                    <a:pt x="21" y="49"/>
                  </a:cubicBezTo>
                  <a:cubicBezTo>
                    <a:pt x="21" y="49"/>
                    <a:pt x="21" y="49"/>
                    <a:pt x="21" y="49"/>
                  </a:cubicBezTo>
                  <a:cubicBezTo>
                    <a:pt x="17" y="49"/>
                    <a:pt x="17" y="49"/>
                    <a:pt x="17" y="49"/>
                  </a:cubicBezTo>
                  <a:cubicBezTo>
                    <a:pt x="17" y="49"/>
                    <a:pt x="17" y="49"/>
                    <a:pt x="17" y="49"/>
                  </a:cubicBezTo>
                  <a:cubicBezTo>
                    <a:pt x="17" y="49"/>
                    <a:pt x="17" y="49"/>
                    <a:pt x="17" y="49"/>
                  </a:cubicBezTo>
                  <a:cubicBezTo>
                    <a:pt x="15" y="49"/>
                    <a:pt x="14" y="49"/>
                    <a:pt x="13" y="50"/>
                  </a:cubicBezTo>
                  <a:cubicBezTo>
                    <a:pt x="13" y="50"/>
                    <a:pt x="13" y="50"/>
                    <a:pt x="13" y="50"/>
                  </a:cubicBezTo>
                  <a:cubicBezTo>
                    <a:pt x="12" y="51"/>
                    <a:pt x="12" y="51"/>
                    <a:pt x="12" y="51"/>
                  </a:cubicBezTo>
                  <a:cubicBezTo>
                    <a:pt x="12" y="51"/>
                    <a:pt x="12" y="51"/>
                    <a:pt x="12" y="51"/>
                  </a:cubicBezTo>
                  <a:cubicBezTo>
                    <a:pt x="11" y="52"/>
                    <a:pt x="11" y="52"/>
                    <a:pt x="10" y="52"/>
                  </a:cubicBezTo>
                  <a:cubicBezTo>
                    <a:pt x="10" y="52"/>
                    <a:pt x="10" y="52"/>
                    <a:pt x="10" y="52"/>
                  </a:cubicBezTo>
                  <a:cubicBezTo>
                    <a:pt x="10" y="52"/>
                    <a:pt x="9" y="52"/>
                    <a:pt x="9" y="52"/>
                  </a:cubicBezTo>
                  <a:close/>
                  <a:moveTo>
                    <a:pt x="31" y="47"/>
                  </a:moveTo>
                  <a:cubicBezTo>
                    <a:pt x="30" y="46"/>
                    <a:pt x="31" y="45"/>
                    <a:pt x="32" y="45"/>
                  </a:cubicBezTo>
                  <a:cubicBezTo>
                    <a:pt x="32" y="45"/>
                    <a:pt x="32" y="45"/>
                    <a:pt x="32" y="45"/>
                  </a:cubicBezTo>
                  <a:cubicBezTo>
                    <a:pt x="42" y="39"/>
                    <a:pt x="42" y="39"/>
                    <a:pt x="42" y="39"/>
                  </a:cubicBezTo>
                  <a:cubicBezTo>
                    <a:pt x="43" y="38"/>
                    <a:pt x="44" y="38"/>
                    <a:pt x="45" y="39"/>
                  </a:cubicBezTo>
                  <a:cubicBezTo>
                    <a:pt x="45" y="39"/>
                    <a:pt x="45" y="39"/>
                    <a:pt x="45" y="39"/>
                  </a:cubicBezTo>
                  <a:cubicBezTo>
                    <a:pt x="45" y="40"/>
                    <a:pt x="45" y="41"/>
                    <a:pt x="44" y="42"/>
                  </a:cubicBezTo>
                  <a:cubicBezTo>
                    <a:pt x="44" y="42"/>
                    <a:pt x="44" y="42"/>
                    <a:pt x="44" y="42"/>
                  </a:cubicBezTo>
                  <a:cubicBezTo>
                    <a:pt x="34" y="48"/>
                    <a:pt x="34" y="48"/>
                    <a:pt x="34" y="48"/>
                  </a:cubicBezTo>
                  <a:cubicBezTo>
                    <a:pt x="33" y="48"/>
                    <a:pt x="33" y="48"/>
                    <a:pt x="33" y="48"/>
                  </a:cubicBezTo>
                  <a:cubicBezTo>
                    <a:pt x="33" y="48"/>
                    <a:pt x="33" y="48"/>
                    <a:pt x="33" y="48"/>
                  </a:cubicBezTo>
                  <a:cubicBezTo>
                    <a:pt x="32" y="48"/>
                    <a:pt x="31" y="48"/>
                    <a:pt x="31" y="47"/>
                  </a:cubicBezTo>
                  <a:close/>
                  <a:moveTo>
                    <a:pt x="188" y="46"/>
                  </a:moveTo>
                  <a:cubicBezTo>
                    <a:pt x="178" y="40"/>
                    <a:pt x="178" y="40"/>
                    <a:pt x="178" y="40"/>
                  </a:cubicBezTo>
                  <a:cubicBezTo>
                    <a:pt x="177" y="40"/>
                    <a:pt x="177" y="38"/>
                    <a:pt x="177" y="38"/>
                  </a:cubicBezTo>
                  <a:cubicBezTo>
                    <a:pt x="177" y="38"/>
                    <a:pt x="177" y="38"/>
                    <a:pt x="177" y="38"/>
                  </a:cubicBezTo>
                  <a:cubicBezTo>
                    <a:pt x="178" y="37"/>
                    <a:pt x="179" y="36"/>
                    <a:pt x="180" y="37"/>
                  </a:cubicBezTo>
                  <a:cubicBezTo>
                    <a:pt x="180" y="37"/>
                    <a:pt x="180" y="37"/>
                    <a:pt x="180" y="37"/>
                  </a:cubicBezTo>
                  <a:cubicBezTo>
                    <a:pt x="190" y="43"/>
                    <a:pt x="190" y="43"/>
                    <a:pt x="190" y="43"/>
                  </a:cubicBezTo>
                  <a:cubicBezTo>
                    <a:pt x="191" y="43"/>
                    <a:pt x="191" y="45"/>
                    <a:pt x="191" y="46"/>
                  </a:cubicBezTo>
                  <a:cubicBezTo>
                    <a:pt x="191" y="46"/>
                    <a:pt x="191" y="46"/>
                    <a:pt x="191" y="46"/>
                  </a:cubicBezTo>
                  <a:cubicBezTo>
                    <a:pt x="191" y="46"/>
                    <a:pt x="190" y="47"/>
                    <a:pt x="189" y="47"/>
                  </a:cubicBezTo>
                  <a:cubicBezTo>
                    <a:pt x="189" y="47"/>
                    <a:pt x="189" y="47"/>
                    <a:pt x="189" y="47"/>
                  </a:cubicBezTo>
                  <a:cubicBezTo>
                    <a:pt x="189" y="47"/>
                    <a:pt x="189" y="46"/>
                    <a:pt x="188" y="46"/>
                  </a:cubicBezTo>
                  <a:close/>
                  <a:moveTo>
                    <a:pt x="52" y="35"/>
                  </a:moveTo>
                  <a:cubicBezTo>
                    <a:pt x="51" y="34"/>
                    <a:pt x="51" y="33"/>
                    <a:pt x="52" y="33"/>
                  </a:cubicBezTo>
                  <a:cubicBezTo>
                    <a:pt x="52" y="33"/>
                    <a:pt x="52" y="33"/>
                    <a:pt x="52" y="33"/>
                  </a:cubicBezTo>
                  <a:cubicBezTo>
                    <a:pt x="63" y="27"/>
                    <a:pt x="63" y="27"/>
                    <a:pt x="63" y="27"/>
                  </a:cubicBezTo>
                  <a:cubicBezTo>
                    <a:pt x="64" y="26"/>
                    <a:pt x="65" y="26"/>
                    <a:pt x="66" y="27"/>
                  </a:cubicBezTo>
                  <a:cubicBezTo>
                    <a:pt x="66" y="27"/>
                    <a:pt x="66" y="27"/>
                    <a:pt x="66" y="27"/>
                  </a:cubicBezTo>
                  <a:cubicBezTo>
                    <a:pt x="66" y="28"/>
                    <a:pt x="66" y="29"/>
                    <a:pt x="65" y="30"/>
                  </a:cubicBezTo>
                  <a:cubicBezTo>
                    <a:pt x="65" y="30"/>
                    <a:pt x="65" y="30"/>
                    <a:pt x="65" y="30"/>
                  </a:cubicBezTo>
                  <a:cubicBezTo>
                    <a:pt x="54" y="36"/>
                    <a:pt x="54" y="36"/>
                    <a:pt x="54" y="36"/>
                  </a:cubicBezTo>
                  <a:cubicBezTo>
                    <a:pt x="54" y="36"/>
                    <a:pt x="54" y="36"/>
                    <a:pt x="53" y="36"/>
                  </a:cubicBezTo>
                  <a:cubicBezTo>
                    <a:pt x="53" y="36"/>
                    <a:pt x="53" y="36"/>
                    <a:pt x="53" y="36"/>
                  </a:cubicBezTo>
                  <a:cubicBezTo>
                    <a:pt x="53" y="36"/>
                    <a:pt x="52" y="36"/>
                    <a:pt x="52" y="35"/>
                  </a:cubicBezTo>
                  <a:close/>
                  <a:moveTo>
                    <a:pt x="167" y="34"/>
                  </a:moveTo>
                  <a:cubicBezTo>
                    <a:pt x="157" y="28"/>
                    <a:pt x="157" y="28"/>
                    <a:pt x="157" y="28"/>
                  </a:cubicBezTo>
                  <a:cubicBezTo>
                    <a:pt x="156" y="28"/>
                    <a:pt x="156" y="26"/>
                    <a:pt x="156" y="26"/>
                  </a:cubicBezTo>
                  <a:cubicBezTo>
                    <a:pt x="156" y="26"/>
                    <a:pt x="156" y="26"/>
                    <a:pt x="156" y="26"/>
                  </a:cubicBezTo>
                  <a:cubicBezTo>
                    <a:pt x="157" y="25"/>
                    <a:pt x="158" y="24"/>
                    <a:pt x="159" y="25"/>
                  </a:cubicBezTo>
                  <a:cubicBezTo>
                    <a:pt x="159" y="25"/>
                    <a:pt x="159" y="25"/>
                    <a:pt x="159" y="25"/>
                  </a:cubicBezTo>
                  <a:cubicBezTo>
                    <a:pt x="169" y="31"/>
                    <a:pt x="169" y="31"/>
                    <a:pt x="169" y="31"/>
                  </a:cubicBezTo>
                  <a:cubicBezTo>
                    <a:pt x="170" y="31"/>
                    <a:pt x="171" y="33"/>
                    <a:pt x="170" y="34"/>
                  </a:cubicBezTo>
                  <a:cubicBezTo>
                    <a:pt x="170" y="34"/>
                    <a:pt x="170" y="34"/>
                    <a:pt x="170" y="34"/>
                  </a:cubicBezTo>
                  <a:cubicBezTo>
                    <a:pt x="170" y="34"/>
                    <a:pt x="169" y="35"/>
                    <a:pt x="168" y="35"/>
                  </a:cubicBezTo>
                  <a:cubicBezTo>
                    <a:pt x="168" y="35"/>
                    <a:pt x="168" y="35"/>
                    <a:pt x="168" y="35"/>
                  </a:cubicBezTo>
                  <a:cubicBezTo>
                    <a:pt x="168" y="35"/>
                    <a:pt x="168" y="34"/>
                    <a:pt x="167" y="34"/>
                  </a:cubicBezTo>
                  <a:close/>
                  <a:moveTo>
                    <a:pt x="72" y="23"/>
                  </a:moveTo>
                  <a:cubicBezTo>
                    <a:pt x="72" y="22"/>
                    <a:pt x="72" y="21"/>
                    <a:pt x="73" y="21"/>
                  </a:cubicBezTo>
                  <a:cubicBezTo>
                    <a:pt x="73" y="21"/>
                    <a:pt x="73" y="21"/>
                    <a:pt x="73" y="21"/>
                  </a:cubicBezTo>
                  <a:cubicBezTo>
                    <a:pt x="84" y="15"/>
                    <a:pt x="84" y="15"/>
                    <a:pt x="84" y="15"/>
                  </a:cubicBezTo>
                  <a:cubicBezTo>
                    <a:pt x="85" y="14"/>
                    <a:pt x="86" y="14"/>
                    <a:pt x="86" y="15"/>
                  </a:cubicBezTo>
                  <a:cubicBezTo>
                    <a:pt x="86" y="15"/>
                    <a:pt x="86" y="15"/>
                    <a:pt x="86" y="15"/>
                  </a:cubicBezTo>
                  <a:cubicBezTo>
                    <a:pt x="87" y="16"/>
                    <a:pt x="87" y="17"/>
                    <a:pt x="86" y="18"/>
                  </a:cubicBezTo>
                  <a:cubicBezTo>
                    <a:pt x="86" y="18"/>
                    <a:pt x="86" y="18"/>
                    <a:pt x="86" y="18"/>
                  </a:cubicBezTo>
                  <a:cubicBezTo>
                    <a:pt x="75" y="24"/>
                    <a:pt x="75" y="24"/>
                    <a:pt x="75" y="24"/>
                  </a:cubicBezTo>
                  <a:cubicBezTo>
                    <a:pt x="75" y="24"/>
                    <a:pt x="75" y="24"/>
                    <a:pt x="74" y="24"/>
                  </a:cubicBezTo>
                  <a:cubicBezTo>
                    <a:pt x="74" y="24"/>
                    <a:pt x="74" y="24"/>
                    <a:pt x="74" y="24"/>
                  </a:cubicBezTo>
                  <a:cubicBezTo>
                    <a:pt x="74" y="24"/>
                    <a:pt x="73" y="24"/>
                    <a:pt x="72" y="23"/>
                  </a:cubicBezTo>
                  <a:close/>
                  <a:moveTo>
                    <a:pt x="147" y="22"/>
                  </a:moveTo>
                  <a:cubicBezTo>
                    <a:pt x="136" y="16"/>
                    <a:pt x="136" y="16"/>
                    <a:pt x="136" y="16"/>
                  </a:cubicBezTo>
                  <a:cubicBezTo>
                    <a:pt x="135" y="16"/>
                    <a:pt x="135" y="14"/>
                    <a:pt x="136" y="13"/>
                  </a:cubicBezTo>
                  <a:cubicBezTo>
                    <a:pt x="136" y="13"/>
                    <a:pt x="136" y="13"/>
                    <a:pt x="136" y="13"/>
                  </a:cubicBezTo>
                  <a:cubicBezTo>
                    <a:pt x="136" y="13"/>
                    <a:pt x="137" y="12"/>
                    <a:pt x="138" y="13"/>
                  </a:cubicBezTo>
                  <a:cubicBezTo>
                    <a:pt x="138" y="13"/>
                    <a:pt x="138" y="13"/>
                    <a:pt x="138" y="13"/>
                  </a:cubicBezTo>
                  <a:cubicBezTo>
                    <a:pt x="149" y="19"/>
                    <a:pt x="149" y="19"/>
                    <a:pt x="149" y="19"/>
                  </a:cubicBezTo>
                  <a:cubicBezTo>
                    <a:pt x="150" y="19"/>
                    <a:pt x="150" y="21"/>
                    <a:pt x="149" y="21"/>
                  </a:cubicBezTo>
                  <a:cubicBezTo>
                    <a:pt x="149" y="21"/>
                    <a:pt x="149" y="21"/>
                    <a:pt x="149" y="21"/>
                  </a:cubicBezTo>
                  <a:cubicBezTo>
                    <a:pt x="149" y="22"/>
                    <a:pt x="148" y="22"/>
                    <a:pt x="148" y="22"/>
                  </a:cubicBezTo>
                  <a:cubicBezTo>
                    <a:pt x="148" y="22"/>
                    <a:pt x="148" y="22"/>
                    <a:pt x="148" y="22"/>
                  </a:cubicBezTo>
                  <a:cubicBezTo>
                    <a:pt x="147" y="22"/>
                    <a:pt x="147" y="22"/>
                    <a:pt x="147" y="22"/>
                  </a:cubicBezTo>
                  <a:close/>
                  <a:moveTo>
                    <a:pt x="93" y="11"/>
                  </a:moveTo>
                  <a:cubicBezTo>
                    <a:pt x="93" y="10"/>
                    <a:pt x="93" y="9"/>
                    <a:pt x="94" y="9"/>
                  </a:cubicBezTo>
                  <a:cubicBezTo>
                    <a:pt x="94" y="9"/>
                    <a:pt x="94" y="9"/>
                    <a:pt x="94" y="9"/>
                  </a:cubicBezTo>
                  <a:cubicBezTo>
                    <a:pt x="104" y="3"/>
                    <a:pt x="104" y="3"/>
                    <a:pt x="104" y="3"/>
                  </a:cubicBezTo>
                  <a:cubicBezTo>
                    <a:pt x="105" y="2"/>
                    <a:pt x="107" y="2"/>
                    <a:pt x="107" y="3"/>
                  </a:cubicBezTo>
                  <a:cubicBezTo>
                    <a:pt x="107" y="3"/>
                    <a:pt x="107" y="3"/>
                    <a:pt x="107" y="3"/>
                  </a:cubicBezTo>
                  <a:cubicBezTo>
                    <a:pt x="108" y="4"/>
                    <a:pt x="107" y="5"/>
                    <a:pt x="106" y="6"/>
                  </a:cubicBezTo>
                  <a:cubicBezTo>
                    <a:pt x="106" y="6"/>
                    <a:pt x="106" y="6"/>
                    <a:pt x="106" y="6"/>
                  </a:cubicBezTo>
                  <a:cubicBezTo>
                    <a:pt x="96" y="12"/>
                    <a:pt x="96" y="12"/>
                    <a:pt x="96" y="12"/>
                  </a:cubicBezTo>
                  <a:cubicBezTo>
                    <a:pt x="96" y="12"/>
                    <a:pt x="95" y="12"/>
                    <a:pt x="95" y="12"/>
                  </a:cubicBezTo>
                  <a:cubicBezTo>
                    <a:pt x="95" y="12"/>
                    <a:pt x="95" y="12"/>
                    <a:pt x="95" y="12"/>
                  </a:cubicBezTo>
                  <a:cubicBezTo>
                    <a:pt x="94" y="12"/>
                    <a:pt x="94" y="12"/>
                    <a:pt x="93" y="11"/>
                  </a:cubicBezTo>
                  <a:close/>
                  <a:moveTo>
                    <a:pt x="126" y="10"/>
                  </a:moveTo>
                  <a:cubicBezTo>
                    <a:pt x="116" y="4"/>
                    <a:pt x="116" y="4"/>
                    <a:pt x="116" y="4"/>
                  </a:cubicBezTo>
                  <a:cubicBezTo>
                    <a:pt x="115" y="4"/>
                    <a:pt x="114" y="2"/>
                    <a:pt x="115" y="1"/>
                  </a:cubicBezTo>
                  <a:cubicBezTo>
                    <a:pt x="115" y="1"/>
                    <a:pt x="115" y="1"/>
                    <a:pt x="115" y="1"/>
                  </a:cubicBezTo>
                  <a:cubicBezTo>
                    <a:pt x="115" y="0"/>
                    <a:pt x="117" y="0"/>
                    <a:pt x="118" y="1"/>
                  </a:cubicBezTo>
                  <a:cubicBezTo>
                    <a:pt x="118" y="1"/>
                    <a:pt x="118" y="1"/>
                    <a:pt x="118" y="1"/>
                  </a:cubicBezTo>
                  <a:cubicBezTo>
                    <a:pt x="118" y="1"/>
                    <a:pt x="118" y="1"/>
                    <a:pt x="118" y="1"/>
                  </a:cubicBezTo>
                  <a:cubicBezTo>
                    <a:pt x="128" y="7"/>
                    <a:pt x="128" y="7"/>
                    <a:pt x="128" y="7"/>
                  </a:cubicBezTo>
                  <a:cubicBezTo>
                    <a:pt x="129" y="7"/>
                    <a:pt x="129" y="9"/>
                    <a:pt x="129" y="9"/>
                  </a:cubicBezTo>
                  <a:cubicBezTo>
                    <a:pt x="129" y="9"/>
                    <a:pt x="129" y="9"/>
                    <a:pt x="129" y="9"/>
                  </a:cubicBezTo>
                  <a:cubicBezTo>
                    <a:pt x="128" y="10"/>
                    <a:pt x="128" y="10"/>
                    <a:pt x="127" y="10"/>
                  </a:cubicBezTo>
                  <a:cubicBezTo>
                    <a:pt x="127" y="10"/>
                    <a:pt x="127" y="10"/>
                    <a:pt x="127" y="10"/>
                  </a:cubicBezTo>
                  <a:cubicBezTo>
                    <a:pt x="127" y="10"/>
                    <a:pt x="126" y="10"/>
                    <a:pt x="12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16"/>
            <p:cNvSpPr>
              <a:spLocks noEditPoints="1"/>
            </p:cNvSpPr>
            <p:nvPr/>
          </p:nvSpPr>
          <p:spPr bwMode="auto">
            <a:xfrm>
              <a:off x="5094288" y="4049713"/>
              <a:ext cx="269875" cy="320675"/>
            </a:xfrm>
            <a:custGeom>
              <a:avLst/>
              <a:gdLst>
                <a:gd name="T0" fmla="*/ 6 w 279"/>
                <a:gd name="T1" fmla="*/ 0 h 333"/>
                <a:gd name="T2" fmla="*/ 12 w 279"/>
                <a:gd name="T3" fmla="*/ 50 h 333"/>
                <a:gd name="T4" fmla="*/ 254 w 279"/>
                <a:gd name="T5" fmla="*/ 43 h 333"/>
                <a:gd name="T6" fmla="*/ 33 w 279"/>
                <a:gd name="T7" fmla="*/ 202 h 333"/>
                <a:gd name="T8" fmla="*/ 110 w 279"/>
                <a:gd name="T9" fmla="*/ 239 h 333"/>
                <a:gd name="T10" fmla="*/ 98 w 279"/>
                <a:gd name="T11" fmla="*/ 330 h 333"/>
                <a:gd name="T12" fmla="*/ 233 w 279"/>
                <a:gd name="T13" fmla="*/ 285 h 333"/>
                <a:gd name="T14" fmla="*/ 243 w 279"/>
                <a:gd name="T15" fmla="*/ 267 h 333"/>
                <a:gd name="T16" fmla="*/ 279 w 279"/>
                <a:gd name="T17" fmla="*/ 44 h 333"/>
                <a:gd name="T18" fmla="*/ 56 w 279"/>
                <a:gd name="T19" fmla="*/ 108 h 333"/>
                <a:gd name="T20" fmla="*/ 87 w 279"/>
                <a:gd name="T21" fmla="*/ 118 h 333"/>
                <a:gd name="T22" fmla="*/ 94 w 279"/>
                <a:gd name="T23" fmla="*/ 130 h 333"/>
                <a:gd name="T24" fmla="*/ 83 w 279"/>
                <a:gd name="T25" fmla="*/ 148 h 333"/>
                <a:gd name="T26" fmla="*/ 102 w 279"/>
                <a:gd name="T27" fmla="*/ 177 h 333"/>
                <a:gd name="T28" fmla="*/ 96 w 279"/>
                <a:gd name="T29" fmla="*/ 150 h 333"/>
                <a:gd name="T30" fmla="*/ 107 w 279"/>
                <a:gd name="T31" fmla="*/ 132 h 333"/>
                <a:gd name="T32" fmla="*/ 88 w 279"/>
                <a:gd name="T33" fmla="*/ 104 h 333"/>
                <a:gd name="T34" fmla="*/ 72 w 279"/>
                <a:gd name="T35" fmla="*/ 110 h 333"/>
                <a:gd name="T36" fmla="*/ 83 w 279"/>
                <a:gd name="T37" fmla="*/ 89 h 333"/>
                <a:gd name="T38" fmla="*/ 65 w 279"/>
                <a:gd name="T39" fmla="*/ 62 h 333"/>
                <a:gd name="T40" fmla="*/ 70 w 279"/>
                <a:gd name="T41" fmla="*/ 88 h 333"/>
                <a:gd name="T42" fmla="*/ 56 w 279"/>
                <a:gd name="T43" fmla="*/ 108 h 333"/>
                <a:gd name="T44" fmla="*/ 126 w 279"/>
                <a:gd name="T45" fmla="*/ 181 h 333"/>
                <a:gd name="T46" fmla="*/ 151 w 279"/>
                <a:gd name="T47" fmla="*/ 159 h 333"/>
                <a:gd name="T48" fmla="*/ 145 w 279"/>
                <a:gd name="T49" fmla="*/ 138 h 333"/>
                <a:gd name="T50" fmla="*/ 155 w 279"/>
                <a:gd name="T51" fmla="*/ 128 h 333"/>
                <a:gd name="T52" fmla="*/ 191 w 279"/>
                <a:gd name="T53" fmla="*/ 145 h 333"/>
                <a:gd name="T54" fmla="*/ 197 w 279"/>
                <a:gd name="T55" fmla="*/ 166 h 333"/>
                <a:gd name="T56" fmla="*/ 185 w 279"/>
                <a:gd name="T57" fmla="*/ 190 h 333"/>
                <a:gd name="T58" fmla="*/ 211 w 279"/>
                <a:gd name="T59" fmla="*/ 168 h 333"/>
                <a:gd name="T60" fmla="*/ 205 w 279"/>
                <a:gd name="T61" fmla="*/ 147 h 333"/>
                <a:gd name="T62" fmla="*/ 216 w 279"/>
                <a:gd name="T63" fmla="*/ 122 h 333"/>
                <a:gd name="T64" fmla="*/ 193 w 279"/>
                <a:gd name="T65" fmla="*/ 128 h 333"/>
                <a:gd name="T66" fmla="*/ 179 w 279"/>
                <a:gd name="T67" fmla="*/ 103 h 333"/>
                <a:gd name="T68" fmla="*/ 191 w 279"/>
                <a:gd name="T69" fmla="*/ 78 h 333"/>
                <a:gd name="T70" fmla="*/ 166 w 279"/>
                <a:gd name="T71" fmla="*/ 101 h 333"/>
                <a:gd name="T72" fmla="*/ 171 w 279"/>
                <a:gd name="T73" fmla="*/ 125 h 333"/>
                <a:gd name="T74" fmla="*/ 156 w 279"/>
                <a:gd name="T75" fmla="*/ 114 h 333"/>
                <a:gd name="T76" fmla="*/ 132 w 279"/>
                <a:gd name="T77" fmla="*/ 136 h 333"/>
                <a:gd name="T78" fmla="*/ 138 w 279"/>
                <a:gd name="T79" fmla="*/ 15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33">
                  <a:moveTo>
                    <a:pt x="271" y="34"/>
                  </a:moveTo>
                  <a:cubicBezTo>
                    <a:pt x="6" y="0"/>
                    <a:pt x="6" y="0"/>
                    <a:pt x="6" y="0"/>
                  </a:cubicBezTo>
                  <a:cubicBezTo>
                    <a:pt x="0" y="45"/>
                    <a:pt x="0" y="45"/>
                    <a:pt x="0" y="45"/>
                  </a:cubicBezTo>
                  <a:cubicBezTo>
                    <a:pt x="4" y="46"/>
                    <a:pt x="8" y="48"/>
                    <a:pt x="12" y="50"/>
                  </a:cubicBezTo>
                  <a:cubicBezTo>
                    <a:pt x="17" y="13"/>
                    <a:pt x="17" y="13"/>
                    <a:pt x="17" y="13"/>
                  </a:cubicBezTo>
                  <a:cubicBezTo>
                    <a:pt x="254" y="43"/>
                    <a:pt x="254" y="43"/>
                    <a:pt x="254" y="43"/>
                  </a:cubicBezTo>
                  <a:cubicBezTo>
                    <a:pt x="229" y="240"/>
                    <a:pt x="229" y="240"/>
                    <a:pt x="229" y="240"/>
                  </a:cubicBezTo>
                  <a:cubicBezTo>
                    <a:pt x="33" y="202"/>
                    <a:pt x="33" y="202"/>
                    <a:pt x="33" y="202"/>
                  </a:cubicBezTo>
                  <a:cubicBezTo>
                    <a:pt x="45" y="209"/>
                    <a:pt x="56" y="219"/>
                    <a:pt x="65" y="230"/>
                  </a:cubicBezTo>
                  <a:cubicBezTo>
                    <a:pt x="110" y="239"/>
                    <a:pt x="110" y="239"/>
                    <a:pt x="110" y="239"/>
                  </a:cubicBezTo>
                  <a:cubicBezTo>
                    <a:pt x="98" y="241"/>
                    <a:pt x="87" y="244"/>
                    <a:pt x="77" y="247"/>
                  </a:cubicBezTo>
                  <a:cubicBezTo>
                    <a:pt x="90" y="270"/>
                    <a:pt x="97" y="298"/>
                    <a:pt x="98" y="330"/>
                  </a:cubicBezTo>
                  <a:cubicBezTo>
                    <a:pt x="109" y="332"/>
                    <a:pt x="122" y="333"/>
                    <a:pt x="136" y="333"/>
                  </a:cubicBezTo>
                  <a:cubicBezTo>
                    <a:pt x="189" y="333"/>
                    <a:pt x="233" y="312"/>
                    <a:pt x="233" y="285"/>
                  </a:cubicBezTo>
                  <a:cubicBezTo>
                    <a:pt x="233" y="277"/>
                    <a:pt x="228" y="269"/>
                    <a:pt x="220" y="262"/>
                  </a:cubicBezTo>
                  <a:cubicBezTo>
                    <a:pt x="243" y="267"/>
                    <a:pt x="243" y="267"/>
                    <a:pt x="243" y="267"/>
                  </a:cubicBezTo>
                  <a:cubicBezTo>
                    <a:pt x="256" y="249"/>
                    <a:pt x="256" y="249"/>
                    <a:pt x="256" y="249"/>
                  </a:cubicBezTo>
                  <a:cubicBezTo>
                    <a:pt x="279" y="44"/>
                    <a:pt x="279" y="44"/>
                    <a:pt x="279" y="44"/>
                  </a:cubicBezTo>
                  <a:lnTo>
                    <a:pt x="271" y="34"/>
                  </a:lnTo>
                  <a:close/>
                  <a:moveTo>
                    <a:pt x="56" y="108"/>
                  </a:moveTo>
                  <a:cubicBezTo>
                    <a:pt x="56" y="110"/>
                    <a:pt x="57" y="112"/>
                    <a:pt x="57" y="114"/>
                  </a:cubicBezTo>
                  <a:cubicBezTo>
                    <a:pt x="87" y="118"/>
                    <a:pt x="87" y="118"/>
                    <a:pt x="87" y="118"/>
                  </a:cubicBezTo>
                  <a:cubicBezTo>
                    <a:pt x="86" y="129"/>
                    <a:pt x="86" y="129"/>
                    <a:pt x="86" y="129"/>
                  </a:cubicBezTo>
                  <a:cubicBezTo>
                    <a:pt x="94" y="130"/>
                    <a:pt x="94" y="130"/>
                    <a:pt x="94" y="130"/>
                  </a:cubicBezTo>
                  <a:cubicBezTo>
                    <a:pt x="91" y="150"/>
                    <a:pt x="91" y="150"/>
                    <a:pt x="91" y="150"/>
                  </a:cubicBezTo>
                  <a:cubicBezTo>
                    <a:pt x="83" y="148"/>
                    <a:pt x="83" y="148"/>
                    <a:pt x="83" y="148"/>
                  </a:cubicBezTo>
                  <a:cubicBezTo>
                    <a:pt x="81" y="173"/>
                    <a:pt x="81" y="173"/>
                    <a:pt x="81" y="173"/>
                  </a:cubicBezTo>
                  <a:cubicBezTo>
                    <a:pt x="102" y="177"/>
                    <a:pt x="102" y="177"/>
                    <a:pt x="102" y="177"/>
                  </a:cubicBezTo>
                  <a:cubicBezTo>
                    <a:pt x="105" y="152"/>
                    <a:pt x="105" y="152"/>
                    <a:pt x="105" y="152"/>
                  </a:cubicBezTo>
                  <a:cubicBezTo>
                    <a:pt x="96" y="150"/>
                    <a:pt x="96" y="150"/>
                    <a:pt x="96" y="150"/>
                  </a:cubicBezTo>
                  <a:cubicBezTo>
                    <a:pt x="99" y="131"/>
                    <a:pt x="99" y="131"/>
                    <a:pt x="99" y="131"/>
                  </a:cubicBezTo>
                  <a:cubicBezTo>
                    <a:pt x="107" y="132"/>
                    <a:pt x="107" y="132"/>
                    <a:pt x="107" y="132"/>
                  </a:cubicBezTo>
                  <a:cubicBezTo>
                    <a:pt x="110" y="107"/>
                    <a:pt x="110" y="107"/>
                    <a:pt x="110" y="107"/>
                  </a:cubicBezTo>
                  <a:cubicBezTo>
                    <a:pt x="88" y="104"/>
                    <a:pt x="88" y="104"/>
                    <a:pt x="88" y="104"/>
                  </a:cubicBezTo>
                  <a:cubicBezTo>
                    <a:pt x="87" y="113"/>
                    <a:pt x="87" y="113"/>
                    <a:pt x="87" y="113"/>
                  </a:cubicBezTo>
                  <a:cubicBezTo>
                    <a:pt x="72" y="110"/>
                    <a:pt x="72" y="110"/>
                    <a:pt x="72" y="110"/>
                  </a:cubicBezTo>
                  <a:cubicBezTo>
                    <a:pt x="75" y="88"/>
                    <a:pt x="75" y="88"/>
                    <a:pt x="75" y="88"/>
                  </a:cubicBezTo>
                  <a:cubicBezTo>
                    <a:pt x="83" y="89"/>
                    <a:pt x="83" y="89"/>
                    <a:pt x="83" y="89"/>
                  </a:cubicBezTo>
                  <a:cubicBezTo>
                    <a:pt x="85" y="64"/>
                    <a:pt x="85" y="64"/>
                    <a:pt x="85" y="64"/>
                  </a:cubicBezTo>
                  <a:cubicBezTo>
                    <a:pt x="65" y="62"/>
                    <a:pt x="65" y="62"/>
                    <a:pt x="65" y="62"/>
                  </a:cubicBezTo>
                  <a:cubicBezTo>
                    <a:pt x="62" y="87"/>
                    <a:pt x="62" y="87"/>
                    <a:pt x="62" y="87"/>
                  </a:cubicBezTo>
                  <a:cubicBezTo>
                    <a:pt x="70" y="88"/>
                    <a:pt x="70" y="88"/>
                    <a:pt x="70" y="88"/>
                  </a:cubicBezTo>
                  <a:cubicBezTo>
                    <a:pt x="67" y="110"/>
                    <a:pt x="67" y="110"/>
                    <a:pt x="67" y="110"/>
                  </a:cubicBezTo>
                  <a:lnTo>
                    <a:pt x="56" y="108"/>
                  </a:lnTo>
                  <a:close/>
                  <a:moveTo>
                    <a:pt x="129" y="155"/>
                  </a:moveTo>
                  <a:cubicBezTo>
                    <a:pt x="126" y="181"/>
                    <a:pt x="126" y="181"/>
                    <a:pt x="126" y="181"/>
                  </a:cubicBezTo>
                  <a:cubicBezTo>
                    <a:pt x="148" y="184"/>
                    <a:pt x="148" y="184"/>
                    <a:pt x="148" y="184"/>
                  </a:cubicBezTo>
                  <a:cubicBezTo>
                    <a:pt x="151" y="159"/>
                    <a:pt x="151" y="159"/>
                    <a:pt x="151" y="159"/>
                  </a:cubicBezTo>
                  <a:cubicBezTo>
                    <a:pt x="143" y="157"/>
                    <a:pt x="143" y="157"/>
                    <a:pt x="143" y="157"/>
                  </a:cubicBezTo>
                  <a:cubicBezTo>
                    <a:pt x="145" y="138"/>
                    <a:pt x="145" y="138"/>
                    <a:pt x="145" y="138"/>
                  </a:cubicBezTo>
                  <a:cubicBezTo>
                    <a:pt x="153" y="139"/>
                    <a:pt x="153" y="139"/>
                    <a:pt x="153" y="139"/>
                  </a:cubicBezTo>
                  <a:cubicBezTo>
                    <a:pt x="155" y="128"/>
                    <a:pt x="155" y="128"/>
                    <a:pt x="155" y="128"/>
                  </a:cubicBezTo>
                  <a:cubicBezTo>
                    <a:pt x="192" y="134"/>
                    <a:pt x="192" y="134"/>
                    <a:pt x="192" y="134"/>
                  </a:cubicBezTo>
                  <a:cubicBezTo>
                    <a:pt x="191" y="145"/>
                    <a:pt x="191" y="145"/>
                    <a:pt x="191" y="145"/>
                  </a:cubicBezTo>
                  <a:cubicBezTo>
                    <a:pt x="199" y="146"/>
                    <a:pt x="199" y="146"/>
                    <a:pt x="199" y="146"/>
                  </a:cubicBezTo>
                  <a:cubicBezTo>
                    <a:pt x="197" y="166"/>
                    <a:pt x="197" y="166"/>
                    <a:pt x="197" y="166"/>
                  </a:cubicBezTo>
                  <a:cubicBezTo>
                    <a:pt x="188" y="164"/>
                    <a:pt x="188" y="164"/>
                    <a:pt x="188" y="164"/>
                  </a:cubicBezTo>
                  <a:cubicBezTo>
                    <a:pt x="185" y="190"/>
                    <a:pt x="185" y="190"/>
                    <a:pt x="185" y="190"/>
                  </a:cubicBezTo>
                  <a:cubicBezTo>
                    <a:pt x="208" y="194"/>
                    <a:pt x="208" y="194"/>
                    <a:pt x="208" y="194"/>
                  </a:cubicBezTo>
                  <a:cubicBezTo>
                    <a:pt x="211" y="168"/>
                    <a:pt x="211" y="168"/>
                    <a:pt x="211" y="168"/>
                  </a:cubicBezTo>
                  <a:cubicBezTo>
                    <a:pt x="202" y="167"/>
                    <a:pt x="202" y="167"/>
                    <a:pt x="202" y="167"/>
                  </a:cubicBezTo>
                  <a:cubicBezTo>
                    <a:pt x="205" y="147"/>
                    <a:pt x="205" y="147"/>
                    <a:pt x="205" y="147"/>
                  </a:cubicBezTo>
                  <a:cubicBezTo>
                    <a:pt x="213" y="148"/>
                    <a:pt x="213" y="148"/>
                    <a:pt x="213" y="148"/>
                  </a:cubicBezTo>
                  <a:cubicBezTo>
                    <a:pt x="216" y="122"/>
                    <a:pt x="216" y="122"/>
                    <a:pt x="216" y="122"/>
                  </a:cubicBezTo>
                  <a:cubicBezTo>
                    <a:pt x="194" y="119"/>
                    <a:pt x="194" y="119"/>
                    <a:pt x="194" y="119"/>
                  </a:cubicBezTo>
                  <a:cubicBezTo>
                    <a:pt x="193" y="128"/>
                    <a:pt x="193" y="128"/>
                    <a:pt x="193" y="128"/>
                  </a:cubicBezTo>
                  <a:cubicBezTo>
                    <a:pt x="176" y="125"/>
                    <a:pt x="176" y="125"/>
                    <a:pt x="176" y="125"/>
                  </a:cubicBezTo>
                  <a:cubicBezTo>
                    <a:pt x="179" y="103"/>
                    <a:pt x="179" y="103"/>
                    <a:pt x="179" y="103"/>
                  </a:cubicBezTo>
                  <a:cubicBezTo>
                    <a:pt x="188" y="104"/>
                    <a:pt x="188" y="104"/>
                    <a:pt x="188" y="104"/>
                  </a:cubicBezTo>
                  <a:cubicBezTo>
                    <a:pt x="191" y="78"/>
                    <a:pt x="191" y="78"/>
                    <a:pt x="191" y="78"/>
                  </a:cubicBezTo>
                  <a:cubicBezTo>
                    <a:pt x="168" y="75"/>
                    <a:pt x="168" y="75"/>
                    <a:pt x="168" y="75"/>
                  </a:cubicBezTo>
                  <a:cubicBezTo>
                    <a:pt x="166" y="101"/>
                    <a:pt x="166" y="101"/>
                    <a:pt x="166" y="101"/>
                  </a:cubicBezTo>
                  <a:cubicBezTo>
                    <a:pt x="174" y="102"/>
                    <a:pt x="174" y="102"/>
                    <a:pt x="174" y="102"/>
                  </a:cubicBezTo>
                  <a:cubicBezTo>
                    <a:pt x="171" y="125"/>
                    <a:pt x="171" y="125"/>
                    <a:pt x="171" y="125"/>
                  </a:cubicBezTo>
                  <a:cubicBezTo>
                    <a:pt x="155" y="122"/>
                    <a:pt x="155" y="122"/>
                    <a:pt x="155" y="122"/>
                  </a:cubicBezTo>
                  <a:cubicBezTo>
                    <a:pt x="156" y="114"/>
                    <a:pt x="156" y="114"/>
                    <a:pt x="156" y="114"/>
                  </a:cubicBezTo>
                  <a:cubicBezTo>
                    <a:pt x="135" y="110"/>
                    <a:pt x="135" y="110"/>
                    <a:pt x="135" y="110"/>
                  </a:cubicBezTo>
                  <a:cubicBezTo>
                    <a:pt x="132" y="136"/>
                    <a:pt x="132" y="136"/>
                    <a:pt x="132" y="136"/>
                  </a:cubicBezTo>
                  <a:cubicBezTo>
                    <a:pt x="140" y="137"/>
                    <a:pt x="140" y="137"/>
                    <a:pt x="140" y="137"/>
                  </a:cubicBezTo>
                  <a:cubicBezTo>
                    <a:pt x="138" y="157"/>
                    <a:pt x="138" y="157"/>
                    <a:pt x="138" y="157"/>
                  </a:cubicBezTo>
                  <a:lnTo>
                    <a:pt x="129"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 name="Group 61"/>
          <p:cNvGrpSpPr/>
          <p:nvPr/>
        </p:nvGrpSpPr>
        <p:grpSpPr>
          <a:xfrm>
            <a:off x="8999601" y="1379243"/>
            <a:ext cx="2335149" cy="1824168"/>
            <a:chOff x="8999601" y="1391974"/>
            <a:chExt cx="2489555" cy="1944787"/>
          </a:xfrm>
        </p:grpSpPr>
        <p:grpSp>
          <p:nvGrpSpPr>
            <p:cNvPr id="63" name="Group 4"/>
            <p:cNvGrpSpPr>
              <a:grpSpLocks noChangeAspect="1"/>
            </p:cNvGrpSpPr>
            <p:nvPr/>
          </p:nvGrpSpPr>
          <p:grpSpPr bwMode="auto">
            <a:xfrm>
              <a:off x="8999601" y="1508911"/>
              <a:ext cx="1152864" cy="1742289"/>
              <a:chOff x="2629" y="260"/>
              <a:chExt cx="2574" cy="3890"/>
            </a:xfrm>
            <a:solidFill>
              <a:srgbClr val="0070C0"/>
            </a:solidFill>
          </p:grpSpPr>
          <p:sp>
            <p:nvSpPr>
              <p:cNvPr id="70" name="Freeform 6"/>
              <p:cNvSpPr>
                <a:spLocks/>
              </p:cNvSpPr>
              <p:nvPr/>
            </p:nvSpPr>
            <p:spPr bwMode="auto">
              <a:xfrm>
                <a:off x="3160" y="260"/>
                <a:ext cx="1502" cy="1502"/>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7"/>
              <p:cNvSpPr>
                <a:spLocks/>
              </p:cNvSpPr>
              <p:nvPr/>
            </p:nvSpPr>
            <p:spPr bwMode="auto">
              <a:xfrm>
                <a:off x="2629" y="1595"/>
                <a:ext cx="2574" cy="2555"/>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4" name="Group 4"/>
            <p:cNvGrpSpPr>
              <a:grpSpLocks noChangeAspect="1"/>
            </p:cNvGrpSpPr>
            <p:nvPr/>
          </p:nvGrpSpPr>
          <p:grpSpPr bwMode="auto">
            <a:xfrm>
              <a:off x="10336292" y="1508911"/>
              <a:ext cx="1152864" cy="1742289"/>
              <a:chOff x="2629" y="260"/>
              <a:chExt cx="2574" cy="3890"/>
            </a:xfrm>
            <a:solidFill>
              <a:srgbClr val="0070C0"/>
            </a:solidFill>
          </p:grpSpPr>
          <p:sp>
            <p:nvSpPr>
              <p:cNvPr id="68" name="Freeform 6"/>
              <p:cNvSpPr>
                <a:spLocks/>
              </p:cNvSpPr>
              <p:nvPr/>
            </p:nvSpPr>
            <p:spPr bwMode="auto">
              <a:xfrm>
                <a:off x="3160" y="260"/>
                <a:ext cx="1502" cy="1502"/>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7"/>
              <p:cNvSpPr>
                <a:spLocks/>
              </p:cNvSpPr>
              <p:nvPr/>
            </p:nvSpPr>
            <p:spPr bwMode="auto">
              <a:xfrm>
                <a:off x="2629" y="1595"/>
                <a:ext cx="2574" cy="2555"/>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5" name="Group 4"/>
            <p:cNvGrpSpPr>
              <a:grpSpLocks noChangeAspect="1"/>
            </p:cNvGrpSpPr>
            <p:nvPr/>
          </p:nvGrpSpPr>
          <p:grpSpPr bwMode="auto">
            <a:xfrm>
              <a:off x="9604579" y="1391974"/>
              <a:ext cx="1286856" cy="1944787"/>
              <a:chOff x="2629" y="260"/>
              <a:chExt cx="2574" cy="3890"/>
            </a:xfrm>
            <a:solidFill>
              <a:srgbClr val="0070C0"/>
            </a:solidFill>
          </p:grpSpPr>
          <p:sp>
            <p:nvSpPr>
              <p:cNvPr id="66" name="Freeform 6"/>
              <p:cNvSpPr>
                <a:spLocks/>
              </p:cNvSpPr>
              <p:nvPr/>
            </p:nvSpPr>
            <p:spPr bwMode="auto">
              <a:xfrm>
                <a:off x="3160" y="260"/>
                <a:ext cx="1502" cy="1502"/>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442359"/>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7"/>
              <p:cNvSpPr>
                <a:spLocks/>
              </p:cNvSpPr>
              <p:nvPr/>
            </p:nvSpPr>
            <p:spPr bwMode="auto">
              <a:xfrm>
                <a:off x="2629" y="1595"/>
                <a:ext cx="2574" cy="2555"/>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442359"/>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37271114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14472"/>
            <a:ext cx="11887518" cy="54831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1669" y="1395987"/>
            <a:ext cx="11790169" cy="590931"/>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Breakout Sessions (session codes and titles)</a:t>
            </a:r>
            <a:endParaRPr lang="en-US" sz="3600" dirty="0">
              <a:gradFill>
                <a:gsLst>
                  <a:gs pos="1250">
                    <a:schemeClr val="tx1"/>
                  </a:gs>
                  <a:gs pos="100000">
                    <a:schemeClr val="tx1"/>
                  </a:gs>
                </a:gsLst>
                <a:lin ang="5400000" scaled="0"/>
              </a:gradFill>
              <a:latin typeface="+mj-lt"/>
            </a:endParaRPr>
          </a:p>
        </p:txBody>
      </p:sp>
      <p:sp>
        <p:nvSpPr>
          <p:cNvPr id="8" name="Rectangle 7"/>
          <p:cNvSpPr/>
          <p:nvPr/>
        </p:nvSpPr>
        <p:spPr bwMode="invGray">
          <a:xfrm>
            <a:off x="371669" y="2307618"/>
            <a:ext cx="11790169" cy="590931"/>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Hands-on Labs (session codes and titles)</a:t>
            </a:r>
            <a:endParaRPr lang="en-US" sz="3600" dirty="0">
              <a:gradFill>
                <a:gsLst>
                  <a:gs pos="1250">
                    <a:schemeClr val="tx1"/>
                  </a:gs>
                  <a:gs pos="100000">
                    <a:schemeClr val="tx1"/>
                  </a:gs>
                </a:gsLst>
                <a:lin ang="5400000" scaled="0"/>
              </a:gradFill>
              <a:latin typeface="+mj-lt"/>
            </a:endParaRPr>
          </a:p>
        </p:txBody>
      </p:sp>
      <p:sp>
        <p:nvSpPr>
          <p:cNvPr id="9" name="Rectangle 8"/>
          <p:cNvSpPr/>
          <p:nvPr/>
        </p:nvSpPr>
        <p:spPr bwMode="invGray">
          <a:xfrm>
            <a:off x="371669" y="3219249"/>
            <a:ext cx="11790169" cy="590931"/>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Product Demo Stations (demo station title and location)</a:t>
            </a:r>
            <a:endParaRPr lang="en-US" sz="3600" dirty="0">
              <a:gradFill>
                <a:gsLst>
                  <a:gs pos="1250">
                    <a:schemeClr val="tx1"/>
                  </a:gs>
                  <a:gs pos="100000">
                    <a:schemeClr val="tx1"/>
                  </a:gs>
                </a:gsLst>
                <a:lin ang="5400000" scaled="0"/>
              </a:gradFill>
              <a:latin typeface="+mj-lt"/>
            </a:endParaRPr>
          </a:p>
        </p:txBody>
      </p:sp>
      <p:sp>
        <p:nvSpPr>
          <p:cNvPr id="10" name="Rectangle 9"/>
          <p:cNvSpPr/>
          <p:nvPr/>
        </p:nvSpPr>
        <p:spPr bwMode="invGray">
          <a:xfrm>
            <a:off x="371669" y="4130880"/>
            <a:ext cx="11790169" cy="590931"/>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Related Certification Exam</a:t>
            </a:r>
            <a:endParaRPr lang="en-US" sz="3600" dirty="0">
              <a:gradFill>
                <a:gsLst>
                  <a:gs pos="1250">
                    <a:schemeClr val="tx1"/>
                  </a:gs>
                  <a:gs pos="100000">
                    <a:schemeClr val="tx1"/>
                  </a:gs>
                </a:gsLst>
                <a:lin ang="5400000" scaled="0"/>
              </a:gradFill>
              <a:latin typeface="+mj-lt"/>
            </a:endParaRPr>
          </a:p>
        </p:txBody>
      </p:sp>
      <p:sp>
        <p:nvSpPr>
          <p:cNvPr id="12" name="Rectangle 11"/>
          <p:cNvSpPr/>
          <p:nvPr/>
        </p:nvSpPr>
        <p:spPr bwMode="invGray">
          <a:xfrm>
            <a:off x="371668" y="5042512"/>
            <a:ext cx="11790169" cy="590931"/>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Find Me Later At...</a:t>
            </a: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9218612" y="116030"/>
            <a:ext cx="2854754" cy="3570208"/>
          </a:xfrm>
          <a:prstGeom prst="rect">
            <a:avLst/>
          </a:prstGeom>
          <a:solidFill>
            <a:schemeClr val="accent6"/>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smtClean="0">
                <a:gradFill>
                  <a:gsLst>
                    <a:gs pos="0">
                      <a:schemeClr val="tx1"/>
                    </a:gs>
                    <a:gs pos="100000">
                      <a:schemeClr val="tx1"/>
                    </a:gs>
                  </a:gsLst>
                  <a:lin ang="5400000" scaled="1"/>
                </a:gradFill>
              </a:rPr>
              <a:t>Required Slide</a:t>
            </a:r>
          </a:p>
          <a:p>
            <a:pPr defTabSz="914099" fontAlgn="base">
              <a:spcBef>
                <a:spcPct val="0"/>
              </a:spcBef>
              <a:spcAft>
                <a:spcPct val="0"/>
              </a:spcAft>
            </a:pPr>
            <a:r>
              <a:rPr lang="en-US" sz="1200" dirty="0" smtClean="0">
                <a:gradFill>
                  <a:gsLst>
                    <a:gs pos="0">
                      <a:schemeClr val="tx1"/>
                    </a:gs>
                    <a:gs pos="100000">
                      <a:schemeClr val="tx1"/>
                    </a:gs>
                  </a:gsLst>
                  <a:lin ang="5400000" scaled="1"/>
                </a:gradFill>
              </a:rPr>
              <a:t>*delete this box when your slide is finalized</a:t>
            </a:r>
          </a:p>
          <a:p>
            <a:pPr defTabSz="914099" fontAlgn="base">
              <a:spcBef>
                <a:spcPct val="0"/>
              </a:spcBef>
              <a:spcAft>
                <a:spcPct val="0"/>
              </a:spcAft>
            </a:pPr>
            <a:endParaRPr lang="en-US" dirty="0" smtClean="0">
              <a:gradFill>
                <a:gsLst>
                  <a:gs pos="0">
                    <a:schemeClr val="tx1"/>
                  </a:gs>
                  <a:gs pos="100000">
                    <a:schemeClr val="tx1"/>
                  </a:gs>
                </a:gsLst>
                <a:lin ang="5400000" scaled="1"/>
              </a:gradFill>
            </a:endParaRPr>
          </a:p>
          <a:p>
            <a:pPr defTabSz="914099" fontAlgn="base">
              <a:spcBef>
                <a:spcPct val="0"/>
              </a:spcBef>
              <a:spcAft>
                <a:spcPct val="0"/>
              </a:spcAft>
            </a:pPr>
            <a:r>
              <a:rPr lang="en-US" b="1" dirty="0">
                <a:gradFill>
                  <a:gsLst>
                    <a:gs pos="0">
                      <a:schemeClr val="tx1"/>
                    </a:gs>
                    <a:gs pos="100000">
                      <a:schemeClr val="tx1"/>
                    </a:gs>
                  </a:gsLst>
                  <a:lin ang="5400000" scaled="1"/>
                </a:gradFill>
              </a:rPr>
              <a:t>Speakers, </a:t>
            </a:r>
            <a:r>
              <a:rPr lang="en-US" dirty="0">
                <a:gradFill>
                  <a:gsLst>
                    <a:gs pos="0">
                      <a:schemeClr val="tx1"/>
                    </a:gs>
                    <a:gs pos="100000">
                      <a:schemeClr val="tx1"/>
                    </a:gs>
                  </a:gsLst>
                  <a:lin ang="5400000" scaled="1"/>
                </a:gradFill>
              </a:rPr>
              <a:t>please list the Breakout Sessions, </a:t>
            </a:r>
            <a:r>
              <a:rPr lang="en-US" dirty="0" smtClean="0">
                <a:gradFill>
                  <a:gsLst>
                    <a:gs pos="0">
                      <a:schemeClr val="tx1"/>
                    </a:gs>
                    <a:gs pos="100000">
                      <a:schemeClr val="tx1"/>
                    </a:gs>
                  </a:gsLst>
                  <a:lin ang="5400000" scaled="1"/>
                </a:gradFill>
              </a:rPr>
              <a:t>Labs</a:t>
            </a:r>
            <a:r>
              <a:rPr lang="en-US" dirty="0">
                <a:gradFill>
                  <a:gsLst>
                    <a:gs pos="0">
                      <a:schemeClr val="tx1"/>
                    </a:gs>
                    <a:gs pos="100000">
                      <a:schemeClr val="tx1"/>
                    </a:gs>
                  </a:gsLst>
                  <a:lin ang="5400000" scaled="1"/>
                </a:gradFill>
              </a:rPr>
              <a:t>, Demo Stations and Certification </a:t>
            </a:r>
            <a:r>
              <a:rPr lang="en-US" dirty="0" smtClean="0">
                <a:gradFill>
                  <a:gsLst>
                    <a:gs pos="0">
                      <a:schemeClr val="tx1"/>
                    </a:gs>
                    <a:gs pos="100000">
                      <a:schemeClr val="tx1"/>
                    </a:gs>
                  </a:gsLst>
                  <a:lin ang="5400000" scaled="1"/>
                </a:gradFill>
              </a:rPr>
              <a:t>Exams </a:t>
            </a:r>
            <a:r>
              <a:rPr lang="en-US" dirty="0">
                <a:gradFill>
                  <a:gsLst>
                    <a:gs pos="0">
                      <a:schemeClr val="tx1"/>
                    </a:gs>
                    <a:gs pos="100000">
                      <a:schemeClr val="tx1"/>
                    </a:gs>
                  </a:gsLst>
                  <a:lin ang="5400000" scaled="1"/>
                </a:gradFill>
              </a:rPr>
              <a:t>that relate to your session. Also indicate when they can find you staffing in the TLC</a:t>
            </a:r>
            <a:r>
              <a:rPr lang="en-US" dirty="0" smtClean="0">
                <a:gradFill>
                  <a:gsLst>
                    <a:gs pos="0">
                      <a:schemeClr val="tx1"/>
                    </a:gs>
                    <a:gs pos="100000">
                      <a:schemeClr val="tx1"/>
                    </a:gs>
                  </a:gsLst>
                  <a:lin ang="5400000" scaled="1"/>
                </a:gradFill>
              </a:rPr>
              <a:t>.</a:t>
            </a:r>
          </a:p>
        </p:txBody>
      </p:sp>
    </p:spTree>
    <p:extLst>
      <p:ext uri="{BB962C8B-B14F-4D97-AF65-F5344CB8AC3E}">
        <p14:creationId xmlns:p14="http://schemas.microsoft.com/office/powerpoint/2010/main" val="414011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1000" fill="hold"/>
                                        <p:tgtEl>
                                          <p:spTgt spid="9"/>
                                        </p:tgtEl>
                                        <p:attrNameLst>
                                          <p:attrName>ppt_x</p:attrName>
                                        </p:attrNameLst>
                                      </p:cBhvr>
                                      <p:tavLst>
                                        <p:tav tm="0">
                                          <p:val>
                                            <p:strVal val="0-#ppt_w/2"/>
                                          </p:val>
                                        </p:tav>
                                        <p:tav tm="100000">
                                          <p:val>
                                            <p:strVal val="#ppt_x"/>
                                          </p:val>
                                        </p:tav>
                                      </p:tavLst>
                                    </p:anim>
                                    <p:anim calcmode="lin" valueType="num">
                                      <p:cBhvr additive="base">
                                        <p:cTn id="20" dur="10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5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1000" fill="hold"/>
                                        <p:tgtEl>
                                          <p:spTgt spid="10"/>
                                        </p:tgtEl>
                                        <p:attrNameLst>
                                          <p:attrName>ppt_x</p:attrName>
                                        </p:attrNameLst>
                                      </p:cBhvr>
                                      <p:tavLst>
                                        <p:tav tm="0">
                                          <p:val>
                                            <p:strVal val="0-#ppt_w/2"/>
                                          </p:val>
                                        </p:tav>
                                        <p:tav tm="100000">
                                          <p:val>
                                            <p:strVal val="#ppt_x"/>
                                          </p:val>
                                        </p:tav>
                                      </p:tavLst>
                                    </p:anim>
                                    <p:anim calcmode="lin" valueType="num">
                                      <p:cBhvr additive="base">
                                        <p:cTn id="24" dur="1000" fill="hold"/>
                                        <p:tgtEl>
                                          <p:spTgt spid="10"/>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0-#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751389" y="8226659"/>
            <a:ext cx="8964879" cy="376689"/>
          </a:xfrm>
          <a:prstGeom prst="rect">
            <a:avLst/>
          </a:prstGeom>
          <a:noFill/>
        </p:spPr>
        <p:txBody>
          <a:bodyPr wrap="square" lIns="93264" tIns="46632" rIns="93264" bIns="46632">
            <a:spAutoFit/>
          </a:bodyPr>
          <a:lstStyle/>
          <a:p>
            <a:pPr marL="0" lvl="1" fontAlgn="base">
              <a:lnSpc>
                <a:spcPct val="90000"/>
              </a:lnSpc>
              <a:spcBef>
                <a:spcPct val="20000"/>
              </a:spcBef>
              <a:spcAft>
                <a:spcPts val="408"/>
              </a:spcAft>
              <a:buClr>
                <a:schemeClr val="tx1">
                  <a:lumMod val="75000"/>
                  <a:lumOff val="25000"/>
                </a:schemeClr>
              </a:buClr>
              <a:buSzPct val="90000"/>
              <a:tabLst>
                <a:tab pos="642783" algn="l"/>
              </a:tabLst>
            </a:pPr>
            <a:endParaRPr lang="en-US" sz="2000" b="1" spc="-51" dirty="0">
              <a:solidFill>
                <a:schemeClr val="bg1"/>
              </a:solidFill>
            </a:endParaRPr>
          </a:p>
        </p:txBody>
      </p:sp>
      <p:sp>
        <p:nvSpPr>
          <p:cNvPr id="2" name="Rectangle 1"/>
          <p:cNvSpPr/>
          <p:nvPr/>
        </p:nvSpPr>
        <p:spPr>
          <a:xfrm>
            <a:off x="6345369" y="1240990"/>
            <a:ext cx="5633089" cy="4749562"/>
          </a:xfrm>
          <a:prstGeom prst="rect">
            <a:avLst/>
          </a:prstGeom>
        </p:spPr>
        <p:txBody>
          <a:bodyPr wrap="square" lIns="93264" tIns="46632" rIns="93264" bIns="46632">
            <a:spAutoFit/>
          </a:bodyPr>
          <a:lstStyle/>
          <a:p>
            <a:pPr>
              <a:spcBef>
                <a:spcPts val="600"/>
              </a:spcBef>
            </a:pPr>
            <a:r>
              <a:rPr lang="en-US" sz="2000" dirty="0">
                <a:solidFill>
                  <a:schemeClr val="tx2"/>
                </a:solidFill>
              </a:rPr>
              <a:t>System Center 2012 Configuration Manager</a:t>
            </a:r>
          </a:p>
          <a:p>
            <a:pPr>
              <a:spcBef>
                <a:spcPts val="600"/>
              </a:spcBef>
            </a:pPr>
            <a:r>
              <a:rPr lang="en-US" sz="1399" dirty="0">
                <a:solidFill>
                  <a:schemeClr val="tx2"/>
                </a:solidFill>
                <a:hlinkClick r:id="rId3" action="ppaction://hlinkfile"/>
              </a:rPr>
              <a:t>http://technet.microsoft.com/en-us/evalcenter/hh667640.aspx?wt.mc_id=TEC_105_1_33</a:t>
            </a:r>
            <a:endParaRPr lang="en-US" sz="1399" dirty="0">
              <a:solidFill>
                <a:schemeClr val="tx2"/>
              </a:solidFill>
            </a:endParaRPr>
          </a:p>
          <a:p>
            <a:pPr>
              <a:spcBef>
                <a:spcPts val="600"/>
              </a:spcBef>
            </a:pPr>
            <a:endParaRPr lang="en-US" sz="1071" dirty="0">
              <a:solidFill>
                <a:schemeClr val="tx2"/>
              </a:solidFill>
            </a:endParaRPr>
          </a:p>
          <a:p>
            <a:pPr>
              <a:spcBef>
                <a:spcPts val="600"/>
              </a:spcBef>
            </a:pPr>
            <a:r>
              <a:rPr lang="en-US" sz="2000" dirty="0">
                <a:solidFill>
                  <a:schemeClr val="tx2"/>
                </a:solidFill>
              </a:rPr>
              <a:t>Windows Intune</a:t>
            </a:r>
          </a:p>
          <a:p>
            <a:pPr>
              <a:spcBef>
                <a:spcPts val="600"/>
              </a:spcBef>
            </a:pPr>
            <a:r>
              <a:rPr lang="en-US" sz="1399" dirty="0">
                <a:solidFill>
                  <a:schemeClr val="tx2"/>
                </a:solidFill>
                <a:hlinkClick r:id="rId4"/>
              </a:rPr>
              <a:t>http://www.microsoft.com/en-us/windows/windowsintune/try-and-buy</a:t>
            </a:r>
            <a:endParaRPr lang="en-US" sz="2000" dirty="0">
              <a:solidFill>
                <a:schemeClr val="tx2"/>
              </a:solidFill>
            </a:endParaRPr>
          </a:p>
          <a:p>
            <a:pPr>
              <a:spcBef>
                <a:spcPts val="612"/>
              </a:spcBef>
            </a:pPr>
            <a:endParaRPr lang="en-US" sz="1071" dirty="0">
              <a:solidFill>
                <a:schemeClr val="tx2"/>
              </a:solidFill>
            </a:endParaRPr>
          </a:p>
          <a:p>
            <a:pPr>
              <a:spcBef>
                <a:spcPts val="612"/>
              </a:spcBef>
            </a:pPr>
            <a:r>
              <a:rPr lang="en-US" sz="2040" dirty="0">
                <a:solidFill>
                  <a:schemeClr val="tx2"/>
                </a:solidFill>
              </a:rPr>
              <a:t>Windows Server 2012 </a:t>
            </a:r>
          </a:p>
          <a:p>
            <a:pPr marL="0" lvl="1" fontAlgn="base">
              <a:lnSpc>
                <a:spcPct val="90000"/>
              </a:lnSpc>
              <a:spcAft>
                <a:spcPts val="1248"/>
              </a:spcAft>
              <a:buClr>
                <a:schemeClr val="tx1">
                  <a:lumMod val="75000"/>
                  <a:lumOff val="25000"/>
                </a:schemeClr>
              </a:buClr>
              <a:buSzPct val="90000"/>
              <a:tabLst>
                <a:tab pos="655700" algn="l"/>
                <a:tab pos="1843224" algn="l"/>
              </a:tabLst>
            </a:pPr>
            <a:r>
              <a:rPr lang="en-US" sz="1632" u="sng" dirty="0">
                <a:solidFill>
                  <a:schemeClr val="tx2"/>
                </a:solidFill>
                <a:hlinkClick r:id="rId5"/>
              </a:rPr>
              <a:t>http://www.microsoft.com/en-us/server-cloud/windows-server</a:t>
            </a:r>
            <a:r>
              <a:rPr lang="en-US" sz="1632" u="sng" dirty="0">
                <a:solidFill>
                  <a:schemeClr val="tx2"/>
                </a:solidFill>
              </a:rPr>
              <a:t> </a:t>
            </a:r>
          </a:p>
          <a:p>
            <a:pPr>
              <a:spcBef>
                <a:spcPts val="612"/>
              </a:spcBef>
            </a:pPr>
            <a:r>
              <a:rPr lang="en-US" sz="2040" dirty="0">
                <a:solidFill>
                  <a:schemeClr val="tx2"/>
                </a:solidFill>
              </a:rPr>
              <a:t>Windows Server 2012 VDI and Remote Desktop Services: </a:t>
            </a:r>
            <a:r>
              <a:rPr lang="en-US" sz="1428" dirty="0">
                <a:solidFill>
                  <a:schemeClr val="bg1"/>
                </a:solidFill>
                <a:hlinkClick r:id="rId6"/>
              </a:rPr>
              <a:t>http://technet.microsoft.com/en-us/evalcenter/hh670538.aspx?ocid=&amp;wt.mc_id=TEC_108_1_33</a:t>
            </a:r>
            <a:endParaRPr lang="en-US" sz="1428" dirty="0">
              <a:solidFill>
                <a:schemeClr val="bg1"/>
              </a:solidFill>
            </a:endParaRPr>
          </a:p>
          <a:p>
            <a:pPr marL="0" lvl="1" fontAlgn="base">
              <a:lnSpc>
                <a:spcPct val="90000"/>
              </a:lnSpc>
              <a:spcAft>
                <a:spcPts val="1248"/>
              </a:spcAft>
              <a:buClr>
                <a:schemeClr val="tx1">
                  <a:lumMod val="75000"/>
                  <a:lumOff val="25000"/>
                </a:schemeClr>
              </a:buClr>
              <a:buSzPct val="90000"/>
              <a:tabLst>
                <a:tab pos="655700" algn="l"/>
                <a:tab pos="1843224" algn="l"/>
              </a:tabLst>
            </a:pPr>
            <a:r>
              <a:rPr lang="en-US" sz="1632" dirty="0">
                <a:solidFill>
                  <a:schemeClr val="bg1"/>
                </a:solidFill>
                <a:hlinkClick r:id="rId7"/>
              </a:rPr>
              <a:t>http://www.microsoft.com/en-us/server-cloud/windows-server/virtual-desktop-infrastructure.aspx</a:t>
            </a:r>
            <a:r>
              <a:rPr lang="en-US" sz="1632" dirty="0">
                <a:solidFill>
                  <a:schemeClr val="bg1"/>
                </a:solidFill>
              </a:rPr>
              <a:t> </a:t>
            </a:r>
          </a:p>
        </p:txBody>
      </p:sp>
      <p:grpSp>
        <p:nvGrpSpPr>
          <p:cNvPr id="7" name="Group 6"/>
          <p:cNvGrpSpPr/>
          <p:nvPr/>
        </p:nvGrpSpPr>
        <p:grpSpPr>
          <a:xfrm>
            <a:off x="5576408" y="6060941"/>
            <a:ext cx="6286425" cy="805253"/>
            <a:chOff x="8639326" y="5519392"/>
            <a:chExt cx="6162116" cy="789646"/>
          </a:xfrm>
        </p:grpSpPr>
        <p:sp>
          <p:nvSpPr>
            <p:cNvPr id="31" name="Rectangle 30"/>
            <p:cNvSpPr/>
            <p:nvPr/>
          </p:nvSpPr>
          <p:spPr>
            <a:xfrm>
              <a:off x="8951599" y="5786000"/>
              <a:ext cx="5849843" cy="523038"/>
            </a:xfrm>
            <a:prstGeom prst="rect">
              <a:avLst/>
            </a:prstGeom>
            <a:noFill/>
          </p:spPr>
          <p:txBody>
            <a:bodyPr wrap="square">
              <a:spAutoFit/>
            </a:bodyPr>
            <a:lstStyle/>
            <a:p>
              <a:pPr lvl="1">
                <a:spcBef>
                  <a:spcPts val="600"/>
                </a:spcBef>
              </a:pPr>
              <a:r>
                <a:rPr lang="en-US" sz="1399" dirty="0">
                  <a:solidFill>
                    <a:schemeClr val="bg1"/>
                  </a:solidFill>
                  <a:hlinkClick r:id="rId8"/>
                </a:rPr>
                <a:t>microsoft.com/</a:t>
              </a:r>
              <a:r>
                <a:rPr lang="en-US" sz="1399" b="1" dirty="0">
                  <a:solidFill>
                    <a:schemeClr val="bg1"/>
                  </a:solidFill>
                  <a:hlinkClick r:id="rId8"/>
                </a:rPr>
                <a:t>workstyle</a:t>
              </a:r>
              <a:r>
                <a:rPr lang="en-US" sz="1399" dirty="0">
                  <a:solidFill>
                    <a:schemeClr val="bg1"/>
                  </a:solidFill>
                </a:rPr>
                <a:t/>
              </a:r>
              <a:br>
                <a:rPr lang="en-US" sz="1399" dirty="0">
                  <a:solidFill>
                    <a:schemeClr val="bg1"/>
                  </a:solidFill>
                </a:rPr>
              </a:br>
              <a:r>
                <a:rPr lang="en-US" sz="1399" dirty="0">
                  <a:solidFill>
                    <a:schemeClr val="bg1"/>
                  </a:solidFill>
                  <a:hlinkClick r:id="rId9"/>
                </a:rPr>
                <a:t>microsoft.com/</a:t>
              </a:r>
              <a:r>
                <a:rPr lang="en-US" sz="1399" b="1" dirty="0">
                  <a:solidFill>
                    <a:schemeClr val="bg1"/>
                  </a:solidFill>
                  <a:hlinkClick r:id="rId9"/>
                </a:rPr>
                <a:t>server-cloud/user-device-management</a:t>
              </a:r>
              <a:endParaRPr lang="en-US" sz="1399" b="1" dirty="0">
                <a:solidFill>
                  <a:schemeClr val="bg1"/>
                </a:solidFill>
              </a:endParaRPr>
            </a:p>
          </p:txBody>
        </p:sp>
        <p:sp>
          <p:nvSpPr>
            <p:cNvPr id="40" name="Rectangle 39"/>
            <p:cNvSpPr/>
            <p:nvPr/>
          </p:nvSpPr>
          <p:spPr>
            <a:xfrm>
              <a:off x="9371675" y="5519392"/>
              <a:ext cx="1610407" cy="313848"/>
            </a:xfrm>
            <a:prstGeom prst="rect">
              <a:avLst/>
            </a:prstGeom>
          </p:spPr>
          <p:txBody>
            <a:bodyPr wrap="none">
              <a:spAutoFit/>
            </a:bodyPr>
            <a:lstStyle/>
            <a:p>
              <a:pPr marL="0" lvl="1" fontAlgn="base">
                <a:lnSpc>
                  <a:spcPct val="90000"/>
                </a:lnSpc>
                <a:spcBef>
                  <a:spcPct val="20000"/>
                </a:spcBef>
                <a:spcAft>
                  <a:spcPts val="408"/>
                </a:spcAft>
                <a:buClr>
                  <a:srgbClr val="000000">
                    <a:lumMod val="75000"/>
                    <a:lumOff val="25000"/>
                  </a:srgbClr>
                </a:buClr>
                <a:buSzPct val="90000"/>
                <a:tabLst>
                  <a:tab pos="642783" algn="l"/>
                </a:tabLst>
              </a:pPr>
              <a:r>
                <a:rPr lang="en-US" sz="1599" b="1" i="1" spc="-51" dirty="0">
                  <a:solidFill>
                    <a:srgbClr val="FFFFFF"/>
                  </a:solidFill>
                </a:rPr>
                <a:t>More Resources:</a:t>
              </a:r>
              <a:endParaRPr lang="en-US" sz="1599" b="1" spc="-51" dirty="0">
                <a:solidFill>
                  <a:srgbClr val="FFFFFF"/>
                </a:solidFill>
              </a:endParaRPr>
            </a:p>
          </p:txBody>
        </p:sp>
        <p:sp>
          <p:nvSpPr>
            <p:cNvPr id="23" name="Freeform 9"/>
            <p:cNvSpPr>
              <a:spLocks noEditPoints="1"/>
            </p:cNvSpPr>
            <p:nvPr/>
          </p:nvSpPr>
          <p:spPr bwMode="black">
            <a:xfrm>
              <a:off x="8639326" y="5596846"/>
              <a:ext cx="624547" cy="6245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grpSp>
      <p:sp>
        <p:nvSpPr>
          <p:cNvPr id="4" name="Title 3"/>
          <p:cNvSpPr>
            <a:spLocks noGrp="1"/>
          </p:cNvSpPr>
          <p:nvPr>
            <p:ph type="title" idx="4294967295"/>
          </p:nvPr>
        </p:nvSpPr>
        <p:spPr>
          <a:xfrm>
            <a:off x="5395499" y="318952"/>
            <a:ext cx="6037589" cy="753238"/>
          </a:xfrm>
        </p:spPr>
        <p:txBody>
          <a:bodyPr/>
          <a:lstStyle/>
          <a:p>
            <a:pPr defTabSz="932600"/>
            <a:r>
              <a:rPr lang="en-US" sz="3999" dirty="0">
                <a:solidFill>
                  <a:schemeClr val="tx2"/>
                </a:solidFill>
                <a:latin typeface="Segoe UI Light" pitchFamily="34" charset="0"/>
              </a:rPr>
              <a:t>For More Information</a:t>
            </a:r>
          </a:p>
        </p:txBody>
      </p:sp>
      <p:sp>
        <p:nvSpPr>
          <p:cNvPr id="11" name="Freeform 9"/>
          <p:cNvSpPr>
            <a:spLocks noEditPoints="1"/>
          </p:cNvSpPr>
          <p:nvPr/>
        </p:nvSpPr>
        <p:spPr bwMode="black">
          <a:xfrm>
            <a:off x="5576409" y="137306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
        <p:nvSpPr>
          <p:cNvPr id="12" name="Freeform 9"/>
          <p:cNvSpPr>
            <a:spLocks noEditPoints="1"/>
          </p:cNvSpPr>
          <p:nvPr/>
        </p:nvSpPr>
        <p:spPr bwMode="black">
          <a:xfrm>
            <a:off x="5576405" y="250076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
        <p:nvSpPr>
          <p:cNvPr id="13" name="Freeform 9"/>
          <p:cNvSpPr>
            <a:spLocks noEditPoints="1"/>
          </p:cNvSpPr>
          <p:nvPr/>
        </p:nvSpPr>
        <p:spPr bwMode="black">
          <a:xfrm>
            <a:off x="5576406" y="3523334"/>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pic>
        <p:nvPicPr>
          <p:cNvPr id="15" name="Picture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bwMode="invGray">
          <a:xfrm>
            <a:off x="458018" y="6355387"/>
            <a:ext cx="1569764" cy="336267"/>
          </a:xfrm>
          <a:prstGeom prst="rect">
            <a:avLst/>
          </a:prstGeom>
        </p:spPr>
      </p:pic>
      <p:sp>
        <p:nvSpPr>
          <p:cNvPr id="17" name="Freeform 9"/>
          <p:cNvSpPr>
            <a:spLocks noEditPoints="1"/>
          </p:cNvSpPr>
          <p:nvPr/>
        </p:nvSpPr>
        <p:spPr bwMode="auto">
          <a:xfrm>
            <a:off x="275482" y="3345861"/>
            <a:ext cx="3904696" cy="406950"/>
          </a:xfrm>
          <a:custGeom>
            <a:avLst/>
            <a:gdLst>
              <a:gd name="T0" fmla="*/ 89 w 1963"/>
              <a:gd name="T1" fmla="*/ 187 h 202"/>
              <a:gd name="T2" fmla="*/ 0 w 1963"/>
              <a:gd name="T3" fmla="*/ 174 h 202"/>
              <a:gd name="T4" fmla="*/ 421 w 1963"/>
              <a:gd name="T5" fmla="*/ 40 h 202"/>
              <a:gd name="T6" fmla="*/ 307 w 1963"/>
              <a:gd name="T7" fmla="*/ 141 h 202"/>
              <a:gd name="T8" fmla="*/ 1849 w 1963"/>
              <a:gd name="T9" fmla="*/ 106 h 202"/>
              <a:gd name="T10" fmla="*/ 1815 w 1963"/>
              <a:gd name="T11" fmla="*/ 162 h 202"/>
              <a:gd name="T12" fmla="*/ 1877 w 1963"/>
              <a:gd name="T13" fmla="*/ 160 h 202"/>
              <a:gd name="T14" fmla="*/ 1858 w 1963"/>
              <a:gd name="T15" fmla="*/ 70 h 202"/>
              <a:gd name="T16" fmla="*/ 805 w 1963"/>
              <a:gd name="T17" fmla="*/ 95 h 202"/>
              <a:gd name="T18" fmla="*/ 832 w 1963"/>
              <a:gd name="T19" fmla="*/ 145 h 202"/>
              <a:gd name="T20" fmla="*/ 777 w 1963"/>
              <a:gd name="T21" fmla="*/ 145 h 202"/>
              <a:gd name="T22" fmla="*/ 621 w 1963"/>
              <a:gd name="T23" fmla="*/ 34 h 202"/>
              <a:gd name="T24" fmla="*/ 620 w 1963"/>
              <a:gd name="T25" fmla="*/ 86 h 202"/>
              <a:gd name="T26" fmla="*/ 580 w 1963"/>
              <a:gd name="T27" fmla="*/ 163 h 202"/>
              <a:gd name="T28" fmla="*/ 620 w 1963"/>
              <a:gd name="T29" fmla="*/ 130 h 202"/>
              <a:gd name="T30" fmla="*/ 621 w 1963"/>
              <a:gd name="T31" fmla="*/ 109 h 202"/>
              <a:gd name="T32" fmla="*/ 1555 w 1963"/>
              <a:gd name="T33" fmla="*/ 42 h 202"/>
              <a:gd name="T34" fmla="*/ 1611 w 1963"/>
              <a:gd name="T35" fmla="*/ 100 h 202"/>
              <a:gd name="T36" fmla="*/ 1548 w 1963"/>
              <a:gd name="T37" fmla="*/ 77 h 202"/>
              <a:gd name="T38" fmla="*/ 1121 w 1963"/>
              <a:gd name="T39" fmla="*/ 93 h 202"/>
              <a:gd name="T40" fmla="*/ 1118 w 1963"/>
              <a:gd name="T41" fmla="*/ 157 h 202"/>
              <a:gd name="T42" fmla="*/ 1064 w 1963"/>
              <a:gd name="T43" fmla="*/ 127 h 202"/>
              <a:gd name="T44" fmla="*/ 1105 w 1963"/>
              <a:gd name="T45" fmla="*/ 92 h 202"/>
              <a:gd name="T46" fmla="*/ 1280 w 1963"/>
              <a:gd name="T47" fmla="*/ 143 h 202"/>
              <a:gd name="T48" fmla="*/ 1311 w 1963"/>
              <a:gd name="T49" fmla="*/ 152 h 202"/>
              <a:gd name="T50" fmla="*/ 1301 w 1963"/>
              <a:gd name="T51" fmla="*/ 90 h 202"/>
              <a:gd name="T52" fmla="*/ 1012 w 1963"/>
              <a:gd name="T53" fmla="*/ 38 h 202"/>
              <a:gd name="T54" fmla="*/ 1010 w 1963"/>
              <a:gd name="T55" fmla="*/ 150 h 202"/>
              <a:gd name="T56" fmla="*/ 1018 w 1963"/>
              <a:gd name="T57" fmla="*/ 161 h 202"/>
              <a:gd name="T58" fmla="*/ 1005 w 1963"/>
              <a:gd name="T59" fmla="*/ 51 h 202"/>
              <a:gd name="T60" fmla="*/ 656 w 1963"/>
              <a:gd name="T61" fmla="*/ 138 h 202"/>
              <a:gd name="T62" fmla="*/ 704 w 1963"/>
              <a:gd name="T63" fmla="*/ 86 h 202"/>
              <a:gd name="T64" fmla="*/ 667 w 1963"/>
              <a:gd name="T65" fmla="*/ 126 h 202"/>
              <a:gd name="T66" fmla="*/ 1918 w 1963"/>
              <a:gd name="T67" fmla="*/ 149 h 202"/>
              <a:gd name="T68" fmla="*/ 1936 w 1963"/>
              <a:gd name="T69" fmla="*/ 40 h 202"/>
              <a:gd name="T70" fmla="*/ 1924 w 1963"/>
              <a:gd name="T71" fmla="*/ 50 h 202"/>
              <a:gd name="T72" fmla="*/ 1963 w 1963"/>
              <a:gd name="T73" fmla="*/ 149 h 202"/>
              <a:gd name="T74" fmla="*/ 1487 w 1963"/>
              <a:gd name="T75" fmla="*/ 115 h 202"/>
              <a:gd name="T76" fmla="*/ 1449 w 1963"/>
              <a:gd name="T77" fmla="*/ 63 h 202"/>
              <a:gd name="T78" fmla="*/ 1475 w 1963"/>
              <a:gd name="T79" fmla="*/ 110 h 202"/>
              <a:gd name="T80" fmla="*/ 1700 w 1963"/>
              <a:gd name="T81" fmla="*/ 149 h 202"/>
              <a:gd name="T82" fmla="*/ 1716 w 1963"/>
              <a:gd name="T83" fmla="*/ 39 h 202"/>
              <a:gd name="T84" fmla="*/ 1742 w 1963"/>
              <a:gd name="T85" fmla="*/ 67 h 202"/>
              <a:gd name="T86" fmla="*/ 1761 w 1963"/>
              <a:gd name="T87" fmla="*/ 162 h 202"/>
              <a:gd name="T88" fmla="*/ 523 w 1963"/>
              <a:gd name="T89" fmla="*/ 98 h 202"/>
              <a:gd name="T90" fmla="*/ 535 w 1963"/>
              <a:gd name="T91" fmla="*/ 88 h 202"/>
              <a:gd name="T92" fmla="*/ 467 w 1963"/>
              <a:gd name="T93" fmla="*/ 162 h 202"/>
              <a:gd name="T94" fmla="*/ 1232 w 1963"/>
              <a:gd name="T95" fmla="*/ 146 h 202"/>
              <a:gd name="T96" fmla="*/ 872 w 1963"/>
              <a:gd name="T97" fmla="*/ 160 h 202"/>
              <a:gd name="T98" fmla="*/ 898 w 1963"/>
              <a:gd name="T99" fmla="*/ 85 h 202"/>
              <a:gd name="T100" fmla="*/ 890 w 1963"/>
              <a:gd name="T101" fmla="*/ 123 h 202"/>
              <a:gd name="T102" fmla="*/ 1649 w 1963"/>
              <a:gd name="T103" fmla="*/ 162 h 202"/>
              <a:gd name="T104" fmla="*/ 1649 w 1963"/>
              <a:gd name="T105" fmla="*/ 57 h 202"/>
              <a:gd name="T106" fmla="*/ 1141 w 1963"/>
              <a:gd name="T107" fmla="*/ 75 h 202"/>
              <a:gd name="T108" fmla="*/ 1186 w 1963"/>
              <a:gd name="T109" fmla="*/ 89 h 202"/>
              <a:gd name="T110" fmla="*/ 1388 w 1963"/>
              <a:gd name="T111" fmla="*/ 94 h 202"/>
              <a:gd name="T112" fmla="*/ 1381 w 1963"/>
              <a:gd name="T113" fmla="*/ 92 h 202"/>
              <a:gd name="T114" fmla="*/ 432 w 1963"/>
              <a:gd name="T115" fmla="*/ 16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3" h="202">
                <a:moveTo>
                  <a:pt x="89" y="99"/>
                </a:moveTo>
                <a:cubicBezTo>
                  <a:pt x="89" y="71"/>
                  <a:pt x="89" y="44"/>
                  <a:pt x="89" y="16"/>
                </a:cubicBezTo>
                <a:cubicBezTo>
                  <a:pt x="127" y="10"/>
                  <a:pt x="164" y="5"/>
                  <a:pt x="202" y="0"/>
                </a:cubicBezTo>
                <a:cubicBezTo>
                  <a:pt x="202" y="2"/>
                  <a:pt x="202" y="97"/>
                  <a:pt x="202" y="99"/>
                </a:cubicBezTo>
                <a:cubicBezTo>
                  <a:pt x="165" y="99"/>
                  <a:pt x="127" y="99"/>
                  <a:pt x="89" y="99"/>
                </a:cubicBezTo>
                <a:close/>
                <a:moveTo>
                  <a:pt x="202" y="103"/>
                </a:moveTo>
                <a:cubicBezTo>
                  <a:pt x="164" y="103"/>
                  <a:pt x="127" y="103"/>
                  <a:pt x="89" y="103"/>
                </a:cubicBezTo>
                <a:cubicBezTo>
                  <a:pt x="89" y="131"/>
                  <a:pt x="89" y="159"/>
                  <a:pt x="89" y="187"/>
                </a:cubicBezTo>
                <a:cubicBezTo>
                  <a:pt x="127" y="192"/>
                  <a:pt x="164" y="197"/>
                  <a:pt x="202" y="202"/>
                </a:cubicBezTo>
                <a:cubicBezTo>
                  <a:pt x="202" y="169"/>
                  <a:pt x="202" y="136"/>
                  <a:pt x="202" y="103"/>
                </a:cubicBezTo>
                <a:close/>
                <a:moveTo>
                  <a:pt x="86" y="99"/>
                </a:moveTo>
                <a:cubicBezTo>
                  <a:pt x="86" y="72"/>
                  <a:pt x="86" y="44"/>
                  <a:pt x="86" y="16"/>
                </a:cubicBezTo>
                <a:cubicBezTo>
                  <a:pt x="57" y="20"/>
                  <a:pt x="28" y="24"/>
                  <a:pt x="0" y="28"/>
                </a:cubicBezTo>
                <a:cubicBezTo>
                  <a:pt x="0" y="52"/>
                  <a:pt x="0" y="76"/>
                  <a:pt x="0" y="99"/>
                </a:cubicBezTo>
                <a:cubicBezTo>
                  <a:pt x="29" y="99"/>
                  <a:pt x="57" y="99"/>
                  <a:pt x="86" y="99"/>
                </a:cubicBezTo>
                <a:close/>
                <a:moveTo>
                  <a:pt x="0" y="174"/>
                </a:moveTo>
                <a:cubicBezTo>
                  <a:pt x="28" y="178"/>
                  <a:pt x="57" y="182"/>
                  <a:pt x="86" y="186"/>
                </a:cubicBezTo>
                <a:cubicBezTo>
                  <a:pt x="86" y="158"/>
                  <a:pt x="86" y="131"/>
                  <a:pt x="86" y="103"/>
                </a:cubicBezTo>
                <a:cubicBezTo>
                  <a:pt x="57" y="103"/>
                  <a:pt x="29" y="103"/>
                  <a:pt x="0" y="103"/>
                </a:cubicBezTo>
                <a:cubicBezTo>
                  <a:pt x="0" y="127"/>
                  <a:pt x="0" y="150"/>
                  <a:pt x="0" y="174"/>
                </a:cubicBezTo>
                <a:close/>
                <a:moveTo>
                  <a:pt x="343" y="66"/>
                </a:moveTo>
                <a:cubicBezTo>
                  <a:pt x="352" y="98"/>
                  <a:pt x="361" y="130"/>
                  <a:pt x="370" y="162"/>
                </a:cubicBezTo>
                <a:cubicBezTo>
                  <a:pt x="375" y="162"/>
                  <a:pt x="381" y="162"/>
                  <a:pt x="386" y="162"/>
                </a:cubicBezTo>
                <a:cubicBezTo>
                  <a:pt x="398" y="121"/>
                  <a:pt x="409" y="81"/>
                  <a:pt x="421" y="40"/>
                </a:cubicBezTo>
                <a:cubicBezTo>
                  <a:pt x="415" y="40"/>
                  <a:pt x="410" y="40"/>
                  <a:pt x="405" y="40"/>
                </a:cubicBezTo>
                <a:cubicBezTo>
                  <a:pt x="396" y="74"/>
                  <a:pt x="387" y="108"/>
                  <a:pt x="378" y="142"/>
                </a:cubicBezTo>
                <a:cubicBezTo>
                  <a:pt x="378" y="142"/>
                  <a:pt x="378" y="142"/>
                  <a:pt x="378" y="142"/>
                </a:cubicBezTo>
                <a:cubicBezTo>
                  <a:pt x="369" y="108"/>
                  <a:pt x="359" y="74"/>
                  <a:pt x="350" y="41"/>
                </a:cubicBezTo>
                <a:cubicBezTo>
                  <a:pt x="345" y="41"/>
                  <a:pt x="341" y="41"/>
                  <a:pt x="336" y="41"/>
                </a:cubicBezTo>
                <a:cubicBezTo>
                  <a:pt x="326" y="74"/>
                  <a:pt x="317" y="107"/>
                  <a:pt x="307" y="141"/>
                </a:cubicBezTo>
                <a:cubicBezTo>
                  <a:pt x="307" y="141"/>
                  <a:pt x="307" y="141"/>
                  <a:pt x="307" y="141"/>
                </a:cubicBezTo>
                <a:cubicBezTo>
                  <a:pt x="307" y="141"/>
                  <a:pt x="307" y="141"/>
                  <a:pt x="307" y="141"/>
                </a:cubicBezTo>
                <a:cubicBezTo>
                  <a:pt x="307" y="141"/>
                  <a:pt x="307" y="141"/>
                  <a:pt x="306" y="141"/>
                </a:cubicBezTo>
                <a:cubicBezTo>
                  <a:pt x="297" y="108"/>
                  <a:pt x="288" y="74"/>
                  <a:pt x="278" y="40"/>
                </a:cubicBezTo>
                <a:cubicBezTo>
                  <a:pt x="273" y="40"/>
                  <a:pt x="268" y="40"/>
                  <a:pt x="263" y="40"/>
                </a:cubicBezTo>
                <a:cubicBezTo>
                  <a:pt x="275" y="81"/>
                  <a:pt x="286" y="121"/>
                  <a:pt x="298" y="162"/>
                </a:cubicBezTo>
                <a:cubicBezTo>
                  <a:pt x="304" y="162"/>
                  <a:pt x="309" y="162"/>
                  <a:pt x="315" y="162"/>
                </a:cubicBezTo>
                <a:cubicBezTo>
                  <a:pt x="324" y="130"/>
                  <a:pt x="333" y="98"/>
                  <a:pt x="342" y="66"/>
                </a:cubicBezTo>
                <a:cubicBezTo>
                  <a:pt x="342" y="66"/>
                  <a:pt x="342" y="66"/>
                  <a:pt x="343" y="66"/>
                </a:cubicBezTo>
                <a:close/>
                <a:moveTo>
                  <a:pt x="1849" y="106"/>
                </a:moveTo>
                <a:cubicBezTo>
                  <a:pt x="1862" y="102"/>
                  <a:pt x="1870" y="94"/>
                  <a:pt x="1873" y="81"/>
                </a:cubicBezTo>
                <a:cubicBezTo>
                  <a:pt x="1874" y="77"/>
                  <a:pt x="1874" y="73"/>
                  <a:pt x="1873" y="69"/>
                </a:cubicBezTo>
                <a:cubicBezTo>
                  <a:pt x="1873" y="58"/>
                  <a:pt x="1867" y="50"/>
                  <a:pt x="1857" y="44"/>
                </a:cubicBezTo>
                <a:cubicBezTo>
                  <a:pt x="1852" y="42"/>
                  <a:pt x="1846" y="40"/>
                  <a:pt x="1840" y="40"/>
                </a:cubicBezTo>
                <a:cubicBezTo>
                  <a:pt x="1827" y="40"/>
                  <a:pt x="1815" y="40"/>
                  <a:pt x="1802" y="40"/>
                </a:cubicBezTo>
                <a:cubicBezTo>
                  <a:pt x="1801" y="40"/>
                  <a:pt x="1801" y="40"/>
                  <a:pt x="1800" y="40"/>
                </a:cubicBezTo>
                <a:cubicBezTo>
                  <a:pt x="1800" y="43"/>
                  <a:pt x="1800" y="160"/>
                  <a:pt x="1801" y="162"/>
                </a:cubicBezTo>
                <a:cubicBezTo>
                  <a:pt x="1805" y="162"/>
                  <a:pt x="1813" y="162"/>
                  <a:pt x="1815" y="162"/>
                </a:cubicBezTo>
                <a:cubicBezTo>
                  <a:pt x="1815" y="145"/>
                  <a:pt x="1815" y="127"/>
                  <a:pt x="1815" y="110"/>
                </a:cubicBezTo>
                <a:cubicBezTo>
                  <a:pt x="1819" y="110"/>
                  <a:pt x="1822" y="110"/>
                  <a:pt x="1826" y="110"/>
                </a:cubicBezTo>
                <a:cubicBezTo>
                  <a:pt x="1832" y="110"/>
                  <a:pt x="1837" y="112"/>
                  <a:pt x="1840" y="117"/>
                </a:cubicBezTo>
                <a:cubicBezTo>
                  <a:pt x="1843" y="120"/>
                  <a:pt x="1844" y="122"/>
                  <a:pt x="1845" y="126"/>
                </a:cubicBezTo>
                <a:cubicBezTo>
                  <a:pt x="1850" y="137"/>
                  <a:pt x="1855" y="148"/>
                  <a:pt x="1860" y="160"/>
                </a:cubicBezTo>
                <a:cubicBezTo>
                  <a:pt x="1861" y="160"/>
                  <a:pt x="1861" y="161"/>
                  <a:pt x="1861" y="162"/>
                </a:cubicBezTo>
                <a:cubicBezTo>
                  <a:pt x="1867" y="162"/>
                  <a:pt x="1873" y="162"/>
                  <a:pt x="1878" y="162"/>
                </a:cubicBezTo>
                <a:cubicBezTo>
                  <a:pt x="1878" y="161"/>
                  <a:pt x="1878" y="160"/>
                  <a:pt x="1877" y="160"/>
                </a:cubicBezTo>
                <a:cubicBezTo>
                  <a:pt x="1874" y="153"/>
                  <a:pt x="1871" y="147"/>
                  <a:pt x="1868" y="141"/>
                </a:cubicBezTo>
                <a:cubicBezTo>
                  <a:pt x="1865" y="134"/>
                  <a:pt x="1862" y="126"/>
                  <a:pt x="1858" y="119"/>
                </a:cubicBezTo>
                <a:cubicBezTo>
                  <a:pt x="1856" y="114"/>
                  <a:pt x="1852" y="109"/>
                  <a:pt x="1846" y="107"/>
                </a:cubicBezTo>
                <a:cubicBezTo>
                  <a:pt x="1848" y="106"/>
                  <a:pt x="1849" y="106"/>
                  <a:pt x="1849" y="106"/>
                </a:cubicBezTo>
                <a:close/>
                <a:moveTo>
                  <a:pt x="1816" y="53"/>
                </a:moveTo>
                <a:cubicBezTo>
                  <a:pt x="1823" y="53"/>
                  <a:pt x="1831" y="53"/>
                  <a:pt x="1838" y="53"/>
                </a:cubicBezTo>
                <a:cubicBezTo>
                  <a:pt x="1841" y="54"/>
                  <a:pt x="1843" y="54"/>
                  <a:pt x="1846" y="55"/>
                </a:cubicBezTo>
                <a:cubicBezTo>
                  <a:pt x="1853" y="57"/>
                  <a:pt x="1857" y="62"/>
                  <a:pt x="1858" y="70"/>
                </a:cubicBezTo>
                <a:cubicBezTo>
                  <a:pt x="1860" y="81"/>
                  <a:pt x="1856" y="89"/>
                  <a:pt x="1847" y="94"/>
                </a:cubicBezTo>
                <a:cubicBezTo>
                  <a:pt x="1844" y="96"/>
                  <a:pt x="1840" y="97"/>
                  <a:pt x="1837" y="97"/>
                </a:cubicBezTo>
                <a:cubicBezTo>
                  <a:pt x="1830" y="97"/>
                  <a:pt x="1823" y="97"/>
                  <a:pt x="1816" y="97"/>
                </a:cubicBezTo>
                <a:cubicBezTo>
                  <a:pt x="1815" y="97"/>
                  <a:pt x="1815" y="97"/>
                  <a:pt x="1815" y="97"/>
                </a:cubicBezTo>
                <a:cubicBezTo>
                  <a:pt x="1815" y="83"/>
                  <a:pt x="1815" y="68"/>
                  <a:pt x="1815" y="53"/>
                </a:cubicBezTo>
                <a:cubicBezTo>
                  <a:pt x="1815" y="53"/>
                  <a:pt x="1815" y="53"/>
                  <a:pt x="1816" y="53"/>
                </a:cubicBezTo>
                <a:close/>
                <a:moveTo>
                  <a:pt x="804" y="95"/>
                </a:moveTo>
                <a:cubicBezTo>
                  <a:pt x="804" y="95"/>
                  <a:pt x="805" y="95"/>
                  <a:pt x="805" y="95"/>
                </a:cubicBezTo>
                <a:cubicBezTo>
                  <a:pt x="811" y="117"/>
                  <a:pt x="818" y="140"/>
                  <a:pt x="824" y="162"/>
                </a:cubicBezTo>
                <a:cubicBezTo>
                  <a:pt x="829" y="162"/>
                  <a:pt x="834" y="162"/>
                  <a:pt x="839" y="162"/>
                </a:cubicBezTo>
                <a:cubicBezTo>
                  <a:pt x="847" y="133"/>
                  <a:pt x="856" y="104"/>
                  <a:pt x="865" y="75"/>
                </a:cubicBezTo>
                <a:cubicBezTo>
                  <a:pt x="860" y="75"/>
                  <a:pt x="855" y="75"/>
                  <a:pt x="851" y="75"/>
                </a:cubicBezTo>
                <a:cubicBezTo>
                  <a:pt x="849" y="81"/>
                  <a:pt x="848" y="87"/>
                  <a:pt x="846" y="93"/>
                </a:cubicBezTo>
                <a:cubicBezTo>
                  <a:pt x="844" y="99"/>
                  <a:pt x="843" y="104"/>
                  <a:pt x="841" y="110"/>
                </a:cubicBezTo>
                <a:cubicBezTo>
                  <a:pt x="840" y="116"/>
                  <a:pt x="838" y="122"/>
                  <a:pt x="837" y="128"/>
                </a:cubicBezTo>
                <a:cubicBezTo>
                  <a:pt x="835" y="133"/>
                  <a:pt x="834" y="139"/>
                  <a:pt x="832" y="145"/>
                </a:cubicBezTo>
                <a:cubicBezTo>
                  <a:pt x="832" y="145"/>
                  <a:pt x="831" y="145"/>
                  <a:pt x="831" y="145"/>
                </a:cubicBezTo>
                <a:cubicBezTo>
                  <a:pt x="825" y="122"/>
                  <a:pt x="818" y="98"/>
                  <a:pt x="812" y="75"/>
                </a:cubicBezTo>
                <a:cubicBezTo>
                  <a:pt x="807" y="75"/>
                  <a:pt x="803" y="75"/>
                  <a:pt x="799" y="75"/>
                </a:cubicBezTo>
                <a:cubicBezTo>
                  <a:pt x="799" y="75"/>
                  <a:pt x="799" y="75"/>
                  <a:pt x="799" y="76"/>
                </a:cubicBezTo>
                <a:cubicBezTo>
                  <a:pt x="792" y="98"/>
                  <a:pt x="785" y="121"/>
                  <a:pt x="778" y="144"/>
                </a:cubicBezTo>
                <a:cubicBezTo>
                  <a:pt x="778" y="144"/>
                  <a:pt x="778" y="144"/>
                  <a:pt x="778" y="144"/>
                </a:cubicBezTo>
                <a:cubicBezTo>
                  <a:pt x="778" y="145"/>
                  <a:pt x="778" y="145"/>
                  <a:pt x="778" y="145"/>
                </a:cubicBezTo>
                <a:cubicBezTo>
                  <a:pt x="778" y="145"/>
                  <a:pt x="777" y="145"/>
                  <a:pt x="777" y="145"/>
                </a:cubicBezTo>
                <a:cubicBezTo>
                  <a:pt x="777" y="145"/>
                  <a:pt x="777" y="145"/>
                  <a:pt x="777" y="145"/>
                </a:cubicBezTo>
                <a:cubicBezTo>
                  <a:pt x="771" y="122"/>
                  <a:pt x="764" y="98"/>
                  <a:pt x="758" y="75"/>
                </a:cubicBezTo>
                <a:cubicBezTo>
                  <a:pt x="753" y="75"/>
                  <a:pt x="748" y="75"/>
                  <a:pt x="743" y="75"/>
                </a:cubicBezTo>
                <a:cubicBezTo>
                  <a:pt x="752" y="104"/>
                  <a:pt x="761" y="133"/>
                  <a:pt x="769" y="162"/>
                </a:cubicBezTo>
                <a:cubicBezTo>
                  <a:pt x="774" y="162"/>
                  <a:pt x="779" y="162"/>
                  <a:pt x="783" y="162"/>
                </a:cubicBezTo>
                <a:cubicBezTo>
                  <a:pt x="790" y="140"/>
                  <a:pt x="797" y="117"/>
                  <a:pt x="804" y="95"/>
                </a:cubicBezTo>
                <a:close/>
                <a:moveTo>
                  <a:pt x="635" y="34"/>
                </a:moveTo>
                <a:cubicBezTo>
                  <a:pt x="632" y="33"/>
                  <a:pt x="623" y="33"/>
                  <a:pt x="621" y="34"/>
                </a:cubicBezTo>
                <a:cubicBezTo>
                  <a:pt x="621" y="34"/>
                  <a:pt x="621" y="34"/>
                  <a:pt x="621" y="34"/>
                </a:cubicBezTo>
                <a:cubicBezTo>
                  <a:pt x="621" y="34"/>
                  <a:pt x="621" y="34"/>
                  <a:pt x="621" y="34"/>
                </a:cubicBezTo>
                <a:cubicBezTo>
                  <a:pt x="621" y="51"/>
                  <a:pt x="621" y="68"/>
                  <a:pt x="621" y="85"/>
                </a:cubicBezTo>
                <a:cubicBezTo>
                  <a:pt x="621" y="85"/>
                  <a:pt x="621" y="86"/>
                  <a:pt x="621" y="86"/>
                </a:cubicBezTo>
                <a:cubicBezTo>
                  <a:pt x="621" y="86"/>
                  <a:pt x="621" y="86"/>
                  <a:pt x="621" y="86"/>
                </a:cubicBezTo>
                <a:cubicBezTo>
                  <a:pt x="621" y="86"/>
                  <a:pt x="621" y="86"/>
                  <a:pt x="621" y="86"/>
                </a:cubicBezTo>
                <a:cubicBezTo>
                  <a:pt x="621" y="86"/>
                  <a:pt x="621" y="86"/>
                  <a:pt x="621" y="86"/>
                </a:cubicBezTo>
                <a:cubicBezTo>
                  <a:pt x="620" y="86"/>
                  <a:pt x="620" y="86"/>
                  <a:pt x="620" y="86"/>
                </a:cubicBezTo>
                <a:cubicBezTo>
                  <a:pt x="620" y="85"/>
                  <a:pt x="619" y="85"/>
                  <a:pt x="619" y="84"/>
                </a:cubicBezTo>
                <a:cubicBezTo>
                  <a:pt x="615" y="79"/>
                  <a:pt x="609" y="75"/>
                  <a:pt x="602" y="74"/>
                </a:cubicBezTo>
                <a:cubicBezTo>
                  <a:pt x="598" y="73"/>
                  <a:pt x="594" y="73"/>
                  <a:pt x="590" y="73"/>
                </a:cubicBezTo>
                <a:cubicBezTo>
                  <a:pt x="582" y="74"/>
                  <a:pt x="575" y="77"/>
                  <a:pt x="570" y="82"/>
                </a:cubicBezTo>
                <a:cubicBezTo>
                  <a:pt x="564" y="87"/>
                  <a:pt x="560" y="94"/>
                  <a:pt x="557" y="102"/>
                </a:cubicBezTo>
                <a:cubicBezTo>
                  <a:pt x="555" y="111"/>
                  <a:pt x="554" y="120"/>
                  <a:pt x="555" y="129"/>
                </a:cubicBezTo>
                <a:cubicBezTo>
                  <a:pt x="556" y="134"/>
                  <a:pt x="557" y="140"/>
                  <a:pt x="560" y="145"/>
                </a:cubicBezTo>
                <a:cubicBezTo>
                  <a:pt x="564" y="153"/>
                  <a:pt x="571" y="160"/>
                  <a:pt x="580" y="163"/>
                </a:cubicBezTo>
                <a:cubicBezTo>
                  <a:pt x="586" y="164"/>
                  <a:pt x="592" y="165"/>
                  <a:pt x="598" y="164"/>
                </a:cubicBezTo>
                <a:cubicBezTo>
                  <a:pt x="607" y="162"/>
                  <a:pt x="614" y="157"/>
                  <a:pt x="619" y="149"/>
                </a:cubicBezTo>
                <a:cubicBezTo>
                  <a:pt x="620" y="149"/>
                  <a:pt x="620" y="148"/>
                  <a:pt x="621" y="148"/>
                </a:cubicBezTo>
                <a:cubicBezTo>
                  <a:pt x="621" y="148"/>
                  <a:pt x="621" y="148"/>
                  <a:pt x="621" y="148"/>
                </a:cubicBezTo>
                <a:cubicBezTo>
                  <a:pt x="621" y="153"/>
                  <a:pt x="621" y="157"/>
                  <a:pt x="621" y="162"/>
                </a:cubicBezTo>
                <a:cubicBezTo>
                  <a:pt x="626" y="162"/>
                  <a:pt x="630" y="162"/>
                  <a:pt x="635" y="162"/>
                </a:cubicBezTo>
                <a:cubicBezTo>
                  <a:pt x="635" y="119"/>
                  <a:pt x="635" y="76"/>
                  <a:pt x="635" y="34"/>
                </a:cubicBezTo>
                <a:close/>
                <a:moveTo>
                  <a:pt x="620" y="130"/>
                </a:moveTo>
                <a:cubicBezTo>
                  <a:pt x="619" y="137"/>
                  <a:pt x="616" y="143"/>
                  <a:pt x="610" y="147"/>
                </a:cubicBezTo>
                <a:cubicBezTo>
                  <a:pt x="601" y="154"/>
                  <a:pt x="582" y="155"/>
                  <a:pt x="574" y="140"/>
                </a:cubicBezTo>
                <a:cubicBezTo>
                  <a:pt x="571" y="135"/>
                  <a:pt x="570" y="130"/>
                  <a:pt x="569" y="124"/>
                </a:cubicBezTo>
                <a:cubicBezTo>
                  <a:pt x="569" y="117"/>
                  <a:pt x="569" y="111"/>
                  <a:pt x="571" y="104"/>
                </a:cubicBezTo>
                <a:cubicBezTo>
                  <a:pt x="572" y="103"/>
                  <a:pt x="572" y="101"/>
                  <a:pt x="573" y="100"/>
                </a:cubicBezTo>
                <a:cubicBezTo>
                  <a:pt x="578" y="90"/>
                  <a:pt x="586" y="85"/>
                  <a:pt x="597" y="85"/>
                </a:cubicBezTo>
                <a:cubicBezTo>
                  <a:pt x="608" y="85"/>
                  <a:pt x="615" y="90"/>
                  <a:pt x="619" y="99"/>
                </a:cubicBezTo>
                <a:cubicBezTo>
                  <a:pt x="620" y="102"/>
                  <a:pt x="621" y="106"/>
                  <a:pt x="621" y="109"/>
                </a:cubicBezTo>
                <a:cubicBezTo>
                  <a:pt x="621" y="111"/>
                  <a:pt x="621" y="114"/>
                  <a:pt x="621" y="117"/>
                </a:cubicBezTo>
                <a:cubicBezTo>
                  <a:pt x="621" y="117"/>
                  <a:pt x="621" y="117"/>
                  <a:pt x="621" y="117"/>
                </a:cubicBezTo>
                <a:cubicBezTo>
                  <a:pt x="621" y="121"/>
                  <a:pt x="621" y="125"/>
                  <a:pt x="620" y="130"/>
                </a:cubicBezTo>
                <a:close/>
                <a:moveTo>
                  <a:pt x="1608" y="73"/>
                </a:moveTo>
                <a:cubicBezTo>
                  <a:pt x="1607" y="66"/>
                  <a:pt x="1605" y="59"/>
                  <a:pt x="1601" y="53"/>
                </a:cubicBezTo>
                <a:cubicBezTo>
                  <a:pt x="1597" y="47"/>
                  <a:pt x="1591" y="42"/>
                  <a:pt x="1585" y="40"/>
                </a:cubicBezTo>
                <a:cubicBezTo>
                  <a:pt x="1582" y="39"/>
                  <a:pt x="1578" y="39"/>
                  <a:pt x="1575" y="38"/>
                </a:cubicBezTo>
                <a:cubicBezTo>
                  <a:pt x="1568" y="38"/>
                  <a:pt x="1562" y="39"/>
                  <a:pt x="1555" y="42"/>
                </a:cubicBezTo>
                <a:cubicBezTo>
                  <a:pt x="1549" y="46"/>
                  <a:pt x="1544" y="51"/>
                  <a:pt x="1540" y="58"/>
                </a:cubicBezTo>
                <a:cubicBezTo>
                  <a:pt x="1536" y="66"/>
                  <a:pt x="1534" y="75"/>
                  <a:pt x="1533" y="84"/>
                </a:cubicBezTo>
                <a:cubicBezTo>
                  <a:pt x="1531" y="96"/>
                  <a:pt x="1531" y="109"/>
                  <a:pt x="1533" y="122"/>
                </a:cubicBezTo>
                <a:cubicBezTo>
                  <a:pt x="1534" y="130"/>
                  <a:pt x="1535" y="137"/>
                  <a:pt x="1539" y="144"/>
                </a:cubicBezTo>
                <a:cubicBezTo>
                  <a:pt x="1545" y="155"/>
                  <a:pt x="1553" y="163"/>
                  <a:pt x="1566" y="164"/>
                </a:cubicBezTo>
                <a:cubicBezTo>
                  <a:pt x="1579" y="165"/>
                  <a:pt x="1590" y="161"/>
                  <a:pt x="1598" y="151"/>
                </a:cubicBezTo>
                <a:cubicBezTo>
                  <a:pt x="1602" y="145"/>
                  <a:pt x="1605" y="138"/>
                  <a:pt x="1607" y="131"/>
                </a:cubicBezTo>
                <a:cubicBezTo>
                  <a:pt x="1610" y="121"/>
                  <a:pt x="1611" y="111"/>
                  <a:pt x="1611" y="100"/>
                </a:cubicBezTo>
                <a:cubicBezTo>
                  <a:pt x="1611" y="91"/>
                  <a:pt x="1610" y="82"/>
                  <a:pt x="1608" y="73"/>
                </a:cubicBezTo>
                <a:close/>
                <a:moveTo>
                  <a:pt x="1594" y="129"/>
                </a:moveTo>
                <a:cubicBezTo>
                  <a:pt x="1593" y="134"/>
                  <a:pt x="1591" y="138"/>
                  <a:pt x="1589" y="142"/>
                </a:cubicBezTo>
                <a:cubicBezTo>
                  <a:pt x="1585" y="147"/>
                  <a:pt x="1581" y="151"/>
                  <a:pt x="1575" y="152"/>
                </a:cubicBezTo>
                <a:cubicBezTo>
                  <a:pt x="1567" y="153"/>
                  <a:pt x="1560" y="151"/>
                  <a:pt x="1555" y="144"/>
                </a:cubicBezTo>
                <a:cubicBezTo>
                  <a:pt x="1551" y="140"/>
                  <a:pt x="1550" y="135"/>
                  <a:pt x="1548" y="129"/>
                </a:cubicBezTo>
                <a:cubicBezTo>
                  <a:pt x="1547" y="122"/>
                  <a:pt x="1546" y="115"/>
                  <a:pt x="1546" y="107"/>
                </a:cubicBezTo>
                <a:cubicBezTo>
                  <a:pt x="1546" y="97"/>
                  <a:pt x="1546" y="87"/>
                  <a:pt x="1548" y="77"/>
                </a:cubicBezTo>
                <a:cubicBezTo>
                  <a:pt x="1549" y="72"/>
                  <a:pt x="1550" y="67"/>
                  <a:pt x="1552" y="63"/>
                </a:cubicBezTo>
                <a:cubicBezTo>
                  <a:pt x="1554" y="61"/>
                  <a:pt x="1555" y="59"/>
                  <a:pt x="1556" y="57"/>
                </a:cubicBezTo>
                <a:cubicBezTo>
                  <a:pt x="1563" y="48"/>
                  <a:pt x="1580" y="47"/>
                  <a:pt x="1588" y="59"/>
                </a:cubicBezTo>
                <a:cubicBezTo>
                  <a:pt x="1591" y="64"/>
                  <a:pt x="1593" y="70"/>
                  <a:pt x="1594" y="76"/>
                </a:cubicBezTo>
                <a:cubicBezTo>
                  <a:pt x="1596" y="84"/>
                  <a:pt x="1596" y="92"/>
                  <a:pt x="1596" y="104"/>
                </a:cubicBezTo>
                <a:cubicBezTo>
                  <a:pt x="1596" y="111"/>
                  <a:pt x="1596" y="120"/>
                  <a:pt x="1594" y="129"/>
                </a:cubicBezTo>
                <a:close/>
                <a:moveTo>
                  <a:pt x="1125" y="114"/>
                </a:moveTo>
                <a:cubicBezTo>
                  <a:pt x="1125" y="107"/>
                  <a:pt x="1124" y="100"/>
                  <a:pt x="1121" y="93"/>
                </a:cubicBezTo>
                <a:cubicBezTo>
                  <a:pt x="1117" y="85"/>
                  <a:pt x="1112" y="78"/>
                  <a:pt x="1103" y="75"/>
                </a:cubicBezTo>
                <a:cubicBezTo>
                  <a:pt x="1096" y="73"/>
                  <a:pt x="1090" y="72"/>
                  <a:pt x="1083" y="73"/>
                </a:cubicBezTo>
                <a:cubicBezTo>
                  <a:pt x="1070" y="76"/>
                  <a:pt x="1061" y="83"/>
                  <a:pt x="1055" y="94"/>
                </a:cubicBezTo>
                <a:cubicBezTo>
                  <a:pt x="1050" y="103"/>
                  <a:pt x="1049" y="114"/>
                  <a:pt x="1049" y="124"/>
                </a:cubicBezTo>
                <a:cubicBezTo>
                  <a:pt x="1050" y="131"/>
                  <a:pt x="1051" y="137"/>
                  <a:pt x="1054" y="143"/>
                </a:cubicBezTo>
                <a:cubicBezTo>
                  <a:pt x="1059" y="154"/>
                  <a:pt x="1068" y="161"/>
                  <a:pt x="1080" y="163"/>
                </a:cubicBezTo>
                <a:cubicBezTo>
                  <a:pt x="1088" y="165"/>
                  <a:pt x="1096" y="164"/>
                  <a:pt x="1103" y="163"/>
                </a:cubicBezTo>
                <a:cubicBezTo>
                  <a:pt x="1109" y="161"/>
                  <a:pt x="1113" y="160"/>
                  <a:pt x="1118" y="157"/>
                </a:cubicBezTo>
                <a:cubicBezTo>
                  <a:pt x="1119" y="156"/>
                  <a:pt x="1119" y="155"/>
                  <a:pt x="1119" y="154"/>
                </a:cubicBezTo>
                <a:cubicBezTo>
                  <a:pt x="1119" y="151"/>
                  <a:pt x="1119" y="148"/>
                  <a:pt x="1119" y="144"/>
                </a:cubicBezTo>
                <a:cubicBezTo>
                  <a:pt x="1119" y="144"/>
                  <a:pt x="1119" y="144"/>
                  <a:pt x="1119" y="143"/>
                </a:cubicBezTo>
                <a:cubicBezTo>
                  <a:pt x="1119" y="143"/>
                  <a:pt x="1118" y="143"/>
                  <a:pt x="1118" y="143"/>
                </a:cubicBezTo>
                <a:cubicBezTo>
                  <a:pt x="1118" y="144"/>
                  <a:pt x="1117" y="144"/>
                  <a:pt x="1116" y="145"/>
                </a:cubicBezTo>
                <a:cubicBezTo>
                  <a:pt x="1107" y="151"/>
                  <a:pt x="1096" y="153"/>
                  <a:pt x="1085" y="152"/>
                </a:cubicBezTo>
                <a:cubicBezTo>
                  <a:pt x="1076" y="150"/>
                  <a:pt x="1070" y="145"/>
                  <a:pt x="1066" y="137"/>
                </a:cubicBezTo>
                <a:cubicBezTo>
                  <a:pt x="1065" y="134"/>
                  <a:pt x="1065" y="130"/>
                  <a:pt x="1064" y="127"/>
                </a:cubicBezTo>
                <a:cubicBezTo>
                  <a:pt x="1064" y="126"/>
                  <a:pt x="1064" y="124"/>
                  <a:pt x="1064" y="122"/>
                </a:cubicBezTo>
                <a:cubicBezTo>
                  <a:pt x="1084" y="122"/>
                  <a:pt x="1104" y="122"/>
                  <a:pt x="1125" y="122"/>
                </a:cubicBezTo>
                <a:cubicBezTo>
                  <a:pt x="1125" y="119"/>
                  <a:pt x="1125" y="117"/>
                  <a:pt x="1125" y="114"/>
                </a:cubicBezTo>
                <a:close/>
                <a:moveTo>
                  <a:pt x="1064" y="110"/>
                </a:moveTo>
                <a:cubicBezTo>
                  <a:pt x="1064" y="108"/>
                  <a:pt x="1064" y="107"/>
                  <a:pt x="1065" y="105"/>
                </a:cubicBezTo>
                <a:cubicBezTo>
                  <a:pt x="1066" y="100"/>
                  <a:pt x="1069" y="94"/>
                  <a:pt x="1074" y="90"/>
                </a:cubicBezTo>
                <a:cubicBezTo>
                  <a:pt x="1081" y="84"/>
                  <a:pt x="1089" y="84"/>
                  <a:pt x="1098" y="86"/>
                </a:cubicBezTo>
                <a:cubicBezTo>
                  <a:pt x="1101" y="88"/>
                  <a:pt x="1103" y="90"/>
                  <a:pt x="1105" y="92"/>
                </a:cubicBezTo>
                <a:cubicBezTo>
                  <a:pt x="1109" y="98"/>
                  <a:pt x="1110" y="104"/>
                  <a:pt x="1111" y="110"/>
                </a:cubicBezTo>
                <a:cubicBezTo>
                  <a:pt x="1095" y="110"/>
                  <a:pt x="1080" y="110"/>
                  <a:pt x="1064" y="110"/>
                </a:cubicBezTo>
                <a:close/>
                <a:moveTo>
                  <a:pt x="1351" y="109"/>
                </a:moveTo>
                <a:cubicBezTo>
                  <a:pt x="1351" y="103"/>
                  <a:pt x="1349" y="97"/>
                  <a:pt x="1347" y="92"/>
                </a:cubicBezTo>
                <a:cubicBezTo>
                  <a:pt x="1343" y="84"/>
                  <a:pt x="1337" y="78"/>
                  <a:pt x="1329" y="75"/>
                </a:cubicBezTo>
                <a:cubicBezTo>
                  <a:pt x="1323" y="73"/>
                  <a:pt x="1316" y="72"/>
                  <a:pt x="1309" y="74"/>
                </a:cubicBezTo>
                <a:cubicBezTo>
                  <a:pt x="1297" y="76"/>
                  <a:pt x="1288" y="82"/>
                  <a:pt x="1282" y="93"/>
                </a:cubicBezTo>
                <a:cubicBezTo>
                  <a:pt x="1273" y="108"/>
                  <a:pt x="1274" y="130"/>
                  <a:pt x="1280" y="143"/>
                </a:cubicBezTo>
                <a:cubicBezTo>
                  <a:pt x="1285" y="154"/>
                  <a:pt x="1294" y="161"/>
                  <a:pt x="1306" y="163"/>
                </a:cubicBezTo>
                <a:cubicBezTo>
                  <a:pt x="1314" y="165"/>
                  <a:pt x="1322" y="164"/>
                  <a:pt x="1330" y="163"/>
                </a:cubicBezTo>
                <a:cubicBezTo>
                  <a:pt x="1334" y="162"/>
                  <a:pt x="1339" y="160"/>
                  <a:pt x="1343" y="157"/>
                </a:cubicBezTo>
                <a:cubicBezTo>
                  <a:pt x="1345" y="156"/>
                  <a:pt x="1345" y="155"/>
                  <a:pt x="1345" y="153"/>
                </a:cubicBezTo>
                <a:cubicBezTo>
                  <a:pt x="1345" y="151"/>
                  <a:pt x="1345" y="148"/>
                  <a:pt x="1345" y="145"/>
                </a:cubicBezTo>
                <a:cubicBezTo>
                  <a:pt x="1345" y="144"/>
                  <a:pt x="1345" y="144"/>
                  <a:pt x="1345" y="143"/>
                </a:cubicBezTo>
                <a:cubicBezTo>
                  <a:pt x="1344" y="143"/>
                  <a:pt x="1343" y="144"/>
                  <a:pt x="1343" y="144"/>
                </a:cubicBezTo>
                <a:cubicBezTo>
                  <a:pt x="1333" y="151"/>
                  <a:pt x="1323" y="154"/>
                  <a:pt x="1311" y="152"/>
                </a:cubicBezTo>
                <a:cubicBezTo>
                  <a:pt x="1303" y="150"/>
                  <a:pt x="1296" y="145"/>
                  <a:pt x="1293" y="137"/>
                </a:cubicBezTo>
                <a:cubicBezTo>
                  <a:pt x="1292" y="134"/>
                  <a:pt x="1291" y="131"/>
                  <a:pt x="1290" y="128"/>
                </a:cubicBezTo>
                <a:cubicBezTo>
                  <a:pt x="1290" y="126"/>
                  <a:pt x="1290" y="124"/>
                  <a:pt x="1290" y="122"/>
                </a:cubicBezTo>
                <a:cubicBezTo>
                  <a:pt x="1310" y="122"/>
                  <a:pt x="1331" y="122"/>
                  <a:pt x="1351" y="122"/>
                </a:cubicBezTo>
                <a:cubicBezTo>
                  <a:pt x="1351" y="118"/>
                  <a:pt x="1351" y="113"/>
                  <a:pt x="1351" y="109"/>
                </a:cubicBezTo>
                <a:close/>
                <a:moveTo>
                  <a:pt x="1290" y="110"/>
                </a:moveTo>
                <a:cubicBezTo>
                  <a:pt x="1291" y="108"/>
                  <a:pt x="1291" y="106"/>
                  <a:pt x="1291" y="105"/>
                </a:cubicBezTo>
                <a:cubicBezTo>
                  <a:pt x="1293" y="99"/>
                  <a:pt x="1296" y="94"/>
                  <a:pt x="1301" y="90"/>
                </a:cubicBezTo>
                <a:cubicBezTo>
                  <a:pt x="1308" y="84"/>
                  <a:pt x="1316" y="84"/>
                  <a:pt x="1324" y="86"/>
                </a:cubicBezTo>
                <a:cubicBezTo>
                  <a:pt x="1328" y="88"/>
                  <a:pt x="1331" y="91"/>
                  <a:pt x="1333" y="94"/>
                </a:cubicBezTo>
                <a:cubicBezTo>
                  <a:pt x="1336" y="98"/>
                  <a:pt x="1337" y="105"/>
                  <a:pt x="1337" y="110"/>
                </a:cubicBezTo>
                <a:cubicBezTo>
                  <a:pt x="1321" y="110"/>
                  <a:pt x="1306" y="110"/>
                  <a:pt x="1290" y="110"/>
                </a:cubicBezTo>
                <a:close/>
                <a:moveTo>
                  <a:pt x="1033" y="56"/>
                </a:moveTo>
                <a:cubicBezTo>
                  <a:pt x="1033" y="53"/>
                  <a:pt x="1033" y="51"/>
                  <a:pt x="1033" y="48"/>
                </a:cubicBezTo>
                <a:cubicBezTo>
                  <a:pt x="1033" y="42"/>
                  <a:pt x="1033" y="42"/>
                  <a:pt x="1027" y="40"/>
                </a:cubicBezTo>
                <a:cubicBezTo>
                  <a:pt x="1022" y="39"/>
                  <a:pt x="1017" y="38"/>
                  <a:pt x="1012" y="38"/>
                </a:cubicBezTo>
                <a:cubicBezTo>
                  <a:pt x="1005" y="38"/>
                  <a:pt x="999" y="38"/>
                  <a:pt x="992" y="41"/>
                </a:cubicBezTo>
                <a:cubicBezTo>
                  <a:pt x="980" y="45"/>
                  <a:pt x="972" y="53"/>
                  <a:pt x="971" y="66"/>
                </a:cubicBezTo>
                <a:cubicBezTo>
                  <a:pt x="969" y="76"/>
                  <a:pt x="972" y="85"/>
                  <a:pt x="979" y="93"/>
                </a:cubicBezTo>
                <a:cubicBezTo>
                  <a:pt x="984" y="97"/>
                  <a:pt x="989" y="101"/>
                  <a:pt x="995" y="104"/>
                </a:cubicBezTo>
                <a:cubicBezTo>
                  <a:pt x="999" y="107"/>
                  <a:pt x="1003" y="109"/>
                  <a:pt x="1007" y="112"/>
                </a:cubicBezTo>
                <a:cubicBezTo>
                  <a:pt x="1010" y="114"/>
                  <a:pt x="1013" y="116"/>
                  <a:pt x="1016" y="118"/>
                </a:cubicBezTo>
                <a:cubicBezTo>
                  <a:pt x="1020" y="122"/>
                  <a:pt x="1022" y="126"/>
                  <a:pt x="1023" y="131"/>
                </a:cubicBezTo>
                <a:cubicBezTo>
                  <a:pt x="1023" y="141"/>
                  <a:pt x="1019" y="147"/>
                  <a:pt x="1010" y="150"/>
                </a:cubicBezTo>
                <a:cubicBezTo>
                  <a:pt x="1008" y="150"/>
                  <a:pt x="1005" y="151"/>
                  <a:pt x="1002" y="151"/>
                </a:cubicBezTo>
                <a:cubicBezTo>
                  <a:pt x="991" y="152"/>
                  <a:pt x="981" y="148"/>
                  <a:pt x="972" y="142"/>
                </a:cubicBezTo>
                <a:cubicBezTo>
                  <a:pt x="971" y="141"/>
                  <a:pt x="971" y="141"/>
                  <a:pt x="970" y="141"/>
                </a:cubicBezTo>
                <a:cubicBezTo>
                  <a:pt x="970" y="142"/>
                  <a:pt x="970" y="142"/>
                  <a:pt x="970" y="143"/>
                </a:cubicBezTo>
                <a:cubicBezTo>
                  <a:pt x="970" y="146"/>
                  <a:pt x="970" y="150"/>
                  <a:pt x="970" y="153"/>
                </a:cubicBezTo>
                <a:cubicBezTo>
                  <a:pt x="970" y="158"/>
                  <a:pt x="970" y="158"/>
                  <a:pt x="974" y="159"/>
                </a:cubicBezTo>
                <a:cubicBezTo>
                  <a:pt x="981" y="162"/>
                  <a:pt x="988" y="164"/>
                  <a:pt x="995" y="164"/>
                </a:cubicBezTo>
                <a:cubicBezTo>
                  <a:pt x="1003" y="164"/>
                  <a:pt x="1011" y="164"/>
                  <a:pt x="1018" y="161"/>
                </a:cubicBezTo>
                <a:cubicBezTo>
                  <a:pt x="1035" y="154"/>
                  <a:pt x="1040" y="140"/>
                  <a:pt x="1037" y="125"/>
                </a:cubicBezTo>
                <a:cubicBezTo>
                  <a:pt x="1036" y="118"/>
                  <a:pt x="1032" y="113"/>
                  <a:pt x="1027" y="108"/>
                </a:cubicBezTo>
                <a:cubicBezTo>
                  <a:pt x="1022" y="104"/>
                  <a:pt x="1017" y="100"/>
                  <a:pt x="1011" y="97"/>
                </a:cubicBezTo>
                <a:cubicBezTo>
                  <a:pt x="1007" y="95"/>
                  <a:pt x="1003" y="92"/>
                  <a:pt x="999" y="90"/>
                </a:cubicBezTo>
                <a:cubicBezTo>
                  <a:pt x="996" y="88"/>
                  <a:pt x="994" y="87"/>
                  <a:pt x="992" y="85"/>
                </a:cubicBezTo>
                <a:cubicBezTo>
                  <a:pt x="988" y="82"/>
                  <a:pt x="986" y="78"/>
                  <a:pt x="985" y="73"/>
                </a:cubicBezTo>
                <a:cubicBezTo>
                  <a:pt x="984" y="64"/>
                  <a:pt x="988" y="57"/>
                  <a:pt x="996" y="53"/>
                </a:cubicBezTo>
                <a:cubicBezTo>
                  <a:pt x="999" y="52"/>
                  <a:pt x="1002" y="51"/>
                  <a:pt x="1005" y="51"/>
                </a:cubicBezTo>
                <a:cubicBezTo>
                  <a:pt x="1015" y="51"/>
                  <a:pt x="1024" y="52"/>
                  <a:pt x="1032" y="58"/>
                </a:cubicBezTo>
                <a:cubicBezTo>
                  <a:pt x="1032" y="58"/>
                  <a:pt x="1032" y="58"/>
                  <a:pt x="1033" y="58"/>
                </a:cubicBezTo>
                <a:cubicBezTo>
                  <a:pt x="1033" y="58"/>
                  <a:pt x="1033" y="57"/>
                  <a:pt x="1033" y="56"/>
                </a:cubicBezTo>
                <a:close/>
                <a:moveTo>
                  <a:pt x="736" y="100"/>
                </a:moveTo>
                <a:cubicBezTo>
                  <a:pt x="731" y="87"/>
                  <a:pt x="723" y="78"/>
                  <a:pt x="709" y="74"/>
                </a:cubicBezTo>
                <a:cubicBezTo>
                  <a:pt x="702" y="72"/>
                  <a:pt x="694" y="72"/>
                  <a:pt x="687" y="74"/>
                </a:cubicBezTo>
                <a:cubicBezTo>
                  <a:pt x="673" y="76"/>
                  <a:pt x="662" y="84"/>
                  <a:pt x="657" y="98"/>
                </a:cubicBezTo>
                <a:cubicBezTo>
                  <a:pt x="651" y="111"/>
                  <a:pt x="651" y="124"/>
                  <a:pt x="656" y="138"/>
                </a:cubicBezTo>
                <a:cubicBezTo>
                  <a:pt x="660" y="149"/>
                  <a:pt x="668" y="158"/>
                  <a:pt x="680" y="162"/>
                </a:cubicBezTo>
                <a:cubicBezTo>
                  <a:pt x="687" y="164"/>
                  <a:pt x="694" y="165"/>
                  <a:pt x="701" y="164"/>
                </a:cubicBezTo>
                <a:cubicBezTo>
                  <a:pt x="717" y="162"/>
                  <a:pt x="728" y="154"/>
                  <a:pt x="734" y="139"/>
                </a:cubicBezTo>
                <a:cubicBezTo>
                  <a:pt x="737" y="133"/>
                  <a:pt x="738" y="125"/>
                  <a:pt x="738" y="118"/>
                </a:cubicBezTo>
                <a:cubicBezTo>
                  <a:pt x="738" y="112"/>
                  <a:pt x="737" y="105"/>
                  <a:pt x="736" y="100"/>
                </a:cubicBezTo>
                <a:close/>
                <a:moveTo>
                  <a:pt x="670" y="103"/>
                </a:moveTo>
                <a:cubicBezTo>
                  <a:pt x="674" y="92"/>
                  <a:pt x="683" y="85"/>
                  <a:pt x="694" y="85"/>
                </a:cubicBezTo>
                <a:cubicBezTo>
                  <a:pt x="698" y="85"/>
                  <a:pt x="701" y="85"/>
                  <a:pt x="704" y="86"/>
                </a:cubicBezTo>
                <a:cubicBezTo>
                  <a:pt x="711" y="88"/>
                  <a:pt x="717" y="92"/>
                  <a:pt x="720" y="99"/>
                </a:cubicBezTo>
                <a:cubicBezTo>
                  <a:pt x="723" y="104"/>
                  <a:pt x="723" y="109"/>
                  <a:pt x="724" y="114"/>
                </a:cubicBezTo>
                <a:cubicBezTo>
                  <a:pt x="724" y="120"/>
                  <a:pt x="724" y="127"/>
                  <a:pt x="722" y="133"/>
                </a:cubicBezTo>
                <a:cubicBezTo>
                  <a:pt x="722" y="134"/>
                  <a:pt x="721" y="136"/>
                  <a:pt x="721" y="137"/>
                </a:cubicBezTo>
                <a:cubicBezTo>
                  <a:pt x="717" y="146"/>
                  <a:pt x="709" y="151"/>
                  <a:pt x="700" y="152"/>
                </a:cubicBezTo>
                <a:cubicBezTo>
                  <a:pt x="695" y="152"/>
                  <a:pt x="691" y="152"/>
                  <a:pt x="687" y="151"/>
                </a:cubicBezTo>
                <a:cubicBezTo>
                  <a:pt x="677" y="148"/>
                  <a:pt x="672" y="141"/>
                  <a:pt x="669" y="132"/>
                </a:cubicBezTo>
                <a:cubicBezTo>
                  <a:pt x="668" y="130"/>
                  <a:pt x="668" y="128"/>
                  <a:pt x="667" y="126"/>
                </a:cubicBezTo>
                <a:cubicBezTo>
                  <a:pt x="667" y="124"/>
                  <a:pt x="667" y="121"/>
                  <a:pt x="667" y="120"/>
                </a:cubicBezTo>
                <a:cubicBezTo>
                  <a:pt x="667" y="113"/>
                  <a:pt x="668" y="108"/>
                  <a:pt x="670" y="103"/>
                </a:cubicBezTo>
                <a:close/>
                <a:moveTo>
                  <a:pt x="1955" y="149"/>
                </a:moveTo>
                <a:cubicBezTo>
                  <a:pt x="1953" y="149"/>
                  <a:pt x="1950" y="149"/>
                  <a:pt x="1948" y="149"/>
                </a:cubicBezTo>
                <a:cubicBezTo>
                  <a:pt x="1945" y="149"/>
                  <a:pt x="1943" y="149"/>
                  <a:pt x="1940" y="149"/>
                </a:cubicBezTo>
                <a:cubicBezTo>
                  <a:pt x="1938" y="149"/>
                  <a:pt x="1935" y="149"/>
                  <a:pt x="1933" y="149"/>
                </a:cubicBezTo>
                <a:cubicBezTo>
                  <a:pt x="1930" y="149"/>
                  <a:pt x="1928" y="149"/>
                  <a:pt x="1925" y="149"/>
                </a:cubicBezTo>
                <a:cubicBezTo>
                  <a:pt x="1923" y="149"/>
                  <a:pt x="1920" y="149"/>
                  <a:pt x="1918" y="149"/>
                </a:cubicBezTo>
                <a:cubicBezTo>
                  <a:pt x="1915" y="149"/>
                  <a:pt x="1913" y="149"/>
                  <a:pt x="1910" y="149"/>
                </a:cubicBezTo>
                <a:cubicBezTo>
                  <a:pt x="1908" y="149"/>
                  <a:pt x="1905" y="150"/>
                  <a:pt x="1903" y="149"/>
                </a:cubicBezTo>
                <a:cubicBezTo>
                  <a:pt x="1902" y="144"/>
                  <a:pt x="1904" y="139"/>
                  <a:pt x="1907" y="135"/>
                </a:cubicBezTo>
                <a:cubicBezTo>
                  <a:pt x="1909" y="133"/>
                  <a:pt x="1911" y="130"/>
                  <a:pt x="1913" y="128"/>
                </a:cubicBezTo>
                <a:cubicBezTo>
                  <a:pt x="1919" y="124"/>
                  <a:pt x="1925" y="119"/>
                  <a:pt x="1931" y="115"/>
                </a:cubicBezTo>
                <a:cubicBezTo>
                  <a:pt x="1936" y="111"/>
                  <a:pt x="1941" y="107"/>
                  <a:pt x="1945" y="103"/>
                </a:cubicBezTo>
                <a:cubicBezTo>
                  <a:pt x="1955" y="93"/>
                  <a:pt x="1959" y="81"/>
                  <a:pt x="1958" y="67"/>
                </a:cubicBezTo>
                <a:cubicBezTo>
                  <a:pt x="1957" y="53"/>
                  <a:pt x="1949" y="44"/>
                  <a:pt x="1936" y="40"/>
                </a:cubicBezTo>
                <a:cubicBezTo>
                  <a:pt x="1930" y="38"/>
                  <a:pt x="1924" y="38"/>
                  <a:pt x="1917" y="39"/>
                </a:cubicBezTo>
                <a:cubicBezTo>
                  <a:pt x="1908" y="39"/>
                  <a:pt x="1901" y="43"/>
                  <a:pt x="1894" y="49"/>
                </a:cubicBezTo>
                <a:cubicBezTo>
                  <a:pt x="1893" y="50"/>
                  <a:pt x="1893" y="50"/>
                  <a:pt x="1893" y="51"/>
                </a:cubicBezTo>
                <a:cubicBezTo>
                  <a:pt x="1893" y="55"/>
                  <a:pt x="1893" y="59"/>
                  <a:pt x="1893" y="63"/>
                </a:cubicBezTo>
                <a:cubicBezTo>
                  <a:pt x="1893" y="63"/>
                  <a:pt x="1893" y="64"/>
                  <a:pt x="1893" y="65"/>
                </a:cubicBezTo>
                <a:cubicBezTo>
                  <a:pt x="1894" y="64"/>
                  <a:pt x="1894" y="63"/>
                  <a:pt x="1895" y="63"/>
                </a:cubicBezTo>
                <a:cubicBezTo>
                  <a:pt x="1898" y="59"/>
                  <a:pt x="1902" y="56"/>
                  <a:pt x="1906" y="54"/>
                </a:cubicBezTo>
                <a:cubicBezTo>
                  <a:pt x="1912" y="51"/>
                  <a:pt x="1918" y="50"/>
                  <a:pt x="1924" y="50"/>
                </a:cubicBezTo>
                <a:cubicBezTo>
                  <a:pt x="1936" y="51"/>
                  <a:pt x="1944" y="59"/>
                  <a:pt x="1944" y="71"/>
                </a:cubicBezTo>
                <a:cubicBezTo>
                  <a:pt x="1944" y="81"/>
                  <a:pt x="1941" y="89"/>
                  <a:pt x="1935" y="96"/>
                </a:cubicBezTo>
                <a:cubicBezTo>
                  <a:pt x="1931" y="101"/>
                  <a:pt x="1926" y="104"/>
                  <a:pt x="1921" y="108"/>
                </a:cubicBezTo>
                <a:cubicBezTo>
                  <a:pt x="1914" y="113"/>
                  <a:pt x="1908" y="118"/>
                  <a:pt x="1902" y="124"/>
                </a:cubicBezTo>
                <a:cubicBezTo>
                  <a:pt x="1893" y="131"/>
                  <a:pt x="1888" y="141"/>
                  <a:pt x="1888" y="152"/>
                </a:cubicBezTo>
                <a:cubicBezTo>
                  <a:pt x="1888" y="155"/>
                  <a:pt x="1888" y="159"/>
                  <a:pt x="1888" y="162"/>
                </a:cubicBezTo>
                <a:cubicBezTo>
                  <a:pt x="1913" y="162"/>
                  <a:pt x="1938" y="162"/>
                  <a:pt x="1963" y="162"/>
                </a:cubicBezTo>
                <a:cubicBezTo>
                  <a:pt x="1963" y="158"/>
                  <a:pt x="1963" y="154"/>
                  <a:pt x="1963" y="149"/>
                </a:cubicBezTo>
                <a:cubicBezTo>
                  <a:pt x="1960" y="149"/>
                  <a:pt x="1958" y="149"/>
                  <a:pt x="1955" y="149"/>
                </a:cubicBezTo>
                <a:close/>
                <a:moveTo>
                  <a:pt x="1504" y="149"/>
                </a:moveTo>
                <a:cubicBezTo>
                  <a:pt x="1499" y="149"/>
                  <a:pt x="1494" y="149"/>
                  <a:pt x="1489" y="149"/>
                </a:cubicBezTo>
                <a:cubicBezTo>
                  <a:pt x="1484" y="149"/>
                  <a:pt x="1479" y="149"/>
                  <a:pt x="1474" y="149"/>
                </a:cubicBezTo>
                <a:cubicBezTo>
                  <a:pt x="1469" y="149"/>
                  <a:pt x="1464" y="149"/>
                  <a:pt x="1459" y="149"/>
                </a:cubicBezTo>
                <a:cubicBezTo>
                  <a:pt x="1459" y="145"/>
                  <a:pt x="1460" y="140"/>
                  <a:pt x="1463" y="136"/>
                </a:cubicBezTo>
                <a:cubicBezTo>
                  <a:pt x="1465" y="132"/>
                  <a:pt x="1468" y="130"/>
                  <a:pt x="1471" y="127"/>
                </a:cubicBezTo>
                <a:cubicBezTo>
                  <a:pt x="1476" y="123"/>
                  <a:pt x="1482" y="119"/>
                  <a:pt x="1487" y="115"/>
                </a:cubicBezTo>
                <a:cubicBezTo>
                  <a:pt x="1491" y="112"/>
                  <a:pt x="1495" y="109"/>
                  <a:pt x="1499" y="106"/>
                </a:cubicBezTo>
                <a:cubicBezTo>
                  <a:pt x="1503" y="102"/>
                  <a:pt x="1506" y="98"/>
                  <a:pt x="1509" y="93"/>
                </a:cubicBezTo>
                <a:cubicBezTo>
                  <a:pt x="1514" y="86"/>
                  <a:pt x="1515" y="77"/>
                  <a:pt x="1515" y="69"/>
                </a:cubicBezTo>
                <a:cubicBezTo>
                  <a:pt x="1514" y="55"/>
                  <a:pt x="1506" y="44"/>
                  <a:pt x="1492" y="40"/>
                </a:cubicBezTo>
                <a:cubicBezTo>
                  <a:pt x="1486" y="38"/>
                  <a:pt x="1480" y="38"/>
                  <a:pt x="1474" y="39"/>
                </a:cubicBezTo>
                <a:cubicBezTo>
                  <a:pt x="1465" y="39"/>
                  <a:pt x="1457" y="43"/>
                  <a:pt x="1450" y="49"/>
                </a:cubicBezTo>
                <a:cubicBezTo>
                  <a:pt x="1449" y="50"/>
                  <a:pt x="1449" y="51"/>
                  <a:pt x="1449" y="52"/>
                </a:cubicBezTo>
                <a:cubicBezTo>
                  <a:pt x="1449" y="55"/>
                  <a:pt x="1449" y="59"/>
                  <a:pt x="1449" y="63"/>
                </a:cubicBezTo>
                <a:cubicBezTo>
                  <a:pt x="1449" y="63"/>
                  <a:pt x="1449" y="64"/>
                  <a:pt x="1449" y="65"/>
                </a:cubicBezTo>
                <a:cubicBezTo>
                  <a:pt x="1450" y="64"/>
                  <a:pt x="1450" y="63"/>
                  <a:pt x="1451" y="63"/>
                </a:cubicBezTo>
                <a:cubicBezTo>
                  <a:pt x="1454" y="60"/>
                  <a:pt x="1457" y="58"/>
                  <a:pt x="1460" y="56"/>
                </a:cubicBezTo>
                <a:cubicBezTo>
                  <a:pt x="1466" y="52"/>
                  <a:pt x="1473" y="50"/>
                  <a:pt x="1481" y="50"/>
                </a:cubicBezTo>
                <a:cubicBezTo>
                  <a:pt x="1491" y="51"/>
                  <a:pt x="1498" y="57"/>
                  <a:pt x="1500" y="66"/>
                </a:cubicBezTo>
                <a:cubicBezTo>
                  <a:pt x="1501" y="70"/>
                  <a:pt x="1501" y="74"/>
                  <a:pt x="1500" y="78"/>
                </a:cubicBezTo>
                <a:cubicBezTo>
                  <a:pt x="1499" y="86"/>
                  <a:pt x="1495" y="92"/>
                  <a:pt x="1490" y="98"/>
                </a:cubicBezTo>
                <a:cubicBezTo>
                  <a:pt x="1485" y="102"/>
                  <a:pt x="1480" y="106"/>
                  <a:pt x="1475" y="110"/>
                </a:cubicBezTo>
                <a:cubicBezTo>
                  <a:pt x="1468" y="115"/>
                  <a:pt x="1462" y="120"/>
                  <a:pt x="1456" y="126"/>
                </a:cubicBezTo>
                <a:cubicBezTo>
                  <a:pt x="1450" y="131"/>
                  <a:pt x="1446" y="138"/>
                  <a:pt x="1445" y="146"/>
                </a:cubicBezTo>
                <a:cubicBezTo>
                  <a:pt x="1444" y="151"/>
                  <a:pt x="1444" y="156"/>
                  <a:pt x="1444" y="162"/>
                </a:cubicBezTo>
                <a:cubicBezTo>
                  <a:pt x="1444" y="162"/>
                  <a:pt x="1445" y="162"/>
                  <a:pt x="1445" y="162"/>
                </a:cubicBezTo>
                <a:cubicBezTo>
                  <a:pt x="1469" y="162"/>
                  <a:pt x="1494" y="162"/>
                  <a:pt x="1519" y="162"/>
                </a:cubicBezTo>
                <a:cubicBezTo>
                  <a:pt x="1519" y="158"/>
                  <a:pt x="1519" y="154"/>
                  <a:pt x="1519" y="149"/>
                </a:cubicBezTo>
                <a:cubicBezTo>
                  <a:pt x="1514" y="149"/>
                  <a:pt x="1509" y="149"/>
                  <a:pt x="1504" y="149"/>
                </a:cubicBezTo>
                <a:close/>
                <a:moveTo>
                  <a:pt x="1700" y="149"/>
                </a:moveTo>
                <a:cubicBezTo>
                  <a:pt x="1700" y="149"/>
                  <a:pt x="1700" y="148"/>
                  <a:pt x="1700" y="148"/>
                </a:cubicBezTo>
                <a:cubicBezTo>
                  <a:pt x="1700" y="143"/>
                  <a:pt x="1702" y="139"/>
                  <a:pt x="1705" y="135"/>
                </a:cubicBezTo>
                <a:cubicBezTo>
                  <a:pt x="1707" y="132"/>
                  <a:pt x="1710" y="129"/>
                  <a:pt x="1713" y="126"/>
                </a:cubicBezTo>
                <a:cubicBezTo>
                  <a:pt x="1718" y="123"/>
                  <a:pt x="1724" y="119"/>
                  <a:pt x="1729" y="115"/>
                </a:cubicBezTo>
                <a:cubicBezTo>
                  <a:pt x="1733" y="112"/>
                  <a:pt x="1738" y="108"/>
                  <a:pt x="1742" y="104"/>
                </a:cubicBezTo>
                <a:cubicBezTo>
                  <a:pt x="1753" y="94"/>
                  <a:pt x="1757" y="81"/>
                  <a:pt x="1756" y="67"/>
                </a:cubicBezTo>
                <a:cubicBezTo>
                  <a:pt x="1755" y="54"/>
                  <a:pt x="1747" y="44"/>
                  <a:pt x="1734" y="40"/>
                </a:cubicBezTo>
                <a:cubicBezTo>
                  <a:pt x="1728" y="38"/>
                  <a:pt x="1722" y="38"/>
                  <a:pt x="1716" y="39"/>
                </a:cubicBezTo>
                <a:cubicBezTo>
                  <a:pt x="1706" y="39"/>
                  <a:pt x="1699" y="43"/>
                  <a:pt x="1692" y="49"/>
                </a:cubicBezTo>
                <a:cubicBezTo>
                  <a:pt x="1691" y="50"/>
                  <a:pt x="1690" y="50"/>
                  <a:pt x="1691" y="52"/>
                </a:cubicBezTo>
                <a:cubicBezTo>
                  <a:pt x="1691" y="55"/>
                  <a:pt x="1691" y="59"/>
                  <a:pt x="1691" y="63"/>
                </a:cubicBezTo>
                <a:cubicBezTo>
                  <a:pt x="1691" y="63"/>
                  <a:pt x="1691" y="64"/>
                  <a:pt x="1691" y="65"/>
                </a:cubicBezTo>
                <a:cubicBezTo>
                  <a:pt x="1692" y="64"/>
                  <a:pt x="1692" y="63"/>
                  <a:pt x="1693" y="63"/>
                </a:cubicBezTo>
                <a:cubicBezTo>
                  <a:pt x="1696" y="59"/>
                  <a:pt x="1700" y="56"/>
                  <a:pt x="1705" y="54"/>
                </a:cubicBezTo>
                <a:cubicBezTo>
                  <a:pt x="1711" y="51"/>
                  <a:pt x="1717" y="50"/>
                  <a:pt x="1723" y="50"/>
                </a:cubicBezTo>
                <a:cubicBezTo>
                  <a:pt x="1733" y="51"/>
                  <a:pt x="1740" y="58"/>
                  <a:pt x="1742" y="67"/>
                </a:cubicBezTo>
                <a:cubicBezTo>
                  <a:pt x="1742" y="71"/>
                  <a:pt x="1742" y="76"/>
                  <a:pt x="1741" y="80"/>
                </a:cubicBezTo>
                <a:cubicBezTo>
                  <a:pt x="1740" y="87"/>
                  <a:pt x="1736" y="93"/>
                  <a:pt x="1731" y="98"/>
                </a:cubicBezTo>
                <a:cubicBezTo>
                  <a:pt x="1727" y="102"/>
                  <a:pt x="1722" y="106"/>
                  <a:pt x="1717" y="109"/>
                </a:cubicBezTo>
                <a:cubicBezTo>
                  <a:pt x="1710" y="114"/>
                  <a:pt x="1704" y="119"/>
                  <a:pt x="1698" y="125"/>
                </a:cubicBezTo>
                <a:cubicBezTo>
                  <a:pt x="1693" y="130"/>
                  <a:pt x="1689" y="136"/>
                  <a:pt x="1687" y="143"/>
                </a:cubicBezTo>
                <a:cubicBezTo>
                  <a:pt x="1686" y="149"/>
                  <a:pt x="1686" y="155"/>
                  <a:pt x="1686" y="162"/>
                </a:cubicBezTo>
                <a:cubicBezTo>
                  <a:pt x="1686" y="162"/>
                  <a:pt x="1686" y="162"/>
                  <a:pt x="1686" y="162"/>
                </a:cubicBezTo>
                <a:cubicBezTo>
                  <a:pt x="1711" y="162"/>
                  <a:pt x="1736" y="162"/>
                  <a:pt x="1761" y="162"/>
                </a:cubicBezTo>
                <a:cubicBezTo>
                  <a:pt x="1761" y="158"/>
                  <a:pt x="1761" y="154"/>
                  <a:pt x="1761" y="149"/>
                </a:cubicBezTo>
                <a:cubicBezTo>
                  <a:pt x="1741" y="149"/>
                  <a:pt x="1721" y="149"/>
                  <a:pt x="1700" y="149"/>
                </a:cubicBezTo>
                <a:close/>
                <a:moveTo>
                  <a:pt x="481" y="159"/>
                </a:moveTo>
                <a:cubicBezTo>
                  <a:pt x="481" y="144"/>
                  <a:pt x="481" y="128"/>
                  <a:pt x="481" y="113"/>
                </a:cubicBezTo>
                <a:cubicBezTo>
                  <a:pt x="481" y="111"/>
                  <a:pt x="481" y="109"/>
                  <a:pt x="481" y="107"/>
                </a:cubicBezTo>
                <a:cubicBezTo>
                  <a:pt x="482" y="100"/>
                  <a:pt x="485" y="95"/>
                  <a:pt x="490" y="91"/>
                </a:cubicBezTo>
                <a:cubicBezTo>
                  <a:pt x="497" y="85"/>
                  <a:pt x="504" y="84"/>
                  <a:pt x="512" y="86"/>
                </a:cubicBezTo>
                <a:cubicBezTo>
                  <a:pt x="518" y="88"/>
                  <a:pt x="521" y="92"/>
                  <a:pt x="523" y="98"/>
                </a:cubicBezTo>
                <a:cubicBezTo>
                  <a:pt x="525" y="102"/>
                  <a:pt x="525" y="107"/>
                  <a:pt x="525" y="111"/>
                </a:cubicBezTo>
                <a:cubicBezTo>
                  <a:pt x="525" y="127"/>
                  <a:pt x="525" y="143"/>
                  <a:pt x="525" y="159"/>
                </a:cubicBezTo>
                <a:cubicBezTo>
                  <a:pt x="525" y="160"/>
                  <a:pt x="525" y="161"/>
                  <a:pt x="525" y="162"/>
                </a:cubicBezTo>
                <a:cubicBezTo>
                  <a:pt x="530" y="162"/>
                  <a:pt x="534" y="162"/>
                  <a:pt x="539" y="162"/>
                </a:cubicBezTo>
                <a:cubicBezTo>
                  <a:pt x="539" y="161"/>
                  <a:pt x="539" y="160"/>
                  <a:pt x="539" y="159"/>
                </a:cubicBezTo>
                <a:cubicBezTo>
                  <a:pt x="539" y="143"/>
                  <a:pt x="539" y="126"/>
                  <a:pt x="539" y="110"/>
                </a:cubicBezTo>
                <a:cubicBezTo>
                  <a:pt x="539" y="108"/>
                  <a:pt x="539" y="106"/>
                  <a:pt x="539" y="104"/>
                </a:cubicBezTo>
                <a:cubicBezTo>
                  <a:pt x="539" y="98"/>
                  <a:pt x="538" y="93"/>
                  <a:pt x="535" y="88"/>
                </a:cubicBezTo>
                <a:cubicBezTo>
                  <a:pt x="532" y="81"/>
                  <a:pt x="527" y="77"/>
                  <a:pt x="520" y="74"/>
                </a:cubicBezTo>
                <a:cubicBezTo>
                  <a:pt x="518" y="74"/>
                  <a:pt x="515" y="73"/>
                  <a:pt x="513" y="73"/>
                </a:cubicBezTo>
                <a:cubicBezTo>
                  <a:pt x="500" y="72"/>
                  <a:pt x="490" y="77"/>
                  <a:pt x="483" y="87"/>
                </a:cubicBezTo>
                <a:cubicBezTo>
                  <a:pt x="482" y="88"/>
                  <a:pt x="482" y="88"/>
                  <a:pt x="481" y="89"/>
                </a:cubicBezTo>
                <a:cubicBezTo>
                  <a:pt x="481" y="89"/>
                  <a:pt x="481" y="89"/>
                  <a:pt x="481" y="89"/>
                </a:cubicBezTo>
                <a:cubicBezTo>
                  <a:pt x="481" y="84"/>
                  <a:pt x="481" y="80"/>
                  <a:pt x="481" y="75"/>
                </a:cubicBezTo>
                <a:cubicBezTo>
                  <a:pt x="477" y="75"/>
                  <a:pt x="469" y="75"/>
                  <a:pt x="467" y="75"/>
                </a:cubicBezTo>
                <a:cubicBezTo>
                  <a:pt x="467" y="104"/>
                  <a:pt x="467" y="133"/>
                  <a:pt x="467" y="162"/>
                </a:cubicBezTo>
                <a:cubicBezTo>
                  <a:pt x="472" y="162"/>
                  <a:pt x="476" y="162"/>
                  <a:pt x="481" y="162"/>
                </a:cubicBezTo>
                <a:cubicBezTo>
                  <a:pt x="481" y="161"/>
                  <a:pt x="481" y="160"/>
                  <a:pt x="481" y="159"/>
                </a:cubicBezTo>
                <a:close/>
                <a:moveTo>
                  <a:pt x="1273" y="75"/>
                </a:moveTo>
                <a:cubicBezTo>
                  <a:pt x="1268" y="75"/>
                  <a:pt x="1263" y="75"/>
                  <a:pt x="1258" y="75"/>
                </a:cubicBezTo>
                <a:cubicBezTo>
                  <a:pt x="1256" y="83"/>
                  <a:pt x="1253" y="91"/>
                  <a:pt x="1250" y="99"/>
                </a:cubicBezTo>
                <a:cubicBezTo>
                  <a:pt x="1247" y="107"/>
                  <a:pt x="1244" y="115"/>
                  <a:pt x="1241" y="123"/>
                </a:cubicBezTo>
                <a:cubicBezTo>
                  <a:pt x="1238" y="130"/>
                  <a:pt x="1236" y="138"/>
                  <a:pt x="1232" y="146"/>
                </a:cubicBezTo>
                <a:cubicBezTo>
                  <a:pt x="1232" y="146"/>
                  <a:pt x="1232" y="146"/>
                  <a:pt x="1232" y="146"/>
                </a:cubicBezTo>
                <a:cubicBezTo>
                  <a:pt x="1224" y="122"/>
                  <a:pt x="1216" y="99"/>
                  <a:pt x="1207" y="75"/>
                </a:cubicBezTo>
                <a:cubicBezTo>
                  <a:pt x="1205" y="75"/>
                  <a:pt x="1202" y="75"/>
                  <a:pt x="1200" y="75"/>
                </a:cubicBezTo>
                <a:cubicBezTo>
                  <a:pt x="1197" y="75"/>
                  <a:pt x="1195" y="75"/>
                  <a:pt x="1192" y="75"/>
                </a:cubicBezTo>
                <a:cubicBezTo>
                  <a:pt x="1203" y="104"/>
                  <a:pt x="1214" y="133"/>
                  <a:pt x="1225" y="162"/>
                </a:cubicBezTo>
                <a:cubicBezTo>
                  <a:pt x="1229" y="162"/>
                  <a:pt x="1234" y="162"/>
                  <a:pt x="1238" y="162"/>
                </a:cubicBezTo>
                <a:cubicBezTo>
                  <a:pt x="1241" y="156"/>
                  <a:pt x="1273" y="77"/>
                  <a:pt x="1273" y="75"/>
                </a:cubicBezTo>
                <a:close/>
                <a:moveTo>
                  <a:pt x="870" y="157"/>
                </a:moveTo>
                <a:cubicBezTo>
                  <a:pt x="870" y="159"/>
                  <a:pt x="871" y="159"/>
                  <a:pt x="872" y="160"/>
                </a:cubicBezTo>
                <a:cubicBezTo>
                  <a:pt x="883" y="165"/>
                  <a:pt x="895" y="166"/>
                  <a:pt x="906" y="162"/>
                </a:cubicBezTo>
                <a:cubicBezTo>
                  <a:pt x="918" y="158"/>
                  <a:pt x="924" y="149"/>
                  <a:pt x="923" y="137"/>
                </a:cubicBezTo>
                <a:cubicBezTo>
                  <a:pt x="923" y="131"/>
                  <a:pt x="921" y="126"/>
                  <a:pt x="917" y="122"/>
                </a:cubicBezTo>
                <a:cubicBezTo>
                  <a:pt x="914" y="120"/>
                  <a:pt x="911" y="118"/>
                  <a:pt x="908" y="117"/>
                </a:cubicBezTo>
                <a:cubicBezTo>
                  <a:pt x="905" y="115"/>
                  <a:pt x="901" y="113"/>
                  <a:pt x="897" y="112"/>
                </a:cubicBezTo>
                <a:cubicBezTo>
                  <a:pt x="895" y="110"/>
                  <a:pt x="892" y="108"/>
                  <a:pt x="889" y="107"/>
                </a:cubicBezTo>
                <a:cubicBezTo>
                  <a:pt x="884" y="103"/>
                  <a:pt x="883" y="94"/>
                  <a:pt x="888" y="89"/>
                </a:cubicBezTo>
                <a:cubicBezTo>
                  <a:pt x="891" y="87"/>
                  <a:pt x="894" y="85"/>
                  <a:pt x="898" y="85"/>
                </a:cubicBezTo>
                <a:cubicBezTo>
                  <a:pt x="905" y="85"/>
                  <a:pt x="912" y="86"/>
                  <a:pt x="918" y="90"/>
                </a:cubicBezTo>
                <a:cubicBezTo>
                  <a:pt x="918" y="90"/>
                  <a:pt x="919" y="91"/>
                  <a:pt x="919" y="91"/>
                </a:cubicBezTo>
                <a:cubicBezTo>
                  <a:pt x="919" y="86"/>
                  <a:pt x="919" y="82"/>
                  <a:pt x="919" y="77"/>
                </a:cubicBezTo>
                <a:cubicBezTo>
                  <a:pt x="919" y="77"/>
                  <a:pt x="918" y="76"/>
                  <a:pt x="917" y="76"/>
                </a:cubicBezTo>
                <a:cubicBezTo>
                  <a:pt x="910" y="73"/>
                  <a:pt x="902" y="72"/>
                  <a:pt x="895" y="73"/>
                </a:cubicBezTo>
                <a:cubicBezTo>
                  <a:pt x="888" y="74"/>
                  <a:pt x="883" y="77"/>
                  <a:pt x="878" y="81"/>
                </a:cubicBezTo>
                <a:cubicBezTo>
                  <a:pt x="867" y="90"/>
                  <a:pt x="867" y="110"/>
                  <a:pt x="880" y="118"/>
                </a:cubicBezTo>
                <a:cubicBezTo>
                  <a:pt x="884" y="120"/>
                  <a:pt x="887" y="122"/>
                  <a:pt x="890" y="123"/>
                </a:cubicBezTo>
                <a:cubicBezTo>
                  <a:pt x="895" y="126"/>
                  <a:pt x="900" y="128"/>
                  <a:pt x="905" y="131"/>
                </a:cubicBezTo>
                <a:cubicBezTo>
                  <a:pt x="909" y="134"/>
                  <a:pt x="910" y="138"/>
                  <a:pt x="909" y="143"/>
                </a:cubicBezTo>
                <a:cubicBezTo>
                  <a:pt x="908" y="147"/>
                  <a:pt x="905" y="150"/>
                  <a:pt x="901" y="151"/>
                </a:cubicBezTo>
                <a:cubicBezTo>
                  <a:pt x="901" y="151"/>
                  <a:pt x="900" y="151"/>
                  <a:pt x="899" y="152"/>
                </a:cubicBezTo>
                <a:cubicBezTo>
                  <a:pt x="890" y="153"/>
                  <a:pt x="881" y="151"/>
                  <a:pt x="873" y="146"/>
                </a:cubicBezTo>
                <a:cubicBezTo>
                  <a:pt x="872" y="145"/>
                  <a:pt x="871" y="145"/>
                  <a:pt x="870" y="144"/>
                </a:cubicBezTo>
                <a:cubicBezTo>
                  <a:pt x="870" y="149"/>
                  <a:pt x="870" y="153"/>
                  <a:pt x="870" y="157"/>
                </a:cubicBezTo>
                <a:close/>
                <a:moveTo>
                  <a:pt x="1649" y="162"/>
                </a:moveTo>
                <a:cubicBezTo>
                  <a:pt x="1653" y="162"/>
                  <a:pt x="1658" y="162"/>
                  <a:pt x="1662" y="162"/>
                </a:cubicBezTo>
                <a:cubicBezTo>
                  <a:pt x="1662" y="120"/>
                  <a:pt x="1662" y="79"/>
                  <a:pt x="1662" y="38"/>
                </a:cubicBezTo>
                <a:cubicBezTo>
                  <a:pt x="1661" y="38"/>
                  <a:pt x="1660" y="38"/>
                  <a:pt x="1659" y="38"/>
                </a:cubicBezTo>
                <a:cubicBezTo>
                  <a:pt x="1658" y="38"/>
                  <a:pt x="1657" y="38"/>
                  <a:pt x="1656" y="39"/>
                </a:cubicBezTo>
                <a:cubicBezTo>
                  <a:pt x="1646" y="47"/>
                  <a:pt x="1634" y="53"/>
                  <a:pt x="1622" y="57"/>
                </a:cubicBezTo>
                <a:cubicBezTo>
                  <a:pt x="1621" y="57"/>
                  <a:pt x="1621" y="57"/>
                  <a:pt x="1620" y="57"/>
                </a:cubicBezTo>
                <a:cubicBezTo>
                  <a:pt x="1620" y="62"/>
                  <a:pt x="1620" y="66"/>
                  <a:pt x="1620" y="71"/>
                </a:cubicBezTo>
                <a:cubicBezTo>
                  <a:pt x="1631" y="68"/>
                  <a:pt x="1640" y="64"/>
                  <a:pt x="1649" y="57"/>
                </a:cubicBezTo>
                <a:cubicBezTo>
                  <a:pt x="1649" y="92"/>
                  <a:pt x="1649" y="127"/>
                  <a:pt x="1649" y="162"/>
                </a:cubicBezTo>
                <a:close/>
                <a:moveTo>
                  <a:pt x="1177" y="74"/>
                </a:moveTo>
                <a:cubicBezTo>
                  <a:pt x="1172" y="74"/>
                  <a:pt x="1167" y="76"/>
                  <a:pt x="1163" y="80"/>
                </a:cubicBezTo>
                <a:cubicBezTo>
                  <a:pt x="1160" y="83"/>
                  <a:pt x="1157" y="86"/>
                  <a:pt x="1156" y="90"/>
                </a:cubicBezTo>
                <a:cubicBezTo>
                  <a:pt x="1155" y="91"/>
                  <a:pt x="1155" y="91"/>
                  <a:pt x="1155" y="92"/>
                </a:cubicBezTo>
                <a:cubicBezTo>
                  <a:pt x="1155" y="92"/>
                  <a:pt x="1154" y="92"/>
                  <a:pt x="1154" y="92"/>
                </a:cubicBezTo>
                <a:cubicBezTo>
                  <a:pt x="1154" y="86"/>
                  <a:pt x="1154" y="81"/>
                  <a:pt x="1154" y="75"/>
                </a:cubicBezTo>
                <a:cubicBezTo>
                  <a:pt x="1150" y="75"/>
                  <a:pt x="1145" y="75"/>
                  <a:pt x="1141" y="75"/>
                </a:cubicBezTo>
                <a:cubicBezTo>
                  <a:pt x="1141" y="104"/>
                  <a:pt x="1141" y="133"/>
                  <a:pt x="1141" y="162"/>
                </a:cubicBezTo>
                <a:cubicBezTo>
                  <a:pt x="1143" y="162"/>
                  <a:pt x="1153" y="162"/>
                  <a:pt x="1154" y="162"/>
                </a:cubicBezTo>
                <a:cubicBezTo>
                  <a:pt x="1154" y="161"/>
                  <a:pt x="1154" y="160"/>
                  <a:pt x="1154" y="159"/>
                </a:cubicBezTo>
                <a:cubicBezTo>
                  <a:pt x="1154" y="146"/>
                  <a:pt x="1154" y="132"/>
                  <a:pt x="1154" y="119"/>
                </a:cubicBezTo>
                <a:cubicBezTo>
                  <a:pt x="1154" y="116"/>
                  <a:pt x="1155" y="113"/>
                  <a:pt x="1155" y="110"/>
                </a:cubicBezTo>
                <a:cubicBezTo>
                  <a:pt x="1156" y="104"/>
                  <a:pt x="1158" y="98"/>
                  <a:pt x="1161" y="93"/>
                </a:cubicBezTo>
                <a:cubicBezTo>
                  <a:pt x="1168" y="85"/>
                  <a:pt x="1178" y="85"/>
                  <a:pt x="1184" y="88"/>
                </a:cubicBezTo>
                <a:cubicBezTo>
                  <a:pt x="1185" y="88"/>
                  <a:pt x="1185" y="89"/>
                  <a:pt x="1186" y="89"/>
                </a:cubicBezTo>
                <a:cubicBezTo>
                  <a:pt x="1186" y="84"/>
                  <a:pt x="1186" y="80"/>
                  <a:pt x="1186" y="75"/>
                </a:cubicBezTo>
                <a:cubicBezTo>
                  <a:pt x="1183" y="74"/>
                  <a:pt x="1180" y="74"/>
                  <a:pt x="1177" y="74"/>
                </a:cubicBezTo>
                <a:close/>
                <a:moveTo>
                  <a:pt x="1367" y="162"/>
                </a:moveTo>
                <a:cubicBezTo>
                  <a:pt x="1372" y="162"/>
                  <a:pt x="1376" y="162"/>
                  <a:pt x="1381" y="162"/>
                </a:cubicBezTo>
                <a:cubicBezTo>
                  <a:pt x="1381" y="161"/>
                  <a:pt x="1381" y="160"/>
                  <a:pt x="1381" y="159"/>
                </a:cubicBezTo>
                <a:cubicBezTo>
                  <a:pt x="1381" y="145"/>
                  <a:pt x="1381" y="132"/>
                  <a:pt x="1381" y="118"/>
                </a:cubicBezTo>
                <a:cubicBezTo>
                  <a:pt x="1381" y="115"/>
                  <a:pt x="1381" y="112"/>
                  <a:pt x="1381" y="109"/>
                </a:cubicBezTo>
                <a:cubicBezTo>
                  <a:pt x="1382" y="103"/>
                  <a:pt x="1384" y="98"/>
                  <a:pt x="1388" y="94"/>
                </a:cubicBezTo>
                <a:cubicBezTo>
                  <a:pt x="1394" y="85"/>
                  <a:pt x="1404" y="85"/>
                  <a:pt x="1411" y="88"/>
                </a:cubicBezTo>
                <a:cubicBezTo>
                  <a:pt x="1411" y="88"/>
                  <a:pt x="1411" y="89"/>
                  <a:pt x="1412" y="89"/>
                </a:cubicBezTo>
                <a:cubicBezTo>
                  <a:pt x="1412" y="84"/>
                  <a:pt x="1412" y="79"/>
                  <a:pt x="1412" y="75"/>
                </a:cubicBezTo>
                <a:cubicBezTo>
                  <a:pt x="1411" y="74"/>
                  <a:pt x="1410" y="74"/>
                  <a:pt x="1409" y="74"/>
                </a:cubicBezTo>
                <a:cubicBezTo>
                  <a:pt x="1407" y="74"/>
                  <a:pt x="1406" y="74"/>
                  <a:pt x="1404" y="74"/>
                </a:cubicBezTo>
                <a:cubicBezTo>
                  <a:pt x="1398" y="74"/>
                  <a:pt x="1393" y="76"/>
                  <a:pt x="1389" y="79"/>
                </a:cubicBezTo>
                <a:cubicBezTo>
                  <a:pt x="1386" y="82"/>
                  <a:pt x="1384" y="86"/>
                  <a:pt x="1382" y="90"/>
                </a:cubicBezTo>
                <a:cubicBezTo>
                  <a:pt x="1382" y="91"/>
                  <a:pt x="1382" y="91"/>
                  <a:pt x="1381" y="92"/>
                </a:cubicBezTo>
                <a:cubicBezTo>
                  <a:pt x="1381" y="92"/>
                  <a:pt x="1381" y="92"/>
                  <a:pt x="1381" y="92"/>
                </a:cubicBezTo>
                <a:cubicBezTo>
                  <a:pt x="1381" y="89"/>
                  <a:pt x="1381" y="86"/>
                  <a:pt x="1381" y="84"/>
                </a:cubicBezTo>
                <a:cubicBezTo>
                  <a:pt x="1381" y="81"/>
                  <a:pt x="1381" y="78"/>
                  <a:pt x="1381" y="75"/>
                </a:cubicBezTo>
                <a:cubicBezTo>
                  <a:pt x="1376" y="75"/>
                  <a:pt x="1372" y="75"/>
                  <a:pt x="1367" y="75"/>
                </a:cubicBezTo>
                <a:cubicBezTo>
                  <a:pt x="1367" y="78"/>
                  <a:pt x="1367" y="160"/>
                  <a:pt x="1367" y="162"/>
                </a:cubicBezTo>
                <a:close/>
                <a:moveTo>
                  <a:pt x="446" y="75"/>
                </a:moveTo>
                <a:cubicBezTo>
                  <a:pt x="441" y="75"/>
                  <a:pt x="437" y="75"/>
                  <a:pt x="432" y="75"/>
                </a:cubicBezTo>
                <a:cubicBezTo>
                  <a:pt x="432" y="104"/>
                  <a:pt x="432" y="133"/>
                  <a:pt x="432" y="162"/>
                </a:cubicBezTo>
                <a:cubicBezTo>
                  <a:pt x="437" y="162"/>
                  <a:pt x="441" y="162"/>
                  <a:pt x="446" y="162"/>
                </a:cubicBezTo>
                <a:cubicBezTo>
                  <a:pt x="446" y="157"/>
                  <a:pt x="446" y="77"/>
                  <a:pt x="446" y="75"/>
                </a:cubicBezTo>
                <a:close/>
                <a:moveTo>
                  <a:pt x="448" y="47"/>
                </a:moveTo>
                <a:cubicBezTo>
                  <a:pt x="448" y="42"/>
                  <a:pt x="444" y="38"/>
                  <a:pt x="439" y="38"/>
                </a:cubicBezTo>
                <a:cubicBezTo>
                  <a:pt x="434" y="38"/>
                  <a:pt x="430" y="42"/>
                  <a:pt x="430" y="47"/>
                </a:cubicBezTo>
                <a:cubicBezTo>
                  <a:pt x="430" y="52"/>
                  <a:pt x="434" y="56"/>
                  <a:pt x="439" y="56"/>
                </a:cubicBezTo>
                <a:cubicBezTo>
                  <a:pt x="444" y="56"/>
                  <a:pt x="448" y="52"/>
                  <a:pt x="448" y="47"/>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sp>
        <p:nvSpPr>
          <p:cNvPr id="19" name="Freeform 5"/>
          <p:cNvSpPr>
            <a:spLocks noEditPoints="1"/>
          </p:cNvSpPr>
          <p:nvPr/>
        </p:nvSpPr>
        <p:spPr bwMode="auto">
          <a:xfrm>
            <a:off x="275653" y="2423586"/>
            <a:ext cx="2856923" cy="414956"/>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ln>
                <a:solidFill>
                  <a:schemeClr val="tx2"/>
                </a:solidFill>
              </a:ln>
              <a:solidFill>
                <a:schemeClr val="tx2"/>
              </a:solidFill>
            </a:endParaRPr>
          </a:p>
        </p:txBody>
      </p:sp>
      <p:sp>
        <p:nvSpPr>
          <p:cNvPr id="18" name="Freeform 13"/>
          <p:cNvSpPr>
            <a:spLocks noEditPoints="1"/>
          </p:cNvSpPr>
          <p:nvPr/>
        </p:nvSpPr>
        <p:spPr bwMode="auto">
          <a:xfrm>
            <a:off x="850074" y="4333750"/>
            <a:ext cx="4142787" cy="319443"/>
          </a:xfrm>
          <a:custGeom>
            <a:avLst/>
            <a:gdLst>
              <a:gd name="T0" fmla="*/ 905 w 1754"/>
              <a:gd name="T1" fmla="*/ 38 h 133"/>
              <a:gd name="T2" fmla="*/ 1676 w 1754"/>
              <a:gd name="T3" fmla="*/ 52 h 133"/>
              <a:gd name="T4" fmla="*/ 1678 w 1754"/>
              <a:gd name="T5" fmla="*/ 80 h 133"/>
              <a:gd name="T6" fmla="*/ 1453 w 1754"/>
              <a:gd name="T7" fmla="*/ 100 h 133"/>
              <a:gd name="T8" fmla="*/ 971 w 1754"/>
              <a:gd name="T9" fmla="*/ 14 h 133"/>
              <a:gd name="T10" fmla="*/ 1018 w 1754"/>
              <a:gd name="T11" fmla="*/ 88 h 133"/>
              <a:gd name="T12" fmla="*/ 1082 w 1754"/>
              <a:gd name="T13" fmla="*/ 98 h 133"/>
              <a:gd name="T14" fmla="*/ 1030 w 1754"/>
              <a:gd name="T15" fmla="*/ 76 h 133"/>
              <a:gd name="T16" fmla="*/ 763 w 1754"/>
              <a:gd name="T17" fmla="*/ 86 h 133"/>
              <a:gd name="T18" fmla="*/ 1265 w 1754"/>
              <a:gd name="T19" fmla="*/ 58 h 133"/>
              <a:gd name="T20" fmla="*/ 1256 w 1754"/>
              <a:gd name="T21" fmla="*/ 100 h 133"/>
              <a:gd name="T22" fmla="*/ 582 w 1754"/>
              <a:gd name="T23" fmla="*/ 20 h 133"/>
              <a:gd name="T24" fmla="*/ 1564 w 1754"/>
              <a:gd name="T25" fmla="*/ 7 h 133"/>
              <a:gd name="T26" fmla="*/ 1538 w 1754"/>
              <a:gd name="T27" fmla="*/ 71 h 133"/>
              <a:gd name="T28" fmla="*/ 1746 w 1754"/>
              <a:gd name="T29" fmla="*/ 16 h 133"/>
              <a:gd name="T30" fmla="*/ 1718 w 1754"/>
              <a:gd name="T31" fmla="*/ 62 h 133"/>
              <a:gd name="T32" fmla="*/ 1748 w 1754"/>
              <a:gd name="T33" fmla="*/ 44 h 133"/>
              <a:gd name="T34" fmla="*/ 1377 w 1754"/>
              <a:gd name="T35" fmla="*/ 65 h 133"/>
              <a:gd name="T36" fmla="*/ 1381 w 1754"/>
              <a:gd name="T37" fmla="*/ 19 h 133"/>
              <a:gd name="T38" fmla="*/ 653 w 1754"/>
              <a:gd name="T39" fmla="*/ 41 h 133"/>
              <a:gd name="T40" fmla="*/ 598 w 1754"/>
              <a:gd name="T41" fmla="*/ 50 h 133"/>
              <a:gd name="T42" fmla="*/ 1114 w 1754"/>
              <a:gd name="T43" fmla="*/ 41 h 133"/>
              <a:gd name="T44" fmla="*/ 668 w 1754"/>
              <a:gd name="T45" fmla="*/ 36 h 133"/>
              <a:gd name="T46" fmla="*/ 696 w 1754"/>
              <a:gd name="T47" fmla="*/ 95 h 133"/>
              <a:gd name="T48" fmla="*/ 723 w 1754"/>
              <a:gd name="T49" fmla="*/ 101 h 133"/>
              <a:gd name="T50" fmla="*/ 201 w 1754"/>
              <a:gd name="T51" fmla="*/ 36 h 133"/>
              <a:gd name="T52" fmla="*/ 1174 w 1754"/>
              <a:gd name="T53" fmla="*/ 84 h 133"/>
              <a:gd name="T54" fmla="*/ 697 w 1754"/>
              <a:gd name="T55" fmla="*/ 46 h 133"/>
              <a:gd name="T56" fmla="*/ 1410 w 1754"/>
              <a:gd name="T57" fmla="*/ 69 h 133"/>
              <a:gd name="T58" fmla="*/ 963 w 1754"/>
              <a:gd name="T59" fmla="*/ 49 h 133"/>
              <a:gd name="T60" fmla="*/ 986 w 1754"/>
              <a:gd name="T61" fmla="*/ 103 h 133"/>
              <a:gd name="T62" fmla="*/ 1424 w 1754"/>
              <a:gd name="T63" fmla="*/ 11 h 133"/>
              <a:gd name="T64" fmla="*/ 754 w 1754"/>
              <a:gd name="T65" fmla="*/ 92 h 133"/>
              <a:gd name="T66" fmla="*/ 1377 w 1754"/>
              <a:gd name="T67" fmla="*/ 17 h 133"/>
              <a:gd name="T68" fmla="*/ 964 w 1754"/>
              <a:gd name="T69" fmla="*/ 41 h 133"/>
              <a:gd name="T70" fmla="*/ 1015 w 1754"/>
              <a:gd name="T71" fmla="*/ 90 h 133"/>
              <a:gd name="T72" fmla="*/ 603 w 1754"/>
              <a:gd name="T73" fmla="*/ 123 h 133"/>
              <a:gd name="T74" fmla="*/ 1356 w 1754"/>
              <a:gd name="T75" fmla="*/ 19 h 133"/>
              <a:gd name="T76" fmla="*/ 1261 w 1754"/>
              <a:gd name="T77" fmla="*/ 45 h 133"/>
              <a:gd name="T78" fmla="*/ 788 w 1754"/>
              <a:gd name="T79" fmla="*/ 34 h 133"/>
              <a:gd name="T80" fmla="*/ 966 w 1754"/>
              <a:gd name="T81" fmla="*/ 36 h 133"/>
              <a:gd name="T82" fmla="*/ 689 w 1754"/>
              <a:gd name="T83" fmla="*/ 67 h 133"/>
              <a:gd name="T84" fmla="*/ 966 w 1754"/>
              <a:gd name="T85" fmla="*/ 73 h 133"/>
              <a:gd name="T86" fmla="*/ 1677 w 1754"/>
              <a:gd name="T87" fmla="*/ 78 h 133"/>
              <a:gd name="T88" fmla="*/ 1355 w 1754"/>
              <a:gd name="T89" fmla="*/ 9 h 133"/>
              <a:gd name="T90" fmla="*/ 1212 w 1754"/>
              <a:gd name="T91" fmla="*/ 49 h 133"/>
              <a:gd name="T92" fmla="*/ 639 w 1754"/>
              <a:gd name="T93" fmla="*/ 49 h 133"/>
              <a:gd name="T94" fmla="*/ 740 w 1754"/>
              <a:gd name="T95" fmla="*/ 93 h 133"/>
              <a:gd name="T96" fmla="*/ 1260 w 1754"/>
              <a:gd name="T97" fmla="*/ 98 h 133"/>
              <a:gd name="T98" fmla="*/ 800 w 1754"/>
              <a:gd name="T99" fmla="*/ 43 h 133"/>
              <a:gd name="T100" fmla="*/ 606 w 1754"/>
              <a:gd name="T101" fmla="*/ 40 h 133"/>
              <a:gd name="T102" fmla="*/ 1041 w 1754"/>
              <a:gd name="T103" fmla="*/ 39 h 133"/>
              <a:gd name="T104" fmla="*/ 1360 w 1754"/>
              <a:gd name="T105" fmla="*/ 78 h 133"/>
              <a:gd name="T106" fmla="*/ 1139 w 1754"/>
              <a:gd name="T107" fmla="*/ 45 h 133"/>
              <a:gd name="T108" fmla="*/ 1563 w 1754"/>
              <a:gd name="T109" fmla="*/ 50 h 133"/>
              <a:gd name="T110" fmla="*/ 1571 w 1754"/>
              <a:gd name="T111" fmla="*/ 57 h 133"/>
              <a:gd name="T112" fmla="*/ 579 w 1754"/>
              <a:gd name="T113" fmla="*/ 58 h 133"/>
              <a:gd name="T114" fmla="*/ 585 w 1754"/>
              <a:gd name="T115" fmla="*/ 92 h 133"/>
              <a:gd name="T116" fmla="*/ 1654 w 1754"/>
              <a:gd name="T117" fmla="*/ 63 h 133"/>
              <a:gd name="T118" fmla="*/ 1422 w 1754"/>
              <a:gd name="T119" fmla="*/ 97 h 133"/>
              <a:gd name="T120" fmla="*/ 720 w 1754"/>
              <a:gd name="T121" fmla="*/ 99 h 133"/>
              <a:gd name="T122" fmla="*/ 1700 w 1754"/>
              <a:gd name="T123" fmla="*/ 26 h 133"/>
              <a:gd name="T124" fmla="*/ 795 w 1754"/>
              <a:gd name="T125" fmla="*/ 3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4" h="133">
                <a:moveTo>
                  <a:pt x="48" y="83"/>
                </a:moveTo>
                <a:cubicBezTo>
                  <a:pt x="49" y="82"/>
                  <a:pt x="49" y="82"/>
                  <a:pt x="49" y="81"/>
                </a:cubicBezTo>
                <a:cubicBezTo>
                  <a:pt x="60" y="57"/>
                  <a:pt x="71" y="33"/>
                  <a:pt x="82" y="9"/>
                </a:cubicBezTo>
                <a:cubicBezTo>
                  <a:pt x="82" y="9"/>
                  <a:pt x="82" y="9"/>
                  <a:pt x="82" y="8"/>
                </a:cubicBezTo>
                <a:cubicBezTo>
                  <a:pt x="82" y="8"/>
                  <a:pt x="83" y="7"/>
                  <a:pt x="83" y="7"/>
                </a:cubicBezTo>
                <a:cubicBezTo>
                  <a:pt x="87" y="7"/>
                  <a:pt x="91" y="7"/>
                  <a:pt x="95" y="7"/>
                </a:cubicBezTo>
                <a:cubicBezTo>
                  <a:pt x="96" y="7"/>
                  <a:pt x="96" y="8"/>
                  <a:pt x="96" y="9"/>
                </a:cubicBezTo>
                <a:cubicBezTo>
                  <a:pt x="96" y="9"/>
                  <a:pt x="96" y="9"/>
                  <a:pt x="96" y="10"/>
                </a:cubicBezTo>
                <a:cubicBezTo>
                  <a:pt x="96" y="40"/>
                  <a:pt x="96" y="69"/>
                  <a:pt x="96" y="99"/>
                </a:cubicBezTo>
                <a:cubicBezTo>
                  <a:pt x="96" y="102"/>
                  <a:pt x="97" y="101"/>
                  <a:pt x="94" y="101"/>
                </a:cubicBezTo>
                <a:cubicBezTo>
                  <a:pt x="91" y="102"/>
                  <a:pt x="89" y="101"/>
                  <a:pt x="86" y="101"/>
                </a:cubicBezTo>
                <a:cubicBezTo>
                  <a:pt x="85" y="102"/>
                  <a:pt x="85" y="101"/>
                  <a:pt x="85" y="101"/>
                </a:cubicBezTo>
                <a:cubicBezTo>
                  <a:pt x="85" y="100"/>
                  <a:pt x="85" y="100"/>
                  <a:pt x="85" y="99"/>
                </a:cubicBezTo>
                <a:cubicBezTo>
                  <a:pt x="85" y="75"/>
                  <a:pt x="85" y="51"/>
                  <a:pt x="85" y="27"/>
                </a:cubicBezTo>
                <a:cubicBezTo>
                  <a:pt x="85" y="27"/>
                  <a:pt x="85" y="26"/>
                  <a:pt x="85" y="25"/>
                </a:cubicBezTo>
                <a:cubicBezTo>
                  <a:pt x="84" y="26"/>
                  <a:pt x="84" y="26"/>
                  <a:pt x="84" y="27"/>
                </a:cubicBezTo>
                <a:cubicBezTo>
                  <a:pt x="73" y="51"/>
                  <a:pt x="63" y="75"/>
                  <a:pt x="52" y="100"/>
                </a:cubicBezTo>
                <a:cubicBezTo>
                  <a:pt x="52" y="100"/>
                  <a:pt x="52" y="100"/>
                  <a:pt x="51" y="101"/>
                </a:cubicBezTo>
                <a:cubicBezTo>
                  <a:pt x="51" y="101"/>
                  <a:pt x="51" y="102"/>
                  <a:pt x="50" y="101"/>
                </a:cubicBezTo>
                <a:cubicBezTo>
                  <a:pt x="49" y="101"/>
                  <a:pt x="47" y="102"/>
                  <a:pt x="46" y="101"/>
                </a:cubicBezTo>
                <a:cubicBezTo>
                  <a:pt x="45" y="101"/>
                  <a:pt x="44" y="99"/>
                  <a:pt x="44" y="98"/>
                </a:cubicBezTo>
                <a:cubicBezTo>
                  <a:pt x="33" y="74"/>
                  <a:pt x="23" y="50"/>
                  <a:pt x="12" y="27"/>
                </a:cubicBezTo>
                <a:cubicBezTo>
                  <a:pt x="12" y="26"/>
                  <a:pt x="12" y="25"/>
                  <a:pt x="11" y="25"/>
                </a:cubicBezTo>
                <a:cubicBezTo>
                  <a:pt x="11" y="26"/>
                  <a:pt x="11" y="26"/>
                  <a:pt x="11" y="27"/>
                </a:cubicBezTo>
                <a:cubicBezTo>
                  <a:pt x="11" y="51"/>
                  <a:pt x="11" y="75"/>
                  <a:pt x="11" y="99"/>
                </a:cubicBezTo>
                <a:cubicBezTo>
                  <a:pt x="11" y="102"/>
                  <a:pt x="11" y="101"/>
                  <a:pt x="9" y="101"/>
                </a:cubicBezTo>
                <a:cubicBezTo>
                  <a:pt x="6" y="102"/>
                  <a:pt x="4" y="101"/>
                  <a:pt x="2" y="101"/>
                </a:cubicBezTo>
                <a:cubicBezTo>
                  <a:pt x="0" y="101"/>
                  <a:pt x="0" y="101"/>
                  <a:pt x="0" y="100"/>
                </a:cubicBezTo>
                <a:cubicBezTo>
                  <a:pt x="0" y="100"/>
                  <a:pt x="0" y="100"/>
                  <a:pt x="0" y="99"/>
                </a:cubicBezTo>
                <a:cubicBezTo>
                  <a:pt x="0" y="69"/>
                  <a:pt x="0" y="39"/>
                  <a:pt x="0" y="9"/>
                </a:cubicBezTo>
                <a:cubicBezTo>
                  <a:pt x="0" y="9"/>
                  <a:pt x="0" y="9"/>
                  <a:pt x="0" y="9"/>
                </a:cubicBezTo>
                <a:cubicBezTo>
                  <a:pt x="0" y="7"/>
                  <a:pt x="0" y="7"/>
                  <a:pt x="2" y="7"/>
                </a:cubicBezTo>
                <a:cubicBezTo>
                  <a:pt x="6" y="7"/>
                  <a:pt x="9" y="7"/>
                  <a:pt x="13" y="7"/>
                </a:cubicBezTo>
                <a:cubicBezTo>
                  <a:pt x="15" y="7"/>
                  <a:pt x="15" y="8"/>
                  <a:pt x="16" y="9"/>
                </a:cubicBezTo>
                <a:cubicBezTo>
                  <a:pt x="23" y="26"/>
                  <a:pt x="31" y="44"/>
                  <a:pt x="39" y="61"/>
                </a:cubicBezTo>
                <a:cubicBezTo>
                  <a:pt x="42" y="68"/>
                  <a:pt x="44" y="74"/>
                  <a:pt x="47" y="81"/>
                </a:cubicBezTo>
                <a:cubicBezTo>
                  <a:pt x="48" y="82"/>
                  <a:pt x="48" y="82"/>
                  <a:pt x="48" y="83"/>
                </a:cubicBezTo>
                <a:close/>
                <a:moveTo>
                  <a:pt x="493" y="94"/>
                </a:moveTo>
                <a:cubicBezTo>
                  <a:pt x="490" y="93"/>
                  <a:pt x="488" y="91"/>
                  <a:pt x="487" y="88"/>
                </a:cubicBezTo>
                <a:cubicBezTo>
                  <a:pt x="486" y="86"/>
                  <a:pt x="486" y="84"/>
                  <a:pt x="486" y="81"/>
                </a:cubicBezTo>
                <a:cubicBezTo>
                  <a:pt x="486" y="69"/>
                  <a:pt x="486" y="57"/>
                  <a:pt x="486" y="45"/>
                </a:cubicBezTo>
                <a:cubicBezTo>
                  <a:pt x="486" y="45"/>
                  <a:pt x="486" y="45"/>
                  <a:pt x="486" y="44"/>
                </a:cubicBezTo>
                <a:cubicBezTo>
                  <a:pt x="486" y="44"/>
                  <a:pt x="486" y="43"/>
                  <a:pt x="487" y="43"/>
                </a:cubicBezTo>
                <a:cubicBezTo>
                  <a:pt x="487" y="43"/>
                  <a:pt x="487" y="43"/>
                  <a:pt x="488" y="43"/>
                </a:cubicBezTo>
                <a:cubicBezTo>
                  <a:pt x="492" y="43"/>
                  <a:pt x="497" y="43"/>
                  <a:pt x="501" y="43"/>
                </a:cubicBezTo>
                <a:cubicBezTo>
                  <a:pt x="502" y="43"/>
                  <a:pt x="503" y="43"/>
                  <a:pt x="503" y="42"/>
                </a:cubicBezTo>
                <a:cubicBezTo>
                  <a:pt x="503" y="40"/>
                  <a:pt x="503" y="38"/>
                  <a:pt x="503" y="36"/>
                </a:cubicBezTo>
                <a:cubicBezTo>
                  <a:pt x="503" y="34"/>
                  <a:pt x="503" y="34"/>
                  <a:pt x="501" y="34"/>
                </a:cubicBezTo>
                <a:cubicBezTo>
                  <a:pt x="497" y="34"/>
                  <a:pt x="492" y="34"/>
                  <a:pt x="487" y="34"/>
                </a:cubicBezTo>
                <a:cubicBezTo>
                  <a:pt x="486" y="34"/>
                  <a:pt x="486" y="35"/>
                  <a:pt x="486" y="33"/>
                </a:cubicBezTo>
                <a:cubicBezTo>
                  <a:pt x="486" y="27"/>
                  <a:pt x="486" y="22"/>
                  <a:pt x="486" y="16"/>
                </a:cubicBezTo>
                <a:cubicBezTo>
                  <a:pt x="486" y="16"/>
                  <a:pt x="486" y="15"/>
                  <a:pt x="485" y="15"/>
                </a:cubicBezTo>
                <a:cubicBezTo>
                  <a:pt x="482" y="16"/>
                  <a:pt x="479" y="17"/>
                  <a:pt x="476" y="18"/>
                </a:cubicBezTo>
                <a:cubicBezTo>
                  <a:pt x="475" y="18"/>
                  <a:pt x="475" y="18"/>
                  <a:pt x="475" y="19"/>
                </a:cubicBezTo>
                <a:cubicBezTo>
                  <a:pt x="475" y="19"/>
                  <a:pt x="475" y="19"/>
                  <a:pt x="475" y="20"/>
                </a:cubicBezTo>
                <a:cubicBezTo>
                  <a:pt x="475" y="24"/>
                  <a:pt x="475" y="28"/>
                  <a:pt x="475" y="33"/>
                </a:cubicBezTo>
                <a:cubicBezTo>
                  <a:pt x="475" y="34"/>
                  <a:pt x="475" y="34"/>
                  <a:pt x="474" y="34"/>
                </a:cubicBezTo>
                <a:cubicBezTo>
                  <a:pt x="466" y="34"/>
                  <a:pt x="458" y="34"/>
                  <a:pt x="450" y="34"/>
                </a:cubicBezTo>
                <a:cubicBezTo>
                  <a:pt x="449" y="34"/>
                  <a:pt x="448" y="34"/>
                  <a:pt x="448" y="33"/>
                </a:cubicBezTo>
                <a:cubicBezTo>
                  <a:pt x="448" y="30"/>
                  <a:pt x="448" y="27"/>
                  <a:pt x="449" y="24"/>
                </a:cubicBezTo>
                <a:cubicBezTo>
                  <a:pt x="449" y="22"/>
                  <a:pt x="449" y="19"/>
                  <a:pt x="450" y="16"/>
                </a:cubicBezTo>
                <a:cubicBezTo>
                  <a:pt x="451" y="13"/>
                  <a:pt x="453" y="11"/>
                  <a:pt x="455" y="10"/>
                </a:cubicBezTo>
                <a:cubicBezTo>
                  <a:pt x="457" y="10"/>
                  <a:pt x="459" y="10"/>
                  <a:pt x="461" y="10"/>
                </a:cubicBezTo>
                <a:cubicBezTo>
                  <a:pt x="463" y="10"/>
                  <a:pt x="465" y="10"/>
                  <a:pt x="467" y="11"/>
                </a:cubicBezTo>
                <a:cubicBezTo>
                  <a:pt x="467" y="8"/>
                  <a:pt x="467" y="6"/>
                  <a:pt x="467" y="3"/>
                </a:cubicBezTo>
                <a:cubicBezTo>
                  <a:pt x="467" y="2"/>
                  <a:pt x="466" y="2"/>
                  <a:pt x="466" y="1"/>
                </a:cubicBezTo>
                <a:cubicBezTo>
                  <a:pt x="461" y="0"/>
                  <a:pt x="455" y="0"/>
                  <a:pt x="451" y="2"/>
                </a:cubicBezTo>
                <a:cubicBezTo>
                  <a:pt x="443" y="6"/>
                  <a:pt x="439" y="12"/>
                  <a:pt x="438" y="20"/>
                </a:cubicBezTo>
                <a:cubicBezTo>
                  <a:pt x="437" y="24"/>
                  <a:pt x="438" y="28"/>
                  <a:pt x="438" y="32"/>
                </a:cubicBezTo>
                <a:cubicBezTo>
                  <a:pt x="438" y="34"/>
                  <a:pt x="438" y="34"/>
                  <a:pt x="435" y="34"/>
                </a:cubicBezTo>
                <a:cubicBezTo>
                  <a:pt x="433" y="34"/>
                  <a:pt x="430" y="34"/>
                  <a:pt x="428" y="34"/>
                </a:cubicBezTo>
                <a:cubicBezTo>
                  <a:pt x="426" y="34"/>
                  <a:pt x="426" y="34"/>
                  <a:pt x="426" y="36"/>
                </a:cubicBezTo>
                <a:cubicBezTo>
                  <a:pt x="426" y="38"/>
                  <a:pt x="426" y="40"/>
                  <a:pt x="426" y="42"/>
                </a:cubicBezTo>
                <a:cubicBezTo>
                  <a:pt x="426" y="44"/>
                  <a:pt x="426" y="43"/>
                  <a:pt x="428" y="43"/>
                </a:cubicBezTo>
                <a:cubicBezTo>
                  <a:pt x="431" y="43"/>
                  <a:pt x="434" y="43"/>
                  <a:pt x="436" y="43"/>
                </a:cubicBezTo>
                <a:cubicBezTo>
                  <a:pt x="437" y="43"/>
                  <a:pt x="438" y="44"/>
                  <a:pt x="438" y="45"/>
                </a:cubicBezTo>
                <a:cubicBezTo>
                  <a:pt x="438" y="45"/>
                  <a:pt x="438" y="45"/>
                  <a:pt x="438" y="46"/>
                </a:cubicBezTo>
                <a:cubicBezTo>
                  <a:pt x="438" y="64"/>
                  <a:pt x="438" y="81"/>
                  <a:pt x="438" y="99"/>
                </a:cubicBezTo>
                <a:cubicBezTo>
                  <a:pt x="438" y="100"/>
                  <a:pt x="438" y="100"/>
                  <a:pt x="438" y="100"/>
                </a:cubicBezTo>
                <a:cubicBezTo>
                  <a:pt x="438" y="101"/>
                  <a:pt x="438" y="102"/>
                  <a:pt x="439" y="102"/>
                </a:cubicBezTo>
                <a:cubicBezTo>
                  <a:pt x="441" y="101"/>
                  <a:pt x="444" y="102"/>
                  <a:pt x="446" y="101"/>
                </a:cubicBezTo>
                <a:cubicBezTo>
                  <a:pt x="449" y="101"/>
                  <a:pt x="448" y="102"/>
                  <a:pt x="448" y="99"/>
                </a:cubicBezTo>
                <a:cubicBezTo>
                  <a:pt x="448" y="81"/>
                  <a:pt x="448" y="63"/>
                  <a:pt x="448" y="45"/>
                </a:cubicBezTo>
                <a:cubicBezTo>
                  <a:pt x="448" y="43"/>
                  <a:pt x="449" y="43"/>
                  <a:pt x="450" y="43"/>
                </a:cubicBezTo>
                <a:cubicBezTo>
                  <a:pt x="458" y="43"/>
                  <a:pt x="465" y="43"/>
                  <a:pt x="473" y="43"/>
                </a:cubicBezTo>
                <a:cubicBezTo>
                  <a:pt x="475" y="43"/>
                  <a:pt x="475" y="43"/>
                  <a:pt x="475" y="46"/>
                </a:cubicBezTo>
                <a:cubicBezTo>
                  <a:pt x="475" y="58"/>
                  <a:pt x="475" y="71"/>
                  <a:pt x="475" y="83"/>
                </a:cubicBezTo>
                <a:cubicBezTo>
                  <a:pt x="475" y="87"/>
                  <a:pt x="475" y="91"/>
                  <a:pt x="477" y="94"/>
                </a:cubicBezTo>
                <a:cubicBezTo>
                  <a:pt x="479" y="98"/>
                  <a:pt x="482" y="101"/>
                  <a:pt x="486" y="102"/>
                </a:cubicBezTo>
                <a:cubicBezTo>
                  <a:pt x="490" y="103"/>
                  <a:pt x="493" y="103"/>
                  <a:pt x="497" y="103"/>
                </a:cubicBezTo>
                <a:cubicBezTo>
                  <a:pt x="498" y="103"/>
                  <a:pt x="500" y="102"/>
                  <a:pt x="502" y="101"/>
                </a:cubicBezTo>
                <a:cubicBezTo>
                  <a:pt x="502" y="101"/>
                  <a:pt x="503" y="101"/>
                  <a:pt x="503" y="100"/>
                </a:cubicBezTo>
                <a:cubicBezTo>
                  <a:pt x="503" y="97"/>
                  <a:pt x="503" y="95"/>
                  <a:pt x="503" y="92"/>
                </a:cubicBezTo>
                <a:cubicBezTo>
                  <a:pt x="499" y="94"/>
                  <a:pt x="496" y="94"/>
                  <a:pt x="493" y="94"/>
                </a:cubicBezTo>
                <a:close/>
                <a:moveTo>
                  <a:pt x="841" y="42"/>
                </a:moveTo>
                <a:cubicBezTo>
                  <a:pt x="841" y="42"/>
                  <a:pt x="841" y="42"/>
                  <a:pt x="841" y="42"/>
                </a:cubicBezTo>
                <a:cubicBezTo>
                  <a:pt x="841" y="42"/>
                  <a:pt x="841" y="42"/>
                  <a:pt x="841" y="42"/>
                </a:cubicBezTo>
                <a:cubicBezTo>
                  <a:pt x="842" y="42"/>
                  <a:pt x="842" y="42"/>
                  <a:pt x="843" y="42"/>
                </a:cubicBezTo>
                <a:cubicBezTo>
                  <a:pt x="844" y="42"/>
                  <a:pt x="845" y="42"/>
                  <a:pt x="845" y="42"/>
                </a:cubicBezTo>
                <a:cubicBezTo>
                  <a:pt x="846" y="42"/>
                  <a:pt x="847" y="42"/>
                  <a:pt x="848" y="42"/>
                </a:cubicBezTo>
                <a:cubicBezTo>
                  <a:pt x="848" y="42"/>
                  <a:pt x="848" y="42"/>
                  <a:pt x="848" y="42"/>
                </a:cubicBezTo>
                <a:cubicBezTo>
                  <a:pt x="848" y="42"/>
                  <a:pt x="848" y="42"/>
                  <a:pt x="848" y="42"/>
                </a:cubicBezTo>
                <a:cubicBezTo>
                  <a:pt x="848" y="43"/>
                  <a:pt x="849" y="42"/>
                  <a:pt x="849" y="43"/>
                </a:cubicBezTo>
                <a:cubicBezTo>
                  <a:pt x="849" y="43"/>
                  <a:pt x="849" y="43"/>
                  <a:pt x="849" y="43"/>
                </a:cubicBezTo>
                <a:cubicBezTo>
                  <a:pt x="849" y="43"/>
                  <a:pt x="849" y="43"/>
                  <a:pt x="849" y="43"/>
                </a:cubicBezTo>
                <a:cubicBezTo>
                  <a:pt x="850" y="43"/>
                  <a:pt x="850" y="43"/>
                  <a:pt x="850" y="43"/>
                </a:cubicBezTo>
                <a:cubicBezTo>
                  <a:pt x="850" y="43"/>
                  <a:pt x="850" y="43"/>
                  <a:pt x="850" y="43"/>
                </a:cubicBezTo>
                <a:cubicBezTo>
                  <a:pt x="851" y="43"/>
                  <a:pt x="851" y="43"/>
                  <a:pt x="851" y="43"/>
                </a:cubicBezTo>
                <a:cubicBezTo>
                  <a:pt x="851" y="43"/>
                  <a:pt x="851" y="43"/>
                  <a:pt x="851" y="43"/>
                </a:cubicBezTo>
                <a:cubicBezTo>
                  <a:pt x="851" y="44"/>
                  <a:pt x="852" y="44"/>
                  <a:pt x="852" y="44"/>
                </a:cubicBezTo>
                <a:cubicBezTo>
                  <a:pt x="852" y="44"/>
                  <a:pt x="852" y="44"/>
                  <a:pt x="852" y="44"/>
                </a:cubicBezTo>
                <a:cubicBezTo>
                  <a:pt x="852" y="44"/>
                  <a:pt x="852" y="44"/>
                  <a:pt x="852" y="44"/>
                </a:cubicBezTo>
                <a:cubicBezTo>
                  <a:pt x="852" y="44"/>
                  <a:pt x="852" y="44"/>
                  <a:pt x="852" y="44"/>
                </a:cubicBezTo>
                <a:cubicBezTo>
                  <a:pt x="853" y="44"/>
                  <a:pt x="853" y="44"/>
                  <a:pt x="853" y="44"/>
                </a:cubicBezTo>
                <a:cubicBezTo>
                  <a:pt x="853" y="44"/>
                  <a:pt x="853" y="44"/>
                  <a:pt x="853" y="44"/>
                </a:cubicBezTo>
                <a:cubicBezTo>
                  <a:pt x="853" y="45"/>
                  <a:pt x="853" y="45"/>
                  <a:pt x="853" y="45"/>
                </a:cubicBezTo>
                <a:cubicBezTo>
                  <a:pt x="853" y="45"/>
                  <a:pt x="853" y="45"/>
                  <a:pt x="853" y="45"/>
                </a:cubicBezTo>
                <a:cubicBezTo>
                  <a:pt x="854" y="45"/>
                  <a:pt x="854" y="45"/>
                  <a:pt x="854" y="45"/>
                </a:cubicBezTo>
                <a:cubicBezTo>
                  <a:pt x="854" y="45"/>
                  <a:pt x="854" y="45"/>
                  <a:pt x="854" y="45"/>
                </a:cubicBezTo>
                <a:cubicBezTo>
                  <a:pt x="854" y="45"/>
                  <a:pt x="854" y="45"/>
                  <a:pt x="854" y="45"/>
                </a:cubicBezTo>
                <a:cubicBezTo>
                  <a:pt x="854" y="45"/>
                  <a:pt x="854" y="45"/>
                  <a:pt x="854" y="45"/>
                </a:cubicBezTo>
                <a:cubicBezTo>
                  <a:pt x="854" y="46"/>
                  <a:pt x="854" y="46"/>
                  <a:pt x="855" y="46"/>
                </a:cubicBezTo>
                <a:cubicBezTo>
                  <a:pt x="855" y="46"/>
                  <a:pt x="855" y="46"/>
                  <a:pt x="855" y="46"/>
                </a:cubicBezTo>
                <a:cubicBezTo>
                  <a:pt x="855" y="46"/>
                  <a:pt x="855" y="46"/>
                  <a:pt x="855" y="46"/>
                </a:cubicBezTo>
                <a:cubicBezTo>
                  <a:pt x="855" y="46"/>
                  <a:pt x="855" y="46"/>
                  <a:pt x="855" y="46"/>
                </a:cubicBezTo>
                <a:cubicBezTo>
                  <a:pt x="855" y="46"/>
                  <a:pt x="855" y="46"/>
                  <a:pt x="855" y="47"/>
                </a:cubicBezTo>
                <a:cubicBezTo>
                  <a:pt x="855" y="47"/>
                  <a:pt x="855" y="47"/>
                  <a:pt x="855" y="47"/>
                </a:cubicBezTo>
                <a:cubicBezTo>
                  <a:pt x="856" y="47"/>
                  <a:pt x="856" y="47"/>
                  <a:pt x="856" y="48"/>
                </a:cubicBezTo>
                <a:cubicBezTo>
                  <a:pt x="856" y="47"/>
                  <a:pt x="856" y="47"/>
                  <a:pt x="856" y="47"/>
                </a:cubicBezTo>
                <a:cubicBezTo>
                  <a:pt x="856" y="48"/>
                  <a:pt x="856" y="48"/>
                  <a:pt x="856" y="48"/>
                </a:cubicBezTo>
                <a:cubicBezTo>
                  <a:pt x="856" y="48"/>
                  <a:pt x="856" y="48"/>
                  <a:pt x="856" y="48"/>
                </a:cubicBezTo>
                <a:cubicBezTo>
                  <a:pt x="857" y="48"/>
                  <a:pt x="856" y="48"/>
                  <a:pt x="857" y="49"/>
                </a:cubicBezTo>
                <a:cubicBezTo>
                  <a:pt x="857" y="49"/>
                  <a:pt x="857" y="49"/>
                  <a:pt x="857" y="49"/>
                </a:cubicBezTo>
                <a:cubicBezTo>
                  <a:pt x="857" y="49"/>
                  <a:pt x="857" y="49"/>
                  <a:pt x="857" y="49"/>
                </a:cubicBezTo>
                <a:cubicBezTo>
                  <a:pt x="857" y="49"/>
                  <a:pt x="857" y="49"/>
                  <a:pt x="857" y="49"/>
                </a:cubicBezTo>
                <a:cubicBezTo>
                  <a:pt x="857" y="49"/>
                  <a:pt x="857" y="50"/>
                  <a:pt x="857" y="50"/>
                </a:cubicBezTo>
                <a:cubicBezTo>
                  <a:pt x="857" y="50"/>
                  <a:pt x="857" y="50"/>
                  <a:pt x="857" y="50"/>
                </a:cubicBezTo>
                <a:cubicBezTo>
                  <a:pt x="858" y="50"/>
                  <a:pt x="857" y="50"/>
                  <a:pt x="858" y="51"/>
                </a:cubicBezTo>
                <a:cubicBezTo>
                  <a:pt x="858" y="51"/>
                  <a:pt x="858" y="51"/>
                  <a:pt x="858" y="51"/>
                </a:cubicBezTo>
                <a:cubicBezTo>
                  <a:pt x="858" y="51"/>
                  <a:pt x="858" y="51"/>
                  <a:pt x="858" y="52"/>
                </a:cubicBezTo>
                <a:cubicBezTo>
                  <a:pt x="858" y="52"/>
                  <a:pt x="858" y="52"/>
                  <a:pt x="858" y="52"/>
                </a:cubicBezTo>
                <a:cubicBezTo>
                  <a:pt x="858" y="52"/>
                  <a:pt x="858" y="53"/>
                  <a:pt x="858" y="53"/>
                </a:cubicBezTo>
                <a:cubicBezTo>
                  <a:pt x="858" y="53"/>
                  <a:pt x="858" y="53"/>
                  <a:pt x="858" y="53"/>
                </a:cubicBezTo>
                <a:cubicBezTo>
                  <a:pt x="859" y="54"/>
                  <a:pt x="858" y="54"/>
                  <a:pt x="859" y="55"/>
                </a:cubicBezTo>
                <a:cubicBezTo>
                  <a:pt x="859" y="55"/>
                  <a:pt x="859" y="55"/>
                  <a:pt x="859" y="55"/>
                </a:cubicBezTo>
                <a:cubicBezTo>
                  <a:pt x="859" y="55"/>
                  <a:pt x="859" y="56"/>
                  <a:pt x="859" y="57"/>
                </a:cubicBezTo>
                <a:cubicBezTo>
                  <a:pt x="859" y="57"/>
                  <a:pt x="859" y="57"/>
                  <a:pt x="859" y="57"/>
                </a:cubicBezTo>
                <a:cubicBezTo>
                  <a:pt x="859" y="58"/>
                  <a:pt x="859" y="59"/>
                  <a:pt x="859" y="60"/>
                </a:cubicBezTo>
                <a:cubicBezTo>
                  <a:pt x="859" y="73"/>
                  <a:pt x="859" y="86"/>
                  <a:pt x="859" y="100"/>
                </a:cubicBezTo>
                <a:cubicBezTo>
                  <a:pt x="859" y="100"/>
                  <a:pt x="859" y="101"/>
                  <a:pt x="859" y="101"/>
                </a:cubicBezTo>
                <a:cubicBezTo>
                  <a:pt x="859" y="101"/>
                  <a:pt x="859" y="101"/>
                  <a:pt x="859" y="101"/>
                </a:cubicBezTo>
                <a:cubicBezTo>
                  <a:pt x="862" y="102"/>
                  <a:pt x="864" y="102"/>
                  <a:pt x="866" y="102"/>
                </a:cubicBezTo>
                <a:cubicBezTo>
                  <a:pt x="867" y="102"/>
                  <a:pt x="869" y="102"/>
                  <a:pt x="870" y="101"/>
                </a:cubicBezTo>
                <a:cubicBezTo>
                  <a:pt x="870" y="101"/>
                  <a:pt x="870" y="101"/>
                  <a:pt x="870" y="101"/>
                </a:cubicBezTo>
                <a:cubicBezTo>
                  <a:pt x="871" y="101"/>
                  <a:pt x="870" y="100"/>
                  <a:pt x="870" y="100"/>
                </a:cubicBezTo>
                <a:cubicBezTo>
                  <a:pt x="870" y="87"/>
                  <a:pt x="870" y="74"/>
                  <a:pt x="870" y="62"/>
                </a:cubicBezTo>
                <a:cubicBezTo>
                  <a:pt x="870" y="61"/>
                  <a:pt x="870" y="61"/>
                  <a:pt x="871" y="60"/>
                </a:cubicBezTo>
                <a:cubicBezTo>
                  <a:pt x="870" y="60"/>
                  <a:pt x="870" y="60"/>
                  <a:pt x="871" y="59"/>
                </a:cubicBezTo>
                <a:cubicBezTo>
                  <a:pt x="871" y="59"/>
                  <a:pt x="871" y="58"/>
                  <a:pt x="871" y="58"/>
                </a:cubicBezTo>
                <a:cubicBezTo>
                  <a:pt x="871" y="57"/>
                  <a:pt x="871" y="57"/>
                  <a:pt x="871" y="57"/>
                </a:cubicBezTo>
                <a:cubicBezTo>
                  <a:pt x="871" y="57"/>
                  <a:pt x="871" y="57"/>
                  <a:pt x="871" y="56"/>
                </a:cubicBezTo>
                <a:cubicBezTo>
                  <a:pt x="871" y="56"/>
                  <a:pt x="871" y="56"/>
                  <a:pt x="871" y="56"/>
                </a:cubicBezTo>
                <a:cubicBezTo>
                  <a:pt x="871" y="56"/>
                  <a:pt x="871" y="55"/>
                  <a:pt x="872" y="55"/>
                </a:cubicBezTo>
                <a:cubicBezTo>
                  <a:pt x="872" y="55"/>
                  <a:pt x="872" y="55"/>
                  <a:pt x="872" y="55"/>
                </a:cubicBezTo>
                <a:cubicBezTo>
                  <a:pt x="872" y="55"/>
                  <a:pt x="872" y="55"/>
                  <a:pt x="872" y="55"/>
                </a:cubicBezTo>
                <a:cubicBezTo>
                  <a:pt x="872" y="55"/>
                  <a:pt x="872" y="54"/>
                  <a:pt x="872" y="54"/>
                </a:cubicBezTo>
                <a:cubicBezTo>
                  <a:pt x="872" y="54"/>
                  <a:pt x="872" y="54"/>
                  <a:pt x="872" y="54"/>
                </a:cubicBezTo>
                <a:cubicBezTo>
                  <a:pt x="872" y="54"/>
                  <a:pt x="872" y="53"/>
                  <a:pt x="872" y="53"/>
                </a:cubicBezTo>
                <a:cubicBezTo>
                  <a:pt x="872" y="53"/>
                  <a:pt x="872" y="53"/>
                  <a:pt x="872" y="53"/>
                </a:cubicBezTo>
                <a:cubicBezTo>
                  <a:pt x="872" y="53"/>
                  <a:pt x="872" y="53"/>
                  <a:pt x="873" y="52"/>
                </a:cubicBezTo>
                <a:cubicBezTo>
                  <a:pt x="873" y="52"/>
                  <a:pt x="873" y="52"/>
                  <a:pt x="873" y="52"/>
                </a:cubicBezTo>
                <a:cubicBezTo>
                  <a:pt x="873" y="52"/>
                  <a:pt x="873" y="52"/>
                  <a:pt x="873" y="52"/>
                </a:cubicBezTo>
                <a:cubicBezTo>
                  <a:pt x="873" y="52"/>
                  <a:pt x="873" y="52"/>
                  <a:pt x="873" y="52"/>
                </a:cubicBezTo>
                <a:cubicBezTo>
                  <a:pt x="873" y="52"/>
                  <a:pt x="873" y="51"/>
                  <a:pt x="873" y="51"/>
                </a:cubicBezTo>
                <a:cubicBezTo>
                  <a:pt x="873" y="51"/>
                  <a:pt x="873" y="51"/>
                  <a:pt x="873" y="51"/>
                </a:cubicBezTo>
                <a:cubicBezTo>
                  <a:pt x="874" y="51"/>
                  <a:pt x="873" y="51"/>
                  <a:pt x="874" y="50"/>
                </a:cubicBezTo>
                <a:cubicBezTo>
                  <a:pt x="874" y="50"/>
                  <a:pt x="874" y="50"/>
                  <a:pt x="874" y="50"/>
                </a:cubicBezTo>
                <a:cubicBezTo>
                  <a:pt x="874" y="50"/>
                  <a:pt x="874" y="50"/>
                  <a:pt x="874" y="50"/>
                </a:cubicBezTo>
                <a:cubicBezTo>
                  <a:pt x="874" y="50"/>
                  <a:pt x="874" y="50"/>
                  <a:pt x="874" y="50"/>
                </a:cubicBezTo>
                <a:cubicBezTo>
                  <a:pt x="874" y="50"/>
                  <a:pt x="874" y="49"/>
                  <a:pt x="874" y="49"/>
                </a:cubicBezTo>
                <a:cubicBezTo>
                  <a:pt x="874" y="49"/>
                  <a:pt x="874" y="49"/>
                  <a:pt x="874" y="49"/>
                </a:cubicBezTo>
                <a:cubicBezTo>
                  <a:pt x="874" y="49"/>
                  <a:pt x="875" y="49"/>
                  <a:pt x="875" y="49"/>
                </a:cubicBezTo>
                <a:cubicBezTo>
                  <a:pt x="875" y="49"/>
                  <a:pt x="875" y="49"/>
                  <a:pt x="875" y="49"/>
                </a:cubicBezTo>
                <a:cubicBezTo>
                  <a:pt x="875" y="49"/>
                  <a:pt x="875" y="48"/>
                  <a:pt x="875" y="48"/>
                </a:cubicBezTo>
                <a:cubicBezTo>
                  <a:pt x="875" y="48"/>
                  <a:pt x="875" y="48"/>
                  <a:pt x="875" y="48"/>
                </a:cubicBezTo>
                <a:cubicBezTo>
                  <a:pt x="875" y="48"/>
                  <a:pt x="875" y="48"/>
                  <a:pt x="875" y="48"/>
                </a:cubicBezTo>
                <a:cubicBezTo>
                  <a:pt x="875" y="48"/>
                  <a:pt x="875" y="48"/>
                  <a:pt x="875" y="48"/>
                </a:cubicBezTo>
                <a:cubicBezTo>
                  <a:pt x="876" y="48"/>
                  <a:pt x="876" y="48"/>
                  <a:pt x="876" y="47"/>
                </a:cubicBezTo>
                <a:cubicBezTo>
                  <a:pt x="876" y="48"/>
                  <a:pt x="876" y="48"/>
                  <a:pt x="876" y="48"/>
                </a:cubicBezTo>
                <a:cubicBezTo>
                  <a:pt x="876" y="47"/>
                  <a:pt x="876" y="47"/>
                  <a:pt x="876" y="47"/>
                </a:cubicBezTo>
                <a:cubicBezTo>
                  <a:pt x="876" y="47"/>
                  <a:pt x="876" y="47"/>
                  <a:pt x="876" y="47"/>
                </a:cubicBezTo>
                <a:cubicBezTo>
                  <a:pt x="877" y="47"/>
                  <a:pt x="877" y="46"/>
                  <a:pt x="878" y="45"/>
                </a:cubicBezTo>
                <a:cubicBezTo>
                  <a:pt x="878" y="45"/>
                  <a:pt x="878" y="45"/>
                  <a:pt x="878" y="45"/>
                </a:cubicBezTo>
                <a:cubicBezTo>
                  <a:pt x="878" y="45"/>
                  <a:pt x="878" y="45"/>
                  <a:pt x="878" y="45"/>
                </a:cubicBezTo>
                <a:cubicBezTo>
                  <a:pt x="878" y="45"/>
                  <a:pt x="878" y="45"/>
                  <a:pt x="878" y="45"/>
                </a:cubicBezTo>
                <a:cubicBezTo>
                  <a:pt x="878" y="45"/>
                  <a:pt x="878" y="45"/>
                  <a:pt x="879" y="45"/>
                </a:cubicBezTo>
                <a:cubicBezTo>
                  <a:pt x="879" y="45"/>
                  <a:pt x="879" y="45"/>
                  <a:pt x="879" y="45"/>
                </a:cubicBezTo>
                <a:cubicBezTo>
                  <a:pt x="879" y="45"/>
                  <a:pt x="879" y="44"/>
                  <a:pt x="880" y="44"/>
                </a:cubicBezTo>
                <a:cubicBezTo>
                  <a:pt x="880" y="44"/>
                  <a:pt x="880" y="44"/>
                  <a:pt x="880" y="44"/>
                </a:cubicBezTo>
                <a:cubicBezTo>
                  <a:pt x="880" y="44"/>
                  <a:pt x="880" y="44"/>
                  <a:pt x="880" y="44"/>
                </a:cubicBezTo>
                <a:cubicBezTo>
                  <a:pt x="880" y="44"/>
                  <a:pt x="880" y="44"/>
                  <a:pt x="880" y="44"/>
                </a:cubicBezTo>
                <a:cubicBezTo>
                  <a:pt x="880" y="44"/>
                  <a:pt x="881" y="44"/>
                  <a:pt x="881" y="43"/>
                </a:cubicBezTo>
                <a:cubicBezTo>
                  <a:pt x="881" y="43"/>
                  <a:pt x="881" y="43"/>
                  <a:pt x="881" y="43"/>
                </a:cubicBezTo>
                <a:cubicBezTo>
                  <a:pt x="881" y="43"/>
                  <a:pt x="881" y="43"/>
                  <a:pt x="881" y="43"/>
                </a:cubicBezTo>
                <a:cubicBezTo>
                  <a:pt x="881" y="43"/>
                  <a:pt x="881" y="43"/>
                  <a:pt x="882" y="43"/>
                </a:cubicBezTo>
                <a:cubicBezTo>
                  <a:pt x="882" y="43"/>
                  <a:pt x="882" y="43"/>
                  <a:pt x="882" y="43"/>
                </a:cubicBezTo>
                <a:cubicBezTo>
                  <a:pt x="882" y="43"/>
                  <a:pt x="882" y="43"/>
                  <a:pt x="882" y="43"/>
                </a:cubicBezTo>
                <a:cubicBezTo>
                  <a:pt x="882" y="43"/>
                  <a:pt x="882" y="43"/>
                  <a:pt x="882" y="43"/>
                </a:cubicBezTo>
                <a:cubicBezTo>
                  <a:pt x="883" y="43"/>
                  <a:pt x="883" y="43"/>
                  <a:pt x="883" y="43"/>
                </a:cubicBezTo>
                <a:cubicBezTo>
                  <a:pt x="883" y="43"/>
                  <a:pt x="883" y="43"/>
                  <a:pt x="883" y="42"/>
                </a:cubicBezTo>
                <a:cubicBezTo>
                  <a:pt x="884" y="42"/>
                  <a:pt x="884" y="42"/>
                  <a:pt x="884" y="42"/>
                </a:cubicBezTo>
                <a:cubicBezTo>
                  <a:pt x="884" y="42"/>
                  <a:pt x="884" y="42"/>
                  <a:pt x="884" y="42"/>
                </a:cubicBezTo>
                <a:cubicBezTo>
                  <a:pt x="884" y="42"/>
                  <a:pt x="885" y="42"/>
                  <a:pt x="886" y="42"/>
                </a:cubicBezTo>
                <a:cubicBezTo>
                  <a:pt x="887" y="42"/>
                  <a:pt x="887" y="42"/>
                  <a:pt x="888" y="42"/>
                </a:cubicBezTo>
                <a:cubicBezTo>
                  <a:pt x="889" y="42"/>
                  <a:pt x="890" y="42"/>
                  <a:pt x="890" y="42"/>
                </a:cubicBezTo>
                <a:cubicBezTo>
                  <a:pt x="891" y="42"/>
                  <a:pt x="891" y="42"/>
                  <a:pt x="891" y="42"/>
                </a:cubicBezTo>
                <a:cubicBezTo>
                  <a:pt x="891" y="42"/>
                  <a:pt x="891" y="42"/>
                  <a:pt x="891" y="42"/>
                </a:cubicBezTo>
                <a:cubicBezTo>
                  <a:pt x="891" y="43"/>
                  <a:pt x="892" y="42"/>
                  <a:pt x="892" y="43"/>
                </a:cubicBezTo>
                <a:cubicBezTo>
                  <a:pt x="892" y="43"/>
                  <a:pt x="892" y="43"/>
                  <a:pt x="892" y="43"/>
                </a:cubicBezTo>
                <a:cubicBezTo>
                  <a:pt x="892" y="43"/>
                  <a:pt x="892" y="43"/>
                  <a:pt x="892" y="43"/>
                </a:cubicBezTo>
                <a:cubicBezTo>
                  <a:pt x="892" y="43"/>
                  <a:pt x="893" y="43"/>
                  <a:pt x="893" y="43"/>
                </a:cubicBezTo>
                <a:cubicBezTo>
                  <a:pt x="893" y="43"/>
                  <a:pt x="893" y="43"/>
                  <a:pt x="893" y="43"/>
                </a:cubicBezTo>
                <a:cubicBezTo>
                  <a:pt x="893" y="43"/>
                  <a:pt x="894" y="43"/>
                  <a:pt x="894" y="43"/>
                </a:cubicBezTo>
                <a:cubicBezTo>
                  <a:pt x="894" y="43"/>
                  <a:pt x="894" y="43"/>
                  <a:pt x="894" y="43"/>
                </a:cubicBezTo>
                <a:cubicBezTo>
                  <a:pt x="894" y="44"/>
                  <a:pt x="894" y="44"/>
                  <a:pt x="895" y="44"/>
                </a:cubicBezTo>
                <a:cubicBezTo>
                  <a:pt x="895" y="44"/>
                  <a:pt x="895" y="44"/>
                  <a:pt x="895" y="44"/>
                </a:cubicBezTo>
                <a:cubicBezTo>
                  <a:pt x="895" y="44"/>
                  <a:pt x="895" y="44"/>
                  <a:pt x="895" y="44"/>
                </a:cubicBezTo>
                <a:cubicBezTo>
                  <a:pt x="895" y="44"/>
                  <a:pt x="895" y="44"/>
                  <a:pt x="895" y="44"/>
                </a:cubicBezTo>
                <a:cubicBezTo>
                  <a:pt x="895" y="44"/>
                  <a:pt x="896" y="44"/>
                  <a:pt x="896" y="44"/>
                </a:cubicBezTo>
                <a:cubicBezTo>
                  <a:pt x="896" y="44"/>
                  <a:pt x="896" y="44"/>
                  <a:pt x="896" y="44"/>
                </a:cubicBezTo>
                <a:cubicBezTo>
                  <a:pt x="896" y="45"/>
                  <a:pt x="896" y="45"/>
                  <a:pt x="896" y="45"/>
                </a:cubicBezTo>
                <a:cubicBezTo>
                  <a:pt x="896" y="45"/>
                  <a:pt x="896" y="45"/>
                  <a:pt x="896" y="45"/>
                </a:cubicBezTo>
                <a:cubicBezTo>
                  <a:pt x="896" y="45"/>
                  <a:pt x="897" y="45"/>
                  <a:pt x="897" y="45"/>
                </a:cubicBezTo>
                <a:cubicBezTo>
                  <a:pt x="897" y="45"/>
                  <a:pt x="897" y="45"/>
                  <a:pt x="897" y="45"/>
                </a:cubicBezTo>
                <a:cubicBezTo>
                  <a:pt x="897" y="45"/>
                  <a:pt x="897" y="45"/>
                  <a:pt x="897" y="45"/>
                </a:cubicBezTo>
                <a:cubicBezTo>
                  <a:pt x="897" y="45"/>
                  <a:pt x="897" y="45"/>
                  <a:pt x="897" y="45"/>
                </a:cubicBezTo>
                <a:cubicBezTo>
                  <a:pt x="897" y="46"/>
                  <a:pt x="897" y="46"/>
                  <a:pt x="897" y="46"/>
                </a:cubicBezTo>
                <a:cubicBezTo>
                  <a:pt x="897" y="46"/>
                  <a:pt x="897" y="46"/>
                  <a:pt x="897" y="46"/>
                </a:cubicBezTo>
                <a:cubicBezTo>
                  <a:pt x="897" y="46"/>
                  <a:pt x="898" y="46"/>
                  <a:pt x="898" y="46"/>
                </a:cubicBezTo>
                <a:cubicBezTo>
                  <a:pt x="898" y="46"/>
                  <a:pt x="898" y="46"/>
                  <a:pt x="898" y="46"/>
                </a:cubicBezTo>
                <a:cubicBezTo>
                  <a:pt x="898" y="46"/>
                  <a:pt x="898" y="47"/>
                  <a:pt x="898" y="47"/>
                </a:cubicBezTo>
                <a:cubicBezTo>
                  <a:pt x="898" y="47"/>
                  <a:pt x="898" y="47"/>
                  <a:pt x="898" y="47"/>
                </a:cubicBezTo>
                <a:cubicBezTo>
                  <a:pt x="898" y="47"/>
                  <a:pt x="898" y="47"/>
                  <a:pt x="898" y="47"/>
                </a:cubicBezTo>
                <a:cubicBezTo>
                  <a:pt x="898" y="47"/>
                  <a:pt x="898" y="47"/>
                  <a:pt x="898" y="47"/>
                </a:cubicBezTo>
                <a:cubicBezTo>
                  <a:pt x="899" y="47"/>
                  <a:pt x="899" y="48"/>
                  <a:pt x="899" y="48"/>
                </a:cubicBezTo>
                <a:cubicBezTo>
                  <a:pt x="899" y="48"/>
                  <a:pt x="899" y="48"/>
                  <a:pt x="899" y="48"/>
                </a:cubicBezTo>
                <a:cubicBezTo>
                  <a:pt x="899" y="48"/>
                  <a:pt x="899" y="48"/>
                  <a:pt x="899" y="48"/>
                </a:cubicBezTo>
                <a:cubicBezTo>
                  <a:pt x="899" y="48"/>
                  <a:pt x="899" y="48"/>
                  <a:pt x="899" y="48"/>
                </a:cubicBezTo>
                <a:cubicBezTo>
                  <a:pt x="899" y="48"/>
                  <a:pt x="899" y="48"/>
                  <a:pt x="899" y="48"/>
                </a:cubicBezTo>
                <a:cubicBezTo>
                  <a:pt x="899" y="49"/>
                  <a:pt x="899" y="49"/>
                  <a:pt x="899" y="49"/>
                </a:cubicBezTo>
                <a:cubicBezTo>
                  <a:pt x="900" y="49"/>
                  <a:pt x="900" y="49"/>
                  <a:pt x="899" y="49"/>
                </a:cubicBezTo>
                <a:cubicBezTo>
                  <a:pt x="900" y="49"/>
                  <a:pt x="900" y="50"/>
                  <a:pt x="900" y="50"/>
                </a:cubicBezTo>
                <a:cubicBezTo>
                  <a:pt x="900" y="50"/>
                  <a:pt x="900" y="50"/>
                  <a:pt x="900" y="50"/>
                </a:cubicBezTo>
                <a:cubicBezTo>
                  <a:pt x="900" y="50"/>
                  <a:pt x="900" y="51"/>
                  <a:pt x="900" y="51"/>
                </a:cubicBezTo>
                <a:cubicBezTo>
                  <a:pt x="900" y="51"/>
                  <a:pt x="900" y="51"/>
                  <a:pt x="900" y="51"/>
                </a:cubicBezTo>
                <a:cubicBezTo>
                  <a:pt x="900" y="51"/>
                  <a:pt x="900" y="52"/>
                  <a:pt x="900" y="52"/>
                </a:cubicBezTo>
                <a:cubicBezTo>
                  <a:pt x="901" y="52"/>
                  <a:pt x="901" y="52"/>
                  <a:pt x="901" y="52"/>
                </a:cubicBezTo>
                <a:cubicBezTo>
                  <a:pt x="901" y="53"/>
                  <a:pt x="901" y="53"/>
                  <a:pt x="901" y="53"/>
                </a:cubicBezTo>
                <a:cubicBezTo>
                  <a:pt x="901" y="54"/>
                  <a:pt x="901" y="54"/>
                  <a:pt x="901" y="54"/>
                </a:cubicBezTo>
                <a:cubicBezTo>
                  <a:pt x="901" y="54"/>
                  <a:pt x="901" y="55"/>
                  <a:pt x="901" y="56"/>
                </a:cubicBezTo>
                <a:cubicBezTo>
                  <a:pt x="901" y="56"/>
                  <a:pt x="901" y="56"/>
                  <a:pt x="901" y="56"/>
                </a:cubicBezTo>
                <a:cubicBezTo>
                  <a:pt x="902" y="57"/>
                  <a:pt x="901" y="58"/>
                  <a:pt x="902" y="59"/>
                </a:cubicBezTo>
                <a:cubicBezTo>
                  <a:pt x="902" y="60"/>
                  <a:pt x="902" y="60"/>
                  <a:pt x="902" y="61"/>
                </a:cubicBezTo>
                <a:cubicBezTo>
                  <a:pt x="902" y="62"/>
                  <a:pt x="902" y="62"/>
                  <a:pt x="902" y="63"/>
                </a:cubicBezTo>
                <a:cubicBezTo>
                  <a:pt x="902" y="75"/>
                  <a:pt x="902" y="87"/>
                  <a:pt x="902" y="99"/>
                </a:cubicBezTo>
                <a:cubicBezTo>
                  <a:pt x="902" y="102"/>
                  <a:pt x="901" y="102"/>
                  <a:pt x="904" y="102"/>
                </a:cubicBezTo>
                <a:cubicBezTo>
                  <a:pt x="906" y="102"/>
                  <a:pt x="908" y="102"/>
                  <a:pt x="911" y="102"/>
                </a:cubicBezTo>
                <a:cubicBezTo>
                  <a:pt x="912" y="102"/>
                  <a:pt x="912" y="102"/>
                  <a:pt x="912" y="100"/>
                </a:cubicBezTo>
                <a:cubicBezTo>
                  <a:pt x="912" y="85"/>
                  <a:pt x="912" y="71"/>
                  <a:pt x="912" y="56"/>
                </a:cubicBezTo>
                <a:cubicBezTo>
                  <a:pt x="912" y="56"/>
                  <a:pt x="913" y="55"/>
                  <a:pt x="912" y="55"/>
                </a:cubicBezTo>
                <a:cubicBezTo>
                  <a:pt x="912" y="54"/>
                  <a:pt x="912" y="54"/>
                  <a:pt x="912" y="54"/>
                </a:cubicBezTo>
                <a:cubicBezTo>
                  <a:pt x="912" y="53"/>
                  <a:pt x="912" y="52"/>
                  <a:pt x="912" y="52"/>
                </a:cubicBezTo>
                <a:cubicBezTo>
                  <a:pt x="912" y="52"/>
                  <a:pt x="912" y="51"/>
                  <a:pt x="912" y="51"/>
                </a:cubicBezTo>
                <a:cubicBezTo>
                  <a:pt x="912" y="51"/>
                  <a:pt x="912" y="50"/>
                  <a:pt x="912" y="50"/>
                </a:cubicBezTo>
                <a:cubicBezTo>
                  <a:pt x="912" y="50"/>
                  <a:pt x="912" y="50"/>
                  <a:pt x="912" y="50"/>
                </a:cubicBezTo>
                <a:cubicBezTo>
                  <a:pt x="912" y="49"/>
                  <a:pt x="912" y="49"/>
                  <a:pt x="912" y="49"/>
                </a:cubicBezTo>
                <a:cubicBezTo>
                  <a:pt x="911" y="49"/>
                  <a:pt x="912" y="49"/>
                  <a:pt x="911" y="48"/>
                </a:cubicBezTo>
                <a:cubicBezTo>
                  <a:pt x="911" y="48"/>
                  <a:pt x="911" y="48"/>
                  <a:pt x="911" y="48"/>
                </a:cubicBezTo>
                <a:cubicBezTo>
                  <a:pt x="911" y="48"/>
                  <a:pt x="911" y="48"/>
                  <a:pt x="911" y="48"/>
                </a:cubicBezTo>
                <a:cubicBezTo>
                  <a:pt x="911" y="48"/>
                  <a:pt x="911" y="47"/>
                  <a:pt x="911" y="47"/>
                </a:cubicBezTo>
                <a:cubicBezTo>
                  <a:pt x="911" y="47"/>
                  <a:pt x="911" y="47"/>
                  <a:pt x="911" y="47"/>
                </a:cubicBezTo>
                <a:cubicBezTo>
                  <a:pt x="911" y="47"/>
                  <a:pt x="911" y="46"/>
                  <a:pt x="911" y="46"/>
                </a:cubicBezTo>
                <a:cubicBezTo>
                  <a:pt x="911" y="46"/>
                  <a:pt x="911" y="46"/>
                  <a:pt x="911" y="46"/>
                </a:cubicBezTo>
                <a:cubicBezTo>
                  <a:pt x="910" y="46"/>
                  <a:pt x="910" y="45"/>
                  <a:pt x="910" y="45"/>
                </a:cubicBezTo>
                <a:cubicBezTo>
                  <a:pt x="910" y="45"/>
                  <a:pt x="910" y="45"/>
                  <a:pt x="910" y="45"/>
                </a:cubicBezTo>
                <a:cubicBezTo>
                  <a:pt x="910" y="45"/>
                  <a:pt x="910" y="44"/>
                  <a:pt x="910" y="44"/>
                </a:cubicBezTo>
                <a:cubicBezTo>
                  <a:pt x="910" y="44"/>
                  <a:pt x="910" y="44"/>
                  <a:pt x="910" y="44"/>
                </a:cubicBezTo>
                <a:cubicBezTo>
                  <a:pt x="910" y="44"/>
                  <a:pt x="910" y="44"/>
                  <a:pt x="910" y="43"/>
                </a:cubicBezTo>
                <a:cubicBezTo>
                  <a:pt x="910" y="43"/>
                  <a:pt x="910" y="43"/>
                  <a:pt x="910" y="43"/>
                </a:cubicBezTo>
                <a:cubicBezTo>
                  <a:pt x="909" y="43"/>
                  <a:pt x="909" y="43"/>
                  <a:pt x="909" y="43"/>
                </a:cubicBezTo>
                <a:cubicBezTo>
                  <a:pt x="909" y="43"/>
                  <a:pt x="909" y="43"/>
                  <a:pt x="909" y="43"/>
                </a:cubicBezTo>
                <a:cubicBezTo>
                  <a:pt x="909" y="43"/>
                  <a:pt x="909" y="42"/>
                  <a:pt x="909" y="42"/>
                </a:cubicBezTo>
                <a:cubicBezTo>
                  <a:pt x="909" y="42"/>
                  <a:pt x="909" y="42"/>
                  <a:pt x="909" y="42"/>
                </a:cubicBezTo>
                <a:cubicBezTo>
                  <a:pt x="909" y="42"/>
                  <a:pt x="909" y="41"/>
                  <a:pt x="908" y="41"/>
                </a:cubicBezTo>
                <a:cubicBezTo>
                  <a:pt x="908" y="41"/>
                  <a:pt x="908" y="41"/>
                  <a:pt x="908" y="41"/>
                </a:cubicBezTo>
                <a:cubicBezTo>
                  <a:pt x="908" y="41"/>
                  <a:pt x="908" y="41"/>
                  <a:pt x="908" y="41"/>
                </a:cubicBezTo>
                <a:cubicBezTo>
                  <a:pt x="908" y="41"/>
                  <a:pt x="908" y="41"/>
                  <a:pt x="908" y="41"/>
                </a:cubicBezTo>
                <a:cubicBezTo>
                  <a:pt x="908" y="41"/>
                  <a:pt x="908" y="40"/>
                  <a:pt x="908" y="40"/>
                </a:cubicBezTo>
                <a:cubicBezTo>
                  <a:pt x="908" y="40"/>
                  <a:pt x="908" y="40"/>
                  <a:pt x="908" y="40"/>
                </a:cubicBezTo>
                <a:cubicBezTo>
                  <a:pt x="908" y="40"/>
                  <a:pt x="908" y="40"/>
                  <a:pt x="907" y="40"/>
                </a:cubicBezTo>
                <a:cubicBezTo>
                  <a:pt x="907" y="40"/>
                  <a:pt x="907" y="40"/>
                  <a:pt x="907" y="40"/>
                </a:cubicBezTo>
                <a:cubicBezTo>
                  <a:pt x="907" y="40"/>
                  <a:pt x="907" y="40"/>
                  <a:pt x="907" y="40"/>
                </a:cubicBezTo>
                <a:cubicBezTo>
                  <a:pt x="907" y="40"/>
                  <a:pt x="907" y="40"/>
                  <a:pt x="907" y="40"/>
                </a:cubicBezTo>
                <a:cubicBezTo>
                  <a:pt x="907" y="39"/>
                  <a:pt x="907" y="39"/>
                  <a:pt x="906" y="39"/>
                </a:cubicBezTo>
                <a:cubicBezTo>
                  <a:pt x="906" y="39"/>
                  <a:pt x="906" y="39"/>
                  <a:pt x="906" y="39"/>
                </a:cubicBezTo>
                <a:cubicBezTo>
                  <a:pt x="906" y="38"/>
                  <a:pt x="906" y="38"/>
                  <a:pt x="906" y="38"/>
                </a:cubicBezTo>
                <a:cubicBezTo>
                  <a:pt x="906" y="38"/>
                  <a:pt x="906" y="38"/>
                  <a:pt x="906" y="38"/>
                </a:cubicBezTo>
                <a:cubicBezTo>
                  <a:pt x="906" y="38"/>
                  <a:pt x="906" y="38"/>
                  <a:pt x="906" y="38"/>
                </a:cubicBezTo>
                <a:cubicBezTo>
                  <a:pt x="906" y="38"/>
                  <a:pt x="906" y="38"/>
                  <a:pt x="906" y="38"/>
                </a:cubicBezTo>
                <a:cubicBezTo>
                  <a:pt x="906" y="38"/>
                  <a:pt x="905" y="38"/>
                  <a:pt x="905" y="38"/>
                </a:cubicBezTo>
                <a:cubicBezTo>
                  <a:pt x="905" y="38"/>
                  <a:pt x="905" y="38"/>
                  <a:pt x="905" y="38"/>
                </a:cubicBezTo>
                <a:cubicBezTo>
                  <a:pt x="905" y="37"/>
                  <a:pt x="905" y="37"/>
                  <a:pt x="904" y="37"/>
                </a:cubicBezTo>
                <a:cubicBezTo>
                  <a:pt x="904" y="37"/>
                  <a:pt x="904" y="37"/>
                  <a:pt x="904" y="37"/>
                </a:cubicBezTo>
                <a:cubicBezTo>
                  <a:pt x="904" y="37"/>
                  <a:pt x="904" y="37"/>
                  <a:pt x="904" y="36"/>
                </a:cubicBezTo>
                <a:cubicBezTo>
                  <a:pt x="904" y="36"/>
                  <a:pt x="904" y="36"/>
                  <a:pt x="904" y="36"/>
                </a:cubicBezTo>
                <a:cubicBezTo>
                  <a:pt x="904" y="36"/>
                  <a:pt x="904" y="36"/>
                  <a:pt x="904" y="36"/>
                </a:cubicBezTo>
                <a:cubicBezTo>
                  <a:pt x="904" y="36"/>
                  <a:pt x="904" y="36"/>
                  <a:pt x="904" y="36"/>
                </a:cubicBezTo>
                <a:cubicBezTo>
                  <a:pt x="903" y="36"/>
                  <a:pt x="903" y="36"/>
                  <a:pt x="903" y="36"/>
                </a:cubicBezTo>
                <a:cubicBezTo>
                  <a:pt x="903" y="36"/>
                  <a:pt x="903" y="36"/>
                  <a:pt x="903" y="36"/>
                </a:cubicBezTo>
                <a:cubicBezTo>
                  <a:pt x="903" y="36"/>
                  <a:pt x="903" y="35"/>
                  <a:pt x="902" y="35"/>
                </a:cubicBezTo>
                <a:cubicBezTo>
                  <a:pt x="902" y="35"/>
                  <a:pt x="902" y="35"/>
                  <a:pt x="902" y="35"/>
                </a:cubicBezTo>
                <a:cubicBezTo>
                  <a:pt x="902" y="35"/>
                  <a:pt x="902" y="35"/>
                  <a:pt x="902" y="35"/>
                </a:cubicBezTo>
                <a:cubicBezTo>
                  <a:pt x="902" y="35"/>
                  <a:pt x="902" y="35"/>
                  <a:pt x="902" y="35"/>
                </a:cubicBezTo>
                <a:cubicBezTo>
                  <a:pt x="902" y="35"/>
                  <a:pt x="902" y="35"/>
                  <a:pt x="902" y="35"/>
                </a:cubicBezTo>
                <a:cubicBezTo>
                  <a:pt x="902" y="35"/>
                  <a:pt x="901" y="35"/>
                  <a:pt x="901" y="35"/>
                </a:cubicBezTo>
                <a:cubicBezTo>
                  <a:pt x="901" y="35"/>
                  <a:pt x="901" y="35"/>
                  <a:pt x="901" y="35"/>
                </a:cubicBezTo>
                <a:cubicBezTo>
                  <a:pt x="901" y="34"/>
                  <a:pt x="901" y="34"/>
                  <a:pt x="900" y="34"/>
                </a:cubicBezTo>
                <a:cubicBezTo>
                  <a:pt x="900" y="34"/>
                  <a:pt x="900" y="34"/>
                  <a:pt x="900" y="34"/>
                </a:cubicBezTo>
                <a:cubicBezTo>
                  <a:pt x="900" y="34"/>
                  <a:pt x="900" y="34"/>
                  <a:pt x="900" y="34"/>
                </a:cubicBezTo>
                <a:cubicBezTo>
                  <a:pt x="900" y="34"/>
                  <a:pt x="900" y="34"/>
                  <a:pt x="899" y="34"/>
                </a:cubicBezTo>
                <a:cubicBezTo>
                  <a:pt x="899" y="34"/>
                  <a:pt x="899" y="34"/>
                  <a:pt x="899" y="34"/>
                </a:cubicBezTo>
                <a:cubicBezTo>
                  <a:pt x="899" y="34"/>
                  <a:pt x="899" y="34"/>
                  <a:pt x="898" y="34"/>
                </a:cubicBezTo>
                <a:cubicBezTo>
                  <a:pt x="898" y="34"/>
                  <a:pt x="898" y="34"/>
                  <a:pt x="898" y="34"/>
                </a:cubicBezTo>
                <a:cubicBezTo>
                  <a:pt x="898" y="33"/>
                  <a:pt x="898" y="34"/>
                  <a:pt x="897" y="33"/>
                </a:cubicBezTo>
                <a:cubicBezTo>
                  <a:pt x="897" y="33"/>
                  <a:pt x="897" y="33"/>
                  <a:pt x="897" y="33"/>
                </a:cubicBezTo>
                <a:cubicBezTo>
                  <a:pt x="897" y="33"/>
                  <a:pt x="897" y="33"/>
                  <a:pt x="897" y="33"/>
                </a:cubicBezTo>
                <a:cubicBezTo>
                  <a:pt x="897" y="33"/>
                  <a:pt x="896" y="33"/>
                  <a:pt x="896" y="33"/>
                </a:cubicBezTo>
                <a:cubicBezTo>
                  <a:pt x="895" y="33"/>
                  <a:pt x="895" y="33"/>
                  <a:pt x="895" y="33"/>
                </a:cubicBezTo>
                <a:cubicBezTo>
                  <a:pt x="894" y="33"/>
                  <a:pt x="894" y="33"/>
                  <a:pt x="893" y="33"/>
                </a:cubicBezTo>
                <a:cubicBezTo>
                  <a:pt x="891" y="33"/>
                  <a:pt x="890" y="33"/>
                  <a:pt x="888" y="33"/>
                </a:cubicBezTo>
                <a:cubicBezTo>
                  <a:pt x="887" y="33"/>
                  <a:pt x="886" y="33"/>
                  <a:pt x="886" y="33"/>
                </a:cubicBezTo>
                <a:cubicBezTo>
                  <a:pt x="885" y="33"/>
                  <a:pt x="885" y="33"/>
                  <a:pt x="885" y="33"/>
                </a:cubicBezTo>
                <a:cubicBezTo>
                  <a:pt x="885" y="33"/>
                  <a:pt x="885" y="33"/>
                  <a:pt x="885" y="33"/>
                </a:cubicBezTo>
                <a:cubicBezTo>
                  <a:pt x="885" y="33"/>
                  <a:pt x="884" y="33"/>
                  <a:pt x="884" y="33"/>
                </a:cubicBezTo>
                <a:cubicBezTo>
                  <a:pt x="884" y="33"/>
                  <a:pt x="884" y="33"/>
                  <a:pt x="884" y="33"/>
                </a:cubicBezTo>
                <a:cubicBezTo>
                  <a:pt x="884" y="34"/>
                  <a:pt x="883" y="33"/>
                  <a:pt x="883" y="34"/>
                </a:cubicBezTo>
                <a:cubicBezTo>
                  <a:pt x="883" y="34"/>
                  <a:pt x="883" y="34"/>
                  <a:pt x="882" y="34"/>
                </a:cubicBezTo>
                <a:cubicBezTo>
                  <a:pt x="882" y="34"/>
                  <a:pt x="882" y="34"/>
                  <a:pt x="882" y="34"/>
                </a:cubicBezTo>
                <a:cubicBezTo>
                  <a:pt x="882" y="34"/>
                  <a:pt x="882" y="34"/>
                  <a:pt x="881" y="34"/>
                </a:cubicBezTo>
                <a:cubicBezTo>
                  <a:pt x="881" y="34"/>
                  <a:pt x="881" y="34"/>
                  <a:pt x="881" y="34"/>
                </a:cubicBezTo>
                <a:cubicBezTo>
                  <a:pt x="881" y="34"/>
                  <a:pt x="881" y="34"/>
                  <a:pt x="881" y="34"/>
                </a:cubicBezTo>
                <a:cubicBezTo>
                  <a:pt x="880" y="35"/>
                  <a:pt x="880" y="34"/>
                  <a:pt x="880" y="35"/>
                </a:cubicBezTo>
                <a:cubicBezTo>
                  <a:pt x="880" y="35"/>
                  <a:pt x="880" y="35"/>
                  <a:pt x="880" y="35"/>
                </a:cubicBezTo>
                <a:cubicBezTo>
                  <a:pt x="879" y="35"/>
                  <a:pt x="879" y="35"/>
                  <a:pt x="879" y="35"/>
                </a:cubicBezTo>
                <a:cubicBezTo>
                  <a:pt x="879" y="35"/>
                  <a:pt x="879" y="35"/>
                  <a:pt x="879" y="35"/>
                </a:cubicBezTo>
                <a:cubicBezTo>
                  <a:pt x="879" y="35"/>
                  <a:pt x="879" y="35"/>
                  <a:pt x="879" y="35"/>
                </a:cubicBezTo>
                <a:cubicBezTo>
                  <a:pt x="878" y="35"/>
                  <a:pt x="878" y="35"/>
                  <a:pt x="878" y="35"/>
                </a:cubicBezTo>
                <a:cubicBezTo>
                  <a:pt x="878" y="35"/>
                  <a:pt x="878" y="35"/>
                  <a:pt x="878" y="35"/>
                </a:cubicBezTo>
                <a:cubicBezTo>
                  <a:pt x="878" y="35"/>
                  <a:pt x="878" y="36"/>
                  <a:pt x="878" y="36"/>
                </a:cubicBezTo>
                <a:cubicBezTo>
                  <a:pt x="878" y="36"/>
                  <a:pt x="878" y="36"/>
                  <a:pt x="878" y="36"/>
                </a:cubicBezTo>
                <a:cubicBezTo>
                  <a:pt x="878" y="36"/>
                  <a:pt x="877" y="36"/>
                  <a:pt x="877" y="36"/>
                </a:cubicBezTo>
                <a:cubicBezTo>
                  <a:pt x="877" y="36"/>
                  <a:pt x="877" y="36"/>
                  <a:pt x="877" y="36"/>
                </a:cubicBezTo>
                <a:cubicBezTo>
                  <a:pt x="877" y="36"/>
                  <a:pt x="876" y="36"/>
                  <a:pt x="876" y="37"/>
                </a:cubicBezTo>
                <a:cubicBezTo>
                  <a:pt x="876" y="37"/>
                  <a:pt x="876" y="37"/>
                  <a:pt x="876" y="37"/>
                </a:cubicBezTo>
                <a:cubicBezTo>
                  <a:pt x="876" y="37"/>
                  <a:pt x="876" y="37"/>
                  <a:pt x="876" y="37"/>
                </a:cubicBezTo>
                <a:cubicBezTo>
                  <a:pt x="876" y="37"/>
                  <a:pt x="876" y="37"/>
                  <a:pt x="876" y="37"/>
                </a:cubicBezTo>
                <a:cubicBezTo>
                  <a:pt x="876" y="37"/>
                  <a:pt x="875" y="37"/>
                  <a:pt x="875" y="38"/>
                </a:cubicBezTo>
                <a:cubicBezTo>
                  <a:pt x="875" y="38"/>
                  <a:pt x="875" y="38"/>
                  <a:pt x="875" y="38"/>
                </a:cubicBezTo>
                <a:cubicBezTo>
                  <a:pt x="875" y="38"/>
                  <a:pt x="875" y="38"/>
                  <a:pt x="875" y="38"/>
                </a:cubicBezTo>
                <a:cubicBezTo>
                  <a:pt x="875" y="38"/>
                  <a:pt x="875" y="38"/>
                  <a:pt x="875" y="38"/>
                </a:cubicBezTo>
                <a:cubicBezTo>
                  <a:pt x="875" y="38"/>
                  <a:pt x="874" y="38"/>
                  <a:pt x="874" y="38"/>
                </a:cubicBezTo>
                <a:cubicBezTo>
                  <a:pt x="874" y="38"/>
                  <a:pt x="874" y="38"/>
                  <a:pt x="874" y="38"/>
                </a:cubicBezTo>
                <a:cubicBezTo>
                  <a:pt x="874" y="38"/>
                  <a:pt x="874" y="38"/>
                  <a:pt x="874" y="39"/>
                </a:cubicBezTo>
                <a:cubicBezTo>
                  <a:pt x="874" y="39"/>
                  <a:pt x="874" y="39"/>
                  <a:pt x="874" y="39"/>
                </a:cubicBezTo>
                <a:cubicBezTo>
                  <a:pt x="874" y="39"/>
                  <a:pt x="874" y="39"/>
                  <a:pt x="874" y="39"/>
                </a:cubicBezTo>
                <a:cubicBezTo>
                  <a:pt x="874" y="39"/>
                  <a:pt x="874" y="39"/>
                  <a:pt x="874" y="39"/>
                </a:cubicBezTo>
                <a:cubicBezTo>
                  <a:pt x="874" y="39"/>
                  <a:pt x="873" y="39"/>
                  <a:pt x="873" y="39"/>
                </a:cubicBezTo>
                <a:cubicBezTo>
                  <a:pt x="873" y="39"/>
                  <a:pt x="873" y="39"/>
                  <a:pt x="873" y="39"/>
                </a:cubicBezTo>
                <a:cubicBezTo>
                  <a:pt x="873" y="39"/>
                  <a:pt x="873" y="39"/>
                  <a:pt x="873" y="40"/>
                </a:cubicBezTo>
                <a:cubicBezTo>
                  <a:pt x="873" y="40"/>
                  <a:pt x="873" y="40"/>
                  <a:pt x="873" y="40"/>
                </a:cubicBezTo>
                <a:cubicBezTo>
                  <a:pt x="873" y="40"/>
                  <a:pt x="873" y="40"/>
                  <a:pt x="873" y="40"/>
                </a:cubicBezTo>
                <a:cubicBezTo>
                  <a:pt x="873" y="40"/>
                  <a:pt x="873" y="40"/>
                  <a:pt x="873" y="40"/>
                </a:cubicBezTo>
                <a:cubicBezTo>
                  <a:pt x="873" y="40"/>
                  <a:pt x="872" y="40"/>
                  <a:pt x="872" y="40"/>
                </a:cubicBezTo>
                <a:cubicBezTo>
                  <a:pt x="872" y="40"/>
                  <a:pt x="872" y="40"/>
                  <a:pt x="872" y="40"/>
                </a:cubicBezTo>
                <a:cubicBezTo>
                  <a:pt x="872" y="40"/>
                  <a:pt x="872" y="40"/>
                  <a:pt x="872" y="41"/>
                </a:cubicBezTo>
                <a:cubicBezTo>
                  <a:pt x="872" y="41"/>
                  <a:pt x="872" y="41"/>
                  <a:pt x="872" y="41"/>
                </a:cubicBezTo>
                <a:cubicBezTo>
                  <a:pt x="872" y="41"/>
                  <a:pt x="872" y="41"/>
                  <a:pt x="872" y="41"/>
                </a:cubicBezTo>
                <a:cubicBezTo>
                  <a:pt x="872" y="41"/>
                  <a:pt x="872" y="41"/>
                  <a:pt x="872" y="41"/>
                </a:cubicBezTo>
                <a:cubicBezTo>
                  <a:pt x="871" y="41"/>
                  <a:pt x="871" y="41"/>
                  <a:pt x="871" y="41"/>
                </a:cubicBezTo>
                <a:cubicBezTo>
                  <a:pt x="871" y="41"/>
                  <a:pt x="871" y="41"/>
                  <a:pt x="871" y="41"/>
                </a:cubicBezTo>
                <a:cubicBezTo>
                  <a:pt x="871" y="41"/>
                  <a:pt x="871" y="42"/>
                  <a:pt x="871" y="42"/>
                </a:cubicBezTo>
                <a:cubicBezTo>
                  <a:pt x="871" y="42"/>
                  <a:pt x="871" y="42"/>
                  <a:pt x="871" y="42"/>
                </a:cubicBezTo>
                <a:cubicBezTo>
                  <a:pt x="871" y="42"/>
                  <a:pt x="871" y="42"/>
                  <a:pt x="871" y="42"/>
                </a:cubicBezTo>
                <a:cubicBezTo>
                  <a:pt x="871" y="42"/>
                  <a:pt x="871" y="42"/>
                  <a:pt x="871" y="42"/>
                </a:cubicBezTo>
                <a:cubicBezTo>
                  <a:pt x="870" y="42"/>
                  <a:pt x="870" y="43"/>
                  <a:pt x="870" y="43"/>
                </a:cubicBezTo>
                <a:cubicBezTo>
                  <a:pt x="870" y="43"/>
                  <a:pt x="870" y="43"/>
                  <a:pt x="870" y="43"/>
                </a:cubicBezTo>
                <a:cubicBezTo>
                  <a:pt x="870" y="43"/>
                  <a:pt x="870" y="43"/>
                  <a:pt x="870" y="43"/>
                </a:cubicBezTo>
                <a:cubicBezTo>
                  <a:pt x="870" y="43"/>
                  <a:pt x="870" y="43"/>
                  <a:pt x="870" y="43"/>
                </a:cubicBezTo>
                <a:cubicBezTo>
                  <a:pt x="870" y="44"/>
                  <a:pt x="870" y="44"/>
                  <a:pt x="870" y="44"/>
                </a:cubicBezTo>
                <a:cubicBezTo>
                  <a:pt x="870" y="44"/>
                  <a:pt x="870" y="44"/>
                  <a:pt x="870" y="44"/>
                </a:cubicBezTo>
                <a:cubicBezTo>
                  <a:pt x="869" y="44"/>
                  <a:pt x="869" y="44"/>
                  <a:pt x="869" y="44"/>
                </a:cubicBezTo>
                <a:cubicBezTo>
                  <a:pt x="869" y="44"/>
                  <a:pt x="869" y="44"/>
                  <a:pt x="869" y="44"/>
                </a:cubicBezTo>
                <a:cubicBezTo>
                  <a:pt x="869" y="45"/>
                  <a:pt x="869" y="45"/>
                  <a:pt x="869" y="45"/>
                </a:cubicBezTo>
                <a:cubicBezTo>
                  <a:pt x="869" y="45"/>
                  <a:pt x="869" y="45"/>
                  <a:pt x="869" y="45"/>
                </a:cubicBezTo>
                <a:cubicBezTo>
                  <a:pt x="869" y="45"/>
                  <a:pt x="869" y="45"/>
                  <a:pt x="869" y="46"/>
                </a:cubicBezTo>
                <a:cubicBezTo>
                  <a:pt x="869" y="46"/>
                  <a:pt x="869" y="46"/>
                  <a:pt x="869" y="46"/>
                </a:cubicBezTo>
                <a:cubicBezTo>
                  <a:pt x="868" y="46"/>
                  <a:pt x="868" y="46"/>
                  <a:pt x="868" y="45"/>
                </a:cubicBezTo>
                <a:cubicBezTo>
                  <a:pt x="868" y="45"/>
                  <a:pt x="868" y="45"/>
                  <a:pt x="868" y="45"/>
                </a:cubicBezTo>
                <a:cubicBezTo>
                  <a:pt x="868" y="45"/>
                  <a:pt x="868" y="45"/>
                  <a:pt x="868" y="45"/>
                </a:cubicBezTo>
                <a:cubicBezTo>
                  <a:pt x="868" y="45"/>
                  <a:pt x="868" y="45"/>
                  <a:pt x="867" y="44"/>
                </a:cubicBezTo>
                <a:cubicBezTo>
                  <a:pt x="867" y="44"/>
                  <a:pt x="867" y="44"/>
                  <a:pt x="867" y="44"/>
                </a:cubicBezTo>
                <a:cubicBezTo>
                  <a:pt x="867" y="44"/>
                  <a:pt x="867" y="44"/>
                  <a:pt x="867" y="44"/>
                </a:cubicBezTo>
                <a:cubicBezTo>
                  <a:pt x="867" y="44"/>
                  <a:pt x="867" y="44"/>
                  <a:pt x="867" y="44"/>
                </a:cubicBezTo>
                <a:cubicBezTo>
                  <a:pt x="867" y="44"/>
                  <a:pt x="867" y="43"/>
                  <a:pt x="867" y="43"/>
                </a:cubicBezTo>
                <a:cubicBezTo>
                  <a:pt x="867" y="43"/>
                  <a:pt x="867" y="43"/>
                  <a:pt x="867" y="43"/>
                </a:cubicBezTo>
                <a:cubicBezTo>
                  <a:pt x="867" y="43"/>
                  <a:pt x="867" y="43"/>
                  <a:pt x="866" y="42"/>
                </a:cubicBezTo>
                <a:cubicBezTo>
                  <a:pt x="866" y="42"/>
                  <a:pt x="866" y="42"/>
                  <a:pt x="866" y="42"/>
                </a:cubicBezTo>
                <a:cubicBezTo>
                  <a:pt x="866" y="42"/>
                  <a:pt x="866" y="42"/>
                  <a:pt x="866" y="42"/>
                </a:cubicBezTo>
                <a:cubicBezTo>
                  <a:pt x="866" y="42"/>
                  <a:pt x="866" y="42"/>
                  <a:pt x="866" y="42"/>
                </a:cubicBezTo>
                <a:cubicBezTo>
                  <a:pt x="866" y="42"/>
                  <a:pt x="866" y="41"/>
                  <a:pt x="866" y="41"/>
                </a:cubicBezTo>
                <a:cubicBezTo>
                  <a:pt x="866" y="41"/>
                  <a:pt x="866" y="41"/>
                  <a:pt x="866" y="41"/>
                </a:cubicBezTo>
                <a:cubicBezTo>
                  <a:pt x="865" y="41"/>
                  <a:pt x="866" y="41"/>
                  <a:pt x="865" y="41"/>
                </a:cubicBezTo>
                <a:cubicBezTo>
                  <a:pt x="865" y="41"/>
                  <a:pt x="865" y="41"/>
                  <a:pt x="865" y="41"/>
                </a:cubicBezTo>
                <a:cubicBezTo>
                  <a:pt x="865" y="40"/>
                  <a:pt x="865" y="40"/>
                  <a:pt x="865" y="40"/>
                </a:cubicBezTo>
                <a:cubicBezTo>
                  <a:pt x="865" y="40"/>
                  <a:pt x="865" y="40"/>
                  <a:pt x="865" y="40"/>
                </a:cubicBezTo>
                <a:cubicBezTo>
                  <a:pt x="865" y="40"/>
                  <a:pt x="865"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3" y="38"/>
                  <a:pt x="863" y="38"/>
                  <a:pt x="863" y="38"/>
                </a:cubicBezTo>
                <a:cubicBezTo>
                  <a:pt x="863" y="38"/>
                  <a:pt x="863" y="38"/>
                  <a:pt x="863" y="38"/>
                </a:cubicBezTo>
                <a:cubicBezTo>
                  <a:pt x="863" y="38"/>
                  <a:pt x="863" y="38"/>
                  <a:pt x="863" y="38"/>
                </a:cubicBezTo>
                <a:cubicBezTo>
                  <a:pt x="863" y="38"/>
                  <a:pt x="863" y="38"/>
                  <a:pt x="863" y="38"/>
                </a:cubicBezTo>
                <a:cubicBezTo>
                  <a:pt x="863" y="38"/>
                  <a:pt x="863" y="38"/>
                  <a:pt x="862" y="38"/>
                </a:cubicBezTo>
                <a:cubicBezTo>
                  <a:pt x="862" y="38"/>
                  <a:pt x="862" y="38"/>
                  <a:pt x="862" y="38"/>
                </a:cubicBezTo>
                <a:cubicBezTo>
                  <a:pt x="862" y="37"/>
                  <a:pt x="862" y="37"/>
                  <a:pt x="862" y="37"/>
                </a:cubicBezTo>
                <a:cubicBezTo>
                  <a:pt x="862" y="37"/>
                  <a:pt x="862" y="37"/>
                  <a:pt x="862" y="37"/>
                </a:cubicBezTo>
                <a:cubicBezTo>
                  <a:pt x="862" y="37"/>
                  <a:pt x="862" y="37"/>
                  <a:pt x="862" y="37"/>
                </a:cubicBezTo>
                <a:cubicBezTo>
                  <a:pt x="862" y="37"/>
                  <a:pt x="862" y="37"/>
                  <a:pt x="862" y="37"/>
                </a:cubicBezTo>
                <a:cubicBezTo>
                  <a:pt x="861" y="37"/>
                  <a:pt x="861" y="37"/>
                  <a:pt x="861" y="36"/>
                </a:cubicBezTo>
                <a:cubicBezTo>
                  <a:pt x="861" y="36"/>
                  <a:pt x="861" y="36"/>
                  <a:pt x="861" y="36"/>
                </a:cubicBezTo>
                <a:cubicBezTo>
                  <a:pt x="861" y="36"/>
                  <a:pt x="861" y="36"/>
                  <a:pt x="861" y="36"/>
                </a:cubicBezTo>
                <a:cubicBezTo>
                  <a:pt x="861" y="36"/>
                  <a:pt x="861" y="36"/>
                  <a:pt x="861" y="36"/>
                </a:cubicBezTo>
                <a:cubicBezTo>
                  <a:pt x="861" y="36"/>
                  <a:pt x="860" y="36"/>
                  <a:pt x="860" y="36"/>
                </a:cubicBezTo>
                <a:cubicBezTo>
                  <a:pt x="860" y="36"/>
                  <a:pt x="860" y="36"/>
                  <a:pt x="860" y="36"/>
                </a:cubicBezTo>
                <a:cubicBezTo>
                  <a:pt x="860" y="36"/>
                  <a:pt x="860" y="36"/>
                  <a:pt x="859" y="35"/>
                </a:cubicBezTo>
                <a:cubicBezTo>
                  <a:pt x="859" y="35"/>
                  <a:pt x="859" y="35"/>
                  <a:pt x="859" y="35"/>
                </a:cubicBezTo>
                <a:cubicBezTo>
                  <a:pt x="859" y="35"/>
                  <a:pt x="859" y="35"/>
                  <a:pt x="859" y="35"/>
                </a:cubicBezTo>
                <a:cubicBezTo>
                  <a:pt x="859" y="35"/>
                  <a:pt x="859" y="35"/>
                  <a:pt x="859" y="35"/>
                </a:cubicBezTo>
                <a:cubicBezTo>
                  <a:pt x="859" y="35"/>
                  <a:pt x="859" y="35"/>
                  <a:pt x="858" y="35"/>
                </a:cubicBezTo>
                <a:cubicBezTo>
                  <a:pt x="858" y="35"/>
                  <a:pt x="858" y="35"/>
                  <a:pt x="858" y="35"/>
                </a:cubicBezTo>
                <a:cubicBezTo>
                  <a:pt x="858" y="34"/>
                  <a:pt x="858" y="35"/>
                  <a:pt x="858" y="34"/>
                </a:cubicBezTo>
                <a:cubicBezTo>
                  <a:pt x="858" y="34"/>
                  <a:pt x="858" y="34"/>
                  <a:pt x="858" y="34"/>
                </a:cubicBezTo>
                <a:cubicBezTo>
                  <a:pt x="857" y="34"/>
                  <a:pt x="857" y="34"/>
                  <a:pt x="857" y="34"/>
                </a:cubicBezTo>
                <a:cubicBezTo>
                  <a:pt x="857" y="34"/>
                  <a:pt x="857" y="34"/>
                  <a:pt x="857" y="34"/>
                </a:cubicBezTo>
                <a:cubicBezTo>
                  <a:pt x="857" y="34"/>
                  <a:pt x="857" y="34"/>
                  <a:pt x="857" y="34"/>
                </a:cubicBezTo>
                <a:cubicBezTo>
                  <a:pt x="856" y="34"/>
                  <a:pt x="856" y="34"/>
                  <a:pt x="856" y="34"/>
                </a:cubicBezTo>
                <a:cubicBezTo>
                  <a:pt x="856" y="34"/>
                  <a:pt x="856" y="34"/>
                  <a:pt x="856" y="34"/>
                </a:cubicBezTo>
                <a:cubicBezTo>
                  <a:pt x="855" y="33"/>
                  <a:pt x="855" y="33"/>
                  <a:pt x="855" y="33"/>
                </a:cubicBezTo>
                <a:cubicBezTo>
                  <a:pt x="855" y="33"/>
                  <a:pt x="855" y="33"/>
                  <a:pt x="855" y="33"/>
                </a:cubicBezTo>
                <a:cubicBezTo>
                  <a:pt x="855" y="33"/>
                  <a:pt x="855" y="33"/>
                  <a:pt x="855" y="33"/>
                </a:cubicBezTo>
                <a:cubicBezTo>
                  <a:pt x="854" y="33"/>
                  <a:pt x="854" y="33"/>
                  <a:pt x="853" y="33"/>
                </a:cubicBezTo>
                <a:cubicBezTo>
                  <a:pt x="853" y="33"/>
                  <a:pt x="853" y="33"/>
                  <a:pt x="853" y="33"/>
                </a:cubicBezTo>
                <a:cubicBezTo>
                  <a:pt x="853" y="33"/>
                  <a:pt x="853" y="33"/>
                  <a:pt x="853" y="33"/>
                </a:cubicBezTo>
                <a:cubicBezTo>
                  <a:pt x="852" y="33"/>
                  <a:pt x="852" y="33"/>
                  <a:pt x="851" y="33"/>
                </a:cubicBezTo>
                <a:cubicBezTo>
                  <a:pt x="850" y="33"/>
                  <a:pt x="848" y="33"/>
                  <a:pt x="847" y="33"/>
                </a:cubicBezTo>
                <a:cubicBezTo>
                  <a:pt x="846" y="33"/>
                  <a:pt x="845" y="33"/>
                  <a:pt x="844" y="33"/>
                </a:cubicBezTo>
                <a:cubicBezTo>
                  <a:pt x="844" y="33"/>
                  <a:pt x="844" y="33"/>
                  <a:pt x="844" y="33"/>
                </a:cubicBezTo>
                <a:cubicBezTo>
                  <a:pt x="844" y="33"/>
                  <a:pt x="843" y="33"/>
                  <a:pt x="843" y="33"/>
                </a:cubicBezTo>
                <a:cubicBezTo>
                  <a:pt x="843" y="33"/>
                  <a:pt x="843" y="33"/>
                  <a:pt x="842" y="33"/>
                </a:cubicBezTo>
                <a:cubicBezTo>
                  <a:pt x="842" y="34"/>
                  <a:pt x="842" y="33"/>
                  <a:pt x="841" y="34"/>
                </a:cubicBezTo>
                <a:cubicBezTo>
                  <a:pt x="841" y="34"/>
                  <a:pt x="841" y="34"/>
                  <a:pt x="841" y="34"/>
                </a:cubicBezTo>
                <a:cubicBezTo>
                  <a:pt x="841" y="34"/>
                  <a:pt x="841" y="34"/>
                  <a:pt x="840" y="34"/>
                </a:cubicBezTo>
                <a:cubicBezTo>
                  <a:pt x="840" y="34"/>
                  <a:pt x="840" y="34"/>
                  <a:pt x="840" y="34"/>
                </a:cubicBezTo>
                <a:cubicBezTo>
                  <a:pt x="840" y="34"/>
                  <a:pt x="840" y="34"/>
                  <a:pt x="840" y="34"/>
                </a:cubicBezTo>
                <a:cubicBezTo>
                  <a:pt x="839" y="34"/>
                  <a:pt x="839" y="34"/>
                  <a:pt x="839" y="34"/>
                </a:cubicBezTo>
                <a:cubicBezTo>
                  <a:pt x="839" y="34"/>
                  <a:pt x="839" y="34"/>
                  <a:pt x="839" y="34"/>
                </a:cubicBezTo>
                <a:cubicBezTo>
                  <a:pt x="839" y="34"/>
                  <a:pt x="839" y="34"/>
                  <a:pt x="839" y="35"/>
                </a:cubicBezTo>
                <a:cubicBezTo>
                  <a:pt x="839" y="35"/>
                  <a:pt x="839" y="35"/>
                  <a:pt x="839" y="35"/>
                </a:cubicBezTo>
                <a:cubicBezTo>
                  <a:pt x="838" y="35"/>
                  <a:pt x="838" y="35"/>
                  <a:pt x="838" y="35"/>
                </a:cubicBezTo>
                <a:cubicBezTo>
                  <a:pt x="838" y="35"/>
                  <a:pt x="838" y="35"/>
                  <a:pt x="838" y="35"/>
                </a:cubicBezTo>
                <a:cubicBezTo>
                  <a:pt x="838" y="35"/>
                  <a:pt x="837" y="35"/>
                  <a:pt x="837" y="35"/>
                </a:cubicBezTo>
                <a:cubicBezTo>
                  <a:pt x="837" y="35"/>
                  <a:pt x="837" y="35"/>
                  <a:pt x="837" y="35"/>
                </a:cubicBezTo>
                <a:cubicBezTo>
                  <a:pt x="837" y="35"/>
                  <a:pt x="837" y="36"/>
                  <a:pt x="837" y="36"/>
                </a:cubicBezTo>
                <a:cubicBezTo>
                  <a:pt x="837" y="36"/>
                  <a:pt x="837" y="36"/>
                  <a:pt x="837" y="36"/>
                </a:cubicBezTo>
                <a:cubicBezTo>
                  <a:pt x="837" y="36"/>
                  <a:pt x="836" y="36"/>
                  <a:pt x="836" y="36"/>
                </a:cubicBezTo>
                <a:cubicBezTo>
                  <a:pt x="836" y="36"/>
                  <a:pt x="836" y="36"/>
                  <a:pt x="836" y="36"/>
                </a:cubicBezTo>
                <a:cubicBezTo>
                  <a:pt x="836" y="36"/>
                  <a:pt x="835" y="36"/>
                  <a:pt x="835" y="37"/>
                </a:cubicBezTo>
                <a:cubicBezTo>
                  <a:pt x="835" y="37"/>
                  <a:pt x="835" y="37"/>
                  <a:pt x="835" y="37"/>
                </a:cubicBezTo>
                <a:cubicBezTo>
                  <a:pt x="835" y="37"/>
                  <a:pt x="835" y="37"/>
                  <a:pt x="835" y="37"/>
                </a:cubicBezTo>
                <a:cubicBezTo>
                  <a:pt x="835" y="37"/>
                  <a:pt x="835" y="37"/>
                  <a:pt x="835" y="37"/>
                </a:cubicBezTo>
                <a:cubicBezTo>
                  <a:pt x="834" y="37"/>
                  <a:pt x="834" y="37"/>
                  <a:pt x="834" y="38"/>
                </a:cubicBezTo>
                <a:cubicBezTo>
                  <a:pt x="834" y="38"/>
                  <a:pt x="834" y="38"/>
                  <a:pt x="834" y="38"/>
                </a:cubicBezTo>
                <a:cubicBezTo>
                  <a:pt x="834" y="38"/>
                  <a:pt x="833" y="38"/>
                  <a:pt x="833" y="38"/>
                </a:cubicBezTo>
                <a:cubicBezTo>
                  <a:pt x="833" y="38"/>
                  <a:pt x="833" y="38"/>
                  <a:pt x="833" y="38"/>
                </a:cubicBezTo>
                <a:cubicBezTo>
                  <a:pt x="833" y="38"/>
                  <a:pt x="833" y="38"/>
                  <a:pt x="833" y="39"/>
                </a:cubicBezTo>
                <a:cubicBezTo>
                  <a:pt x="833" y="39"/>
                  <a:pt x="833" y="39"/>
                  <a:pt x="833" y="39"/>
                </a:cubicBezTo>
                <a:cubicBezTo>
                  <a:pt x="833" y="39"/>
                  <a:pt x="833" y="39"/>
                  <a:pt x="833" y="39"/>
                </a:cubicBezTo>
                <a:cubicBezTo>
                  <a:pt x="833" y="39"/>
                  <a:pt x="833" y="39"/>
                  <a:pt x="833" y="39"/>
                </a:cubicBezTo>
                <a:cubicBezTo>
                  <a:pt x="832" y="39"/>
                  <a:pt x="832" y="39"/>
                  <a:pt x="832" y="39"/>
                </a:cubicBezTo>
                <a:cubicBezTo>
                  <a:pt x="832" y="39"/>
                  <a:pt x="832" y="39"/>
                  <a:pt x="832" y="39"/>
                </a:cubicBezTo>
                <a:cubicBezTo>
                  <a:pt x="832" y="39"/>
                  <a:pt x="832" y="39"/>
                  <a:pt x="832" y="40"/>
                </a:cubicBezTo>
                <a:cubicBezTo>
                  <a:pt x="832" y="40"/>
                  <a:pt x="832" y="40"/>
                  <a:pt x="832" y="40"/>
                </a:cubicBezTo>
                <a:cubicBezTo>
                  <a:pt x="832" y="40"/>
                  <a:pt x="832" y="40"/>
                  <a:pt x="832" y="40"/>
                </a:cubicBezTo>
                <a:cubicBezTo>
                  <a:pt x="832" y="40"/>
                  <a:pt x="832" y="40"/>
                  <a:pt x="832" y="40"/>
                </a:cubicBezTo>
                <a:cubicBezTo>
                  <a:pt x="831" y="40"/>
                  <a:pt x="831" y="40"/>
                  <a:pt x="831" y="40"/>
                </a:cubicBezTo>
                <a:cubicBezTo>
                  <a:pt x="831" y="40"/>
                  <a:pt x="831" y="40"/>
                  <a:pt x="831" y="40"/>
                </a:cubicBezTo>
                <a:cubicBezTo>
                  <a:pt x="831" y="41"/>
                  <a:pt x="831" y="41"/>
                  <a:pt x="831" y="41"/>
                </a:cubicBezTo>
                <a:cubicBezTo>
                  <a:pt x="831" y="41"/>
                  <a:pt x="831" y="41"/>
                  <a:pt x="831" y="41"/>
                </a:cubicBezTo>
                <a:cubicBezTo>
                  <a:pt x="830" y="41"/>
                  <a:pt x="830" y="42"/>
                  <a:pt x="830" y="42"/>
                </a:cubicBezTo>
                <a:cubicBezTo>
                  <a:pt x="830" y="42"/>
                  <a:pt x="830" y="42"/>
                  <a:pt x="830" y="42"/>
                </a:cubicBezTo>
                <a:cubicBezTo>
                  <a:pt x="830" y="42"/>
                  <a:pt x="830" y="42"/>
                  <a:pt x="830" y="42"/>
                </a:cubicBezTo>
                <a:cubicBezTo>
                  <a:pt x="830" y="42"/>
                  <a:pt x="830" y="42"/>
                  <a:pt x="830" y="42"/>
                </a:cubicBezTo>
                <a:cubicBezTo>
                  <a:pt x="830" y="42"/>
                  <a:pt x="830" y="43"/>
                  <a:pt x="829" y="43"/>
                </a:cubicBezTo>
                <a:cubicBezTo>
                  <a:pt x="829" y="43"/>
                  <a:pt x="829" y="43"/>
                  <a:pt x="829" y="43"/>
                </a:cubicBezTo>
                <a:cubicBezTo>
                  <a:pt x="829" y="43"/>
                  <a:pt x="829" y="43"/>
                  <a:pt x="829" y="43"/>
                </a:cubicBezTo>
                <a:cubicBezTo>
                  <a:pt x="829" y="43"/>
                  <a:pt x="829" y="43"/>
                  <a:pt x="829" y="43"/>
                </a:cubicBezTo>
                <a:cubicBezTo>
                  <a:pt x="829" y="43"/>
                  <a:pt x="829" y="44"/>
                  <a:pt x="829" y="44"/>
                </a:cubicBezTo>
                <a:cubicBezTo>
                  <a:pt x="829" y="44"/>
                  <a:pt x="829" y="44"/>
                  <a:pt x="829" y="44"/>
                </a:cubicBezTo>
                <a:cubicBezTo>
                  <a:pt x="829" y="44"/>
                  <a:pt x="829" y="44"/>
                  <a:pt x="828" y="44"/>
                </a:cubicBezTo>
                <a:cubicBezTo>
                  <a:pt x="828" y="44"/>
                  <a:pt x="828" y="44"/>
                  <a:pt x="828" y="44"/>
                </a:cubicBezTo>
                <a:cubicBezTo>
                  <a:pt x="828" y="44"/>
                  <a:pt x="828" y="43"/>
                  <a:pt x="828" y="43"/>
                </a:cubicBezTo>
                <a:cubicBezTo>
                  <a:pt x="828" y="40"/>
                  <a:pt x="828" y="38"/>
                  <a:pt x="828" y="36"/>
                </a:cubicBezTo>
                <a:cubicBezTo>
                  <a:pt x="828" y="34"/>
                  <a:pt x="827" y="34"/>
                  <a:pt x="826" y="34"/>
                </a:cubicBezTo>
                <a:cubicBezTo>
                  <a:pt x="824" y="34"/>
                  <a:pt x="821" y="34"/>
                  <a:pt x="819" y="34"/>
                </a:cubicBezTo>
                <a:cubicBezTo>
                  <a:pt x="817" y="34"/>
                  <a:pt x="817" y="34"/>
                  <a:pt x="817" y="36"/>
                </a:cubicBezTo>
                <a:cubicBezTo>
                  <a:pt x="817" y="50"/>
                  <a:pt x="817" y="63"/>
                  <a:pt x="817" y="77"/>
                </a:cubicBezTo>
                <a:cubicBezTo>
                  <a:pt x="817" y="85"/>
                  <a:pt x="817" y="92"/>
                  <a:pt x="817" y="100"/>
                </a:cubicBezTo>
                <a:cubicBezTo>
                  <a:pt x="817" y="101"/>
                  <a:pt x="817" y="102"/>
                  <a:pt x="819" y="102"/>
                </a:cubicBezTo>
                <a:cubicBezTo>
                  <a:pt x="821" y="102"/>
                  <a:pt x="824" y="102"/>
                  <a:pt x="826" y="102"/>
                </a:cubicBezTo>
                <a:cubicBezTo>
                  <a:pt x="828" y="102"/>
                  <a:pt x="828" y="102"/>
                  <a:pt x="828" y="100"/>
                </a:cubicBezTo>
                <a:cubicBezTo>
                  <a:pt x="828" y="88"/>
                  <a:pt x="828" y="76"/>
                  <a:pt x="828" y="65"/>
                </a:cubicBezTo>
                <a:cubicBezTo>
                  <a:pt x="828" y="64"/>
                  <a:pt x="828" y="63"/>
                  <a:pt x="828" y="63"/>
                </a:cubicBezTo>
                <a:cubicBezTo>
                  <a:pt x="828" y="62"/>
                  <a:pt x="828" y="61"/>
                  <a:pt x="828" y="61"/>
                </a:cubicBezTo>
                <a:cubicBezTo>
                  <a:pt x="828" y="60"/>
                  <a:pt x="828" y="59"/>
                  <a:pt x="828" y="58"/>
                </a:cubicBezTo>
                <a:cubicBezTo>
                  <a:pt x="828" y="58"/>
                  <a:pt x="828" y="58"/>
                  <a:pt x="828" y="58"/>
                </a:cubicBezTo>
                <a:cubicBezTo>
                  <a:pt x="828" y="58"/>
                  <a:pt x="828" y="58"/>
                  <a:pt x="828" y="58"/>
                </a:cubicBezTo>
                <a:cubicBezTo>
                  <a:pt x="829" y="58"/>
                  <a:pt x="828" y="57"/>
                  <a:pt x="829" y="56"/>
                </a:cubicBezTo>
                <a:cubicBezTo>
                  <a:pt x="829" y="56"/>
                  <a:pt x="829" y="56"/>
                  <a:pt x="829" y="56"/>
                </a:cubicBezTo>
                <a:cubicBezTo>
                  <a:pt x="829" y="56"/>
                  <a:pt x="829" y="56"/>
                  <a:pt x="829" y="56"/>
                </a:cubicBezTo>
                <a:cubicBezTo>
                  <a:pt x="829" y="56"/>
                  <a:pt x="829" y="55"/>
                  <a:pt x="829" y="55"/>
                </a:cubicBezTo>
                <a:cubicBezTo>
                  <a:pt x="829" y="55"/>
                  <a:pt x="829" y="55"/>
                  <a:pt x="829" y="55"/>
                </a:cubicBezTo>
                <a:cubicBezTo>
                  <a:pt x="829" y="55"/>
                  <a:pt x="829" y="55"/>
                  <a:pt x="829" y="55"/>
                </a:cubicBezTo>
                <a:cubicBezTo>
                  <a:pt x="829" y="55"/>
                  <a:pt x="829" y="54"/>
                  <a:pt x="829" y="54"/>
                </a:cubicBezTo>
                <a:cubicBezTo>
                  <a:pt x="829" y="54"/>
                  <a:pt x="829" y="54"/>
                  <a:pt x="829" y="54"/>
                </a:cubicBezTo>
                <a:cubicBezTo>
                  <a:pt x="830" y="54"/>
                  <a:pt x="829" y="53"/>
                  <a:pt x="830" y="53"/>
                </a:cubicBezTo>
                <a:cubicBezTo>
                  <a:pt x="830" y="53"/>
                  <a:pt x="830" y="53"/>
                  <a:pt x="830" y="53"/>
                </a:cubicBezTo>
                <a:cubicBezTo>
                  <a:pt x="830" y="53"/>
                  <a:pt x="830" y="52"/>
                  <a:pt x="830" y="52"/>
                </a:cubicBezTo>
                <a:cubicBezTo>
                  <a:pt x="830" y="52"/>
                  <a:pt x="830" y="52"/>
                  <a:pt x="830" y="52"/>
                </a:cubicBezTo>
                <a:cubicBezTo>
                  <a:pt x="830" y="52"/>
                  <a:pt x="830" y="52"/>
                  <a:pt x="830" y="51"/>
                </a:cubicBezTo>
                <a:cubicBezTo>
                  <a:pt x="830" y="51"/>
                  <a:pt x="830" y="51"/>
                  <a:pt x="830" y="51"/>
                </a:cubicBezTo>
                <a:cubicBezTo>
                  <a:pt x="831" y="51"/>
                  <a:pt x="831" y="51"/>
                  <a:pt x="831" y="51"/>
                </a:cubicBezTo>
                <a:cubicBezTo>
                  <a:pt x="831" y="51"/>
                  <a:pt x="831" y="51"/>
                  <a:pt x="831" y="51"/>
                </a:cubicBezTo>
                <a:cubicBezTo>
                  <a:pt x="831" y="51"/>
                  <a:pt x="831" y="50"/>
                  <a:pt x="831" y="50"/>
                </a:cubicBezTo>
                <a:cubicBezTo>
                  <a:pt x="831" y="50"/>
                  <a:pt x="831" y="50"/>
                  <a:pt x="831" y="50"/>
                </a:cubicBezTo>
                <a:cubicBezTo>
                  <a:pt x="831" y="50"/>
                  <a:pt x="831" y="49"/>
                  <a:pt x="832" y="49"/>
                </a:cubicBezTo>
                <a:cubicBezTo>
                  <a:pt x="832" y="49"/>
                  <a:pt x="832" y="49"/>
                  <a:pt x="832" y="49"/>
                </a:cubicBezTo>
                <a:cubicBezTo>
                  <a:pt x="832" y="49"/>
                  <a:pt x="832" y="49"/>
                  <a:pt x="832" y="49"/>
                </a:cubicBezTo>
                <a:cubicBezTo>
                  <a:pt x="832" y="49"/>
                  <a:pt x="832" y="49"/>
                  <a:pt x="832" y="49"/>
                </a:cubicBezTo>
                <a:cubicBezTo>
                  <a:pt x="832" y="49"/>
                  <a:pt x="832" y="48"/>
                  <a:pt x="832" y="48"/>
                </a:cubicBezTo>
                <a:cubicBezTo>
                  <a:pt x="832" y="48"/>
                  <a:pt x="832" y="48"/>
                  <a:pt x="832" y="48"/>
                </a:cubicBezTo>
                <a:cubicBezTo>
                  <a:pt x="832" y="48"/>
                  <a:pt x="833" y="48"/>
                  <a:pt x="833" y="48"/>
                </a:cubicBezTo>
                <a:cubicBezTo>
                  <a:pt x="833" y="48"/>
                  <a:pt x="833" y="48"/>
                  <a:pt x="833" y="48"/>
                </a:cubicBezTo>
                <a:cubicBezTo>
                  <a:pt x="833" y="48"/>
                  <a:pt x="833" y="48"/>
                  <a:pt x="833" y="47"/>
                </a:cubicBezTo>
                <a:cubicBezTo>
                  <a:pt x="833" y="48"/>
                  <a:pt x="833" y="48"/>
                  <a:pt x="833" y="48"/>
                </a:cubicBezTo>
                <a:cubicBezTo>
                  <a:pt x="833" y="47"/>
                  <a:pt x="833" y="47"/>
                  <a:pt x="833" y="47"/>
                </a:cubicBezTo>
                <a:cubicBezTo>
                  <a:pt x="833" y="47"/>
                  <a:pt x="833" y="47"/>
                  <a:pt x="833" y="47"/>
                </a:cubicBezTo>
                <a:cubicBezTo>
                  <a:pt x="834" y="47"/>
                  <a:pt x="834" y="46"/>
                  <a:pt x="835" y="45"/>
                </a:cubicBezTo>
                <a:cubicBezTo>
                  <a:pt x="835" y="45"/>
                  <a:pt x="835" y="45"/>
                  <a:pt x="835" y="45"/>
                </a:cubicBezTo>
                <a:cubicBezTo>
                  <a:pt x="835" y="45"/>
                  <a:pt x="835" y="45"/>
                  <a:pt x="835" y="45"/>
                </a:cubicBezTo>
                <a:cubicBezTo>
                  <a:pt x="835" y="45"/>
                  <a:pt x="835" y="45"/>
                  <a:pt x="835" y="45"/>
                </a:cubicBezTo>
                <a:cubicBezTo>
                  <a:pt x="836" y="45"/>
                  <a:pt x="836" y="45"/>
                  <a:pt x="836" y="45"/>
                </a:cubicBezTo>
                <a:cubicBezTo>
                  <a:pt x="836" y="45"/>
                  <a:pt x="836" y="45"/>
                  <a:pt x="836" y="45"/>
                </a:cubicBezTo>
                <a:cubicBezTo>
                  <a:pt x="836" y="45"/>
                  <a:pt x="836" y="45"/>
                  <a:pt x="836" y="44"/>
                </a:cubicBezTo>
                <a:cubicBezTo>
                  <a:pt x="836" y="44"/>
                  <a:pt x="836" y="44"/>
                  <a:pt x="836" y="44"/>
                </a:cubicBezTo>
                <a:cubicBezTo>
                  <a:pt x="836" y="44"/>
                  <a:pt x="837" y="44"/>
                  <a:pt x="837" y="44"/>
                </a:cubicBezTo>
                <a:cubicBezTo>
                  <a:pt x="837" y="44"/>
                  <a:pt x="837" y="44"/>
                  <a:pt x="837" y="44"/>
                </a:cubicBezTo>
                <a:cubicBezTo>
                  <a:pt x="837" y="44"/>
                  <a:pt x="837" y="44"/>
                  <a:pt x="837" y="44"/>
                </a:cubicBezTo>
                <a:cubicBezTo>
                  <a:pt x="837" y="44"/>
                  <a:pt x="837" y="44"/>
                  <a:pt x="837" y="44"/>
                </a:cubicBezTo>
                <a:cubicBezTo>
                  <a:pt x="838" y="44"/>
                  <a:pt x="838" y="44"/>
                  <a:pt x="838" y="43"/>
                </a:cubicBezTo>
                <a:cubicBezTo>
                  <a:pt x="838" y="43"/>
                  <a:pt x="838" y="43"/>
                  <a:pt x="838" y="43"/>
                </a:cubicBezTo>
                <a:cubicBezTo>
                  <a:pt x="838" y="43"/>
                  <a:pt x="838" y="43"/>
                  <a:pt x="838" y="43"/>
                </a:cubicBezTo>
                <a:cubicBezTo>
                  <a:pt x="838" y="43"/>
                  <a:pt x="839" y="43"/>
                  <a:pt x="839" y="43"/>
                </a:cubicBezTo>
                <a:cubicBezTo>
                  <a:pt x="839" y="43"/>
                  <a:pt x="839" y="43"/>
                  <a:pt x="839" y="43"/>
                </a:cubicBezTo>
                <a:cubicBezTo>
                  <a:pt x="839" y="43"/>
                  <a:pt x="839" y="43"/>
                  <a:pt x="840" y="43"/>
                </a:cubicBezTo>
                <a:cubicBezTo>
                  <a:pt x="840" y="43"/>
                  <a:pt x="840" y="43"/>
                  <a:pt x="840" y="43"/>
                </a:cubicBezTo>
                <a:cubicBezTo>
                  <a:pt x="840" y="43"/>
                  <a:pt x="840" y="43"/>
                  <a:pt x="840" y="43"/>
                </a:cubicBezTo>
                <a:cubicBezTo>
                  <a:pt x="840" y="42"/>
                  <a:pt x="841" y="43"/>
                  <a:pt x="841" y="42"/>
                </a:cubicBezTo>
                <a:close/>
                <a:moveTo>
                  <a:pt x="1667" y="58"/>
                </a:moveTo>
                <a:cubicBezTo>
                  <a:pt x="1667" y="58"/>
                  <a:pt x="1667" y="58"/>
                  <a:pt x="1667" y="58"/>
                </a:cubicBezTo>
                <a:cubicBezTo>
                  <a:pt x="1667" y="58"/>
                  <a:pt x="1667" y="58"/>
                  <a:pt x="1667" y="58"/>
                </a:cubicBezTo>
                <a:cubicBezTo>
                  <a:pt x="1667" y="57"/>
                  <a:pt x="1667" y="58"/>
                  <a:pt x="1668" y="57"/>
                </a:cubicBezTo>
                <a:cubicBezTo>
                  <a:pt x="1668" y="57"/>
                  <a:pt x="1668" y="57"/>
                  <a:pt x="1668" y="57"/>
                </a:cubicBezTo>
                <a:cubicBezTo>
                  <a:pt x="1668" y="57"/>
                  <a:pt x="1668" y="57"/>
                  <a:pt x="1669" y="57"/>
                </a:cubicBezTo>
                <a:cubicBezTo>
                  <a:pt x="1669" y="57"/>
                  <a:pt x="1669" y="57"/>
                  <a:pt x="1669" y="57"/>
                </a:cubicBezTo>
                <a:cubicBezTo>
                  <a:pt x="1669" y="57"/>
                  <a:pt x="1669" y="57"/>
                  <a:pt x="1669" y="57"/>
                </a:cubicBezTo>
                <a:cubicBezTo>
                  <a:pt x="1669" y="57"/>
                  <a:pt x="1669" y="57"/>
                  <a:pt x="1669" y="57"/>
                </a:cubicBezTo>
                <a:cubicBezTo>
                  <a:pt x="1670" y="56"/>
                  <a:pt x="1670" y="56"/>
                  <a:pt x="1670" y="56"/>
                </a:cubicBezTo>
                <a:cubicBezTo>
                  <a:pt x="1670" y="56"/>
                  <a:pt x="1670" y="56"/>
                  <a:pt x="1670" y="56"/>
                </a:cubicBezTo>
                <a:cubicBezTo>
                  <a:pt x="1670" y="56"/>
                  <a:pt x="1671" y="56"/>
                  <a:pt x="1671" y="56"/>
                </a:cubicBezTo>
                <a:cubicBezTo>
                  <a:pt x="1671" y="56"/>
                  <a:pt x="1671" y="56"/>
                  <a:pt x="1671" y="56"/>
                </a:cubicBezTo>
                <a:cubicBezTo>
                  <a:pt x="1671" y="56"/>
                  <a:pt x="1671" y="56"/>
                  <a:pt x="1671" y="55"/>
                </a:cubicBezTo>
                <a:cubicBezTo>
                  <a:pt x="1671" y="56"/>
                  <a:pt x="1671" y="56"/>
                  <a:pt x="1671" y="56"/>
                </a:cubicBezTo>
                <a:cubicBezTo>
                  <a:pt x="1672" y="55"/>
                  <a:pt x="1672" y="55"/>
                  <a:pt x="1672" y="55"/>
                </a:cubicBezTo>
                <a:cubicBezTo>
                  <a:pt x="1672" y="55"/>
                  <a:pt x="1672" y="55"/>
                  <a:pt x="1672" y="55"/>
                </a:cubicBezTo>
                <a:cubicBezTo>
                  <a:pt x="1672" y="55"/>
                  <a:pt x="1672" y="55"/>
                  <a:pt x="1672" y="55"/>
                </a:cubicBezTo>
                <a:cubicBezTo>
                  <a:pt x="1672" y="55"/>
                  <a:pt x="1672" y="55"/>
                  <a:pt x="1673" y="55"/>
                </a:cubicBezTo>
                <a:cubicBezTo>
                  <a:pt x="1673" y="55"/>
                  <a:pt x="1673" y="55"/>
                  <a:pt x="1673" y="55"/>
                </a:cubicBezTo>
                <a:cubicBezTo>
                  <a:pt x="1673" y="55"/>
                  <a:pt x="1673" y="55"/>
                  <a:pt x="1673" y="54"/>
                </a:cubicBezTo>
                <a:cubicBezTo>
                  <a:pt x="1673" y="54"/>
                  <a:pt x="1673" y="54"/>
                  <a:pt x="1673" y="54"/>
                </a:cubicBezTo>
                <a:cubicBezTo>
                  <a:pt x="1673" y="54"/>
                  <a:pt x="1673" y="54"/>
                  <a:pt x="1674" y="54"/>
                </a:cubicBezTo>
                <a:cubicBezTo>
                  <a:pt x="1674" y="54"/>
                  <a:pt x="1674" y="54"/>
                  <a:pt x="1674" y="54"/>
                </a:cubicBezTo>
                <a:cubicBezTo>
                  <a:pt x="1674" y="54"/>
                  <a:pt x="1674" y="54"/>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6" y="53"/>
                  <a:pt x="1676" y="52"/>
                </a:cubicBezTo>
                <a:cubicBezTo>
                  <a:pt x="1676" y="52"/>
                  <a:pt x="1676" y="52"/>
                  <a:pt x="1676" y="52"/>
                </a:cubicBezTo>
                <a:cubicBezTo>
                  <a:pt x="1677" y="52"/>
                  <a:pt x="1677" y="51"/>
                  <a:pt x="1678" y="50"/>
                </a:cubicBezTo>
                <a:cubicBezTo>
                  <a:pt x="1678" y="50"/>
                  <a:pt x="1678" y="50"/>
                  <a:pt x="1678" y="50"/>
                </a:cubicBezTo>
                <a:cubicBezTo>
                  <a:pt x="1678" y="50"/>
                  <a:pt x="1678" y="50"/>
                  <a:pt x="1678" y="50"/>
                </a:cubicBezTo>
                <a:cubicBezTo>
                  <a:pt x="1678" y="50"/>
                  <a:pt x="1678" y="50"/>
                  <a:pt x="1678" y="50"/>
                </a:cubicBezTo>
                <a:cubicBezTo>
                  <a:pt x="1679" y="50"/>
                  <a:pt x="1679" y="49"/>
                  <a:pt x="1679" y="49"/>
                </a:cubicBezTo>
                <a:cubicBezTo>
                  <a:pt x="1679" y="49"/>
                  <a:pt x="1679" y="49"/>
                  <a:pt x="1679" y="49"/>
                </a:cubicBezTo>
                <a:cubicBezTo>
                  <a:pt x="1679" y="49"/>
                  <a:pt x="1679" y="49"/>
                  <a:pt x="1679" y="49"/>
                </a:cubicBezTo>
                <a:cubicBezTo>
                  <a:pt x="1679" y="49"/>
                  <a:pt x="1679" y="49"/>
                  <a:pt x="1679" y="49"/>
                </a:cubicBezTo>
                <a:cubicBezTo>
                  <a:pt x="1679" y="49"/>
                  <a:pt x="1679" y="48"/>
                  <a:pt x="1680" y="48"/>
                </a:cubicBezTo>
                <a:cubicBezTo>
                  <a:pt x="1680" y="48"/>
                  <a:pt x="1680" y="48"/>
                  <a:pt x="1680" y="48"/>
                </a:cubicBezTo>
                <a:cubicBezTo>
                  <a:pt x="1680" y="48"/>
                  <a:pt x="1680" y="48"/>
                  <a:pt x="1680" y="48"/>
                </a:cubicBezTo>
                <a:cubicBezTo>
                  <a:pt x="1680" y="48"/>
                  <a:pt x="1680" y="48"/>
                  <a:pt x="1680" y="48"/>
                </a:cubicBezTo>
                <a:cubicBezTo>
                  <a:pt x="1680" y="48"/>
                  <a:pt x="1680" y="47"/>
                  <a:pt x="1680" y="47"/>
                </a:cubicBezTo>
                <a:cubicBezTo>
                  <a:pt x="1680" y="47"/>
                  <a:pt x="1680" y="47"/>
                  <a:pt x="1680" y="47"/>
                </a:cubicBezTo>
                <a:cubicBezTo>
                  <a:pt x="1680" y="47"/>
                  <a:pt x="1680" y="47"/>
                  <a:pt x="1681" y="47"/>
                </a:cubicBezTo>
                <a:cubicBezTo>
                  <a:pt x="1680" y="47"/>
                  <a:pt x="1680" y="47"/>
                  <a:pt x="1680" y="47"/>
                </a:cubicBezTo>
                <a:cubicBezTo>
                  <a:pt x="1681" y="47"/>
                  <a:pt x="1681" y="46"/>
                  <a:pt x="1681" y="46"/>
                </a:cubicBezTo>
                <a:cubicBezTo>
                  <a:pt x="1681" y="46"/>
                  <a:pt x="1681" y="46"/>
                  <a:pt x="1681" y="46"/>
                </a:cubicBezTo>
                <a:cubicBezTo>
                  <a:pt x="1681" y="46"/>
                  <a:pt x="1681" y="46"/>
                  <a:pt x="1681" y="45"/>
                </a:cubicBezTo>
                <a:cubicBezTo>
                  <a:pt x="1681" y="45"/>
                  <a:pt x="1681" y="45"/>
                  <a:pt x="1681" y="45"/>
                </a:cubicBezTo>
                <a:cubicBezTo>
                  <a:pt x="1681" y="45"/>
                  <a:pt x="1681" y="45"/>
                  <a:pt x="1682" y="45"/>
                </a:cubicBezTo>
                <a:cubicBezTo>
                  <a:pt x="1682" y="45"/>
                  <a:pt x="1682" y="45"/>
                  <a:pt x="1682" y="45"/>
                </a:cubicBezTo>
                <a:cubicBezTo>
                  <a:pt x="1682" y="45"/>
                  <a:pt x="1682" y="44"/>
                  <a:pt x="1682" y="44"/>
                </a:cubicBezTo>
                <a:cubicBezTo>
                  <a:pt x="1682" y="44"/>
                  <a:pt x="1682" y="44"/>
                  <a:pt x="1682" y="44"/>
                </a:cubicBezTo>
                <a:cubicBezTo>
                  <a:pt x="1682" y="44"/>
                  <a:pt x="1682" y="44"/>
                  <a:pt x="1682" y="43"/>
                </a:cubicBezTo>
                <a:cubicBezTo>
                  <a:pt x="1682" y="43"/>
                  <a:pt x="1682" y="43"/>
                  <a:pt x="1682" y="43"/>
                </a:cubicBezTo>
                <a:cubicBezTo>
                  <a:pt x="1683" y="43"/>
                  <a:pt x="1682" y="43"/>
                  <a:pt x="1683" y="43"/>
                </a:cubicBezTo>
                <a:cubicBezTo>
                  <a:pt x="1683" y="42"/>
                  <a:pt x="1683" y="42"/>
                  <a:pt x="1683" y="42"/>
                </a:cubicBezTo>
                <a:cubicBezTo>
                  <a:pt x="1683" y="42"/>
                  <a:pt x="1683" y="42"/>
                  <a:pt x="1683" y="42"/>
                </a:cubicBezTo>
                <a:cubicBezTo>
                  <a:pt x="1683" y="41"/>
                  <a:pt x="1683" y="41"/>
                  <a:pt x="1683" y="41"/>
                </a:cubicBezTo>
                <a:cubicBezTo>
                  <a:pt x="1683" y="41"/>
                  <a:pt x="1683" y="41"/>
                  <a:pt x="1683" y="40"/>
                </a:cubicBezTo>
                <a:cubicBezTo>
                  <a:pt x="1683" y="40"/>
                  <a:pt x="1683" y="40"/>
                  <a:pt x="1683" y="40"/>
                </a:cubicBezTo>
                <a:cubicBezTo>
                  <a:pt x="1683" y="40"/>
                  <a:pt x="1683" y="40"/>
                  <a:pt x="1683" y="40"/>
                </a:cubicBezTo>
                <a:cubicBezTo>
                  <a:pt x="1684" y="40"/>
                  <a:pt x="1683" y="39"/>
                  <a:pt x="1684" y="39"/>
                </a:cubicBezTo>
                <a:cubicBezTo>
                  <a:pt x="1684" y="39"/>
                  <a:pt x="1684" y="39"/>
                  <a:pt x="1684" y="39"/>
                </a:cubicBezTo>
                <a:cubicBezTo>
                  <a:pt x="1684" y="39"/>
                  <a:pt x="1684" y="39"/>
                  <a:pt x="1684" y="39"/>
                </a:cubicBezTo>
                <a:cubicBezTo>
                  <a:pt x="1684" y="38"/>
                  <a:pt x="1684" y="38"/>
                  <a:pt x="1684" y="37"/>
                </a:cubicBezTo>
                <a:cubicBezTo>
                  <a:pt x="1684" y="37"/>
                  <a:pt x="1684" y="37"/>
                  <a:pt x="1684" y="37"/>
                </a:cubicBezTo>
                <a:cubicBezTo>
                  <a:pt x="1684" y="34"/>
                  <a:pt x="1684" y="31"/>
                  <a:pt x="1684" y="28"/>
                </a:cubicBezTo>
                <a:cubicBezTo>
                  <a:pt x="1684" y="28"/>
                  <a:pt x="1684" y="28"/>
                  <a:pt x="1684" y="28"/>
                </a:cubicBezTo>
                <a:cubicBezTo>
                  <a:pt x="1684" y="27"/>
                  <a:pt x="1684" y="27"/>
                  <a:pt x="1684" y="26"/>
                </a:cubicBezTo>
                <a:cubicBezTo>
                  <a:pt x="1684" y="26"/>
                  <a:pt x="1684" y="26"/>
                  <a:pt x="1684" y="26"/>
                </a:cubicBezTo>
                <a:cubicBezTo>
                  <a:pt x="1684" y="26"/>
                  <a:pt x="1684" y="26"/>
                  <a:pt x="1684" y="26"/>
                </a:cubicBezTo>
                <a:cubicBezTo>
                  <a:pt x="1683" y="25"/>
                  <a:pt x="1684" y="25"/>
                  <a:pt x="1683" y="25"/>
                </a:cubicBezTo>
                <a:cubicBezTo>
                  <a:pt x="1683" y="25"/>
                  <a:pt x="1683" y="25"/>
                  <a:pt x="1683" y="25"/>
                </a:cubicBezTo>
                <a:cubicBezTo>
                  <a:pt x="1683" y="24"/>
                  <a:pt x="1683" y="24"/>
                  <a:pt x="1683" y="24"/>
                </a:cubicBezTo>
                <a:cubicBezTo>
                  <a:pt x="1683" y="23"/>
                  <a:pt x="1683" y="23"/>
                  <a:pt x="1683" y="23"/>
                </a:cubicBezTo>
                <a:cubicBezTo>
                  <a:pt x="1683" y="23"/>
                  <a:pt x="1683" y="23"/>
                  <a:pt x="1683" y="23"/>
                </a:cubicBezTo>
                <a:cubicBezTo>
                  <a:pt x="1683" y="23"/>
                  <a:pt x="1683" y="23"/>
                  <a:pt x="1683" y="23"/>
                </a:cubicBezTo>
                <a:cubicBezTo>
                  <a:pt x="1683" y="23"/>
                  <a:pt x="1683" y="23"/>
                  <a:pt x="1683" y="23"/>
                </a:cubicBezTo>
                <a:cubicBezTo>
                  <a:pt x="1682" y="22"/>
                  <a:pt x="1683" y="22"/>
                  <a:pt x="1682" y="22"/>
                </a:cubicBezTo>
                <a:cubicBezTo>
                  <a:pt x="1682" y="22"/>
                  <a:pt x="1682" y="22"/>
                  <a:pt x="1682" y="22"/>
                </a:cubicBezTo>
                <a:cubicBezTo>
                  <a:pt x="1682" y="22"/>
                  <a:pt x="1682" y="22"/>
                  <a:pt x="1682" y="22"/>
                </a:cubicBezTo>
                <a:cubicBezTo>
                  <a:pt x="1682" y="21"/>
                  <a:pt x="1682" y="21"/>
                  <a:pt x="1682" y="21"/>
                </a:cubicBezTo>
                <a:cubicBezTo>
                  <a:pt x="1682" y="21"/>
                  <a:pt x="1682" y="21"/>
                  <a:pt x="1682" y="21"/>
                </a:cubicBezTo>
                <a:cubicBezTo>
                  <a:pt x="1682" y="21"/>
                  <a:pt x="1682" y="20"/>
                  <a:pt x="1682" y="20"/>
                </a:cubicBezTo>
                <a:cubicBezTo>
                  <a:pt x="1682" y="20"/>
                  <a:pt x="1682" y="20"/>
                  <a:pt x="1682" y="20"/>
                </a:cubicBezTo>
                <a:cubicBezTo>
                  <a:pt x="1682" y="20"/>
                  <a:pt x="1681" y="20"/>
                  <a:pt x="1681" y="20"/>
                </a:cubicBezTo>
                <a:cubicBezTo>
                  <a:pt x="1681" y="20"/>
                  <a:pt x="1681" y="20"/>
                  <a:pt x="1681" y="20"/>
                </a:cubicBezTo>
                <a:cubicBezTo>
                  <a:pt x="1681" y="20"/>
                  <a:pt x="1681" y="19"/>
                  <a:pt x="1681" y="19"/>
                </a:cubicBezTo>
                <a:cubicBezTo>
                  <a:pt x="1681" y="19"/>
                  <a:pt x="1681" y="19"/>
                  <a:pt x="1681" y="19"/>
                </a:cubicBezTo>
                <a:cubicBezTo>
                  <a:pt x="1681" y="19"/>
                  <a:pt x="1681" y="18"/>
                  <a:pt x="1680" y="18"/>
                </a:cubicBezTo>
                <a:cubicBezTo>
                  <a:pt x="1681" y="18"/>
                  <a:pt x="1681" y="18"/>
                  <a:pt x="1681" y="18"/>
                </a:cubicBezTo>
                <a:cubicBezTo>
                  <a:pt x="1680" y="18"/>
                  <a:pt x="1680" y="18"/>
                  <a:pt x="1680" y="18"/>
                </a:cubicBezTo>
                <a:cubicBezTo>
                  <a:pt x="1680" y="18"/>
                  <a:pt x="1680" y="18"/>
                  <a:pt x="1680" y="18"/>
                </a:cubicBezTo>
                <a:cubicBezTo>
                  <a:pt x="1680" y="18"/>
                  <a:pt x="1680" y="17"/>
                  <a:pt x="1680" y="17"/>
                </a:cubicBezTo>
                <a:cubicBezTo>
                  <a:pt x="1680" y="17"/>
                  <a:pt x="1680" y="17"/>
                  <a:pt x="1680" y="17"/>
                </a:cubicBezTo>
                <a:cubicBezTo>
                  <a:pt x="1680" y="17"/>
                  <a:pt x="1680" y="17"/>
                  <a:pt x="1679" y="17"/>
                </a:cubicBezTo>
                <a:cubicBezTo>
                  <a:pt x="1679" y="17"/>
                  <a:pt x="1679" y="17"/>
                  <a:pt x="1679" y="17"/>
                </a:cubicBezTo>
                <a:cubicBezTo>
                  <a:pt x="1679" y="17"/>
                  <a:pt x="1679" y="17"/>
                  <a:pt x="1679" y="17"/>
                </a:cubicBezTo>
                <a:cubicBezTo>
                  <a:pt x="1679" y="17"/>
                  <a:pt x="1679" y="17"/>
                  <a:pt x="1679" y="17"/>
                </a:cubicBezTo>
                <a:cubicBezTo>
                  <a:pt x="1679" y="16"/>
                  <a:pt x="1679" y="16"/>
                  <a:pt x="1679" y="16"/>
                </a:cubicBezTo>
                <a:cubicBezTo>
                  <a:pt x="1679" y="16"/>
                  <a:pt x="1679" y="16"/>
                  <a:pt x="1679" y="16"/>
                </a:cubicBezTo>
                <a:cubicBezTo>
                  <a:pt x="1678" y="15"/>
                  <a:pt x="1677" y="14"/>
                  <a:pt x="1676" y="14"/>
                </a:cubicBezTo>
                <a:cubicBezTo>
                  <a:pt x="1676" y="14"/>
                  <a:pt x="1676" y="14"/>
                  <a:pt x="1676" y="14"/>
                </a:cubicBezTo>
                <a:cubicBezTo>
                  <a:pt x="1676" y="14"/>
                  <a:pt x="1676" y="14"/>
                  <a:pt x="1676" y="13"/>
                </a:cubicBezTo>
                <a:cubicBezTo>
                  <a:pt x="1676" y="13"/>
                  <a:pt x="1676" y="13"/>
                  <a:pt x="1676" y="13"/>
                </a:cubicBezTo>
                <a:cubicBezTo>
                  <a:pt x="1676" y="13"/>
                  <a:pt x="1676" y="13"/>
                  <a:pt x="1676" y="13"/>
                </a:cubicBezTo>
                <a:cubicBezTo>
                  <a:pt x="1676" y="13"/>
                  <a:pt x="1676" y="13"/>
                  <a:pt x="1676" y="13"/>
                </a:cubicBezTo>
                <a:cubicBezTo>
                  <a:pt x="1675" y="13"/>
                  <a:pt x="1675" y="13"/>
                  <a:pt x="1675" y="12"/>
                </a:cubicBezTo>
                <a:cubicBezTo>
                  <a:pt x="1675" y="12"/>
                  <a:pt x="1675" y="12"/>
                  <a:pt x="1675" y="12"/>
                </a:cubicBezTo>
                <a:cubicBezTo>
                  <a:pt x="1675" y="12"/>
                  <a:pt x="1674" y="12"/>
                  <a:pt x="1674" y="12"/>
                </a:cubicBezTo>
                <a:cubicBezTo>
                  <a:pt x="1674" y="12"/>
                  <a:pt x="1674" y="12"/>
                  <a:pt x="1674" y="12"/>
                </a:cubicBezTo>
                <a:cubicBezTo>
                  <a:pt x="1674" y="12"/>
                  <a:pt x="1674" y="12"/>
                  <a:pt x="1674" y="12"/>
                </a:cubicBezTo>
                <a:cubicBezTo>
                  <a:pt x="1674" y="12"/>
                  <a:pt x="1674" y="12"/>
                  <a:pt x="1674" y="12"/>
                </a:cubicBezTo>
                <a:cubicBezTo>
                  <a:pt x="1673" y="11"/>
                  <a:pt x="1673" y="12"/>
                  <a:pt x="1673" y="11"/>
                </a:cubicBezTo>
                <a:cubicBezTo>
                  <a:pt x="1673" y="11"/>
                  <a:pt x="1673" y="11"/>
                  <a:pt x="1673" y="11"/>
                </a:cubicBezTo>
                <a:cubicBezTo>
                  <a:pt x="1673" y="11"/>
                  <a:pt x="1673" y="11"/>
                  <a:pt x="1672" y="11"/>
                </a:cubicBezTo>
                <a:cubicBezTo>
                  <a:pt x="1673" y="11"/>
                  <a:pt x="1673" y="11"/>
                  <a:pt x="1673" y="11"/>
                </a:cubicBezTo>
                <a:cubicBezTo>
                  <a:pt x="1672" y="11"/>
                  <a:pt x="1672" y="11"/>
                  <a:pt x="1672" y="11"/>
                </a:cubicBezTo>
                <a:cubicBezTo>
                  <a:pt x="1672" y="11"/>
                  <a:pt x="1672" y="11"/>
                  <a:pt x="1672" y="11"/>
                </a:cubicBezTo>
                <a:cubicBezTo>
                  <a:pt x="1672" y="10"/>
                  <a:pt x="1671" y="10"/>
                  <a:pt x="1671" y="10"/>
                </a:cubicBezTo>
                <a:cubicBezTo>
                  <a:pt x="1671" y="10"/>
                  <a:pt x="1671" y="10"/>
                  <a:pt x="1671" y="10"/>
                </a:cubicBezTo>
                <a:cubicBezTo>
                  <a:pt x="1671" y="10"/>
                  <a:pt x="1671" y="10"/>
                  <a:pt x="1670" y="10"/>
                </a:cubicBezTo>
                <a:cubicBezTo>
                  <a:pt x="1670" y="10"/>
                  <a:pt x="1670" y="10"/>
                  <a:pt x="1670" y="10"/>
                </a:cubicBezTo>
                <a:cubicBezTo>
                  <a:pt x="1670" y="10"/>
                  <a:pt x="1670" y="10"/>
                  <a:pt x="1670" y="10"/>
                </a:cubicBezTo>
                <a:cubicBezTo>
                  <a:pt x="1670" y="10"/>
                  <a:pt x="1670" y="10"/>
                  <a:pt x="1669" y="10"/>
                </a:cubicBezTo>
                <a:cubicBezTo>
                  <a:pt x="1669" y="10"/>
                  <a:pt x="1669" y="10"/>
                  <a:pt x="1669" y="10"/>
                </a:cubicBezTo>
                <a:cubicBezTo>
                  <a:pt x="1669" y="9"/>
                  <a:pt x="1669" y="9"/>
                  <a:pt x="1669" y="9"/>
                </a:cubicBezTo>
                <a:cubicBezTo>
                  <a:pt x="1668" y="9"/>
                  <a:pt x="1668" y="9"/>
                  <a:pt x="1668" y="9"/>
                </a:cubicBezTo>
                <a:cubicBezTo>
                  <a:pt x="1668" y="9"/>
                  <a:pt x="1668" y="9"/>
                  <a:pt x="1668" y="9"/>
                </a:cubicBezTo>
                <a:cubicBezTo>
                  <a:pt x="1668" y="9"/>
                  <a:pt x="1668" y="9"/>
                  <a:pt x="1668" y="9"/>
                </a:cubicBezTo>
                <a:cubicBezTo>
                  <a:pt x="1667" y="9"/>
                  <a:pt x="1667" y="9"/>
                  <a:pt x="1667" y="9"/>
                </a:cubicBezTo>
                <a:cubicBezTo>
                  <a:pt x="1667" y="9"/>
                  <a:pt x="1667" y="9"/>
                  <a:pt x="1667" y="9"/>
                </a:cubicBezTo>
                <a:cubicBezTo>
                  <a:pt x="1667" y="9"/>
                  <a:pt x="1667" y="9"/>
                  <a:pt x="1666" y="9"/>
                </a:cubicBezTo>
                <a:cubicBezTo>
                  <a:pt x="1666" y="9"/>
                  <a:pt x="1666" y="9"/>
                  <a:pt x="1666" y="9"/>
                </a:cubicBezTo>
                <a:cubicBezTo>
                  <a:pt x="1666" y="8"/>
                  <a:pt x="1665" y="9"/>
                  <a:pt x="1665" y="8"/>
                </a:cubicBezTo>
                <a:cubicBezTo>
                  <a:pt x="1665" y="8"/>
                  <a:pt x="1665" y="8"/>
                  <a:pt x="1665" y="8"/>
                </a:cubicBezTo>
                <a:cubicBezTo>
                  <a:pt x="1664" y="8"/>
                  <a:pt x="1664" y="8"/>
                  <a:pt x="1663" y="8"/>
                </a:cubicBezTo>
                <a:cubicBezTo>
                  <a:pt x="1663" y="8"/>
                  <a:pt x="1663" y="8"/>
                  <a:pt x="1663" y="8"/>
                </a:cubicBezTo>
                <a:cubicBezTo>
                  <a:pt x="1662" y="7"/>
                  <a:pt x="1661" y="8"/>
                  <a:pt x="1661" y="8"/>
                </a:cubicBezTo>
                <a:cubicBezTo>
                  <a:pt x="1660" y="8"/>
                  <a:pt x="1660" y="8"/>
                  <a:pt x="1660" y="8"/>
                </a:cubicBezTo>
                <a:cubicBezTo>
                  <a:pt x="1659" y="7"/>
                  <a:pt x="1659" y="7"/>
                  <a:pt x="1658" y="7"/>
                </a:cubicBezTo>
                <a:cubicBezTo>
                  <a:pt x="1649" y="7"/>
                  <a:pt x="1639" y="7"/>
                  <a:pt x="1629" y="7"/>
                </a:cubicBezTo>
                <a:cubicBezTo>
                  <a:pt x="1627" y="7"/>
                  <a:pt x="1627" y="7"/>
                  <a:pt x="1627" y="9"/>
                </a:cubicBezTo>
                <a:cubicBezTo>
                  <a:pt x="1627" y="27"/>
                  <a:pt x="1627" y="45"/>
                  <a:pt x="1627" y="62"/>
                </a:cubicBezTo>
                <a:cubicBezTo>
                  <a:pt x="1627" y="75"/>
                  <a:pt x="1628" y="87"/>
                  <a:pt x="1627" y="100"/>
                </a:cubicBezTo>
                <a:cubicBezTo>
                  <a:pt x="1627" y="101"/>
                  <a:pt x="1628" y="102"/>
                  <a:pt x="1629" y="102"/>
                </a:cubicBezTo>
                <a:cubicBezTo>
                  <a:pt x="1632" y="102"/>
                  <a:pt x="1634" y="102"/>
                  <a:pt x="1637" y="102"/>
                </a:cubicBezTo>
                <a:cubicBezTo>
                  <a:pt x="1638" y="102"/>
                  <a:pt x="1639" y="101"/>
                  <a:pt x="1639" y="100"/>
                </a:cubicBezTo>
                <a:cubicBezTo>
                  <a:pt x="1639" y="88"/>
                  <a:pt x="1639" y="76"/>
                  <a:pt x="1639" y="64"/>
                </a:cubicBezTo>
                <a:cubicBezTo>
                  <a:pt x="1639" y="64"/>
                  <a:pt x="1639" y="63"/>
                  <a:pt x="1639" y="62"/>
                </a:cubicBezTo>
                <a:cubicBezTo>
                  <a:pt x="1639" y="62"/>
                  <a:pt x="1639" y="62"/>
                  <a:pt x="1639" y="62"/>
                </a:cubicBezTo>
                <a:cubicBezTo>
                  <a:pt x="1643" y="62"/>
                  <a:pt x="1647" y="61"/>
                  <a:pt x="1650" y="62"/>
                </a:cubicBezTo>
                <a:cubicBezTo>
                  <a:pt x="1651" y="62"/>
                  <a:pt x="1651" y="62"/>
                  <a:pt x="1651" y="62"/>
                </a:cubicBezTo>
                <a:cubicBezTo>
                  <a:pt x="1651" y="62"/>
                  <a:pt x="1651" y="62"/>
                  <a:pt x="1651" y="62"/>
                </a:cubicBezTo>
                <a:cubicBezTo>
                  <a:pt x="1651" y="62"/>
                  <a:pt x="1651" y="62"/>
                  <a:pt x="1652" y="62"/>
                </a:cubicBezTo>
                <a:cubicBezTo>
                  <a:pt x="1652" y="62"/>
                  <a:pt x="1652" y="62"/>
                  <a:pt x="1652" y="62"/>
                </a:cubicBezTo>
                <a:cubicBezTo>
                  <a:pt x="1652" y="62"/>
                  <a:pt x="1652" y="62"/>
                  <a:pt x="1652" y="62"/>
                </a:cubicBezTo>
                <a:cubicBezTo>
                  <a:pt x="1652" y="62"/>
                  <a:pt x="1653" y="62"/>
                  <a:pt x="1653" y="62"/>
                </a:cubicBezTo>
                <a:cubicBezTo>
                  <a:pt x="1653" y="62"/>
                  <a:pt x="1653" y="62"/>
                  <a:pt x="1653" y="62"/>
                </a:cubicBezTo>
                <a:cubicBezTo>
                  <a:pt x="1653" y="63"/>
                  <a:pt x="1653" y="63"/>
                  <a:pt x="1653" y="63"/>
                </a:cubicBezTo>
                <a:cubicBezTo>
                  <a:pt x="1653" y="63"/>
                  <a:pt x="1654" y="63"/>
                  <a:pt x="1654" y="63"/>
                </a:cubicBezTo>
                <a:cubicBezTo>
                  <a:pt x="1654" y="63"/>
                  <a:pt x="1654" y="63"/>
                  <a:pt x="1654" y="63"/>
                </a:cubicBezTo>
                <a:cubicBezTo>
                  <a:pt x="1654" y="63"/>
                  <a:pt x="1654" y="63"/>
                  <a:pt x="1654" y="63"/>
                </a:cubicBezTo>
                <a:cubicBezTo>
                  <a:pt x="1654" y="63"/>
                  <a:pt x="1654" y="63"/>
                  <a:pt x="1654" y="63"/>
                </a:cubicBezTo>
                <a:cubicBezTo>
                  <a:pt x="1654" y="63"/>
                  <a:pt x="1654" y="63"/>
                  <a:pt x="1654" y="63"/>
                </a:cubicBezTo>
                <a:cubicBezTo>
                  <a:pt x="1655" y="63"/>
                  <a:pt x="1655" y="63"/>
                  <a:pt x="1655" y="64"/>
                </a:cubicBezTo>
                <a:cubicBezTo>
                  <a:pt x="1655" y="64"/>
                  <a:pt x="1655" y="64"/>
                  <a:pt x="1655" y="64"/>
                </a:cubicBezTo>
                <a:cubicBezTo>
                  <a:pt x="1655" y="64"/>
                  <a:pt x="1655" y="64"/>
                  <a:pt x="1655" y="64"/>
                </a:cubicBezTo>
                <a:cubicBezTo>
                  <a:pt x="1655" y="64"/>
                  <a:pt x="1655" y="64"/>
                  <a:pt x="1655" y="64"/>
                </a:cubicBezTo>
                <a:cubicBezTo>
                  <a:pt x="1656" y="64"/>
                  <a:pt x="1656" y="64"/>
                  <a:pt x="1656" y="64"/>
                </a:cubicBezTo>
                <a:cubicBezTo>
                  <a:pt x="1656" y="64"/>
                  <a:pt x="1656" y="64"/>
                  <a:pt x="1656" y="64"/>
                </a:cubicBezTo>
                <a:cubicBezTo>
                  <a:pt x="1656" y="64"/>
                  <a:pt x="1656" y="65"/>
                  <a:pt x="1656" y="65"/>
                </a:cubicBezTo>
                <a:cubicBezTo>
                  <a:pt x="1656" y="65"/>
                  <a:pt x="1656" y="65"/>
                  <a:pt x="1656" y="65"/>
                </a:cubicBezTo>
                <a:cubicBezTo>
                  <a:pt x="1657" y="65"/>
                  <a:pt x="1658" y="66"/>
                  <a:pt x="1658" y="67"/>
                </a:cubicBezTo>
                <a:cubicBezTo>
                  <a:pt x="1658" y="67"/>
                  <a:pt x="1658" y="67"/>
                  <a:pt x="1658" y="67"/>
                </a:cubicBezTo>
                <a:cubicBezTo>
                  <a:pt x="1658" y="67"/>
                  <a:pt x="1659" y="67"/>
                  <a:pt x="1659" y="67"/>
                </a:cubicBezTo>
                <a:cubicBezTo>
                  <a:pt x="1659" y="67"/>
                  <a:pt x="1659" y="67"/>
                  <a:pt x="1659" y="67"/>
                </a:cubicBezTo>
                <a:cubicBezTo>
                  <a:pt x="1659" y="67"/>
                  <a:pt x="1659" y="67"/>
                  <a:pt x="1659" y="67"/>
                </a:cubicBezTo>
                <a:cubicBezTo>
                  <a:pt x="1659" y="67"/>
                  <a:pt x="1659" y="67"/>
                  <a:pt x="1659" y="67"/>
                </a:cubicBezTo>
                <a:cubicBezTo>
                  <a:pt x="1659" y="68"/>
                  <a:pt x="1659" y="68"/>
                  <a:pt x="1660" y="68"/>
                </a:cubicBezTo>
                <a:cubicBezTo>
                  <a:pt x="1660" y="68"/>
                  <a:pt x="1660" y="68"/>
                  <a:pt x="1660" y="68"/>
                </a:cubicBezTo>
                <a:cubicBezTo>
                  <a:pt x="1660" y="69"/>
                  <a:pt x="1660" y="69"/>
                  <a:pt x="1660" y="69"/>
                </a:cubicBezTo>
                <a:cubicBezTo>
                  <a:pt x="1660" y="69"/>
                  <a:pt x="1660" y="69"/>
                  <a:pt x="1660" y="69"/>
                </a:cubicBezTo>
                <a:cubicBezTo>
                  <a:pt x="1660" y="69"/>
                  <a:pt x="1660" y="69"/>
                  <a:pt x="1660" y="69"/>
                </a:cubicBezTo>
                <a:cubicBezTo>
                  <a:pt x="1660" y="69"/>
                  <a:pt x="1660" y="69"/>
                  <a:pt x="1660" y="69"/>
                </a:cubicBezTo>
                <a:cubicBezTo>
                  <a:pt x="1661" y="70"/>
                  <a:pt x="1660" y="70"/>
                  <a:pt x="1661" y="70"/>
                </a:cubicBezTo>
                <a:cubicBezTo>
                  <a:pt x="1661" y="70"/>
                  <a:pt x="1661" y="70"/>
                  <a:pt x="1661" y="70"/>
                </a:cubicBezTo>
                <a:cubicBezTo>
                  <a:pt x="1661" y="70"/>
                  <a:pt x="1661" y="70"/>
                  <a:pt x="1661" y="71"/>
                </a:cubicBezTo>
                <a:cubicBezTo>
                  <a:pt x="1661" y="71"/>
                  <a:pt x="1661" y="71"/>
                  <a:pt x="1661" y="71"/>
                </a:cubicBezTo>
                <a:cubicBezTo>
                  <a:pt x="1661" y="71"/>
                  <a:pt x="1661" y="71"/>
                  <a:pt x="1661" y="71"/>
                </a:cubicBezTo>
                <a:cubicBezTo>
                  <a:pt x="1661" y="71"/>
                  <a:pt x="1661" y="71"/>
                  <a:pt x="1661" y="71"/>
                </a:cubicBezTo>
                <a:cubicBezTo>
                  <a:pt x="1661" y="71"/>
                  <a:pt x="1661" y="71"/>
                  <a:pt x="1661" y="71"/>
                </a:cubicBezTo>
                <a:cubicBezTo>
                  <a:pt x="1662" y="71"/>
                  <a:pt x="1662" y="72"/>
                  <a:pt x="1662" y="72"/>
                </a:cubicBezTo>
                <a:cubicBezTo>
                  <a:pt x="1662" y="72"/>
                  <a:pt x="1662" y="72"/>
                  <a:pt x="1662" y="72"/>
                </a:cubicBezTo>
                <a:cubicBezTo>
                  <a:pt x="1662" y="72"/>
                  <a:pt x="1662" y="72"/>
                  <a:pt x="1662" y="73"/>
                </a:cubicBezTo>
                <a:cubicBezTo>
                  <a:pt x="1662" y="73"/>
                  <a:pt x="1662" y="73"/>
                  <a:pt x="1662" y="73"/>
                </a:cubicBezTo>
                <a:cubicBezTo>
                  <a:pt x="1662" y="73"/>
                  <a:pt x="1662" y="73"/>
                  <a:pt x="1662" y="73"/>
                </a:cubicBezTo>
                <a:cubicBezTo>
                  <a:pt x="1662" y="73"/>
                  <a:pt x="1662" y="73"/>
                  <a:pt x="1663" y="74"/>
                </a:cubicBezTo>
                <a:cubicBezTo>
                  <a:pt x="1662" y="74"/>
                  <a:pt x="1662" y="74"/>
                  <a:pt x="1662" y="74"/>
                </a:cubicBezTo>
                <a:cubicBezTo>
                  <a:pt x="1663" y="74"/>
                  <a:pt x="1663" y="74"/>
                  <a:pt x="1663" y="74"/>
                </a:cubicBezTo>
                <a:cubicBezTo>
                  <a:pt x="1663" y="74"/>
                  <a:pt x="1663" y="74"/>
                  <a:pt x="1663" y="74"/>
                </a:cubicBezTo>
                <a:cubicBezTo>
                  <a:pt x="1663" y="75"/>
                  <a:pt x="1663" y="75"/>
                  <a:pt x="1663" y="75"/>
                </a:cubicBezTo>
                <a:cubicBezTo>
                  <a:pt x="1663" y="75"/>
                  <a:pt x="1663" y="75"/>
                  <a:pt x="1663" y="75"/>
                </a:cubicBezTo>
                <a:cubicBezTo>
                  <a:pt x="1663" y="75"/>
                  <a:pt x="1663" y="75"/>
                  <a:pt x="1663" y="75"/>
                </a:cubicBezTo>
                <a:cubicBezTo>
                  <a:pt x="1663" y="76"/>
                  <a:pt x="1663" y="76"/>
                  <a:pt x="1664" y="76"/>
                </a:cubicBezTo>
                <a:cubicBezTo>
                  <a:pt x="1664" y="76"/>
                  <a:pt x="1664" y="76"/>
                  <a:pt x="1664" y="76"/>
                </a:cubicBezTo>
                <a:cubicBezTo>
                  <a:pt x="1664" y="76"/>
                  <a:pt x="1664" y="77"/>
                  <a:pt x="1664" y="77"/>
                </a:cubicBezTo>
                <a:cubicBezTo>
                  <a:pt x="1664" y="77"/>
                  <a:pt x="1664" y="77"/>
                  <a:pt x="1664" y="77"/>
                </a:cubicBezTo>
                <a:cubicBezTo>
                  <a:pt x="1664" y="77"/>
                  <a:pt x="1664" y="77"/>
                  <a:pt x="1664" y="77"/>
                </a:cubicBezTo>
                <a:cubicBezTo>
                  <a:pt x="1664" y="77"/>
                  <a:pt x="1664" y="77"/>
                  <a:pt x="1664" y="77"/>
                </a:cubicBezTo>
                <a:cubicBezTo>
                  <a:pt x="1664" y="78"/>
                  <a:pt x="1664" y="78"/>
                  <a:pt x="1665" y="78"/>
                </a:cubicBezTo>
                <a:cubicBezTo>
                  <a:pt x="1665" y="78"/>
                  <a:pt x="1665" y="78"/>
                  <a:pt x="1665" y="78"/>
                </a:cubicBezTo>
                <a:cubicBezTo>
                  <a:pt x="1665" y="79"/>
                  <a:pt x="1665" y="79"/>
                  <a:pt x="1665" y="79"/>
                </a:cubicBezTo>
                <a:cubicBezTo>
                  <a:pt x="1665" y="79"/>
                  <a:pt x="1665" y="79"/>
                  <a:pt x="1665" y="79"/>
                </a:cubicBezTo>
                <a:cubicBezTo>
                  <a:pt x="1665" y="79"/>
                  <a:pt x="1665" y="80"/>
                  <a:pt x="1665" y="80"/>
                </a:cubicBezTo>
                <a:cubicBezTo>
                  <a:pt x="1665" y="80"/>
                  <a:pt x="1665" y="80"/>
                  <a:pt x="1665" y="80"/>
                </a:cubicBezTo>
                <a:cubicBezTo>
                  <a:pt x="1665" y="80"/>
                  <a:pt x="1665" y="80"/>
                  <a:pt x="1666" y="81"/>
                </a:cubicBezTo>
                <a:cubicBezTo>
                  <a:pt x="1666" y="81"/>
                  <a:pt x="1666" y="81"/>
                  <a:pt x="1666" y="81"/>
                </a:cubicBezTo>
                <a:cubicBezTo>
                  <a:pt x="1666" y="81"/>
                  <a:pt x="1666" y="81"/>
                  <a:pt x="1666" y="81"/>
                </a:cubicBezTo>
                <a:cubicBezTo>
                  <a:pt x="1666" y="81"/>
                  <a:pt x="1666" y="81"/>
                  <a:pt x="1666" y="82"/>
                </a:cubicBezTo>
                <a:cubicBezTo>
                  <a:pt x="1666" y="82"/>
                  <a:pt x="1666" y="82"/>
                  <a:pt x="1666" y="82"/>
                </a:cubicBezTo>
                <a:cubicBezTo>
                  <a:pt x="1666" y="82"/>
                  <a:pt x="1666" y="82"/>
                  <a:pt x="1666" y="82"/>
                </a:cubicBezTo>
                <a:cubicBezTo>
                  <a:pt x="1666" y="82"/>
                  <a:pt x="1666" y="82"/>
                  <a:pt x="1666" y="82"/>
                </a:cubicBezTo>
                <a:cubicBezTo>
                  <a:pt x="1666" y="83"/>
                  <a:pt x="1666" y="83"/>
                  <a:pt x="1667" y="83"/>
                </a:cubicBezTo>
                <a:cubicBezTo>
                  <a:pt x="1667" y="83"/>
                  <a:pt x="1667" y="83"/>
                  <a:pt x="1667" y="83"/>
                </a:cubicBezTo>
                <a:cubicBezTo>
                  <a:pt x="1667" y="83"/>
                  <a:pt x="1667" y="84"/>
                  <a:pt x="1667" y="84"/>
                </a:cubicBezTo>
                <a:cubicBezTo>
                  <a:pt x="1667" y="84"/>
                  <a:pt x="1667" y="84"/>
                  <a:pt x="1667" y="84"/>
                </a:cubicBezTo>
                <a:cubicBezTo>
                  <a:pt x="1667" y="84"/>
                  <a:pt x="1667" y="85"/>
                  <a:pt x="1667" y="85"/>
                </a:cubicBezTo>
                <a:cubicBezTo>
                  <a:pt x="1667" y="85"/>
                  <a:pt x="1667" y="85"/>
                  <a:pt x="1667" y="85"/>
                </a:cubicBezTo>
                <a:cubicBezTo>
                  <a:pt x="1668" y="85"/>
                  <a:pt x="1667" y="85"/>
                  <a:pt x="1668" y="86"/>
                </a:cubicBezTo>
                <a:cubicBezTo>
                  <a:pt x="1668" y="85"/>
                  <a:pt x="1668" y="85"/>
                  <a:pt x="1668" y="85"/>
                </a:cubicBezTo>
                <a:cubicBezTo>
                  <a:pt x="1668" y="86"/>
                  <a:pt x="1668" y="86"/>
                  <a:pt x="1668" y="86"/>
                </a:cubicBezTo>
                <a:cubicBezTo>
                  <a:pt x="1668" y="86"/>
                  <a:pt x="1668" y="86"/>
                  <a:pt x="1668" y="86"/>
                </a:cubicBezTo>
                <a:cubicBezTo>
                  <a:pt x="1668" y="86"/>
                  <a:pt x="1668" y="86"/>
                  <a:pt x="1668" y="86"/>
                </a:cubicBezTo>
                <a:cubicBezTo>
                  <a:pt x="1668" y="87"/>
                  <a:pt x="1668" y="87"/>
                  <a:pt x="1668" y="87"/>
                </a:cubicBezTo>
                <a:cubicBezTo>
                  <a:pt x="1668" y="87"/>
                  <a:pt x="1668" y="87"/>
                  <a:pt x="1668" y="87"/>
                </a:cubicBezTo>
                <a:cubicBezTo>
                  <a:pt x="1669" y="87"/>
                  <a:pt x="1669" y="88"/>
                  <a:pt x="1669" y="88"/>
                </a:cubicBezTo>
                <a:cubicBezTo>
                  <a:pt x="1669" y="88"/>
                  <a:pt x="1669" y="88"/>
                  <a:pt x="1669" y="88"/>
                </a:cubicBezTo>
                <a:cubicBezTo>
                  <a:pt x="1669" y="88"/>
                  <a:pt x="1669" y="88"/>
                  <a:pt x="1669" y="89"/>
                </a:cubicBezTo>
                <a:cubicBezTo>
                  <a:pt x="1669" y="89"/>
                  <a:pt x="1669" y="89"/>
                  <a:pt x="1669" y="89"/>
                </a:cubicBezTo>
                <a:cubicBezTo>
                  <a:pt x="1669" y="89"/>
                  <a:pt x="1669" y="89"/>
                  <a:pt x="1669" y="89"/>
                </a:cubicBezTo>
                <a:cubicBezTo>
                  <a:pt x="1669" y="89"/>
                  <a:pt x="1669" y="89"/>
                  <a:pt x="1669" y="90"/>
                </a:cubicBezTo>
                <a:cubicBezTo>
                  <a:pt x="1669" y="90"/>
                  <a:pt x="1669" y="90"/>
                  <a:pt x="1669" y="90"/>
                </a:cubicBezTo>
                <a:cubicBezTo>
                  <a:pt x="1670" y="90"/>
                  <a:pt x="1670" y="90"/>
                  <a:pt x="1670" y="90"/>
                </a:cubicBezTo>
                <a:cubicBezTo>
                  <a:pt x="1670" y="90"/>
                  <a:pt x="1670" y="90"/>
                  <a:pt x="1670" y="90"/>
                </a:cubicBezTo>
                <a:cubicBezTo>
                  <a:pt x="1670" y="91"/>
                  <a:pt x="1670" y="91"/>
                  <a:pt x="1670" y="91"/>
                </a:cubicBezTo>
                <a:cubicBezTo>
                  <a:pt x="1670" y="91"/>
                  <a:pt x="1670" y="91"/>
                  <a:pt x="1670" y="91"/>
                </a:cubicBezTo>
                <a:cubicBezTo>
                  <a:pt x="1670" y="91"/>
                  <a:pt x="1670" y="92"/>
                  <a:pt x="1670" y="92"/>
                </a:cubicBezTo>
                <a:cubicBezTo>
                  <a:pt x="1671" y="92"/>
                  <a:pt x="1671" y="92"/>
                  <a:pt x="1671" y="92"/>
                </a:cubicBezTo>
                <a:cubicBezTo>
                  <a:pt x="1671" y="92"/>
                  <a:pt x="1671" y="93"/>
                  <a:pt x="1671" y="93"/>
                </a:cubicBezTo>
                <a:cubicBezTo>
                  <a:pt x="1671" y="93"/>
                  <a:pt x="1671" y="93"/>
                  <a:pt x="1671" y="93"/>
                </a:cubicBezTo>
                <a:cubicBezTo>
                  <a:pt x="1671" y="93"/>
                  <a:pt x="1671" y="93"/>
                  <a:pt x="1671" y="94"/>
                </a:cubicBezTo>
                <a:cubicBezTo>
                  <a:pt x="1671" y="94"/>
                  <a:pt x="1671" y="94"/>
                  <a:pt x="1671" y="94"/>
                </a:cubicBezTo>
                <a:cubicBezTo>
                  <a:pt x="1671" y="94"/>
                  <a:pt x="1671" y="94"/>
                  <a:pt x="1671" y="94"/>
                </a:cubicBezTo>
                <a:cubicBezTo>
                  <a:pt x="1672" y="94"/>
                  <a:pt x="1672" y="94"/>
                  <a:pt x="1672" y="94"/>
                </a:cubicBezTo>
                <a:cubicBezTo>
                  <a:pt x="1672" y="94"/>
                  <a:pt x="1672" y="94"/>
                  <a:pt x="1672" y="94"/>
                </a:cubicBezTo>
                <a:cubicBezTo>
                  <a:pt x="1672" y="95"/>
                  <a:pt x="1672" y="95"/>
                  <a:pt x="1672" y="95"/>
                </a:cubicBezTo>
                <a:cubicBezTo>
                  <a:pt x="1672" y="95"/>
                  <a:pt x="1672" y="95"/>
                  <a:pt x="1672" y="95"/>
                </a:cubicBezTo>
                <a:cubicBezTo>
                  <a:pt x="1672" y="95"/>
                  <a:pt x="1672" y="96"/>
                  <a:pt x="1672" y="96"/>
                </a:cubicBezTo>
                <a:cubicBezTo>
                  <a:pt x="1672" y="96"/>
                  <a:pt x="1672" y="96"/>
                  <a:pt x="1672" y="96"/>
                </a:cubicBezTo>
                <a:cubicBezTo>
                  <a:pt x="1672" y="96"/>
                  <a:pt x="1672" y="96"/>
                  <a:pt x="1673" y="97"/>
                </a:cubicBezTo>
                <a:cubicBezTo>
                  <a:pt x="1673" y="97"/>
                  <a:pt x="1673" y="97"/>
                  <a:pt x="1673" y="97"/>
                </a:cubicBezTo>
                <a:cubicBezTo>
                  <a:pt x="1673" y="97"/>
                  <a:pt x="1673" y="97"/>
                  <a:pt x="1673" y="97"/>
                </a:cubicBezTo>
                <a:cubicBezTo>
                  <a:pt x="1673" y="97"/>
                  <a:pt x="1673" y="97"/>
                  <a:pt x="1673" y="98"/>
                </a:cubicBezTo>
                <a:cubicBezTo>
                  <a:pt x="1673" y="98"/>
                  <a:pt x="1673" y="98"/>
                  <a:pt x="1673" y="98"/>
                </a:cubicBezTo>
                <a:cubicBezTo>
                  <a:pt x="1673" y="98"/>
                  <a:pt x="1673" y="98"/>
                  <a:pt x="1673" y="98"/>
                </a:cubicBezTo>
                <a:cubicBezTo>
                  <a:pt x="1673" y="98"/>
                  <a:pt x="1673" y="98"/>
                  <a:pt x="1673" y="98"/>
                </a:cubicBezTo>
                <a:cubicBezTo>
                  <a:pt x="1673" y="99"/>
                  <a:pt x="1673" y="99"/>
                  <a:pt x="1674" y="99"/>
                </a:cubicBezTo>
                <a:cubicBezTo>
                  <a:pt x="1674" y="99"/>
                  <a:pt x="1674" y="99"/>
                  <a:pt x="1674" y="99"/>
                </a:cubicBezTo>
                <a:cubicBezTo>
                  <a:pt x="1674" y="99"/>
                  <a:pt x="1674" y="100"/>
                  <a:pt x="1674" y="100"/>
                </a:cubicBezTo>
                <a:cubicBezTo>
                  <a:pt x="1674" y="100"/>
                  <a:pt x="1674" y="100"/>
                  <a:pt x="1674" y="100"/>
                </a:cubicBezTo>
                <a:cubicBezTo>
                  <a:pt x="1674" y="100"/>
                  <a:pt x="1674" y="101"/>
                  <a:pt x="1674" y="101"/>
                </a:cubicBezTo>
                <a:cubicBezTo>
                  <a:pt x="1674" y="101"/>
                  <a:pt x="1674" y="101"/>
                  <a:pt x="1674" y="101"/>
                </a:cubicBezTo>
                <a:cubicBezTo>
                  <a:pt x="1674" y="101"/>
                  <a:pt x="1674" y="101"/>
                  <a:pt x="1675" y="101"/>
                </a:cubicBezTo>
                <a:cubicBezTo>
                  <a:pt x="1675" y="101"/>
                  <a:pt x="1675" y="101"/>
                  <a:pt x="1675" y="101"/>
                </a:cubicBezTo>
                <a:cubicBezTo>
                  <a:pt x="1679" y="102"/>
                  <a:pt x="1683" y="102"/>
                  <a:pt x="1687" y="102"/>
                </a:cubicBezTo>
                <a:cubicBezTo>
                  <a:pt x="1688" y="102"/>
                  <a:pt x="1688" y="101"/>
                  <a:pt x="1688" y="101"/>
                </a:cubicBezTo>
                <a:cubicBezTo>
                  <a:pt x="1688" y="101"/>
                  <a:pt x="1688" y="101"/>
                  <a:pt x="1688" y="101"/>
                </a:cubicBezTo>
                <a:cubicBezTo>
                  <a:pt x="1688" y="101"/>
                  <a:pt x="1688" y="100"/>
                  <a:pt x="1687" y="100"/>
                </a:cubicBezTo>
                <a:cubicBezTo>
                  <a:pt x="1687" y="100"/>
                  <a:pt x="1687" y="100"/>
                  <a:pt x="1687" y="100"/>
                </a:cubicBezTo>
                <a:cubicBezTo>
                  <a:pt x="1687" y="100"/>
                  <a:pt x="1687" y="100"/>
                  <a:pt x="1687" y="99"/>
                </a:cubicBezTo>
                <a:cubicBezTo>
                  <a:pt x="1687" y="99"/>
                  <a:pt x="1687" y="99"/>
                  <a:pt x="1687" y="99"/>
                </a:cubicBezTo>
                <a:cubicBezTo>
                  <a:pt x="1687" y="99"/>
                  <a:pt x="1687" y="99"/>
                  <a:pt x="1687" y="99"/>
                </a:cubicBezTo>
                <a:cubicBezTo>
                  <a:pt x="1687" y="99"/>
                  <a:pt x="1687" y="99"/>
                  <a:pt x="1687" y="99"/>
                </a:cubicBezTo>
                <a:cubicBezTo>
                  <a:pt x="1687" y="99"/>
                  <a:pt x="1687" y="98"/>
                  <a:pt x="1686" y="98"/>
                </a:cubicBezTo>
                <a:cubicBezTo>
                  <a:pt x="1686" y="98"/>
                  <a:pt x="1686" y="98"/>
                  <a:pt x="1686" y="98"/>
                </a:cubicBezTo>
                <a:cubicBezTo>
                  <a:pt x="1686" y="98"/>
                  <a:pt x="1686" y="98"/>
                  <a:pt x="1686" y="97"/>
                </a:cubicBezTo>
                <a:cubicBezTo>
                  <a:pt x="1686" y="97"/>
                  <a:pt x="1686" y="97"/>
                  <a:pt x="1686" y="97"/>
                </a:cubicBezTo>
                <a:cubicBezTo>
                  <a:pt x="1686" y="97"/>
                  <a:pt x="1686" y="97"/>
                  <a:pt x="1686" y="97"/>
                </a:cubicBezTo>
                <a:cubicBezTo>
                  <a:pt x="1686" y="97"/>
                  <a:pt x="1686" y="97"/>
                  <a:pt x="1686" y="97"/>
                </a:cubicBezTo>
                <a:cubicBezTo>
                  <a:pt x="1686" y="96"/>
                  <a:pt x="1686" y="96"/>
                  <a:pt x="1685" y="96"/>
                </a:cubicBezTo>
                <a:cubicBezTo>
                  <a:pt x="1685" y="96"/>
                  <a:pt x="1685" y="96"/>
                  <a:pt x="1685" y="96"/>
                </a:cubicBezTo>
                <a:cubicBezTo>
                  <a:pt x="1685" y="96"/>
                  <a:pt x="1685" y="96"/>
                  <a:pt x="1685" y="96"/>
                </a:cubicBezTo>
                <a:cubicBezTo>
                  <a:pt x="1685" y="96"/>
                  <a:pt x="1685" y="95"/>
                  <a:pt x="1685" y="95"/>
                </a:cubicBezTo>
                <a:cubicBezTo>
                  <a:pt x="1685" y="95"/>
                  <a:pt x="1685" y="95"/>
                  <a:pt x="1685" y="95"/>
                </a:cubicBezTo>
                <a:cubicBezTo>
                  <a:pt x="1685" y="95"/>
                  <a:pt x="1685" y="94"/>
                  <a:pt x="1685" y="94"/>
                </a:cubicBezTo>
                <a:cubicBezTo>
                  <a:pt x="1685" y="94"/>
                  <a:pt x="1685" y="94"/>
                  <a:pt x="1685" y="94"/>
                </a:cubicBezTo>
                <a:cubicBezTo>
                  <a:pt x="1685" y="94"/>
                  <a:pt x="1685" y="94"/>
                  <a:pt x="1684" y="94"/>
                </a:cubicBezTo>
                <a:cubicBezTo>
                  <a:pt x="1684" y="94"/>
                  <a:pt x="1684" y="94"/>
                  <a:pt x="1684" y="94"/>
                </a:cubicBezTo>
                <a:cubicBezTo>
                  <a:pt x="1684" y="93"/>
                  <a:pt x="1684" y="93"/>
                  <a:pt x="1684" y="93"/>
                </a:cubicBezTo>
                <a:cubicBezTo>
                  <a:pt x="1684" y="93"/>
                  <a:pt x="1684" y="93"/>
                  <a:pt x="1684" y="93"/>
                </a:cubicBezTo>
                <a:cubicBezTo>
                  <a:pt x="1684" y="93"/>
                  <a:pt x="1684" y="92"/>
                  <a:pt x="1684" y="92"/>
                </a:cubicBezTo>
                <a:cubicBezTo>
                  <a:pt x="1684" y="92"/>
                  <a:pt x="1684" y="92"/>
                  <a:pt x="1684" y="92"/>
                </a:cubicBezTo>
                <a:cubicBezTo>
                  <a:pt x="1683" y="92"/>
                  <a:pt x="1684" y="92"/>
                  <a:pt x="1683" y="91"/>
                </a:cubicBezTo>
                <a:cubicBezTo>
                  <a:pt x="1683" y="91"/>
                  <a:pt x="1683" y="91"/>
                  <a:pt x="1683" y="91"/>
                </a:cubicBezTo>
                <a:cubicBezTo>
                  <a:pt x="1683" y="91"/>
                  <a:pt x="1683" y="91"/>
                  <a:pt x="1683" y="91"/>
                </a:cubicBezTo>
                <a:cubicBezTo>
                  <a:pt x="1683" y="91"/>
                  <a:pt x="1683" y="91"/>
                  <a:pt x="1683" y="91"/>
                </a:cubicBezTo>
                <a:cubicBezTo>
                  <a:pt x="1683" y="91"/>
                  <a:pt x="1683" y="90"/>
                  <a:pt x="1683" y="90"/>
                </a:cubicBezTo>
                <a:cubicBezTo>
                  <a:pt x="1683" y="90"/>
                  <a:pt x="1683" y="90"/>
                  <a:pt x="1683" y="90"/>
                </a:cubicBezTo>
                <a:cubicBezTo>
                  <a:pt x="1682" y="90"/>
                  <a:pt x="1682" y="90"/>
                  <a:pt x="1682" y="89"/>
                </a:cubicBezTo>
                <a:cubicBezTo>
                  <a:pt x="1682" y="89"/>
                  <a:pt x="1682" y="89"/>
                  <a:pt x="1682" y="89"/>
                </a:cubicBezTo>
                <a:cubicBezTo>
                  <a:pt x="1682" y="89"/>
                  <a:pt x="1682" y="89"/>
                  <a:pt x="1682" y="89"/>
                </a:cubicBezTo>
                <a:cubicBezTo>
                  <a:pt x="1682" y="89"/>
                  <a:pt x="1682" y="89"/>
                  <a:pt x="1682" y="89"/>
                </a:cubicBezTo>
                <a:cubicBezTo>
                  <a:pt x="1682" y="88"/>
                  <a:pt x="1682" y="88"/>
                  <a:pt x="1682" y="88"/>
                </a:cubicBezTo>
                <a:cubicBezTo>
                  <a:pt x="1682" y="88"/>
                  <a:pt x="1682" y="88"/>
                  <a:pt x="1682" y="88"/>
                </a:cubicBezTo>
                <a:cubicBezTo>
                  <a:pt x="1682" y="88"/>
                  <a:pt x="1682" y="88"/>
                  <a:pt x="1682" y="88"/>
                </a:cubicBezTo>
                <a:cubicBezTo>
                  <a:pt x="1681" y="87"/>
                  <a:pt x="1681" y="87"/>
                  <a:pt x="1681" y="87"/>
                </a:cubicBezTo>
                <a:cubicBezTo>
                  <a:pt x="1681" y="87"/>
                  <a:pt x="1681" y="87"/>
                  <a:pt x="1681" y="87"/>
                </a:cubicBezTo>
                <a:cubicBezTo>
                  <a:pt x="1681" y="87"/>
                  <a:pt x="1681" y="86"/>
                  <a:pt x="1681" y="86"/>
                </a:cubicBezTo>
                <a:cubicBezTo>
                  <a:pt x="1681" y="86"/>
                  <a:pt x="1681" y="86"/>
                  <a:pt x="1681" y="86"/>
                </a:cubicBezTo>
                <a:cubicBezTo>
                  <a:pt x="1681" y="86"/>
                  <a:pt x="1681" y="86"/>
                  <a:pt x="1681" y="86"/>
                </a:cubicBezTo>
                <a:cubicBezTo>
                  <a:pt x="1681" y="86"/>
                  <a:pt x="1681" y="86"/>
                  <a:pt x="1681" y="86"/>
                </a:cubicBezTo>
                <a:cubicBezTo>
                  <a:pt x="1680" y="85"/>
                  <a:pt x="1680" y="85"/>
                  <a:pt x="1680" y="85"/>
                </a:cubicBezTo>
                <a:cubicBezTo>
                  <a:pt x="1680" y="85"/>
                  <a:pt x="1680" y="85"/>
                  <a:pt x="1680" y="85"/>
                </a:cubicBezTo>
                <a:cubicBezTo>
                  <a:pt x="1680" y="85"/>
                  <a:pt x="1680" y="84"/>
                  <a:pt x="1680" y="84"/>
                </a:cubicBezTo>
                <a:cubicBezTo>
                  <a:pt x="1680" y="84"/>
                  <a:pt x="1680" y="84"/>
                  <a:pt x="1680" y="84"/>
                </a:cubicBezTo>
                <a:cubicBezTo>
                  <a:pt x="1680" y="84"/>
                  <a:pt x="1680" y="84"/>
                  <a:pt x="1680" y="83"/>
                </a:cubicBezTo>
                <a:cubicBezTo>
                  <a:pt x="1680" y="83"/>
                  <a:pt x="1680" y="83"/>
                  <a:pt x="1680" y="83"/>
                </a:cubicBezTo>
                <a:cubicBezTo>
                  <a:pt x="1679" y="83"/>
                  <a:pt x="1679" y="83"/>
                  <a:pt x="1679" y="83"/>
                </a:cubicBezTo>
                <a:cubicBezTo>
                  <a:pt x="1679" y="83"/>
                  <a:pt x="1679" y="83"/>
                  <a:pt x="1679" y="83"/>
                </a:cubicBezTo>
                <a:cubicBezTo>
                  <a:pt x="1679" y="83"/>
                  <a:pt x="1679" y="82"/>
                  <a:pt x="1679" y="82"/>
                </a:cubicBezTo>
                <a:cubicBezTo>
                  <a:pt x="1679" y="82"/>
                  <a:pt x="1679" y="82"/>
                  <a:pt x="1679" y="82"/>
                </a:cubicBezTo>
                <a:cubicBezTo>
                  <a:pt x="1679" y="82"/>
                  <a:pt x="1679" y="82"/>
                  <a:pt x="1679" y="81"/>
                </a:cubicBezTo>
                <a:cubicBezTo>
                  <a:pt x="1678" y="81"/>
                  <a:pt x="1678" y="81"/>
                  <a:pt x="1678" y="81"/>
                </a:cubicBezTo>
                <a:cubicBezTo>
                  <a:pt x="1678" y="81"/>
                  <a:pt x="1678" y="81"/>
                  <a:pt x="1678" y="81"/>
                </a:cubicBezTo>
                <a:cubicBezTo>
                  <a:pt x="1678" y="81"/>
                  <a:pt x="1678" y="81"/>
                  <a:pt x="1678" y="81"/>
                </a:cubicBezTo>
                <a:cubicBezTo>
                  <a:pt x="1678" y="81"/>
                  <a:pt x="1678" y="81"/>
                  <a:pt x="1678" y="80"/>
                </a:cubicBezTo>
                <a:cubicBezTo>
                  <a:pt x="1678" y="80"/>
                  <a:pt x="1678" y="80"/>
                  <a:pt x="1678" y="80"/>
                </a:cubicBezTo>
                <a:cubicBezTo>
                  <a:pt x="1678" y="80"/>
                  <a:pt x="1678" y="80"/>
                  <a:pt x="1678" y="80"/>
                </a:cubicBezTo>
                <a:cubicBezTo>
                  <a:pt x="1678" y="79"/>
                  <a:pt x="1678" y="79"/>
                  <a:pt x="1677" y="79"/>
                </a:cubicBezTo>
                <a:cubicBezTo>
                  <a:pt x="1677" y="79"/>
                  <a:pt x="1677" y="79"/>
                  <a:pt x="1677" y="79"/>
                </a:cubicBezTo>
                <a:cubicBezTo>
                  <a:pt x="1677" y="79"/>
                  <a:pt x="1677" y="78"/>
                  <a:pt x="1677" y="78"/>
                </a:cubicBezTo>
                <a:cubicBezTo>
                  <a:pt x="1677" y="78"/>
                  <a:pt x="1677" y="78"/>
                  <a:pt x="1677" y="78"/>
                </a:cubicBezTo>
                <a:cubicBezTo>
                  <a:pt x="1677" y="78"/>
                  <a:pt x="1677" y="78"/>
                  <a:pt x="1677" y="78"/>
                </a:cubicBezTo>
                <a:cubicBezTo>
                  <a:pt x="1677" y="78"/>
                  <a:pt x="1677" y="78"/>
                  <a:pt x="1677" y="78"/>
                </a:cubicBezTo>
                <a:cubicBezTo>
                  <a:pt x="1677" y="77"/>
                  <a:pt x="1677" y="77"/>
                  <a:pt x="1676" y="77"/>
                </a:cubicBezTo>
                <a:cubicBezTo>
                  <a:pt x="1676" y="77"/>
                  <a:pt x="1676" y="77"/>
                  <a:pt x="1676" y="77"/>
                </a:cubicBezTo>
                <a:cubicBezTo>
                  <a:pt x="1676" y="77"/>
                  <a:pt x="1676" y="76"/>
                  <a:pt x="1676" y="76"/>
                </a:cubicBezTo>
                <a:cubicBezTo>
                  <a:pt x="1676" y="76"/>
                  <a:pt x="1676" y="76"/>
                  <a:pt x="1676" y="76"/>
                </a:cubicBezTo>
                <a:cubicBezTo>
                  <a:pt x="1676" y="76"/>
                  <a:pt x="1676" y="76"/>
                  <a:pt x="1676" y="75"/>
                </a:cubicBezTo>
                <a:cubicBezTo>
                  <a:pt x="1676" y="75"/>
                  <a:pt x="1676" y="75"/>
                  <a:pt x="1676" y="75"/>
                </a:cubicBezTo>
                <a:cubicBezTo>
                  <a:pt x="1675" y="75"/>
                  <a:pt x="1676" y="75"/>
                  <a:pt x="1675" y="75"/>
                </a:cubicBezTo>
                <a:cubicBezTo>
                  <a:pt x="1675" y="75"/>
                  <a:pt x="1675" y="75"/>
                  <a:pt x="1675" y="75"/>
                </a:cubicBezTo>
                <a:cubicBezTo>
                  <a:pt x="1675" y="75"/>
                  <a:pt x="1675" y="74"/>
                  <a:pt x="1675" y="74"/>
                </a:cubicBezTo>
                <a:cubicBezTo>
                  <a:pt x="1675" y="74"/>
                  <a:pt x="1675" y="74"/>
                  <a:pt x="1675" y="74"/>
                </a:cubicBezTo>
                <a:cubicBezTo>
                  <a:pt x="1675" y="74"/>
                  <a:pt x="1675" y="74"/>
                  <a:pt x="1675" y="74"/>
                </a:cubicBezTo>
                <a:cubicBezTo>
                  <a:pt x="1675" y="74"/>
                  <a:pt x="1675" y="73"/>
                  <a:pt x="1675" y="73"/>
                </a:cubicBezTo>
                <a:cubicBezTo>
                  <a:pt x="1675" y="73"/>
                  <a:pt x="1675" y="73"/>
                  <a:pt x="1675" y="73"/>
                </a:cubicBezTo>
                <a:cubicBezTo>
                  <a:pt x="1674" y="73"/>
                  <a:pt x="1675" y="72"/>
                  <a:pt x="1674" y="72"/>
                </a:cubicBezTo>
                <a:cubicBezTo>
                  <a:pt x="1674" y="72"/>
                  <a:pt x="1674" y="72"/>
                  <a:pt x="1674" y="72"/>
                </a:cubicBezTo>
                <a:cubicBezTo>
                  <a:pt x="1674" y="72"/>
                  <a:pt x="1674" y="72"/>
                  <a:pt x="1674" y="72"/>
                </a:cubicBezTo>
                <a:cubicBezTo>
                  <a:pt x="1674" y="72"/>
                  <a:pt x="1674" y="72"/>
                  <a:pt x="1674" y="72"/>
                </a:cubicBezTo>
                <a:cubicBezTo>
                  <a:pt x="1674" y="71"/>
                  <a:pt x="1674" y="71"/>
                  <a:pt x="1674" y="71"/>
                </a:cubicBezTo>
                <a:cubicBezTo>
                  <a:pt x="1674" y="71"/>
                  <a:pt x="1674" y="71"/>
                  <a:pt x="1674" y="71"/>
                </a:cubicBezTo>
                <a:cubicBezTo>
                  <a:pt x="1673" y="71"/>
                  <a:pt x="1673" y="70"/>
                  <a:pt x="1673" y="70"/>
                </a:cubicBezTo>
                <a:cubicBezTo>
                  <a:pt x="1673" y="70"/>
                  <a:pt x="1673" y="70"/>
                  <a:pt x="1673" y="70"/>
                </a:cubicBezTo>
                <a:cubicBezTo>
                  <a:pt x="1673" y="70"/>
                  <a:pt x="1673" y="70"/>
                  <a:pt x="1673" y="69"/>
                </a:cubicBezTo>
                <a:cubicBezTo>
                  <a:pt x="1673" y="70"/>
                  <a:pt x="1673" y="70"/>
                  <a:pt x="1673" y="70"/>
                </a:cubicBezTo>
                <a:cubicBezTo>
                  <a:pt x="1673" y="69"/>
                  <a:pt x="1673" y="69"/>
                  <a:pt x="1673" y="69"/>
                </a:cubicBezTo>
                <a:cubicBezTo>
                  <a:pt x="1673" y="69"/>
                  <a:pt x="1673" y="69"/>
                  <a:pt x="1673" y="69"/>
                </a:cubicBezTo>
                <a:cubicBezTo>
                  <a:pt x="1672" y="69"/>
                  <a:pt x="1672" y="68"/>
                  <a:pt x="1672" y="68"/>
                </a:cubicBezTo>
                <a:cubicBezTo>
                  <a:pt x="1672" y="68"/>
                  <a:pt x="1672" y="68"/>
                  <a:pt x="1672" y="68"/>
                </a:cubicBezTo>
                <a:cubicBezTo>
                  <a:pt x="1672" y="68"/>
                  <a:pt x="1672" y="68"/>
                  <a:pt x="1672" y="67"/>
                </a:cubicBezTo>
                <a:cubicBezTo>
                  <a:pt x="1672" y="67"/>
                  <a:pt x="1672" y="67"/>
                  <a:pt x="1672" y="67"/>
                </a:cubicBezTo>
                <a:cubicBezTo>
                  <a:pt x="1672" y="67"/>
                  <a:pt x="1672" y="67"/>
                  <a:pt x="1671" y="67"/>
                </a:cubicBezTo>
                <a:cubicBezTo>
                  <a:pt x="1671" y="67"/>
                  <a:pt x="1671" y="67"/>
                  <a:pt x="1671" y="67"/>
                </a:cubicBezTo>
                <a:cubicBezTo>
                  <a:pt x="1671" y="67"/>
                  <a:pt x="1671" y="66"/>
                  <a:pt x="1671" y="66"/>
                </a:cubicBezTo>
                <a:cubicBezTo>
                  <a:pt x="1671" y="66"/>
                  <a:pt x="1671" y="66"/>
                  <a:pt x="1671" y="66"/>
                </a:cubicBezTo>
                <a:cubicBezTo>
                  <a:pt x="1671" y="66"/>
                  <a:pt x="1671" y="66"/>
                  <a:pt x="1671" y="66"/>
                </a:cubicBezTo>
                <a:cubicBezTo>
                  <a:pt x="1671" y="66"/>
                  <a:pt x="1671" y="66"/>
                  <a:pt x="1671" y="66"/>
                </a:cubicBezTo>
                <a:cubicBezTo>
                  <a:pt x="1671" y="65"/>
                  <a:pt x="1671" y="65"/>
                  <a:pt x="1670" y="65"/>
                </a:cubicBezTo>
                <a:cubicBezTo>
                  <a:pt x="1670" y="65"/>
                  <a:pt x="1670" y="65"/>
                  <a:pt x="1670" y="65"/>
                </a:cubicBezTo>
                <a:cubicBezTo>
                  <a:pt x="1670" y="65"/>
                  <a:pt x="1670" y="65"/>
                  <a:pt x="1670" y="65"/>
                </a:cubicBezTo>
                <a:cubicBezTo>
                  <a:pt x="1670" y="65"/>
                  <a:pt x="1670" y="65"/>
                  <a:pt x="1670" y="65"/>
                </a:cubicBezTo>
                <a:cubicBezTo>
                  <a:pt x="1670" y="64"/>
                  <a:pt x="1670" y="64"/>
                  <a:pt x="1670" y="64"/>
                </a:cubicBezTo>
                <a:cubicBezTo>
                  <a:pt x="1670" y="64"/>
                  <a:pt x="1670" y="64"/>
                  <a:pt x="1670" y="64"/>
                </a:cubicBezTo>
                <a:cubicBezTo>
                  <a:pt x="1670" y="64"/>
                  <a:pt x="1670" y="64"/>
                  <a:pt x="1669" y="64"/>
                </a:cubicBezTo>
                <a:cubicBezTo>
                  <a:pt x="1669" y="64"/>
                  <a:pt x="1669" y="64"/>
                  <a:pt x="1669" y="64"/>
                </a:cubicBezTo>
                <a:cubicBezTo>
                  <a:pt x="1669" y="63"/>
                  <a:pt x="1669" y="63"/>
                  <a:pt x="1669" y="63"/>
                </a:cubicBezTo>
                <a:cubicBezTo>
                  <a:pt x="1669" y="63"/>
                  <a:pt x="1669" y="63"/>
                  <a:pt x="1669" y="63"/>
                </a:cubicBezTo>
                <a:cubicBezTo>
                  <a:pt x="1669" y="63"/>
                  <a:pt x="1669"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1"/>
                  <a:pt x="1667" y="61"/>
                  <a:pt x="1667" y="61"/>
                </a:cubicBezTo>
                <a:cubicBezTo>
                  <a:pt x="1667" y="61"/>
                  <a:pt x="1667" y="61"/>
                  <a:pt x="1667" y="61"/>
                </a:cubicBezTo>
                <a:cubicBezTo>
                  <a:pt x="1667" y="61"/>
                  <a:pt x="1667" y="61"/>
                  <a:pt x="1667" y="61"/>
                </a:cubicBezTo>
                <a:cubicBezTo>
                  <a:pt x="1667" y="61"/>
                  <a:pt x="1667" y="61"/>
                  <a:pt x="1667" y="61"/>
                </a:cubicBezTo>
                <a:cubicBezTo>
                  <a:pt x="1667" y="60"/>
                  <a:pt x="1666" y="60"/>
                  <a:pt x="1666" y="60"/>
                </a:cubicBezTo>
                <a:cubicBezTo>
                  <a:pt x="1666" y="60"/>
                  <a:pt x="1666" y="60"/>
                  <a:pt x="1666" y="60"/>
                </a:cubicBezTo>
                <a:cubicBezTo>
                  <a:pt x="1666" y="60"/>
                  <a:pt x="1666" y="60"/>
                  <a:pt x="1666" y="60"/>
                </a:cubicBezTo>
                <a:cubicBezTo>
                  <a:pt x="1666" y="60"/>
                  <a:pt x="1666" y="60"/>
                  <a:pt x="1666" y="60"/>
                </a:cubicBezTo>
                <a:cubicBezTo>
                  <a:pt x="1665" y="60"/>
                  <a:pt x="1665" y="60"/>
                  <a:pt x="1665" y="59"/>
                </a:cubicBezTo>
                <a:cubicBezTo>
                  <a:pt x="1665" y="59"/>
                  <a:pt x="1665" y="59"/>
                  <a:pt x="1665" y="59"/>
                </a:cubicBezTo>
                <a:cubicBezTo>
                  <a:pt x="1665" y="59"/>
                  <a:pt x="1664" y="59"/>
                  <a:pt x="1664" y="59"/>
                </a:cubicBezTo>
                <a:cubicBezTo>
                  <a:pt x="1664" y="59"/>
                  <a:pt x="1664" y="59"/>
                  <a:pt x="1664" y="59"/>
                </a:cubicBezTo>
                <a:cubicBezTo>
                  <a:pt x="1664" y="59"/>
                  <a:pt x="1664" y="59"/>
                  <a:pt x="1665" y="58"/>
                </a:cubicBezTo>
                <a:cubicBezTo>
                  <a:pt x="1665" y="58"/>
                  <a:pt x="1665" y="58"/>
                  <a:pt x="1665" y="58"/>
                </a:cubicBezTo>
                <a:cubicBezTo>
                  <a:pt x="1665" y="58"/>
                  <a:pt x="1665" y="58"/>
                  <a:pt x="1666" y="58"/>
                </a:cubicBezTo>
                <a:cubicBezTo>
                  <a:pt x="1666" y="58"/>
                  <a:pt x="1666" y="58"/>
                  <a:pt x="1666" y="58"/>
                </a:cubicBezTo>
                <a:cubicBezTo>
                  <a:pt x="1666" y="58"/>
                  <a:pt x="1666" y="58"/>
                  <a:pt x="1666" y="58"/>
                </a:cubicBezTo>
                <a:cubicBezTo>
                  <a:pt x="1666" y="58"/>
                  <a:pt x="1666" y="58"/>
                  <a:pt x="1667" y="58"/>
                </a:cubicBezTo>
                <a:close/>
                <a:moveTo>
                  <a:pt x="1433" y="7"/>
                </a:moveTo>
                <a:cubicBezTo>
                  <a:pt x="1433" y="7"/>
                  <a:pt x="1433" y="7"/>
                  <a:pt x="1433" y="7"/>
                </a:cubicBezTo>
                <a:cubicBezTo>
                  <a:pt x="1433" y="7"/>
                  <a:pt x="1433" y="7"/>
                  <a:pt x="1433" y="7"/>
                </a:cubicBezTo>
                <a:cubicBezTo>
                  <a:pt x="1432" y="7"/>
                  <a:pt x="1432" y="7"/>
                  <a:pt x="1432" y="7"/>
                </a:cubicBezTo>
                <a:cubicBezTo>
                  <a:pt x="1432" y="7"/>
                  <a:pt x="1432" y="7"/>
                  <a:pt x="1431" y="7"/>
                </a:cubicBezTo>
                <a:cubicBezTo>
                  <a:pt x="1431" y="7"/>
                  <a:pt x="1431" y="7"/>
                  <a:pt x="1431" y="8"/>
                </a:cubicBezTo>
                <a:cubicBezTo>
                  <a:pt x="1431" y="8"/>
                  <a:pt x="1431" y="8"/>
                  <a:pt x="1431" y="8"/>
                </a:cubicBezTo>
                <a:cubicBezTo>
                  <a:pt x="1430" y="8"/>
                  <a:pt x="1430" y="8"/>
                  <a:pt x="1430" y="8"/>
                </a:cubicBezTo>
                <a:cubicBezTo>
                  <a:pt x="1430" y="8"/>
                  <a:pt x="1430" y="8"/>
                  <a:pt x="1430" y="8"/>
                </a:cubicBezTo>
                <a:cubicBezTo>
                  <a:pt x="1429" y="8"/>
                  <a:pt x="1429" y="8"/>
                  <a:pt x="1429" y="8"/>
                </a:cubicBezTo>
                <a:cubicBezTo>
                  <a:pt x="1429" y="8"/>
                  <a:pt x="1429" y="8"/>
                  <a:pt x="1429" y="8"/>
                </a:cubicBezTo>
                <a:cubicBezTo>
                  <a:pt x="1429" y="8"/>
                  <a:pt x="1428" y="8"/>
                  <a:pt x="1428" y="9"/>
                </a:cubicBezTo>
                <a:cubicBezTo>
                  <a:pt x="1428" y="9"/>
                  <a:pt x="1428" y="9"/>
                  <a:pt x="1428" y="9"/>
                </a:cubicBezTo>
                <a:cubicBezTo>
                  <a:pt x="1428" y="9"/>
                  <a:pt x="1428" y="9"/>
                  <a:pt x="1428" y="9"/>
                </a:cubicBezTo>
                <a:cubicBezTo>
                  <a:pt x="1428" y="9"/>
                  <a:pt x="1428" y="9"/>
                  <a:pt x="1428" y="9"/>
                </a:cubicBezTo>
                <a:cubicBezTo>
                  <a:pt x="1427" y="9"/>
                  <a:pt x="1427" y="9"/>
                  <a:pt x="1427" y="9"/>
                </a:cubicBezTo>
                <a:cubicBezTo>
                  <a:pt x="1427" y="9"/>
                  <a:pt x="1427" y="9"/>
                  <a:pt x="1427" y="9"/>
                </a:cubicBezTo>
                <a:cubicBezTo>
                  <a:pt x="1427" y="9"/>
                  <a:pt x="1427" y="10"/>
                  <a:pt x="1426" y="10"/>
                </a:cubicBezTo>
                <a:cubicBezTo>
                  <a:pt x="1426" y="10"/>
                  <a:pt x="1426" y="10"/>
                  <a:pt x="1426" y="10"/>
                </a:cubicBezTo>
                <a:cubicBezTo>
                  <a:pt x="1426" y="10"/>
                  <a:pt x="1426" y="10"/>
                  <a:pt x="1426" y="10"/>
                </a:cubicBezTo>
                <a:cubicBezTo>
                  <a:pt x="1426" y="10"/>
                  <a:pt x="1426" y="10"/>
                  <a:pt x="1426" y="10"/>
                </a:cubicBezTo>
                <a:cubicBezTo>
                  <a:pt x="1426" y="10"/>
                  <a:pt x="1425" y="10"/>
                  <a:pt x="1425" y="10"/>
                </a:cubicBezTo>
                <a:cubicBezTo>
                  <a:pt x="1425" y="10"/>
                  <a:pt x="1425" y="10"/>
                  <a:pt x="1425" y="10"/>
                </a:cubicBezTo>
                <a:cubicBezTo>
                  <a:pt x="1425" y="10"/>
                  <a:pt x="1425" y="11"/>
                  <a:pt x="1425" y="11"/>
                </a:cubicBezTo>
                <a:cubicBezTo>
                  <a:pt x="1425" y="11"/>
                  <a:pt x="1425" y="11"/>
                  <a:pt x="1425" y="11"/>
                </a:cubicBezTo>
                <a:cubicBezTo>
                  <a:pt x="1425" y="11"/>
                  <a:pt x="1424" y="11"/>
                  <a:pt x="1424" y="11"/>
                </a:cubicBezTo>
                <a:cubicBezTo>
                  <a:pt x="1424" y="11"/>
                  <a:pt x="1424" y="11"/>
                  <a:pt x="1424" y="11"/>
                </a:cubicBezTo>
                <a:cubicBezTo>
                  <a:pt x="1424" y="11"/>
                  <a:pt x="1424" y="11"/>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1" y="14"/>
                  <a:pt x="1421" y="14"/>
                  <a:pt x="1421" y="14"/>
                </a:cubicBezTo>
                <a:cubicBezTo>
                  <a:pt x="1421" y="14"/>
                  <a:pt x="1421" y="14"/>
                  <a:pt x="1421" y="14"/>
                </a:cubicBezTo>
                <a:cubicBezTo>
                  <a:pt x="1421" y="14"/>
                  <a:pt x="1421" y="14"/>
                  <a:pt x="1421" y="14"/>
                </a:cubicBezTo>
                <a:cubicBezTo>
                  <a:pt x="1421" y="14"/>
                  <a:pt x="1421" y="14"/>
                  <a:pt x="1421" y="14"/>
                </a:cubicBezTo>
                <a:cubicBezTo>
                  <a:pt x="1421" y="14"/>
                  <a:pt x="1421" y="14"/>
                  <a:pt x="1421" y="15"/>
                </a:cubicBezTo>
                <a:cubicBezTo>
                  <a:pt x="1421" y="15"/>
                  <a:pt x="1421" y="15"/>
                  <a:pt x="1421" y="15"/>
                </a:cubicBezTo>
                <a:cubicBezTo>
                  <a:pt x="1420" y="15"/>
                  <a:pt x="1420" y="15"/>
                  <a:pt x="1420" y="15"/>
                </a:cubicBezTo>
                <a:cubicBezTo>
                  <a:pt x="1420" y="15"/>
                  <a:pt x="1420" y="15"/>
                  <a:pt x="1420" y="15"/>
                </a:cubicBezTo>
                <a:cubicBezTo>
                  <a:pt x="1420" y="15"/>
                  <a:pt x="1420" y="16"/>
                  <a:pt x="1419" y="16"/>
                </a:cubicBezTo>
                <a:cubicBezTo>
                  <a:pt x="1419" y="16"/>
                  <a:pt x="1419" y="16"/>
                  <a:pt x="1419" y="16"/>
                </a:cubicBezTo>
                <a:cubicBezTo>
                  <a:pt x="1419" y="16"/>
                  <a:pt x="1419" y="16"/>
                  <a:pt x="1419" y="16"/>
                </a:cubicBezTo>
                <a:cubicBezTo>
                  <a:pt x="1419" y="16"/>
                  <a:pt x="1419" y="16"/>
                  <a:pt x="1419" y="16"/>
                </a:cubicBezTo>
                <a:cubicBezTo>
                  <a:pt x="1419" y="16"/>
                  <a:pt x="1419" y="16"/>
                  <a:pt x="1419" y="17"/>
                </a:cubicBezTo>
                <a:cubicBezTo>
                  <a:pt x="1419" y="17"/>
                  <a:pt x="1419" y="17"/>
                  <a:pt x="1419" y="17"/>
                </a:cubicBezTo>
                <a:cubicBezTo>
                  <a:pt x="1419" y="17"/>
                  <a:pt x="1419" y="17"/>
                  <a:pt x="1418" y="17"/>
                </a:cubicBezTo>
                <a:cubicBezTo>
                  <a:pt x="1418" y="17"/>
                  <a:pt x="1418" y="17"/>
                  <a:pt x="1418" y="17"/>
                </a:cubicBezTo>
                <a:cubicBezTo>
                  <a:pt x="1418" y="17"/>
                  <a:pt x="1418" y="18"/>
                  <a:pt x="1418" y="18"/>
                </a:cubicBezTo>
                <a:cubicBezTo>
                  <a:pt x="1418" y="18"/>
                  <a:pt x="1418" y="18"/>
                  <a:pt x="1418" y="18"/>
                </a:cubicBezTo>
                <a:cubicBezTo>
                  <a:pt x="1418" y="18"/>
                  <a:pt x="1418" y="18"/>
                  <a:pt x="1418" y="18"/>
                </a:cubicBezTo>
                <a:cubicBezTo>
                  <a:pt x="1418" y="18"/>
                  <a:pt x="1418" y="18"/>
                  <a:pt x="1418" y="18"/>
                </a:cubicBezTo>
                <a:cubicBezTo>
                  <a:pt x="1418" y="18"/>
                  <a:pt x="1417" y="19"/>
                  <a:pt x="1417" y="19"/>
                </a:cubicBezTo>
                <a:cubicBezTo>
                  <a:pt x="1417" y="19"/>
                  <a:pt x="1417" y="19"/>
                  <a:pt x="1417" y="19"/>
                </a:cubicBezTo>
                <a:cubicBezTo>
                  <a:pt x="1417" y="19"/>
                  <a:pt x="1417" y="19"/>
                  <a:pt x="1417" y="19"/>
                </a:cubicBezTo>
                <a:cubicBezTo>
                  <a:pt x="1417" y="19"/>
                  <a:pt x="1417" y="19"/>
                  <a:pt x="1417" y="19"/>
                </a:cubicBezTo>
                <a:cubicBezTo>
                  <a:pt x="1417" y="20"/>
                  <a:pt x="1417" y="20"/>
                  <a:pt x="1417" y="20"/>
                </a:cubicBezTo>
                <a:cubicBezTo>
                  <a:pt x="1417" y="20"/>
                  <a:pt x="1417" y="20"/>
                  <a:pt x="1417" y="20"/>
                </a:cubicBezTo>
                <a:cubicBezTo>
                  <a:pt x="1417" y="20"/>
                  <a:pt x="1416" y="20"/>
                  <a:pt x="1416" y="21"/>
                </a:cubicBezTo>
                <a:cubicBezTo>
                  <a:pt x="1416" y="21"/>
                  <a:pt x="1416" y="21"/>
                  <a:pt x="1416" y="21"/>
                </a:cubicBezTo>
                <a:cubicBezTo>
                  <a:pt x="1416" y="21"/>
                  <a:pt x="1416" y="21"/>
                  <a:pt x="1416" y="21"/>
                </a:cubicBezTo>
                <a:cubicBezTo>
                  <a:pt x="1416" y="21"/>
                  <a:pt x="1416" y="21"/>
                  <a:pt x="1416" y="21"/>
                </a:cubicBezTo>
                <a:cubicBezTo>
                  <a:pt x="1416" y="21"/>
                  <a:pt x="1416" y="21"/>
                  <a:pt x="1416" y="21"/>
                </a:cubicBezTo>
                <a:cubicBezTo>
                  <a:pt x="1416" y="21"/>
                  <a:pt x="1416" y="22"/>
                  <a:pt x="1416" y="22"/>
                </a:cubicBezTo>
                <a:cubicBezTo>
                  <a:pt x="1416" y="22"/>
                  <a:pt x="1416" y="22"/>
                  <a:pt x="1416" y="22"/>
                </a:cubicBezTo>
                <a:cubicBezTo>
                  <a:pt x="1415" y="22"/>
                  <a:pt x="1415" y="22"/>
                  <a:pt x="1415" y="23"/>
                </a:cubicBezTo>
                <a:cubicBezTo>
                  <a:pt x="1415" y="23"/>
                  <a:pt x="1415" y="23"/>
                  <a:pt x="1415" y="23"/>
                </a:cubicBezTo>
                <a:cubicBezTo>
                  <a:pt x="1415" y="23"/>
                  <a:pt x="1415" y="23"/>
                  <a:pt x="1415" y="23"/>
                </a:cubicBezTo>
                <a:cubicBezTo>
                  <a:pt x="1415" y="23"/>
                  <a:pt x="1415" y="23"/>
                  <a:pt x="1415" y="23"/>
                </a:cubicBezTo>
                <a:cubicBezTo>
                  <a:pt x="1415" y="24"/>
                  <a:pt x="1415" y="24"/>
                  <a:pt x="1415" y="24"/>
                </a:cubicBezTo>
                <a:cubicBezTo>
                  <a:pt x="1415" y="24"/>
                  <a:pt x="1415" y="24"/>
                  <a:pt x="1415" y="24"/>
                </a:cubicBezTo>
                <a:cubicBezTo>
                  <a:pt x="1415" y="24"/>
                  <a:pt x="1415" y="24"/>
                  <a:pt x="1415" y="24"/>
                </a:cubicBezTo>
                <a:cubicBezTo>
                  <a:pt x="1414" y="24"/>
                  <a:pt x="1414" y="25"/>
                  <a:pt x="1414" y="25"/>
                </a:cubicBezTo>
                <a:cubicBezTo>
                  <a:pt x="1414" y="25"/>
                  <a:pt x="1414" y="25"/>
                  <a:pt x="1414" y="25"/>
                </a:cubicBezTo>
                <a:cubicBezTo>
                  <a:pt x="1414" y="25"/>
                  <a:pt x="1414" y="26"/>
                  <a:pt x="1414" y="26"/>
                </a:cubicBezTo>
                <a:cubicBezTo>
                  <a:pt x="1414" y="26"/>
                  <a:pt x="1414" y="26"/>
                  <a:pt x="1414" y="26"/>
                </a:cubicBezTo>
                <a:cubicBezTo>
                  <a:pt x="1414" y="26"/>
                  <a:pt x="1414" y="27"/>
                  <a:pt x="1414" y="27"/>
                </a:cubicBezTo>
                <a:cubicBezTo>
                  <a:pt x="1414" y="27"/>
                  <a:pt x="1414" y="27"/>
                  <a:pt x="1414" y="27"/>
                </a:cubicBezTo>
                <a:cubicBezTo>
                  <a:pt x="1413" y="27"/>
                  <a:pt x="1413" y="28"/>
                  <a:pt x="1413" y="28"/>
                </a:cubicBezTo>
                <a:cubicBezTo>
                  <a:pt x="1413" y="28"/>
                  <a:pt x="1413" y="28"/>
                  <a:pt x="1413" y="28"/>
                </a:cubicBezTo>
                <a:cubicBezTo>
                  <a:pt x="1413" y="28"/>
                  <a:pt x="1413" y="29"/>
                  <a:pt x="1413" y="29"/>
                </a:cubicBezTo>
                <a:cubicBezTo>
                  <a:pt x="1413" y="29"/>
                  <a:pt x="1413" y="29"/>
                  <a:pt x="1413" y="29"/>
                </a:cubicBezTo>
                <a:cubicBezTo>
                  <a:pt x="1413" y="29"/>
                  <a:pt x="1413" y="30"/>
                  <a:pt x="1413" y="30"/>
                </a:cubicBezTo>
                <a:cubicBezTo>
                  <a:pt x="1413" y="30"/>
                  <a:pt x="1413" y="30"/>
                  <a:pt x="1413" y="30"/>
                </a:cubicBezTo>
                <a:cubicBezTo>
                  <a:pt x="1413" y="30"/>
                  <a:pt x="1413" y="30"/>
                  <a:pt x="1413" y="30"/>
                </a:cubicBezTo>
                <a:cubicBezTo>
                  <a:pt x="1412" y="30"/>
                  <a:pt x="1412" y="31"/>
                  <a:pt x="1412" y="31"/>
                </a:cubicBezTo>
                <a:cubicBezTo>
                  <a:pt x="1412" y="31"/>
                  <a:pt x="1412" y="31"/>
                  <a:pt x="1412" y="32"/>
                </a:cubicBezTo>
                <a:cubicBezTo>
                  <a:pt x="1412" y="32"/>
                  <a:pt x="1412" y="32"/>
                  <a:pt x="1412" y="33"/>
                </a:cubicBezTo>
                <a:cubicBezTo>
                  <a:pt x="1412" y="33"/>
                  <a:pt x="1412" y="33"/>
                  <a:pt x="1412" y="33"/>
                </a:cubicBezTo>
                <a:cubicBezTo>
                  <a:pt x="1411" y="33"/>
                  <a:pt x="1412" y="34"/>
                  <a:pt x="1412" y="34"/>
                </a:cubicBezTo>
                <a:cubicBezTo>
                  <a:pt x="1412" y="34"/>
                  <a:pt x="1412" y="34"/>
                  <a:pt x="1411" y="34"/>
                </a:cubicBezTo>
                <a:cubicBezTo>
                  <a:pt x="1411" y="35"/>
                  <a:pt x="1411" y="35"/>
                  <a:pt x="1411" y="36"/>
                </a:cubicBezTo>
                <a:cubicBezTo>
                  <a:pt x="1411" y="36"/>
                  <a:pt x="1411" y="36"/>
                  <a:pt x="1411" y="36"/>
                </a:cubicBezTo>
                <a:cubicBezTo>
                  <a:pt x="1411" y="37"/>
                  <a:pt x="1411" y="37"/>
                  <a:pt x="1411" y="38"/>
                </a:cubicBezTo>
                <a:cubicBezTo>
                  <a:pt x="1411" y="38"/>
                  <a:pt x="1411" y="38"/>
                  <a:pt x="1411" y="38"/>
                </a:cubicBezTo>
                <a:cubicBezTo>
                  <a:pt x="1410" y="38"/>
                  <a:pt x="1411" y="39"/>
                  <a:pt x="1410" y="40"/>
                </a:cubicBezTo>
                <a:cubicBezTo>
                  <a:pt x="1410" y="40"/>
                  <a:pt x="1410" y="40"/>
                  <a:pt x="1410" y="40"/>
                </a:cubicBezTo>
                <a:cubicBezTo>
                  <a:pt x="1410" y="41"/>
                  <a:pt x="1410" y="42"/>
                  <a:pt x="1410" y="42"/>
                </a:cubicBezTo>
                <a:cubicBezTo>
                  <a:pt x="1410" y="42"/>
                  <a:pt x="1410" y="43"/>
                  <a:pt x="1410" y="43"/>
                </a:cubicBezTo>
                <a:cubicBezTo>
                  <a:pt x="1410" y="44"/>
                  <a:pt x="1410" y="45"/>
                  <a:pt x="1410" y="46"/>
                </a:cubicBezTo>
                <a:cubicBezTo>
                  <a:pt x="1410" y="46"/>
                  <a:pt x="1410" y="46"/>
                  <a:pt x="1410" y="47"/>
                </a:cubicBezTo>
                <a:cubicBezTo>
                  <a:pt x="1409" y="48"/>
                  <a:pt x="1410" y="50"/>
                  <a:pt x="1409" y="52"/>
                </a:cubicBezTo>
                <a:cubicBezTo>
                  <a:pt x="1409" y="55"/>
                  <a:pt x="1409" y="58"/>
                  <a:pt x="1409" y="61"/>
                </a:cubicBezTo>
                <a:cubicBezTo>
                  <a:pt x="1410" y="62"/>
                  <a:pt x="1409" y="64"/>
                  <a:pt x="1410" y="65"/>
                </a:cubicBezTo>
                <a:cubicBezTo>
                  <a:pt x="1410" y="66"/>
                  <a:pt x="1410" y="66"/>
                  <a:pt x="1410" y="66"/>
                </a:cubicBezTo>
                <a:cubicBezTo>
                  <a:pt x="1410" y="67"/>
                  <a:pt x="1410" y="68"/>
                  <a:pt x="1410" y="69"/>
                </a:cubicBezTo>
                <a:cubicBezTo>
                  <a:pt x="1410" y="69"/>
                  <a:pt x="1410" y="69"/>
                  <a:pt x="1410" y="69"/>
                </a:cubicBezTo>
                <a:cubicBezTo>
                  <a:pt x="1411" y="70"/>
                  <a:pt x="1410" y="71"/>
                  <a:pt x="1410" y="72"/>
                </a:cubicBezTo>
                <a:cubicBezTo>
                  <a:pt x="1411" y="72"/>
                  <a:pt x="1411" y="72"/>
                  <a:pt x="1410" y="72"/>
                </a:cubicBezTo>
                <a:cubicBezTo>
                  <a:pt x="1411" y="72"/>
                  <a:pt x="1410" y="73"/>
                  <a:pt x="1411" y="74"/>
                </a:cubicBezTo>
                <a:cubicBezTo>
                  <a:pt x="1411" y="74"/>
                  <a:pt x="1411" y="74"/>
                  <a:pt x="1411" y="74"/>
                </a:cubicBezTo>
                <a:cubicBezTo>
                  <a:pt x="1411" y="74"/>
                  <a:pt x="1411" y="75"/>
                  <a:pt x="1411" y="75"/>
                </a:cubicBezTo>
                <a:cubicBezTo>
                  <a:pt x="1411" y="75"/>
                  <a:pt x="1411" y="76"/>
                  <a:pt x="1411" y="76"/>
                </a:cubicBezTo>
                <a:cubicBezTo>
                  <a:pt x="1411" y="76"/>
                  <a:pt x="1411" y="77"/>
                  <a:pt x="1411" y="77"/>
                </a:cubicBezTo>
                <a:cubicBezTo>
                  <a:pt x="1411" y="77"/>
                  <a:pt x="1411" y="77"/>
                  <a:pt x="1411" y="77"/>
                </a:cubicBezTo>
                <a:cubicBezTo>
                  <a:pt x="1412" y="78"/>
                  <a:pt x="1411" y="78"/>
                  <a:pt x="1412" y="79"/>
                </a:cubicBezTo>
                <a:cubicBezTo>
                  <a:pt x="1412" y="79"/>
                  <a:pt x="1412" y="79"/>
                  <a:pt x="1412" y="79"/>
                </a:cubicBezTo>
                <a:cubicBezTo>
                  <a:pt x="1412" y="79"/>
                  <a:pt x="1412" y="79"/>
                  <a:pt x="1412" y="80"/>
                </a:cubicBezTo>
                <a:cubicBezTo>
                  <a:pt x="1412" y="80"/>
                  <a:pt x="1412" y="80"/>
                  <a:pt x="1412" y="80"/>
                </a:cubicBezTo>
                <a:cubicBezTo>
                  <a:pt x="1412" y="80"/>
                  <a:pt x="1412" y="81"/>
                  <a:pt x="1413" y="81"/>
                </a:cubicBezTo>
                <a:cubicBezTo>
                  <a:pt x="1413" y="81"/>
                  <a:pt x="1413" y="81"/>
                  <a:pt x="1413" y="81"/>
                </a:cubicBezTo>
                <a:cubicBezTo>
                  <a:pt x="1413" y="81"/>
                  <a:pt x="1413" y="82"/>
                  <a:pt x="1413" y="82"/>
                </a:cubicBezTo>
                <a:cubicBezTo>
                  <a:pt x="1413" y="82"/>
                  <a:pt x="1413" y="82"/>
                  <a:pt x="1413" y="82"/>
                </a:cubicBezTo>
                <a:cubicBezTo>
                  <a:pt x="1413" y="82"/>
                  <a:pt x="1413" y="83"/>
                  <a:pt x="1413" y="83"/>
                </a:cubicBezTo>
                <a:cubicBezTo>
                  <a:pt x="1413" y="83"/>
                  <a:pt x="1413" y="83"/>
                  <a:pt x="1413" y="83"/>
                </a:cubicBezTo>
                <a:cubicBezTo>
                  <a:pt x="1413" y="83"/>
                  <a:pt x="1413" y="84"/>
                  <a:pt x="1414" y="84"/>
                </a:cubicBezTo>
                <a:cubicBezTo>
                  <a:pt x="1414" y="84"/>
                  <a:pt x="1414" y="84"/>
                  <a:pt x="1414" y="84"/>
                </a:cubicBezTo>
                <a:cubicBezTo>
                  <a:pt x="1414" y="84"/>
                  <a:pt x="1414" y="85"/>
                  <a:pt x="1414" y="85"/>
                </a:cubicBezTo>
                <a:cubicBezTo>
                  <a:pt x="1414" y="85"/>
                  <a:pt x="1414" y="85"/>
                  <a:pt x="1414" y="85"/>
                </a:cubicBezTo>
                <a:cubicBezTo>
                  <a:pt x="1414" y="85"/>
                  <a:pt x="1414" y="85"/>
                  <a:pt x="1414" y="85"/>
                </a:cubicBezTo>
                <a:cubicBezTo>
                  <a:pt x="1414" y="86"/>
                  <a:pt x="1414" y="86"/>
                  <a:pt x="1414" y="86"/>
                </a:cubicBezTo>
                <a:cubicBezTo>
                  <a:pt x="1414" y="86"/>
                  <a:pt x="1414" y="86"/>
                  <a:pt x="1414" y="86"/>
                </a:cubicBezTo>
                <a:cubicBezTo>
                  <a:pt x="1414" y="86"/>
                  <a:pt x="1414" y="86"/>
                  <a:pt x="1415" y="87"/>
                </a:cubicBezTo>
                <a:cubicBezTo>
                  <a:pt x="1415" y="86"/>
                  <a:pt x="1415" y="86"/>
                  <a:pt x="1415" y="86"/>
                </a:cubicBezTo>
                <a:cubicBezTo>
                  <a:pt x="1415" y="87"/>
                  <a:pt x="1415" y="87"/>
                  <a:pt x="1415" y="87"/>
                </a:cubicBezTo>
                <a:cubicBezTo>
                  <a:pt x="1415" y="87"/>
                  <a:pt x="1415" y="87"/>
                  <a:pt x="1415" y="87"/>
                </a:cubicBezTo>
                <a:cubicBezTo>
                  <a:pt x="1415" y="87"/>
                  <a:pt x="1415" y="88"/>
                  <a:pt x="1415" y="88"/>
                </a:cubicBezTo>
                <a:cubicBezTo>
                  <a:pt x="1415" y="88"/>
                  <a:pt x="1415" y="88"/>
                  <a:pt x="1415" y="88"/>
                </a:cubicBezTo>
                <a:cubicBezTo>
                  <a:pt x="1416" y="88"/>
                  <a:pt x="1415" y="88"/>
                  <a:pt x="1416" y="89"/>
                </a:cubicBezTo>
                <a:cubicBezTo>
                  <a:pt x="1416" y="89"/>
                  <a:pt x="1416" y="89"/>
                  <a:pt x="1416" y="89"/>
                </a:cubicBezTo>
                <a:cubicBezTo>
                  <a:pt x="1416" y="89"/>
                  <a:pt x="1416" y="89"/>
                  <a:pt x="1416" y="89"/>
                </a:cubicBezTo>
                <a:cubicBezTo>
                  <a:pt x="1416" y="89"/>
                  <a:pt x="1416" y="89"/>
                  <a:pt x="1416" y="89"/>
                </a:cubicBezTo>
                <a:cubicBezTo>
                  <a:pt x="1416" y="89"/>
                  <a:pt x="1416" y="90"/>
                  <a:pt x="1416" y="90"/>
                </a:cubicBezTo>
                <a:cubicBezTo>
                  <a:pt x="1416" y="90"/>
                  <a:pt x="1416" y="90"/>
                  <a:pt x="1416" y="90"/>
                </a:cubicBezTo>
                <a:cubicBezTo>
                  <a:pt x="1417" y="90"/>
                  <a:pt x="1417" y="90"/>
                  <a:pt x="1417" y="90"/>
                </a:cubicBezTo>
                <a:cubicBezTo>
                  <a:pt x="1417" y="90"/>
                  <a:pt x="1417" y="90"/>
                  <a:pt x="1417" y="90"/>
                </a:cubicBezTo>
                <a:cubicBezTo>
                  <a:pt x="1417" y="91"/>
                  <a:pt x="1417" y="91"/>
                  <a:pt x="1417" y="91"/>
                </a:cubicBezTo>
                <a:cubicBezTo>
                  <a:pt x="1417" y="91"/>
                  <a:pt x="1417" y="91"/>
                  <a:pt x="1417" y="91"/>
                </a:cubicBezTo>
                <a:cubicBezTo>
                  <a:pt x="1417" y="91"/>
                  <a:pt x="1417" y="91"/>
                  <a:pt x="1417" y="91"/>
                </a:cubicBezTo>
                <a:cubicBezTo>
                  <a:pt x="1417" y="91"/>
                  <a:pt x="1417" y="91"/>
                  <a:pt x="1417" y="91"/>
                </a:cubicBezTo>
                <a:cubicBezTo>
                  <a:pt x="1418" y="92"/>
                  <a:pt x="1418" y="92"/>
                  <a:pt x="1418" y="92"/>
                </a:cubicBezTo>
                <a:cubicBezTo>
                  <a:pt x="1418" y="92"/>
                  <a:pt x="1418" y="92"/>
                  <a:pt x="1418" y="92"/>
                </a:cubicBezTo>
                <a:cubicBezTo>
                  <a:pt x="1418" y="92"/>
                  <a:pt x="1418" y="92"/>
                  <a:pt x="1418" y="92"/>
                </a:cubicBezTo>
                <a:cubicBezTo>
                  <a:pt x="1418" y="92"/>
                  <a:pt x="1418" y="92"/>
                  <a:pt x="1418" y="92"/>
                </a:cubicBezTo>
                <a:cubicBezTo>
                  <a:pt x="1418" y="93"/>
                  <a:pt x="1419" y="93"/>
                  <a:pt x="1419" y="93"/>
                </a:cubicBezTo>
                <a:cubicBezTo>
                  <a:pt x="1419" y="93"/>
                  <a:pt x="1419" y="93"/>
                  <a:pt x="1419" y="93"/>
                </a:cubicBezTo>
                <a:cubicBezTo>
                  <a:pt x="1419" y="94"/>
                  <a:pt x="1419" y="94"/>
                  <a:pt x="1419" y="94"/>
                </a:cubicBezTo>
                <a:cubicBezTo>
                  <a:pt x="1419" y="94"/>
                  <a:pt x="1419" y="94"/>
                  <a:pt x="1419" y="94"/>
                </a:cubicBezTo>
                <a:cubicBezTo>
                  <a:pt x="1419" y="94"/>
                  <a:pt x="1419" y="94"/>
                  <a:pt x="1419" y="94"/>
                </a:cubicBezTo>
                <a:cubicBezTo>
                  <a:pt x="1419" y="94"/>
                  <a:pt x="1419" y="94"/>
                  <a:pt x="1419" y="94"/>
                </a:cubicBezTo>
                <a:cubicBezTo>
                  <a:pt x="1420" y="94"/>
                  <a:pt x="1420" y="95"/>
                  <a:pt x="1420" y="95"/>
                </a:cubicBezTo>
                <a:cubicBezTo>
                  <a:pt x="1420" y="95"/>
                  <a:pt x="1420" y="95"/>
                  <a:pt x="1420" y="95"/>
                </a:cubicBezTo>
                <a:cubicBezTo>
                  <a:pt x="1420" y="95"/>
                  <a:pt x="1420" y="95"/>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7"/>
                  <a:pt x="1422" y="97"/>
                </a:cubicBezTo>
                <a:cubicBezTo>
                  <a:pt x="1422" y="97"/>
                  <a:pt x="1422" y="97"/>
                  <a:pt x="1422" y="97"/>
                </a:cubicBezTo>
                <a:cubicBezTo>
                  <a:pt x="1422" y="97"/>
                  <a:pt x="1422" y="97"/>
                  <a:pt x="1422" y="97"/>
                </a:cubicBezTo>
                <a:cubicBezTo>
                  <a:pt x="1422" y="97"/>
                  <a:pt x="1422" y="97"/>
                  <a:pt x="1422" y="97"/>
                </a:cubicBezTo>
                <a:cubicBezTo>
                  <a:pt x="1422" y="97"/>
                  <a:pt x="1423" y="97"/>
                  <a:pt x="1423" y="98"/>
                </a:cubicBezTo>
                <a:cubicBezTo>
                  <a:pt x="1423" y="98"/>
                  <a:pt x="1423" y="98"/>
                  <a:pt x="1423" y="98"/>
                </a:cubicBezTo>
                <a:cubicBezTo>
                  <a:pt x="1423" y="98"/>
                  <a:pt x="1423" y="98"/>
                  <a:pt x="1423" y="98"/>
                </a:cubicBezTo>
                <a:cubicBezTo>
                  <a:pt x="1423" y="98"/>
                  <a:pt x="1423" y="98"/>
                  <a:pt x="1423" y="98"/>
                </a:cubicBezTo>
                <a:cubicBezTo>
                  <a:pt x="1423" y="98"/>
                  <a:pt x="1424" y="98"/>
                  <a:pt x="1424" y="98"/>
                </a:cubicBezTo>
                <a:cubicBezTo>
                  <a:pt x="1424" y="98"/>
                  <a:pt x="1424" y="98"/>
                  <a:pt x="1424" y="98"/>
                </a:cubicBezTo>
                <a:cubicBezTo>
                  <a:pt x="1424" y="99"/>
                  <a:pt x="1424" y="99"/>
                  <a:pt x="1425" y="99"/>
                </a:cubicBezTo>
                <a:cubicBezTo>
                  <a:pt x="1425" y="99"/>
                  <a:pt x="1425" y="99"/>
                  <a:pt x="1425" y="99"/>
                </a:cubicBezTo>
                <a:cubicBezTo>
                  <a:pt x="1425" y="99"/>
                  <a:pt x="1425" y="99"/>
                  <a:pt x="1425" y="99"/>
                </a:cubicBezTo>
                <a:cubicBezTo>
                  <a:pt x="1425" y="99"/>
                  <a:pt x="1425" y="99"/>
                  <a:pt x="1425" y="99"/>
                </a:cubicBezTo>
                <a:cubicBezTo>
                  <a:pt x="1425" y="100"/>
                  <a:pt x="1426" y="100"/>
                  <a:pt x="1426" y="100"/>
                </a:cubicBezTo>
                <a:cubicBezTo>
                  <a:pt x="1426" y="100"/>
                  <a:pt x="1426" y="100"/>
                  <a:pt x="1426" y="100"/>
                </a:cubicBezTo>
                <a:cubicBezTo>
                  <a:pt x="1426" y="100"/>
                  <a:pt x="1426" y="100"/>
                  <a:pt x="1426" y="100"/>
                </a:cubicBezTo>
                <a:cubicBezTo>
                  <a:pt x="1426" y="100"/>
                  <a:pt x="1426" y="100"/>
                  <a:pt x="1426" y="100"/>
                </a:cubicBezTo>
                <a:cubicBezTo>
                  <a:pt x="1427" y="100"/>
                  <a:pt x="1427" y="100"/>
                  <a:pt x="1427" y="100"/>
                </a:cubicBezTo>
                <a:cubicBezTo>
                  <a:pt x="1427" y="100"/>
                  <a:pt x="1427" y="100"/>
                  <a:pt x="1427" y="100"/>
                </a:cubicBezTo>
                <a:cubicBezTo>
                  <a:pt x="1427" y="101"/>
                  <a:pt x="1428" y="101"/>
                  <a:pt x="1428" y="101"/>
                </a:cubicBezTo>
                <a:cubicBezTo>
                  <a:pt x="1428" y="101"/>
                  <a:pt x="1428" y="101"/>
                  <a:pt x="1428" y="101"/>
                </a:cubicBezTo>
                <a:cubicBezTo>
                  <a:pt x="1428" y="101"/>
                  <a:pt x="1428" y="101"/>
                  <a:pt x="1429" y="101"/>
                </a:cubicBezTo>
                <a:cubicBezTo>
                  <a:pt x="1429" y="101"/>
                  <a:pt x="1429" y="101"/>
                  <a:pt x="1429" y="101"/>
                </a:cubicBezTo>
                <a:cubicBezTo>
                  <a:pt x="1429" y="101"/>
                  <a:pt x="1429" y="101"/>
                  <a:pt x="1429" y="101"/>
                </a:cubicBezTo>
                <a:cubicBezTo>
                  <a:pt x="1429" y="101"/>
                  <a:pt x="1429" y="101"/>
                  <a:pt x="1429" y="101"/>
                </a:cubicBezTo>
                <a:cubicBezTo>
                  <a:pt x="1430" y="102"/>
                  <a:pt x="1430" y="102"/>
                  <a:pt x="1430" y="102"/>
                </a:cubicBezTo>
                <a:cubicBezTo>
                  <a:pt x="1430" y="102"/>
                  <a:pt x="1430" y="102"/>
                  <a:pt x="1430" y="102"/>
                </a:cubicBezTo>
                <a:cubicBezTo>
                  <a:pt x="1431" y="102"/>
                  <a:pt x="1431" y="102"/>
                  <a:pt x="1431" y="102"/>
                </a:cubicBezTo>
                <a:cubicBezTo>
                  <a:pt x="1431" y="102"/>
                  <a:pt x="1431" y="102"/>
                  <a:pt x="1431" y="102"/>
                </a:cubicBezTo>
                <a:cubicBezTo>
                  <a:pt x="1432" y="103"/>
                  <a:pt x="1432" y="102"/>
                  <a:pt x="1433" y="103"/>
                </a:cubicBezTo>
                <a:cubicBezTo>
                  <a:pt x="1433" y="103"/>
                  <a:pt x="1433" y="103"/>
                  <a:pt x="1433" y="103"/>
                </a:cubicBezTo>
                <a:cubicBezTo>
                  <a:pt x="1433" y="103"/>
                  <a:pt x="1433" y="103"/>
                  <a:pt x="1433" y="103"/>
                </a:cubicBezTo>
                <a:cubicBezTo>
                  <a:pt x="1434" y="103"/>
                  <a:pt x="1434" y="103"/>
                  <a:pt x="1435" y="103"/>
                </a:cubicBezTo>
                <a:cubicBezTo>
                  <a:pt x="1435" y="103"/>
                  <a:pt x="1435" y="103"/>
                  <a:pt x="1435" y="103"/>
                </a:cubicBezTo>
                <a:cubicBezTo>
                  <a:pt x="1435" y="103"/>
                  <a:pt x="1435" y="103"/>
                  <a:pt x="1435" y="103"/>
                </a:cubicBezTo>
                <a:cubicBezTo>
                  <a:pt x="1436" y="103"/>
                  <a:pt x="1437" y="103"/>
                  <a:pt x="1438" y="103"/>
                </a:cubicBezTo>
                <a:cubicBezTo>
                  <a:pt x="1439" y="103"/>
                  <a:pt x="1440" y="103"/>
                  <a:pt x="1441" y="103"/>
                </a:cubicBezTo>
                <a:cubicBezTo>
                  <a:pt x="1442" y="103"/>
                  <a:pt x="1443" y="103"/>
                  <a:pt x="1444" y="103"/>
                </a:cubicBezTo>
                <a:cubicBezTo>
                  <a:pt x="1444" y="103"/>
                  <a:pt x="1444" y="103"/>
                  <a:pt x="1444" y="103"/>
                </a:cubicBezTo>
                <a:cubicBezTo>
                  <a:pt x="1444" y="103"/>
                  <a:pt x="1444" y="103"/>
                  <a:pt x="1444" y="103"/>
                </a:cubicBezTo>
                <a:cubicBezTo>
                  <a:pt x="1445" y="103"/>
                  <a:pt x="1445" y="103"/>
                  <a:pt x="1446" y="103"/>
                </a:cubicBezTo>
                <a:cubicBezTo>
                  <a:pt x="1446" y="103"/>
                  <a:pt x="1446" y="103"/>
                  <a:pt x="1446" y="103"/>
                </a:cubicBezTo>
                <a:cubicBezTo>
                  <a:pt x="1446" y="103"/>
                  <a:pt x="1446" y="103"/>
                  <a:pt x="1446" y="103"/>
                </a:cubicBezTo>
                <a:cubicBezTo>
                  <a:pt x="1446" y="102"/>
                  <a:pt x="1447" y="103"/>
                  <a:pt x="1447" y="102"/>
                </a:cubicBezTo>
                <a:cubicBezTo>
                  <a:pt x="1447" y="102"/>
                  <a:pt x="1447" y="102"/>
                  <a:pt x="1447" y="102"/>
                </a:cubicBezTo>
                <a:cubicBezTo>
                  <a:pt x="1448" y="102"/>
                  <a:pt x="1448" y="102"/>
                  <a:pt x="1448" y="102"/>
                </a:cubicBezTo>
                <a:cubicBezTo>
                  <a:pt x="1448" y="102"/>
                  <a:pt x="1448" y="102"/>
                  <a:pt x="1448" y="102"/>
                </a:cubicBezTo>
                <a:cubicBezTo>
                  <a:pt x="1449" y="102"/>
                  <a:pt x="1449" y="102"/>
                  <a:pt x="1449" y="102"/>
                </a:cubicBezTo>
                <a:cubicBezTo>
                  <a:pt x="1449" y="102"/>
                  <a:pt x="1449" y="102"/>
                  <a:pt x="1449" y="101"/>
                </a:cubicBezTo>
                <a:cubicBezTo>
                  <a:pt x="1449" y="102"/>
                  <a:pt x="1449" y="102"/>
                  <a:pt x="1449" y="102"/>
                </a:cubicBezTo>
                <a:cubicBezTo>
                  <a:pt x="1450" y="101"/>
                  <a:pt x="1450" y="101"/>
                  <a:pt x="1450" y="101"/>
                </a:cubicBezTo>
                <a:cubicBezTo>
                  <a:pt x="1450" y="101"/>
                  <a:pt x="1450" y="101"/>
                  <a:pt x="1450" y="101"/>
                </a:cubicBezTo>
                <a:cubicBezTo>
                  <a:pt x="1450" y="101"/>
                  <a:pt x="1450" y="101"/>
                  <a:pt x="1450" y="101"/>
                </a:cubicBezTo>
                <a:cubicBezTo>
                  <a:pt x="1451" y="101"/>
                  <a:pt x="1451" y="101"/>
                  <a:pt x="1451" y="101"/>
                </a:cubicBezTo>
                <a:cubicBezTo>
                  <a:pt x="1451" y="101"/>
                  <a:pt x="1451" y="101"/>
                  <a:pt x="1451" y="101"/>
                </a:cubicBezTo>
                <a:cubicBezTo>
                  <a:pt x="1451" y="101"/>
                  <a:pt x="1452" y="101"/>
                  <a:pt x="1452" y="100"/>
                </a:cubicBezTo>
                <a:cubicBezTo>
                  <a:pt x="1452" y="100"/>
                  <a:pt x="1452" y="100"/>
                  <a:pt x="1452" y="100"/>
                </a:cubicBezTo>
                <a:cubicBezTo>
                  <a:pt x="1452" y="100"/>
                  <a:pt x="1452" y="100"/>
                  <a:pt x="1453" y="100"/>
                </a:cubicBezTo>
                <a:cubicBezTo>
                  <a:pt x="1453" y="100"/>
                  <a:pt x="1453" y="100"/>
                  <a:pt x="1453" y="100"/>
                </a:cubicBezTo>
                <a:cubicBezTo>
                  <a:pt x="1453" y="100"/>
                  <a:pt x="1453" y="100"/>
                  <a:pt x="1453" y="100"/>
                </a:cubicBezTo>
                <a:cubicBezTo>
                  <a:pt x="1453" y="100"/>
                  <a:pt x="1453" y="100"/>
                  <a:pt x="1453" y="100"/>
                </a:cubicBezTo>
                <a:cubicBezTo>
                  <a:pt x="1453" y="100"/>
                  <a:pt x="1453" y="100"/>
                  <a:pt x="1454" y="99"/>
                </a:cubicBezTo>
                <a:cubicBezTo>
                  <a:pt x="1454" y="99"/>
                  <a:pt x="1454" y="99"/>
                  <a:pt x="1454" y="99"/>
                </a:cubicBezTo>
                <a:cubicBezTo>
                  <a:pt x="1454" y="99"/>
                  <a:pt x="1454" y="99"/>
                  <a:pt x="1454" y="99"/>
                </a:cubicBezTo>
                <a:cubicBezTo>
                  <a:pt x="1454" y="99"/>
                  <a:pt x="1454" y="99"/>
                  <a:pt x="1454" y="99"/>
                </a:cubicBezTo>
                <a:cubicBezTo>
                  <a:pt x="1454" y="99"/>
                  <a:pt x="1455" y="99"/>
                  <a:pt x="1455" y="99"/>
                </a:cubicBezTo>
                <a:cubicBezTo>
                  <a:pt x="1455" y="99"/>
                  <a:pt x="1455" y="99"/>
                  <a:pt x="1455" y="99"/>
                </a:cubicBezTo>
                <a:cubicBezTo>
                  <a:pt x="1455" y="98"/>
                  <a:pt x="1455" y="99"/>
                  <a:pt x="1455" y="98"/>
                </a:cubicBezTo>
                <a:cubicBezTo>
                  <a:pt x="1455" y="98"/>
                  <a:pt x="1455" y="98"/>
                  <a:pt x="1455" y="98"/>
                </a:cubicBezTo>
                <a:cubicBezTo>
                  <a:pt x="1455" y="98"/>
                  <a:pt x="1456" y="98"/>
                  <a:pt x="1456" y="98"/>
                </a:cubicBezTo>
                <a:cubicBezTo>
                  <a:pt x="1456" y="98"/>
                  <a:pt x="1456" y="98"/>
                  <a:pt x="1456" y="98"/>
                </a:cubicBezTo>
                <a:cubicBezTo>
                  <a:pt x="1456" y="98"/>
                  <a:pt x="1456" y="98"/>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8" y="97"/>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9" y="95"/>
                  <a:pt x="1459" y="95"/>
                  <a:pt x="1459" y="95"/>
                </a:cubicBezTo>
                <a:cubicBezTo>
                  <a:pt x="1459" y="95"/>
                  <a:pt x="1459" y="95"/>
                  <a:pt x="1459" y="95"/>
                </a:cubicBezTo>
                <a:cubicBezTo>
                  <a:pt x="1459" y="95"/>
                  <a:pt x="1459" y="95"/>
                  <a:pt x="1459" y="95"/>
                </a:cubicBezTo>
                <a:cubicBezTo>
                  <a:pt x="1459" y="95"/>
                  <a:pt x="1459" y="95"/>
                  <a:pt x="1459" y="95"/>
                </a:cubicBezTo>
                <a:cubicBezTo>
                  <a:pt x="1459" y="95"/>
                  <a:pt x="1459" y="95"/>
                  <a:pt x="1459" y="94"/>
                </a:cubicBezTo>
                <a:cubicBezTo>
                  <a:pt x="1459" y="95"/>
                  <a:pt x="1459" y="95"/>
                  <a:pt x="1459" y="95"/>
                </a:cubicBezTo>
                <a:cubicBezTo>
                  <a:pt x="1460" y="94"/>
                  <a:pt x="1460" y="94"/>
                  <a:pt x="1460" y="94"/>
                </a:cubicBezTo>
                <a:cubicBezTo>
                  <a:pt x="1460" y="94"/>
                  <a:pt x="1460" y="94"/>
                  <a:pt x="1460" y="94"/>
                </a:cubicBezTo>
                <a:cubicBezTo>
                  <a:pt x="1460" y="94"/>
                  <a:pt x="1460" y="94"/>
                  <a:pt x="1460" y="94"/>
                </a:cubicBezTo>
                <a:cubicBezTo>
                  <a:pt x="1460" y="94"/>
                  <a:pt x="1460" y="94"/>
                  <a:pt x="1460" y="94"/>
                </a:cubicBezTo>
                <a:cubicBezTo>
                  <a:pt x="1460" y="94"/>
                  <a:pt x="1460" y="93"/>
                  <a:pt x="1461" y="93"/>
                </a:cubicBezTo>
                <a:cubicBezTo>
                  <a:pt x="1461" y="93"/>
                  <a:pt x="1461" y="93"/>
                  <a:pt x="1461" y="93"/>
                </a:cubicBezTo>
                <a:cubicBezTo>
                  <a:pt x="1461" y="93"/>
                  <a:pt x="1461" y="93"/>
                  <a:pt x="1461" y="93"/>
                </a:cubicBezTo>
                <a:cubicBezTo>
                  <a:pt x="1461" y="93"/>
                  <a:pt x="1461" y="93"/>
                  <a:pt x="1461" y="93"/>
                </a:cubicBezTo>
                <a:cubicBezTo>
                  <a:pt x="1461" y="93"/>
                  <a:pt x="1461" y="93"/>
                  <a:pt x="1461" y="92"/>
                </a:cubicBezTo>
                <a:cubicBezTo>
                  <a:pt x="1461" y="92"/>
                  <a:pt x="1461" y="92"/>
                  <a:pt x="1461" y="92"/>
                </a:cubicBezTo>
                <a:cubicBezTo>
                  <a:pt x="1461" y="92"/>
                  <a:pt x="1461" y="92"/>
                  <a:pt x="1462" y="92"/>
                </a:cubicBezTo>
                <a:cubicBezTo>
                  <a:pt x="1462" y="92"/>
                  <a:pt x="1462" y="92"/>
                  <a:pt x="1462" y="92"/>
                </a:cubicBezTo>
                <a:cubicBezTo>
                  <a:pt x="1462" y="92"/>
                  <a:pt x="1462" y="92"/>
                  <a:pt x="1462" y="91"/>
                </a:cubicBezTo>
                <a:cubicBezTo>
                  <a:pt x="1462" y="91"/>
                  <a:pt x="1462" y="91"/>
                  <a:pt x="1462" y="91"/>
                </a:cubicBezTo>
                <a:cubicBezTo>
                  <a:pt x="1462" y="91"/>
                  <a:pt x="1462" y="91"/>
                  <a:pt x="1463" y="90"/>
                </a:cubicBezTo>
                <a:cubicBezTo>
                  <a:pt x="1463" y="90"/>
                  <a:pt x="1463" y="90"/>
                  <a:pt x="1463" y="90"/>
                </a:cubicBezTo>
                <a:cubicBezTo>
                  <a:pt x="1463" y="90"/>
                  <a:pt x="1463" y="90"/>
                  <a:pt x="1463" y="90"/>
                </a:cubicBezTo>
                <a:cubicBezTo>
                  <a:pt x="1463" y="90"/>
                  <a:pt x="1463" y="90"/>
                  <a:pt x="1463" y="90"/>
                </a:cubicBezTo>
                <a:cubicBezTo>
                  <a:pt x="1463" y="90"/>
                  <a:pt x="1463" y="89"/>
                  <a:pt x="1463" y="89"/>
                </a:cubicBezTo>
                <a:cubicBezTo>
                  <a:pt x="1463" y="89"/>
                  <a:pt x="1463" y="89"/>
                  <a:pt x="1463" y="89"/>
                </a:cubicBezTo>
                <a:cubicBezTo>
                  <a:pt x="1464" y="89"/>
                  <a:pt x="1463" y="89"/>
                  <a:pt x="1464" y="89"/>
                </a:cubicBezTo>
                <a:cubicBezTo>
                  <a:pt x="1464" y="89"/>
                  <a:pt x="1464" y="89"/>
                  <a:pt x="1464" y="89"/>
                </a:cubicBezTo>
                <a:cubicBezTo>
                  <a:pt x="1464" y="88"/>
                  <a:pt x="1464" y="88"/>
                  <a:pt x="1464" y="88"/>
                </a:cubicBezTo>
                <a:cubicBezTo>
                  <a:pt x="1464" y="88"/>
                  <a:pt x="1464" y="88"/>
                  <a:pt x="1464" y="88"/>
                </a:cubicBezTo>
                <a:cubicBezTo>
                  <a:pt x="1464" y="88"/>
                  <a:pt x="1464" y="87"/>
                  <a:pt x="1464" y="87"/>
                </a:cubicBezTo>
                <a:cubicBezTo>
                  <a:pt x="1464" y="87"/>
                  <a:pt x="1464" y="87"/>
                  <a:pt x="1464" y="87"/>
                </a:cubicBezTo>
                <a:cubicBezTo>
                  <a:pt x="1465" y="87"/>
                  <a:pt x="1465" y="87"/>
                  <a:pt x="1465" y="87"/>
                </a:cubicBezTo>
                <a:cubicBezTo>
                  <a:pt x="1465" y="87"/>
                  <a:pt x="1465" y="87"/>
                  <a:pt x="1465" y="87"/>
                </a:cubicBezTo>
                <a:cubicBezTo>
                  <a:pt x="1465" y="86"/>
                  <a:pt x="1465" y="86"/>
                  <a:pt x="1465" y="86"/>
                </a:cubicBezTo>
                <a:cubicBezTo>
                  <a:pt x="1465" y="86"/>
                  <a:pt x="1465" y="86"/>
                  <a:pt x="1465" y="86"/>
                </a:cubicBezTo>
                <a:cubicBezTo>
                  <a:pt x="1465" y="86"/>
                  <a:pt x="1465" y="85"/>
                  <a:pt x="1465" y="85"/>
                </a:cubicBezTo>
                <a:cubicBezTo>
                  <a:pt x="1465" y="85"/>
                  <a:pt x="1465" y="85"/>
                  <a:pt x="1465" y="85"/>
                </a:cubicBezTo>
                <a:cubicBezTo>
                  <a:pt x="1466" y="85"/>
                  <a:pt x="1466" y="85"/>
                  <a:pt x="1466" y="84"/>
                </a:cubicBezTo>
                <a:cubicBezTo>
                  <a:pt x="1466" y="84"/>
                  <a:pt x="1466" y="84"/>
                  <a:pt x="1466" y="84"/>
                </a:cubicBezTo>
                <a:cubicBezTo>
                  <a:pt x="1466" y="84"/>
                  <a:pt x="1466" y="84"/>
                  <a:pt x="1466" y="84"/>
                </a:cubicBezTo>
                <a:cubicBezTo>
                  <a:pt x="1466" y="83"/>
                  <a:pt x="1466" y="83"/>
                  <a:pt x="1466" y="83"/>
                </a:cubicBezTo>
                <a:cubicBezTo>
                  <a:pt x="1466" y="83"/>
                  <a:pt x="1466" y="83"/>
                  <a:pt x="1466" y="83"/>
                </a:cubicBezTo>
                <a:cubicBezTo>
                  <a:pt x="1466" y="83"/>
                  <a:pt x="1466" y="83"/>
                  <a:pt x="1466" y="83"/>
                </a:cubicBezTo>
                <a:cubicBezTo>
                  <a:pt x="1466" y="83"/>
                  <a:pt x="1466" y="83"/>
                  <a:pt x="1466" y="83"/>
                </a:cubicBezTo>
                <a:cubicBezTo>
                  <a:pt x="1467" y="82"/>
                  <a:pt x="1467" y="82"/>
                  <a:pt x="1467" y="82"/>
                </a:cubicBezTo>
                <a:cubicBezTo>
                  <a:pt x="1467" y="82"/>
                  <a:pt x="1467" y="82"/>
                  <a:pt x="1467" y="82"/>
                </a:cubicBezTo>
                <a:cubicBezTo>
                  <a:pt x="1467" y="81"/>
                  <a:pt x="1467" y="81"/>
                  <a:pt x="1467" y="81"/>
                </a:cubicBezTo>
                <a:cubicBezTo>
                  <a:pt x="1467" y="81"/>
                  <a:pt x="1467" y="81"/>
                  <a:pt x="1467" y="81"/>
                </a:cubicBezTo>
                <a:cubicBezTo>
                  <a:pt x="1467" y="81"/>
                  <a:pt x="1467" y="81"/>
                  <a:pt x="1467" y="81"/>
                </a:cubicBezTo>
                <a:cubicBezTo>
                  <a:pt x="1467" y="80"/>
                  <a:pt x="1467" y="80"/>
                  <a:pt x="1467" y="80"/>
                </a:cubicBezTo>
                <a:cubicBezTo>
                  <a:pt x="1467" y="80"/>
                  <a:pt x="1467" y="80"/>
                  <a:pt x="1467" y="80"/>
                </a:cubicBezTo>
                <a:cubicBezTo>
                  <a:pt x="1468" y="80"/>
                  <a:pt x="1468" y="80"/>
                  <a:pt x="1468" y="80"/>
                </a:cubicBezTo>
                <a:cubicBezTo>
                  <a:pt x="1468" y="79"/>
                  <a:pt x="1468" y="79"/>
                  <a:pt x="1468" y="79"/>
                </a:cubicBezTo>
                <a:cubicBezTo>
                  <a:pt x="1468" y="79"/>
                  <a:pt x="1468" y="79"/>
                  <a:pt x="1468" y="79"/>
                </a:cubicBezTo>
                <a:cubicBezTo>
                  <a:pt x="1468" y="78"/>
                  <a:pt x="1468" y="78"/>
                  <a:pt x="1468" y="77"/>
                </a:cubicBezTo>
                <a:cubicBezTo>
                  <a:pt x="1468" y="77"/>
                  <a:pt x="1468" y="77"/>
                  <a:pt x="1468" y="77"/>
                </a:cubicBezTo>
                <a:cubicBezTo>
                  <a:pt x="1468" y="77"/>
                  <a:pt x="1468" y="77"/>
                  <a:pt x="1468" y="77"/>
                </a:cubicBezTo>
                <a:cubicBezTo>
                  <a:pt x="1469" y="77"/>
                  <a:pt x="1468" y="76"/>
                  <a:pt x="1469" y="76"/>
                </a:cubicBezTo>
                <a:cubicBezTo>
                  <a:pt x="1468" y="76"/>
                  <a:pt x="1468" y="76"/>
                  <a:pt x="1469" y="76"/>
                </a:cubicBezTo>
                <a:cubicBezTo>
                  <a:pt x="1469" y="75"/>
                  <a:pt x="1469" y="75"/>
                  <a:pt x="1469" y="75"/>
                </a:cubicBezTo>
                <a:cubicBezTo>
                  <a:pt x="1469" y="74"/>
                  <a:pt x="1469" y="74"/>
                  <a:pt x="1469" y="74"/>
                </a:cubicBezTo>
                <a:cubicBezTo>
                  <a:pt x="1469" y="74"/>
                  <a:pt x="1469" y="74"/>
                  <a:pt x="1469" y="74"/>
                </a:cubicBezTo>
                <a:cubicBezTo>
                  <a:pt x="1469" y="74"/>
                  <a:pt x="1469" y="73"/>
                  <a:pt x="1469" y="73"/>
                </a:cubicBezTo>
                <a:cubicBezTo>
                  <a:pt x="1469" y="73"/>
                  <a:pt x="1469" y="73"/>
                  <a:pt x="1469" y="73"/>
                </a:cubicBezTo>
                <a:cubicBezTo>
                  <a:pt x="1470" y="72"/>
                  <a:pt x="1469" y="71"/>
                  <a:pt x="1470" y="71"/>
                </a:cubicBezTo>
                <a:cubicBezTo>
                  <a:pt x="1470" y="71"/>
                  <a:pt x="1470" y="71"/>
                  <a:pt x="1470" y="71"/>
                </a:cubicBezTo>
                <a:cubicBezTo>
                  <a:pt x="1470" y="70"/>
                  <a:pt x="1470" y="69"/>
                  <a:pt x="1470" y="69"/>
                </a:cubicBezTo>
                <a:cubicBezTo>
                  <a:pt x="1470" y="68"/>
                  <a:pt x="1470" y="68"/>
                  <a:pt x="1470" y="68"/>
                </a:cubicBezTo>
                <a:cubicBezTo>
                  <a:pt x="1470" y="67"/>
                  <a:pt x="1470" y="67"/>
                  <a:pt x="1470" y="66"/>
                </a:cubicBezTo>
                <a:cubicBezTo>
                  <a:pt x="1470" y="66"/>
                  <a:pt x="1470" y="66"/>
                  <a:pt x="1470" y="65"/>
                </a:cubicBezTo>
                <a:cubicBezTo>
                  <a:pt x="1471" y="64"/>
                  <a:pt x="1470" y="63"/>
                  <a:pt x="1471" y="62"/>
                </a:cubicBezTo>
                <a:cubicBezTo>
                  <a:pt x="1470" y="61"/>
                  <a:pt x="1471" y="61"/>
                  <a:pt x="1471" y="60"/>
                </a:cubicBezTo>
                <a:cubicBezTo>
                  <a:pt x="1471" y="56"/>
                  <a:pt x="1471" y="51"/>
                  <a:pt x="1471" y="47"/>
                </a:cubicBezTo>
                <a:cubicBezTo>
                  <a:pt x="1471" y="46"/>
                  <a:pt x="1471" y="46"/>
                  <a:pt x="1471" y="46"/>
                </a:cubicBezTo>
                <a:cubicBezTo>
                  <a:pt x="1470" y="44"/>
                  <a:pt x="1471" y="43"/>
                  <a:pt x="1470" y="42"/>
                </a:cubicBezTo>
                <a:cubicBezTo>
                  <a:pt x="1470" y="42"/>
                  <a:pt x="1470" y="41"/>
                  <a:pt x="1470" y="41"/>
                </a:cubicBezTo>
                <a:cubicBezTo>
                  <a:pt x="1470" y="40"/>
                  <a:pt x="1470" y="40"/>
                  <a:pt x="1470" y="39"/>
                </a:cubicBezTo>
                <a:cubicBezTo>
                  <a:pt x="1470" y="39"/>
                  <a:pt x="1470" y="38"/>
                  <a:pt x="1470" y="38"/>
                </a:cubicBezTo>
                <a:cubicBezTo>
                  <a:pt x="1470" y="38"/>
                  <a:pt x="1470" y="37"/>
                  <a:pt x="1470" y="36"/>
                </a:cubicBezTo>
                <a:cubicBezTo>
                  <a:pt x="1470" y="36"/>
                  <a:pt x="1469" y="36"/>
                  <a:pt x="1470" y="36"/>
                </a:cubicBezTo>
                <a:cubicBezTo>
                  <a:pt x="1469" y="35"/>
                  <a:pt x="1470" y="35"/>
                  <a:pt x="1469" y="34"/>
                </a:cubicBezTo>
                <a:cubicBezTo>
                  <a:pt x="1469" y="34"/>
                  <a:pt x="1469" y="34"/>
                  <a:pt x="1469" y="34"/>
                </a:cubicBezTo>
                <a:cubicBezTo>
                  <a:pt x="1469" y="34"/>
                  <a:pt x="1469" y="33"/>
                  <a:pt x="1469" y="33"/>
                </a:cubicBezTo>
                <a:cubicBezTo>
                  <a:pt x="1469" y="33"/>
                  <a:pt x="1469" y="32"/>
                  <a:pt x="1469" y="32"/>
                </a:cubicBezTo>
                <a:cubicBezTo>
                  <a:pt x="1469" y="32"/>
                  <a:pt x="1469" y="31"/>
                  <a:pt x="1469" y="31"/>
                </a:cubicBezTo>
                <a:cubicBezTo>
                  <a:pt x="1468" y="31"/>
                  <a:pt x="1468" y="31"/>
                  <a:pt x="1468" y="31"/>
                </a:cubicBezTo>
                <a:cubicBezTo>
                  <a:pt x="1469" y="31"/>
                  <a:pt x="1469" y="31"/>
                  <a:pt x="1469" y="31"/>
                </a:cubicBezTo>
                <a:cubicBezTo>
                  <a:pt x="1468" y="30"/>
                  <a:pt x="1469" y="30"/>
                  <a:pt x="1468" y="29"/>
                </a:cubicBezTo>
                <a:cubicBezTo>
                  <a:pt x="1468" y="29"/>
                  <a:pt x="1468" y="29"/>
                  <a:pt x="1468" y="29"/>
                </a:cubicBezTo>
                <a:cubicBezTo>
                  <a:pt x="1468" y="29"/>
                  <a:pt x="1468" y="29"/>
                  <a:pt x="1468" y="28"/>
                </a:cubicBezTo>
                <a:cubicBezTo>
                  <a:pt x="1468" y="28"/>
                  <a:pt x="1468" y="28"/>
                  <a:pt x="1468" y="28"/>
                </a:cubicBezTo>
                <a:cubicBezTo>
                  <a:pt x="1468" y="28"/>
                  <a:pt x="1468" y="27"/>
                  <a:pt x="1468" y="27"/>
                </a:cubicBezTo>
                <a:cubicBezTo>
                  <a:pt x="1468" y="27"/>
                  <a:pt x="1468" y="27"/>
                  <a:pt x="1468" y="27"/>
                </a:cubicBezTo>
                <a:cubicBezTo>
                  <a:pt x="1467" y="27"/>
                  <a:pt x="1467" y="26"/>
                  <a:pt x="1467" y="26"/>
                </a:cubicBezTo>
                <a:cubicBezTo>
                  <a:pt x="1467" y="26"/>
                  <a:pt x="1467" y="26"/>
                  <a:pt x="1467" y="26"/>
                </a:cubicBezTo>
                <a:cubicBezTo>
                  <a:pt x="1467" y="26"/>
                  <a:pt x="1467" y="25"/>
                  <a:pt x="1467" y="25"/>
                </a:cubicBezTo>
                <a:cubicBezTo>
                  <a:pt x="1467" y="25"/>
                  <a:pt x="1467" y="25"/>
                  <a:pt x="1467" y="25"/>
                </a:cubicBezTo>
                <a:cubicBezTo>
                  <a:pt x="1467" y="25"/>
                  <a:pt x="1467" y="24"/>
                  <a:pt x="1466" y="24"/>
                </a:cubicBezTo>
                <a:cubicBezTo>
                  <a:pt x="1466" y="24"/>
                  <a:pt x="1466" y="24"/>
                  <a:pt x="1466" y="24"/>
                </a:cubicBezTo>
                <a:cubicBezTo>
                  <a:pt x="1466" y="24"/>
                  <a:pt x="1466" y="23"/>
                  <a:pt x="1466" y="23"/>
                </a:cubicBezTo>
                <a:cubicBezTo>
                  <a:pt x="1466" y="23"/>
                  <a:pt x="1466" y="23"/>
                  <a:pt x="1466" y="23"/>
                </a:cubicBezTo>
                <a:cubicBezTo>
                  <a:pt x="1466" y="23"/>
                  <a:pt x="1466" y="22"/>
                  <a:pt x="1466" y="22"/>
                </a:cubicBezTo>
                <a:cubicBezTo>
                  <a:pt x="1466" y="22"/>
                  <a:pt x="1466" y="22"/>
                  <a:pt x="1466" y="22"/>
                </a:cubicBezTo>
                <a:cubicBezTo>
                  <a:pt x="1466" y="22"/>
                  <a:pt x="1466" y="22"/>
                  <a:pt x="1465" y="21"/>
                </a:cubicBezTo>
                <a:cubicBezTo>
                  <a:pt x="1465" y="21"/>
                  <a:pt x="1465" y="21"/>
                  <a:pt x="1465" y="21"/>
                </a:cubicBezTo>
                <a:cubicBezTo>
                  <a:pt x="1465" y="21"/>
                  <a:pt x="1465" y="21"/>
                  <a:pt x="1465" y="21"/>
                </a:cubicBezTo>
                <a:cubicBezTo>
                  <a:pt x="1465" y="21"/>
                  <a:pt x="1465" y="21"/>
                  <a:pt x="1465" y="21"/>
                </a:cubicBezTo>
                <a:cubicBezTo>
                  <a:pt x="1465" y="21"/>
                  <a:pt x="1465" y="20"/>
                  <a:pt x="1465" y="20"/>
                </a:cubicBezTo>
                <a:cubicBezTo>
                  <a:pt x="1465" y="20"/>
                  <a:pt x="1465" y="20"/>
                  <a:pt x="1465" y="20"/>
                </a:cubicBezTo>
                <a:cubicBezTo>
                  <a:pt x="1465" y="20"/>
                  <a:pt x="1465" y="20"/>
                  <a:pt x="1464" y="19"/>
                </a:cubicBezTo>
                <a:cubicBezTo>
                  <a:pt x="1464" y="19"/>
                  <a:pt x="1464" y="19"/>
                  <a:pt x="1464" y="19"/>
                </a:cubicBezTo>
                <a:cubicBezTo>
                  <a:pt x="1464" y="19"/>
                  <a:pt x="1464" y="19"/>
                  <a:pt x="1464" y="19"/>
                </a:cubicBezTo>
                <a:cubicBezTo>
                  <a:pt x="1464" y="19"/>
                  <a:pt x="1464" y="19"/>
                  <a:pt x="1464" y="19"/>
                </a:cubicBezTo>
                <a:cubicBezTo>
                  <a:pt x="1464" y="19"/>
                  <a:pt x="1464" y="18"/>
                  <a:pt x="1464" y="18"/>
                </a:cubicBezTo>
                <a:cubicBezTo>
                  <a:pt x="1464" y="18"/>
                  <a:pt x="1464" y="18"/>
                  <a:pt x="1464" y="18"/>
                </a:cubicBezTo>
                <a:cubicBezTo>
                  <a:pt x="1463" y="18"/>
                  <a:pt x="1464" y="18"/>
                  <a:pt x="1463" y="18"/>
                </a:cubicBezTo>
                <a:cubicBezTo>
                  <a:pt x="1463" y="18"/>
                  <a:pt x="1463" y="18"/>
                  <a:pt x="1463" y="18"/>
                </a:cubicBezTo>
                <a:cubicBezTo>
                  <a:pt x="1463" y="17"/>
                  <a:pt x="1463" y="17"/>
                  <a:pt x="1463" y="17"/>
                </a:cubicBezTo>
                <a:cubicBezTo>
                  <a:pt x="1463" y="17"/>
                  <a:pt x="1463" y="17"/>
                  <a:pt x="1463" y="17"/>
                </a:cubicBezTo>
                <a:cubicBezTo>
                  <a:pt x="1463" y="17"/>
                  <a:pt x="1463" y="17"/>
                  <a:pt x="1463" y="17"/>
                </a:cubicBezTo>
                <a:cubicBezTo>
                  <a:pt x="1463" y="17"/>
                  <a:pt x="1463" y="17"/>
                  <a:pt x="1463" y="17"/>
                </a:cubicBezTo>
                <a:cubicBezTo>
                  <a:pt x="1462" y="16"/>
                  <a:pt x="1463" y="16"/>
                  <a:pt x="1462" y="16"/>
                </a:cubicBezTo>
                <a:cubicBezTo>
                  <a:pt x="1462" y="16"/>
                  <a:pt x="1462" y="16"/>
                  <a:pt x="1462" y="16"/>
                </a:cubicBezTo>
                <a:cubicBezTo>
                  <a:pt x="1462" y="16"/>
                  <a:pt x="1462" y="16"/>
                  <a:pt x="1462" y="16"/>
                </a:cubicBezTo>
                <a:cubicBezTo>
                  <a:pt x="1462" y="16"/>
                  <a:pt x="1462" y="16"/>
                  <a:pt x="1462" y="16"/>
                </a:cubicBezTo>
                <a:cubicBezTo>
                  <a:pt x="1462" y="15"/>
                  <a:pt x="1462" y="15"/>
                  <a:pt x="1462" y="15"/>
                </a:cubicBezTo>
                <a:cubicBezTo>
                  <a:pt x="1462" y="15"/>
                  <a:pt x="1462" y="15"/>
                  <a:pt x="1462" y="15"/>
                </a:cubicBezTo>
                <a:cubicBezTo>
                  <a:pt x="1461" y="15"/>
                  <a:pt x="1461" y="14"/>
                  <a:pt x="1461" y="14"/>
                </a:cubicBezTo>
                <a:cubicBezTo>
                  <a:pt x="1461" y="14"/>
                  <a:pt x="1461" y="14"/>
                  <a:pt x="1461" y="14"/>
                </a:cubicBezTo>
                <a:cubicBezTo>
                  <a:pt x="1461" y="14"/>
                  <a:pt x="1461" y="14"/>
                  <a:pt x="1461" y="14"/>
                </a:cubicBezTo>
                <a:cubicBezTo>
                  <a:pt x="1461" y="14"/>
                  <a:pt x="1461" y="14"/>
                  <a:pt x="1461" y="14"/>
                </a:cubicBezTo>
                <a:cubicBezTo>
                  <a:pt x="1460" y="14"/>
                  <a:pt x="1460" y="14"/>
                  <a:pt x="1460" y="13"/>
                </a:cubicBezTo>
                <a:cubicBezTo>
                  <a:pt x="1460" y="13"/>
                  <a:pt x="1460" y="13"/>
                  <a:pt x="1460" y="13"/>
                </a:cubicBezTo>
                <a:cubicBezTo>
                  <a:pt x="1460" y="13"/>
                  <a:pt x="1460" y="13"/>
                  <a:pt x="1460" y="13"/>
                </a:cubicBezTo>
                <a:cubicBezTo>
                  <a:pt x="1460" y="13"/>
                  <a:pt x="1460" y="13"/>
                  <a:pt x="1460" y="13"/>
                </a:cubicBezTo>
                <a:cubicBezTo>
                  <a:pt x="1460" y="13"/>
                  <a:pt x="1460" y="13"/>
                  <a:pt x="1459" y="13"/>
                </a:cubicBezTo>
                <a:cubicBezTo>
                  <a:pt x="1460" y="13"/>
                  <a:pt x="1460" y="13"/>
                  <a:pt x="1460" y="13"/>
                </a:cubicBezTo>
                <a:cubicBezTo>
                  <a:pt x="1459" y="13"/>
                  <a:pt x="1459" y="13"/>
                  <a:pt x="1459" y="12"/>
                </a:cubicBezTo>
                <a:cubicBezTo>
                  <a:pt x="1459" y="12"/>
                  <a:pt x="1459" y="12"/>
                  <a:pt x="1459" y="12"/>
                </a:cubicBezTo>
                <a:cubicBezTo>
                  <a:pt x="1459" y="12"/>
                  <a:pt x="1459" y="12"/>
                  <a:pt x="1459" y="12"/>
                </a:cubicBezTo>
                <a:cubicBezTo>
                  <a:pt x="1459" y="12"/>
                  <a:pt x="1459" y="12"/>
                  <a:pt x="1459" y="12"/>
                </a:cubicBezTo>
                <a:cubicBezTo>
                  <a:pt x="1459" y="12"/>
                  <a:pt x="1459" y="12"/>
                  <a:pt x="1458" y="12"/>
                </a:cubicBezTo>
                <a:cubicBezTo>
                  <a:pt x="1458" y="12"/>
                  <a:pt x="1458" y="12"/>
                  <a:pt x="1458" y="12"/>
                </a:cubicBezTo>
                <a:cubicBezTo>
                  <a:pt x="1458" y="12"/>
                  <a:pt x="1458" y="11"/>
                  <a:pt x="1458" y="11"/>
                </a:cubicBezTo>
                <a:cubicBezTo>
                  <a:pt x="1458" y="11"/>
                  <a:pt x="1458" y="11"/>
                  <a:pt x="1458" y="11"/>
                </a:cubicBezTo>
                <a:cubicBezTo>
                  <a:pt x="1458" y="11"/>
                  <a:pt x="1457" y="11"/>
                  <a:pt x="1457" y="11"/>
                </a:cubicBezTo>
                <a:cubicBezTo>
                  <a:pt x="1457" y="11"/>
                  <a:pt x="1457" y="11"/>
                  <a:pt x="1457" y="11"/>
                </a:cubicBezTo>
                <a:cubicBezTo>
                  <a:pt x="1457" y="11"/>
                  <a:pt x="1457" y="10"/>
                  <a:pt x="1457" y="10"/>
                </a:cubicBezTo>
                <a:cubicBezTo>
                  <a:pt x="1457" y="10"/>
                  <a:pt x="1457" y="10"/>
                  <a:pt x="1457" y="10"/>
                </a:cubicBezTo>
                <a:cubicBezTo>
                  <a:pt x="1456" y="10"/>
                  <a:pt x="1456" y="10"/>
                  <a:pt x="1456" y="10"/>
                </a:cubicBezTo>
                <a:cubicBezTo>
                  <a:pt x="1456" y="10"/>
                  <a:pt x="1456" y="10"/>
                  <a:pt x="1456" y="10"/>
                </a:cubicBezTo>
                <a:cubicBezTo>
                  <a:pt x="1456" y="9"/>
                  <a:pt x="1455" y="9"/>
                  <a:pt x="1455" y="9"/>
                </a:cubicBezTo>
                <a:cubicBezTo>
                  <a:pt x="1455" y="9"/>
                  <a:pt x="1455" y="9"/>
                  <a:pt x="1455" y="9"/>
                </a:cubicBezTo>
                <a:cubicBezTo>
                  <a:pt x="1455" y="9"/>
                  <a:pt x="1455" y="9"/>
                  <a:pt x="1455" y="9"/>
                </a:cubicBezTo>
                <a:cubicBezTo>
                  <a:pt x="1455" y="9"/>
                  <a:pt x="1455" y="9"/>
                  <a:pt x="1455" y="9"/>
                </a:cubicBezTo>
                <a:cubicBezTo>
                  <a:pt x="1454" y="9"/>
                  <a:pt x="1454" y="9"/>
                  <a:pt x="1454" y="9"/>
                </a:cubicBezTo>
                <a:cubicBezTo>
                  <a:pt x="1454" y="9"/>
                  <a:pt x="1454" y="9"/>
                  <a:pt x="1454" y="9"/>
                </a:cubicBezTo>
                <a:cubicBezTo>
                  <a:pt x="1454" y="8"/>
                  <a:pt x="1453" y="8"/>
                  <a:pt x="1453" y="8"/>
                </a:cubicBezTo>
                <a:cubicBezTo>
                  <a:pt x="1453" y="8"/>
                  <a:pt x="1453" y="8"/>
                  <a:pt x="1453" y="8"/>
                </a:cubicBezTo>
                <a:cubicBezTo>
                  <a:pt x="1453" y="8"/>
                  <a:pt x="1453" y="8"/>
                  <a:pt x="1452" y="8"/>
                </a:cubicBezTo>
                <a:cubicBezTo>
                  <a:pt x="1453" y="8"/>
                  <a:pt x="1453" y="8"/>
                  <a:pt x="1453" y="8"/>
                </a:cubicBezTo>
                <a:cubicBezTo>
                  <a:pt x="1452" y="8"/>
                  <a:pt x="1452" y="8"/>
                  <a:pt x="1452" y="8"/>
                </a:cubicBezTo>
                <a:cubicBezTo>
                  <a:pt x="1452" y="8"/>
                  <a:pt x="1452" y="8"/>
                  <a:pt x="1452" y="8"/>
                </a:cubicBezTo>
                <a:cubicBezTo>
                  <a:pt x="1451" y="7"/>
                  <a:pt x="1451" y="7"/>
                  <a:pt x="1451" y="7"/>
                </a:cubicBezTo>
                <a:cubicBezTo>
                  <a:pt x="1451" y="7"/>
                  <a:pt x="1451" y="7"/>
                  <a:pt x="1450" y="7"/>
                </a:cubicBezTo>
                <a:cubicBezTo>
                  <a:pt x="1450" y="7"/>
                  <a:pt x="1450" y="7"/>
                  <a:pt x="1450" y="7"/>
                </a:cubicBezTo>
                <a:cubicBezTo>
                  <a:pt x="1450" y="7"/>
                  <a:pt x="1450" y="7"/>
                  <a:pt x="1450" y="7"/>
                </a:cubicBezTo>
                <a:cubicBezTo>
                  <a:pt x="1449" y="7"/>
                  <a:pt x="1449" y="7"/>
                  <a:pt x="1449" y="7"/>
                </a:cubicBezTo>
                <a:cubicBezTo>
                  <a:pt x="1449" y="7"/>
                  <a:pt x="1449" y="7"/>
                  <a:pt x="1448" y="7"/>
                </a:cubicBezTo>
                <a:cubicBezTo>
                  <a:pt x="1448" y="7"/>
                  <a:pt x="1448" y="7"/>
                  <a:pt x="1448" y="6"/>
                </a:cubicBezTo>
                <a:cubicBezTo>
                  <a:pt x="1448" y="6"/>
                  <a:pt x="1447" y="6"/>
                  <a:pt x="1447" y="6"/>
                </a:cubicBezTo>
                <a:cubicBezTo>
                  <a:pt x="1446" y="6"/>
                  <a:pt x="1446" y="6"/>
                  <a:pt x="1446" y="6"/>
                </a:cubicBezTo>
                <a:cubicBezTo>
                  <a:pt x="1445" y="6"/>
                  <a:pt x="1445" y="6"/>
                  <a:pt x="1444" y="6"/>
                </a:cubicBezTo>
                <a:cubicBezTo>
                  <a:pt x="1443" y="6"/>
                  <a:pt x="1443" y="6"/>
                  <a:pt x="1442" y="6"/>
                </a:cubicBezTo>
                <a:cubicBezTo>
                  <a:pt x="1441" y="6"/>
                  <a:pt x="1441" y="6"/>
                  <a:pt x="1440" y="6"/>
                </a:cubicBezTo>
                <a:cubicBezTo>
                  <a:pt x="1440" y="6"/>
                  <a:pt x="1439" y="6"/>
                  <a:pt x="1438" y="6"/>
                </a:cubicBezTo>
                <a:cubicBezTo>
                  <a:pt x="1438" y="6"/>
                  <a:pt x="1437" y="6"/>
                  <a:pt x="1436" y="6"/>
                </a:cubicBezTo>
                <a:cubicBezTo>
                  <a:pt x="1436" y="6"/>
                  <a:pt x="1436" y="6"/>
                  <a:pt x="1436" y="6"/>
                </a:cubicBezTo>
                <a:cubicBezTo>
                  <a:pt x="1435" y="6"/>
                  <a:pt x="1435" y="6"/>
                  <a:pt x="1434" y="6"/>
                </a:cubicBezTo>
                <a:cubicBezTo>
                  <a:pt x="1434" y="7"/>
                  <a:pt x="1434" y="7"/>
                  <a:pt x="1434" y="7"/>
                </a:cubicBezTo>
                <a:cubicBezTo>
                  <a:pt x="1434" y="7"/>
                  <a:pt x="1434" y="7"/>
                  <a:pt x="1434" y="7"/>
                </a:cubicBezTo>
                <a:cubicBezTo>
                  <a:pt x="1434" y="7"/>
                  <a:pt x="1433" y="7"/>
                  <a:pt x="1433" y="7"/>
                </a:cubicBezTo>
                <a:close/>
                <a:moveTo>
                  <a:pt x="1010" y="17"/>
                </a:moveTo>
                <a:cubicBezTo>
                  <a:pt x="1010" y="17"/>
                  <a:pt x="1010" y="17"/>
                  <a:pt x="1010" y="17"/>
                </a:cubicBezTo>
                <a:cubicBezTo>
                  <a:pt x="1010" y="17"/>
                  <a:pt x="1010" y="17"/>
                  <a:pt x="1010" y="17"/>
                </a:cubicBezTo>
                <a:cubicBezTo>
                  <a:pt x="1010" y="18"/>
                  <a:pt x="1011" y="17"/>
                  <a:pt x="1011" y="18"/>
                </a:cubicBezTo>
                <a:cubicBezTo>
                  <a:pt x="1011" y="18"/>
                  <a:pt x="1011" y="18"/>
                  <a:pt x="1011" y="18"/>
                </a:cubicBezTo>
                <a:cubicBezTo>
                  <a:pt x="1012" y="18"/>
                  <a:pt x="1012" y="18"/>
                  <a:pt x="1012" y="18"/>
                </a:cubicBezTo>
                <a:cubicBezTo>
                  <a:pt x="1012" y="18"/>
                  <a:pt x="1012" y="18"/>
                  <a:pt x="1013" y="18"/>
                </a:cubicBezTo>
                <a:cubicBezTo>
                  <a:pt x="1013" y="18"/>
                  <a:pt x="1013" y="18"/>
                  <a:pt x="1013" y="18"/>
                </a:cubicBezTo>
                <a:cubicBezTo>
                  <a:pt x="1013" y="18"/>
                  <a:pt x="1013" y="18"/>
                  <a:pt x="1014" y="18"/>
                </a:cubicBezTo>
                <a:cubicBezTo>
                  <a:pt x="1014" y="18"/>
                  <a:pt x="1014" y="18"/>
                  <a:pt x="1014" y="18"/>
                </a:cubicBezTo>
                <a:cubicBezTo>
                  <a:pt x="1014" y="19"/>
                  <a:pt x="1014" y="19"/>
                  <a:pt x="1014" y="19"/>
                </a:cubicBezTo>
                <a:cubicBezTo>
                  <a:pt x="1015" y="19"/>
                  <a:pt x="1015" y="19"/>
                  <a:pt x="1015" y="19"/>
                </a:cubicBezTo>
                <a:cubicBezTo>
                  <a:pt x="1015" y="19"/>
                  <a:pt x="1015" y="19"/>
                  <a:pt x="1015" y="19"/>
                </a:cubicBezTo>
                <a:cubicBezTo>
                  <a:pt x="1015" y="19"/>
                  <a:pt x="1015" y="19"/>
                  <a:pt x="1015" y="19"/>
                </a:cubicBezTo>
                <a:cubicBezTo>
                  <a:pt x="1015" y="19"/>
                  <a:pt x="1015" y="19"/>
                  <a:pt x="1015" y="19"/>
                </a:cubicBezTo>
                <a:cubicBezTo>
                  <a:pt x="1016" y="19"/>
                  <a:pt x="1016" y="19"/>
                  <a:pt x="1016" y="19"/>
                </a:cubicBezTo>
                <a:cubicBezTo>
                  <a:pt x="1016" y="19"/>
                  <a:pt x="1016" y="19"/>
                  <a:pt x="1016" y="19"/>
                </a:cubicBezTo>
                <a:cubicBezTo>
                  <a:pt x="1017" y="20"/>
                  <a:pt x="1017" y="20"/>
                  <a:pt x="1017" y="20"/>
                </a:cubicBezTo>
                <a:cubicBezTo>
                  <a:pt x="1017" y="20"/>
                  <a:pt x="1017" y="20"/>
                  <a:pt x="1017" y="20"/>
                </a:cubicBezTo>
                <a:cubicBezTo>
                  <a:pt x="1017" y="20"/>
                  <a:pt x="1018" y="20"/>
                  <a:pt x="1018" y="20"/>
                </a:cubicBezTo>
                <a:cubicBezTo>
                  <a:pt x="1018" y="20"/>
                  <a:pt x="1018" y="20"/>
                  <a:pt x="1018" y="20"/>
                </a:cubicBezTo>
                <a:cubicBezTo>
                  <a:pt x="1018" y="20"/>
                  <a:pt x="1018" y="20"/>
                  <a:pt x="1019" y="20"/>
                </a:cubicBezTo>
                <a:cubicBezTo>
                  <a:pt x="1019" y="20"/>
                  <a:pt x="1019" y="20"/>
                  <a:pt x="1019" y="20"/>
                </a:cubicBezTo>
                <a:cubicBezTo>
                  <a:pt x="1019" y="21"/>
                  <a:pt x="1019" y="21"/>
                  <a:pt x="1019" y="21"/>
                </a:cubicBezTo>
                <a:cubicBezTo>
                  <a:pt x="1019" y="21"/>
                  <a:pt x="1019" y="21"/>
                  <a:pt x="1019" y="21"/>
                </a:cubicBezTo>
                <a:cubicBezTo>
                  <a:pt x="1019" y="21"/>
                  <a:pt x="1020" y="21"/>
                  <a:pt x="1020" y="21"/>
                </a:cubicBezTo>
                <a:cubicBezTo>
                  <a:pt x="1020" y="21"/>
                  <a:pt x="1020" y="21"/>
                  <a:pt x="1020" y="21"/>
                </a:cubicBezTo>
                <a:cubicBezTo>
                  <a:pt x="1020" y="21"/>
                  <a:pt x="1020" y="21"/>
                  <a:pt x="1021" y="21"/>
                </a:cubicBezTo>
                <a:cubicBezTo>
                  <a:pt x="1021" y="21"/>
                  <a:pt x="1021" y="21"/>
                  <a:pt x="1021" y="21"/>
                </a:cubicBezTo>
                <a:cubicBezTo>
                  <a:pt x="1021" y="22"/>
                  <a:pt x="1021" y="22"/>
                  <a:pt x="1021" y="21"/>
                </a:cubicBezTo>
                <a:cubicBezTo>
                  <a:pt x="1021" y="21"/>
                  <a:pt x="1021" y="21"/>
                  <a:pt x="1021" y="21"/>
                </a:cubicBezTo>
                <a:cubicBezTo>
                  <a:pt x="1021" y="20"/>
                  <a:pt x="1021" y="19"/>
                  <a:pt x="1021" y="17"/>
                </a:cubicBezTo>
                <a:cubicBezTo>
                  <a:pt x="1021" y="15"/>
                  <a:pt x="1021" y="12"/>
                  <a:pt x="1021" y="10"/>
                </a:cubicBezTo>
                <a:cubicBezTo>
                  <a:pt x="1021" y="10"/>
                  <a:pt x="1021" y="10"/>
                  <a:pt x="1021" y="10"/>
                </a:cubicBezTo>
                <a:cubicBezTo>
                  <a:pt x="1021" y="9"/>
                  <a:pt x="1020" y="9"/>
                  <a:pt x="1020" y="9"/>
                </a:cubicBezTo>
                <a:cubicBezTo>
                  <a:pt x="1020" y="9"/>
                  <a:pt x="1020" y="9"/>
                  <a:pt x="1020" y="9"/>
                </a:cubicBezTo>
                <a:cubicBezTo>
                  <a:pt x="1020" y="9"/>
                  <a:pt x="1020" y="9"/>
                  <a:pt x="1019" y="9"/>
                </a:cubicBezTo>
                <a:cubicBezTo>
                  <a:pt x="1019" y="9"/>
                  <a:pt x="1019" y="9"/>
                  <a:pt x="1019" y="9"/>
                </a:cubicBezTo>
                <a:cubicBezTo>
                  <a:pt x="1019" y="9"/>
                  <a:pt x="1019" y="9"/>
                  <a:pt x="1019" y="9"/>
                </a:cubicBezTo>
                <a:cubicBezTo>
                  <a:pt x="1019" y="9"/>
                  <a:pt x="1019" y="9"/>
                  <a:pt x="1018" y="9"/>
                </a:cubicBezTo>
                <a:cubicBezTo>
                  <a:pt x="1018" y="9"/>
                  <a:pt x="1018" y="9"/>
                  <a:pt x="1018" y="9"/>
                </a:cubicBezTo>
                <a:cubicBezTo>
                  <a:pt x="1018" y="8"/>
                  <a:pt x="1018" y="9"/>
                  <a:pt x="1017" y="8"/>
                </a:cubicBezTo>
                <a:cubicBezTo>
                  <a:pt x="1017" y="8"/>
                  <a:pt x="1017" y="8"/>
                  <a:pt x="1017" y="8"/>
                </a:cubicBezTo>
                <a:cubicBezTo>
                  <a:pt x="1017" y="8"/>
                  <a:pt x="1017" y="8"/>
                  <a:pt x="1016" y="8"/>
                </a:cubicBezTo>
                <a:cubicBezTo>
                  <a:pt x="1016" y="8"/>
                  <a:pt x="1016" y="8"/>
                  <a:pt x="1016" y="8"/>
                </a:cubicBezTo>
                <a:cubicBezTo>
                  <a:pt x="1016" y="8"/>
                  <a:pt x="1015" y="8"/>
                  <a:pt x="1015" y="8"/>
                </a:cubicBezTo>
                <a:cubicBezTo>
                  <a:pt x="1015" y="8"/>
                  <a:pt x="1015" y="8"/>
                  <a:pt x="1015" y="7"/>
                </a:cubicBezTo>
                <a:cubicBezTo>
                  <a:pt x="1014" y="7"/>
                  <a:pt x="1014" y="7"/>
                  <a:pt x="1014" y="7"/>
                </a:cubicBezTo>
                <a:cubicBezTo>
                  <a:pt x="1013" y="7"/>
                  <a:pt x="1013" y="7"/>
                  <a:pt x="1013" y="7"/>
                </a:cubicBezTo>
                <a:cubicBezTo>
                  <a:pt x="1013" y="7"/>
                  <a:pt x="1012" y="7"/>
                  <a:pt x="1012" y="7"/>
                </a:cubicBezTo>
                <a:cubicBezTo>
                  <a:pt x="1012" y="7"/>
                  <a:pt x="1012" y="7"/>
                  <a:pt x="1012" y="7"/>
                </a:cubicBezTo>
                <a:cubicBezTo>
                  <a:pt x="1011" y="7"/>
                  <a:pt x="1010" y="7"/>
                  <a:pt x="1010" y="7"/>
                </a:cubicBezTo>
                <a:cubicBezTo>
                  <a:pt x="1010" y="7"/>
                  <a:pt x="1010" y="7"/>
                  <a:pt x="1009" y="6"/>
                </a:cubicBezTo>
                <a:cubicBezTo>
                  <a:pt x="1009" y="6"/>
                  <a:pt x="1008" y="7"/>
                  <a:pt x="1007" y="6"/>
                </a:cubicBezTo>
                <a:cubicBezTo>
                  <a:pt x="1007" y="6"/>
                  <a:pt x="1007" y="6"/>
                  <a:pt x="1007" y="6"/>
                </a:cubicBezTo>
                <a:cubicBezTo>
                  <a:pt x="1005" y="6"/>
                  <a:pt x="1004" y="6"/>
                  <a:pt x="1003" y="6"/>
                </a:cubicBezTo>
                <a:cubicBezTo>
                  <a:pt x="1002" y="6"/>
                  <a:pt x="1001" y="6"/>
                  <a:pt x="1000" y="6"/>
                </a:cubicBezTo>
                <a:cubicBezTo>
                  <a:pt x="999" y="6"/>
                  <a:pt x="999" y="6"/>
                  <a:pt x="998" y="6"/>
                </a:cubicBezTo>
                <a:cubicBezTo>
                  <a:pt x="997" y="6"/>
                  <a:pt x="996" y="6"/>
                  <a:pt x="995" y="6"/>
                </a:cubicBezTo>
                <a:cubicBezTo>
                  <a:pt x="994" y="6"/>
                  <a:pt x="993" y="6"/>
                  <a:pt x="992" y="6"/>
                </a:cubicBezTo>
                <a:cubicBezTo>
                  <a:pt x="992" y="6"/>
                  <a:pt x="992" y="6"/>
                  <a:pt x="992" y="6"/>
                </a:cubicBezTo>
                <a:cubicBezTo>
                  <a:pt x="991" y="7"/>
                  <a:pt x="990" y="6"/>
                  <a:pt x="990" y="6"/>
                </a:cubicBezTo>
                <a:cubicBezTo>
                  <a:pt x="990" y="7"/>
                  <a:pt x="990" y="7"/>
                  <a:pt x="990" y="7"/>
                </a:cubicBezTo>
                <a:cubicBezTo>
                  <a:pt x="989" y="7"/>
                  <a:pt x="989" y="7"/>
                  <a:pt x="989" y="7"/>
                </a:cubicBezTo>
                <a:cubicBezTo>
                  <a:pt x="989" y="7"/>
                  <a:pt x="988" y="6"/>
                  <a:pt x="988" y="7"/>
                </a:cubicBezTo>
                <a:cubicBezTo>
                  <a:pt x="988" y="7"/>
                  <a:pt x="988" y="7"/>
                  <a:pt x="988" y="7"/>
                </a:cubicBezTo>
                <a:cubicBezTo>
                  <a:pt x="987" y="7"/>
                  <a:pt x="987" y="7"/>
                  <a:pt x="986" y="7"/>
                </a:cubicBezTo>
                <a:cubicBezTo>
                  <a:pt x="986" y="7"/>
                  <a:pt x="986" y="7"/>
                  <a:pt x="986" y="7"/>
                </a:cubicBezTo>
                <a:cubicBezTo>
                  <a:pt x="986" y="7"/>
                  <a:pt x="985" y="7"/>
                  <a:pt x="985" y="8"/>
                </a:cubicBezTo>
                <a:cubicBezTo>
                  <a:pt x="985" y="8"/>
                  <a:pt x="985" y="8"/>
                  <a:pt x="985" y="8"/>
                </a:cubicBezTo>
                <a:cubicBezTo>
                  <a:pt x="984" y="8"/>
                  <a:pt x="984" y="8"/>
                  <a:pt x="984" y="8"/>
                </a:cubicBezTo>
                <a:cubicBezTo>
                  <a:pt x="984" y="8"/>
                  <a:pt x="984" y="8"/>
                  <a:pt x="984" y="8"/>
                </a:cubicBezTo>
                <a:cubicBezTo>
                  <a:pt x="983" y="8"/>
                  <a:pt x="983" y="8"/>
                  <a:pt x="983" y="8"/>
                </a:cubicBezTo>
                <a:cubicBezTo>
                  <a:pt x="983" y="8"/>
                  <a:pt x="983" y="8"/>
                  <a:pt x="983" y="8"/>
                </a:cubicBezTo>
                <a:cubicBezTo>
                  <a:pt x="982" y="9"/>
                  <a:pt x="982" y="8"/>
                  <a:pt x="982" y="9"/>
                </a:cubicBezTo>
                <a:cubicBezTo>
                  <a:pt x="982" y="9"/>
                  <a:pt x="982" y="9"/>
                  <a:pt x="982" y="9"/>
                </a:cubicBezTo>
                <a:cubicBezTo>
                  <a:pt x="981" y="9"/>
                  <a:pt x="981" y="9"/>
                  <a:pt x="981" y="9"/>
                </a:cubicBezTo>
                <a:cubicBezTo>
                  <a:pt x="981" y="9"/>
                  <a:pt x="981" y="9"/>
                  <a:pt x="981" y="9"/>
                </a:cubicBezTo>
                <a:cubicBezTo>
                  <a:pt x="980" y="9"/>
                  <a:pt x="980" y="9"/>
                  <a:pt x="980" y="9"/>
                </a:cubicBezTo>
                <a:cubicBezTo>
                  <a:pt x="980" y="9"/>
                  <a:pt x="980" y="9"/>
                  <a:pt x="980" y="9"/>
                </a:cubicBezTo>
                <a:cubicBezTo>
                  <a:pt x="980" y="9"/>
                  <a:pt x="979" y="9"/>
                  <a:pt x="979" y="10"/>
                </a:cubicBezTo>
                <a:cubicBezTo>
                  <a:pt x="979" y="10"/>
                  <a:pt x="979" y="10"/>
                  <a:pt x="979" y="10"/>
                </a:cubicBezTo>
                <a:cubicBezTo>
                  <a:pt x="979" y="10"/>
                  <a:pt x="978" y="10"/>
                  <a:pt x="978" y="10"/>
                </a:cubicBezTo>
                <a:cubicBezTo>
                  <a:pt x="978" y="10"/>
                  <a:pt x="978" y="10"/>
                  <a:pt x="978" y="10"/>
                </a:cubicBezTo>
                <a:cubicBezTo>
                  <a:pt x="978" y="10"/>
                  <a:pt x="978" y="10"/>
                  <a:pt x="977" y="10"/>
                </a:cubicBezTo>
                <a:cubicBezTo>
                  <a:pt x="977" y="10"/>
                  <a:pt x="977" y="10"/>
                  <a:pt x="977" y="10"/>
                </a:cubicBezTo>
                <a:cubicBezTo>
                  <a:pt x="977" y="11"/>
                  <a:pt x="977" y="10"/>
                  <a:pt x="977" y="11"/>
                </a:cubicBezTo>
                <a:cubicBezTo>
                  <a:pt x="977" y="11"/>
                  <a:pt x="977" y="11"/>
                  <a:pt x="977" y="11"/>
                </a:cubicBezTo>
                <a:cubicBezTo>
                  <a:pt x="977" y="11"/>
                  <a:pt x="976" y="11"/>
                  <a:pt x="976" y="11"/>
                </a:cubicBezTo>
                <a:cubicBezTo>
                  <a:pt x="976" y="11"/>
                  <a:pt x="976" y="11"/>
                  <a:pt x="976" y="11"/>
                </a:cubicBezTo>
                <a:cubicBezTo>
                  <a:pt x="976" y="11"/>
                  <a:pt x="976" y="11"/>
                  <a:pt x="975" y="11"/>
                </a:cubicBezTo>
                <a:cubicBezTo>
                  <a:pt x="975" y="11"/>
                  <a:pt x="975" y="11"/>
                  <a:pt x="975" y="11"/>
                </a:cubicBezTo>
                <a:cubicBezTo>
                  <a:pt x="975" y="12"/>
                  <a:pt x="975" y="11"/>
                  <a:pt x="975" y="12"/>
                </a:cubicBezTo>
                <a:cubicBezTo>
                  <a:pt x="975" y="12"/>
                  <a:pt x="975" y="12"/>
                  <a:pt x="975" y="12"/>
                </a:cubicBezTo>
                <a:cubicBezTo>
                  <a:pt x="974" y="12"/>
                  <a:pt x="974" y="12"/>
                  <a:pt x="974" y="12"/>
                </a:cubicBezTo>
                <a:cubicBezTo>
                  <a:pt x="974" y="12"/>
                  <a:pt x="974" y="12"/>
                  <a:pt x="974" y="12"/>
                </a:cubicBezTo>
                <a:cubicBezTo>
                  <a:pt x="974" y="12"/>
                  <a:pt x="974" y="12"/>
                  <a:pt x="974" y="12"/>
                </a:cubicBezTo>
                <a:cubicBezTo>
                  <a:pt x="974" y="12"/>
                  <a:pt x="974" y="12"/>
                  <a:pt x="974" y="12"/>
                </a:cubicBezTo>
                <a:cubicBezTo>
                  <a:pt x="973" y="13"/>
                  <a:pt x="973" y="13"/>
                  <a:pt x="973" y="13"/>
                </a:cubicBezTo>
                <a:cubicBezTo>
                  <a:pt x="973" y="13"/>
                  <a:pt x="973" y="13"/>
                  <a:pt x="973" y="13"/>
                </a:cubicBezTo>
                <a:cubicBezTo>
                  <a:pt x="973" y="13"/>
                  <a:pt x="972" y="13"/>
                  <a:pt x="972" y="13"/>
                </a:cubicBezTo>
                <a:cubicBezTo>
                  <a:pt x="972" y="13"/>
                  <a:pt x="972" y="13"/>
                  <a:pt x="972" y="13"/>
                </a:cubicBezTo>
                <a:cubicBezTo>
                  <a:pt x="972" y="13"/>
                  <a:pt x="972" y="13"/>
                  <a:pt x="972" y="13"/>
                </a:cubicBezTo>
                <a:cubicBezTo>
                  <a:pt x="972" y="13"/>
                  <a:pt x="972" y="13"/>
                  <a:pt x="972" y="13"/>
                </a:cubicBezTo>
                <a:cubicBezTo>
                  <a:pt x="972" y="14"/>
                  <a:pt x="971" y="14"/>
                  <a:pt x="971" y="14"/>
                </a:cubicBezTo>
                <a:cubicBezTo>
                  <a:pt x="971" y="14"/>
                  <a:pt x="971" y="14"/>
                  <a:pt x="971" y="14"/>
                </a:cubicBezTo>
                <a:cubicBezTo>
                  <a:pt x="971" y="14"/>
                  <a:pt x="971" y="14"/>
                  <a:pt x="971" y="14"/>
                </a:cubicBezTo>
                <a:cubicBezTo>
                  <a:pt x="971" y="14"/>
                  <a:pt x="971" y="14"/>
                  <a:pt x="971" y="14"/>
                </a:cubicBezTo>
                <a:cubicBezTo>
                  <a:pt x="971" y="14"/>
                  <a:pt x="971" y="14"/>
                  <a:pt x="970" y="14"/>
                </a:cubicBezTo>
                <a:cubicBezTo>
                  <a:pt x="970" y="14"/>
                  <a:pt x="970" y="14"/>
                  <a:pt x="970" y="14"/>
                </a:cubicBezTo>
                <a:cubicBezTo>
                  <a:pt x="970" y="15"/>
                  <a:pt x="970" y="15"/>
                  <a:pt x="970" y="15"/>
                </a:cubicBezTo>
                <a:cubicBezTo>
                  <a:pt x="970" y="15"/>
                  <a:pt x="970" y="15"/>
                  <a:pt x="970" y="15"/>
                </a:cubicBezTo>
                <a:cubicBezTo>
                  <a:pt x="970" y="15"/>
                  <a:pt x="970" y="15"/>
                  <a:pt x="969" y="15"/>
                </a:cubicBezTo>
                <a:cubicBezTo>
                  <a:pt x="969" y="15"/>
                  <a:pt x="969" y="15"/>
                  <a:pt x="969" y="15"/>
                </a:cubicBezTo>
                <a:cubicBezTo>
                  <a:pt x="969" y="15"/>
                  <a:pt x="969" y="16"/>
                  <a:pt x="968" y="16"/>
                </a:cubicBezTo>
                <a:cubicBezTo>
                  <a:pt x="968" y="16"/>
                  <a:pt x="968" y="16"/>
                  <a:pt x="968" y="16"/>
                </a:cubicBezTo>
                <a:cubicBezTo>
                  <a:pt x="968" y="16"/>
                  <a:pt x="968" y="16"/>
                  <a:pt x="968" y="16"/>
                </a:cubicBezTo>
                <a:cubicBezTo>
                  <a:pt x="968" y="16"/>
                  <a:pt x="968" y="16"/>
                  <a:pt x="968" y="16"/>
                </a:cubicBezTo>
                <a:cubicBezTo>
                  <a:pt x="968" y="16"/>
                  <a:pt x="968" y="16"/>
                  <a:pt x="968" y="17"/>
                </a:cubicBezTo>
                <a:cubicBezTo>
                  <a:pt x="968" y="17"/>
                  <a:pt x="968" y="17"/>
                  <a:pt x="968" y="17"/>
                </a:cubicBezTo>
                <a:cubicBezTo>
                  <a:pt x="968" y="17"/>
                  <a:pt x="967" y="17"/>
                  <a:pt x="967" y="17"/>
                </a:cubicBezTo>
                <a:cubicBezTo>
                  <a:pt x="967" y="17"/>
                  <a:pt x="967" y="17"/>
                  <a:pt x="967" y="17"/>
                </a:cubicBezTo>
                <a:cubicBezTo>
                  <a:pt x="967" y="17"/>
                  <a:pt x="967" y="17"/>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5" y="18"/>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4" y="19"/>
                  <a:pt x="964" y="20"/>
                  <a:pt x="964" y="20"/>
                </a:cubicBezTo>
                <a:cubicBezTo>
                  <a:pt x="964" y="20"/>
                  <a:pt x="964" y="20"/>
                  <a:pt x="964" y="20"/>
                </a:cubicBezTo>
                <a:cubicBezTo>
                  <a:pt x="964" y="20"/>
                  <a:pt x="964" y="20"/>
                  <a:pt x="964" y="20"/>
                </a:cubicBezTo>
                <a:cubicBezTo>
                  <a:pt x="964" y="20"/>
                  <a:pt x="964" y="20"/>
                  <a:pt x="964" y="20"/>
                </a:cubicBezTo>
                <a:cubicBezTo>
                  <a:pt x="964" y="20"/>
                  <a:pt x="964" y="20"/>
                  <a:pt x="964" y="21"/>
                </a:cubicBezTo>
                <a:cubicBezTo>
                  <a:pt x="964" y="20"/>
                  <a:pt x="964" y="20"/>
                  <a:pt x="964" y="20"/>
                </a:cubicBezTo>
                <a:cubicBezTo>
                  <a:pt x="963" y="21"/>
                  <a:pt x="963" y="21"/>
                  <a:pt x="963" y="21"/>
                </a:cubicBezTo>
                <a:cubicBezTo>
                  <a:pt x="963" y="21"/>
                  <a:pt x="963" y="21"/>
                  <a:pt x="963" y="21"/>
                </a:cubicBezTo>
                <a:cubicBezTo>
                  <a:pt x="963" y="22"/>
                  <a:pt x="963" y="22"/>
                  <a:pt x="962" y="22"/>
                </a:cubicBezTo>
                <a:cubicBezTo>
                  <a:pt x="962" y="22"/>
                  <a:pt x="962" y="22"/>
                  <a:pt x="962" y="22"/>
                </a:cubicBezTo>
                <a:cubicBezTo>
                  <a:pt x="962" y="22"/>
                  <a:pt x="962" y="22"/>
                  <a:pt x="962" y="22"/>
                </a:cubicBezTo>
                <a:cubicBezTo>
                  <a:pt x="962" y="22"/>
                  <a:pt x="962" y="22"/>
                  <a:pt x="962" y="22"/>
                </a:cubicBezTo>
                <a:cubicBezTo>
                  <a:pt x="962" y="22"/>
                  <a:pt x="962" y="22"/>
                  <a:pt x="962" y="23"/>
                </a:cubicBezTo>
                <a:cubicBezTo>
                  <a:pt x="962" y="23"/>
                  <a:pt x="962" y="23"/>
                  <a:pt x="962" y="23"/>
                </a:cubicBezTo>
                <a:cubicBezTo>
                  <a:pt x="961" y="23"/>
                  <a:pt x="961" y="23"/>
                  <a:pt x="961" y="24"/>
                </a:cubicBezTo>
                <a:cubicBezTo>
                  <a:pt x="961" y="24"/>
                  <a:pt x="961" y="24"/>
                  <a:pt x="961" y="24"/>
                </a:cubicBezTo>
                <a:cubicBezTo>
                  <a:pt x="961" y="24"/>
                  <a:pt x="961" y="24"/>
                  <a:pt x="961" y="24"/>
                </a:cubicBezTo>
                <a:cubicBezTo>
                  <a:pt x="961" y="24"/>
                  <a:pt x="961" y="24"/>
                  <a:pt x="961" y="24"/>
                </a:cubicBezTo>
                <a:cubicBezTo>
                  <a:pt x="961" y="24"/>
                  <a:pt x="960" y="24"/>
                  <a:pt x="960" y="24"/>
                </a:cubicBezTo>
                <a:cubicBezTo>
                  <a:pt x="960" y="24"/>
                  <a:pt x="960" y="24"/>
                  <a:pt x="960" y="24"/>
                </a:cubicBezTo>
                <a:cubicBezTo>
                  <a:pt x="960" y="24"/>
                  <a:pt x="960" y="25"/>
                  <a:pt x="960" y="25"/>
                </a:cubicBezTo>
                <a:cubicBezTo>
                  <a:pt x="960" y="25"/>
                  <a:pt x="960" y="25"/>
                  <a:pt x="960" y="25"/>
                </a:cubicBezTo>
                <a:cubicBezTo>
                  <a:pt x="960" y="25"/>
                  <a:pt x="960" y="25"/>
                  <a:pt x="960" y="25"/>
                </a:cubicBezTo>
                <a:cubicBezTo>
                  <a:pt x="960" y="25"/>
                  <a:pt x="960" y="25"/>
                  <a:pt x="960" y="25"/>
                </a:cubicBezTo>
                <a:cubicBezTo>
                  <a:pt x="959" y="25"/>
                  <a:pt x="960" y="26"/>
                  <a:pt x="959" y="26"/>
                </a:cubicBezTo>
                <a:cubicBezTo>
                  <a:pt x="959" y="26"/>
                  <a:pt x="959" y="26"/>
                  <a:pt x="959" y="26"/>
                </a:cubicBezTo>
                <a:cubicBezTo>
                  <a:pt x="959" y="26"/>
                  <a:pt x="959" y="26"/>
                  <a:pt x="959" y="26"/>
                </a:cubicBezTo>
                <a:cubicBezTo>
                  <a:pt x="959" y="26"/>
                  <a:pt x="959" y="26"/>
                  <a:pt x="959" y="26"/>
                </a:cubicBezTo>
                <a:cubicBezTo>
                  <a:pt x="959" y="26"/>
                  <a:pt x="959" y="27"/>
                  <a:pt x="959" y="27"/>
                </a:cubicBezTo>
                <a:cubicBezTo>
                  <a:pt x="959" y="27"/>
                  <a:pt x="959" y="27"/>
                  <a:pt x="959" y="27"/>
                </a:cubicBezTo>
                <a:cubicBezTo>
                  <a:pt x="958" y="27"/>
                  <a:pt x="958" y="27"/>
                  <a:pt x="958" y="27"/>
                </a:cubicBezTo>
                <a:cubicBezTo>
                  <a:pt x="958" y="27"/>
                  <a:pt x="958" y="27"/>
                  <a:pt x="958" y="27"/>
                </a:cubicBezTo>
                <a:cubicBezTo>
                  <a:pt x="958" y="28"/>
                  <a:pt x="958" y="28"/>
                  <a:pt x="958" y="28"/>
                </a:cubicBezTo>
                <a:cubicBezTo>
                  <a:pt x="958" y="28"/>
                  <a:pt x="958" y="28"/>
                  <a:pt x="958" y="28"/>
                </a:cubicBezTo>
                <a:cubicBezTo>
                  <a:pt x="958" y="28"/>
                  <a:pt x="958" y="29"/>
                  <a:pt x="958" y="29"/>
                </a:cubicBezTo>
                <a:cubicBezTo>
                  <a:pt x="958" y="29"/>
                  <a:pt x="958" y="29"/>
                  <a:pt x="958" y="29"/>
                </a:cubicBezTo>
                <a:cubicBezTo>
                  <a:pt x="957" y="29"/>
                  <a:pt x="957" y="29"/>
                  <a:pt x="957" y="29"/>
                </a:cubicBezTo>
                <a:cubicBezTo>
                  <a:pt x="957" y="29"/>
                  <a:pt x="957" y="29"/>
                  <a:pt x="957" y="29"/>
                </a:cubicBezTo>
                <a:cubicBezTo>
                  <a:pt x="957" y="30"/>
                  <a:pt x="957" y="30"/>
                  <a:pt x="957" y="30"/>
                </a:cubicBezTo>
                <a:cubicBezTo>
                  <a:pt x="957" y="30"/>
                  <a:pt x="957" y="30"/>
                  <a:pt x="957" y="30"/>
                </a:cubicBezTo>
                <a:cubicBezTo>
                  <a:pt x="957" y="30"/>
                  <a:pt x="957" y="30"/>
                  <a:pt x="957" y="30"/>
                </a:cubicBezTo>
                <a:cubicBezTo>
                  <a:pt x="957" y="30"/>
                  <a:pt x="957" y="30"/>
                  <a:pt x="957" y="31"/>
                </a:cubicBezTo>
                <a:cubicBezTo>
                  <a:pt x="957" y="31"/>
                  <a:pt x="957" y="31"/>
                  <a:pt x="957" y="31"/>
                </a:cubicBezTo>
                <a:cubicBezTo>
                  <a:pt x="956" y="31"/>
                  <a:pt x="956" y="31"/>
                  <a:pt x="956" y="31"/>
                </a:cubicBezTo>
                <a:cubicBezTo>
                  <a:pt x="956" y="31"/>
                  <a:pt x="956" y="31"/>
                  <a:pt x="956" y="31"/>
                </a:cubicBezTo>
                <a:cubicBezTo>
                  <a:pt x="956" y="31"/>
                  <a:pt x="956" y="32"/>
                  <a:pt x="956" y="32"/>
                </a:cubicBezTo>
                <a:cubicBezTo>
                  <a:pt x="956" y="32"/>
                  <a:pt x="956" y="32"/>
                  <a:pt x="956" y="32"/>
                </a:cubicBezTo>
                <a:cubicBezTo>
                  <a:pt x="956" y="32"/>
                  <a:pt x="956" y="32"/>
                  <a:pt x="956" y="32"/>
                </a:cubicBezTo>
                <a:cubicBezTo>
                  <a:pt x="956" y="32"/>
                  <a:pt x="956" y="33"/>
                  <a:pt x="956" y="33"/>
                </a:cubicBezTo>
                <a:cubicBezTo>
                  <a:pt x="956" y="33"/>
                  <a:pt x="956" y="33"/>
                  <a:pt x="956" y="33"/>
                </a:cubicBezTo>
                <a:cubicBezTo>
                  <a:pt x="955" y="33"/>
                  <a:pt x="955" y="33"/>
                  <a:pt x="955" y="33"/>
                </a:cubicBezTo>
                <a:cubicBezTo>
                  <a:pt x="955" y="33"/>
                  <a:pt x="955" y="33"/>
                  <a:pt x="955" y="34"/>
                </a:cubicBezTo>
                <a:cubicBezTo>
                  <a:pt x="955" y="34"/>
                  <a:pt x="955" y="34"/>
                  <a:pt x="955" y="34"/>
                </a:cubicBezTo>
                <a:cubicBezTo>
                  <a:pt x="955" y="34"/>
                  <a:pt x="955" y="34"/>
                  <a:pt x="955" y="34"/>
                </a:cubicBezTo>
                <a:cubicBezTo>
                  <a:pt x="955" y="34"/>
                  <a:pt x="955" y="34"/>
                  <a:pt x="955" y="34"/>
                </a:cubicBezTo>
                <a:cubicBezTo>
                  <a:pt x="955" y="35"/>
                  <a:pt x="955" y="35"/>
                  <a:pt x="954" y="35"/>
                </a:cubicBezTo>
                <a:cubicBezTo>
                  <a:pt x="955" y="35"/>
                  <a:pt x="955" y="35"/>
                  <a:pt x="955" y="35"/>
                </a:cubicBezTo>
                <a:cubicBezTo>
                  <a:pt x="954" y="35"/>
                  <a:pt x="954" y="35"/>
                  <a:pt x="954" y="35"/>
                </a:cubicBezTo>
                <a:cubicBezTo>
                  <a:pt x="954" y="36"/>
                  <a:pt x="954" y="36"/>
                  <a:pt x="954" y="36"/>
                </a:cubicBezTo>
                <a:cubicBezTo>
                  <a:pt x="954" y="36"/>
                  <a:pt x="954" y="36"/>
                  <a:pt x="954" y="36"/>
                </a:cubicBezTo>
                <a:cubicBezTo>
                  <a:pt x="954" y="36"/>
                  <a:pt x="954" y="37"/>
                  <a:pt x="954" y="37"/>
                </a:cubicBezTo>
                <a:cubicBezTo>
                  <a:pt x="954" y="37"/>
                  <a:pt x="954" y="37"/>
                  <a:pt x="954" y="37"/>
                </a:cubicBezTo>
                <a:cubicBezTo>
                  <a:pt x="953" y="37"/>
                  <a:pt x="954" y="38"/>
                  <a:pt x="953" y="38"/>
                </a:cubicBezTo>
                <a:cubicBezTo>
                  <a:pt x="953" y="38"/>
                  <a:pt x="953" y="38"/>
                  <a:pt x="953" y="38"/>
                </a:cubicBezTo>
                <a:cubicBezTo>
                  <a:pt x="953" y="38"/>
                  <a:pt x="953" y="39"/>
                  <a:pt x="953" y="39"/>
                </a:cubicBezTo>
                <a:cubicBezTo>
                  <a:pt x="953" y="39"/>
                  <a:pt x="953" y="39"/>
                  <a:pt x="953" y="39"/>
                </a:cubicBezTo>
                <a:cubicBezTo>
                  <a:pt x="953" y="40"/>
                  <a:pt x="953" y="40"/>
                  <a:pt x="953" y="40"/>
                </a:cubicBezTo>
                <a:cubicBezTo>
                  <a:pt x="953" y="41"/>
                  <a:pt x="953" y="41"/>
                  <a:pt x="953" y="41"/>
                </a:cubicBezTo>
                <a:cubicBezTo>
                  <a:pt x="953" y="41"/>
                  <a:pt x="953" y="41"/>
                  <a:pt x="953" y="41"/>
                </a:cubicBezTo>
                <a:cubicBezTo>
                  <a:pt x="952" y="41"/>
                  <a:pt x="953" y="41"/>
                  <a:pt x="952" y="42"/>
                </a:cubicBezTo>
                <a:cubicBezTo>
                  <a:pt x="952" y="42"/>
                  <a:pt x="952" y="42"/>
                  <a:pt x="952" y="42"/>
                </a:cubicBezTo>
                <a:cubicBezTo>
                  <a:pt x="952" y="42"/>
                  <a:pt x="952" y="43"/>
                  <a:pt x="952" y="43"/>
                </a:cubicBezTo>
                <a:cubicBezTo>
                  <a:pt x="952" y="43"/>
                  <a:pt x="952" y="43"/>
                  <a:pt x="952" y="43"/>
                </a:cubicBezTo>
                <a:cubicBezTo>
                  <a:pt x="952" y="43"/>
                  <a:pt x="952" y="43"/>
                  <a:pt x="952" y="43"/>
                </a:cubicBezTo>
                <a:cubicBezTo>
                  <a:pt x="952" y="44"/>
                  <a:pt x="952" y="44"/>
                  <a:pt x="952" y="45"/>
                </a:cubicBezTo>
                <a:cubicBezTo>
                  <a:pt x="952" y="45"/>
                  <a:pt x="952" y="45"/>
                  <a:pt x="952" y="45"/>
                </a:cubicBezTo>
                <a:cubicBezTo>
                  <a:pt x="951" y="46"/>
                  <a:pt x="952" y="46"/>
                  <a:pt x="951" y="47"/>
                </a:cubicBezTo>
                <a:cubicBezTo>
                  <a:pt x="951" y="47"/>
                  <a:pt x="951" y="47"/>
                  <a:pt x="951" y="48"/>
                </a:cubicBezTo>
                <a:cubicBezTo>
                  <a:pt x="951" y="48"/>
                  <a:pt x="951" y="49"/>
                  <a:pt x="951" y="50"/>
                </a:cubicBezTo>
                <a:cubicBezTo>
                  <a:pt x="951" y="50"/>
                  <a:pt x="951" y="50"/>
                  <a:pt x="951" y="50"/>
                </a:cubicBezTo>
                <a:cubicBezTo>
                  <a:pt x="951" y="54"/>
                  <a:pt x="951" y="58"/>
                  <a:pt x="951" y="62"/>
                </a:cubicBezTo>
                <a:cubicBezTo>
                  <a:pt x="951" y="62"/>
                  <a:pt x="951" y="63"/>
                  <a:pt x="951" y="63"/>
                </a:cubicBezTo>
                <a:cubicBezTo>
                  <a:pt x="951" y="63"/>
                  <a:pt x="951" y="64"/>
                  <a:pt x="951" y="65"/>
                </a:cubicBezTo>
                <a:cubicBezTo>
                  <a:pt x="951" y="65"/>
                  <a:pt x="951" y="65"/>
                  <a:pt x="951" y="66"/>
                </a:cubicBezTo>
                <a:cubicBezTo>
                  <a:pt x="952" y="66"/>
                  <a:pt x="951" y="67"/>
                  <a:pt x="952" y="67"/>
                </a:cubicBezTo>
                <a:cubicBezTo>
                  <a:pt x="952" y="67"/>
                  <a:pt x="952" y="67"/>
                  <a:pt x="952" y="67"/>
                </a:cubicBezTo>
                <a:cubicBezTo>
                  <a:pt x="952" y="68"/>
                  <a:pt x="952" y="68"/>
                  <a:pt x="952" y="68"/>
                </a:cubicBezTo>
                <a:cubicBezTo>
                  <a:pt x="952" y="68"/>
                  <a:pt x="952" y="69"/>
                  <a:pt x="952" y="69"/>
                </a:cubicBezTo>
                <a:cubicBezTo>
                  <a:pt x="952" y="69"/>
                  <a:pt x="952" y="69"/>
                  <a:pt x="952" y="69"/>
                </a:cubicBezTo>
                <a:cubicBezTo>
                  <a:pt x="952" y="69"/>
                  <a:pt x="952" y="69"/>
                  <a:pt x="952" y="69"/>
                </a:cubicBezTo>
                <a:cubicBezTo>
                  <a:pt x="952" y="70"/>
                  <a:pt x="952" y="70"/>
                  <a:pt x="952" y="71"/>
                </a:cubicBezTo>
                <a:cubicBezTo>
                  <a:pt x="952" y="71"/>
                  <a:pt x="952" y="71"/>
                  <a:pt x="952" y="71"/>
                </a:cubicBezTo>
                <a:cubicBezTo>
                  <a:pt x="952" y="71"/>
                  <a:pt x="952" y="71"/>
                  <a:pt x="952" y="71"/>
                </a:cubicBezTo>
                <a:cubicBezTo>
                  <a:pt x="953" y="71"/>
                  <a:pt x="952" y="72"/>
                  <a:pt x="953" y="72"/>
                </a:cubicBezTo>
                <a:cubicBezTo>
                  <a:pt x="953" y="72"/>
                  <a:pt x="953" y="72"/>
                  <a:pt x="953" y="72"/>
                </a:cubicBezTo>
                <a:cubicBezTo>
                  <a:pt x="953" y="72"/>
                  <a:pt x="953" y="73"/>
                  <a:pt x="953" y="73"/>
                </a:cubicBezTo>
                <a:cubicBezTo>
                  <a:pt x="953" y="73"/>
                  <a:pt x="953" y="73"/>
                  <a:pt x="953" y="73"/>
                </a:cubicBezTo>
                <a:cubicBezTo>
                  <a:pt x="953" y="73"/>
                  <a:pt x="953" y="74"/>
                  <a:pt x="953" y="74"/>
                </a:cubicBezTo>
                <a:cubicBezTo>
                  <a:pt x="953" y="74"/>
                  <a:pt x="953" y="74"/>
                  <a:pt x="953" y="74"/>
                </a:cubicBezTo>
                <a:cubicBezTo>
                  <a:pt x="954" y="75"/>
                  <a:pt x="954" y="75"/>
                  <a:pt x="954" y="75"/>
                </a:cubicBezTo>
                <a:cubicBezTo>
                  <a:pt x="954" y="75"/>
                  <a:pt x="954" y="75"/>
                  <a:pt x="954" y="75"/>
                </a:cubicBezTo>
                <a:cubicBezTo>
                  <a:pt x="954" y="76"/>
                  <a:pt x="954" y="76"/>
                  <a:pt x="954" y="76"/>
                </a:cubicBezTo>
                <a:cubicBezTo>
                  <a:pt x="954" y="76"/>
                  <a:pt x="954" y="76"/>
                  <a:pt x="954" y="76"/>
                </a:cubicBezTo>
                <a:cubicBezTo>
                  <a:pt x="954" y="76"/>
                  <a:pt x="954" y="77"/>
                  <a:pt x="954" y="77"/>
                </a:cubicBezTo>
                <a:cubicBezTo>
                  <a:pt x="954" y="77"/>
                  <a:pt x="954" y="77"/>
                  <a:pt x="954" y="77"/>
                </a:cubicBezTo>
                <a:cubicBezTo>
                  <a:pt x="955" y="77"/>
                  <a:pt x="955" y="78"/>
                  <a:pt x="955" y="78"/>
                </a:cubicBezTo>
                <a:cubicBezTo>
                  <a:pt x="955" y="78"/>
                  <a:pt x="955" y="78"/>
                  <a:pt x="955" y="78"/>
                </a:cubicBezTo>
                <a:cubicBezTo>
                  <a:pt x="955" y="78"/>
                  <a:pt x="955" y="78"/>
                  <a:pt x="955" y="79"/>
                </a:cubicBezTo>
                <a:cubicBezTo>
                  <a:pt x="955" y="79"/>
                  <a:pt x="955" y="79"/>
                  <a:pt x="955" y="79"/>
                </a:cubicBezTo>
                <a:cubicBezTo>
                  <a:pt x="955" y="79"/>
                  <a:pt x="955" y="79"/>
                  <a:pt x="955" y="79"/>
                </a:cubicBezTo>
                <a:cubicBezTo>
                  <a:pt x="955" y="79"/>
                  <a:pt x="955" y="79"/>
                  <a:pt x="956" y="80"/>
                </a:cubicBezTo>
                <a:cubicBezTo>
                  <a:pt x="956" y="80"/>
                  <a:pt x="956" y="80"/>
                  <a:pt x="956" y="80"/>
                </a:cubicBezTo>
                <a:cubicBezTo>
                  <a:pt x="956" y="80"/>
                  <a:pt x="956" y="80"/>
                  <a:pt x="956" y="80"/>
                </a:cubicBezTo>
                <a:cubicBezTo>
                  <a:pt x="956" y="80"/>
                  <a:pt x="956" y="80"/>
                  <a:pt x="956" y="80"/>
                </a:cubicBezTo>
                <a:cubicBezTo>
                  <a:pt x="956" y="80"/>
                  <a:pt x="956" y="81"/>
                  <a:pt x="956" y="81"/>
                </a:cubicBezTo>
                <a:cubicBezTo>
                  <a:pt x="956" y="81"/>
                  <a:pt x="956" y="81"/>
                  <a:pt x="956" y="81"/>
                </a:cubicBezTo>
                <a:cubicBezTo>
                  <a:pt x="956" y="81"/>
                  <a:pt x="956" y="81"/>
                  <a:pt x="957" y="82"/>
                </a:cubicBezTo>
                <a:cubicBezTo>
                  <a:pt x="957" y="82"/>
                  <a:pt x="957" y="82"/>
                  <a:pt x="957" y="82"/>
                </a:cubicBezTo>
                <a:cubicBezTo>
                  <a:pt x="957" y="82"/>
                  <a:pt x="957" y="82"/>
                  <a:pt x="957" y="82"/>
                </a:cubicBezTo>
                <a:cubicBezTo>
                  <a:pt x="957" y="82"/>
                  <a:pt x="957" y="82"/>
                  <a:pt x="957" y="82"/>
                </a:cubicBezTo>
                <a:cubicBezTo>
                  <a:pt x="957" y="82"/>
                  <a:pt x="957" y="82"/>
                  <a:pt x="957" y="82"/>
                </a:cubicBezTo>
                <a:cubicBezTo>
                  <a:pt x="957" y="82"/>
                  <a:pt x="957" y="83"/>
                  <a:pt x="957" y="83"/>
                </a:cubicBezTo>
                <a:cubicBezTo>
                  <a:pt x="957" y="83"/>
                  <a:pt x="957" y="83"/>
                  <a:pt x="957" y="83"/>
                </a:cubicBezTo>
                <a:cubicBezTo>
                  <a:pt x="957" y="83"/>
                  <a:pt x="957" y="83"/>
                  <a:pt x="958" y="83"/>
                </a:cubicBezTo>
                <a:cubicBezTo>
                  <a:pt x="958" y="83"/>
                  <a:pt x="958" y="83"/>
                  <a:pt x="958" y="83"/>
                </a:cubicBezTo>
                <a:cubicBezTo>
                  <a:pt x="958" y="84"/>
                  <a:pt x="958" y="84"/>
                  <a:pt x="958" y="84"/>
                </a:cubicBezTo>
                <a:cubicBezTo>
                  <a:pt x="958" y="84"/>
                  <a:pt x="958" y="84"/>
                  <a:pt x="958" y="84"/>
                </a:cubicBezTo>
                <a:cubicBezTo>
                  <a:pt x="958" y="84"/>
                  <a:pt x="958" y="84"/>
                  <a:pt x="958" y="84"/>
                </a:cubicBezTo>
                <a:cubicBezTo>
                  <a:pt x="958" y="84"/>
                  <a:pt x="958" y="84"/>
                  <a:pt x="958" y="84"/>
                </a:cubicBezTo>
                <a:cubicBezTo>
                  <a:pt x="958" y="85"/>
                  <a:pt x="958" y="85"/>
                  <a:pt x="959" y="85"/>
                </a:cubicBezTo>
                <a:cubicBezTo>
                  <a:pt x="959" y="85"/>
                  <a:pt x="959" y="85"/>
                  <a:pt x="959" y="85"/>
                </a:cubicBezTo>
                <a:cubicBezTo>
                  <a:pt x="959" y="85"/>
                  <a:pt x="959" y="85"/>
                  <a:pt x="959" y="86"/>
                </a:cubicBezTo>
                <a:cubicBezTo>
                  <a:pt x="959" y="86"/>
                  <a:pt x="959" y="86"/>
                  <a:pt x="959" y="86"/>
                </a:cubicBezTo>
                <a:cubicBezTo>
                  <a:pt x="959" y="86"/>
                  <a:pt x="959" y="86"/>
                  <a:pt x="959" y="86"/>
                </a:cubicBezTo>
                <a:cubicBezTo>
                  <a:pt x="959" y="86"/>
                  <a:pt x="959" y="86"/>
                  <a:pt x="959" y="86"/>
                </a:cubicBezTo>
                <a:cubicBezTo>
                  <a:pt x="959" y="86"/>
                  <a:pt x="960" y="86"/>
                  <a:pt x="960" y="87"/>
                </a:cubicBezTo>
                <a:cubicBezTo>
                  <a:pt x="960" y="87"/>
                  <a:pt x="960" y="87"/>
                  <a:pt x="960" y="87"/>
                </a:cubicBezTo>
                <a:cubicBezTo>
                  <a:pt x="960" y="87"/>
                  <a:pt x="960" y="87"/>
                  <a:pt x="960" y="87"/>
                </a:cubicBezTo>
                <a:cubicBezTo>
                  <a:pt x="960" y="87"/>
                  <a:pt x="960" y="87"/>
                  <a:pt x="960" y="87"/>
                </a:cubicBezTo>
                <a:cubicBezTo>
                  <a:pt x="960" y="87"/>
                  <a:pt x="960" y="87"/>
                  <a:pt x="960" y="88"/>
                </a:cubicBezTo>
                <a:cubicBezTo>
                  <a:pt x="960" y="87"/>
                  <a:pt x="960" y="87"/>
                  <a:pt x="960" y="87"/>
                </a:cubicBezTo>
                <a:cubicBezTo>
                  <a:pt x="960" y="88"/>
                  <a:pt x="961" y="88"/>
                  <a:pt x="961" y="88"/>
                </a:cubicBezTo>
                <a:cubicBezTo>
                  <a:pt x="961" y="88"/>
                  <a:pt x="961" y="88"/>
                  <a:pt x="961" y="88"/>
                </a:cubicBezTo>
                <a:cubicBezTo>
                  <a:pt x="961" y="88"/>
                  <a:pt x="961" y="88"/>
                  <a:pt x="961" y="88"/>
                </a:cubicBezTo>
                <a:cubicBezTo>
                  <a:pt x="961" y="88"/>
                  <a:pt x="961" y="88"/>
                  <a:pt x="961" y="88"/>
                </a:cubicBezTo>
                <a:cubicBezTo>
                  <a:pt x="961" y="89"/>
                  <a:pt x="961" y="89"/>
                  <a:pt x="962" y="89"/>
                </a:cubicBezTo>
                <a:cubicBezTo>
                  <a:pt x="962" y="89"/>
                  <a:pt x="962" y="89"/>
                  <a:pt x="962" y="89"/>
                </a:cubicBezTo>
                <a:cubicBezTo>
                  <a:pt x="962" y="89"/>
                  <a:pt x="962" y="90"/>
                  <a:pt x="962" y="90"/>
                </a:cubicBezTo>
                <a:cubicBezTo>
                  <a:pt x="962" y="90"/>
                  <a:pt x="962" y="90"/>
                  <a:pt x="962" y="90"/>
                </a:cubicBezTo>
                <a:cubicBezTo>
                  <a:pt x="962" y="90"/>
                  <a:pt x="962" y="90"/>
                  <a:pt x="963" y="90"/>
                </a:cubicBezTo>
                <a:cubicBezTo>
                  <a:pt x="962" y="90"/>
                  <a:pt x="962" y="90"/>
                  <a:pt x="962" y="90"/>
                </a:cubicBezTo>
                <a:cubicBezTo>
                  <a:pt x="963" y="90"/>
                  <a:pt x="963" y="90"/>
                  <a:pt x="963" y="90"/>
                </a:cubicBezTo>
                <a:cubicBezTo>
                  <a:pt x="963" y="90"/>
                  <a:pt x="963" y="90"/>
                  <a:pt x="963" y="90"/>
                </a:cubicBezTo>
                <a:cubicBezTo>
                  <a:pt x="963" y="90"/>
                  <a:pt x="963" y="91"/>
                  <a:pt x="963" y="91"/>
                </a:cubicBezTo>
                <a:cubicBezTo>
                  <a:pt x="963" y="91"/>
                  <a:pt x="963" y="91"/>
                  <a:pt x="963" y="91"/>
                </a:cubicBezTo>
                <a:cubicBezTo>
                  <a:pt x="963" y="91"/>
                  <a:pt x="963" y="91"/>
                  <a:pt x="964" y="91"/>
                </a:cubicBezTo>
                <a:cubicBezTo>
                  <a:pt x="964" y="91"/>
                  <a:pt x="964" y="91"/>
                  <a:pt x="964" y="91"/>
                </a:cubicBezTo>
                <a:cubicBezTo>
                  <a:pt x="964" y="91"/>
                  <a:pt x="964" y="91"/>
                  <a:pt x="964" y="91"/>
                </a:cubicBezTo>
                <a:cubicBezTo>
                  <a:pt x="964" y="91"/>
                  <a:pt x="964" y="91"/>
                  <a:pt x="964" y="91"/>
                </a:cubicBezTo>
                <a:cubicBezTo>
                  <a:pt x="964" y="92"/>
                  <a:pt x="964" y="92"/>
                  <a:pt x="964" y="92"/>
                </a:cubicBezTo>
                <a:cubicBezTo>
                  <a:pt x="964" y="92"/>
                  <a:pt x="964" y="92"/>
                  <a:pt x="964" y="92"/>
                </a:cubicBezTo>
                <a:cubicBezTo>
                  <a:pt x="964" y="92"/>
                  <a:pt x="964" y="92"/>
                  <a:pt x="965" y="92"/>
                </a:cubicBezTo>
                <a:cubicBezTo>
                  <a:pt x="965" y="92"/>
                  <a:pt x="965" y="92"/>
                  <a:pt x="965" y="92"/>
                </a:cubicBezTo>
                <a:cubicBezTo>
                  <a:pt x="965" y="92"/>
                  <a:pt x="965" y="92"/>
                  <a:pt x="965" y="92"/>
                </a:cubicBezTo>
                <a:cubicBezTo>
                  <a:pt x="965" y="92"/>
                  <a:pt x="965" y="92"/>
                  <a:pt x="965" y="92"/>
                </a:cubicBezTo>
                <a:cubicBezTo>
                  <a:pt x="965" y="93"/>
                  <a:pt x="965" y="93"/>
                  <a:pt x="965" y="93"/>
                </a:cubicBezTo>
                <a:cubicBezTo>
                  <a:pt x="965" y="93"/>
                  <a:pt x="965" y="93"/>
                  <a:pt x="965" y="93"/>
                </a:cubicBezTo>
                <a:cubicBezTo>
                  <a:pt x="965" y="93"/>
                  <a:pt x="966" y="93"/>
                  <a:pt x="966" y="94"/>
                </a:cubicBezTo>
                <a:cubicBezTo>
                  <a:pt x="966" y="94"/>
                  <a:pt x="966" y="94"/>
                  <a:pt x="966" y="94"/>
                </a:cubicBezTo>
                <a:cubicBezTo>
                  <a:pt x="966"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5"/>
                  <a:pt x="968" y="95"/>
                  <a:pt x="968" y="95"/>
                </a:cubicBezTo>
                <a:cubicBezTo>
                  <a:pt x="968" y="95"/>
                  <a:pt x="968" y="95"/>
                  <a:pt x="968" y="95"/>
                </a:cubicBezTo>
                <a:cubicBezTo>
                  <a:pt x="968" y="95"/>
                  <a:pt x="968" y="95"/>
                  <a:pt x="968" y="95"/>
                </a:cubicBezTo>
                <a:cubicBezTo>
                  <a:pt x="968" y="95"/>
                  <a:pt x="968" y="95"/>
                  <a:pt x="968" y="95"/>
                </a:cubicBezTo>
                <a:cubicBezTo>
                  <a:pt x="969" y="96"/>
                  <a:pt x="969" y="96"/>
                  <a:pt x="969" y="96"/>
                </a:cubicBezTo>
                <a:cubicBezTo>
                  <a:pt x="969" y="96"/>
                  <a:pt x="969" y="96"/>
                  <a:pt x="969" y="96"/>
                </a:cubicBezTo>
                <a:cubicBezTo>
                  <a:pt x="970" y="96"/>
                  <a:pt x="970" y="96"/>
                  <a:pt x="971" y="97"/>
                </a:cubicBezTo>
                <a:cubicBezTo>
                  <a:pt x="970" y="97"/>
                  <a:pt x="970" y="97"/>
                  <a:pt x="970" y="97"/>
                </a:cubicBezTo>
                <a:cubicBezTo>
                  <a:pt x="971" y="97"/>
                  <a:pt x="971" y="97"/>
                  <a:pt x="971" y="97"/>
                </a:cubicBezTo>
                <a:cubicBezTo>
                  <a:pt x="971" y="97"/>
                  <a:pt x="971" y="97"/>
                  <a:pt x="971" y="97"/>
                </a:cubicBezTo>
                <a:cubicBezTo>
                  <a:pt x="971" y="97"/>
                  <a:pt x="971" y="97"/>
                  <a:pt x="972" y="97"/>
                </a:cubicBezTo>
                <a:cubicBezTo>
                  <a:pt x="972" y="97"/>
                  <a:pt x="972" y="97"/>
                  <a:pt x="972" y="97"/>
                </a:cubicBezTo>
                <a:cubicBezTo>
                  <a:pt x="972" y="98"/>
                  <a:pt x="972" y="97"/>
                  <a:pt x="972" y="98"/>
                </a:cubicBezTo>
                <a:cubicBezTo>
                  <a:pt x="972" y="98"/>
                  <a:pt x="972" y="98"/>
                  <a:pt x="972" y="98"/>
                </a:cubicBezTo>
                <a:cubicBezTo>
                  <a:pt x="972" y="98"/>
                  <a:pt x="973" y="98"/>
                  <a:pt x="973" y="98"/>
                </a:cubicBezTo>
                <a:cubicBezTo>
                  <a:pt x="973" y="98"/>
                  <a:pt x="973" y="98"/>
                  <a:pt x="973" y="98"/>
                </a:cubicBezTo>
                <a:cubicBezTo>
                  <a:pt x="973" y="98"/>
                  <a:pt x="973" y="98"/>
                  <a:pt x="974" y="98"/>
                </a:cubicBezTo>
                <a:cubicBezTo>
                  <a:pt x="974" y="98"/>
                  <a:pt x="974" y="98"/>
                  <a:pt x="974" y="98"/>
                </a:cubicBezTo>
                <a:cubicBezTo>
                  <a:pt x="974" y="99"/>
                  <a:pt x="974" y="99"/>
                  <a:pt x="974" y="99"/>
                </a:cubicBezTo>
                <a:cubicBezTo>
                  <a:pt x="974" y="99"/>
                  <a:pt x="974" y="99"/>
                  <a:pt x="974" y="99"/>
                </a:cubicBezTo>
                <a:cubicBezTo>
                  <a:pt x="974" y="99"/>
                  <a:pt x="975" y="99"/>
                  <a:pt x="975" y="99"/>
                </a:cubicBezTo>
                <a:cubicBezTo>
                  <a:pt x="975" y="99"/>
                  <a:pt x="975" y="99"/>
                  <a:pt x="975" y="99"/>
                </a:cubicBezTo>
                <a:cubicBezTo>
                  <a:pt x="975" y="99"/>
                  <a:pt x="975" y="99"/>
                  <a:pt x="976" y="99"/>
                </a:cubicBezTo>
                <a:cubicBezTo>
                  <a:pt x="976" y="99"/>
                  <a:pt x="976" y="99"/>
                  <a:pt x="976" y="99"/>
                </a:cubicBezTo>
                <a:cubicBezTo>
                  <a:pt x="976" y="100"/>
                  <a:pt x="976" y="100"/>
                  <a:pt x="977" y="100"/>
                </a:cubicBezTo>
                <a:cubicBezTo>
                  <a:pt x="977" y="100"/>
                  <a:pt x="977" y="100"/>
                  <a:pt x="977" y="100"/>
                </a:cubicBezTo>
                <a:cubicBezTo>
                  <a:pt x="977" y="100"/>
                  <a:pt x="977" y="100"/>
                  <a:pt x="977" y="100"/>
                </a:cubicBezTo>
                <a:cubicBezTo>
                  <a:pt x="977" y="100"/>
                  <a:pt x="977" y="100"/>
                  <a:pt x="977" y="100"/>
                </a:cubicBezTo>
                <a:cubicBezTo>
                  <a:pt x="977" y="100"/>
                  <a:pt x="977" y="100"/>
                  <a:pt x="977" y="100"/>
                </a:cubicBezTo>
                <a:cubicBezTo>
                  <a:pt x="978" y="100"/>
                  <a:pt x="978" y="100"/>
                  <a:pt x="978" y="100"/>
                </a:cubicBezTo>
                <a:cubicBezTo>
                  <a:pt x="978" y="100"/>
                  <a:pt x="978" y="100"/>
                  <a:pt x="978" y="100"/>
                </a:cubicBezTo>
                <a:cubicBezTo>
                  <a:pt x="978" y="100"/>
                  <a:pt x="978" y="100"/>
                  <a:pt x="978" y="100"/>
                </a:cubicBezTo>
                <a:cubicBezTo>
                  <a:pt x="979" y="101"/>
                  <a:pt x="979" y="101"/>
                  <a:pt x="979" y="101"/>
                </a:cubicBezTo>
                <a:cubicBezTo>
                  <a:pt x="979" y="101"/>
                  <a:pt x="979" y="101"/>
                  <a:pt x="979" y="101"/>
                </a:cubicBezTo>
                <a:cubicBezTo>
                  <a:pt x="980" y="101"/>
                  <a:pt x="980" y="101"/>
                  <a:pt x="980" y="101"/>
                </a:cubicBezTo>
                <a:cubicBezTo>
                  <a:pt x="980" y="101"/>
                  <a:pt x="980" y="101"/>
                  <a:pt x="980" y="101"/>
                </a:cubicBezTo>
                <a:cubicBezTo>
                  <a:pt x="980" y="101"/>
                  <a:pt x="980" y="101"/>
                  <a:pt x="980" y="101"/>
                </a:cubicBezTo>
                <a:cubicBezTo>
                  <a:pt x="981" y="101"/>
                  <a:pt x="981" y="101"/>
                  <a:pt x="981" y="101"/>
                </a:cubicBezTo>
                <a:cubicBezTo>
                  <a:pt x="981" y="101"/>
                  <a:pt x="981" y="101"/>
                  <a:pt x="982" y="102"/>
                </a:cubicBezTo>
                <a:cubicBezTo>
                  <a:pt x="982" y="101"/>
                  <a:pt x="982" y="101"/>
                  <a:pt x="982" y="101"/>
                </a:cubicBezTo>
                <a:cubicBezTo>
                  <a:pt x="982" y="102"/>
                  <a:pt x="982" y="102"/>
                  <a:pt x="983" y="102"/>
                </a:cubicBezTo>
                <a:cubicBezTo>
                  <a:pt x="983" y="102"/>
                  <a:pt x="983" y="102"/>
                  <a:pt x="983" y="102"/>
                </a:cubicBezTo>
                <a:cubicBezTo>
                  <a:pt x="983" y="102"/>
                  <a:pt x="983" y="102"/>
                  <a:pt x="983" y="102"/>
                </a:cubicBezTo>
                <a:cubicBezTo>
                  <a:pt x="983" y="102"/>
                  <a:pt x="984" y="102"/>
                  <a:pt x="984" y="102"/>
                </a:cubicBezTo>
                <a:cubicBezTo>
                  <a:pt x="985" y="102"/>
                  <a:pt x="985" y="102"/>
                  <a:pt x="985" y="102"/>
                </a:cubicBezTo>
                <a:cubicBezTo>
                  <a:pt x="985" y="102"/>
                  <a:pt x="985" y="102"/>
                  <a:pt x="985" y="102"/>
                </a:cubicBezTo>
                <a:cubicBezTo>
                  <a:pt x="985" y="103"/>
                  <a:pt x="986" y="102"/>
                  <a:pt x="986" y="103"/>
                </a:cubicBezTo>
                <a:cubicBezTo>
                  <a:pt x="986" y="102"/>
                  <a:pt x="986" y="102"/>
                  <a:pt x="986" y="102"/>
                </a:cubicBezTo>
                <a:cubicBezTo>
                  <a:pt x="986" y="103"/>
                  <a:pt x="986" y="103"/>
                  <a:pt x="986" y="103"/>
                </a:cubicBezTo>
                <a:cubicBezTo>
                  <a:pt x="987" y="103"/>
                  <a:pt x="988" y="103"/>
                  <a:pt x="989" y="103"/>
                </a:cubicBezTo>
                <a:cubicBezTo>
                  <a:pt x="989" y="103"/>
                  <a:pt x="989" y="103"/>
                  <a:pt x="989" y="103"/>
                </a:cubicBezTo>
                <a:cubicBezTo>
                  <a:pt x="991" y="103"/>
                  <a:pt x="992" y="103"/>
                  <a:pt x="993" y="103"/>
                </a:cubicBezTo>
                <a:cubicBezTo>
                  <a:pt x="995" y="103"/>
                  <a:pt x="996" y="103"/>
                  <a:pt x="997" y="103"/>
                </a:cubicBezTo>
                <a:cubicBezTo>
                  <a:pt x="999" y="103"/>
                  <a:pt x="1000" y="103"/>
                  <a:pt x="1002" y="103"/>
                </a:cubicBezTo>
                <a:cubicBezTo>
                  <a:pt x="1002" y="103"/>
                  <a:pt x="1002" y="103"/>
                  <a:pt x="1003" y="103"/>
                </a:cubicBezTo>
                <a:cubicBezTo>
                  <a:pt x="1004" y="102"/>
                  <a:pt x="1004" y="103"/>
                  <a:pt x="1005" y="103"/>
                </a:cubicBezTo>
                <a:cubicBezTo>
                  <a:pt x="1005" y="102"/>
                  <a:pt x="1005" y="102"/>
                  <a:pt x="1005" y="102"/>
                </a:cubicBezTo>
                <a:cubicBezTo>
                  <a:pt x="1006" y="103"/>
                  <a:pt x="1006" y="103"/>
                  <a:pt x="1006" y="103"/>
                </a:cubicBezTo>
                <a:cubicBezTo>
                  <a:pt x="1006" y="102"/>
                  <a:pt x="1007" y="103"/>
                  <a:pt x="1007" y="102"/>
                </a:cubicBezTo>
                <a:cubicBezTo>
                  <a:pt x="1007" y="102"/>
                  <a:pt x="1007" y="102"/>
                  <a:pt x="1007" y="102"/>
                </a:cubicBezTo>
                <a:cubicBezTo>
                  <a:pt x="1008" y="102"/>
                  <a:pt x="1008" y="102"/>
                  <a:pt x="1008" y="102"/>
                </a:cubicBezTo>
                <a:cubicBezTo>
                  <a:pt x="1008" y="102"/>
                  <a:pt x="1009" y="102"/>
                  <a:pt x="1009" y="102"/>
                </a:cubicBezTo>
                <a:cubicBezTo>
                  <a:pt x="1009" y="102"/>
                  <a:pt x="1009" y="102"/>
                  <a:pt x="1009" y="102"/>
                </a:cubicBezTo>
                <a:cubicBezTo>
                  <a:pt x="1009" y="102"/>
                  <a:pt x="1009" y="102"/>
                  <a:pt x="1009" y="102"/>
                </a:cubicBezTo>
                <a:cubicBezTo>
                  <a:pt x="1010" y="102"/>
                  <a:pt x="1010" y="102"/>
                  <a:pt x="1011" y="102"/>
                </a:cubicBezTo>
                <a:cubicBezTo>
                  <a:pt x="1011" y="101"/>
                  <a:pt x="1011" y="101"/>
                  <a:pt x="1011" y="101"/>
                </a:cubicBezTo>
                <a:cubicBezTo>
                  <a:pt x="1011" y="101"/>
                  <a:pt x="1011" y="101"/>
                  <a:pt x="1011" y="101"/>
                </a:cubicBezTo>
                <a:cubicBezTo>
                  <a:pt x="1011" y="101"/>
                  <a:pt x="1012" y="101"/>
                  <a:pt x="1012" y="101"/>
                </a:cubicBezTo>
                <a:cubicBezTo>
                  <a:pt x="1012" y="101"/>
                  <a:pt x="1012" y="101"/>
                  <a:pt x="1012" y="101"/>
                </a:cubicBezTo>
                <a:cubicBezTo>
                  <a:pt x="1013" y="101"/>
                  <a:pt x="1013" y="101"/>
                  <a:pt x="1013" y="101"/>
                </a:cubicBezTo>
                <a:cubicBezTo>
                  <a:pt x="1013" y="101"/>
                  <a:pt x="1013" y="101"/>
                  <a:pt x="1013" y="101"/>
                </a:cubicBezTo>
                <a:cubicBezTo>
                  <a:pt x="1013" y="101"/>
                  <a:pt x="1013" y="101"/>
                  <a:pt x="1013" y="101"/>
                </a:cubicBezTo>
                <a:cubicBezTo>
                  <a:pt x="1014" y="101"/>
                  <a:pt x="1014" y="101"/>
                  <a:pt x="1014" y="101"/>
                </a:cubicBezTo>
                <a:cubicBezTo>
                  <a:pt x="1014" y="100"/>
                  <a:pt x="1014" y="100"/>
                  <a:pt x="1014" y="100"/>
                </a:cubicBezTo>
                <a:cubicBezTo>
                  <a:pt x="1015" y="100"/>
                  <a:pt x="1015" y="100"/>
                  <a:pt x="1015" y="100"/>
                </a:cubicBezTo>
                <a:cubicBezTo>
                  <a:pt x="1015" y="100"/>
                  <a:pt x="1015" y="100"/>
                  <a:pt x="1015" y="100"/>
                </a:cubicBezTo>
                <a:cubicBezTo>
                  <a:pt x="1015" y="100"/>
                  <a:pt x="1015" y="100"/>
                  <a:pt x="1015" y="100"/>
                </a:cubicBezTo>
                <a:cubicBezTo>
                  <a:pt x="1016" y="100"/>
                  <a:pt x="1016" y="100"/>
                  <a:pt x="1016" y="100"/>
                </a:cubicBezTo>
                <a:cubicBezTo>
                  <a:pt x="1016" y="100"/>
                  <a:pt x="1016" y="100"/>
                  <a:pt x="1016" y="100"/>
                </a:cubicBezTo>
                <a:cubicBezTo>
                  <a:pt x="1016" y="100"/>
                  <a:pt x="1016" y="100"/>
                  <a:pt x="1016" y="100"/>
                </a:cubicBezTo>
                <a:cubicBezTo>
                  <a:pt x="1017" y="99"/>
                  <a:pt x="1017" y="100"/>
                  <a:pt x="1017" y="99"/>
                </a:cubicBezTo>
                <a:cubicBezTo>
                  <a:pt x="1017" y="99"/>
                  <a:pt x="1017" y="99"/>
                  <a:pt x="1017" y="99"/>
                </a:cubicBezTo>
                <a:cubicBezTo>
                  <a:pt x="1018" y="99"/>
                  <a:pt x="1018" y="99"/>
                  <a:pt x="1018" y="99"/>
                </a:cubicBezTo>
                <a:cubicBezTo>
                  <a:pt x="1018" y="99"/>
                  <a:pt x="1018" y="99"/>
                  <a:pt x="1018" y="99"/>
                </a:cubicBezTo>
                <a:cubicBezTo>
                  <a:pt x="1018" y="99"/>
                  <a:pt x="1019" y="99"/>
                  <a:pt x="1019" y="99"/>
                </a:cubicBezTo>
                <a:cubicBezTo>
                  <a:pt x="1019" y="99"/>
                  <a:pt x="1019" y="99"/>
                  <a:pt x="1019" y="99"/>
                </a:cubicBezTo>
                <a:cubicBezTo>
                  <a:pt x="1019" y="99"/>
                  <a:pt x="1019" y="99"/>
                  <a:pt x="1019" y="99"/>
                </a:cubicBezTo>
                <a:cubicBezTo>
                  <a:pt x="1019" y="99"/>
                  <a:pt x="1019" y="99"/>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1" y="98"/>
                  <a:pt x="1021" y="98"/>
                  <a:pt x="1021" y="98"/>
                </a:cubicBezTo>
                <a:cubicBezTo>
                  <a:pt x="1021" y="98"/>
                  <a:pt x="1021" y="98"/>
                  <a:pt x="1021" y="98"/>
                </a:cubicBezTo>
                <a:cubicBezTo>
                  <a:pt x="1021" y="94"/>
                  <a:pt x="1021" y="91"/>
                  <a:pt x="1021" y="87"/>
                </a:cubicBezTo>
                <a:cubicBezTo>
                  <a:pt x="1021" y="87"/>
                  <a:pt x="1021" y="87"/>
                  <a:pt x="1021" y="87"/>
                </a:cubicBezTo>
                <a:cubicBezTo>
                  <a:pt x="1021" y="87"/>
                  <a:pt x="1021" y="87"/>
                  <a:pt x="1021" y="87"/>
                </a:cubicBezTo>
                <a:cubicBezTo>
                  <a:pt x="1020" y="87"/>
                  <a:pt x="1020" y="87"/>
                  <a:pt x="1020" y="87"/>
                </a:cubicBezTo>
                <a:cubicBezTo>
                  <a:pt x="1020" y="87"/>
                  <a:pt x="1020" y="87"/>
                  <a:pt x="1020" y="87"/>
                </a:cubicBezTo>
                <a:cubicBezTo>
                  <a:pt x="1020" y="87"/>
                  <a:pt x="1019" y="87"/>
                  <a:pt x="1019" y="88"/>
                </a:cubicBezTo>
                <a:cubicBezTo>
                  <a:pt x="1019" y="88"/>
                  <a:pt x="1019" y="88"/>
                  <a:pt x="1019" y="88"/>
                </a:cubicBezTo>
                <a:cubicBezTo>
                  <a:pt x="1019" y="88"/>
                  <a:pt x="1019" y="88"/>
                  <a:pt x="1019" y="88"/>
                </a:cubicBezTo>
                <a:cubicBezTo>
                  <a:pt x="1019" y="88"/>
                  <a:pt x="1019" y="88"/>
                  <a:pt x="1019" y="88"/>
                </a:cubicBezTo>
                <a:cubicBezTo>
                  <a:pt x="1018" y="88"/>
                  <a:pt x="1018" y="88"/>
                  <a:pt x="1018" y="88"/>
                </a:cubicBezTo>
                <a:cubicBezTo>
                  <a:pt x="1018" y="88"/>
                  <a:pt x="1018" y="88"/>
                  <a:pt x="1018" y="88"/>
                </a:cubicBezTo>
                <a:cubicBezTo>
                  <a:pt x="1018" y="88"/>
                  <a:pt x="1018" y="88"/>
                  <a:pt x="1018" y="88"/>
                </a:cubicBezTo>
                <a:cubicBezTo>
                  <a:pt x="1018" y="88"/>
                  <a:pt x="1018" y="88"/>
                  <a:pt x="1017" y="89"/>
                </a:cubicBezTo>
                <a:cubicBezTo>
                  <a:pt x="1017" y="89"/>
                  <a:pt x="1017" y="89"/>
                  <a:pt x="1017" y="89"/>
                </a:cubicBezTo>
                <a:cubicBezTo>
                  <a:pt x="1017" y="89"/>
                  <a:pt x="1017" y="89"/>
                  <a:pt x="1017" y="89"/>
                </a:cubicBezTo>
                <a:cubicBezTo>
                  <a:pt x="1017" y="89"/>
                  <a:pt x="1017" y="89"/>
                  <a:pt x="1016" y="89"/>
                </a:cubicBezTo>
                <a:cubicBezTo>
                  <a:pt x="1016" y="89"/>
                  <a:pt x="1016" y="89"/>
                  <a:pt x="1016" y="89"/>
                </a:cubicBezTo>
                <a:cubicBezTo>
                  <a:pt x="1016" y="89"/>
                  <a:pt x="1016" y="89"/>
                  <a:pt x="1016" y="89"/>
                </a:cubicBezTo>
                <a:cubicBezTo>
                  <a:pt x="1016" y="89"/>
                  <a:pt x="1016" y="89"/>
                  <a:pt x="1016" y="89"/>
                </a:cubicBezTo>
                <a:cubicBezTo>
                  <a:pt x="1016" y="90"/>
                  <a:pt x="1015" y="89"/>
                  <a:pt x="1015" y="90"/>
                </a:cubicBezTo>
                <a:cubicBezTo>
                  <a:pt x="1015" y="90"/>
                  <a:pt x="1015" y="90"/>
                  <a:pt x="1015" y="90"/>
                </a:cubicBezTo>
                <a:cubicBezTo>
                  <a:pt x="1015" y="90"/>
                  <a:pt x="1014" y="90"/>
                  <a:pt x="1014" y="90"/>
                </a:cubicBezTo>
                <a:cubicBezTo>
                  <a:pt x="1014" y="90"/>
                  <a:pt x="1014" y="90"/>
                  <a:pt x="1014" y="90"/>
                </a:cubicBezTo>
                <a:cubicBezTo>
                  <a:pt x="1014" y="90"/>
                  <a:pt x="1013" y="90"/>
                  <a:pt x="1013" y="90"/>
                </a:cubicBezTo>
                <a:cubicBezTo>
                  <a:pt x="1013" y="90"/>
                  <a:pt x="1013" y="90"/>
                  <a:pt x="1013" y="90"/>
                </a:cubicBezTo>
                <a:cubicBezTo>
                  <a:pt x="1013" y="91"/>
                  <a:pt x="1012" y="91"/>
                  <a:pt x="1012" y="91"/>
                </a:cubicBezTo>
                <a:cubicBezTo>
                  <a:pt x="1012" y="91"/>
                  <a:pt x="1012" y="91"/>
                  <a:pt x="1012" y="91"/>
                </a:cubicBezTo>
                <a:cubicBezTo>
                  <a:pt x="1012" y="91"/>
                  <a:pt x="1011" y="91"/>
                  <a:pt x="1011" y="91"/>
                </a:cubicBezTo>
                <a:cubicBezTo>
                  <a:pt x="1011" y="91"/>
                  <a:pt x="1011" y="91"/>
                  <a:pt x="1011" y="91"/>
                </a:cubicBezTo>
                <a:cubicBezTo>
                  <a:pt x="1011" y="91"/>
                  <a:pt x="1010" y="91"/>
                  <a:pt x="1010" y="91"/>
                </a:cubicBezTo>
                <a:cubicBezTo>
                  <a:pt x="1010" y="92"/>
                  <a:pt x="1010" y="92"/>
                  <a:pt x="1010" y="91"/>
                </a:cubicBezTo>
                <a:cubicBezTo>
                  <a:pt x="1009" y="92"/>
                  <a:pt x="1009" y="91"/>
                  <a:pt x="1008" y="92"/>
                </a:cubicBezTo>
                <a:cubicBezTo>
                  <a:pt x="1008" y="92"/>
                  <a:pt x="1008" y="92"/>
                  <a:pt x="1008" y="92"/>
                </a:cubicBezTo>
                <a:cubicBezTo>
                  <a:pt x="1008" y="92"/>
                  <a:pt x="1007" y="92"/>
                  <a:pt x="1007" y="92"/>
                </a:cubicBezTo>
                <a:cubicBezTo>
                  <a:pt x="1007" y="92"/>
                  <a:pt x="1006" y="92"/>
                  <a:pt x="1006" y="92"/>
                </a:cubicBezTo>
                <a:cubicBezTo>
                  <a:pt x="1006" y="92"/>
                  <a:pt x="1005" y="92"/>
                  <a:pt x="1005" y="92"/>
                </a:cubicBezTo>
                <a:cubicBezTo>
                  <a:pt x="1004" y="93"/>
                  <a:pt x="1004" y="93"/>
                  <a:pt x="1004" y="92"/>
                </a:cubicBezTo>
                <a:cubicBezTo>
                  <a:pt x="1003" y="93"/>
                  <a:pt x="1003" y="92"/>
                  <a:pt x="1002" y="93"/>
                </a:cubicBezTo>
                <a:cubicBezTo>
                  <a:pt x="1001" y="93"/>
                  <a:pt x="1001" y="93"/>
                  <a:pt x="1001" y="93"/>
                </a:cubicBezTo>
                <a:cubicBezTo>
                  <a:pt x="998" y="93"/>
                  <a:pt x="996" y="93"/>
                  <a:pt x="993" y="93"/>
                </a:cubicBezTo>
                <a:cubicBezTo>
                  <a:pt x="993" y="93"/>
                  <a:pt x="993" y="93"/>
                  <a:pt x="992" y="93"/>
                </a:cubicBezTo>
                <a:cubicBezTo>
                  <a:pt x="992" y="92"/>
                  <a:pt x="991" y="93"/>
                  <a:pt x="990" y="92"/>
                </a:cubicBezTo>
                <a:cubicBezTo>
                  <a:pt x="990" y="93"/>
                  <a:pt x="990" y="93"/>
                  <a:pt x="990" y="93"/>
                </a:cubicBezTo>
                <a:cubicBezTo>
                  <a:pt x="990" y="92"/>
                  <a:pt x="990" y="92"/>
                  <a:pt x="990" y="92"/>
                </a:cubicBezTo>
                <a:cubicBezTo>
                  <a:pt x="989" y="92"/>
                  <a:pt x="989" y="92"/>
                  <a:pt x="988" y="92"/>
                </a:cubicBezTo>
                <a:cubicBezTo>
                  <a:pt x="988" y="92"/>
                  <a:pt x="988" y="92"/>
                  <a:pt x="988" y="92"/>
                </a:cubicBezTo>
                <a:cubicBezTo>
                  <a:pt x="988" y="92"/>
                  <a:pt x="988" y="92"/>
                  <a:pt x="988" y="92"/>
                </a:cubicBezTo>
                <a:cubicBezTo>
                  <a:pt x="988" y="92"/>
                  <a:pt x="987" y="92"/>
                  <a:pt x="987" y="92"/>
                </a:cubicBezTo>
                <a:cubicBezTo>
                  <a:pt x="987" y="92"/>
                  <a:pt x="987" y="92"/>
                  <a:pt x="987" y="92"/>
                </a:cubicBezTo>
                <a:cubicBezTo>
                  <a:pt x="986" y="91"/>
                  <a:pt x="986" y="92"/>
                  <a:pt x="986" y="91"/>
                </a:cubicBezTo>
                <a:cubicBezTo>
                  <a:pt x="986" y="92"/>
                  <a:pt x="985" y="91"/>
                  <a:pt x="985" y="91"/>
                </a:cubicBezTo>
                <a:cubicBezTo>
                  <a:pt x="985" y="91"/>
                  <a:pt x="985" y="91"/>
                  <a:pt x="985" y="91"/>
                </a:cubicBezTo>
                <a:cubicBezTo>
                  <a:pt x="985" y="91"/>
                  <a:pt x="984" y="91"/>
                  <a:pt x="984" y="91"/>
                </a:cubicBezTo>
                <a:cubicBezTo>
                  <a:pt x="984" y="91"/>
                  <a:pt x="984" y="91"/>
                  <a:pt x="984" y="91"/>
                </a:cubicBezTo>
                <a:cubicBezTo>
                  <a:pt x="984" y="91"/>
                  <a:pt x="984" y="91"/>
                  <a:pt x="984" y="91"/>
                </a:cubicBezTo>
                <a:cubicBezTo>
                  <a:pt x="983" y="91"/>
                  <a:pt x="983" y="91"/>
                  <a:pt x="983" y="90"/>
                </a:cubicBezTo>
                <a:cubicBezTo>
                  <a:pt x="983" y="90"/>
                  <a:pt x="983" y="90"/>
                  <a:pt x="983" y="90"/>
                </a:cubicBezTo>
                <a:cubicBezTo>
                  <a:pt x="983" y="90"/>
                  <a:pt x="983" y="90"/>
                  <a:pt x="983" y="90"/>
                </a:cubicBezTo>
                <a:cubicBezTo>
                  <a:pt x="982" y="90"/>
                  <a:pt x="982" y="90"/>
                  <a:pt x="982" y="90"/>
                </a:cubicBezTo>
                <a:cubicBezTo>
                  <a:pt x="982" y="90"/>
                  <a:pt x="982" y="90"/>
                  <a:pt x="982" y="90"/>
                </a:cubicBezTo>
                <a:cubicBezTo>
                  <a:pt x="982" y="90"/>
                  <a:pt x="981" y="90"/>
                  <a:pt x="981" y="90"/>
                </a:cubicBezTo>
                <a:cubicBezTo>
                  <a:pt x="981" y="90"/>
                  <a:pt x="981" y="90"/>
                  <a:pt x="981" y="90"/>
                </a:cubicBezTo>
                <a:cubicBezTo>
                  <a:pt x="981" y="89"/>
                  <a:pt x="981" y="90"/>
                  <a:pt x="981" y="89"/>
                </a:cubicBezTo>
                <a:cubicBezTo>
                  <a:pt x="981" y="89"/>
                  <a:pt x="981" y="89"/>
                  <a:pt x="981" y="89"/>
                </a:cubicBezTo>
                <a:cubicBezTo>
                  <a:pt x="980" y="89"/>
                  <a:pt x="980" y="89"/>
                  <a:pt x="980" y="89"/>
                </a:cubicBezTo>
                <a:cubicBezTo>
                  <a:pt x="980" y="89"/>
                  <a:pt x="980" y="89"/>
                  <a:pt x="980" y="89"/>
                </a:cubicBezTo>
                <a:cubicBezTo>
                  <a:pt x="980" y="89"/>
                  <a:pt x="979" y="89"/>
                  <a:pt x="979" y="89"/>
                </a:cubicBezTo>
                <a:cubicBezTo>
                  <a:pt x="979" y="89"/>
                  <a:pt x="979" y="89"/>
                  <a:pt x="979" y="89"/>
                </a:cubicBezTo>
                <a:cubicBezTo>
                  <a:pt x="979" y="88"/>
                  <a:pt x="979" y="88"/>
                  <a:pt x="979" y="88"/>
                </a:cubicBezTo>
                <a:cubicBezTo>
                  <a:pt x="979" y="88"/>
                  <a:pt x="979" y="88"/>
                  <a:pt x="979" y="88"/>
                </a:cubicBezTo>
                <a:cubicBezTo>
                  <a:pt x="978" y="88"/>
                  <a:pt x="978" y="88"/>
                  <a:pt x="978" y="88"/>
                </a:cubicBezTo>
                <a:cubicBezTo>
                  <a:pt x="978" y="88"/>
                  <a:pt x="978" y="88"/>
                  <a:pt x="978" y="88"/>
                </a:cubicBezTo>
                <a:cubicBezTo>
                  <a:pt x="978" y="88"/>
                  <a:pt x="978" y="88"/>
                  <a:pt x="978" y="88"/>
                </a:cubicBezTo>
                <a:cubicBezTo>
                  <a:pt x="978" y="88"/>
                  <a:pt x="978" y="88"/>
                  <a:pt x="977" y="88"/>
                </a:cubicBezTo>
                <a:cubicBezTo>
                  <a:pt x="977" y="88"/>
                  <a:pt x="977" y="88"/>
                  <a:pt x="977" y="88"/>
                </a:cubicBezTo>
                <a:cubicBezTo>
                  <a:pt x="977" y="87"/>
                  <a:pt x="977" y="87"/>
                  <a:pt x="977" y="87"/>
                </a:cubicBezTo>
                <a:cubicBezTo>
                  <a:pt x="977" y="87"/>
                  <a:pt x="977" y="87"/>
                  <a:pt x="977" y="87"/>
                </a:cubicBezTo>
                <a:cubicBezTo>
                  <a:pt x="977" y="87"/>
                  <a:pt x="977" y="87"/>
                  <a:pt x="976" y="87"/>
                </a:cubicBezTo>
                <a:cubicBezTo>
                  <a:pt x="976" y="87"/>
                  <a:pt x="976" y="87"/>
                  <a:pt x="976" y="87"/>
                </a:cubicBezTo>
                <a:cubicBezTo>
                  <a:pt x="976" y="87"/>
                  <a:pt x="976" y="87"/>
                  <a:pt x="976" y="87"/>
                </a:cubicBezTo>
                <a:cubicBezTo>
                  <a:pt x="976" y="87"/>
                  <a:pt x="976" y="87"/>
                  <a:pt x="976" y="87"/>
                </a:cubicBezTo>
                <a:cubicBezTo>
                  <a:pt x="976" y="86"/>
                  <a:pt x="976" y="86"/>
                  <a:pt x="976" y="86"/>
                </a:cubicBezTo>
                <a:cubicBezTo>
                  <a:pt x="976" y="86"/>
                  <a:pt x="976" y="86"/>
                  <a:pt x="976" y="86"/>
                </a:cubicBezTo>
                <a:cubicBezTo>
                  <a:pt x="975" y="86"/>
                  <a:pt x="975" y="86"/>
                  <a:pt x="975" y="85"/>
                </a:cubicBezTo>
                <a:cubicBezTo>
                  <a:pt x="975" y="85"/>
                  <a:pt x="975" y="85"/>
                  <a:pt x="975" y="85"/>
                </a:cubicBezTo>
                <a:cubicBezTo>
                  <a:pt x="975" y="85"/>
                  <a:pt x="974" y="85"/>
                  <a:pt x="974" y="85"/>
                </a:cubicBezTo>
                <a:cubicBezTo>
                  <a:pt x="974" y="85"/>
                  <a:pt x="974" y="85"/>
                  <a:pt x="974" y="85"/>
                </a:cubicBezTo>
                <a:cubicBezTo>
                  <a:pt x="974" y="85"/>
                  <a:pt x="974" y="85"/>
                  <a:pt x="974" y="85"/>
                </a:cubicBezTo>
                <a:cubicBezTo>
                  <a:pt x="974" y="85"/>
                  <a:pt x="974" y="85"/>
                  <a:pt x="974" y="85"/>
                </a:cubicBezTo>
                <a:cubicBezTo>
                  <a:pt x="974" y="85"/>
                  <a:pt x="974" y="85"/>
                  <a:pt x="974" y="84"/>
                </a:cubicBezTo>
                <a:cubicBezTo>
                  <a:pt x="974" y="85"/>
                  <a:pt x="974" y="85"/>
                  <a:pt x="974" y="85"/>
                </a:cubicBezTo>
                <a:cubicBezTo>
                  <a:pt x="973" y="84"/>
                  <a:pt x="973" y="84"/>
                  <a:pt x="973" y="84"/>
                </a:cubicBezTo>
                <a:cubicBezTo>
                  <a:pt x="973" y="84"/>
                  <a:pt x="973" y="84"/>
                  <a:pt x="973" y="84"/>
                </a:cubicBezTo>
                <a:cubicBezTo>
                  <a:pt x="973" y="84"/>
                  <a:pt x="973" y="84"/>
                  <a:pt x="973" y="84"/>
                </a:cubicBezTo>
                <a:cubicBezTo>
                  <a:pt x="973" y="84"/>
                  <a:pt x="973" y="84"/>
                  <a:pt x="973" y="84"/>
                </a:cubicBezTo>
                <a:cubicBezTo>
                  <a:pt x="973" y="84"/>
                  <a:pt x="973" y="84"/>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2"/>
                  <a:pt x="971" y="82"/>
                </a:cubicBezTo>
                <a:cubicBezTo>
                  <a:pt x="971" y="82"/>
                  <a:pt x="971" y="82"/>
                  <a:pt x="971" y="82"/>
                </a:cubicBezTo>
                <a:cubicBezTo>
                  <a:pt x="971" y="82"/>
                  <a:pt x="971" y="82"/>
                  <a:pt x="971" y="82"/>
                </a:cubicBezTo>
                <a:cubicBezTo>
                  <a:pt x="971" y="82"/>
                  <a:pt x="971" y="82"/>
                  <a:pt x="971" y="82"/>
                </a:cubicBezTo>
                <a:cubicBezTo>
                  <a:pt x="971" y="82"/>
                  <a:pt x="971" y="81"/>
                  <a:pt x="970" y="81"/>
                </a:cubicBezTo>
                <a:cubicBezTo>
                  <a:pt x="970" y="81"/>
                  <a:pt x="970" y="81"/>
                  <a:pt x="970" y="81"/>
                </a:cubicBezTo>
                <a:cubicBezTo>
                  <a:pt x="970" y="81"/>
                  <a:pt x="970" y="81"/>
                  <a:pt x="970" y="81"/>
                </a:cubicBezTo>
                <a:cubicBezTo>
                  <a:pt x="970" y="81"/>
                  <a:pt x="970" y="81"/>
                  <a:pt x="970" y="81"/>
                </a:cubicBezTo>
                <a:cubicBezTo>
                  <a:pt x="970" y="81"/>
                  <a:pt x="970" y="80"/>
                  <a:pt x="970" y="80"/>
                </a:cubicBezTo>
                <a:cubicBezTo>
                  <a:pt x="970" y="80"/>
                  <a:pt x="970" y="80"/>
                  <a:pt x="970" y="80"/>
                </a:cubicBezTo>
                <a:cubicBezTo>
                  <a:pt x="970" y="80"/>
                  <a:pt x="970" y="80"/>
                  <a:pt x="969" y="80"/>
                </a:cubicBezTo>
                <a:cubicBezTo>
                  <a:pt x="969" y="80"/>
                  <a:pt x="969" y="80"/>
                  <a:pt x="969" y="80"/>
                </a:cubicBezTo>
                <a:cubicBezTo>
                  <a:pt x="969" y="79"/>
                  <a:pt x="969" y="79"/>
                  <a:pt x="969" y="79"/>
                </a:cubicBezTo>
                <a:cubicBezTo>
                  <a:pt x="969" y="79"/>
                  <a:pt x="969" y="79"/>
                  <a:pt x="969" y="79"/>
                </a:cubicBezTo>
                <a:cubicBezTo>
                  <a:pt x="969" y="79"/>
                  <a:pt x="969" y="79"/>
                  <a:pt x="969" y="79"/>
                </a:cubicBezTo>
                <a:cubicBezTo>
                  <a:pt x="969" y="79"/>
                  <a:pt x="969" y="79"/>
                  <a:pt x="969" y="79"/>
                </a:cubicBezTo>
                <a:cubicBezTo>
                  <a:pt x="969" y="78"/>
                  <a:pt x="968" y="78"/>
                  <a:pt x="968" y="78"/>
                </a:cubicBezTo>
                <a:cubicBezTo>
                  <a:pt x="968" y="78"/>
                  <a:pt x="968" y="78"/>
                  <a:pt x="968" y="78"/>
                </a:cubicBezTo>
                <a:cubicBezTo>
                  <a:pt x="968" y="78"/>
                  <a:pt x="968" y="78"/>
                  <a:pt x="968" y="78"/>
                </a:cubicBezTo>
                <a:cubicBezTo>
                  <a:pt x="968" y="78"/>
                  <a:pt x="968" y="78"/>
                  <a:pt x="968" y="78"/>
                </a:cubicBezTo>
                <a:cubicBezTo>
                  <a:pt x="968" y="77"/>
                  <a:pt x="968" y="77"/>
                  <a:pt x="968" y="77"/>
                </a:cubicBezTo>
                <a:cubicBezTo>
                  <a:pt x="968" y="77"/>
                  <a:pt x="968" y="77"/>
                  <a:pt x="968" y="77"/>
                </a:cubicBezTo>
                <a:cubicBezTo>
                  <a:pt x="968" y="77"/>
                  <a:pt x="967" y="77"/>
                  <a:pt x="967" y="76"/>
                </a:cubicBezTo>
                <a:cubicBezTo>
                  <a:pt x="967" y="76"/>
                  <a:pt x="967" y="76"/>
                  <a:pt x="967" y="76"/>
                </a:cubicBezTo>
                <a:cubicBezTo>
                  <a:pt x="967" y="76"/>
                  <a:pt x="967" y="76"/>
                  <a:pt x="967" y="76"/>
                </a:cubicBezTo>
                <a:cubicBezTo>
                  <a:pt x="967" y="76"/>
                  <a:pt x="967" y="76"/>
                  <a:pt x="967" y="76"/>
                </a:cubicBezTo>
                <a:cubicBezTo>
                  <a:pt x="967" y="76"/>
                  <a:pt x="967" y="75"/>
                  <a:pt x="967" y="75"/>
                </a:cubicBezTo>
                <a:cubicBezTo>
                  <a:pt x="967" y="75"/>
                  <a:pt x="967" y="75"/>
                  <a:pt x="967" y="75"/>
                </a:cubicBezTo>
                <a:cubicBezTo>
                  <a:pt x="966" y="75"/>
                  <a:pt x="966" y="75"/>
                  <a:pt x="966" y="74"/>
                </a:cubicBezTo>
                <a:cubicBezTo>
                  <a:pt x="966" y="74"/>
                  <a:pt x="966" y="74"/>
                  <a:pt x="966" y="74"/>
                </a:cubicBezTo>
                <a:cubicBezTo>
                  <a:pt x="966" y="74"/>
                  <a:pt x="966" y="74"/>
                  <a:pt x="966" y="74"/>
                </a:cubicBezTo>
                <a:cubicBezTo>
                  <a:pt x="966" y="74"/>
                  <a:pt x="966" y="74"/>
                  <a:pt x="966" y="73"/>
                </a:cubicBezTo>
                <a:cubicBezTo>
                  <a:pt x="966" y="73"/>
                  <a:pt x="966" y="73"/>
                  <a:pt x="966" y="73"/>
                </a:cubicBezTo>
                <a:cubicBezTo>
                  <a:pt x="966" y="73"/>
                  <a:pt x="966" y="73"/>
                  <a:pt x="966" y="73"/>
                </a:cubicBezTo>
                <a:cubicBezTo>
                  <a:pt x="966" y="73"/>
                  <a:pt x="966" y="73"/>
                  <a:pt x="966" y="73"/>
                </a:cubicBezTo>
                <a:cubicBezTo>
                  <a:pt x="965" y="72"/>
                  <a:pt x="965" y="72"/>
                  <a:pt x="965" y="72"/>
                </a:cubicBezTo>
                <a:cubicBezTo>
                  <a:pt x="965" y="72"/>
                  <a:pt x="965" y="72"/>
                  <a:pt x="965" y="72"/>
                </a:cubicBezTo>
                <a:cubicBezTo>
                  <a:pt x="965" y="71"/>
                  <a:pt x="965" y="71"/>
                  <a:pt x="965" y="71"/>
                </a:cubicBezTo>
                <a:cubicBezTo>
                  <a:pt x="965" y="71"/>
                  <a:pt x="965" y="71"/>
                  <a:pt x="965" y="71"/>
                </a:cubicBezTo>
                <a:cubicBezTo>
                  <a:pt x="965" y="71"/>
                  <a:pt x="965" y="71"/>
                  <a:pt x="965" y="71"/>
                </a:cubicBezTo>
                <a:cubicBezTo>
                  <a:pt x="965" y="70"/>
                  <a:pt x="965" y="70"/>
                  <a:pt x="965" y="70"/>
                </a:cubicBezTo>
                <a:cubicBezTo>
                  <a:pt x="964" y="70"/>
                  <a:pt x="964" y="70"/>
                  <a:pt x="964" y="70"/>
                </a:cubicBezTo>
                <a:cubicBezTo>
                  <a:pt x="964" y="70"/>
                  <a:pt x="964" y="70"/>
                  <a:pt x="964" y="70"/>
                </a:cubicBezTo>
                <a:cubicBezTo>
                  <a:pt x="964" y="69"/>
                  <a:pt x="964" y="69"/>
                  <a:pt x="964" y="69"/>
                </a:cubicBezTo>
                <a:cubicBezTo>
                  <a:pt x="964" y="69"/>
                  <a:pt x="964" y="69"/>
                  <a:pt x="964" y="69"/>
                </a:cubicBezTo>
                <a:cubicBezTo>
                  <a:pt x="964" y="68"/>
                  <a:pt x="964" y="68"/>
                  <a:pt x="964" y="67"/>
                </a:cubicBezTo>
                <a:cubicBezTo>
                  <a:pt x="964" y="67"/>
                  <a:pt x="964" y="67"/>
                  <a:pt x="964" y="67"/>
                </a:cubicBezTo>
                <a:cubicBezTo>
                  <a:pt x="964" y="67"/>
                  <a:pt x="964" y="66"/>
                  <a:pt x="964" y="66"/>
                </a:cubicBezTo>
                <a:cubicBezTo>
                  <a:pt x="963" y="66"/>
                  <a:pt x="963" y="66"/>
                  <a:pt x="963" y="66"/>
                </a:cubicBezTo>
                <a:cubicBezTo>
                  <a:pt x="963" y="65"/>
                  <a:pt x="964" y="64"/>
                  <a:pt x="963" y="64"/>
                </a:cubicBezTo>
                <a:cubicBezTo>
                  <a:pt x="963" y="64"/>
                  <a:pt x="963" y="64"/>
                  <a:pt x="963" y="64"/>
                </a:cubicBezTo>
                <a:cubicBezTo>
                  <a:pt x="963" y="64"/>
                  <a:pt x="963" y="64"/>
                  <a:pt x="963" y="64"/>
                </a:cubicBezTo>
                <a:cubicBezTo>
                  <a:pt x="963" y="63"/>
                  <a:pt x="963" y="62"/>
                  <a:pt x="963" y="62"/>
                </a:cubicBezTo>
                <a:cubicBezTo>
                  <a:pt x="963" y="62"/>
                  <a:pt x="963" y="61"/>
                  <a:pt x="963" y="61"/>
                </a:cubicBezTo>
                <a:cubicBezTo>
                  <a:pt x="962" y="60"/>
                  <a:pt x="963" y="58"/>
                  <a:pt x="962" y="57"/>
                </a:cubicBezTo>
                <a:cubicBezTo>
                  <a:pt x="962" y="56"/>
                  <a:pt x="962" y="55"/>
                  <a:pt x="962" y="55"/>
                </a:cubicBezTo>
                <a:cubicBezTo>
                  <a:pt x="963" y="53"/>
                  <a:pt x="962" y="52"/>
                  <a:pt x="963" y="50"/>
                </a:cubicBezTo>
                <a:cubicBezTo>
                  <a:pt x="963" y="50"/>
                  <a:pt x="963" y="50"/>
                  <a:pt x="963" y="49"/>
                </a:cubicBezTo>
                <a:cubicBezTo>
                  <a:pt x="963" y="49"/>
                  <a:pt x="963" y="48"/>
                  <a:pt x="963" y="47"/>
                </a:cubicBezTo>
                <a:cubicBezTo>
                  <a:pt x="963" y="47"/>
                  <a:pt x="963" y="47"/>
                  <a:pt x="963" y="47"/>
                </a:cubicBezTo>
                <a:cubicBezTo>
                  <a:pt x="963" y="46"/>
                  <a:pt x="963" y="46"/>
                  <a:pt x="963" y="45"/>
                </a:cubicBezTo>
                <a:cubicBezTo>
                  <a:pt x="963" y="45"/>
                  <a:pt x="963" y="45"/>
                  <a:pt x="963" y="45"/>
                </a:cubicBezTo>
                <a:cubicBezTo>
                  <a:pt x="963" y="45"/>
                  <a:pt x="963" y="45"/>
                  <a:pt x="963" y="45"/>
                </a:cubicBezTo>
                <a:cubicBezTo>
                  <a:pt x="964" y="45"/>
                  <a:pt x="963" y="44"/>
                  <a:pt x="964" y="44"/>
                </a:cubicBezTo>
                <a:cubicBezTo>
                  <a:pt x="964" y="44"/>
                  <a:pt x="964" y="43"/>
                  <a:pt x="964" y="43"/>
                </a:cubicBezTo>
                <a:cubicBezTo>
                  <a:pt x="964" y="43"/>
                  <a:pt x="964" y="43"/>
                  <a:pt x="964" y="42"/>
                </a:cubicBezTo>
                <a:cubicBezTo>
                  <a:pt x="964" y="42"/>
                  <a:pt x="964" y="42"/>
                  <a:pt x="964" y="42"/>
                </a:cubicBezTo>
                <a:cubicBezTo>
                  <a:pt x="964" y="42"/>
                  <a:pt x="964" y="42"/>
                  <a:pt x="964" y="41"/>
                </a:cubicBezTo>
                <a:cubicBezTo>
                  <a:pt x="964" y="41"/>
                  <a:pt x="964" y="41"/>
                  <a:pt x="964" y="41"/>
                </a:cubicBezTo>
                <a:cubicBezTo>
                  <a:pt x="965" y="41"/>
                  <a:pt x="965" y="41"/>
                  <a:pt x="965" y="41"/>
                </a:cubicBezTo>
                <a:cubicBezTo>
                  <a:pt x="965" y="41"/>
                  <a:pt x="965" y="40"/>
                  <a:pt x="965" y="40"/>
                </a:cubicBezTo>
                <a:cubicBezTo>
                  <a:pt x="965" y="40"/>
                  <a:pt x="965" y="40"/>
                  <a:pt x="965" y="40"/>
                </a:cubicBezTo>
                <a:cubicBezTo>
                  <a:pt x="965" y="40"/>
                  <a:pt x="965" y="40"/>
                  <a:pt x="965" y="40"/>
                </a:cubicBezTo>
                <a:cubicBezTo>
                  <a:pt x="965" y="40"/>
                  <a:pt x="965" y="39"/>
                  <a:pt x="965" y="39"/>
                </a:cubicBezTo>
                <a:cubicBezTo>
                  <a:pt x="965" y="39"/>
                  <a:pt x="965" y="39"/>
                  <a:pt x="965" y="39"/>
                </a:cubicBezTo>
                <a:cubicBezTo>
                  <a:pt x="965" y="39"/>
                  <a:pt x="965" y="39"/>
                  <a:pt x="965" y="39"/>
                </a:cubicBezTo>
                <a:cubicBezTo>
                  <a:pt x="965" y="39"/>
                  <a:pt x="965" y="38"/>
                  <a:pt x="966" y="38"/>
                </a:cubicBezTo>
                <a:cubicBezTo>
                  <a:pt x="966" y="38"/>
                  <a:pt x="966" y="38"/>
                  <a:pt x="966" y="38"/>
                </a:cubicBezTo>
                <a:cubicBezTo>
                  <a:pt x="966" y="38"/>
                  <a:pt x="966" y="38"/>
                  <a:pt x="966" y="37"/>
                </a:cubicBezTo>
                <a:cubicBezTo>
                  <a:pt x="966" y="37"/>
                  <a:pt x="966" y="37"/>
                  <a:pt x="966" y="37"/>
                </a:cubicBezTo>
                <a:cubicBezTo>
                  <a:pt x="966" y="37"/>
                  <a:pt x="966" y="37"/>
                  <a:pt x="966" y="37"/>
                </a:cubicBezTo>
                <a:cubicBezTo>
                  <a:pt x="966" y="37"/>
                  <a:pt x="966" y="37"/>
                  <a:pt x="966" y="36"/>
                </a:cubicBezTo>
                <a:cubicBezTo>
                  <a:pt x="966" y="36"/>
                  <a:pt x="966" y="36"/>
                  <a:pt x="966" y="36"/>
                </a:cubicBezTo>
                <a:cubicBezTo>
                  <a:pt x="966" y="36"/>
                  <a:pt x="966" y="36"/>
                  <a:pt x="967" y="36"/>
                </a:cubicBezTo>
                <a:cubicBezTo>
                  <a:pt x="967" y="36"/>
                  <a:pt x="967" y="36"/>
                  <a:pt x="967" y="36"/>
                </a:cubicBezTo>
                <a:cubicBezTo>
                  <a:pt x="967" y="36"/>
                  <a:pt x="967" y="35"/>
                  <a:pt x="967" y="35"/>
                </a:cubicBezTo>
                <a:cubicBezTo>
                  <a:pt x="967" y="35"/>
                  <a:pt x="967" y="35"/>
                  <a:pt x="967" y="35"/>
                </a:cubicBezTo>
                <a:cubicBezTo>
                  <a:pt x="967" y="35"/>
                  <a:pt x="967" y="35"/>
                  <a:pt x="967" y="34"/>
                </a:cubicBezTo>
                <a:cubicBezTo>
                  <a:pt x="967" y="34"/>
                  <a:pt x="967" y="34"/>
                  <a:pt x="967" y="34"/>
                </a:cubicBezTo>
                <a:cubicBezTo>
                  <a:pt x="968" y="34"/>
                  <a:pt x="967" y="34"/>
                  <a:pt x="968" y="34"/>
                </a:cubicBezTo>
                <a:cubicBezTo>
                  <a:pt x="968" y="34"/>
                  <a:pt x="968" y="34"/>
                  <a:pt x="968" y="34"/>
                </a:cubicBezTo>
                <a:cubicBezTo>
                  <a:pt x="968" y="33"/>
                  <a:pt x="968" y="33"/>
                  <a:pt x="968" y="33"/>
                </a:cubicBezTo>
                <a:cubicBezTo>
                  <a:pt x="968" y="33"/>
                  <a:pt x="968" y="33"/>
                  <a:pt x="968" y="33"/>
                </a:cubicBezTo>
                <a:cubicBezTo>
                  <a:pt x="968" y="33"/>
                  <a:pt x="968" y="32"/>
                  <a:pt x="968" y="32"/>
                </a:cubicBezTo>
                <a:cubicBezTo>
                  <a:pt x="968" y="32"/>
                  <a:pt x="968" y="32"/>
                  <a:pt x="968" y="32"/>
                </a:cubicBezTo>
                <a:cubicBezTo>
                  <a:pt x="968" y="32"/>
                  <a:pt x="969" y="32"/>
                  <a:pt x="969" y="32"/>
                </a:cubicBezTo>
                <a:cubicBezTo>
                  <a:pt x="969" y="32"/>
                  <a:pt x="969" y="32"/>
                  <a:pt x="969" y="32"/>
                </a:cubicBezTo>
                <a:cubicBezTo>
                  <a:pt x="969" y="32"/>
                  <a:pt x="969" y="31"/>
                  <a:pt x="969" y="31"/>
                </a:cubicBezTo>
                <a:cubicBezTo>
                  <a:pt x="969" y="31"/>
                  <a:pt x="969" y="31"/>
                  <a:pt x="969" y="31"/>
                </a:cubicBezTo>
                <a:cubicBezTo>
                  <a:pt x="969" y="31"/>
                  <a:pt x="969" y="31"/>
                  <a:pt x="969" y="31"/>
                </a:cubicBezTo>
                <a:cubicBezTo>
                  <a:pt x="969" y="31"/>
                  <a:pt x="969" y="31"/>
                  <a:pt x="969" y="31"/>
                </a:cubicBezTo>
                <a:cubicBezTo>
                  <a:pt x="970" y="31"/>
                  <a:pt x="970" y="30"/>
                  <a:pt x="970" y="30"/>
                </a:cubicBezTo>
                <a:cubicBezTo>
                  <a:pt x="970" y="30"/>
                  <a:pt x="970" y="30"/>
                  <a:pt x="970" y="30"/>
                </a:cubicBezTo>
                <a:cubicBezTo>
                  <a:pt x="970" y="30"/>
                  <a:pt x="970" y="30"/>
                  <a:pt x="970" y="30"/>
                </a:cubicBezTo>
                <a:cubicBezTo>
                  <a:pt x="970" y="30"/>
                  <a:pt x="970" y="30"/>
                  <a:pt x="970" y="30"/>
                </a:cubicBezTo>
                <a:cubicBezTo>
                  <a:pt x="970" y="30"/>
                  <a:pt x="971" y="29"/>
                  <a:pt x="971" y="29"/>
                </a:cubicBezTo>
                <a:cubicBezTo>
                  <a:pt x="971" y="29"/>
                  <a:pt x="971" y="29"/>
                  <a:pt x="971" y="29"/>
                </a:cubicBezTo>
                <a:cubicBezTo>
                  <a:pt x="971" y="29"/>
                  <a:pt x="971" y="29"/>
                  <a:pt x="971" y="28"/>
                </a:cubicBezTo>
                <a:cubicBezTo>
                  <a:pt x="971" y="28"/>
                  <a:pt x="971" y="28"/>
                  <a:pt x="971" y="28"/>
                </a:cubicBezTo>
                <a:cubicBezTo>
                  <a:pt x="971" y="28"/>
                  <a:pt x="971" y="28"/>
                  <a:pt x="971" y="28"/>
                </a:cubicBezTo>
                <a:cubicBezTo>
                  <a:pt x="971" y="28"/>
                  <a:pt x="971" y="28"/>
                  <a:pt x="971" y="28"/>
                </a:cubicBezTo>
                <a:cubicBezTo>
                  <a:pt x="972" y="28"/>
                  <a:pt x="972" y="27"/>
                  <a:pt x="972" y="27"/>
                </a:cubicBezTo>
                <a:cubicBezTo>
                  <a:pt x="972" y="27"/>
                  <a:pt x="972" y="27"/>
                  <a:pt x="972" y="27"/>
                </a:cubicBezTo>
                <a:cubicBezTo>
                  <a:pt x="972" y="27"/>
                  <a:pt x="972" y="27"/>
                  <a:pt x="973" y="27"/>
                </a:cubicBezTo>
                <a:cubicBezTo>
                  <a:pt x="973" y="27"/>
                  <a:pt x="973" y="27"/>
                  <a:pt x="973" y="27"/>
                </a:cubicBezTo>
                <a:cubicBezTo>
                  <a:pt x="973" y="27"/>
                  <a:pt x="973" y="26"/>
                  <a:pt x="973" y="26"/>
                </a:cubicBezTo>
                <a:cubicBezTo>
                  <a:pt x="973" y="26"/>
                  <a:pt x="973" y="26"/>
                  <a:pt x="973" y="26"/>
                </a:cubicBezTo>
                <a:cubicBezTo>
                  <a:pt x="973" y="26"/>
                  <a:pt x="973" y="26"/>
                  <a:pt x="973" y="26"/>
                </a:cubicBezTo>
                <a:cubicBezTo>
                  <a:pt x="973" y="26"/>
                  <a:pt x="973" y="26"/>
                  <a:pt x="973" y="26"/>
                </a:cubicBezTo>
                <a:cubicBezTo>
                  <a:pt x="973" y="26"/>
                  <a:pt x="973" y="26"/>
                  <a:pt x="974" y="26"/>
                </a:cubicBezTo>
                <a:cubicBezTo>
                  <a:pt x="974" y="26"/>
                  <a:pt x="974" y="26"/>
                  <a:pt x="974" y="26"/>
                </a:cubicBezTo>
                <a:cubicBezTo>
                  <a:pt x="974" y="26"/>
                  <a:pt x="974" y="25"/>
                  <a:pt x="974" y="25"/>
                </a:cubicBezTo>
                <a:cubicBezTo>
                  <a:pt x="974" y="25"/>
                  <a:pt x="974" y="25"/>
                  <a:pt x="974" y="25"/>
                </a:cubicBezTo>
                <a:cubicBezTo>
                  <a:pt x="974" y="25"/>
                  <a:pt x="974" y="25"/>
                  <a:pt x="974" y="25"/>
                </a:cubicBezTo>
                <a:cubicBezTo>
                  <a:pt x="974" y="25"/>
                  <a:pt x="974" y="25"/>
                  <a:pt x="974" y="25"/>
                </a:cubicBezTo>
                <a:cubicBezTo>
                  <a:pt x="974" y="25"/>
                  <a:pt x="975" y="25"/>
                  <a:pt x="975" y="25"/>
                </a:cubicBezTo>
                <a:cubicBezTo>
                  <a:pt x="975" y="25"/>
                  <a:pt x="975" y="25"/>
                  <a:pt x="975" y="25"/>
                </a:cubicBezTo>
                <a:cubicBezTo>
                  <a:pt x="975" y="24"/>
                  <a:pt x="975" y="24"/>
                  <a:pt x="975" y="24"/>
                </a:cubicBezTo>
                <a:cubicBezTo>
                  <a:pt x="975" y="24"/>
                  <a:pt x="975" y="24"/>
                  <a:pt x="975" y="24"/>
                </a:cubicBezTo>
                <a:cubicBezTo>
                  <a:pt x="975" y="24"/>
                  <a:pt x="976" y="24"/>
                  <a:pt x="976" y="23"/>
                </a:cubicBezTo>
                <a:cubicBezTo>
                  <a:pt x="976" y="23"/>
                  <a:pt x="976" y="23"/>
                  <a:pt x="976" y="23"/>
                </a:cubicBezTo>
                <a:cubicBezTo>
                  <a:pt x="976" y="23"/>
                  <a:pt x="976" y="23"/>
                  <a:pt x="976" y="23"/>
                </a:cubicBezTo>
                <a:cubicBezTo>
                  <a:pt x="976" y="23"/>
                  <a:pt x="976" y="23"/>
                  <a:pt x="976" y="23"/>
                </a:cubicBezTo>
                <a:cubicBezTo>
                  <a:pt x="976" y="23"/>
                  <a:pt x="977" y="23"/>
                  <a:pt x="977" y="23"/>
                </a:cubicBezTo>
                <a:cubicBezTo>
                  <a:pt x="977" y="23"/>
                  <a:pt x="977" y="23"/>
                  <a:pt x="977" y="23"/>
                </a:cubicBezTo>
                <a:cubicBezTo>
                  <a:pt x="977" y="23"/>
                  <a:pt x="977" y="23"/>
                  <a:pt x="977" y="22"/>
                </a:cubicBezTo>
                <a:cubicBezTo>
                  <a:pt x="977" y="22"/>
                  <a:pt x="977" y="22"/>
                  <a:pt x="977" y="22"/>
                </a:cubicBezTo>
                <a:cubicBezTo>
                  <a:pt x="978" y="22"/>
                  <a:pt x="978" y="22"/>
                  <a:pt x="978" y="22"/>
                </a:cubicBezTo>
                <a:cubicBezTo>
                  <a:pt x="978" y="22"/>
                  <a:pt x="978" y="22"/>
                  <a:pt x="978" y="22"/>
                </a:cubicBezTo>
                <a:cubicBezTo>
                  <a:pt x="978" y="22"/>
                  <a:pt x="978" y="22"/>
                  <a:pt x="979" y="21"/>
                </a:cubicBezTo>
                <a:cubicBezTo>
                  <a:pt x="979" y="21"/>
                  <a:pt x="979" y="21"/>
                  <a:pt x="979" y="21"/>
                </a:cubicBezTo>
                <a:cubicBezTo>
                  <a:pt x="979" y="21"/>
                  <a:pt x="979" y="21"/>
                  <a:pt x="979" y="21"/>
                </a:cubicBezTo>
                <a:cubicBezTo>
                  <a:pt x="979" y="21"/>
                  <a:pt x="979" y="21"/>
                  <a:pt x="979" y="21"/>
                </a:cubicBezTo>
                <a:cubicBezTo>
                  <a:pt x="980" y="21"/>
                  <a:pt x="980" y="21"/>
                  <a:pt x="980" y="21"/>
                </a:cubicBezTo>
                <a:cubicBezTo>
                  <a:pt x="980" y="21"/>
                  <a:pt x="980" y="21"/>
                  <a:pt x="980" y="21"/>
                </a:cubicBezTo>
                <a:cubicBezTo>
                  <a:pt x="980" y="21"/>
                  <a:pt x="980" y="21"/>
                  <a:pt x="981" y="20"/>
                </a:cubicBezTo>
                <a:cubicBezTo>
                  <a:pt x="981" y="20"/>
                  <a:pt x="981" y="20"/>
                  <a:pt x="981" y="20"/>
                </a:cubicBezTo>
                <a:cubicBezTo>
                  <a:pt x="981" y="20"/>
                  <a:pt x="981" y="20"/>
                  <a:pt x="981" y="20"/>
                </a:cubicBezTo>
                <a:cubicBezTo>
                  <a:pt x="981" y="20"/>
                  <a:pt x="981" y="20"/>
                  <a:pt x="981" y="20"/>
                </a:cubicBezTo>
                <a:cubicBezTo>
                  <a:pt x="981" y="20"/>
                  <a:pt x="982" y="20"/>
                  <a:pt x="982" y="20"/>
                </a:cubicBezTo>
                <a:cubicBezTo>
                  <a:pt x="982" y="20"/>
                  <a:pt x="982" y="20"/>
                  <a:pt x="982" y="20"/>
                </a:cubicBezTo>
                <a:cubicBezTo>
                  <a:pt x="982" y="20"/>
                  <a:pt x="982" y="20"/>
                  <a:pt x="983" y="19"/>
                </a:cubicBezTo>
                <a:cubicBezTo>
                  <a:pt x="983" y="19"/>
                  <a:pt x="983" y="19"/>
                  <a:pt x="983" y="19"/>
                </a:cubicBezTo>
                <a:cubicBezTo>
                  <a:pt x="983" y="19"/>
                  <a:pt x="983" y="19"/>
                  <a:pt x="983" y="19"/>
                </a:cubicBezTo>
                <a:cubicBezTo>
                  <a:pt x="983" y="19"/>
                  <a:pt x="983" y="19"/>
                  <a:pt x="983" y="19"/>
                </a:cubicBezTo>
                <a:cubicBezTo>
                  <a:pt x="984" y="19"/>
                  <a:pt x="984" y="19"/>
                  <a:pt x="984" y="19"/>
                </a:cubicBezTo>
                <a:cubicBezTo>
                  <a:pt x="984" y="19"/>
                  <a:pt x="984" y="19"/>
                  <a:pt x="984" y="19"/>
                </a:cubicBezTo>
                <a:cubicBezTo>
                  <a:pt x="984" y="18"/>
                  <a:pt x="985" y="19"/>
                  <a:pt x="985" y="18"/>
                </a:cubicBezTo>
                <a:cubicBezTo>
                  <a:pt x="985" y="18"/>
                  <a:pt x="985" y="18"/>
                  <a:pt x="985" y="18"/>
                </a:cubicBezTo>
                <a:cubicBezTo>
                  <a:pt x="985" y="18"/>
                  <a:pt x="986" y="18"/>
                  <a:pt x="986" y="18"/>
                </a:cubicBezTo>
                <a:cubicBezTo>
                  <a:pt x="986" y="18"/>
                  <a:pt x="986" y="18"/>
                  <a:pt x="986" y="18"/>
                </a:cubicBezTo>
                <a:cubicBezTo>
                  <a:pt x="986" y="18"/>
                  <a:pt x="986" y="18"/>
                  <a:pt x="986" y="18"/>
                </a:cubicBezTo>
                <a:cubicBezTo>
                  <a:pt x="986" y="18"/>
                  <a:pt x="987" y="18"/>
                  <a:pt x="987" y="18"/>
                </a:cubicBezTo>
                <a:cubicBezTo>
                  <a:pt x="987" y="18"/>
                  <a:pt x="987" y="18"/>
                  <a:pt x="987" y="18"/>
                </a:cubicBezTo>
                <a:cubicBezTo>
                  <a:pt x="987" y="18"/>
                  <a:pt x="987" y="18"/>
                  <a:pt x="987" y="18"/>
                </a:cubicBezTo>
                <a:cubicBezTo>
                  <a:pt x="987" y="17"/>
                  <a:pt x="988" y="18"/>
                  <a:pt x="988" y="17"/>
                </a:cubicBezTo>
                <a:cubicBezTo>
                  <a:pt x="988" y="17"/>
                  <a:pt x="988" y="17"/>
                  <a:pt x="988" y="17"/>
                </a:cubicBezTo>
                <a:cubicBezTo>
                  <a:pt x="988" y="17"/>
                  <a:pt x="989" y="17"/>
                  <a:pt x="989" y="17"/>
                </a:cubicBezTo>
                <a:cubicBezTo>
                  <a:pt x="989" y="17"/>
                  <a:pt x="989" y="17"/>
                  <a:pt x="989" y="17"/>
                </a:cubicBezTo>
                <a:cubicBezTo>
                  <a:pt x="990" y="17"/>
                  <a:pt x="990" y="17"/>
                  <a:pt x="990" y="17"/>
                </a:cubicBezTo>
                <a:cubicBezTo>
                  <a:pt x="990" y="17"/>
                  <a:pt x="991" y="17"/>
                  <a:pt x="991" y="17"/>
                </a:cubicBezTo>
                <a:cubicBezTo>
                  <a:pt x="991" y="17"/>
                  <a:pt x="991" y="17"/>
                  <a:pt x="991" y="17"/>
                </a:cubicBezTo>
                <a:cubicBezTo>
                  <a:pt x="991" y="17"/>
                  <a:pt x="991" y="17"/>
                  <a:pt x="991" y="17"/>
                </a:cubicBezTo>
                <a:cubicBezTo>
                  <a:pt x="992" y="16"/>
                  <a:pt x="993" y="17"/>
                  <a:pt x="993" y="16"/>
                </a:cubicBezTo>
                <a:cubicBezTo>
                  <a:pt x="993" y="16"/>
                  <a:pt x="993" y="16"/>
                  <a:pt x="994" y="16"/>
                </a:cubicBezTo>
                <a:cubicBezTo>
                  <a:pt x="995" y="16"/>
                  <a:pt x="996" y="16"/>
                  <a:pt x="997" y="16"/>
                </a:cubicBezTo>
                <a:cubicBezTo>
                  <a:pt x="998" y="16"/>
                  <a:pt x="999" y="16"/>
                  <a:pt x="1000" y="16"/>
                </a:cubicBezTo>
                <a:cubicBezTo>
                  <a:pt x="1002" y="16"/>
                  <a:pt x="1003" y="16"/>
                  <a:pt x="1004" y="16"/>
                </a:cubicBezTo>
                <a:cubicBezTo>
                  <a:pt x="1004" y="16"/>
                  <a:pt x="1004" y="16"/>
                  <a:pt x="1005" y="16"/>
                </a:cubicBezTo>
                <a:cubicBezTo>
                  <a:pt x="1005" y="17"/>
                  <a:pt x="1006" y="16"/>
                  <a:pt x="1006" y="17"/>
                </a:cubicBezTo>
                <a:cubicBezTo>
                  <a:pt x="1007" y="16"/>
                  <a:pt x="1007" y="16"/>
                  <a:pt x="1007" y="17"/>
                </a:cubicBezTo>
                <a:cubicBezTo>
                  <a:pt x="1007" y="17"/>
                  <a:pt x="1008" y="17"/>
                  <a:pt x="1008" y="17"/>
                </a:cubicBezTo>
                <a:cubicBezTo>
                  <a:pt x="1009" y="17"/>
                  <a:pt x="1009" y="17"/>
                  <a:pt x="1009" y="17"/>
                </a:cubicBezTo>
                <a:cubicBezTo>
                  <a:pt x="1009" y="17"/>
                  <a:pt x="1009" y="17"/>
                  <a:pt x="1009" y="17"/>
                </a:cubicBezTo>
                <a:cubicBezTo>
                  <a:pt x="1009" y="17"/>
                  <a:pt x="1010" y="17"/>
                  <a:pt x="1010" y="17"/>
                </a:cubicBezTo>
                <a:close/>
                <a:moveTo>
                  <a:pt x="1066" y="103"/>
                </a:moveTo>
                <a:cubicBezTo>
                  <a:pt x="1066" y="103"/>
                  <a:pt x="1066" y="103"/>
                  <a:pt x="1066" y="103"/>
                </a:cubicBezTo>
                <a:cubicBezTo>
                  <a:pt x="1067" y="103"/>
                  <a:pt x="1068" y="103"/>
                  <a:pt x="1069" y="103"/>
                </a:cubicBezTo>
                <a:cubicBezTo>
                  <a:pt x="1069" y="102"/>
                  <a:pt x="1069" y="102"/>
                  <a:pt x="1069" y="102"/>
                </a:cubicBezTo>
                <a:cubicBezTo>
                  <a:pt x="1069" y="103"/>
                  <a:pt x="1069" y="103"/>
                  <a:pt x="1069" y="103"/>
                </a:cubicBezTo>
                <a:cubicBezTo>
                  <a:pt x="1069" y="102"/>
                  <a:pt x="1070" y="103"/>
                  <a:pt x="1070" y="102"/>
                </a:cubicBezTo>
                <a:cubicBezTo>
                  <a:pt x="1070" y="102"/>
                  <a:pt x="1070" y="102"/>
                  <a:pt x="1070" y="102"/>
                </a:cubicBezTo>
                <a:cubicBezTo>
                  <a:pt x="1071" y="102"/>
                  <a:pt x="1071" y="102"/>
                  <a:pt x="1071" y="102"/>
                </a:cubicBezTo>
                <a:cubicBezTo>
                  <a:pt x="1071" y="102"/>
                  <a:pt x="1071" y="102"/>
                  <a:pt x="1072" y="102"/>
                </a:cubicBezTo>
                <a:cubicBezTo>
                  <a:pt x="1072" y="102"/>
                  <a:pt x="1072" y="102"/>
                  <a:pt x="1072" y="102"/>
                </a:cubicBezTo>
                <a:cubicBezTo>
                  <a:pt x="1072" y="102"/>
                  <a:pt x="1072" y="102"/>
                  <a:pt x="1072" y="102"/>
                </a:cubicBezTo>
                <a:cubicBezTo>
                  <a:pt x="1072" y="102"/>
                  <a:pt x="1073" y="102"/>
                  <a:pt x="1073" y="102"/>
                </a:cubicBezTo>
                <a:cubicBezTo>
                  <a:pt x="1073" y="101"/>
                  <a:pt x="1073" y="101"/>
                  <a:pt x="1073" y="101"/>
                </a:cubicBezTo>
                <a:cubicBezTo>
                  <a:pt x="1073" y="101"/>
                  <a:pt x="1073" y="101"/>
                  <a:pt x="1073" y="101"/>
                </a:cubicBezTo>
                <a:cubicBezTo>
                  <a:pt x="1074" y="101"/>
                  <a:pt x="1074" y="101"/>
                  <a:pt x="1075" y="101"/>
                </a:cubicBezTo>
                <a:cubicBezTo>
                  <a:pt x="1074" y="101"/>
                  <a:pt x="1074" y="101"/>
                  <a:pt x="1074" y="101"/>
                </a:cubicBezTo>
                <a:cubicBezTo>
                  <a:pt x="1075" y="101"/>
                  <a:pt x="1075" y="101"/>
                  <a:pt x="1076" y="101"/>
                </a:cubicBezTo>
                <a:cubicBezTo>
                  <a:pt x="1076" y="101"/>
                  <a:pt x="1076" y="101"/>
                  <a:pt x="1076" y="101"/>
                </a:cubicBezTo>
                <a:cubicBezTo>
                  <a:pt x="1076" y="101"/>
                  <a:pt x="1076" y="101"/>
                  <a:pt x="1076" y="100"/>
                </a:cubicBezTo>
                <a:cubicBezTo>
                  <a:pt x="1076" y="100"/>
                  <a:pt x="1076" y="100"/>
                  <a:pt x="1076" y="100"/>
                </a:cubicBezTo>
                <a:cubicBezTo>
                  <a:pt x="1076" y="100"/>
                  <a:pt x="1076" y="100"/>
                  <a:pt x="1076" y="100"/>
                </a:cubicBezTo>
                <a:cubicBezTo>
                  <a:pt x="1077" y="100"/>
                  <a:pt x="1077" y="100"/>
                  <a:pt x="1077" y="100"/>
                </a:cubicBezTo>
                <a:cubicBezTo>
                  <a:pt x="1077" y="100"/>
                  <a:pt x="1077" y="100"/>
                  <a:pt x="1077" y="100"/>
                </a:cubicBezTo>
                <a:cubicBezTo>
                  <a:pt x="1077" y="100"/>
                  <a:pt x="1078" y="100"/>
                  <a:pt x="1078" y="100"/>
                </a:cubicBezTo>
                <a:cubicBezTo>
                  <a:pt x="1078" y="100"/>
                  <a:pt x="1078" y="100"/>
                  <a:pt x="1078" y="100"/>
                </a:cubicBezTo>
                <a:cubicBezTo>
                  <a:pt x="1078" y="100"/>
                  <a:pt x="1079" y="100"/>
                  <a:pt x="1079" y="99"/>
                </a:cubicBezTo>
                <a:cubicBezTo>
                  <a:pt x="1079" y="99"/>
                  <a:pt x="1079" y="99"/>
                  <a:pt x="1079" y="99"/>
                </a:cubicBezTo>
                <a:cubicBezTo>
                  <a:pt x="1079" y="99"/>
                  <a:pt x="1079" y="99"/>
                  <a:pt x="1079" y="99"/>
                </a:cubicBezTo>
                <a:cubicBezTo>
                  <a:pt x="1079" y="99"/>
                  <a:pt x="1079" y="99"/>
                  <a:pt x="1079" y="99"/>
                </a:cubicBezTo>
                <a:cubicBezTo>
                  <a:pt x="1080" y="99"/>
                  <a:pt x="1080" y="99"/>
                  <a:pt x="1080" y="99"/>
                </a:cubicBezTo>
                <a:cubicBezTo>
                  <a:pt x="1080" y="99"/>
                  <a:pt x="1080" y="99"/>
                  <a:pt x="1080" y="99"/>
                </a:cubicBezTo>
                <a:cubicBezTo>
                  <a:pt x="1080" y="99"/>
                  <a:pt x="1081" y="99"/>
                  <a:pt x="1081" y="98"/>
                </a:cubicBezTo>
                <a:cubicBezTo>
                  <a:pt x="1081" y="98"/>
                  <a:pt x="1081" y="98"/>
                  <a:pt x="1081" y="98"/>
                </a:cubicBezTo>
                <a:cubicBezTo>
                  <a:pt x="1081" y="98"/>
                  <a:pt x="1081" y="98"/>
                  <a:pt x="1081" y="98"/>
                </a:cubicBezTo>
                <a:cubicBezTo>
                  <a:pt x="1081" y="98"/>
                  <a:pt x="1081" y="98"/>
                  <a:pt x="1081" y="98"/>
                </a:cubicBezTo>
                <a:cubicBezTo>
                  <a:pt x="1081" y="98"/>
                  <a:pt x="1082" y="98"/>
                  <a:pt x="1082" y="98"/>
                </a:cubicBezTo>
                <a:cubicBezTo>
                  <a:pt x="1082" y="98"/>
                  <a:pt x="1082" y="98"/>
                  <a:pt x="1082" y="98"/>
                </a:cubicBezTo>
                <a:cubicBezTo>
                  <a:pt x="1082" y="97"/>
                  <a:pt x="1082" y="98"/>
                  <a:pt x="1082" y="97"/>
                </a:cubicBezTo>
                <a:cubicBezTo>
                  <a:pt x="1082" y="97"/>
                  <a:pt x="1082" y="97"/>
                  <a:pt x="1082" y="97"/>
                </a:cubicBezTo>
                <a:cubicBezTo>
                  <a:pt x="1083" y="97"/>
                  <a:pt x="1083" y="97"/>
                  <a:pt x="1083" y="97"/>
                </a:cubicBezTo>
                <a:cubicBezTo>
                  <a:pt x="1083" y="97"/>
                  <a:pt x="1083" y="97"/>
                  <a:pt x="1083" y="97"/>
                </a:cubicBezTo>
                <a:cubicBezTo>
                  <a:pt x="1083" y="97"/>
                  <a:pt x="1083" y="97"/>
                  <a:pt x="1083" y="97"/>
                </a:cubicBezTo>
                <a:cubicBezTo>
                  <a:pt x="1083" y="93"/>
                  <a:pt x="1083" y="90"/>
                  <a:pt x="1083" y="87"/>
                </a:cubicBezTo>
                <a:cubicBezTo>
                  <a:pt x="1083" y="86"/>
                  <a:pt x="1083" y="86"/>
                  <a:pt x="1083" y="87"/>
                </a:cubicBezTo>
                <a:cubicBezTo>
                  <a:pt x="1083" y="87"/>
                  <a:pt x="1083" y="87"/>
                  <a:pt x="1083" y="87"/>
                </a:cubicBezTo>
                <a:cubicBezTo>
                  <a:pt x="1083" y="87"/>
                  <a:pt x="1083" y="87"/>
                  <a:pt x="1083" y="87"/>
                </a:cubicBezTo>
                <a:cubicBezTo>
                  <a:pt x="1083" y="87"/>
                  <a:pt x="1083" y="87"/>
                  <a:pt x="1083" y="87"/>
                </a:cubicBezTo>
                <a:cubicBezTo>
                  <a:pt x="1082" y="87"/>
                  <a:pt x="1082" y="87"/>
                  <a:pt x="1082" y="87"/>
                </a:cubicBezTo>
                <a:cubicBezTo>
                  <a:pt x="1082" y="87"/>
                  <a:pt x="1082" y="87"/>
                  <a:pt x="1082" y="87"/>
                </a:cubicBezTo>
                <a:cubicBezTo>
                  <a:pt x="1082" y="87"/>
                  <a:pt x="1082" y="87"/>
                  <a:pt x="1082" y="88"/>
                </a:cubicBezTo>
                <a:cubicBezTo>
                  <a:pt x="1082" y="88"/>
                  <a:pt x="1082" y="88"/>
                  <a:pt x="1082" y="88"/>
                </a:cubicBezTo>
                <a:cubicBezTo>
                  <a:pt x="1081" y="88"/>
                  <a:pt x="1081" y="88"/>
                  <a:pt x="1081" y="88"/>
                </a:cubicBezTo>
                <a:cubicBezTo>
                  <a:pt x="1081" y="88"/>
                  <a:pt x="1081" y="88"/>
                  <a:pt x="1081" y="88"/>
                </a:cubicBezTo>
                <a:cubicBezTo>
                  <a:pt x="1081" y="88"/>
                  <a:pt x="1081" y="88"/>
                  <a:pt x="1080" y="88"/>
                </a:cubicBezTo>
                <a:cubicBezTo>
                  <a:pt x="1080" y="88"/>
                  <a:pt x="1080" y="88"/>
                  <a:pt x="1080" y="88"/>
                </a:cubicBezTo>
                <a:cubicBezTo>
                  <a:pt x="1080" y="88"/>
                  <a:pt x="1080" y="88"/>
                  <a:pt x="1080" y="89"/>
                </a:cubicBezTo>
                <a:cubicBezTo>
                  <a:pt x="1080" y="89"/>
                  <a:pt x="1080" y="89"/>
                  <a:pt x="1080" y="89"/>
                </a:cubicBezTo>
                <a:cubicBezTo>
                  <a:pt x="1080" y="89"/>
                  <a:pt x="1080" y="89"/>
                  <a:pt x="1079" y="89"/>
                </a:cubicBezTo>
                <a:cubicBezTo>
                  <a:pt x="1079" y="89"/>
                  <a:pt x="1079" y="89"/>
                  <a:pt x="1079" y="89"/>
                </a:cubicBezTo>
                <a:cubicBezTo>
                  <a:pt x="1079" y="89"/>
                  <a:pt x="1079" y="89"/>
                  <a:pt x="1079" y="89"/>
                </a:cubicBezTo>
                <a:cubicBezTo>
                  <a:pt x="1079" y="89"/>
                  <a:pt x="1079" y="89"/>
                  <a:pt x="1079" y="89"/>
                </a:cubicBezTo>
                <a:cubicBezTo>
                  <a:pt x="1079" y="90"/>
                  <a:pt x="1078" y="89"/>
                  <a:pt x="1078" y="90"/>
                </a:cubicBezTo>
                <a:cubicBezTo>
                  <a:pt x="1078" y="90"/>
                  <a:pt x="1078" y="90"/>
                  <a:pt x="1078" y="90"/>
                </a:cubicBezTo>
                <a:cubicBezTo>
                  <a:pt x="1078" y="90"/>
                  <a:pt x="1078" y="90"/>
                  <a:pt x="1078" y="90"/>
                </a:cubicBezTo>
                <a:cubicBezTo>
                  <a:pt x="1078" y="90"/>
                  <a:pt x="1078" y="90"/>
                  <a:pt x="1078" y="90"/>
                </a:cubicBezTo>
                <a:cubicBezTo>
                  <a:pt x="1077" y="90"/>
                  <a:pt x="1077" y="90"/>
                  <a:pt x="1077" y="90"/>
                </a:cubicBezTo>
                <a:cubicBezTo>
                  <a:pt x="1077" y="90"/>
                  <a:pt x="1077" y="90"/>
                  <a:pt x="1077" y="90"/>
                </a:cubicBezTo>
                <a:cubicBezTo>
                  <a:pt x="1077" y="90"/>
                  <a:pt x="1077" y="90"/>
                  <a:pt x="1077" y="90"/>
                </a:cubicBezTo>
                <a:cubicBezTo>
                  <a:pt x="1077" y="91"/>
                  <a:pt x="1076" y="91"/>
                  <a:pt x="1076" y="91"/>
                </a:cubicBezTo>
                <a:cubicBezTo>
                  <a:pt x="1076" y="91"/>
                  <a:pt x="1076" y="91"/>
                  <a:pt x="1076" y="91"/>
                </a:cubicBezTo>
                <a:cubicBezTo>
                  <a:pt x="1076" y="91"/>
                  <a:pt x="1076" y="91"/>
                  <a:pt x="1076" y="91"/>
                </a:cubicBezTo>
                <a:cubicBezTo>
                  <a:pt x="1076" y="91"/>
                  <a:pt x="1075" y="91"/>
                  <a:pt x="1075" y="91"/>
                </a:cubicBezTo>
                <a:cubicBezTo>
                  <a:pt x="1075" y="91"/>
                  <a:pt x="1075" y="91"/>
                  <a:pt x="1075" y="91"/>
                </a:cubicBezTo>
                <a:cubicBezTo>
                  <a:pt x="1075" y="91"/>
                  <a:pt x="1075" y="91"/>
                  <a:pt x="1075" y="91"/>
                </a:cubicBezTo>
                <a:cubicBezTo>
                  <a:pt x="1075" y="91"/>
                  <a:pt x="1075" y="91"/>
                  <a:pt x="1075" y="91"/>
                </a:cubicBezTo>
                <a:cubicBezTo>
                  <a:pt x="1074" y="92"/>
                  <a:pt x="1074" y="92"/>
                  <a:pt x="1074" y="92"/>
                </a:cubicBezTo>
                <a:cubicBezTo>
                  <a:pt x="1074" y="92"/>
                  <a:pt x="1074" y="92"/>
                  <a:pt x="1074" y="92"/>
                </a:cubicBezTo>
                <a:cubicBezTo>
                  <a:pt x="1073" y="92"/>
                  <a:pt x="1073" y="92"/>
                  <a:pt x="1073" y="92"/>
                </a:cubicBezTo>
                <a:cubicBezTo>
                  <a:pt x="1073" y="92"/>
                  <a:pt x="1073" y="92"/>
                  <a:pt x="1073" y="92"/>
                </a:cubicBezTo>
                <a:cubicBezTo>
                  <a:pt x="1073" y="92"/>
                  <a:pt x="1073" y="92"/>
                  <a:pt x="1073" y="92"/>
                </a:cubicBezTo>
                <a:cubicBezTo>
                  <a:pt x="1072" y="92"/>
                  <a:pt x="1072" y="92"/>
                  <a:pt x="1072" y="92"/>
                </a:cubicBezTo>
                <a:cubicBezTo>
                  <a:pt x="1072" y="93"/>
                  <a:pt x="1072" y="93"/>
                  <a:pt x="1071" y="92"/>
                </a:cubicBezTo>
                <a:cubicBezTo>
                  <a:pt x="1071" y="93"/>
                  <a:pt x="1071" y="93"/>
                  <a:pt x="1070" y="93"/>
                </a:cubicBezTo>
                <a:cubicBezTo>
                  <a:pt x="1070" y="93"/>
                  <a:pt x="1070" y="93"/>
                  <a:pt x="1070" y="93"/>
                </a:cubicBezTo>
                <a:cubicBezTo>
                  <a:pt x="1070" y="93"/>
                  <a:pt x="1070" y="93"/>
                  <a:pt x="1070" y="93"/>
                </a:cubicBezTo>
                <a:cubicBezTo>
                  <a:pt x="1070" y="93"/>
                  <a:pt x="1069" y="93"/>
                  <a:pt x="1069" y="93"/>
                </a:cubicBezTo>
                <a:cubicBezTo>
                  <a:pt x="1069" y="93"/>
                  <a:pt x="1069" y="93"/>
                  <a:pt x="1069" y="93"/>
                </a:cubicBezTo>
                <a:cubicBezTo>
                  <a:pt x="1068" y="94"/>
                  <a:pt x="1067" y="93"/>
                  <a:pt x="1067" y="93"/>
                </a:cubicBezTo>
                <a:cubicBezTo>
                  <a:pt x="1067" y="94"/>
                  <a:pt x="1067" y="94"/>
                  <a:pt x="1066" y="94"/>
                </a:cubicBezTo>
                <a:cubicBezTo>
                  <a:pt x="1064" y="94"/>
                  <a:pt x="1061" y="94"/>
                  <a:pt x="1058" y="94"/>
                </a:cubicBezTo>
                <a:cubicBezTo>
                  <a:pt x="1058" y="94"/>
                  <a:pt x="1058" y="93"/>
                  <a:pt x="1058" y="93"/>
                </a:cubicBezTo>
                <a:cubicBezTo>
                  <a:pt x="1057" y="93"/>
                  <a:pt x="1057" y="93"/>
                  <a:pt x="1056" y="93"/>
                </a:cubicBezTo>
                <a:cubicBezTo>
                  <a:pt x="1056" y="93"/>
                  <a:pt x="1056" y="93"/>
                  <a:pt x="1056" y="93"/>
                </a:cubicBezTo>
                <a:cubicBezTo>
                  <a:pt x="1056" y="93"/>
                  <a:pt x="1055" y="93"/>
                  <a:pt x="1055" y="93"/>
                </a:cubicBezTo>
                <a:cubicBezTo>
                  <a:pt x="1055" y="93"/>
                  <a:pt x="1055" y="93"/>
                  <a:pt x="1055" y="93"/>
                </a:cubicBezTo>
                <a:cubicBezTo>
                  <a:pt x="1054" y="93"/>
                  <a:pt x="1054" y="93"/>
                  <a:pt x="1054" y="93"/>
                </a:cubicBezTo>
                <a:cubicBezTo>
                  <a:pt x="1054" y="93"/>
                  <a:pt x="1054" y="93"/>
                  <a:pt x="1054" y="92"/>
                </a:cubicBezTo>
                <a:cubicBezTo>
                  <a:pt x="1053" y="92"/>
                  <a:pt x="1053" y="92"/>
                  <a:pt x="1053" y="92"/>
                </a:cubicBezTo>
                <a:cubicBezTo>
                  <a:pt x="1053" y="92"/>
                  <a:pt x="1053" y="92"/>
                  <a:pt x="1053" y="92"/>
                </a:cubicBezTo>
                <a:cubicBezTo>
                  <a:pt x="1053" y="92"/>
                  <a:pt x="1052" y="92"/>
                  <a:pt x="1052" y="92"/>
                </a:cubicBezTo>
                <a:cubicBezTo>
                  <a:pt x="1052" y="92"/>
                  <a:pt x="1052" y="92"/>
                  <a:pt x="1052" y="92"/>
                </a:cubicBezTo>
                <a:cubicBezTo>
                  <a:pt x="1052" y="92"/>
                  <a:pt x="1052" y="92"/>
                  <a:pt x="1051" y="91"/>
                </a:cubicBezTo>
                <a:cubicBezTo>
                  <a:pt x="1051" y="91"/>
                  <a:pt x="1051" y="91"/>
                  <a:pt x="1051" y="91"/>
                </a:cubicBezTo>
                <a:cubicBezTo>
                  <a:pt x="1051" y="91"/>
                  <a:pt x="1051" y="91"/>
                  <a:pt x="1051" y="91"/>
                </a:cubicBezTo>
                <a:cubicBezTo>
                  <a:pt x="1051" y="91"/>
                  <a:pt x="1051" y="91"/>
                  <a:pt x="1051" y="91"/>
                </a:cubicBezTo>
                <a:cubicBezTo>
                  <a:pt x="1051" y="91"/>
                  <a:pt x="1051" y="91"/>
                  <a:pt x="1051" y="91"/>
                </a:cubicBezTo>
                <a:cubicBezTo>
                  <a:pt x="1051" y="91"/>
                  <a:pt x="1050" y="91"/>
                  <a:pt x="1050" y="91"/>
                </a:cubicBezTo>
                <a:cubicBezTo>
                  <a:pt x="1050" y="91"/>
                  <a:pt x="1050" y="91"/>
                  <a:pt x="1050" y="91"/>
                </a:cubicBezTo>
                <a:cubicBezTo>
                  <a:pt x="1050" y="91"/>
                  <a:pt x="1050" y="91"/>
                  <a:pt x="1050"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89"/>
                  <a:pt x="1048" y="90"/>
                  <a:pt x="1048" y="89"/>
                </a:cubicBezTo>
                <a:cubicBezTo>
                  <a:pt x="1048" y="89"/>
                  <a:pt x="1048" y="89"/>
                  <a:pt x="1048" y="89"/>
                </a:cubicBezTo>
                <a:cubicBezTo>
                  <a:pt x="1048" y="89"/>
                  <a:pt x="1048" y="89"/>
                  <a:pt x="1048" y="89"/>
                </a:cubicBezTo>
                <a:cubicBezTo>
                  <a:pt x="1048" y="89"/>
                  <a:pt x="1048" y="89"/>
                  <a:pt x="1048" y="89"/>
                </a:cubicBezTo>
                <a:cubicBezTo>
                  <a:pt x="1048" y="89"/>
                  <a:pt x="1047" y="89"/>
                  <a:pt x="1047" y="89"/>
                </a:cubicBezTo>
                <a:cubicBezTo>
                  <a:pt x="1047" y="89"/>
                  <a:pt x="1047" y="89"/>
                  <a:pt x="1047" y="89"/>
                </a:cubicBezTo>
                <a:cubicBezTo>
                  <a:pt x="1047" y="89"/>
                  <a:pt x="1047" y="88"/>
                  <a:pt x="1047" y="88"/>
                </a:cubicBezTo>
                <a:cubicBezTo>
                  <a:pt x="1047" y="88"/>
                  <a:pt x="1047" y="88"/>
                  <a:pt x="1047" y="88"/>
                </a:cubicBezTo>
                <a:cubicBezTo>
                  <a:pt x="1047" y="88"/>
                  <a:pt x="1047" y="88"/>
                  <a:pt x="1047" y="88"/>
                </a:cubicBezTo>
                <a:cubicBezTo>
                  <a:pt x="1047" y="88"/>
                  <a:pt x="1047" y="88"/>
                  <a:pt x="1047" y="88"/>
                </a:cubicBezTo>
                <a:cubicBezTo>
                  <a:pt x="1047" y="88"/>
                  <a:pt x="1046" y="88"/>
                  <a:pt x="1046" y="88"/>
                </a:cubicBezTo>
                <a:cubicBezTo>
                  <a:pt x="1046" y="88"/>
                  <a:pt x="1046" y="88"/>
                  <a:pt x="1046" y="88"/>
                </a:cubicBezTo>
                <a:cubicBezTo>
                  <a:pt x="1046" y="87"/>
                  <a:pt x="1046" y="87"/>
                  <a:pt x="1046" y="87"/>
                </a:cubicBezTo>
                <a:cubicBezTo>
                  <a:pt x="1046" y="87"/>
                  <a:pt x="1046" y="87"/>
                  <a:pt x="1046" y="87"/>
                </a:cubicBezTo>
                <a:cubicBezTo>
                  <a:pt x="1046" y="87"/>
                  <a:pt x="1046" y="87"/>
                  <a:pt x="1046" y="87"/>
                </a:cubicBezTo>
                <a:cubicBezTo>
                  <a:pt x="1046" y="87"/>
                  <a:pt x="1046" y="87"/>
                  <a:pt x="1046" y="87"/>
                </a:cubicBezTo>
                <a:cubicBezTo>
                  <a:pt x="1045" y="87"/>
                  <a:pt x="1046" y="86"/>
                  <a:pt x="1045" y="86"/>
                </a:cubicBezTo>
                <a:cubicBezTo>
                  <a:pt x="1045" y="86"/>
                  <a:pt x="1045" y="86"/>
                  <a:pt x="1045" y="86"/>
                </a:cubicBezTo>
                <a:cubicBezTo>
                  <a:pt x="1045" y="86"/>
                  <a:pt x="1045" y="86"/>
                  <a:pt x="1045" y="86"/>
                </a:cubicBezTo>
                <a:cubicBezTo>
                  <a:pt x="1045" y="86"/>
                  <a:pt x="1045" y="86"/>
                  <a:pt x="1045" y="86"/>
                </a:cubicBezTo>
                <a:cubicBezTo>
                  <a:pt x="1045" y="86"/>
                  <a:pt x="1045" y="86"/>
                  <a:pt x="1045" y="85"/>
                </a:cubicBezTo>
                <a:cubicBezTo>
                  <a:pt x="1045" y="85"/>
                  <a:pt x="1045" y="85"/>
                  <a:pt x="1045" y="85"/>
                </a:cubicBezTo>
                <a:cubicBezTo>
                  <a:pt x="1044" y="85"/>
                  <a:pt x="1044" y="85"/>
                  <a:pt x="1044" y="85"/>
                </a:cubicBezTo>
                <a:cubicBezTo>
                  <a:pt x="1044" y="85"/>
                  <a:pt x="1044" y="85"/>
                  <a:pt x="1044" y="85"/>
                </a:cubicBezTo>
                <a:cubicBezTo>
                  <a:pt x="1044" y="85"/>
                  <a:pt x="1044" y="84"/>
                  <a:pt x="1044" y="84"/>
                </a:cubicBezTo>
                <a:cubicBezTo>
                  <a:pt x="1044" y="84"/>
                  <a:pt x="1044" y="84"/>
                  <a:pt x="1044" y="84"/>
                </a:cubicBezTo>
                <a:cubicBezTo>
                  <a:pt x="1044" y="84"/>
                  <a:pt x="1044" y="84"/>
                  <a:pt x="1044" y="84"/>
                </a:cubicBezTo>
                <a:cubicBezTo>
                  <a:pt x="1044" y="84"/>
                  <a:pt x="1044" y="84"/>
                  <a:pt x="1044" y="84"/>
                </a:cubicBezTo>
                <a:cubicBezTo>
                  <a:pt x="1043" y="84"/>
                  <a:pt x="1043" y="83"/>
                  <a:pt x="1043" y="83"/>
                </a:cubicBezTo>
                <a:cubicBezTo>
                  <a:pt x="1043" y="83"/>
                  <a:pt x="1043" y="83"/>
                  <a:pt x="1043" y="83"/>
                </a:cubicBezTo>
                <a:cubicBezTo>
                  <a:pt x="1043" y="83"/>
                  <a:pt x="1043" y="83"/>
                  <a:pt x="1043" y="82"/>
                </a:cubicBezTo>
                <a:cubicBezTo>
                  <a:pt x="1043" y="82"/>
                  <a:pt x="1043" y="82"/>
                  <a:pt x="1043" y="82"/>
                </a:cubicBezTo>
                <a:cubicBezTo>
                  <a:pt x="1043" y="82"/>
                  <a:pt x="1043" y="82"/>
                  <a:pt x="1043" y="82"/>
                </a:cubicBezTo>
                <a:cubicBezTo>
                  <a:pt x="1043" y="82"/>
                  <a:pt x="1043" y="82"/>
                  <a:pt x="1042" y="81"/>
                </a:cubicBezTo>
                <a:cubicBezTo>
                  <a:pt x="1042" y="81"/>
                  <a:pt x="1042" y="81"/>
                  <a:pt x="1042" y="81"/>
                </a:cubicBezTo>
                <a:cubicBezTo>
                  <a:pt x="1042" y="81"/>
                  <a:pt x="1042" y="81"/>
                  <a:pt x="1042" y="81"/>
                </a:cubicBezTo>
                <a:cubicBezTo>
                  <a:pt x="1042" y="81"/>
                  <a:pt x="1042" y="80"/>
                  <a:pt x="1042" y="80"/>
                </a:cubicBezTo>
                <a:cubicBezTo>
                  <a:pt x="1042" y="80"/>
                  <a:pt x="1042" y="80"/>
                  <a:pt x="1042" y="79"/>
                </a:cubicBezTo>
                <a:cubicBezTo>
                  <a:pt x="1042" y="79"/>
                  <a:pt x="1042" y="79"/>
                  <a:pt x="1042" y="79"/>
                </a:cubicBezTo>
                <a:cubicBezTo>
                  <a:pt x="1042" y="79"/>
                  <a:pt x="1042" y="79"/>
                  <a:pt x="1041" y="78"/>
                </a:cubicBezTo>
                <a:cubicBezTo>
                  <a:pt x="1041" y="78"/>
                  <a:pt x="1041" y="78"/>
                  <a:pt x="1041" y="78"/>
                </a:cubicBezTo>
                <a:cubicBezTo>
                  <a:pt x="1041" y="77"/>
                  <a:pt x="1041" y="77"/>
                  <a:pt x="1041" y="76"/>
                </a:cubicBezTo>
                <a:cubicBezTo>
                  <a:pt x="1041" y="76"/>
                  <a:pt x="1041" y="76"/>
                  <a:pt x="1041" y="76"/>
                </a:cubicBezTo>
                <a:cubicBezTo>
                  <a:pt x="1041" y="76"/>
                  <a:pt x="1041" y="75"/>
                  <a:pt x="1041" y="74"/>
                </a:cubicBezTo>
                <a:cubicBezTo>
                  <a:pt x="1041" y="74"/>
                  <a:pt x="1041" y="74"/>
                  <a:pt x="1041" y="73"/>
                </a:cubicBezTo>
                <a:cubicBezTo>
                  <a:pt x="1040" y="71"/>
                  <a:pt x="1040" y="71"/>
                  <a:pt x="1043" y="71"/>
                </a:cubicBezTo>
                <a:cubicBezTo>
                  <a:pt x="1057" y="71"/>
                  <a:pt x="1072" y="71"/>
                  <a:pt x="1086" y="71"/>
                </a:cubicBezTo>
                <a:cubicBezTo>
                  <a:pt x="1086" y="71"/>
                  <a:pt x="1087" y="71"/>
                  <a:pt x="1087" y="71"/>
                </a:cubicBezTo>
                <a:cubicBezTo>
                  <a:pt x="1088" y="71"/>
                  <a:pt x="1088" y="70"/>
                  <a:pt x="1088" y="70"/>
                </a:cubicBezTo>
                <a:cubicBezTo>
                  <a:pt x="1088" y="67"/>
                  <a:pt x="1088" y="64"/>
                  <a:pt x="1088" y="60"/>
                </a:cubicBezTo>
                <a:cubicBezTo>
                  <a:pt x="1088" y="60"/>
                  <a:pt x="1088" y="60"/>
                  <a:pt x="1088" y="60"/>
                </a:cubicBezTo>
                <a:cubicBezTo>
                  <a:pt x="1087" y="59"/>
                  <a:pt x="1088" y="58"/>
                  <a:pt x="1087" y="57"/>
                </a:cubicBezTo>
                <a:cubicBezTo>
                  <a:pt x="1087" y="57"/>
                  <a:pt x="1087" y="57"/>
                  <a:pt x="1087" y="57"/>
                </a:cubicBezTo>
                <a:cubicBezTo>
                  <a:pt x="1087" y="56"/>
                  <a:pt x="1087" y="56"/>
                  <a:pt x="1087" y="55"/>
                </a:cubicBezTo>
                <a:cubicBezTo>
                  <a:pt x="1087" y="55"/>
                  <a:pt x="1087" y="55"/>
                  <a:pt x="1087" y="55"/>
                </a:cubicBezTo>
                <a:cubicBezTo>
                  <a:pt x="1087" y="54"/>
                  <a:pt x="1087" y="54"/>
                  <a:pt x="1087" y="53"/>
                </a:cubicBezTo>
                <a:cubicBezTo>
                  <a:pt x="1087" y="53"/>
                  <a:pt x="1087" y="53"/>
                  <a:pt x="1087" y="53"/>
                </a:cubicBezTo>
                <a:cubicBezTo>
                  <a:pt x="1087" y="53"/>
                  <a:pt x="1087" y="53"/>
                  <a:pt x="1087" y="53"/>
                </a:cubicBezTo>
                <a:cubicBezTo>
                  <a:pt x="1086" y="53"/>
                  <a:pt x="1087" y="52"/>
                  <a:pt x="1086" y="52"/>
                </a:cubicBezTo>
                <a:cubicBezTo>
                  <a:pt x="1086" y="52"/>
                  <a:pt x="1086" y="52"/>
                  <a:pt x="1086" y="52"/>
                </a:cubicBezTo>
                <a:cubicBezTo>
                  <a:pt x="1086" y="52"/>
                  <a:pt x="1086" y="51"/>
                  <a:pt x="1086" y="51"/>
                </a:cubicBezTo>
                <a:cubicBezTo>
                  <a:pt x="1086" y="51"/>
                  <a:pt x="1086" y="51"/>
                  <a:pt x="1086" y="51"/>
                </a:cubicBezTo>
                <a:cubicBezTo>
                  <a:pt x="1086" y="51"/>
                  <a:pt x="1086" y="51"/>
                  <a:pt x="1086" y="51"/>
                </a:cubicBezTo>
                <a:cubicBezTo>
                  <a:pt x="1086" y="51"/>
                  <a:pt x="1086" y="50"/>
                  <a:pt x="1086" y="50"/>
                </a:cubicBezTo>
                <a:cubicBezTo>
                  <a:pt x="1086" y="50"/>
                  <a:pt x="1086" y="50"/>
                  <a:pt x="1086" y="50"/>
                </a:cubicBezTo>
                <a:cubicBezTo>
                  <a:pt x="1086" y="50"/>
                  <a:pt x="1086" y="50"/>
                  <a:pt x="1086" y="50"/>
                </a:cubicBezTo>
                <a:cubicBezTo>
                  <a:pt x="1086" y="50"/>
                  <a:pt x="1086" y="49"/>
                  <a:pt x="1085" y="49"/>
                </a:cubicBezTo>
                <a:cubicBezTo>
                  <a:pt x="1085" y="49"/>
                  <a:pt x="1085" y="49"/>
                  <a:pt x="1085" y="49"/>
                </a:cubicBezTo>
                <a:cubicBezTo>
                  <a:pt x="1085" y="49"/>
                  <a:pt x="1085" y="48"/>
                  <a:pt x="1085" y="48"/>
                </a:cubicBezTo>
                <a:cubicBezTo>
                  <a:pt x="1085" y="48"/>
                  <a:pt x="1085" y="48"/>
                  <a:pt x="1085" y="48"/>
                </a:cubicBezTo>
                <a:cubicBezTo>
                  <a:pt x="1085" y="48"/>
                  <a:pt x="1085" y="48"/>
                  <a:pt x="1085" y="48"/>
                </a:cubicBezTo>
                <a:cubicBezTo>
                  <a:pt x="1085" y="48"/>
                  <a:pt x="1085" y="47"/>
                  <a:pt x="1085" y="47"/>
                </a:cubicBezTo>
                <a:cubicBezTo>
                  <a:pt x="1085" y="47"/>
                  <a:pt x="1085" y="47"/>
                  <a:pt x="1085" y="47"/>
                </a:cubicBezTo>
                <a:cubicBezTo>
                  <a:pt x="1084" y="47"/>
                  <a:pt x="1084" y="47"/>
                  <a:pt x="1084" y="47"/>
                </a:cubicBezTo>
                <a:cubicBezTo>
                  <a:pt x="1084" y="47"/>
                  <a:pt x="1084" y="47"/>
                  <a:pt x="1084" y="47"/>
                </a:cubicBezTo>
                <a:cubicBezTo>
                  <a:pt x="1084" y="46"/>
                  <a:pt x="1084" y="46"/>
                  <a:pt x="1084" y="46"/>
                </a:cubicBezTo>
                <a:cubicBezTo>
                  <a:pt x="1084" y="46"/>
                  <a:pt x="1084" y="46"/>
                  <a:pt x="1084" y="46"/>
                </a:cubicBezTo>
                <a:cubicBezTo>
                  <a:pt x="1084" y="46"/>
                  <a:pt x="1084" y="45"/>
                  <a:pt x="1083" y="45"/>
                </a:cubicBezTo>
                <a:cubicBezTo>
                  <a:pt x="1084" y="45"/>
                  <a:pt x="1084" y="45"/>
                  <a:pt x="1084" y="45"/>
                </a:cubicBezTo>
                <a:cubicBezTo>
                  <a:pt x="1084" y="45"/>
                  <a:pt x="1083" y="45"/>
                  <a:pt x="1083" y="45"/>
                </a:cubicBezTo>
                <a:cubicBezTo>
                  <a:pt x="1083" y="45"/>
                  <a:pt x="1083" y="45"/>
                  <a:pt x="1083" y="45"/>
                </a:cubicBezTo>
                <a:cubicBezTo>
                  <a:pt x="1083" y="45"/>
                  <a:pt x="1083" y="44"/>
                  <a:pt x="1083" y="44"/>
                </a:cubicBezTo>
                <a:cubicBezTo>
                  <a:pt x="1083" y="44"/>
                  <a:pt x="1083" y="44"/>
                  <a:pt x="1083" y="44"/>
                </a:cubicBezTo>
                <a:cubicBezTo>
                  <a:pt x="1083" y="44"/>
                  <a:pt x="1082" y="43"/>
                  <a:pt x="1082" y="43"/>
                </a:cubicBezTo>
                <a:cubicBezTo>
                  <a:pt x="1082" y="43"/>
                  <a:pt x="1082" y="43"/>
                  <a:pt x="1082" y="43"/>
                </a:cubicBezTo>
                <a:cubicBezTo>
                  <a:pt x="1082" y="43"/>
                  <a:pt x="1082" y="43"/>
                  <a:pt x="1082" y="43"/>
                </a:cubicBezTo>
                <a:cubicBezTo>
                  <a:pt x="1082" y="43"/>
                  <a:pt x="1082" y="43"/>
                  <a:pt x="1082" y="43"/>
                </a:cubicBezTo>
                <a:cubicBezTo>
                  <a:pt x="1082" y="43"/>
                  <a:pt x="1082" y="42"/>
                  <a:pt x="1081" y="42"/>
                </a:cubicBezTo>
                <a:cubicBezTo>
                  <a:pt x="1081" y="42"/>
                  <a:pt x="1081" y="42"/>
                  <a:pt x="1081" y="42"/>
                </a:cubicBezTo>
                <a:cubicBezTo>
                  <a:pt x="1081" y="42"/>
                  <a:pt x="1081" y="42"/>
                  <a:pt x="1081" y="42"/>
                </a:cubicBezTo>
                <a:cubicBezTo>
                  <a:pt x="1081" y="42"/>
                  <a:pt x="1081" y="42"/>
                  <a:pt x="1081" y="42"/>
                </a:cubicBezTo>
                <a:cubicBezTo>
                  <a:pt x="1081" y="42"/>
                  <a:pt x="1081" y="41"/>
                  <a:pt x="1081" y="41"/>
                </a:cubicBezTo>
                <a:cubicBezTo>
                  <a:pt x="1081" y="41"/>
                  <a:pt x="1081" y="41"/>
                  <a:pt x="1081" y="41"/>
                </a:cubicBezTo>
                <a:cubicBezTo>
                  <a:pt x="1081" y="41"/>
                  <a:pt x="1081" y="41"/>
                  <a:pt x="1080" y="41"/>
                </a:cubicBezTo>
                <a:cubicBezTo>
                  <a:pt x="1080" y="41"/>
                  <a:pt x="1080" y="41"/>
                  <a:pt x="1080" y="41"/>
                </a:cubicBezTo>
                <a:cubicBezTo>
                  <a:pt x="1080" y="40"/>
                  <a:pt x="1079" y="39"/>
                  <a:pt x="1078" y="39"/>
                </a:cubicBezTo>
                <a:cubicBezTo>
                  <a:pt x="1078" y="38"/>
                  <a:pt x="1078" y="38"/>
                  <a:pt x="1078" y="38"/>
                </a:cubicBezTo>
                <a:cubicBezTo>
                  <a:pt x="1078" y="38"/>
                  <a:pt x="1078" y="38"/>
                  <a:pt x="1078" y="38"/>
                </a:cubicBezTo>
                <a:cubicBezTo>
                  <a:pt x="1078" y="38"/>
                  <a:pt x="1078" y="38"/>
                  <a:pt x="1078" y="38"/>
                </a:cubicBezTo>
                <a:cubicBezTo>
                  <a:pt x="1078" y="38"/>
                  <a:pt x="1077" y="38"/>
                  <a:pt x="1077" y="38"/>
                </a:cubicBezTo>
                <a:cubicBezTo>
                  <a:pt x="1077" y="38"/>
                  <a:pt x="1077" y="38"/>
                  <a:pt x="1077" y="38"/>
                </a:cubicBezTo>
                <a:cubicBezTo>
                  <a:pt x="1077" y="38"/>
                  <a:pt x="1077" y="37"/>
                  <a:pt x="1076" y="37"/>
                </a:cubicBezTo>
                <a:cubicBezTo>
                  <a:pt x="1076" y="37"/>
                  <a:pt x="1076" y="37"/>
                  <a:pt x="1076" y="37"/>
                </a:cubicBezTo>
                <a:cubicBezTo>
                  <a:pt x="1076" y="37"/>
                  <a:pt x="1076" y="37"/>
                  <a:pt x="1076" y="37"/>
                </a:cubicBezTo>
                <a:cubicBezTo>
                  <a:pt x="1076" y="37"/>
                  <a:pt x="1076" y="37"/>
                  <a:pt x="1076" y="37"/>
                </a:cubicBezTo>
                <a:cubicBezTo>
                  <a:pt x="1076" y="37"/>
                  <a:pt x="1075" y="37"/>
                  <a:pt x="1075" y="36"/>
                </a:cubicBezTo>
                <a:cubicBezTo>
                  <a:pt x="1075" y="36"/>
                  <a:pt x="1075" y="36"/>
                  <a:pt x="1075" y="36"/>
                </a:cubicBezTo>
                <a:cubicBezTo>
                  <a:pt x="1075" y="36"/>
                  <a:pt x="1075" y="36"/>
                  <a:pt x="1075" y="36"/>
                </a:cubicBezTo>
                <a:cubicBezTo>
                  <a:pt x="1075" y="36"/>
                  <a:pt x="1075" y="36"/>
                  <a:pt x="1075" y="36"/>
                </a:cubicBezTo>
                <a:cubicBezTo>
                  <a:pt x="1075" y="36"/>
                  <a:pt x="1075" y="36"/>
                  <a:pt x="1075" y="36"/>
                </a:cubicBezTo>
                <a:cubicBezTo>
                  <a:pt x="1074" y="36"/>
                  <a:pt x="1074" y="36"/>
                  <a:pt x="1074" y="36"/>
                </a:cubicBezTo>
                <a:cubicBezTo>
                  <a:pt x="1074" y="36"/>
                  <a:pt x="1074" y="36"/>
                  <a:pt x="1074" y="36"/>
                </a:cubicBezTo>
                <a:cubicBezTo>
                  <a:pt x="1074" y="35"/>
                  <a:pt x="1074" y="36"/>
                  <a:pt x="1073" y="35"/>
                </a:cubicBezTo>
                <a:cubicBezTo>
                  <a:pt x="1073" y="35"/>
                  <a:pt x="1073" y="35"/>
                  <a:pt x="1073" y="35"/>
                </a:cubicBezTo>
                <a:cubicBezTo>
                  <a:pt x="1073" y="35"/>
                  <a:pt x="1073" y="35"/>
                  <a:pt x="1073" y="35"/>
                </a:cubicBezTo>
                <a:cubicBezTo>
                  <a:pt x="1073" y="35"/>
                  <a:pt x="1073" y="35"/>
                  <a:pt x="1073" y="35"/>
                </a:cubicBezTo>
                <a:cubicBezTo>
                  <a:pt x="1073" y="35"/>
                  <a:pt x="1072" y="35"/>
                  <a:pt x="1072" y="35"/>
                </a:cubicBezTo>
                <a:cubicBezTo>
                  <a:pt x="1072" y="35"/>
                  <a:pt x="1072" y="35"/>
                  <a:pt x="1072" y="35"/>
                </a:cubicBezTo>
                <a:cubicBezTo>
                  <a:pt x="1072" y="35"/>
                  <a:pt x="1072" y="35"/>
                  <a:pt x="1072" y="35"/>
                </a:cubicBezTo>
                <a:cubicBezTo>
                  <a:pt x="1072" y="34"/>
                  <a:pt x="1071" y="35"/>
                  <a:pt x="1071" y="34"/>
                </a:cubicBezTo>
                <a:cubicBezTo>
                  <a:pt x="1071" y="34"/>
                  <a:pt x="1071" y="34"/>
                  <a:pt x="1071" y="34"/>
                </a:cubicBezTo>
                <a:cubicBezTo>
                  <a:pt x="1071" y="34"/>
                  <a:pt x="1070" y="34"/>
                  <a:pt x="1070" y="34"/>
                </a:cubicBezTo>
                <a:cubicBezTo>
                  <a:pt x="1070" y="34"/>
                  <a:pt x="1070" y="34"/>
                  <a:pt x="1070" y="34"/>
                </a:cubicBezTo>
                <a:cubicBezTo>
                  <a:pt x="1070" y="34"/>
                  <a:pt x="1069" y="34"/>
                  <a:pt x="1069" y="34"/>
                </a:cubicBezTo>
                <a:cubicBezTo>
                  <a:pt x="1069" y="34"/>
                  <a:pt x="1069" y="34"/>
                  <a:pt x="1069" y="34"/>
                </a:cubicBezTo>
                <a:cubicBezTo>
                  <a:pt x="1068" y="33"/>
                  <a:pt x="1068" y="34"/>
                  <a:pt x="1068" y="33"/>
                </a:cubicBezTo>
                <a:cubicBezTo>
                  <a:pt x="1067" y="33"/>
                  <a:pt x="1067" y="33"/>
                  <a:pt x="1067" y="33"/>
                </a:cubicBezTo>
                <a:cubicBezTo>
                  <a:pt x="1067" y="33"/>
                  <a:pt x="1066" y="33"/>
                  <a:pt x="1066" y="33"/>
                </a:cubicBezTo>
                <a:cubicBezTo>
                  <a:pt x="1066" y="33"/>
                  <a:pt x="1066" y="33"/>
                  <a:pt x="1065" y="33"/>
                </a:cubicBezTo>
                <a:cubicBezTo>
                  <a:pt x="1065" y="33"/>
                  <a:pt x="1064" y="33"/>
                  <a:pt x="1063" y="33"/>
                </a:cubicBezTo>
                <a:cubicBezTo>
                  <a:pt x="1061" y="33"/>
                  <a:pt x="1059" y="33"/>
                  <a:pt x="1058" y="33"/>
                </a:cubicBezTo>
                <a:cubicBezTo>
                  <a:pt x="1057" y="33"/>
                  <a:pt x="1056" y="33"/>
                  <a:pt x="1055" y="33"/>
                </a:cubicBezTo>
                <a:cubicBezTo>
                  <a:pt x="1055" y="33"/>
                  <a:pt x="1055" y="33"/>
                  <a:pt x="1055" y="33"/>
                </a:cubicBezTo>
                <a:cubicBezTo>
                  <a:pt x="1054" y="33"/>
                  <a:pt x="1054" y="33"/>
                  <a:pt x="1053" y="33"/>
                </a:cubicBezTo>
                <a:cubicBezTo>
                  <a:pt x="1053" y="33"/>
                  <a:pt x="1053" y="33"/>
                  <a:pt x="1053" y="33"/>
                </a:cubicBezTo>
                <a:cubicBezTo>
                  <a:pt x="1053" y="34"/>
                  <a:pt x="1052" y="33"/>
                  <a:pt x="1052" y="34"/>
                </a:cubicBezTo>
                <a:cubicBezTo>
                  <a:pt x="1052" y="34"/>
                  <a:pt x="1052" y="34"/>
                  <a:pt x="1052" y="34"/>
                </a:cubicBezTo>
                <a:cubicBezTo>
                  <a:pt x="1052" y="34"/>
                  <a:pt x="1051" y="34"/>
                  <a:pt x="1051" y="34"/>
                </a:cubicBezTo>
                <a:cubicBezTo>
                  <a:pt x="1051" y="34"/>
                  <a:pt x="1051" y="34"/>
                  <a:pt x="1051" y="34"/>
                </a:cubicBezTo>
                <a:cubicBezTo>
                  <a:pt x="1051" y="34"/>
                  <a:pt x="1050" y="34"/>
                  <a:pt x="1050" y="34"/>
                </a:cubicBezTo>
                <a:cubicBezTo>
                  <a:pt x="1050" y="34"/>
                  <a:pt x="1050" y="34"/>
                  <a:pt x="1050" y="34"/>
                </a:cubicBezTo>
                <a:cubicBezTo>
                  <a:pt x="1050" y="35"/>
                  <a:pt x="1049" y="34"/>
                  <a:pt x="1049" y="35"/>
                </a:cubicBezTo>
                <a:cubicBezTo>
                  <a:pt x="1049" y="35"/>
                  <a:pt x="1049" y="35"/>
                  <a:pt x="1049" y="35"/>
                </a:cubicBezTo>
                <a:cubicBezTo>
                  <a:pt x="1049" y="35"/>
                  <a:pt x="1048" y="35"/>
                  <a:pt x="1048" y="35"/>
                </a:cubicBezTo>
                <a:cubicBezTo>
                  <a:pt x="1048" y="35"/>
                  <a:pt x="1048" y="35"/>
                  <a:pt x="1048" y="35"/>
                </a:cubicBezTo>
                <a:cubicBezTo>
                  <a:pt x="1048" y="35"/>
                  <a:pt x="1048" y="35"/>
                  <a:pt x="1047" y="35"/>
                </a:cubicBezTo>
                <a:cubicBezTo>
                  <a:pt x="1047" y="35"/>
                  <a:pt x="1047" y="35"/>
                  <a:pt x="1047" y="35"/>
                </a:cubicBezTo>
                <a:cubicBezTo>
                  <a:pt x="1047" y="36"/>
                  <a:pt x="1047" y="36"/>
                  <a:pt x="1047" y="36"/>
                </a:cubicBezTo>
                <a:cubicBezTo>
                  <a:pt x="1047" y="36"/>
                  <a:pt x="1047" y="36"/>
                  <a:pt x="1047" y="36"/>
                </a:cubicBezTo>
                <a:cubicBezTo>
                  <a:pt x="1047" y="36"/>
                  <a:pt x="1046" y="36"/>
                  <a:pt x="1046" y="36"/>
                </a:cubicBezTo>
                <a:cubicBezTo>
                  <a:pt x="1046" y="36"/>
                  <a:pt x="1046" y="36"/>
                  <a:pt x="1046" y="36"/>
                </a:cubicBezTo>
                <a:cubicBezTo>
                  <a:pt x="1046" y="36"/>
                  <a:pt x="1045" y="36"/>
                  <a:pt x="1045" y="36"/>
                </a:cubicBezTo>
                <a:cubicBezTo>
                  <a:pt x="1045" y="36"/>
                  <a:pt x="1045" y="36"/>
                  <a:pt x="1045" y="36"/>
                </a:cubicBezTo>
                <a:cubicBezTo>
                  <a:pt x="1045" y="36"/>
                  <a:pt x="1045" y="37"/>
                  <a:pt x="1045" y="37"/>
                </a:cubicBezTo>
                <a:cubicBezTo>
                  <a:pt x="1045" y="37"/>
                  <a:pt x="1045" y="37"/>
                  <a:pt x="1045" y="37"/>
                </a:cubicBezTo>
                <a:cubicBezTo>
                  <a:pt x="1045" y="37"/>
                  <a:pt x="1044" y="37"/>
                  <a:pt x="1044" y="37"/>
                </a:cubicBezTo>
                <a:cubicBezTo>
                  <a:pt x="1044" y="37"/>
                  <a:pt x="1044" y="37"/>
                  <a:pt x="1044" y="37"/>
                </a:cubicBezTo>
                <a:cubicBezTo>
                  <a:pt x="1044" y="37"/>
                  <a:pt x="1044" y="37"/>
                  <a:pt x="1044" y="38"/>
                </a:cubicBezTo>
                <a:cubicBezTo>
                  <a:pt x="1044" y="38"/>
                  <a:pt x="1044" y="38"/>
                  <a:pt x="1044" y="38"/>
                </a:cubicBezTo>
                <a:cubicBezTo>
                  <a:pt x="1043" y="38"/>
                  <a:pt x="1043" y="38"/>
                  <a:pt x="1043" y="38"/>
                </a:cubicBezTo>
                <a:cubicBezTo>
                  <a:pt x="1043" y="38"/>
                  <a:pt x="1043" y="38"/>
                  <a:pt x="1043" y="38"/>
                </a:cubicBezTo>
                <a:cubicBezTo>
                  <a:pt x="1043" y="38"/>
                  <a:pt x="1043" y="38"/>
                  <a:pt x="1043" y="38"/>
                </a:cubicBezTo>
                <a:cubicBezTo>
                  <a:pt x="1043" y="38"/>
                  <a:pt x="1043" y="38"/>
                  <a:pt x="1043" y="38"/>
                </a:cubicBezTo>
                <a:cubicBezTo>
                  <a:pt x="1043" y="38"/>
                  <a:pt x="1042" y="38"/>
                  <a:pt x="1042" y="39"/>
                </a:cubicBezTo>
                <a:cubicBezTo>
                  <a:pt x="1042" y="39"/>
                  <a:pt x="1042" y="39"/>
                  <a:pt x="1042" y="39"/>
                </a:cubicBezTo>
                <a:cubicBezTo>
                  <a:pt x="1042" y="39"/>
                  <a:pt x="1042" y="39"/>
                  <a:pt x="1042" y="39"/>
                </a:cubicBezTo>
                <a:cubicBezTo>
                  <a:pt x="1042" y="39"/>
                  <a:pt x="1042" y="39"/>
                  <a:pt x="1042" y="39"/>
                </a:cubicBezTo>
                <a:cubicBezTo>
                  <a:pt x="1042" y="39"/>
                  <a:pt x="1042" y="39"/>
                  <a:pt x="1041" y="39"/>
                </a:cubicBezTo>
                <a:cubicBezTo>
                  <a:pt x="1041" y="39"/>
                  <a:pt x="1041" y="39"/>
                  <a:pt x="1041" y="39"/>
                </a:cubicBezTo>
                <a:cubicBezTo>
                  <a:pt x="1041" y="40"/>
                  <a:pt x="1040" y="40"/>
                  <a:pt x="1040" y="40"/>
                </a:cubicBezTo>
                <a:cubicBezTo>
                  <a:pt x="1040" y="40"/>
                  <a:pt x="1040" y="40"/>
                  <a:pt x="1040" y="40"/>
                </a:cubicBezTo>
                <a:cubicBezTo>
                  <a:pt x="1040" y="40"/>
                  <a:pt x="1040" y="40"/>
                  <a:pt x="1040" y="41"/>
                </a:cubicBezTo>
                <a:cubicBezTo>
                  <a:pt x="1040" y="41"/>
                  <a:pt x="1040" y="41"/>
                  <a:pt x="1040" y="41"/>
                </a:cubicBezTo>
                <a:cubicBezTo>
                  <a:pt x="1040" y="41"/>
                  <a:pt x="1039" y="41"/>
                  <a:pt x="1039" y="41"/>
                </a:cubicBezTo>
                <a:cubicBezTo>
                  <a:pt x="1039" y="41"/>
                  <a:pt x="1039" y="41"/>
                  <a:pt x="1039" y="41"/>
                </a:cubicBezTo>
                <a:cubicBezTo>
                  <a:pt x="1039" y="41"/>
                  <a:pt x="1039" y="41"/>
                  <a:pt x="1039" y="41"/>
                </a:cubicBezTo>
                <a:cubicBezTo>
                  <a:pt x="1039" y="41"/>
                  <a:pt x="1039" y="41"/>
                  <a:pt x="1039" y="41"/>
                </a:cubicBezTo>
                <a:cubicBezTo>
                  <a:pt x="1039" y="41"/>
                  <a:pt x="1039" y="42"/>
                  <a:pt x="1039" y="42"/>
                </a:cubicBezTo>
                <a:cubicBezTo>
                  <a:pt x="1039" y="42"/>
                  <a:pt x="1039" y="42"/>
                  <a:pt x="1039" y="42"/>
                </a:cubicBezTo>
                <a:cubicBezTo>
                  <a:pt x="1039" y="42"/>
                  <a:pt x="1038" y="42"/>
                  <a:pt x="1038" y="42"/>
                </a:cubicBezTo>
                <a:cubicBezTo>
                  <a:pt x="1038" y="42"/>
                  <a:pt x="1038" y="42"/>
                  <a:pt x="1038" y="42"/>
                </a:cubicBezTo>
                <a:cubicBezTo>
                  <a:pt x="1038" y="42"/>
                  <a:pt x="1038" y="43"/>
                  <a:pt x="1038" y="43"/>
                </a:cubicBezTo>
                <a:cubicBezTo>
                  <a:pt x="1038" y="43"/>
                  <a:pt x="1038" y="43"/>
                  <a:pt x="1038" y="43"/>
                </a:cubicBezTo>
                <a:cubicBezTo>
                  <a:pt x="1038" y="43"/>
                  <a:pt x="1037" y="43"/>
                  <a:pt x="1037" y="43"/>
                </a:cubicBezTo>
                <a:cubicBezTo>
                  <a:pt x="1037" y="43"/>
                  <a:pt x="1037" y="43"/>
                  <a:pt x="1037" y="43"/>
                </a:cubicBezTo>
                <a:cubicBezTo>
                  <a:pt x="1037" y="44"/>
                  <a:pt x="1037" y="44"/>
                  <a:pt x="1037" y="44"/>
                </a:cubicBezTo>
                <a:cubicBezTo>
                  <a:pt x="1037" y="44"/>
                  <a:pt x="1037" y="44"/>
                  <a:pt x="1037" y="44"/>
                </a:cubicBezTo>
                <a:cubicBezTo>
                  <a:pt x="1037" y="44"/>
                  <a:pt x="1037" y="44"/>
                  <a:pt x="1036" y="45"/>
                </a:cubicBezTo>
                <a:cubicBezTo>
                  <a:pt x="1036" y="45"/>
                  <a:pt x="1036" y="45"/>
                  <a:pt x="1036" y="45"/>
                </a:cubicBezTo>
                <a:cubicBezTo>
                  <a:pt x="1036" y="45"/>
                  <a:pt x="1036" y="45"/>
                  <a:pt x="1036" y="45"/>
                </a:cubicBezTo>
                <a:cubicBezTo>
                  <a:pt x="1036" y="45"/>
                  <a:pt x="1036" y="45"/>
                  <a:pt x="1036" y="45"/>
                </a:cubicBezTo>
                <a:cubicBezTo>
                  <a:pt x="1036" y="45"/>
                  <a:pt x="1036" y="46"/>
                  <a:pt x="1036" y="46"/>
                </a:cubicBezTo>
                <a:cubicBezTo>
                  <a:pt x="1036" y="46"/>
                  <a:pt x="1036" y="46"/>
                  <a:pt x="1036" y="46"/>
                </a:cubicBezTo>
                <a:cubicBezTo>
                  <a:pt x="1035" y="46"/>
                  <a:pt x="1035" y="46"/>
                  <a:pt x="1035" y="46"/>
                </a:cubicBezTo>
                <a:cubicBezTo>
                  <a:pt x="1035" y="46"/>
                  <a:pt x="1035" y="46"/>
                  <a:pt x="1035" y="46"/>
                </a:cubicBezTo>
                <a:cubicBezTo>
                  <a:pt x="1035" y="46"/>
                  <a:pt x="1035" y="47"/>
                  <a:pt x="1035" y="47"/>
                </a:cubicBezTo>
                <a:cubicBezTo>
                  <a:pt x="1035" y="47"/>
                  <a:pt x="1035" y="47"/>
                  <a:pt x="1035" y="47"/>
                </a:cubicBezTo>
                <a:cubicBezTo>
                  <a:pt x="1035" y="47"/>
                  <a:pt x="1035" y="47"/>
                  <a:pt x="1035" y="47"/>
                </a:cubicBezTo>
                <a:cubicBezTo>
                  <a:pt x="1035" y="47"/>
                  <a:pt x="1035" y="47"/>
                  <a:pt x="1035" y="47"/>
                </a:cubicBezTo>
                <a:cubicBezTo>
                  <a:pt x="1034" y="47"/>
                  <a:pt x="1034" y="48"/>
                  <a:pt x="1034" y="48"/>
                </a:cubicBezTo>
                <a:cubicBezTo>
                  <a:pt x="1034" y="48"/>
                  <a:pt x="1034" y="48"/>
                  <a:pt x="1034" y="48"/>
                </a:cubicBezTo>
                <a:cubicBezTo>
                  <a:pt x="1034" y="48"/>
                  <a:pt x="1034" y="48"/>
                  <a:pt x="1034" y="49"/>
                </a:cubicBezTo>
                <a:cubicBezTo>
                  <a:pt x="1034" y="49"/>
                  <a:pt x="1034" y="49"/>
                  <a:pt x="1034" y="49"/>
                </a:cubicBezTo>
                <a:cubicBezTo>
                  <a:pt x="1034" y="49"/>
                  <a:pt x="1034" y="49"/>
                  <a:pt x="1033" y="49"/>
                </a:cubicBezTo>
                <a:cubicBezTo>
                  <a:pt x="1033" y="49"/>
                  <a:pt x="1033" y="49"/>
                  <a:pt x="1033" y="49"/>
                </a:cubicBezTo>
                <a:cubicBezTo>
                  <a:pt x="1033" y="49"/>
                  <a:pt x="1033" y="50"/>
                  <a:pt x="1033" y="50"/>
                </a:cubicBezTo>
                <a:cubicBezTo>
                  <a:pt x="1033" y="50"/>
                  <a:pt x="1033" y="50"/>
                  <a:pt x="1033" y="50"/>
                </a:cubicBezTo>
                <a:cubicBezTo>
                  <a:pt x="1033" y="50"/>
                  <a:pt x="1033" y="51"/>
                  <a:pt x="1033" y="51"/>
                </a:cubicBezTo>
                <a:cubicBezTo>
                  <a:pt x="1033" y="51"/>
                  <a:pt x="1033" y="51"/>
                  <a:pt x="1033" y="51"/>
                </a:cubicBezTo>
                <a:cubicBezTo>
                  <a:pt x="1033" y="51"/>
                  <a:pt x="1033" y="51"/>
                  <a:pt x="1032" y="51"/>
                </a:cubicBezTo>
                <a:cubicBezTo>
                  <a:pt x="1032" y="51"/>
                  <a:pt x="1032" y="51"/>
                  <a:pt x="1032" y="51"/>
                </a:cubicBezTo>
                <a:cubicBezTo>
                  <a:pt x="1032" y="52"/>
                  <a:pt x="1032" y="52"/>
                  <a:pt x="1032" y="52"/>
                </a:cubicBezTo>
                <a:cubicBezTo>
                  <a:pt x="1032" y="52"/>
                  <a:pt x="1032" y="52"/>
                  <a:pt x="1032" y="52"/>
                </a:cubicBezTo>
                <a:cubicBezTo>
                  <a:pt x="1032" y="53"/>
                  <a:pt x="1032" y="53"/>
                  <a:pt x="1032" y="53"/>
                </a:cubicBezTo>
                <a:cubicBezTo>
                  <a:pt x="1032" y="53"/>
                  <a:pt x="1032" y="53"/>
                  <a:pt x="1032" y="53"/>
                </a:cubicBezTo>
                <a:cubicBezTo>
                  <a:pt x="1031" y="53"/>
                  <a:pt x="1032" y="54"/>
                  <a:pt x="1031" y="54"/>
                </a:cubicBezTo>
                <a:cubicBezTo>
                  <a:pt x="1031" y="54"/>
                  <a:pt x="1031" y="54"/>
                  <a:pt x="1031" y="54"/>
                </a:cubicBezTo>
                <a:cubicBezTo>
                  <a:pt x="1031" y="54"/>
                  <a:pt x="1031" y="55"/>
                  <a:pt x="1031" y="55"/>
                </a:cubicBezTo>
                <a:cubicBezTo>
                  <a:pt x="1031" y="55"/>
                  <a:pt x="1031" y="55"/>
                  <a:pt x="1031" y="55"/>
                </a:cubicBezTo>
                <a:cubicBezTo>
                  <a:pt x="1031" y="56"/>
                  <a:pt x="1031" y="56"/>
                  <a:pt x="1031" y="56"/>
                </a:cubicBezTo>
                <a:cubicBezTo>
                  <a:pt x="1031" y="56"/>
                  <a:pt x="1031" y="57"/>
                  <a:pt x="1031" y="57"/>
                </a:cubicBezTo>
                <a:cubicBezTo>
                  <a:pt x="1030" y="57"/>
                  <a:pt x="1031" y="57"/>
                  <a:pt x="1030" y="58"/>
                </a:cubicBezTo>
                <a:cubicBezTo>
                  <a:pt x="1030" y="58"/>
                  <a:pt x="1030" y="58"/>
                  <a:pt x="1030" y="58"/>
                </a:cubicBezTo>
                <a:cubicBezTo>
                  <a:pt x="1030" y="58"/>
                  <a:pt x="1030" y="59"/>
                  <a:pt x="1030" y="59"/>
                </a:cubicBezTo>
                <a:cubicBezTo>
                  <a:pt x="1030" y="59"/>
                  <a:pt x="1030" y="59"/>
                  <a:pt x="1030" y="59"/>
                </a:cubicBezTo>
                <a:cubicBezTo>
                  <a:pt x="1030" y="59"/>
                  <a:pt x="1030" y="59"/>
                  <a:pt x="1030" y="59"/>
                </a:cubicBezTo>
                <a:cubicBezTo>
                  <a:pt x="1030" y="60"/>
                  <a:pt x="1030" y="61"/>
                  <a:pt x="1030" y="61"/>
                </a:cubicBezTo>
                <a:cubicBezTo>
                  <a:pt x="1030" y="61"/>
                  <a:pt x="1030" y="61"/>
                  <a:pt x="1030" y="61"/>
                </a:cubicBezTo>
                <a:cubicBezTo>
                  <a:pt x="1029" y="62"/>
                  <a:pt x="1030" y="63"/>
                  <a:pt x="1029" y="64"/>
                </a:cubicBezTo>
                <a:cubicBezTo>
                  <a:pt x="1029" y="64"/>
                  <a:pt x="1029" y="65"/>
                  <a:pt x="1029" y="65"/>
                </a:cubicBezTo>
                <a:cubicBezTo>
                  <a:pt x="1029" y="67"/>
                  <a:pt x="1029" y="70"/>
                  <a:pt x="1029" y="72"/>
                </a:cubicBezTo>
                <a:cubicBezTo>
                  <a:pt x="1029" y="72"/>
                  <a:pt x="1029" y="73"/>
                  <a:pt x="1029" y="73"/>
                </a:cubicBezTo>
                <a:cubicBezTo>
                  <a:pt x="1030" y="74"/>
                  <a:pt x="1029" y="75"/>
                  <a:pt x="1030" y="76"/>
                </a:cubicBezTo>
                <a:cubicBezTo>
                  <a:pt x="1030" y="76"/>
                  <a:pt x="1030" y="76"/>
                  <a:pt x="1030" y="76"/>
                </a:cubicBezTo>
                <a:cubicBezTo>
                  <a:pt x="1030" y="77"/>
                  <a:pt x="1030" y="77"/>
                  <a:pt x="1030" y="78"/>
                </a:cubicBezTo>
                <a:cubicBezTo>
                  <a:pt x="1030" y="78"/>
                  <a:pt x="1030" y="78"/>
                  <a:pt x="1030" y="78"/>
                </a:cubicBezTo>
                <a:cubicBezTo>
                  <a:pt x="1030" y="79"/>
                  <a:pt x="1030" y="79"/>
                  <a:pt x="1030" y="80"/>
                </a:cubicBezTo>
                <a:cubicBezTo>
                  <a:pt x="1030" y="80"/>
                  <a:pt x="1030" y="80"/>
                  <a:pt x="1030" y="80"/>
                </a:cubicBezTo>
                <a:cubicBezTo>
                  <a:pt x="1031" y="80"/>
                  <a:pt x="1030" y="81"/>
                  <a:pt x="1031" y="81"/>
                </a:cubicBezTo>
                <a:cubicBezTo>
                  <a:pt x="1031" y="81"/>
                  <a:pt x="1031" y="81"/>
                  <a:pt x="1031" y="81"/>
                </a:cubicBezTo>
                <a:cubicBezTo>
                  <a:pt x="1031" y="82"/>
                  <a:pt x="1031" y="82"/>
                  <a:pt x="1031" y="82"/>
                </a:cubicBezTo>
                <a:cubicBezTo>
                  <a:pt x="1031" y="82"/>
                  <a:pt x="1031" y="82"/>
                  <a:pt x="1031" y="82"/>
                </a:cubicBezTo>
                <a:cubicBezTo>
                  <a:pt x="1031" y="83"/>
                  <a:pt x="1031" y="83"/>
                  <a:pt x="1031" y="83"/>
                </a:cubicBezTo>
                <a:cubicBezTo>
                  <a:pt x="1031" y="83"/>
                  <a:pt x="1031" y="83"/>
                  <a:pt x="1031" y="83"/>
                </a:cubicBezTo>
                <a:cubicBezTo>
                  <a:pt x="1031" y="83"/>
                  <a:pt x="1031" y="83"/>
                  <a:pt x="1031" y="83"/>
                </a:cubicBezTo>
                <a:cubicBezTo>
                  <a:pt x="1031" y="84"/>
                  <a:pt x="1031" y="84"/>
                  <a:pt x="1031" y="84"/>
                </a:cubicBezTo>
                <a:cubicBezTo>
                  <a:pt x="1032" y="84"/>
                  <a:pt x="1032" y="84"/>
                  <a:pt x="1032" y="84"/>
                </a:cubicBezTo>
                <a:cubicBezTo>
                  <a:pt x="1032" y="84"/>
                  <a:pt x="1032" y="84"/>
                  <a:pt x="1032" y="84"/>
                </a:cubicBezTo>
                <a:cubicBezTo>
                  <a:pt x="1032" y="85"/>
                  <a:pt x="1032" y="85"/>
                  <a:pt x="1032" y="85"/>
                </a:cubicBezTo>
                <a:cubicBezTo>
                  <a:pt x="1032" y="85"/>
                  <a:pt x="1032" y="85"/>
                  <a:pt x="1032" y="85"/>
                </a:cubicBezTo>
                <a:cubicBezTo>
                  <a:pt x="1032" y="86"/>
                  <a:pt x="1032" y="86"/>
                  <a:pt x="1032" y="86"/>
                </a:cubicBezTo>
                <a:cubicBezTo>
                  <a:pt x="1032" y="86"/>
                  <a:pt x="1032" y="86"/>
                  <a:pt x="1032" y="86"/>
                </a:cubicBezTo>
                <a:cubicBezTo>
                  <a:pt x="1033" y="86"/>
                  <a:pt x="1033" y="87"/>
                  <a:pt x="1033" y="87"/>
                </a:cubicBezTo>
                <a:cubicBezTo>
                  <a:pt x="1033" y="87"/>
                  <a:pt x="1033" y="87"/>
                  <a:pt x="1033" y="87"/>
                </a:cubicBezTo>
                <a:cubicBezTo>
                  <a:pt x="1033" y="87"/>
                  <a:pt x="1033" y="87"/>
                  <a:pt x="1033" y="87"/>
                </a:cubicBezTo>
                <a:cubicBezTo>
                  <a:pt x="1033" y="87"/>
                  <a:pt x="1033" y="87"/>
                  <a:pt x="1033" y="88"/>
                </a:cubicBezTo>
                <a:cubicBezTo>
                  <a:pt x="1033" y="88"/>
                  <a:pt x="1033" y="88"/>
                  <a:pt x="1033" y="88"/>
                </a:cubicBezTo>
                <a:cubicBezTo>
                  <a:pt x="1033" y="88"/>
                  <a:pt x="1033" y="88"/>
                  <a:pt x="1033" y="88"/>
                </a:cubicBezTo>
                <a:cubicBezTo>
                  <a:pt x="1033" y="88"/>
                  <a:pt x="1033" y="88"/>
                  <a:pt x="1033" y="88"/>
                </a:cubicBezTo>
                <a:cubicBezTo>
                  <a:pt x="1034" y="88"/>
                  <a:pt x="1034" y="88"/>
                  <a:pt x="1034" y="88"/>
                </a:cubicBezTo>
                <a:cubicBezTo>
                  <a:pt x="1034" y="88"/>
                  <a:pt x="1034" y="88"/>
                  <a:pt x="1034" y="88"/>
                </a:cubicBezTo>
                <a:cubicBezTo>
                  <a:pt x="1034" y="89"/>
                  <a:pt x="1034" y="89"/>
                  <a:pt x="1034" y="89"/>
                </a:cubicBezTo>
                <a:cubicBezTo>
                  <a:pt x="1034" y="89"/>
                  <a:pt x="1034" y="89"/>
                  <a:pt x="1034" y="89"/>
                </a:cubicBezTo>
                <a:cubicBezTo>
                  <a:pt x="1034" y="89"/>
                  <a:pt x="1034" y="90"/>
                  <a:pt x="1034" y="90"/>
                </a:cubicBezTo>
                <a:cubicBezTo>
                  <a:pt x="1034" y="90"/>
                  <a:pt x="1034" y="90"/>
                  <a:pt x="1034" y="90"/>
                </a:cubicBezTo>
                <a:cubicBezTo>
                  <a:pt x="1034" y="90"/>
                  <a:pt x="1034" y="90"/>
                  <a:pt x="1035" y="90"/>
                </a:cubicBezTo>
                <a:cubicBezTo>
                  <a:pt x="1035" y="90"/>
                  <a:pt x="1035" y="90"/>
                  <a:pt x="1035" y="90"/>
                </a:cubicBezTo>
                <a:cubicBezTo>
                  <a:pt x="1035" y="90"/>
                  <a:pt x="1035" y="91"/>
                  <a:pt x="1035" y="91"/>
                </a:cubicBezTo>
                <a:cubicBezTo>
                  <a:pt x="1035" y="91"/>
                  <a:pt x="1035" y="91"/>
                  <a:pt x="1035" y="91"/>
                </a:cubicBezTo>
                <a:cubicBezTo>
                  <a:pt x="1035" y="91"/>
                  <a:pt x="1035" y="91"/>
                  <a:pt x="1035" y="91"/>
                </a:cubicBezTo>
                <a:cubicBezTo>
                  <a:pt x="1035" y="91"/>
                  <a:pt x="1035" y="91"/>
                  <a:pt x="1035" y="91"/>
                </a:cubicBezTo>
                <a:cubicBezTo>
                  <a:pt x="1035" y="92"/>
                  <a:pt x="1035" y="92"/>
                  <a:pt x="1036" y="92"/>
                </a:cubicBezTo>
                <a:cubicBezTo>
                  <a:pt x="1036" y="92"/>
                  <a:pt x="1036" y="92"/>
                  <a:pt x="1036" y="92"/>
                </a:cubicBezTo>
                <a:cubicBezTo>
                  <a:pt x="1036" y="92"/>
                  <a:pt x="1036" y="92"/>
                  <a:pt x="1036" y="92"/>
                </a:cubicBezTo>
                <a:cubicBezTo>
                  <a:pt x="1036" y="92"/>
                  <a:pt x="1036" y="92"/>
                  <a:pt x="1036" y="92"/>
                </a:cubicBezTo>
                <a:cubicBezTo>
                  <a:pt x="1036" y="93"/>
                  <a:pt x="1036" y="93"/>
                  <a:pt x="1036" y="93"/>
                </a:cubicBezTo>
                <a:cubicBezTo>
                  <a:pt x="1036" y="93"/>
                  <a:pt x="1036" y="93"/>
                  <a:pt x="1036" y="93"/>
                </a:cubicBezTo>
                <a:cubicBezTo>
                  <a:pt x="1036" y="93"/>
                  <a:pt x="1036" y="93"/>
                  <a:pt x="1037" y="93"/>
                </a:cubicBezTo>
                <a:cubicBezTo>
                  <a:pt x="1037" y="93"/>
                  <a:pt x="1037" y="93"/>
                  <a:pt x="1037" y="93"/>
                </a:cubicBezTo>
                <a:cubicBezTo>
                  <a:pt x="1037" y="93"/>
                  <a:pt x="1037" y="93"/>
                  <a:pt x="1037" y="94"/>
                </a:cubicBezTo>
                <a:cubicBezTo>
                  <a:pt x="1037" y="94"/>
                  <a:pt x="1037" y="94"/>
                  <a:pt x="1037" y="94"/>
                </a:cubicBezTo>
                <a:cubicBezTo>
                  <a:pt x="1037" y="94"/>
                  <a:pt x="1037" y="94"/>
                  <a:pt x="1038" y="94"/>
                </a:cubicBezTo>
                <a:cubicBezTo>
                  <a:pt x="1038" y="94"/>
                  <a:pt x="1038" y="94"/>
                  <a:pt x="1038" y="94"/>
                </a:cubicBezTo>
                <a:cubicBezTo>
                  <a:pt x="1038" y="95"/>
                  <a:pt x="1038" y="95"/>
                  <a:pt x="1038" y="95"/>
                </a:cubicBezTo>
                <a:cubicBezTo>
                  <a:pt x="1038" y="95"/>
                  <a:pt x="1038" y="95"/>
                  <a:pt x="1038" y="95"/>
                </a:cubicBezTo>
                <a:cubicBezTo>
                  <a:pt x="1038" y="95"/>
                  <a:pt x="1038" y="95"/>
                  <a:pt x="1038" y="95"/>
                </a:cubicBezTo>
                <a:cubicBezTo>
                  <a:pt x="1038" y="95"/>
                  <a:pt x="1038" y="95"/>
                  <a:pt x="1038" y="95"/>
                </a:cubicBezTo>
                <a:cubicBezTo>
                  <a:pt x="1038" y="95"/>
                  <a:pt x="1039" y="95"/>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40" y="97"/>
                  <a:pt x="1040" y="97"/>
                  <a:pt x="1040" y="97"/>
                </a:cubicBezTo>
                <a:cubicBezTo>
                  <a:pt x="1040" y="97"/>
                  <a:pt x="1040" y="97"/>
                  <a:pt x="1040" y="97"/>
                </a:cubicBezTo>
                <a:cubicBezTo>
                  <a:pt x="1041" y="97"/>
                  <a:pt x="1041" y="97"/>
                  <a:pt x="1041" y="97"/>
                </a:cubicBezTo>
                <a:cubicBezTo>
                  <a:pt x="1041" y="97"/>
                  <a:pt x="1041" y="97"/>
                  <a:pt x="1041" y="97"/>
                </a:cubicBezTo>
                <a:cubicBezTo>
                  <a:pt x="1041" y="97"/>
                  <a:pt x="1041" y="98"/>
                  <a:pt x="1041" y="98"/>
                </a:cubicBezTo>
                <a:cubicBezTo>
                  <a:pt x="1041" y="98"/>
                  <a:pt x="1041" y="98"/>
                  <a:pt x="1041" y="98"/>
                </a:cubicBezTo>
                <a:cubicBezTo>
                  <a:pt x="1041" y="98"/>
                  <a:pt x="1042" y="98"/>
                  <a:pt x="1042" y="98"/>
                </a:cubicBezTo>
                <a:cubicBezTo>
                  <a:pt x="1042" y="98"/>
                  <a:pt x="1042" y="98"/>
                  <a:pt x="1042" y="98"/>
                </a:cubicBezTo>
                <a:cubicBezTo>
                  <a:pt x="1042" y="98"/>
                  <a:pt x="1042" y="98"/>
                  <a:pt x="1042" y="98"/>
                </a:cubicBezTo>
                <a:cubicBezTo>
                  <a:pt x="1042" y="98"/>
                  <a:pt x="1042" y="98"/>
                  <a:pt x="1042" y="98"/>
                </a:cubicBezTo>
                <a:cubicBezTo>
                  <a:pt x="1042" y="99"/>
                  <a:pt x="1043" y="98"/>
                  <a:pt x="1043" y="99"/>
                </a:cubicBezTo>
                <a:cubicBezTo>
                  <a:pt x="1043" y="99"/>
                  <a:pt x="1043" y="99"/>
                  <a:pt x="1043" y="99"/>
                </a:cubicBezTo>
                <a:cubicBezTo>
                  <a:pt x="1043" y="99"/>
                  <a:pt x="1043" y="99"/>
                  <a:pt x="1043" y="99"/>
                </a:cubicBezTo>
                <a:cubicBezTo>
                  <a:pt x="1043" y="99"/>
                  <a:pt x="1043" y="99"/>
                  <a:pt x="1043" y="99"/>
                </a:cubicBezTo>
                <a:cubicBezTo>
                  <a:pt x="1043" y="99"/>
                  <a:pt x="1044" y="99"/>
                  <a:pt x="1044" y="99"/>
                </a:cubicBezTo>
                <a:cubicBezTo>
                  <a:pt x="1044" y="99"/>
                  <a:pt x="1044" y="99"/>
                  <a:pt x="1044" y="99"/>
                </a:cubicBezTo>
                <a:cubicBezTo>
                  <a:pt x="1044" y="100"/>
                  <a:pt x="1044" y="100"/>
                  <a:pt x="1045" y="100"/>
                </a:cubicBezTo>
                <a:cubicBezTo>
                  <a:pt x="1045" y="100"/>
                  <a:pt x="1045" y="100"/>
                  <a:pt x="1045" y="100"/>
                </a:cubicBezTo>
                <a:cubicBezTo>
                  <a:pt x="1045" y="100"/>
                  <a:pt x="1045" y="100"/>
                  <a:pt x="1045" y="100"/>
                </a:cubicBezTo>
                <a:cubicBezTo>
                  <a:pt x="1045" y="100"/>
                  <a:pt x="1045" y="100"/>
                  <a:pt x="1045" y="100"/>
                </a:cubicBezTo>
                <a:cubicBezTo>
                  <a:pt x="1045" y="100"/>
                  <a:pt x="1045" y="100"/>
                  <a:pt x="1045" y="100"/>
                </a:cubicBezTo>
                <a:cubicBezTo>
                  <a:pt x="1045" y="100"/>
                  <a:pt x="1046" y="100"/>
                  <a:pt x="1046" y="100"/>
                </a:cubicBezTo>
                <a:cubicBezTo>
                  <a:pt x="1046" y="100"/>
                  <a:pt x="1046" y="100"/>
                  <a:pt x="1046" y="100"/>
                </a:cubicBezTo>
                <a:cubicBezTo>
                  <a:pt x="1046" y="100"/>
                  <a:pt x="1046" y="100"/>
                  <a:pt x="1046" y="100"/>
                </a:cubicBezTo>
                <a:cubicBezTo>
                  <a:pt x="1046" y="101"/>
                  <a:pt x="1047" y="101"/>
                  <a:pt x="1047" y="101"/>
                </a:cubicBezTo>
                <a:cubicBezTo>
                  <a:pt x="1047" y="101"/>
                  <a:pt x="1047" y="101"/>
                  <a:pt x="1047" y="101"/>
                </a:cubicBezTo>
                <a:cubicBezTo>
                  <a:pt x="1047" y="101"/>
                  <a:pt x="1047" y="101"/>
                  <a:pt x="1047" y="101"/>
                </a:cubicBezTo>
                <a:cubicBezTo>
                  <a:pt x="1047" y="101"/>
                  <a:pt x="1047" y="101"/>
                  <a:pt x="1047" y="101"/>
                </a:cubicBezTo>
                <a:cubicBezTo>
                  <a:pt x="1048" y="102"/>
                  <a:pt x="1048" y="101"/>
                  <a:pt x="1048" y="101"/>
                </a:cubicBezTo>
                <a:cubicBezTo>
                  <a:pt x="1048" y="101"/>
                  <a:pt x="1048" y="101"/>
                  <a:pt x="1048" y="101"/>
                </a:cubicBezTo>
                <a:cubicBezTo>
                  <a:pt x="1049" y="102"/>
                  <a:pt x="1049" y="102"/>
                  <a:pt x="1050" y="102"/>
                </a:cubicBezTo>
                <a:cubicBezTo>
                  <a:pt x="1049" y="102"/>
                  <a:pt x="1049" y="102"/>
                  <a:pt x="1049" y="102"/>
                </a:cubicBezTo>
                <a:cubicBezTo>
                  <a:pt x="1050" y="102"/>
                  <a:pt x="1050" y="102"/>
                  <a:pt x="1051" y="102"/>
                </a:cubicBezTo>
                <a:cubicBezTo>
                  <a:pt x="1051" y="102"/>
                  <a:pt x="1051" y="102"/>
                  <a:pt x="1051" y="102"/>
                </a:cubicBezTo>
                <a:cubicBezTo>
                  <a:pt x="1051" y="102"/>
                  <a:pt x="1051" y="102"/>
                  <a:pt x="1051" y="102"/>
                </a:cubicBezTo>
                <a:cubicBezTo>
                  <a:pt x="1051" y="103"/>
                  <a:pt x="1052" y="102"/>
                  <a:pt x="1052" y="103"/>
                </a:cubicBezTo>
                <a:cubicBezTo>
                  <a:pt x="1052" y="102"/>
                  <a:pt x="1052" y="102"/>
                  <a:pt x="1052" y="102"/>
                </a:cubicBezTo>
                <a:cubicBezTo>
                  <a:pt x="1053" y="103"/>
                  <a:pt x="1053" y="103"/>
                  <a:pt x="1053" y="103"/>
                </a:cubicBezTo>
                <a:cubicBezTo>
                  <a:pt x="1053" y="103"/>
                  <a:pt x="1054" y="103"/>
                  <a:pt x="1054" y="103"/>
                </a:cubicBezTo>
                <a:cubicBezTo>
                  <a:pt x="1054" y="103"/>
                  <a:pt x="1055" y="103"/>
                  <a:pt x="1055" y="103"/>
                </a:cubicBezTo>
                <a:cubicBezTo>
                  <a:pt x="1056" y="103"/>
                  <a:pt x="1057" y="103"/>
                  <a:pt x="1058" y="103"/>
                </a:cubicBezTo>
                <a:cubicBezTo>
                  <a:pt x="1059" y="103"/>
                  <a:pt x="1060" y="103"/>
                  <a:pt x="1062" y="103"/>
                </a:cubicBezTo>
                <a:cubicBezTo>
                  <a:pt x="1063" y="103"/>
                  <a:pt x="1064" y="103"/>
                  <a:pt x="1066" y="103"/>
                </a:cubicBezTo>
                <a:close/>
                <a:moveTo>
                  <a:pt x="749" y="83"/>
                </a:moveTo>
                <a:cubicBezTo>
                  <a:pt x="749" y="83"/>
                  <a:pt x="749" y="83"/>
                  <a:pt x="749" y="83"/>
                </a:cubicBezTo>
                <a:cubicBezTo>
                  <a:pt x="749" y="83"/>
                  <a:pt x="749" y="84"/>
                  <a:pt x="749" y="84"/>
                </a:cubicBezTo>
                <a:cubicBezTo>
                  <a:pt x="749" y="84"/>
                  <a:pt x="749" y="84"/>
                  <a:pt x="749" y="84"/>
                </a:cubicBezTo>
                <a:cubicBezTo>
                  <a:pt x="750" y="84"/>
                  <a:pt x="750" y="85"/>
                  <a:pt x="750" y="85"/>
                </a:cubicBezTo>
                <a:cubicBezTo>
                  <a:pt x="750" y="85"/>
                  <a:pt x="750" y="85"/>
                  <a:pt x="750" y="85"/>
                </a:cubicBezTo>
                <a:cubicBezTo>
                  <a:pt x="750" y="85"/>
                  <a:pt x="750" y="85"/>
                  <a:pt x="750" y="85"/>
                </a:cubicBezTo>
                <a:cubicBezTo>
                  <a:pt x="750" y="85"/>
                  <a:pt x="750" y="86"/>
                  <a:pt x="750" y="86"/>
                </a:cubicBezTo>
                <a:cubicBezTo>
                  <a:pt x="750" y="86"/>
                  <a:pt x="750" y="86"/>
                  <a:pt x="750" y="86"/>
                </a:cubicBezTo>
                <a:cubicBezTo>
                  <a:pt x="750" y="86"/>
                  <a:pt x="750" y="86"/>
                  <a:pt x="750" y="87"/>
                </a:cubicBezTo>
                <a:cubicBezTo>
                  <a:pt x="750" y="87"/>
                  <a:pt x="750" y="87"/>
                  <a:pt x="750" y="87"/>
                </a:cubicBezTo>
                <a:cubicBezTo>
                  <a:pt x="751" y="87"/>
                  <a:pt x="751" y="87"/>
                  <a:pt x="751" y="87"/>
                </a:cubicBezTo>
                <a:cubicBezTo>
                  <a:pt x="751" y="87"/>
                  <a:pt x="751" y="87"/>
                  <a:pt x="751" y="87"/>
                </a:cubicBezTo>
                <a:cubicBezTo>
                  <a:pt x="751" y="87"/>
                  <a:pt x="751" y="87"/>
                  <a:pt x="751" y="87"/>
                </a:cubicBezTo>
                <a:cubicBezTo>
                  <a:pt x="751" y="88"/>
                  <a:pt x="751" y="88"/>
                  <a:pt x="751" y="88"/>
                </a:cubicBezTo>
                <a:cubicBezTo>
                  <a:pt x="751" y="88"/>
                  <a:pt x="751" y="88"/>
                  <a:pt x="751" y="88"/>
                </a:cubicBezTo>
                <a:cubicBezTo>
                  <a:pt x="751" y="88"/>
                  <a:pt x="751" y="88"/>
                  <a:pt x="751" y="88"/>
                </a:cubicBezTo>
                <a:cubicBezTo>
                  <a:pt x="751" y="88"/>
                  <a:pt x="751" y="88"/>
                  <a:pt x="751" y="89"/>
                </a:cubicBezTo>
                <a:cubicBezTo>
                  <a:pt x="751" y="89"/>
                  <a:pt x="751" y="89"/>
                  <a:pt x="751" y="89"/>
                </a:cubicBezTo>
                <a:cubicBezTo>
                  <a:pt x="752" y="89"/>
                  <a:pt x="752" y="89"/>
                  <a:pt x="752" y="89"/>
                </a:cubicBezTo>
                <a:cubicBezTo>
                  <a:pt x="752" y="89"/>
                  <a:pt x="752" y="89"/>
                  <a:pt x="752" y="89"/>
                </a:cubicBezTo>
                <a:cubicBezTo>
                  <a:pt x="752" y="90"/>
                  <a:pt x="752" y="90"/>
                  <a:pt x="752" y="90"/>
                </a:cubicBezTo>
                <a:cubicBezTo>
                  <a:pt x="752" y="90"/>
                  <a:pt x="752" y="90"/>
                  <a:pt x="752" y="90"/>
                </a:cubicBezTo>
                <a:cubicBezTo>
                  <a:pt x="752" y="90"/>
                  <a:pt x="753" y="91"/>
                  <a:pt x="753" y="91"/>
                </a:cubicBezTo>
                <a:cubicBezTo>
                  <a:pt x="753" y="91"/>
                  <a:pt x="753" y="91"/>
                  <a:pt x="753" y="91"/>
                </a:cubicBezTo>
                <a:cubicBezTo>
                  <a:pt x="753" y="91"/>
                  <a:pt x="753" y="92"/>
                  <a:pt x="754" y="92"/>
                </a:cubicBezTo>
                <a:cubicBezTo>
                  <a:pt x="754" y="92"/>
                  <a:pt x="754" y="92"/>
                  <a:pt x="754" y="92"/>
                </a:cubicBezTo>
                <a:cubicBezTo>
                  <a:pt x="754" y="92"/>
                  <a:pt x="754" y="92"/>
                  <a:pt x="754" y="92"/>
                </a:cubicBezTo>
                <a:cubicBezTo>
                  <a:pt x="754" y="92"/>
                  <a:pt x="754" y="92"/>
                  <a:pt x="754" y="92"/>
                </a:cubicBezTo>
                <a:cubicBezTo>
                  <a:pt x="754" y="93"/>
                  <a:pt x="754" y="93"/>
                  <a:pt x="755" y="93"/>
                </a:cubicBezTo>
                <a:cubicBezTo>
                  <a:pt x="755" y="93"/>
                  <a:pt x="755" y="93"/>
                  <a:pt x="755" y="93"/>
                </a:cubicBezTo>
                <a:cubicBezTo>
                  <a:pt x="755" y="94"/>
                  <a:pt x="755" y="94"/>
                  <a:pt x="755" y="94"/>
                </a:cubicBezTo>
                <a:cubicBezTo>
                  <a:pt x="755" y="94"/>
                  <a:pt x="755" y="94"/>
                  <a:pt x="755" y="94"/>
                </a:cubicBezTo>
                <a:cubicBezTo>
                  <a:pt x="755" y="94"/>
                  <a:pt x="755" y="94"/>
                  <a:pt x="755" y="94"/>
                </a:cubicBezTo>
                <a:cubicBezTo>
                  <a:pt x="755" y="94"/>
                  <a:pt x="755" y="94"/>
                  <a:pt x="755" y="94"/>
                </a:cubicBezTo>
                <a:cubicBezTo>
                  <a:pt x="755" y="94"/>
                  <a:pt x="756" y="94"/>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7" y="95"/>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8" y="96"/>
                  <a:pt x="758" y="97"/>
                  <a:pt x="758" y="97"/>
                </a:cubicBezTo>
                <a:cubicBezTo>
                  <a:pt x="758" y="97"/>
                  <a:pt x="758" y="97"/>
                  <a:pt x="758" y="97"/>
                </a:cubicBezTo>
                <a:cubicBezTo>
                  <a:pt x="758" y="97"/>
                  <a:pt x="758" y="97"/>
                  <a:pt x="758" y="97"/>
                </a:cubicBezTo>
                <a:cubicBezTo>
                  <a:pt x="758" y="97"/>
                  <a:pt x="758" y="97"/>
                  <a:pt x="758" y="97"/>
                </a:cubicBezTo>
                <a:cubicBezTo>
                  <a:pt x="758" y="97"/>
                  <a:pt x="759" y="97"/>
                  <a:pt x="759" y="98"/>
                </a:cubicBezTo>
                <a:cubicBezTo>
                  <a:pt x="759" y="98"/>
                  <a:pt x="759" y="98"/>
                  <a:pt x="759" y="98"/>
                </a:cubicBezTo>
                <a:cubicBezTo>
                  <a:pt x="759" y="98"/>
                  <a:pt x="759" y="98"/>
                  <a:pt x="760" y="98"/>
                </a:cubicBezTo>
                <a:cubicBezTo>
                  <a:pt x="760" y="98"/>
                  <a:pt x="760" y="98"/>
                  <a:pt x="760" y="98"/>
                </a:cubicBezTo>
                <a:cubicBezTo>
                  <a:pt x="760" y="98"/>
                  <a:pt x="760" y="98"/>
                  <a:pt x="761" y="99"/>
                </a:cubicBezTo>
                <a:cubicBezTo>
                  <a:pt x="761" y="99"/>
                  <a:pt x="761" y="99"/>
                  <a:pt x="761" y="99"/>
                </a:cubicBezTo>
                <a:cubicBezTo>
                  <a:pt x="761" y="99"/>
                  <a:pt x="761" y="99"/>
                  <a:pt x="761" y="99"/>
                </a:cubicBezTo>
                <a:cubicBezTo>
                  <a:pt x="761" y="99"/>
                  <a:pt x="761" y="99"/>
                  <a:pt x="761" y="99"/>
                </a:cubicBezTo>
                <a:cubicBezTo>
                  <a:pt x="761" y="99"/>
                  <a:pt x="761" y="99"/>
                  <a:pt x="762" y="99"/>
                </a:cubicBezTo>
                <a:cubicBezTo>
                  <a:pt x="762" y="99"/>
                  <a:pt x="762" y="99"/>
                  <a:pt x="762" y="99"/>
                </a:cubicBezTo>
                <a:cubicBezTo>
                  <a:pt x="762" y="100"/>
                  <a:pt x="762" y="100"/>
                  <a:pt x="762" y="100"/>
                </a:cubicBezTo>
                <a:cubicBezTo>
                  <a:pt x="762" y="100"/>
                  <a:pt x="762" y="100"/>
                  <a:pt x="762" y="100"/>
                </a:cubicBezTo>
                <a:cubicBezTo>
                  <a:pt x="762" y="100"/>
                  <a:pt x="763" y="100"/>
                  <a:pt x="763" y="100"/>
                </a:cubicBezTo>
                <a:cubicBezTo>
                  <a:pt x="763" y="100"/>
                  <a:pt x="763" y="100"/>
                  <a:pt x="763" y="100"/>
                </a:cubicBezTo>
                <a:cubicBezTo>
                  <a:pt x="763" y="100"/>
                  <a:pt x="764" y="100"/>
                  <a:pt x="764" y="100"/>
                </a:cubicBezTo>
                <a:cubicBezTo>
                  <a:pt x="764" y="100"/>
                  <a:pt x="764" y="100"/>
                  <a:pt x="764" y="100"/>
                </a:cubicBezTo>
                <a:cubicBezTo>
                  <a:pt x="764" y="101"/>
                  <a:pt x="764" y="101"/>
                  <a:pt x="764" y="101"/>
                </a:cubicBezTo>
                <a:cubicBezTo>
                  <a:pt x="764" y="101"/>
                  <a:pt x="764" y="101"/>
                  <a:pt x="764" y="101"/>
                </a:cubicBezTo>
                <a:cubicBezTo>
                  <a:pt x="765" y="101"/>
                  <a:pt x="765" y="101"/>
                  <a:pt x="765" y="101"/>
                </a:cubicBezTo>
                <a:cubicBezTo>
                  <a:pt x="765" y="101"/>
                  <a:pt x="765" y="101"/>
                  <a:pt x="765" y="101"/>
                </a:cubicBezTo>
                <a:cubicBezTo>
                  <a:pt x="766" y="101"/>
                  <a:pt x="766" y="101"/>
                  <a:pt x="766" y="101"/>
                </a:cubicBezTo>
                <a:cubicBezTo>
                  <a:pt x="766" y="101"/>
                  <a:pt x="766" y="101"/>
                  <a:pt x="766" y="101"/>
                </a:cubicBezTo>
                <a:cubicBezTo>
                  <a:pt x="766" y="102"/>
                  <a:pt x="766" y="102"/>
                  <a:pt x="766" y="102"/>
                </a:cubicBezTo>
                <a:cubicBezTo>
                  <a:pt x="767" y="102"/>
                  <a:pt x="767" y="102"/>
                  <a:pt x="767" y="102"/>
                </a:cubicBezTo>
                <a:cubicBezTo>
                  <a:pt x="767" y="102"/>
                  <a:pt x="767" y="102"/>
                  <a:pt x="767" y="102"/>
                </a:cubicBezTo>
                <a:cubicBezTo>
                  <a:pt x="768" y="102"/>
                  <a:pt x="768" y="102"/>
                  <a:pt x="768" y="102"/>
                </a:cubicBezTo>
                <a:cubicBezTo>
                  <a:pt x="768" y="102"/>
                  <a:pt x="768" y="102"/>
                  <a:pt x="769" y="102"/>
                </a:cubicBezTo>
                <a:cubicBezTo>
                  <a:pt x="769" y="102"/>
                  <a:pt x="769" y="102"/>
                  <a:pt x="769" y="102"/>
                </a:cubicBezTo>
                <a:cubicBezTo>
                  <a:pt x="769" y="102"/>
                  <a:pt x="769" y="102"/>
                  <a:pt x="769" y="102"/>
                </a:cubicBezTo>
                <a:cubicBezTo>
                  <a:pt x="769" y="102"/>
                  <a:pt x="770" y="102"/>
                  <a:pt x="770" y="103"/>
                </a:cubicBezTo>
                <a:cubicBezTo>
                  <a:pt x="770" y="102"/>
                  <a:pt x="770" y="102"/>
                  <a:pt x="770" y="102"/>
                </a:cubicBezTo>
                <a:cubicBezTo>
                  <a:pt x="770" y="103"/>
                  <a:pt x="770" y="103"/>
                  <a:pt x="770" y="103"/>
                </a:cubicBezTo>
                <a:cubicBezTo>
                  <a:pt x="771" y="103"/>
                  <a:pt x="772" y="103"/>
                  <a:pt x="772" y="103"/>
                </a:cubicBezTo>
                <a:cubicBezTo>
                  <a:pt x="772" y="103"/>
                  <a:pt x="773" y="103"/>
                  <a:pt x="773" y="103"/>
                </a:cubicBezTo>
                <a:cubicBezTo>
                  <a:pt x="774" y="103"/>
                  <a:pt x="775" y="103"/>
                  <a:pt x="776" y="103"/>
                </a:cubicBezTo>
                <a:cubicBezTo>
                  <a:pt x="777" y="103"/>
                  <a:pt x="778" y="103"/>
                  <a:pt x="779" y="103"/>
                </a:cubicBezTo>
                <a:cubicBezTo>
                  <a:pt x="781" y="103"/>
                  <a:pt x="782" y="103"/>
                  <a:pt x="784" y="103"/>
                </a:cubicBezTo>
                <a:cubicBezTo>
                  <a:pt x="784" y="103"/>
                  <a:pt x="784" y="103"/>
                  <a:pt x="784" y="103"/>
                </a:cubicBezTo>
                <a:cubicBezTo>
                  <a:pt x="785" y="103"/>
                  <a:pt x="786" y="103"/>
                  <a:pt x="786" y="103"/>
                </a:cubicBezTo>
                <a:cubicBezTo>
                  <a:pt x="786" y="102"/>
                  <a:pt x="786" y="102"/>
                  <a:pt x="786" y="102"/>
                </a:cubicBezTo>
                <a:cubicBezTo>
                  <a:pt x="787" y="103"/>
                  <a:pt x="787" y="103"/>
                  <a:pt x="787" y="103"/>
                </a:cubicBezTo>
                <a:cubicBezTo>
                  <a:pt x="787" y="102"/>
                  <a:pt x="788" y="103"/>
                  <a:pt x="788" y="102"/>
                </a:cubicBezTo>
                <a:cubicBezTo>
                  <a:pt x="788" y="102"/>
                  <a:pt x="788" y="102"/>
                  <a:pt x="788" y="102"/>
                </a:cubicBezTo>
                <a:cubicBezTo>
                  <a:pt x="789" y="102"/>
                  <a:pt x="789" y="102"/>
                  <a:pt x="789" y="102"/>
                </a:cubicBezTo>
                <a:cubicBezTo>
                  <a:pt x="789" y="102"/>
                  <a:pt x="789" y="102"/>
                  <a:pt x="790" y="102"/>
                </a:cubicBezTo>
                <a:cubicBezTo>
                  <a:pt x="790" y="102"/>
                  <a:pt x="790" y="102"/>
                  <a:pt x="790" y="102"/>
                </a:cubicBezTo>
                <a:cubicBezTo>
                  <a:pt x="790" y="102"/>
                  <a:pt x="790" y="102"/>
                  <a:pt x="790" y="102"/>
                </a:cubicBezTo>
                <a:cubicBezTo>
                  <a:pt x="790" y="102"/>
                  <a:pt x="791" y="102"/>
                  <a:pt x="791" y="101"/>
                </a:cubicBezTo>
                <a:cubicBezTo>
                  <a:pt x="791" y="102"/>
                  <a:pt x="791" y="102"/>
                  <a:pt x="791" y="102"/>
                </a:cubicBezTo>
                <a:cubicBezTo>
                  <a:pt x="791" y="101"/>
                  <a:pt x="792" y="101"/>
                  <a:pt x="792" y="101"/>
                </a:cubicBezTo>
                <a:cubicBezTo>
                  <a:pt x="792" y="101"/>
                  <a:pt x="792" y="101"/>
                  <a:pt x="792" y="101"/>
                </a:cubicBezTo>
                <a:cubicBezTo>
                  <a:pt x="792" y="101"/>
                  <a:pt x="792" y="101"/>
                  <a:pt x="792" y="101"/>
                </a:cubicBezTo>
                <a:cubicBezTo>
                  <a:pt x="793" y="101"/>
                  <a:pt x="793" y="101"/>
                  <a:pt x="793" y="101"/>
                </a:cubicBezTo>
                <a:cubicBezTo>
                  <a:pt x="793" y="101"/>
                  <a:pt x="793" y="101"/>
                  <a:pt x="793" y="101"/>
                </a:cubicBezTo>
                <a:cubicBezTo>
                  <a:pt x="794" y="100"/>
                  <a:pt x="794" y="101"/>
                  <a:pt x="794" y="100"/>
                </a:cubicBezTo>
                <a:cubicBezTo>
                  <a:pt x="794" y="100"/>
                  <a:pt x="794" y="100"/>
                  <a:pt x="794" y="100"/>
                </a:cubicBezTo>
                <a:cubicBezTo>
                  <a:pt x="794" y="100"/>
                  <a:pt x="795" y="100"/>
                  <a:pt x="795" y="100"/>
                </a:cubicBezTo>
                <a:cubicBezTo>
                  <a:pt x="795" y="100"/>
                  <a:pt x="795" y="100"/>
                  <a:pt x="795" y="100"/>
                </a:cubicBezTo>
                <a:cubicBezTo>
                  <a:pt x="795" y="100"/>
                  <a:pt x="795" y="100"/>
                  <a:pt x="795" y="100"/>
                </a:cubicBezTo>
                <a:cubicBezTo>
                  <a:pt x="795" y="100"/>
                  <a:pt x="796" y="100"/>
                  <a:pt x="796" y="100"/>
                </a:cubicBezTo>
                <a:cubicBezTo>
                  <a:pt x="796" y="100"/>
                  <a:pt x="796" y="100"/>
                  <a:pt x="796" y="100"/>
                </a:cubicBezTo>
                <a:cubicBezTo>
                  <a:pt x="796" y="100"/>
                  <a:pt x="797" y="100"/>
                  <a:pt x="797" y="99"/>
                </a:cubicBezTo>
                <a:cubicBezTo>
                  <a:pt x="797" y="99"/>
                  <a:pt x="797" y="99"/>
                  <a:pt x="797" y="99"/>
                </a:cubicBezTo>
                <a:cubicBezTo>
                  <a:pt x="797" y="99"/>
                  <a:pt x="797" y="99"/>
                  <a:pt x="797" y="99"/>
                </a:cubicBezTo>
                <a:cubicBezTo>
                  <a:pt x="797" y="99"/>
                  <a:pt x="797" y="99"/>
                  <a:pt x="797" y="99"/>
                </a:cubicBezTo>
                <a:cubicBezTo>
                  <a:pt x="798" y="99"/>
                  <a:pt x="798" y="99"/>
                  <a:pt x="798" y="99"/>
                </a:cubicBezTo>
                <a:cubicBezTo>
                  <a:pt x="798" y="99"/>
                  <a:pt x="798" y="99"/>
                  <a:pt x="798" y="99"/>
                </a:cubicBezTo>
                <a:cubicBezTo>
                  <a:pt x="798" y="99"/>
                  <a:pt x="798" y="98"/>
                  <a:pt x="798" y="98"/>
                </a:cubicBezTo>
                <a:cubicBezTo>
                  <a:pt x="799" y="98"/>
                  <a:pt x="799" y="98"/>
                  <a:pt x="799" y="98"/>
                </a:cubicBezTo>
                <a:cubicBezTo>
                  <a:pt x="799" y="98"/>
                  <a:pt x="799" y="98"/>
                  <a:pt x="799" y="98"/>
                </a:cubicBezTo>
                <a:cubicBezTo>
                  <a:pt x="799" y="98"/>
                  <a:pt x="799" y="98"/>
                  <a:pt x="799" y="98"/>
                </a:cubicBezTo>
                <a:cubicBezTo>
                  <a:pt x="799" y="98"/>
                  <a:pt x="800" y="98"/>
                  <a:pt x="800" y="98"/>
                </a:cubicBezTo>
                <a:cubicBezTo>
                  <a:pt x="800" y="98"/>
                  <a:pt x="800" y="98"/>
                  <a:pt x="800" y="98"/>
                </a:cubicBezTo>
                <a:cubicBezTo>
                  <a:pt x="800" y="98"/>
                  <a:pt x="800" y="97"/>
                  <a:pt x="800" y="97"/>
                </a:cubicBezTo>
                <a:cubicBezTo>
                  <a:pt x="800" y="97"/>
                  <a:pt x="800" y="97"/>
                  <a:pt x="800" y="97"/>
                </a:cubicBezTo>
                <a:cubicBezTo>
                  <a:pt x="801" y="97"/>
                  <a:pt x="801" y="96"/>
                  <a:pt x="801" y="96"/>
                </a:cubicBezTo>
                <a:cubicBezTo>
                  <a:pt x="801" y="93"/>
                  <a:pt x="801" y="90"/>
                  <a:pt x="801" y="87"/>
                </a:cubicBezTo>
                <a:cubicBezTo>
                  <a:pt x="801" y="87"/>
                  <a:pt x="801" y="87"/>
                  <a:pt x="801" y="87"/>
                </a:cubicBezTo>
                <a:cubicBezTo>
                  <a:pt x="801" y="87"/>
                  <a:pt x="801" y="87"/>
                  <a:pt x="801" y="87"/>
                </a:cubicBezTo>
                <a:cubicBezTo>
                  <a:pt x="800" y="87"/>
                  <a:pt x="800" y="87"/>
                  <a:pt x="800" y="87"/>
                </a:cubicBezTo>
                <a:cubicBezTo>
                  <a:pt x="800" y="87"/>
                  <a:pt x="800" y="87"/>
                  <a:pt x="800" y="87"/>
                </a:cubicBezTo>
                <a:cubicBezTo>
                  <a:pt x="800" y="87"/>
                  <a:pt x="800" y="87"/>
                  <a:pt x="800" y="87"/>
                </a:cubicBezTo>
                <a:cubicBezTo>
                  <a:pt x="800" y="87"/>
                  <a:pt x="800" y="87"/>
                  <a:pt x="800" y="87"/>
                </a:cubicBezTo>
                <a:cubicBezTo>
                  <a:pt x="800" y="87"/>
                  <a:pt x="799" y="87"/>
                  <a:pt x="799" y="88"/>
                </a:cubicBezTo>
                <a:cubicBezTo>
                  <a:pt x="799" y="88"/>
                  <a:pt x="799" y="88"/>
                  <a:pt x="799" y="88"/>
                </a:cubicBezTo>
                <a:cubicBezTo>
                  <a:pt x="799" y="88"/>
                  <a:pt x="799" y="88"/>
                  <a:pt x="799" y="88"/>
                </a:cubicBezTo>
                <a:cubicBezTo>
                  <a:pt x="799" y="88"/>
                  <a:pt x="799" y="88"/>
                  <a:pt x="799" y="88"/>
                </a:cubicBezTo>
                <a:cubicBezTo>
                  <a:pt x="799" y="88"/>
                  <a:pt x="798" y="88"/>
                  <a:pt x="798" y="88"/>
                </a:cubicBezTo>
                <a:cubicBezTo>
                  <a:pt x="798" y="88"/>
                  <a:pt x="798" y="88"/>
                  <a:pt x="798" y="88"/>
                </a:cubicBezTo>
                <a:cubicBezTo>
                  <a:pt x="798" y="88"/>
                  <a:pt x="798" y="89"/>
                  <a:pt x="798" y="89"/>
                </a:cubicBezTo>
                <a:cubicBezTo>
                  <a:pt x="798" y="89"/>
                  <a:pt x="798" y="89"/>
                  <a:pt x="798" y="89"/>
                </a:cubicBezTo>
                <a:cubicBezTo>
                  <a:pt x="798" y="89"/>
                  <a:pt x="797" y="89"/>
                  <a:pt x="797" y="89"/>
                </a:cubicBezTo>
                <a:cubicBezTo>
                  <a:pt x="797" y="89"/>
                  <a:pt x="797" y="89"/>
                  <a:pt x="797" y="89"/>
                </a:cubicBezTo>
                <a:cubicBezTo>
                  <a:pt x="797" y="89"/>
                  <a:pt x="797" y="89"/>
                  <a:pt x="797" y="89"/>
                </a:cubicBezTo>
                <a:cubicBezTo>
                  <a:pt x="797" y="89"/>
                  <a:pt x="797" y="89"/>
                  <a:pt x="797" y="89"/>
                </a:cubicBezTo>
                <a:cubicBezTo>
                  <a:pt x="797" y="90"/>
                  <a:pt x="796" y="89"/>
                  <a:pt x="796" y="90"/>
                </a:cubicBezTo>
                <a:cubicBezTo>
                  <a:pt x="796" y="90"/>
                  <a:pt x="796" y="90"/>
                  <a:pt x="796" y="90"/>
                </a:cubicBezTo>
                <a:cubicBezTo>
                  <a:pt x="796" y="90"/>
                  <a:pt x="796" y="90"/>
                  <a:pt x="795" y="90"/>
                </a:cubicBezTo>
                <a:cubicBezTo>
                  <a:pt x="795" y="90"/>
                  <a:pt x="795" y="90"/>
                  <a:pt x="795" y="90"/>
                </a:cubicBezTo>
                <a:cubicBezTo>
                  <a:pt x="795" y="90"/>
                  <a:pt x="795" y="90"/>
                  <a:pt x="795" y="90"/>
                </a:cubicBezTo>
                <a:cubicBezTo>
                  <a:pt x="795" y="90"/>
                  <a:pt x="795" y="90"/>
                  <a:pt x="795" y="90"/>
                </a:cubicBezTo>
                <a:cubicBezTo>
                  <a:pt x="794" y="91"/>
                  <a:pt x="794" y="91"/>
                  <a:pt x="794" y="91"/>
                </a:cubicBezTo>
                <a:cubicBezTo>
                  <a:pt x="794" y="91"/>
                  <a:pt x="794" y="91"/>
                  <a:pt x="794" y="91"/>
                </a:cubicBezTo>
                <a:cubicBezTo>
                  <a:pt x="794" y="91"/>
                  <a:pt x="793" y="91"/>
                  <a:pt x="793" y="91"/>
                </a:cubicBezTo>
                <a:cubicBezTo>
                  <a:pt x="793" y="91"/>
                  <a:pt x="793" y="91"/>
                  <a:pt x="793" y="91"/>
                </a:cubicBezTo>
                <a:cubicBezTo>
                  <a:pt x="793" y="91"/>
                  <a:pt x="793" y="91"/>
                  <a:pt x="793" y="91"/>
                </a:cubicBezTo>
                <a:cubicBezTo>
                  <a:pt x="793" y="91"/>
                  <a:pt x="792" y="92"/>
                  <a:pt x="792" y="91"/>
                </a:cubicBezTo>
                <a:cubicBezTo>
                  <a:pt x="792" y="92"/>
                  <a:pt x="792" y="92"/>
                  <a:pt x="792" y="92"/>
                </a:cubicBezTo>
                <a:cubicBezTo>
                  <a:pt x="792" y="92"/>
                  <a:pt x="792" y="92"/>
                  <a:pt x="792" y="92"/>
                </a:cubicBezTo>
                <a:cubicBezTo>
                  <a:pt x="791" y="92"/>
                  <a:pt x="791" y="92"/>
                  <a:pt x="791" y="92"/>
                </a:cubicBezTo>
                <a:cubicBezTo>
                  <a:pt x="791" y="92"/>
                  <a:pt x="791" y="92"/>
                  <a:pt x="791" y="92"/>
                </a:cubicBezTo>
                <a:cubicBezTo>
                  <a:pt x="790" y="92"/>
                  <a:pt x="790" y="92"/>
                  <a:pt x="789" y="92"/>
                </a:cubicBezTo>
                <a:cubicBezTo>
                  <a:pt x="789" y="92"/>
                  <a:pt x="789" y="92"/>
                  <a:pt x="789" y="92"/>
                </a:cubicBezTo>
                <a:cubicBezTo>
                  <a:pt x="789" y="93"/>
                  <a:pt x="789" y="93"/>
                  <a:pt x="788" y="93"/>
                </a:cubicBezTo>
                <a:cubicBezTo>
                  <a:pt x="788" y="93"/>
                  <a:pt x="788" y="93"/>
                  <a:pt x="788" y="93"/>
                </a:cubicBezTo>
                <a:cubicBezTo>
                  <a:pt x="788" y="93"/>
                  <a:pt x="787" y="93"/>
                  <a:pt x="787" y="93"/>
                </a:cubicBezTo>
                <a:cubicBezTo>
                  <a:pt x="787" y="93"/>
                  <a:pt x="787" y="93"/>
                  <a:pt x="787" y="93"/>
                </a:cubicBezTo>
                <a:cubicBezTo>
                  <a:pt x="786" y="93"/>
                  <a:pt x="786" y="93"/>
                  <a:pt x="786" y="93"/>
                </a:cubicBezTo>
                <a:cubicBezTo>
                  <a:pt x="786" y="93"/>
                  <a:pt x="785" y="93"/>
                  <a:pt x="785" y="93"/>
                </a:cubicBezTo>
                <a:cubicBezTo>
                  <a:pt x="785" y="94"/>
                  <a:pt x="784" y="94"/>
                  <a:pt x="784" y="94"/>
                </a:cubicBezTo>
                <a:cubicBezTo>
                  <a:pt x="782" y="94"/>
                  <a:pt x="779" y="94"/>
                  <a:pt x="776" y="94"/>
                </a:cubicBezTo>
                <a:cubicBezTo>
                  <a:pt x="776" y="94"/>
                  <a:pt x="776" y="94"/>
                  <a:pt x="776" y="93"/>
                </a:cubicBezTo>
                <a:cubicBezTo>
                  <a:pt x="775" y="93"/>
                  <a:pt x="775" y="93"/>
                  <a:pt x="774" y="93"/>
                </a:cubicBezTo>
                <a:cubicBezTo>
                  <a:pt x="774" y="93"/>
                  <a:pt x="774" y="93"/>
                  <a:pt x="774" y="93"/>
                </a:cubicBezTo>
                <a:cubicBezTo>
                  <a:pt x="774" y="93"/>
                  <a:pt x="774" y="93"/>
                  <a:pt x="774" y="93"/>
                </a:cubicBezTo>
                <a:cubicBezTo>
                  <a:pt x="774" y="93"/>
                  <a:pt x="773" y="93"/>
                  <a:pt x="773" y="93"/>
                </a:cubicBezTo>
                <a:cubicBezTo>
                  <a:pt x="773" y="93"/>
                  <a:pt x="773" y="93"/>
                  <a:pt x="773" y="93"/>
                </a:cubicBezTo>
                <a:cubicBezTo>
                  <a:pt x="773" y="93"/>
                  <a:pt x="773" y="93"/>
                  <a:pt x="773" y="93"/>
                </a:cubicBezTo>
                <a:cubicBezTo>
                  <a:pt x="772" y="93"/>
                  <a:pt x="772" y="93"/>
                  <a:pt x="772" y="92"/>
                </a:cubicBezTo>
                <a:cubicBezTo>
                  <a:pt x="772" y="92"/>
                  <a:pt x="772" y="92"/>
                  <a:pt x="772" y="92"/>
                </a:cubicBezTo>
                <a:cubicBezTo>
                  <a:pt x="771" y="92"/>
                  <a:pt x="771" y="92"/>
                  <a:pt x="771" y="92"/>
                </a:cubicBezTo>
                <a:cubicBezTo>
                  <a:pt x="771" y="92"/>
                  <a:pt x="771" y="92"/>
                  <a:pt x="771" y="92"/>
                </a:cubicBezTo>
                <a:cubicBezTo>
                  <a:pt x="771" y="92"/>
                  <a:pt x="771" y="92"/>
                  <a:pt x="771" y="92"/>
                </a:cubicBezTo>
                <a:cubicBezTo>
                  <a:pt x="770" y="92"/>
                  <a:pt x="770" y="92"/>
                  <a:pt x="770" y="92"/>
                </a:cubicBezTo>
                <a:cubicBezTo>
                  <a:pt x="770" y="92"/>
                  <a:pt x="770" y="92"/>
                  <a:pt x="770" y="92"/>
                </a:cubicBezTo>
                <a:cubicBezTo>
                  <a:pt x="770" y="92"/>
                  <a:pt x="769" y="92"/>
                  <a:pt x="769" y="91"/>
                </a:cubicBezTo>
                <a:cubicBezTo>
                  <a:pt x="769" y="91"/>
                  <a:pt x="769" y="91"/>
                  <a:pt x="769" y="91"/>
                </a:cubicBezTo>
                <a:cubicBezTo>
                  <a:pt x="769" y="91"/>
                  <a:pt x="769" y="91"/>
                  <a:pt x="769" y="91"/>
                </a:cubicBezTo>
                <a:cubicBezTo>
                  <a:pt x="769" y="91"/>
                  <a:pt x="769" y="91"/>
                  <a:pt x="769" y="91"/>
                </a:cubicBezTo>
                <a:cubicBezTo>
                  <a:pt x="768" y="91"/>
                  <a:pt x="768" y="91"/>
                  <a:pt x="768" y="91"/>
                </a:cubicBezTo>
                <a:cubicBezTo>
                  <a:pt x="768" y="91"/>
                  <a:pt x="768" y="91"/>
                  <a:pt x="768" y="91"/>
                </a:cubicBezTo>
                <a:cubicBezTo>
                  <a:pt x="768" y="90"/>
                  <a:pt x="768" y="91"/>
                  <a:pt x="767" y="90"/>
                </a:cubicBezTo>
                <a:cubicBezTo>
                  <a:pt x="767" y="90"/>
                  <a:pt x="767" y="90"/>
                  <a:pt x="767" y="90"/>
                </a:cubicBezTo>
                <a:cubicBezTo>
                  <a:pt x="767" y="90"/>
                  <a:pt x="767" y="90"/>
                  <a:pt x="766" y="90"/>
                </a:cubicBezTo>
                <a:cubicBezTo>
                  <a:pt x="766" y="90"/>
                  <a:pt x="766" y="90"/>
                  <a:pt x="766" y="90"/>
                </a:cubicBezTo>
                <a:cubicBezTo>
                  <a:pt x="766" y="90"/>
                  <a:pt x="766" y="89"/>
                  <a:pt x="766" y="89"/>
                </a:cubicBezTo>
                <a:cubicBezTo>
                  <a:pt x="766" y="89"/>
                  <a:pt x="766" y="89"/>
                  <a:pt x="766" y="89"/>
                </a:cubicBezTo>
                <a:cubicBezTo>
                  <a:pt x="766" y="89"/>
                  <a:pt x="766" y="89"/>
                  <a:pt x="766" y="89"/>
                </a:cubicBezTo>
                <a:cubicBezTo>
                  <a:pt x="766" y="89"/>
                  <a:pt x="766" y="89"/>
                  <a:pt x="766" y="89"/>
                </a:cubicBezTo>
                <a:cubicBezTo>
                  <a:pt x="765" y="88"/>
                  <a:pt x="765" y="88"/>
                  <a:pt x="764" y="87"/>
                </a:cubicBezTo>
                <a:cubicBezTo>
                  <a:pt x="764" y="87"/>
                  <a:pt x="764" y="87"/>
                  <a:pt x="764" y="87"/>
                </a:cubicBezTo>
                <a:cubicBezTo>
                  <a:pt x="764" y="87"/>
                  <a:pt x="764" y="87"/>
                  <a:pt x="764" y="87"/>
                </a:cubicBezTo>
                <a:cubicBezTo>
                  <a:pt x="764" y="87"/>
                  <a:pt x="764" y="87"/>
                  <a:pt x="764" y="87"/>
                </a:cubicBezTo>
                <a:cubicBezTo>
                  <a:pt x="764" y="87"/>
                  <a:pt x="763" y="87"/>
                  <a:pt x="763" y="87"/>
                </a:cubicBezTo>
                <a:cubicBezTo>
                  <a:pt x="763" y="87"/>
                  <a:pt x="763" y="87"/>
                  <a:pt x="763" y="87"/>
                </a:cubicBezTo>
                <a:cubicBezTo>
                  <a:pt x="763" y="86"/>
                  <a:pt x="763" y="86"/>
                  <a:pt x="763" y="86"/>
                </a:cubicBezTo>
                <a:cubicBezTo>
                  <a:pt x="763" y="86"/>
                  <a:pt x="763" y="86"/>
                  <a:pt x="763" y="86"/>
                </a:cubicBezTo>
                <a:cubicBezTo>
                  <a:pt x="763" y="86"/>
                  <a:pt x="763" y="86"/>
                  <a:pt x="763" y="86"/>
                </a:cubicBezTo>
                <a:cubicBezTo>
                  <a:pt x="763" y="86"/>
                  <a:pt x="763" y="86"/>
                  <a:pt x="763" y="86"/>
                </a:cubicBezTo>
                <a:cubicBezTo>
                  <a:pt x="763" y="85"/>
                  <a:pt x="762" y="85"/>
                  <a:pt x="762" y="85"/>
                </a:cubicBezTo>
                <a:cubicBezTo>
                  <a:pt x="762" y="85"/>
                  <a:pt x="762" y="85"/>
                  <a:pt x="762" y="85"/>
                </a:cubicBezTo>
                <a:cubicBezTo>
                  <a:pt x="762" y="85"/>
                  <a:pt x="762" y="85"/>
                  <a:pt x="762" y="84"/>
                </a:cubicBezTo>
                <a:cubicBezTo>
                  <a:pt x="762" y="85"/>
                  <a:pt x="762" y="85"/>
                  <a:pt x="762" y="85"/>
                </a:cubicBezTo>
                <a:cubicBezTo>
                  <a:pt x="762" y="84"/>
                  <a:pt x="762" y="84"/>
                  <a:pt x="762" y="84"/>
                </a:cubicBezTo>
                <a:cubicBezTo>
                  <a:pt x="762" y="84"/>
                  <a:pt x="762" y="84"/>
                  <a:pt x="762" y="84"/>
                </a:cubicBezTo>
                <a:cubicBezTo>
                  <a:pt x="762" y="84"/>
                  <a:pt x="762" y="84"/>
                  <a:pt x="762" y="84"/>
                </a:cubicBezTo>
                <a:cubicBezTo>
                  <a:pt x="762" y="84"/>
                  <a:pt x="761" y="84"/>
                  <a:pt x="761" y="83"/>
                </a:cubicBezTo>
                <a:cubicBezTo>
                  <a:pt x="761" y="83"/>
                  <a:pt x="761" y="83"/>
                  <a:pt x="761" y="83"/>
                </a:cubicBezTo>
                <a:cubicBezTo>
                  <a:pt x="761" y="83"/>
                  <a:pt x="761" y="83"/>
                  <a:pt x="761" y="83"/>
                </a:cubicBezTo>
                <a:cubicBezTo>
                  <a:pt x="761" y="83"/>
                  <a:pt x="761" y="83"/>
                  <a:pt x="761" y="83"/>
                </a:cubicBezTo>
                <a:cubicBezTo>
                  <a:pt x="761" y="83"/>
                  <a:pt x="761" y="83"/>
                  <a:pt x="761" y="83"/>
                </a:cubicBezTo>
                <a:cubicBezTo>
                  <a:pt x="761" y="82"/>
                  <a:pt x="761" y="82"/>
                  <a:pt x="760" y="82"/>
                </a:cubicBezTo>
                <a:cubicBezTo>
                  <a:pt x="761" y="82"/>
                  <a:pt x="761" y="82"/>
                  <a:pt x="761" y="82"/>
                </a:cubicBezTo>
                <a:cubicBezTo>
                  <a:pt x="760" y="81"/>
                  <a:pt x="760" y="81"/>
                  <a:pt x="760" y="81"/>
                </a:cubicBezTo>
                <a:cubicBezTo>
                  <a:pt x="760" y="81"/>
                  <a:pt x="760" y="81"/>
                  <a:pt x="760" y="81"/>
                </a:cubicBezTo>
                <a:cubicBezTo>
                  <a:pt x="760" y="81"/>
                  <a:pt x="760" y="80"/>
                  <a:pt x="760" y="80"/>
                </a:cubicBezTo>
                <a:cubicBezTo>
                  <a:pt x="760" y="80"/>
                  <a:pt x="760" y="80"/>
                  <a:pt x="760" y="80"/>
                </a:cubicBezTo>
                <a:cubicBezTo>
                  <a:pt x="760" y="80"/>
                  <a:pt x="760" y="79"/>
                  <a:pt x="760" y="79"/>
                </a:cubicBezTo>
                <a:cubicBezTo>
                  <a:pt x="759" y="79"/>
                  <a:pt x="759" y="79"/>
                  <a:pt x="759" y="79"/>
                </a:cubicBezTo>
                <a:cubicBezTo>
                  <a:pt x="759" y="78"/>
                  <a:pt x="759" y="78"/>
                  <a:pt x="759" y="77"/>
                </a:cubicBezTo>
                <a:cubicBezTo>
                  <a:pt x="759" y="77"/>
                  <a:pt x="759" y="77"/>
                  <a:pt x="759" y="77"/>
                </a:cubicBezTo>
                <a:cubicBezTo>
                  <a:pt x="759" y="77"/>
                  <a:pt x="759" y="76"/>
                  <a:pt x="759" y="75"/>
                </a:cubicBezTo>
                <a:cubicBezTo>
                  <a:pt x="759" y="75"/>
                  <a:pt x="759" y="75"/>
                  <a:pt x="759" y="75"/>
                </a:cubicBezTo>
                <a:cubicBezTo>
                  <a:pt x="758" y="74"/>
                  <a:pt x="759" y="73"/>
                  <a:pt x="758" y="72"/>
                </a:cubicBezTo>
                <a:cubicBezTo>
                  <a:pt x="758" y="72"/>
                  <a:pt x="758" y="71"/>
                  <a:pt x="759" y="71"/>
                </a:cubicBezTo>
                <a:cubicBezTo>
                  <a:pt x="759" y="71"/>
                  <a:pt x="760" y="71"/>
                  <a:pt x="760" y="71"/>
                </a:cubicBezTo>
                <a:cubicBezTo>
                  <a:pt x="775" y="71"/>
                  <a:pt x="789" y="71"/>
                  <a:pt x="804" y="71"/>
                </a:cubicBezTo>
                <a:cubicBezTo>
                  <a:pt x="805" y="71"/>
                  <a:pt x="805" y="71"/>
                  <a:pt x="806" y="70"/>
                </a:cubicBezTo>
                <a:cubicBezTo>
                  <a:pt x="806" y="68"/>
                  <a:pt x="806" y="65"/>
                  <a:pt x="806" y="62"/>
                </a:cubicBezTo>
                <a:cubicBezTo>
                  <a:pt x="805" y="61"/>
                  <a:pt x="806" y="60"/>
                  <a:pt x="805" y="59"/>
                </a:cubicBezTo>
                <a:cubicBezTo>
                  <a:pt x="805" y="58"/>
                  <a:pt x="805" y="58"/>
                  <a:pt x="805" y="58"/>
                </a:cubicBezTo>
                <a:cubicBezTo>
                  <a:pt x="805" y="58"/>
                  <a:pt x="805" y="57"/>
                  <a:pt x="805" y="56"/>
                </a:cubicBezTo>
                <a:cubicBezTo>
                  <a:pt x="805" y="56"/>
                  <a:pt x="805" y="56"/>
                  <a:pt x="805" y="56"/>
                </a:cubicBezTo>
                <a:cubicBezTo>
                  <a:pt x="805" y="55"/>
                  <a:pt x="805" y="55"/>
                  <a:pt x="805" y="54"/>
                </a:cubicBezTo>
                <a:cubicBezTo>
                  <a:pt x="805" y="54"/>
                  <a:pt x="805" y="54"/>
                  <a:pt x="805" y="54"/>
                </a:cubicBezTo>
                <a:cubicBezTo>
                  <a:pt x="805" y="54"/>
                  <a:pt x="805" y="54"/>
                  <a:pt x="805" y="54"/>
                </a:cubicBezTo>
                <a:cubicBezTo>
                  <a:pt x="805" y="54"/>
                  <a:pt x="805" y="53"/>
                  <a:pt x="804" y="53"/>
                </a:cubicBezTo>
                <a:cubicBezTo>
                  <a:pt x="804" y="53"/>
                  <a:pt x="804" y="53"/>
                  <a:pt x="804" y="53"/>
                </a:cubicBezTo>
                <a:cubicBezTo>
                  <a:pt x="804" y="53"/>
                  <a:pt x="804" y="53"/>
                  <a:pt x="804" y="53"/>
                </a:cubicBezTo>
                <a:cubicBezTo>
                  <a:pt x="804" y="52"/>
                  <a:pt x="804" y="52"/>
                  <a:pt x="804" y="51"/>
                </a:cubicBezTo>
                <a:cubicBezTo>
                  <a:pt x="804" y="51"/>
                  <a:pt x="804" y="51"/>
                  <a:pt x="804" y="51"/>
                </a:cubicBezTo>
                <a:cubicBezTo>
                  <a:pt x="804" y="51"/>
                  <a:pt x="804" y="51"/>
                  <a:pt x="804" y="50"/>
                </a:cubicBezTo>
                <a:cubicBezTo>
                  <a:pt x="804" y="50"/>
                  <a:pt x="804" y="50"/>
                  <a:pt x="804" y="50"/>
                </a:cubicBezTo>
                <a:cubicBezTo>
                  <a:pt x="803" y="50"/>
                  <a:pt x="804" y="50"/>
                  <a:pt x="803" y="49"/>
                </a:cubicBezTo>
                <a:cubicBezTo>
                  <a:pt x="803" y="49"/>
                  <a:pt x="803" y="49"/>
                  <a:pt x="803" y="49"/>
                </a:cubicBezTo>
                <a:cubicBezTo>
                  <a:pt x="803" y="49"/>
                  <a:pt x="803" y="49"/>
                  <a:pt x="803" y="49"/>
                </a:cubicBezTo>
                <a:cubicBezTo>
                  <a:pt x="803" y="49"/>
                  <a:pt x="803" y="49"/>
                  <a:pt x="803" y="49"/>
                </a:cubicBezTo>
                <a:cubicBezTo>
                  <a:pt x="803" y="48"/>
                  <a:pt x="803" y="48"/>
                  <a:pt x="803" y="48"/>
                </a:cubicBezTo>
                <a:cubicBezTo>
                  <a:pt x="803" y="48"/>
                  <a:pt x="803" y="48"/>
                  <a:pt x="803" y="48"/>
                </a:cubicBezTo>
                <a:cubicBezTo>
                  <a:pt x="802" y="47"/>
                  <a:pt x="803" y="47"/>
                  <a:pt x="802" y="47"/>
                </a:cubicBezTo>
                <a:cubicBezTo>
                  <a:pt x="802" y="47"/>
                  <a:pt x="802" y="47"/>
                  <a:pt x="802" y="47"/>
                </a:cubicBezTo>
                <a:cubicBezTo>
                  <a:pt x="802" y="47"/>
                  <a:pt x="802" y="46"/>
                  <a:pt x="802" y="46"/>
                </a:cubicBezTo>
                <a:cubicBezTo>
                  <a:pt x="802" y="46"/>
                  <a:pt x="802" y="46"/>
                  <a:pt x="802" y="46"/>
                </a:cubicBezTo>
                <a:cubicBezTo>
                  <a:pt x="802" y="46"/>
                  <a:pt x="802" y="46"/>
                  <a:pt x="802" y="46"/>
                </a:cubicBezTo>
                <a:cubicBezTo>
                  <a:pt x="802" y="46"/>
                  <a:pt x="802" y="46"/>
                  <a:pt x="802" y="46"/>
                </a:cubicBezTo>
                <a:cubicBezTo>
                  <a:pt x="802" y="45"/>
                  <a:pt x="801" y="45"/>
                  <a:pt x="801" y="45"/>
                </a:cubicBezTo>
                <a:cubicBezTo>
                  <a:pt x="801" y="45"/>
                  <a:pt x="801" y="45"/>
                  <a:pt x="801" y="45"/>
                </a:cubicBezTo>
                <a:cubicBezTo>
                  <a:pt x="801" y="45"/>
                  <a:pt x="801" y="45"/>
                  <a:pt x="801" y="45"/>
                </a:cubicBezTo>
                <a:cubicBezTo>
                  <a:pt x="801" y="45"/>
                  <a:pt x="801" y="45"/>
                  <a:pt x="801" y="44"/>
                </a:cubicBezTo>
                <a:cubicBezTo>
                  <a:pt x="801" y="44"/>
                  <a:pt x="801" y="44"/>
                  <a:pt x="801" y="44"/>
                </a:cubicBezTo>
                <a:cubicBezTo>
                  <a:pt x="801" y="44"/>
                  <a:pt x="801" y="44"/>
                  <a:pt x="801" y="44"/>
                </a:cubicBezTo>
                <a:cubicBezTo>
                  <a:pt x="801" y="44"/>
                  <a:pt x="801" y="44"/>
                  <a:pt x="801" y="44"/>
                </a:cubicBezTo>
                <a:cubicBezTo>
                  <a:pt x="800" y="44"/>
                  <a:pt x="800" y="44"/>
                  <a:pt x="800" y="43"/>
                </a:cubicBezTo>
                <a:cubicBezTo>
                  <a:pt x="800" y="43"/>
                  <a:pt x="800" y="43"/>
                  <a:pt x="800" y="43"/>
                </a:cubicBezTo>
                <a:cubicBezTo>
                  <a:pt x="800" y="43"/>
                  <a:pt x="800" y="43"/>
                  <a:pt x="800" y="43"/>
                </a:cubicBezTo>
                <a:cubicBezTo>
                  <a:pt x="800" y="43"/>
                  <a:pt x="800" y="43"/>
                  <a:pt x="800" y="43"/>
                </a:cubicBezTo>
                <a:cubicBezTo>
                  <a:pt x="800" y="43"/>
                  <a:pt x="800" y="42"/>
                  <a:pt x="800" y="42"/>
                </a:cubicBezTo>
                <a:cubicBezTo>
                  <a:pt x="800" y="42"/>
                  <a:pt x="800" y="42"/>
                  <a:pt x="800" y="42"/>
                </a:cubicBezTo>
                <a:cubicBezTo>
                  <a:pt x="799" y="42"/>
                  <a:pt x="799" y="42"/>
                  <a:pt x="799" y="42"/>
                </a:cubicBezTo>
                <a:cubicBezTo>
                  <a:pt x="799" y="42"/>
                  <a:pt x="799" y="42"/>
                  <a:pt x="799" y="42"/>
                </a:cubicBezTo>
                <a:cubicBezTo>
                  <a:pt x="799" y="42"/>
                  <a:pt x="799" y="41"/>
                  <a:pt x="799" y="41"/>
                </a:cubicBezTo>
                <a:cubicBezTo>
                  <a:pt x="799" y="41"/>
                  <a:pt x="799" y="41"/>
                  <a:pt x="799" y="41"/>
                </a:cubicBezTo>
                <a:cubicBezTo>
                  <a:pt x="799" y="41"/>
                  <a:pt x="799" y="41"/>
                  <a:pt x="798" y="41"/>
                </a:cubicBezTo>
                <a:cubicBezTo>
                  <a:pt x="798" y="41"/>
                  <a:pt x="798" y="41"/>
                  <a:pt x="798" y="41"/>
                </a:cubicBezTo>
                <a:cubicBezTo>
                  <a:pt x="798" y="41"/>
                  <a:pt x="798" y="41"/>
                  <a:pt x="798" y="41"/>
                </a:cubicBezTo>
                <a:cubicBezTo>
                  <a:pt x="798" y="41"/>
                  <a:pt x="798" y="41"/>
                  <a:pt x="798" y="41"/>
                </a:cubicBezTo>
                <a:cubicBezTo>
                  <a:pt x="798" y="40"/>
                  <a:pt x="798" y="40"/>
                  <a:pt x="798" y="40"/>
                </a:cubicBezTo>
                <a:cubicBezTo>
                  <a:pt x="798" y="40"/>
                  <a:pt x="798" y="40"/>
                  <a:pt x="798" y="40"/>
                </a:cubicBezTo>
                <a:cubicBezTo>
                  <a:pt x="798" y="40"/>
                  <a:pt x="798" y="40"/>
                  <a:pt x="797" y="40"/>
                </a:cubicBezTo>
                <a:cubicBezTo>
                  <a:pt x="797" y="40"/>
                  <a:pt x="797" y="40"/>
                  <a:pt x="797" y="40"/>
                </a:cubicBezTo>
                <a:cubicBezTo>
                  <a:pt x="797" y="40"/>
                  <a:pt x="797" y="40"/>
                  <a:pt x="797" y="40"/>
                </a:cubicBezTo>
                <a:cubicBezTo>
                  <a:pt x="797" y="40"/>
                  <a:pt x="797" y="40"/>
                  <a:pt x="797" y="40"/>
                </a:cubicBezTo>
                <a:cubicBezTo>
                  <a:pt x="797" y="39"/>
                  <a:pt x="797" y="39"/>
                  <a:pt x="797" y="39"/>
                </a:cubicBezTo>
                <a:cubicBezTo>
                  <a:pt x="797" y="39"/>
                  <a:pt x="797" y="39"/>
                  <a:pt x="797" y="39"/>
                </a:cubicBezTo>
                <a:cubicBezTo>
                  <a:pt x="797" y="39"/>
                  <a:pt x="797" y="39"/>
                  <a:pt x="796" y="39"/>
                </a:cubicBezTo>
                <a:cubicBezTo>
                  <a:pt x="796" y="39"/>
                  <a:pt x="796" y="39"/>
                  <a:pt x="796" y="39"/>
                </a:cubicBezTo>
                <a:cubicBezTo>
                  <a:pt x="796" y="39"/>
                  <a:pt x="796" y="39"/>
                  <a:pt x="796" y="39"/>
                </a:cubicBezTo>
                <a:cubicBezTo>
                  <a:pt x="796" y="39"/>
                  <a:pt x="796" y="39"/>
                  <a:pt x="796" y="39"/>
                </a:cubicBezTo>
                <a:cubicBezTo>
                  <a:pt x="796" y="38"/>
                  <a:pt x="796" y="38"/>
                  <a:pt x="796" y="38"/>
                </a:cubicBezTo>
                <a:cubicBezTo>
                  <a:pt x="796" y="38"/>
                  <a:pt x="796" y="38"/>
                  <a:pt x="796" y="38"/>
                </a:cubicBezTo>
                <a:cubicBezTo>
                  <a:pt x="796" y="38"/>
                  <a:pt x="795" y="38"/>
                  <a:pt x="795" y="38"/>
                </a:cubicBezTo>
                <a:cubicBezTo>
                  <a:pt x="795" y="38"/>
                  <a:pt x="795" y="38"/>
                  <a:pt x="795" y="38"/>
                </a:cubicBezTo>
                <a:cubicBezTo>
                  <a:pt x="795" y="38"/>
                  <a:pt x="795" y="38"/>
                  <a:pt x="795" y="37"/>
                </a:cubicBezTo>
                <a:cubicBezTo>
                  <a:pt x="795" y="37"/>
                  <a:pt x="795" y="37"/>
                  <a:pt x="795" y="37"/>
                </a:cubicBezTo>
                <a:cubicBezTo>
                  <a:pt x="795" y="37"/>
                  <a:pt x="794" y="37"/>
                  <a:pt x="794" y="37"/>
                </a:cubicBezTo>
                <a:cubicBezTo>
                  <a:pt x="794" y="37"/>
                  <a:pt x="794" y="37"/>
                  <a:pt x="794" y="37"/>
                </a:cubicBezTo>
                <a:cubicBezTo>
                  <a:pt x="794" y="37"/>
                  <a:pt x="794" y="37"/>
                  <a:pt x="794" y="37"/>
                </a:cubicBezTo>
                <a:cubicBezTo>
                  <a:pt x="794" y="37"/>
                  <a:pt x="794" y="37"/>
                  <a:pt x="794" y="37"/>
                </a:cubicBezTo>
                <a:cubicBezTo>
                  <a:pt x="793" y="37"/>
                  <a:pt x="793" y="36"/>
                  <a:pt x="793" y="36"/>
                </a:cubicBezTo>
                <a:cubicBezTo>
                  <a:pt x="793" y="37"/>
                  <a:pt x="793" y="37"/>
                  <a:pt x="793" y="37"/>
                </a:cubicBezTo>
                <a:cubicBezTo>
                  <a:pt x="793" y="36"/>
                  <a:pt x="793" y="36"/>
                  <a:pt x="793" y="36"/>
                </a:cubicBezTo>
                <a:cubicBezTo>
                  <a:pt x="793" y="36"/>
                  <a:pt x="793" y="36"/>
                  <a:pt x="793" y="36"/>
                </a:cubicBezTo>
                <a:cubicBezTo>
                  <a:pt x="792" y="36"/>
                  <a:pt x="792" y="36"/>
                  <a:pt x="792" y="36"/>
                </a:cubicBezTo>
                <a:cubicBezTo>
                  <a:pt x="792" y="36"/>
                  <a:pt x="792" y="36"/>
                  <a:pt x="792" y="36"/>
                </a:cubicBezTo>
                <a:cubicBezTo>
                  <a:pt x="792" y="36"/>
                  <a:pt x="791" y="36"/>
                  <a:pt x="791" y="35"/>
                </a:cubicBezTo>
                <a:cubicBezTo>
                  <a:pt x="791" y="35"/>
                  <a:pt x="791" y="35"/>
                  <a:pt x="791" y="35"/>
                </a:cubicBezTo>
                <a:cubicBezTo>
                  <a:pt x="791" y="35"/>
                  <a:pt x="791" y="35"/>
                  <a:pt x="790" y="35"/>
                </a:cubicBezTo>
                <a:cubicBezTo>
                  <a:pt x="790" y="35"/>
                  <a:pt x="790" y="35"/>
                  <a:pt x="790" y="35"/>
                </a:cubicBezTo>
                <a:cubicBezTo>
                  <a:pt x="790" y="35"/>
                  <a:pt x="790" y="35"/>
                  <a:pt x="790" y="35"/>
                </a:cubicBezTo>
                <a:cubicBezTo>
                  <a:pt x="790" y="35"/>
                  <a:pt x="790" y="35"/>
                  <a:pt x="790" y="35"/>
                </a:cubicBezTo>
                <a:cubicBezTo>
                  <a:pt x="790" y="34"/>
                  <a:pt x="789" y="34"/>
                  <a:pt x="789" y="34"/>
                </a:cubicBezTo>
                <a:cubicBezTo>
                  <a:pt x="789" y="34"/>
                  <a:pt x="789" y="34"/>
                  <a:pt x="789" y="34"/>
                </a:cubicBezTo>
                <a:cubicBezTo>
                  <a:pt x="789" y="34"/>
                  <a:pt x="789" y="34"/>
                  <a:pt x="789" y="34"/>
                </a:cubicBezTo>
                <a:cubicBezTo>
                  <a:pt x="789" y="34"/>
                  <a:pt x="788" y="34"/>
                  <a:pt x="788" y="34"/>
                </a:cubicBezTo>
                <a:cubicBezTo>
                  <a:pt x="788" y="34"/>
                  <a:pt x="788" y="34"/>
                  <a:pt x="788" y="34"/>
                </a:cubicBezTo>
                <a:cubicBezTo>
                  <a:pt x="787" y="34"/>
                  <a:pt x="787" y="34"/>
                  <a:pt x="787" y="34"/>
                </a:cubicBezTo>
                <a:cubicBezTo>
                  <a:pt x="787" y="34"/>
                  <a:pt x="787" y="34"/>
                  <a:pt x="787" y="34"/>
                </a:cubicBezTo>
                <a:cubicBezTo>
                  <a:pt x="787" y="34"/>
                  <a:pt x="787" y="34"/>
                  <a:pt x="787" y="34"/>
                </a:cubicBezTo>
                <a:cubicBezTo>
                  <a:pt x="786" y="33"/>
                  <a:pt x="786" y="34"/>
                  <a:pt x="785" y="33"/>
                </a:cubicBezTo>
                <a:cubicBezTo>
                  <a:pt x="785" y="33"/>
                  <a:pt x="785" y="33"/>
                  <a:pt x="785" y="33"/>
                </a:cubicBezTo>
                <a:cubicBezTo>
                  <a:pt x="785" y="33"/>
                  <a:pt x="785" y="33"/>
                  <a:pt x="785" y="33"/>
                </a:cubicBezTo>
                <a:cubicBezTo>
                  <a:pt x="785" y="33"/>
                  <a:pt x="784" y="33"/>
                  <a:pt x="784" y="33"/>
                </a:cubicBezTo>
                <a:cubicBezTo>
                  <a:pt x="784" y="33"/>
                  <a:pt x="783" y="33"/>
                  <a:pt x="783" y="33"/>
                </a:cubicBezTo>
                <a:cubicBezTo>
                  <a:pt x="782" y="33"/>
                  <a:pt x="781" y="33"/>
                  <a:pt x="781" y="33"/>
                </a:cubicBezTo>
                <a:cubicBezTo>
                  <a:pt x="779" y="33"/>
                  <a:pt x="777" y="33"/>
                  <a:pt x="776" y="33"/>
                </a:cubicBezTo>
                <a:cubicBezTo>
                  <a:pt x="775" y="33"/>
                  <a:pt x="774" y="33"/>
                  <a:pt x="773" y="33"/>
                </a:cubicBezTo>
                <a:cubicBezTo>
                  <a:pt x="773" y="33"/>
                  <a:pt x="773" y="33"/>
                  <a:pt x="773" y="33"/>
                </a:cubicBezTo>
                <a:cubicBezTo>
                  <a:pt x="772" y="33"/>
                  <a:pt x="772" y="33"/>
                  <a:pt x="771" y="33"/>
                </a:cubicBezTo>
                <a:cubicBezTo>
                  <a:pt x="771" y="33"/>
                  <a:pt x="771" y="33"/>
                  <a:pt x="771" y="33"/>
                </a:cubicBezTo>
                <a:cubicBezTo>
                  <a:pt x="771" y="34"/>
                  <a:pt x="770" y="33"/>
                  <a:pt x="770" y="34"/>
                </a:cubicBezTo>
                <a:cubicBezTo>
                  <a:pt x="770" y="34"/>
                  <a:pt x="770" y="34"/>
                  <a:pt x="770" y="34"/>
                </a:cubicBezTo>
                <a:cubicBezTo>
                  <a:pt x="770" y="34"/>
                  <a:pt x="770" y="34"/>
                  <a:pt x="770" y="34"/>
                </a:cubicBezTo>
                <a:cubicBezTo>
                  <a:pt x="769" y="34"/>
                  <a:pt x="769" y="34"/>
                  <a:pt x="769" y="34"/>
                </a:cubicBezTo>
                <a:cubicBezTo>
                  <a:pt x="769" y="34"/>
                  <a:pt x="769" y="34"/>
                  <a:pt x="769" y="34"/>
                </a:cubicBezTo>
                <a:cubicBezTo>
                  <a:pt x="768" y="34"/>
                  <a:pt x="768" y="34"/>
                  <a:pt x="768" y="34"/>
                </a:cubicBezTo>
                <a:cubicBezTo>
                  <a:pt x="768" y="34"/>
                  <a:pt x="768" y="34"/>
                  <a:pt x="768" y="34"/>
                </a:cubicBezTo>
                <a:cubicBezTo>
                  <a:pt x="767" y="34"/>
                  <a:pt x="767" y="34"/>
                  <a:pt x="767" y="35"/>
                </a:cubicBezTo>
                <a:cubicBezTo>
                  <a:pt x="767" y="35"/>
                  <a:pt x="767" y="35"/>
                  <a:pt x="767" y="35"/>
                </a:cubicBezTo>
                <a:cubicBezTo>
                  <a:pt x="767" y="35"/>
                  <a:pt x="766" y="35"/>
                  <a:pt x="766" y="35"/>
                </a:cubicBezTo>
                <a:cubicBezTo>
                  <a:pt x="766" y="35"/>
                  <a:pt x="766" y="35"/>
                  <a:pt x="766" y="35"/>
                </a:cubicBezTo>
                <a:cubicBezTo>
                  <a:pt x="766" y="35"/>
                  <a:pt x="766" y="35"/>
                  <a:pt x="766" y="35"/>
                </a:cubicBezTo>
                <a:cubicBezTo>
                  <a:pt x="766" y="35"/>
                  <a:pt x="765" y="35"/>
                  <a:pt x="765" y="35"/>
                </a:cubicBezTo>
                <a:cubicBezTo>
                  <a:pt x="765" y="35"/>
                  <a:pt x="765" y="35"/>
                  <a:pt x="765" y="35"/>
                </a:cubicBezTo>
                <a:cubicBezTo>
                  <a:pt x="765" y="36"/>
                  <a:pt x="765" y="35"/>
                  <a:pt x="764" y="36"/>
                </a:cubicBezTo>
                <a:cubicBezTo>
                  <a:pt x="764" y="36"/>
                  <a:pt x="764" y="36"/>
                  <a:pt x="764" y="36"/>
                </a:cubicBezTo>
                <a:cubicBezTo>
                  <a:pt x="764" y="36"/>
                  <a:pt x="764" y="36"/>
                  <a:pt x="764" y="36"/>
                </a:cubicBezTo>
                <a:cubicBezTo>
                  <a:pt x="764" y="36"/>
                  <a:pt x="764" y="36"/>
                  <a:pt x="764" y="36"/>
                </a:cubicBezTo>
                <a:cubicBezTo>
                  <a:pt x="764" y="36"/>
                  <a:pt x="764" y="36"/>
                  <a:pt x="764" y="36"/>
                </a:cubicBezTo>
                <a:cubicBezTo>
                  <a:pt x="764" y="36"/>
                  <a:pt x="763" y="36"/>
                  <a:pt x="763" y="36"/>
                </a:cubicBezTo>
                <a:cubicBezTo>
                  <a:pt x="763" y="36"/>
                  <a:pt x="763" y="36"/>
                  <a:pt x="763" y="36"/>
                </a:cubicBezTo>
                <a:cubicBezTo>
                  <a:pt x="763" y="37"/>
                  <a:pt x="763" y="37"/>
                  <a:pt x="763" y="37"/>
                </a:cubicBezTo>
                <a:cubicBezTo>
                  <a:pt x="763" y="37"/>
                  <a:pt x="763" y="37"/>
                  <a:pt x="763" y="37"/>
                </a:cubicBezTo>
                <a:cubicBezTo>
                  <a:pt x="762" y="37"/>
                  <a:pt x="762" y="37"/>
                  <a:pt x="762" y="37"/>
                </a:cubicBezTo>
                <a:cubicBezTo>
                  <a:pt x="762" y="37"/>
                  <a:pt x="762" y="37"/>
                  <a:pt x="762" y="37"/>
                </a:cubicBezTo>
                <a:cubicBezTo>
                  <a:pt x="762" y="37"/>
                  <a:pt x="762" y="37"/>
                  <a:pt x="762" y="37"/>
                </a:cubicBezTo>
                <a:cubicBezTo>
                  <a:pt x="762" y="37"/>
                  <a:pt x="762" y="37"/>
                  <a:pt x="762" y="37"/>
                </a:cubicBezTo>
                <a:cubicBezTo>
                  <a:pt x="761" y="38"/>
                  <a:pt x="761" y="38"/>
                  <a:pt x="761" y="38"/>
                </a:cubicBezTo>
                <a:cubicBezTo>
                  <a:pt x="761" y="38"/>
                  <a:pt x="761" y="38"/>
                  <a:pt x="761" y="38"/>
                </a:cubicBezTo>
                <a:cubicBezTo>
                  <a:pt x="760" y="38"/>
                  <a:pt x="760" y="38"/>
                  <a:pt x="760" y="39"/>
                </a:cubicBezTo>
                <a:cubicBezTo>
                  <a:pt x="760" y="39"/>
                  <a:pt x="760" y="39"/>
                  <a:pt x="760" y="39"/>
                </a:cubicBezTo>
                <a:cubicBezTo>
                  <a:pt x="760" y="39"/>
                  <a:pt x="759" y="39"/>
                  <a:pt x="759" y="39"/>
                </a:cubicBezTo>
                <a:cubicBezTo>
                  <a:pt x="759" y="39"/>
                  <a:pt x="759" y="39"/>
                  <a:pt x="759" y="39"/>
                </a:cubicBezTo>
                <a:cubicBezTo>
                  <a:pt x="759" y="39"/>
                  <a:pt x="759" y="39"/>
                  <a:pt x="759" y="40"/>
                </a:cubicBezTo>
                <a:cubicBezTo>
                  <a:pt x="759" y="40"/>
                  <a:pt x="759" y="40"/>
                  <a:pt x="759" y="40"/>
                </a:cubicBezTo>
                <a:cubicBezTo>
                  <a:pt x="759" y="40"/>
                  <a:pt x="759" y="40"/>
                  <a:pt x="758" y="40"/>
                </a:cubicBezTo>
                <a:cubicBezTo>
                  <a:pt x="758" y="40"/>
                  <a:pt x="758" y="40"/>
                  <a:pt x="758" y="40"/>
                </a:cubicBezTo>
                <a:cubicBezTo>
                  <a:pt x="758" y="40"/>
                  <a:pt x="758" y="40"/>
                  <a:pt x="758" y="40"/>
                </a:cubicBezTo>
                <a:cubicBezTo>
                  <a:pt x="758" y="40"/>
                  <a:pt x="758" y="40"/>
                  <a:pt x="758" y="40"/>
                </a:cubicBezTo>
                <a:cubicBezTo>
                  <a:pt x="758" y="40"/>
                  <a:pt x="758" y="40"/>
                  <a:pt x="758" y="41"/>
                </a:cubicBezTo>
                <a:cubicBezTo>
                  <a:pt x="758" y="41"/>
                  <a:pt x="758" y="41"/>
                  <a:pt x="758" y="41"/>
                </a:cubicBezTo>
                <a:cubicBezTo>
                  <a:pt x="758" y="41"/>
                  <a:pt x="758" y="41"/>
                  <a:pt x="757" y="41"/>
                </a:cubicBezTo>
                <a:cubicBezTo>
                  <a:pt x="757" y="41"/>
                  <a:pt x="757" y="41"/>
                  <a:pt x="757" y="41"/>
                </a:cubicBezTo>
                <a:cubicBezTo>
                  <a:pt x="757" y="41"/>
                  <a:pt x="757" y="41"/>
                  <a:pt x="757" y="41"/>
                </a:cubicBezTo>
                <a:cubicBezTo>
                  <a:pt x="757" y="41"/>
                  <a:pt x="757" y="41"/>
                  <a:pt x="757" y="41"/>
                </a:cubicBezTo>
                <a:cubicBezTo>
                  <a:pt x="757" y="41"/>
                  <a:pt x="757" y="42"/>
                  <a:pt x="757" y="42"/>
                </a:cubicBezTo>
                <a:cubicBezTo>
                  <a:pt x="757" y="42"/>
                  <a:pt x="757" y="42"/>
                  <a:pt x="757" y="42"/>
                </a:cubicBezTo>
                <a:cubicBezTo>
                  <a:pt x="757" y="42"/>
                  <a:pt x="756" y="42"/>
                  <a:pt x="756" y="42"/>
                </a:cubicBezTo>
                <a:cubicBezTo>
                  <a:pt x="756" y="42"/>
                  <a:pt x="756" y="42"/>
                  <a:pt x="756" y="42"/>
                </a:cubicBezTo>
                <a:cubicBezTo>
                  <a:pt x="756" y="42"/>
                  <a:pt x="756" y="42"/>
                  <a:pt x="756" y="42"/>
                </a:cubicBezTo>
                <a:cubicBezTo>
                  <a:pt x="756" y="42"/>
                  <a:pt x="756" y="42"/>
                  <a:pt x="756" y="42"/>
                </a:cubicBezTo>
                <a:cubicBezTo>
                  <a:pt x="756" y="42"/>
                  <a:pt x="756" y="43"/>
                  <a:pt x="756" y="43"/>
                </a:cubicBezTo>
                <a:cubicBezTo>
                  <a:pt x="756" y="43"/>
                  <a:pt x="756" y="43"/>
                  <a:pt x="756" y="43"/>
                </a:cubicBezTo>
                <a:cubicBezTo>
                  <a:pt x="756" y="43"/>
                  <a:pt x="755" y="43"/>
                  <a:pt x="755" y="43"/>
                </a:cubicBezTo>
                <a:cubicBezTo>
                  <a:pt x="755" y="43"/>
                  <a:pt x="755" y="43"/>
                  <a:pt x="755" y="43"/>
                </a:cubicBezTo>
                <a:cubicBezTo>
                  <a:pt x="755" y="43"/>
                  <a:pt x="755" y="44"/>
                  <a:pt x="755" y="44"/>
                </a:cubicBezTo>
                <a:cubicBezTo>
                  <a:pt x="755" y="44"/>
                  <a:pt x="755" y="44"/>
                  <a:pt x="755" y="44"/>
                </a:cubicBezTo>
                <a:cubicBezTo>
                  <a:pt x="755" y="44"/>
                  <a:pt x="754" y="44"/>
                  <a:pt x="754" y="44"/>
                </a:cubicBezTo>
                <a:cubicBezTo>
                  <a:pt x="754" y="44"/>
                  <a:pt x="754" y="44"/>
                  <a:pt x="754" y="44"/>
                </a:cubicBezTo>
                <a:cubicBezTo>
                  <a:pt x="754" y="45"/>
                  <a:pt x="754" y="45"/>
                  <a:pt x="754" y="45"/>
                </a:cubicBezTo>
                <a:cubicBezTo>
                  <a:pt x="754" y="45"/>
                  <a:pt x="754" y="45"/>
                  <a:pt x="754" y="45"/>
                </a:cubicBezTo>
                <a:cubicBezTo>
                  <a:pt x="753" y="46"/>
                  <a:pt x="753" y="46"/>
                  <a:pt x="753" y="46"/>
                </a:cubicBezTo>
                <a:cubicBezTo>
                  <a:pt x="753" y="46"/>
                  <a:pt x="753" y="46"/>
                  <a:pt x="753" y="46"/>
                </a:cubicBezTo>
                <a:cubicBezTo>
                  <a:pt x="753" y="46"/>
                  <a:pt x="753" y="46"/>
                  <a:pt x="753" y="47"/>
                </a:cubicBezTo>
                <a:cubicBezTo>
                  <a:pt x="753" y="47"/>
                  <a:pt x="753" y="47"/>
                  <a:pt x="753" y="47"/>
                </a:cubicBezTo>
                <a:cubicBezTo>
                  <a:pt x="753" y="47"/>
                  <a:pt x="753" y="47"/>
                  <a:pt x="753" y="47"/>
                </a:cubicBezTo>
                <a:cubicBezTo>
                  <a:pt x="753" y="47"/>
                  <a:pt x="753" y="47"/>
                  <a:pt x="753" y="47"/>
                </a:cubicBezTo>
                <a:cubicBezTo>
                  <a:pt x="752" y="47"/>
                  <a:pt x="752" y="47"/>
                  <a:pt x="752" y="48"/>
                </a:cubicBezTo>
                <a:cubicBezTo>
                  <a:pt x="752" y="48"/>
                  <a:pt x="752" y="48"/>
                  <a:pt x="752" y="48"/>
                </a:cubicBezTo>
                <a:cubicBezTo>
                  <a:pt x="752" y="48"/>
                  <a:pt x="752" y="48"/>
                  <a:pt x="752" y="48"/>
                </a:cubicBezTo>
                <a:cubicBezTo>
                  <a:pt x="752" y="48"/>
                  <a:pt x="752" y="48"/>
                  <a:pt x="752" y="48"/>
                </a:cubicBezTo>
                <a:cubicBezTo>
                  <a:pt x="752" y="48"/>
                  <a:pt x="752" y="49"/>
                  <a:pt x="752" y="49"/>
                </a:cubicBezTo>
                <a:cubicBezTo>
                  <a:pt x="752" y="49"/>
                  <a:pt x="752" y="49"/>
                  <a:pt x="752" y="49"/>
                </a:cubicBezTo>
                <a:cubicBezTo>
                  <a:pt x="751" y="49"/>
                  <a:pt x="751" y="49"/>
                  <a:pt x="751" y="50"/>
                </a:cubicBezTo>
                <a:cubicBezTo>
                  <a:pt x="751" y="50"/>
                  <a:pt x="751" y="50"/>
                  <a:pt x="751" y="50"/>
                </a:cubicBezTo>
                <a:cubicBezTo>
                  <a:pt x="751" y="50"/>
                  <a:pt x="751" y="50"/>
                  <a:pt x="751" y="50"/>
                </a:cubicBezTo>
                <a:cubicBezTo>
                  <a:pt x="751" y="50"/>
                  <a:pt x="751" y="50"/>
                  <a:pt x="751" y="50"/>
                </a:cubicBezTo>
                <a:cubicBezTo>
                  <a:pt x="751" y="51"/>
                  <a:pt x="751" y="51"/>
                  <a:pt x="750" y="51"/>
                </a:cubicBezTo>
                <a:cubicBezTo>
                  <a:pt x="751" y="51"/>
                  <a:pt x="751" y="51"/>
                  <a:pt x="751" y="51"/>
                </a:cubicBezTo>
                <a:cubicBezTo>
                  <a:pt x="750" y="51"/>
                  <a:pt x="750" y="52"/>
                  <a:pt x="750" y="52"/>
                </a:cubicBezTo>
                <a:cubicBezTo>
                  <a:pt x="750" y="52"/>
                  <a:pt x="750" y="52"/>
                  <a:pt x="750" y="52"/>
                </a:cubicBezTo>
                <a:cubicBezTo>
                  <a:pt x="750" y="52"/>
                  <a:pt x="750" y="52"/>
                  <a:pt x="750" y="52"/>
                </a:cubicBezTo>
                <a:cubicBezTo>
                  <a:pt x="750" y="52"/>
                  <a:pt x="750" y="53"/>
                  <a:pt x="750" y="53"/>
                </a:cubicBezTo>
                <a:cubicBezTo>
                  <a:pt x="750" y="53"/>
                  <a:pt x="750" y="53"/>
                  <a:pt x="750" y="53"/>
                </a:cubicBezTo>
                <a:cubicBezTo>
                  <a:pt x="750" y="53"/>
                  <a:pt x="750" y="53"/>
                  <a:pt x="749" y="54"/>
                </a:cubicBezTo>
                <a:cubicBezTo>
                  <a:pt x="749" y="54"/>
                  <a:pt x="749" y="54"/>
                  <a:pt x="749" y="54"/>
                </a:cubicBezTo>
                <a:cubicBezTo>
                  <a:pt x="749" y="54"/>
                  <a:pt x="749" y="54"/>
                  <a:pt x="749" y="54"/>
                </a:cubicBezTo>
                <a:cubicBezTo>
                  <a:pt x="749" y="54"/>
                  <a:pt x="749" y="54"/>
                  <a:pt x="749" y="55"/>
                </a:cubicBezTo>
                <a:cubicBezTo>
                  <a:pt x="749" y="55"/>
                  <a:pt x="749" y="55"/>
                  <a:pt x="749" y="55"/>
                </a:cubicBezTo>
                <a:cubicBezTo>
                  <a:pt x="749" y="55"/>
                  <a:pt x="749" y="55"/>
                  <a:pt x="749" y="56"/>
                </a:cubicBezTo>
                <a:cubicBezTo>
                  <a:pt x="749" y="56"/>
                  <a:pt x="749" y="56"/>
                  <a:pt x="749" y="56"/>
                </a:cubicBezTo>
                <a:cubicBezTo>
                  <a:pt x="749" y="56"/>
                  <a:pt x="749" y="56"/>
                  <a:pt x="749" y="56"/>
                </a:cubicBezTo>
                <a:cubicBezTo>
                  <a:pt x="748" y="56"/>
                  <a:pt x="749" y="57"/>
                  <a:pt x="748" y="57"/>
                </a:cubicBezTo>
                <a:cubicBezTo>
                  <a:pt x="748" y="57"/>
                  <a:pt x="748" y="57"/>
                  <a:pt x="748" y="57"/>
                </a:cubicBezTo>
                <a:cubicBezTo>
                  <a:pt x="748" y="58"/>
                  <a:pt x="748" y="58"/>
                  <a:pt x="748" y="58"/>
                </a:cubicBezTo>
                <a:cubicBezTo>
                  <a:pt x="748" y="59"/>
                  <a:pt x="748" y="59"/>
                  <a:pt x="748" y="59"/>
                </a:cubicBezTo>
                <a:cubicBezTo>
                  <a:pt x="748" y="59"/>
                  <a:pt x="748" y="60"/>
                  <a:pt x="748" y="60"/>
                </a:cubicBezTo>
                <a:cubicBezTo>
                  <a:pt x="748" y="60"/>
                  <a:pt x="748" y="60"/>
                  <a:pt x="748" y="60"/>
                </a:cubicBezTo>
                <a:cubicBezTo>
                  <a:pt x="747" y="61"/>
                  <a:pt x="748" y="62"/>
                  <a:pt x="747" y="62"/>
                </a:cubicBezTo>
                <a:cubicBezTo>
                  <a:pt x="747" y="63"/>
                  <a:pt x="747" y="63"/>
                  <a:pt x="747" y="63"/>
                </a:cubicBezTo>
                <a:cubicBezTo>
                  <a:pt x="747" y="64"/>
                  <a:pt x="747" y="66"/>
                  <a:pt x="747" y="67"/>
                </a:cubicBezTo>
                <a:cubicBezTo>
                  <a:pt x="747" y="68"/>
                  <a:pt x="747" y="69"/>
                  <a:pt x="747" y="69"/>
                </a:cubicBezTo>
                <a:cubicBezTo>
                  <a:pt x="747" y="71"/>
                  <a:pt x="747" y="72"/>
                  <a:pt x="747" y="74"/>
                </a:cubicBezTo>
                <a:cubicBezTo>
                  <a:pt x="747" y="74"/>
                  <a:pt x="747" y="75"/>
                  <a:pt x="747" y="75"/>
                </a:cubicBezTo>
                <a:cubicBezTo>
                  <a:pt x="748" y="75"/>
                  <a:pt x="747" y="76"/>
                  <a:pt x="748" y="77"/>
                </a:cubicBezTo>
                <a:cubicBezTo>
                  <a:pt x="748" y="77"/>
                  <a:pt x="748" y="77"/>
                  <a:pt x="748" y="77"/>
                </a:cubicBezTo>
                <a:cubicBezTo>
                  <a:pt x="748" y="78"/>
                  <a:pt x="748" y="78"/>
                  <a:pt x="748" y="79"/>
                </a:cubicBezTo>
                <a:cubicBezTo>
                  <a:pt x="748" y="79"/>
                  <a:pt x="748" y="79"/>
                  <a:pt x="748" y="79"/>
                </a:cubicBezTo>
                <a:cubicBezTo>
                  <a:pt x="748" y="79"/>
                  <a:pt x="748" y="79"/>
                  <a:pt x="748" y="79"/>
                </a:cubicBezTo>
                <a:cubicBezTo>
                  <a:pt x="748" y="79"/>
                  <a:pt x="748" y="80"/>
                  <a:pt x="748" y="80"/>
                </a:cubicBezTo>
                <a:cubicBezTo>
                  <a:pt x="748" y="80"/>
                  <a:pt x="748" y="80"/>
                  <a:pt x="748" y="81"/>
                </a:cubicBezTo>
                <a:cubicBezTo>
                  <a:pt x="749" y="81"/>
                  <a:pt x="748" y="81"/>
                  <a:pt x="749" y="82"/>
                </a:cubicBezTo>
                <a:cubicBezTo>
                  <a:pt x="749" y="82"/>
                  <a:pt x="749" y="82"/>
                  <a:pt x="749" y="82"/>
                </a:cubicBezTo>
                <a:cubicBezTo>
                  <a:pt x="749" y="82"/>
                  <a:pt x="749" y="83"/>
                  <a:pt x="749" y="83"/>
                </a:cubicBezTo>
                <a:close/>
                <a:moveTo>
                  <a:pt x="1231" y="92"/>
                </a:moveTo>
                <a:cubicBezTo>
                  <a:pt x="1231" y="92"/>
                  <a:pt x="1231" y="92"/>
                  <a:pt x="1231" y="92"/>
                </a:cubicBezTo>
                <a:cubicBezTo>
                  <a:pt x="1231" y="92"/>
                  <a:pt x="1230" y="92"/>
                  <a:pt x="1230" y="92"/>
                </a:cubicBezTo>
                <a:cubicBezTo>
                  <a:pt x="1230" y="92"/>
                  <a:pt x="1230" y="92"/>
                  <a:pt x="1230" y="92"/>
                </a:cubicBezTo>
                <a:cubicBezTo>
                  <a:pt x="1230" y="92"/>
                  <a:pt x="1230" y="92"/>
                  <a:pt x="1230" y="92"/>
                </a:cubicBezTo>
                <a:cubicBezTo>
                  <a:pt x="1230" y="92"/>
                  <a:pt x="1229" y="92"/>
                  <a:pt x="1229" y="91"/>
                </a:cubicBezTo>
                <a:cubicBezTo>
                  <a:pt x="1229" y="91"/>
                  <a:pt x="1229" y="91"/>
                  <a:pt x="1229" y="91"/>
                </a:cubicBezTo>
                <a:cubicBezTo>
                  <a:pt x="1229" y="91"/>
                  <a:pt x="1229" y="91"/>
                  <a:pt x="1229" y="91"/>
                </a:cubicBezTo>
                <a:cubicBezTo>
                  <a:pt x="1229" y="91"/>
                  <a:pt x="1229" y="91"/>
                  <a:pt x="1229" y="91"/>
                </a:cubicBezTo>
                <a:cubicBezTo>
                  <a:pt x="1229" y="91"/>
                  <a:pt x="1228" y="91"/>
                  <a:pt x="1228" y="91"/>
                </a:cubicBezTo>
                <a:cubicBezTo>
                  <a:pt x="1228" y="91"/>
                  <a:pt x="1228" y="91"/>
                  <a:pt x="1228" y="91"/>
                </a:cubicBezTo>
                <a:cubicBezTo>
                  <a:pt x="1228" y="91"/>
                  <a:pt x="1228" y="91"/>
                  <a:pt x="1227" y="90"/>
                </a:cubicBezTo>
                <a:cubicBezTo>
                  <a:pt x="1227" y="90"/>
                  <a:pt x="1227" y="90"/>
                  <a:pt x="1227" y="90"/>
                </a:cubicBezTo>
                <a:cubicBezTo>
                  <a:pt x="1227" y="90"/>
                  <a:pt x="1227" y="90"/>
                  <a:pt x="1227" y="90"/>
                </a:cubicBezTo>
                <a:cubicBezTo>
                  <a:pt x="1227" y="90"/>
                  <a:pt x="1227" y="90"/>
                  <a:pt x="1227" y="90"/>
                </a:cubicBezTo>
                <a:cubicBezTo>
                  <a:pt x="1227" y="90"/>
                  <a:pt x="1226" y="90"/>
                  <a:pt x="1226" y="89"/>
                </a:cubicBezTo>
                <a:cubicBezTo>
                  <a:pt x="1226" y="89"/>
                  <a:pt x="1226" y="89"/>
                  <a:pt x="1226" y="89"/>
                </a:cubicBezTo>
                <a:cubicBezTo>
                  <a:pt x="1226" y="89"/>
                  <a:pt x="1226" y="89"/>
                  <a:pt x="1226" y="89"/>
                </a:cubicBezTo>
                <a:cubicBezTo>
                  <a:pt x="1226" y="89"/>
                  <a:pt x="1226" y="89"/>
                  <a:pt x="1226" y="89"/>
                </a:cubicBezTo>
                <a:cubicBezTo>
                  <a:pt x="1225" y="89"/>
                  <a:pt x="1225" y="89"/>
                  <a:pt x="1225" y="89"/>
                </a:cubicBezTo>
                <a:cubicBezTo>
                  <a:pt x="1225" y="89"/>
                  <a:pt x="1225" y="89"/>
                  <a:pt x="1225" y="89"/>
                </a:cubicBezTo>
                <a:cubicBezTo>
                  <a:pt x="1225" y="89"/>
                  <a:pt x="1225" y="88"/>
                  <a:pt x="1225" y="88"/>
                </a:cubicBezTo>
                <a:cubicBezTo>
                  <a:pt x="1225" y="88"/>
                  <a:pt x="1225" y="88"/>
                  <a:pt x="1225" y="88"/>
                </a:cubicBezTo>
                <a:cubicBezTo>
                  <a:pt x="1225" y="88"/>
                  <a:pt x="1225" y="88"/>
                  <a:pt x="1224" y="88"/>
                </a:cubicBezTo>
                <a:cubicBezTo>
                  <a:pt x="1225" y="88"/>
                  <a:pt x="1225" y="88"/>
                  <a:pt x="1225" y="88"/>
                </a:cubicBezTo>
                <a:cubicBezTo>
                  <a:pt x="1224" y="88"/>
                  <a:pt x="1224" y="88"/>
                  <a:pt x="1224" y="88"/>
                </a:cubicBezTo>
                <a:cubicBezTo>
                  <a:pt x="1224" y="88"/>
                  <a:pt x="1224" y="88"/>
                  <a:pt x="1224" y="88"/>
                </a:cubicBezTo>
                <a:cubicBezTo>
                  <a:pt x="1224" y="87"/>
                  <a:pt x="1224" y="87"/>
                  <a:pt x="1224" y="87"/>
                </a:cubicBezTo>
                <a:cubicBezTo>
                  <a:pt x="1224" y="87"/>
                  <a:pt x="1224" y="87"/>
                  <a:pt x="1224" y="87"/>
                </a:cubicBezTo>
                <a:cubicBezTo>
                  <a:pt x="1224" y="87"/>
                  <a:pt x="1224" y="87"/>
                  <a:pt x="1224" y="87"/>
                </a:cubicBezTo>
                <a:cubicBezTo>
                  <a:pt x="1224" y="87"/>
                  <a:pt x="1224" y="87"/>
                  <a:pt x="1224" y="87"/>
                </a:cubicBezTo>
                <a:cubicBezTo>
                  <a:pt x="1223" y="87"/>
                  <a:pt x="1223" y="86"/>
                  <a:pt x="1223" y="86"/>
                </a:cubicBezTo>
                <a:cubicBezTo>
                  <a:pt x="1223" y="86"/>
                  <a:pt x="1223" y="86"/>
                  <a:pt x="1223" y="86"/>
                </a:cubicBezTo>
                <a:cubicBezTo>
                  <a:pt x="1223" y="86"/>
                  <a:pt x="1223" y="86"/>
                  <a:pt x="1222" y="86"/>
                </a:cubicBezTo>
                <a:cubicBezTo>
                  <a:pt x="1222" y="86"/>
                  <a:pt x="1222" y="86"/>
                  <a:pt x="1222" y="86"/>
                </a:cubicBezTo>
                <a:cubicBezTo>
                  <a:pt x="1222" y="85"/>
                  <a:pt x="1222" y="85"/>
                  <a:pt x="1222" y="85"/>
                </a:cubicBezTo>
                <a:cubicBezTo>
                  <a:pt x="1222" y="85"/>
                  <a:pt x="1222" y="85"/>
                  <a:pt x="1222" y="85"/>
                </a:cubicBezTo>
                <a:cubicBezTo>
                  <a:pt x="1222" y="85"/>
                  <a:pt x="1222" y="85"/>
                  <a:pt x="1222" y="84"/>
                </a:cubicBezTo>
                <a:cubicBezTo>
                  <a:pt x="1222" y="84"/>
                  <a:pt x="1222" y="84"/>
                  <a:pt x="1222" y="84"/>
                </a:cubicBezTo>
                <a:cubicBezTo>
                  <a:pt x="1222" y="84"/>
                  <a:pt x="1222" y="84"/>
                  <a:pt x="1221" y="84"/>
                </a:cubicBezTo>
                <a:cubicBezTo>
                  <a:pt x="1221" y="84"/>
                  <a:pt x="1221" y="84"/>
                  <a:pt x="1221" y="84"/>
                </a:cubicBezTo>
                <a:cubicBezTo>
                  <a:pt x="1221" y="84"/>
                  <a:pt x="1221" y="83"/>
                  <a:pt x="1221" y="83"/>
                </a:cubicBezTo>
                <a:cubicBezTo>
                  <a:pt x="1221" y="83"/>
                  <a:pt x="1221" y="83"/>
                  <a:pt x="1221" y="83"/>
                </a:cubicBezTo>
                <a:cubicBezTo>
                  <a:pt x="1221" y="83"/>
                  <a:pt x="1221" y="83"/>
                  <a:pt x="1221" y="82"/>
                </a:cubicBezTo>
                <a:cubicBezTo>
                  <a:pt x="1221" y="82"/>
                  <a:pt x="1221" y="82"/>
                  <a:pt x="1221" y="82"/>
                </a:cubicBezTo>
                <a:cubicBezTo>
                  <a:pt x="1221" y="82"/>
                  <a:pt x="1221" y="82"/>
                  <a:pt x="1220" y="82"/>
                </a:cubicBezTo>
                <a:cubicBezTo>
                  <a:pt x="1220" y="82"/>
                  <a:pt x="1220" y="82"/>
                  <a:pt x="1220" y="81"/>
                </a:cubicBezTo>
                <a:cubicBezTo>
                  <a:pt x="1220" y="81"/>
                  <a:pt x="1220" y="81"/>
                  <a:pt x="1220" y="81"/>
                </a:cubicBezTo>
                <a:cubicBezTo>
                  <a:pt x="1220" y="81"/>
                  <a:pt x="1220" y="81"/>
                  <a:pt x="1220" y="81"/>
                </a:cubicBezTo>
                <a:cubicBezTo>
                  <a:pt x="1220" y="80"/>
                  <a:pt x="1220" y="80"/>
                  <a:pt x="1220" y="80"/>
                </a:cubicBezTo>
                <a:cubicBezTo>
                  <a:pt x="1220" y="80"/>
                  <a:pt x="1220" y="80"/>
                  <a:pt x="1220" y="80"/>
                </a:cubicBezTo>
                <a:cubicBezTo>
                  <a:pt x="1220" y="80"/>
                  <a:pt x="1220" y="80"/>
                  <a:pt x="1220" y="80"/>
                </a:cubicBezTo>
                <a:cubicBezTo>
                  <a:pt x="1220" y="79"/>
                  <a:pt x="1220" y="79"/>
                  <a:pt x="1220" y="79"/>
                </a:cubicBezTo>
                <a:cubicBezTo>
                  <a:pt x="1219" y="79"/>
                  <a:pt x="1220" y="79"/>
                  <a:pt x="1219" y="78"/>
                </a:cubicBezTo>
                <a:cubicBezTo>
                  <a:pt x="1219" y="78"/>
                  <a:pt x="1219" y="78"/>
                  <a:pt x="1219" y="78"/>
                </a:cubicBezTo>
                <a:cubicBezTo>
                  <a:pt x="1219" y="78"/>
                  <a:pt x="1219" y="77"/>
                  <a:pt x="1219" y="77"/>
                </a:cubicBezTo>
                <a:cubicBezTo>
                  <a:pt x="1219" y="77"/>
                  <a:pt x="1219" y="77"/>
                  <a:pt x="1219" y="77"/>
                </a:cubicBezTo>
                <a:cubicBezTo>
                  <a:pt x="1219" y="76"/>
                  <a:pt x="1219" y="75"/>
                  <a:pt x="1219" y="75"/>
                </a:cubicBezTo>
                <a:cubicBezTo>
                  <a:pt x="1219" y="74"/>
                  <a:pt x="1218" y="74"/>
                  <a:pt x="1219" y="74"/>
                </a:cubicBezTo>
                <a:cubicBezTo>
                  <a:pt x="1218" y="71"/>
                  <a:pt x="1218" y="71"/>
                  <a:pt x="1221" y="71"/>
                </a:cubicBezTo>
                <a:cubicBezTo>
                  <a:pt x="1235" y="71"/>
                  <a:pt x="1250" y="71"/>
                  <a:pt x="1264" y="71"/>
                </a:cubicBezTo>
                <a:cubicBezTo>
                  <a:pt x="1264" y="71"/>
                  <a:pt x="1264" y="71"/>
                  <a:pt x="1265" y="71"/>
                </a:cubicBezTo>
                <a:cubicBezTo>
                  <a:pt x="1266" y="71"/>
                  <a:pt x="1266" y="70"/>
                  <a:pt x="1266" y="70"/>
                </a:cubicBezTo>
                <a:cubicBezTo>
                  <a:pt x="1266" y="67"/>
                  <a:pt x="1266" y="64"/>
                  <a:pt x="1266" y="61"/>
                </a:cubicBezTo>
                <a:cubicBezTo>
                  <a:pt x="1266" y="61"/>
                  <a:pt x="1265" y="60"/>
                  <a:pt x="1266" y="60"/>
                </a:cubicBezTo>
                <a:cubicBezTo>
                  <a:pt x="1265" y="59"/>
                  <a:pt x="1266" y="58"/>
                  <a:pt x="1265" y="58"/>
                </a:cubicBezTo>
                <a:cubicBezTo>
                  <a:pt x="1265" y="57"/>
                  <a:pt x="1265" y="57"/>
                  <a:pt x="1265" y="57"/>
                </a:cubicBezTo>
                <a:cubicBezTo>
                  <a:pt x="1265" y="57"/>
                  <a:pt x="1265" y="56"/>
                  <a:pt x="1265" y="56"/>
                </a:cubicBezTo>
                <a:cubicBezTo>
                  <a:pt x="1265" y="55"/>
                  <a:pt x="1265" y="55"/>
                  <a:pt x="1265" y="55"/>
                </a:cubicBezTo>
                <a:cubicBezTo>
                  <a:pt x="1265" y="55"/>
                  <a:pt x="1265" y="54"/>
                  <a:pt x="1265" y="54"/>
                </a:cubicBezTo>
                <a:cubicBezTo>
                  <a:pt x="1265" y="54"/>
                  <a:pt x="1264" y="54"/>
                  <a:pt x="1265" y="54"/>
                </a:cubicBezTo>
                <a:cubicBezTo>
                  <a:pt x="1264" y="53"/>
                  <a:pt x="1265" y="53"/>
                  <a:pt x="1264" y="52"/>
                </a:cubicBezTo>
                <a:cubicBezTo>
                  <a:pt x="1264" y="52"/>
                  <a:pt x="1264" y="52"/>
                  <a:pt x="1264" y="52"/>
                </a:cubicBezTo>
                <a:cubicBezTo>
                  <a:pt x="1264" y="52"/>
                  <a:pt x="1264" y="51"/>
                  <a:pt x="1264" y="51"/>
                </a:cubicBezTo>
                <a:cubicBezTo>
                  <a:pt x="1264" y="51"/>
                  <a:pt x="1264" y="51"/>
                  <a:pt x="1264" y="51"/>
                </a:cubicBezTo>
                <a:cubicBezTo>
                  <a:pt x="1264" y="51"/>
                  <a:pt x="1264" y="50"/>
                  <a:pt x="1264" y="50"/>
                </a:cubicBezTo>
                <a:cubicBezTo>
                  <a:pt x="1264" y="50"/>
                  <a:pt x="1264" y="50"/>
                  <a:pt x="1264" y="50"/>
                </a:cubicBezTo>
                <a:cubicBezTo>
                  <a:pt x="1263" y="50"/>
                  <a:pt x="1264" y="49"/>
                  <a:pt x="1263" y="49"/>
                </a:cubicBezTo>
                <a:cubicBezTo>
                  <a:pt x="1263" y="49"/>
                  <a:pt x="1263" y="49"/>
                  <a:pt x="1263" y="49"/>
                </a:cubicBezTo>
                <a:cubicBezTo>
                  <a:pt x="1263" y="49"/>
                  <a:pt x="1263" y="48"/>
                  <a:pt x="1263" y="48"/>
                </a:cubicBezTo>
                <a:cubicBezTo>
                  <a:pt x="1263" y="48"/>
                  <a:pt x="1263" y="48"/>
                  <a:pt x="1263" y="48"/>
                </a:cubicBezTo>
                <a:cubicBezTo>
                  <a:pt x="1263" y="48"/>
                  <a:pt x="1263" y="48"/>
                  <a:pt x="1263" y="48"/>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6"/>
                  <a:pt x="1262" y="46"/>
                  <a:pt x="1262" y="46"/>
                </a:cubicBezTo>
                <a:cubicBezTo>
                  <a:pt x="1262" y="46"/>
                  <a:pt x="1262" y="46"/>
                  <a:pt x="1262" y="46"/>
                </a:cubicBezTo>
                <a:cubicBezTo>
                  <a:pt x="1262" y="46"/>
                  <a:pt x="1262" y="46"/>
                  <a:pt x="1262" y="46"/>
                </a:cubicBezTo>
                <a:cubicBezTo>
                  <a:pt x="1262" y="46"/>
                  <a:pt x="1262" y="46"/>
                  <a:pt x="1261" y="45"/>
                </a:cubicBezTo>
                <a:cubicBezTo>
                  <a:pt x="1261" y="45"/>
                  <a:pt x="1261" y="45"/>
                  <a:pt x="1261" y="45"/>
                </a:cubicBezTo>
                <a:cubicBezTo>
                  <a:pt x="1261" y="45"/>
                  <a:pt x="1261" y="45"/>
                  <a:pt x="1261" y="45"/>
                </a:cubicBezTo>
                <a:cubicBezTo>
                  <a:pt x="1261" y="45"/>
                  <a:pt x="1261" y="45"/>
                  <a:pt x="1261" y="45"/>
                </a:cubicBezTo>
                <a:cubicBezTo>
                  <a:pt x="1261" y="45"/>
                  <a:pt x="1261" y="44"/>
                  <a:pt x="1261" y="44"/>
                </a:cubicBezTo>
                <a:cubicBezTo>
                  <a:pt x="1261" y="44"/>
                  <a:pt x="1261" y="44"/>
                  <a:pt x="1261" y="44"/>
                </a:cubicBezTo>
                <a:cubicBezTo>
                  <a:pt x="1261" y="44"/>
                  <a:pt x="1261" y="44"/>
                  <a:pt x="1260" y="44"/>
                </a:cubicBezTo>
                <a:cubicBezTo>
                  <a:pt x="1260" y="44"/>
                  <a:pt x="1260" y="44"/>
                  <a:pt x="1260" y="44"/>
                </a:cubicBezTo>
                <a:cubicBezTo>
                  <a:pt x="1260" y="44"/>
                  <a:pt x="1260" y="43"/>
                  <a:pt x="1260" y="43"/>
                </a:cubicBezTo>
                <a:cubicBezTo>
                  <a:pt x="1260" y="43"/>
                  <a:pt x="1260" y="43"/>
                  <a:pt x="1260" y="43"/>
                </a:cubicBezTo>
                <a:cubicBezTo>
                  <a:pt x="1260" y="43"/>
                  <a:pt x="1260" y="43"/>
                  <a:pt x="1260" y="43"/>
                </a:cubicBezTo>
                <a:cubicBezTo>
                  <a:pt x="1260" y="43"/>
                  <a:pt x="1260" y="43"/>
                  <a:pt x="1260" y="43"/>
                </a:cubicBezTo>
                <a:cubicBezTo>
                  <a:pt x="1259" y="42"/>
                  <a:pt x="1259" y="42"/>
                  <a:pt x="1259" y="42"/>
                </a:cubicBezTo>
                <a:cubicBezTo>
                  <a:pt x="1259" y="42"/>
                  <a:pt x="1259" y="42"/>
                  <a:pt x="1259" y="42"/>
                </a:cubicBezTo>
                <a:cubicBezTo>
                  <a:pt x="1259" y="42"/>
                  <a:pt x="1259" y="41"/>
                  <a:pt x="1259" y="41"/>
                </a:cubicBezTo>
                <a:cubicBezTo>
                  <a:pt x="1259" y="41"/>
                  <a:pt x="1259" y="41"/>
                  <a:pt x="1259" y="41"/>
                </a:cubicBezTo>
                <a:cubicBezTo>
                  <a:pt x="1259" y="41"/>
                  <a:pt x="1258" y="41"/>
                  <a:pt x="1258" y="41"/>
                </a:cubicBezTo>
                <a:cubicBezTo>
                  <a:pt x="1258" y="41"/>
                  <a:pt x="1258" y="41"/>
                  <a:pt x="1258" y="41"/>
                </a:cubicBezTo>
                <a:cubicBezTo>
                  <a:pt x="1258" y="41"/>
                  <a:pt x="1258" y="41"/>
                  <a:pt x="1258" y="41"/>
                </a:cubicBezTo>
                <a:cubicBezTo>
                  <a:pt x="1258" y="41"/>
                  <a:pt x="1258" y="41"/>
                  <a:pt x="1258" y="41"/>
                </a:cubicBezTo>
                <a:cubicBezTo>
                  <a:pt x="1257" y="40"/>
                  <a:pt x="1257" y="39"/>
                  <a:pt x="1256" y="39"/>
                </a:cubicBezTo>
                <a:cubicBezTo>
                  <a:pt x="1256" y="39"/>
                  <a:pt x="1256" y="39"/>
                  <a:pt x="1256" y="39"/>
                </a:cubicBezTo>
                <a:cubicBezTo>
                  <a:pt x="1256" y="39"/>
                  <a:pt x="1256" y="39"/>
                  <a:pt x="1256" y="39"/>
                </a:cubicBezTo>
                <a:cubicBezTo>
                  <a:pt x="1256" y="39"/>
                  <a:pt x="1256" y="39"/>
                  <a:pt x="1256" y="39"/>
                </a:cubicBezTo>
                <a:cubicBezTo>
                  <a:pt x="1256" y="38"/>
                  <a:pt x="1256" y="38"/>
                  <a:pt x="1255" y="38"/>
                </a:cubicBezTo>
                <a:cubicBezTo>
                  <a:pt x="1256" y="38"/>
                  <a:pt x="1256" y="38"/>
                  <a:pt x="1256" y="38"/>
                </a:cubicBezTo>
                <a:cubicBezTo>
                  <a:pt x="1255" y="38"/>
                  <a:pt x="1255" y="38"/>
                  <a:pt x="1255" y="38"/>
                </a:cubicBezTo>
                <a:cubicBezTo>
                  <a:pt x="1255" y="38"/>
                  <a:pt x="1255" y="38"/>
                  <a:pt x="1255" y="38"/>
                </a:cubicBezTo>
                <a:cubicBezTo>
                  <a:pt x="1255" y="38"/>
                  <a:pt x="1255" y="38"/>
                  <a:pt x="1255" y="37"/>
                </a:cubicBezTo>
                <a:cubicBezTo>
                  <a:pt x="1255" y="37"/>
                  <a:pt x="1255" y="37"/>
                  <a:pt x="1255" y="37"/>
                </a:cubicBezTo>
                <a:cubicBezTo>
                  <a:pt x="1254" y="37"/>
                  <a:pt x="1254" y="37"/>
                  <a:pt x="1254" y="37"/>
                </a:cubicBezTo>
                <a:cubicBezTo>
                  <a:pt x="1254" y="37"/>
                  <a:pt x="1254" y="37"/>
                  <a:pt x="1254" y="37"/>
                </a:cubicBezTo>
                <a:cubicBezTo>
                  <a:pt x="1254" y="37"/>
                  <a:pt x="1254" y="37"/>
                  <a:pt x="1254" y="37"/>
                </a:cubicBezTo>
                <a:cubicBezTo>
                  <a:pt x="1254" y="37"/>
                  <a:pt x="1254" y="37"/>
                  <a:pt x="1254" y="37"/>
                </a:cubicBezTo>
                <a:cubicBezTo>
                  <a:pt x="1254" y="37"/>
                  <a:pt x="1253" y="37"/>
                  <a:pt x="1253" y="36"/>
                </a:cubicBezTo>
                <a:cubicBezTo>
                  <a:pt x="1253" y="36"/>
                  <a:pt x="1253" y="36"/>
                  <a:pt x="1253" y="36"/>
                </a:cubicBezTo>
                <a:cubicBezTo>
                  <a:pt x="1253" y="36"/>
                  <a:pt x="1253" y="36"/>
                  <a:pt x="1252" y="36"/>
                </a:cubicBezTo>
                <a:cubicBezTo>
                  <a:pt x="1252" y="36"/>
                  <a:pt x="1252" y="36"/>
                  <a:pt x="1252" y="36"/>
                </a:cubicBezTo>
                <a:cubicBezTo>
                  <a:pt x="1252" y="36"/>
                  <a:pt x="1252" y="36"/>
                  <a:pt x="1252" y="36"/>
                </a:cubicBezTo>
                <a:cubicBezTo>
                  <a:pt x="1252" y="36"/>
                  <a:pt x="1252" y="36"/>
                  <a:pt x="1252" y="36"/>
                </a:cubicBezTo>
                <a:cubicBezTo>
                  <a:pt x="1252" y="35"/>
                  <a:pt x="1252" y="36"/>
                  <a:pt x="1251" y="35"/>
                </a:cubicBezTo>
                <a:cubicBezTo>
                  <a:pt x="1251" y="35"/>
                  <a:pt x="1251" y="35"/>
                  <a:pt x="1251" y="35"/>
                </a:cubicBezTo>
                <a:cubicBezTo>
                  <a:pt x="1251" y="35"/>
                  <a:pt x="1251" y="35"/>
                  <a:pt x="1251" y="35"/>
                </a:cubicBezTo>
                <a:cubicBezTo>
                  <a:pt x="1250" y="35"/>
                  <a:pt x="1250" y="35"/>
                  <a:pt x="1250" y="35"/>
                </a:cubicBezTo>
                <a:cubicBezTo>
                  <a:pt x="1250" y="35"/>
                  <a:pt x="1250" y="35"/>
                  <a:pt x="1250" y="35"/>
                </a:cubicBezTo>
                <a:cubicBezTo>
                  <a:pt x="1250" y="35"/>
                  <a:pt x="1250" y="35"/>
                  <a:pt x="1250" y="35"/>
                </a:cubicBezTo>
                <a:cubicBezTo>
                  <a:pt x="1249" y="34"/>
                  <a:pt x="1249" y="35"/>
                  <a:pt x="1249" y="34"/>
                </a:cubicBezTo>
                <a:cubicBezTo>
                  <a:pt x="1249" y="34"/>
                  <a:pt x="1249" y="34"/>
                  <a:pt x="1249" y="34"/>
                </a:cubicBezTo>
                <a:cubicBezTo>
                  <a:pt x="1249" y="34"/>
                  <a:pt x="1248" y="34"/>
                  <a:pt x="1248" y="34"/>
                </a:cubicBezTo>
                <a:cubicBezTo>
                  <a:pt x="1248" y="34"/>
                  <a:pt x="1248" y="34"/>
                  <a:pt x="1248" y="34"/>
                </a:cubicBezTo>
                <a:cubicBezTo>
                  <a:pt x="1248" y="34"/>
                  <a:pt x="1247" y="34"/>
                  <a:pt x="1247" y="34"/>
                </a:cubicBezTo>
                <a:cubicBezTo>
                  <a:pt x="1247" y="34"/>
                  <a:pt x="1247" y="34"/>
                  <a:pt x="1246" y="34"/>
                </a:cubicBezTo>
                <a:cubicBezTo>
                  <a:pt x="1246" y="33"/>
                  <a:pt x="1246" y="34"/>
                  <a:pt x="1245" y="33"/>
                </a:cubicBezTo>
                <a:cubicBezTo>
                  <a:pt x="1245" y="33"/>
                  <a:pt x="1245" y="33"/>
                  <a:pt x="1245" y="33"/>
                </a:cubicBezTo>
                <a:cubicBezTo>
                  <a:pt x="1245" y="33"/>
                  <a:pt x="1244" y="33"/>
                  <a:pt x="1244" y="33"/>
                </a:cubicBezTo>
                <a:cubicBezTo>
                  <a:pt x="1243" y="33"/>
                  <a:pt x="1243" y="33"/>
                  <a:pt x="1243" y="33"/>
                </a:cubicBezTo>
                <a:cubicBezTo>
                  <a:pt x="1242" y="33"/>
                  <a:pt x="1241" y="33"/>
                  <a:pt x="1241" y="33"/>
                </a:cubicBezTo>
                <a:cubicBezTo>
                  <a:pt x="1239" y="33"/>
                  <a:pt x="1237" y="33"/>
                  <a:pt x="1236" y="33"/>
                </a:cubicBezTo>
                <a:cubicBezTo>
                  <a:pt x="1235" y="33"/>
                  <a:pt x="1234" y="33"/>
                  <a:pt x="1233" y="33"/>
                </a:cubicBezTo>
                <a:cubicBezTo>
                  <a:pt x="1233" y="33"/>
                  <a:pt x="1233" y="33"/>
                  <a:pt x="1233" y="33"/>
                </a:cubicBezTo>
                <a:cubicBezTo>
                  <a:pt x="1232" y="33"/>
                  <a:pt x="1232" y="33"/>
                  <a:pt x="1231" y="33"/>
                </a:cubicBezTo>
                <a:cubicBezTo>
                  <a:pt x="1231" y="33"/>
                  <a:pt x="1231" y="33"/>
                  <a:pt x="1231" y="33"/>
                </a:cubicBezTo>
                <a:cubicBezTo>
                  <a:pt x="1231" y="33"/>
                  <a:pt x="1231" y="33"/>
                  <a:pt x="1231" y="33"/>
                </a:cubicBezTo>
                <a:cubicBezTo>
                  <a:pt x="1231" y="34"/>
                  <a:pt x="1230" y="33"/>
                  <a:pt x="1230" y="34"/>
                </a:cubicBezTo>
                <a:cubicBezTo>
                  <a:pt x="1230" y="34"/>
                  <a:pt x="1230" y="34"/>
                  <a:pt x="1230" y="34"/>
                </a:cubicBezTo>
                <a:cubicBezTo>
                  <a:pt x="1230" y="34"/>
                  <a:pt x="1229" y="34"/>
                  <a:pt x="1229" y="34"/>
                </a:cubicBezTo>
                <a:cubicBezTo>
                  <a:pt x="1229" y="34"/>
                  <a:pt x="1229" y="34"/>
                  <a:pt x="1229" y="34"/>
                </a:cubicBezTo>
                <a:cubicBezTo>
                  <a:pt x="1229" y="34"/>
                  <a:pt x="1229" y="34"/>
                  <a:pt x="1229" y="34"/>
                </a:cubicBezTo>
                <a:cubicBezTo>
                  <a:pt x="1228" y="34"/>
                  <a:pt x="1228" y="34"/>
                  <a:pt x="1228" y="34"/>
                </a:cubicBezTo>
                <a:cubicBezTo>
                  <a:pt x="1228" y="34"/>
                  <a:pt x="1228" y="34"/>
                  <a:pt x="1228" y="34"/>
                </a:cubicBezTo>
                <a:cubicBezTo>
                  <a:pt x="1227" y="35"/>
                  <a:pt x="1227" y="34"/>
                  <a:pt x="1227" y="35"/>
                </a:cubicBezTo>
                <a:cubicBezTo>
                  <a:pt x="1227" y="35"/>
                  <a:pt x="1227" y="35"/>
                  <a:pt x="1227" y="35"/>
                </a:cubicBezTo>
                <a:cubicBezTo>
                  <a:pt x="1226" y="35"/>
                  <a:pt x="1226" y="35"/>
                  <a:pt x="1226" y="35"/>
                </a:cubicBezTo>
                <a:cubicBezTo>
                  <a:pt x="1226" y="35"/>
                  <a:pt x="1226" y="35"/>
                  <a:pt x="1226" y="35"/>
                </a:cubicBezTo>
                <a:cubicBezTo>
                  <a:pt x="1226" y="35"/>
                  <a:pt x="1225" y="35"/>
                  <a:pt x="1225" y="35"/>
                </a:cubicBezTo>
                <a:cubicBezTo>
                  <a:pt x="1225" y="35"/>
                  <a:pt x="1225" y="35"/>
                  <a:pt x="1225" y="35"/>
                </a:cubicBezTo>
                <a:cubicBezTo>
                  <a:pt x="1225" y="36"/>
                  <a:pt x="1225" y="36"/>
                  <a:pt x="1225" y="36"/>
                </a:cubicBezTo>
                <a:cubicBezTo>
                  <a:pt x="1225" y="36"/>
                  <a:pt x="1225" y="36"/>
                  <a:pt x="1225" y="36"/>
                </a:cubicBezTo>
                <a:cubicBezTo>
                  <a:pt x="1224" y="36"/>
                  <a:pt x="1224" y="36"/>
                  <a:pt x="1224" y="36"/>
                </a:cubicBezTo>
                <a:cubicBezTo>
                  <a:pt x="1224" y="36"/>
                  <a:pt x="1224" y="36"/>
                  <a:pt x="1224" y="36"/>
                </a:cubicBezTo>
                <a:cubicBezTo>
                  <a:pt x="1224" y="36"/>
                  <a:pt x="1223" y="36"/>
                  <a:pt x="1223" y="36"/>
                </a:cubicBezTo>
                <a:cubicBezTo>
                  <a:pt x="1223" y="36"/>
                  <a:pt x="1223" y="36"/>
                  <a:pt x="1223" y="36"/>
                </a:cubicBezTo>
                <a:cubicBezTo>
                  <a:pt x="1223" y="37"/>
                  <a:pt x="1223" y="37"/>
                  <a:pt x="1223" y="37"/>
                </a:cubicBezTo>
                <a:cubicBezTo>
                  <a:pt x="1223" y="37"/>
                  <a:pt x="1223" y="37"/>
                  <a:pt x="1223" y="37"/>
                </a:cubicBezTo>
                <a:cubicBezTo>
                  <a:pt x="1222" y="37"/>
                  <a:pt x="1222" y="37"/>
                  <a:pt x="1222" y="37"/>
                </a:cubicBezTo>
                <a:cubicBezTo>
                  <a:pt x="1222" y="37"/>
                  <a:pt x="1222" y="37"/>
                  <a:pt x="1222" y="37"/>
                </a:cubicBezTo>
                <a:cubicBezTo>
                  <a:pt x="1222" y="37"/>
                  <a:pt x="1222" y="37"/>
                  <a:pt x="1221" y="38"/>
                </a:cubicBezTo>
                <a:cubicBezTo>
                  <a:pt x="1222" y="38"/>
                  <a:pt x="1222" y="38"/>
                  <a:pt x="1222" y="38"/>
                </a:cubicBezTo>
                <a:cubicBezTo>
                  <a:pt x="1221" y="38"/>
                  <a:pt x="1221" y="38"/>
                  <a:pt x="1221" y="38"/>
                </a:cubicBezTo>
                <a:cubicBezTo>
                  <a:pt x="1221" y="38"/>
                  <a:pt x="1221" y="38"/>
                  <a:pt x="1221" y="38"/>
                </a:cubicBezTo>
                <a:cubicBezTo>
                  <a:pt x="1221" y="38"/>
                  <a:pt x="1220" y="38"/>
                  <a:pt x="1220" y="39"/>
                </a:cubicBezTo>
                <a:cubicBezTo>
                  <a:pt x="1220" y="39"/>
                  <a:pt x="1220" y="39"/>
                  <a:pt x="1220" y="39"/>
                </a:cubicBezTo>
                <a:cubicBezTo>
                  <a:pt x="1220" y="39"/>
                  <a:pt x="1220" y="39"/>
                  <a:pt x="1220" y="39"/>
                </a:cubicBezTo>
                <a:cubicBezTo>
                  <a:pt x="1220" y="39"/>
                  <a:pt x="1220" y="39"/>
                  <a:pt x="1220" y="39"/>
                </a:cubicBezTo>
                <a:cubicBezTo>
                  <a:pt x="1220" y="39"/>
                  <a:pt x="1219" y="39"/>
                  <a:pt x="1219" y="39"/>
                </a:cubicBezTo>
                <a:cubicBezTo>
                  <a:pt x="1219" y="39"/>
                  <a:pt x="1219" y="39"/>
                  <a:pt x="1219" y="39"/>
                </a:cubicBezTo>
                <a:cubicBezTo>
                  <a:pt x="1219" y="40"/>
                  <a:pt x="1219" y="40"/>
                  <a:pt x="1218" y="40"/>
                </a:cubicBezTo>
                <a:cubicBezTo>
                  <a:pt x="1218" y="40"/>
                  <a:pt x="1218" y="40"/>
                  <a:pt x="1218" y="40"/>
                </a:cubicBezTo>
                <a:cubicBezTo>
                  <a:pt x="1218" y="40"/>
                  <a:pt x="1218" y="40"/>
                  <a:pt x="1218" y="40"/>
                </a:cubicBezTo>
                <a:cubicBezTo>
                  <a:pt x="1218" y="40"/>
                  <a:pt x="1218" y="40"/>
                  <a:pt x="1218" y="40"/>
                </a:cubicBezTo>
                <a:cubicBezTo>
                  <a:pt x="1218" y="40"/>
                  <a:pt x="1218" y="40"/>
                  <a:pt x="1218" y="41"/>
                </a:cubicBezTo>
                <a:cubicBezTo>
                  <a:pt x="1218" y="41"/>
                  <a:pt x="1218" y="41"/>
                  <a:pt x="1218" y="41"/>
                </a:cubicBezTo>
                <a:cubicBezTo>
                  <a:pt x="1217" y="41"/>
                  <a:pt x="1217" y="41"/>
                  <a:pt x="1217" y="41"/>
                </a:cubicBezTo>
                <a:cubicBezTo>
                  <a:pt x="1217" y="41"/>
                  <a:pt x="1217" y="41"/>
                  <a:pt x="1217" y="41"/>
                </a:cubicBezTo>
                <a:cubicBezTo>
                  <a:pt x="1217" y="41"/>
                  <a:pt x="1217" y="41"/>
                  <a:pt x="1217" y="41"/>
                </a:cubicBezTo>
                <a:cubicBezTo>
                  <a:pt x="1217" y="41"/>
                  <a:pt x="1217" y="41"/>
                  <a:pt x="1217" y="41"/>
                </a:cubicBezTo>
                <a:cubicBezTo>
                  <a:pt x="1217" y="41"/>
                  <a:pt x="1217" y="42"/>
                  <a:pt x="1217" y="42"/>
                </a:cubicBezTo>
                <a:cubicBezTo>
                  <a:pt x="1217" y="42"/>
                  <a:pt x="1217" y="42"/>
                  <a:pt x="1217" y="42"/>
                </a:cubicBezTo>
                <a:cubicBezTo>
                  <a:pt x="1216" y="42"/>
                  <a:pt x="1216" y="42"/>
                  <a:pt x="1216" y="42"/>
                </a:cubicBezTo>
                <a:cubicBezTo>
                  <a:pt x="1216" y="42"/>
                  <a:pt x="1216" y="42"/>
                  <a:pt x="1216" y="42"/>
                </a:cubicBezTo>
                <a:cubicBezTo>
                  <a:pt x="1216" y="42"/>
                  <a:pt x="1216" y="42"/>
                  <a:pt x="1216" y="42"/>
                </a:cubicBezTo>
                <a:cubicBezTo>
                  <a:pt x="1216" y="42"/>
                  <a:pt x="1216" y="42"/>
                  <a:pt x="1216" y="42"/>
                </a:cubicBezTo>
                <a:cubicBezTo>
                  <a:pt x="1216" y="43"/>
                  <a:pt x="1215" y="43"/>
                  <a:pt x="1215" y="43"/>
                </a:cubicBezTo>
                <a:cubicBezTo>
                  <a:pt x="1215" y="43"/>
                  <a:pt x="1215" y="43"/>
                  <a:pt x="1215" y="43"/>
                </a:cubicBezTo>
                <a:cubicBezTo>
                  <a:pt x="1215" y="44"/>
                  <a:pt x="1215" y="44"/>
                  <a:pt x="1215" y="44"/>
                </a:cubicBezTo>
                <a:cubicBezTo>
                  <a:pt x="1215" y="44"/>
                  <a:pt x="1215" y="44"/>
                  <a:pt x="1215" y="44"/>
                </a:cubicBezTo>
                <a:cubicBezTo>
                  <a:pt x="1215" y="44"/>
                  <a:pt x="1215" y="44"/>
                  <a:pt x="1215" y="44"/>
                </a:cubicBezTo>
                <a:cubicBezTo>
                  <a:pt x="1215" y="44"/>
                  <a:pt x="1215" y="44"/>
                  <a:pt x="1215" y="44"/>
                </a:cubicBezTo>
                <a:cubicBezTo>
                  <a:pt x="1214" y="44"/>
                  <a:pt x="1214" y="45"/>
                  <a:pt x="1214" y="45"/>
                </a:cubicBezTo>
                <a:cubicBezTo>
                  <a:pt x="1214" y="45"/>
                  <a:pt x="1214" y="45"/>
                  <a:pt x="1214" y="45"/>
                </a:cubicBezTo>
                <a:cubicBezTo>
                  <a:pt x="1214" y="45"/>
                  <a:pt x="1214" y="45"/>
                  <a:pt x="1214" y="45"/>
                </a:cubicBezTo>
                <a:cubicBezTo>
                  <a:pt x="1214" y="45"/>
                  <a:pt x="1214" y="45"/>
                  <a:pt x="1214" y="45"/>
                </a:cubicBezTo>
                <a:cubicBezTo>
                  <a:pt x="1213" y="45"/>
                  <a:pt x="1213" y="46"/>
                  <a:pt x="1213" y="46"/>
                </a:cubicBezTo>
                <a:cubicBezTo>
                  <a:pt x="1213" y="46"/>
                  <a:pt x="1213" y="46"/>
                  <a:pt x="1213" y="46"/>
                </a:cubicBezTo>
                <a:cubicBezTo>
                  <a:pt x="1213" y="46"/>
                  <a:pt x="1213" y="47"/>
                  <a:pt x="1213" y="47"/>
                </a:cubicBezTo>
                <a:cubicBezTo>
                  <a:pt x="1213" y="47"/>
                  <a:pt x="1213" y="47"/>
                  <a:pt x="1213" y="47"/>
                </a:cubicBezTo>
                <a:cubicBezTo>
                  <a:pt x="1213" y="47"/>
                  <a:pt x="1212" y="47"/>
                  <a:pt x="1212" y="47"/>
                </a:cubicBezTo>
                <a:cubicBezTo>
                  <a:pt x="1212" y="47"/>
                  <a:pt x="1212" y="47"/>
                  <a:pt x="1212" y="47"/>
                </a:cubicBezTo>
                <a:cubicBezTo>
                  <a:pt x="1212" y="47"/>
                  <a:pt x="1212" y="48"/>
                  <a:pt x="1212" y="48"/>
                </a:cubicBezTo>
                <a:cubicBezTo>
                  <a:pt x="1212" y="48"/>
                  <a:pt x="1212" y="48"/>
                  <a:pt x="1212" y="48"/>
                </a:cubicBezTo>
                <a:cubicBezTo>
                  <a:pt x="1212" y="48"/>
                  <a:pt x="1212" y="48"/>
                  <a:pt x="1212" y="49"/>
                </a:cubicBezTo>
                <a:cubicBezTo>
                  <a:pt x="1212" y="49"/>
                  <a:pt x="1212" y="49"/>
                  <a:pt x="1212" y="49"/>
                </a:cubicBezTo>
                <a:cubicBezTo>
                  <a:pt x="1211" y="49"/>
                  <a:pt x="1212" y="49"/>
                  <a:pt x="1211" y="49"/>
                </a:cubicBezTo>
                <a:cubicBezTo>
                  <a:pt x="1211" y="49"/>
                  <a:pt x="1211" y="49"/>
                  <a:pt x="1211" y="49"/>
                </a:cubicBezTo>
                <a:cubicBezTo>
                  <a:pt x="1211" y="49"/>
                  <a:pt x="1211" y="50"/>
                  <a:pt x="1211" y="50"/>
                </a:cubicBezTo>
                <a:cubicBezTo>
                  <a:pt x="1211" y="50"/>
                  <a:pt x="1211" y="50"/>
                  <a:pt x="1211" y="50"/>
                </a:cubicBezTo>
                <a:cubicBezTo>
                  <a:pt x="1211" y="50"/>
                  <a:pt x="1211" y="51"/>
                  <a:pt x="1211" y="51"/>
                </a:cubicBezTo>
                <a:cubicBezTo>
                  <a:pt x="1211" y="51"/>
                  <a:pt x="1211" y="51"/>
                  <a:pt x="1211" y="51"/>
                </a:cubicBezTo>
                <a:cubicBezTo>
                  <a:pt x="1210" y="51"/>
                  <a:pt x="1210" y="51"/>
                  <a:pt x="1210" y="51"/>
                </a:cubicBezTo>
                <a:cubicBezTo>
                  <a:pt x="1210" y="51"/>
                  <a:pt x="1210" y="51"/>
                  <a:pt x="1210" y="51"/>
                </a:cubicBezTo>
                <a:cubicBezTo>
                  <a:pt x="1210" y="52"/>
                  <a:pt x="1210" y="52"/>
                  <a:pt x="1210" y="52"/>
                </a:cubicBezTo>
                <a:cubicBezTo>
                  <a:pt x="1210" y="52"/>
                  <a:pt x="1210" y="52"/>
                  <a:pt x="1210" y="52"/>
                </a:cubicBezTo>
                <a:cubicBezTo>
                  <a:pt x="1210" y="53"/>
                  <a:pt x="1210" y="53"/>
                  <a:pt x="1210" y="53"/>
                </a:cubicBezTo>
                <a:cubicBezTo>
                  <a:pt x="1210" y="53"/>
                  <a:pt x="1210" y="53"/>
                  <a:pt x="1210" y="53"/>
                </a:cubicBezTo>
                <a:cubicBezTo>
                  <a:pt x="1209" y="53"/>
                  <a:pt x="1209" y="54"/>
                  <a:pt x="1209" y="54"/>
                </a:cubicBezTo>
                <a:cubicBezTo>
                  <a:pt x="1209" y="54"/>
                  <a:pt x="1209" y="54"/>
                  <a:pt x="1209" y="54"/>
                </a:cubicBezTo>
                <a:cubicBezTo>
                  <a:pt x="1209" y="54"/>
                  <a:pt x="1209" y="54"/>
                  <a:pt x="1209" y="54"/>
                </a:cubicBezTo>
                <a:cubicBezTo>
                  <a:pt x="1209" y="54"/>
                  <a:pt x="1209" y="55"/>
                  <a:pt x="1209" y="55"/>
                </a:cubicBezTo>
                <a:cubicBezTo>
                  <a:pt x="1209" y="55"/>
                  <a:pt x="1209" y="55"/>
                  <a:pt x="1209" y="55"/>
                </a:cubicBezTo>
                <a:cubicBezTo>
                  <a:pt x="1209" y="55"/>
                  <a:pt x="1209" y="55"/>
                  <a:pt x="1209" y="55"/>
                </a:cubicBezTo>
                <a:cubicBezTo>
                  <a:pt x="1209" y="56"/>
                  <a:pt x="1209" y="56"/>
                  <a:pt x="1209" y="56"/>
                </a:cubicBezTo>
                <a:cubicBezTo>
                  <a:pt x="1209" y="56"/>
                  <a:pt x="1209" y="56"/>
                  <a:pt x="1209" y="56"/>
                </a:cubicBezTo>
                <a:cubicBezTo>
                  <a:pt x="1208" y="57"/>
                  <a:pt x="1208" y="57"/>
                  <a:pt x="1208" y="57"/>
                </a:cubicBezTo>
                <a:cubicBezTo>
                  <a:pt x="1208" y="58"/>
                  <a:pt x="1208" y="58"/>
                  <a:pt x="1208" y="58"/>
                </a:cubicBezTo>
                <a:cubicBezTo>
                  <a:pt x="1208" y="58"/>
                  <a:pt x="1208" y="58"/>
                  <a:pt x="1208" y="58"/>
                </a:cubicBezTo>
                <a:cubicBezTo>
                  <a:pt x="1208" y="58"/>
                  <a:pt x="1208" y="59"/>
                  <a:pt x="1208" y="59"/>
                </a:cubicBezTo>
                <a:cubicBezTo>
                  <a:pt x="1208" y="59"/>
                  <a:pt x="1208" y="59"/>
                  <a:pt x="1208" y="59"/>
                </a:cubicBezTo>
                <a:cubicBezTo>
                  <a:pt x="1208" y="60"/>
                  <a:pt x="1208" y="60"/>
                  <a:pt x="1208" y="61"/>
                </a:cubicBezTo>
                <a:cubicBezTo>
                  <a:pt x="1208" y="61"/>
                  <a:pt x="1208" y="61"/>
                  <a:pt x="1207" y="61"/>
                </a:cubicBezTo>
                <a:cubicBezTo>
                  <a:pt x="1207" y="62"/>
                  <a:pt x="1208" y="63"/>
                  <a:pt x="1207" y="63"/>
                </a:cubicBezTo>
                <a:cubicBezTo>
                  <a:pt x="1207" y="64"/>
                  <a:pt x="1207" y="64"/>
                  <a:pt x="1207" y="64"/>
                </a:cubicBezTo>
                <a:cubicBezTo>
                  <a:pt x="1207" y="67"/>
                  <a:pt x="1207" y="70"/>
                  <a:pt x="1207" y="73"/>
                </a:cubicBezTo>
                <a:cubicBezTo>
                  <a:pt x="1207" y="73"/>
                  <a:pt x="1207" y="73"/>
                  <a:pt x="1207" y="74"/>
                </a:cubicBezTo>
                <a:cubicBezTo>
                  <a:pt x="1208" y="74"/>
                  <a:pt x="1207" y="75"/>
                  <a:pt x="1207" y="76"/>
                </a:cubicBezTo>
                <a:cubicBezTo>
                  <a:pt x="1208" y="76"/>
                  <a:pt x="1208" y="76"/>
                  <a:pt x="1208" y="76"/>
                </a:cubicBezTo>
                <a:cubicBezTo>
                  <a:pt x="1208" y="77"/>
                  <a:pt x="1207" y="78"/>
                  <a:pt x="1208" y="78"/>
                </a:cubicBezTo>
                <a:cubicBezTo>
                  <a:pt x="1208" y="78"/>
                  <a:pt x="1208" y="78"/>
                  <a:pt x="1208" y="78"/>
                </a:cubicBezTo>
                <a:cubicBezTo>
                  <a:pt x="1208" y="79"/>
                  <a:pt x="1208" y="79"/>
                  <a:pt x="1208" y="80"/>
                </a:cubicBezTo>
                <a:cubicBezTo>
                  <a:pt x="1208" y="80"/>
                  <a:pt x="1208" y="80"/>
                  <a:pt x="1208" y="80"/>
                </a:cubicBezTo>
                <a:cubicBezTo>
                  <a:pt x="1208" y="80"/>
                  <a:pt x="1208" y="80"/>
                  <a:pt x="1208" y="80"/>
                </a:cubicBezTo>
                <a:cubicBezTo>
                  <a:pt x="1208" y="80"/>
                  <a:pt x="1208" y="81"/>
                  <a:pt x="1209" y="81"/>
                </a:cubicBezTo>
                <a:cubicBezTo>
                  <a:pt x="1209" y="81"/>
                  <a:pt x="1209" y="81"/>
                  <a:pt x="1209" y="81"/>
                </a:cubicBezTo>
                <a:cubicBezTo>
                  <a:pt x="1209" y="82"/>
                  <a:pt x="1209" y="82"/>
                  <a:pt x="1209" y="82"/>
                </a:cubicBezTo>
                <a:cubicBezTo>
                  <a:pt x="1209" y="82"/>
                  <a:pt x="1209" y="82"/>
                  <a:pt x="1209" y="82"/>
                </a:cubicBezTo>
                <a:cubicBezTo>
                  <a:pt x="1209" y="82"/>
                  <a:pt x="1209" y="83"/>
                  <a:pt x="1209" y="83"/>
                </a:cubicBezTo>
                <a:cubicBezTo>
                  <a:pt x="1209" y="83"/>
                  <a:pt x="1209" y="83"/>
                  <a:pt x="1209" y="84"/>
                </a:cubicBezTo>
                <a:cubicBezTo>
                  <a:pt x="1209" y="84"/>
                  <a:pt x="1209" y="84"/>
                  <a:pt x="1209" y="84"/>
                </a:cubicBezTo>
                <a:cubicBezTo>
                  <a:pt x="1209" y="84"/>
                  <a:pt x="1209" y="84"/>
                  <a:pt x="1210" y="84"/>
                </a:cubicBezTo>
                <a:cubicBezTo>
                  <a:pt x="1210" y="85"/>
                  <a:pt x="1210" y="85"/>
                  <a:pt x="1210" y="85"/>
                </a:cubicBezTo>
                <a:cubicBezTo>
                  <a:pt x="1210" y="85"/>
                  <a:pt x="1210" y="85"/>
                  <a:pt x="1210" y="85"/>
                </a:cubicBezTo>
                <a:cubicBezTo>
                  <a:pt x="1210" y="85"/>
                  <a:pt x="1210" y="85"/>
                  <a:pt x="1210" y="85"/>
                </a:cubicBezTo>
                <a:cubicBezTo>
                  <a:pt x="1210" y="86"/>
                  <a:pt x="1210" y="86"/>
                  <a:pt x="1210" y="86"/>
                </a:cubicBezTo>
                <a:cubicBezTo>
                  <a:pt x="1210" y="86"/>
                  <a:pt x="1210" y="86"/>
                  <a:pt x="1210" y="86"/>
                </a:cubicBezTo>
                <a:cubicBezTo>
                  <a:pt x="1210" y="86"/>
                  <a:pt x="1210" y="86"/>
                  <a:pt x="1210" y="86"/>
                </a:cubicBezTo>
                <a:cubicBezTo>
                  <a:pt x="1210" y="87"/>
                  <a:pt x="1210" y="87"/>
                  <a:pt x="1211" y="87"/>
                </a:cubicBezTo>
                <a:cubicBezTo>
                  <a:pt x="1211" y="87"/>
                  <a:pt x="1211" y="87"/>
                  <a:pt x="1211" y="87"/>
                </a:cubicBezTo>
                <a:cubicBezTo>
                  <a:pt x="1211" y="87"/>
                  <a:pt x="1211" y="88"/>
                  <a:pt x="1211" y="88"/>
                </a:cubicBezTo>
                <a:cubicBezTo>
                  <a:pt x="1211" y="88"/>
                  <a:pt x="1211" y="88"/>
                  <a:pt x="1211" y="88"/>
                </a:cubicBezTo>
                <a:cubicBezTo>
                  <a:pt x="1211" y="88"/>
                  <a:pt x="1211" y="88"/>
                  <a:pt x="1211" y="89"/>
                </a:cubicBezTo>
                <a:cubicBezTo>
                  <a:pt x="1211" y="89"/>
                  <a:pt x="1211" y="89"/>
                  <a:pt x="1211" y="89"/>
                </a:cubicBezTo>
                <a:cubicBezTo>
                  <a:pt x="1212" y="89"/>
                  <a:pt x="1211" y="89"/>
                  <a:pt x="1212" y="89"/>
                </a:cubicBezTo>
                <a:cubicBezTo>
                  <a:pt x="1212" y="89"/>
                  <a:pt x="1212" y="89"/>
                  <a:pt x="1212" y="89"/>
                </a:cubicBezTo>
                <a:cubicBezTo>
                  <a:pt x="1212" y="89"/>
                  <a:pt x="1212" y="90"/>
                  <a:pt x="1212" y="90"/>
                </a:cubicBezTo>
                <a:cubicBezTo>
                  <a:pt x="1212" y="90"/>
                  <a:pt x="1212" y="90"/>
                  <a:pt x="1212" y="90"/>
                </a:cubicBezTo>
                <a:cubicBezTo>
                  <a:pt x="1212" y="90"/>
                  <a:pt x="1212" y="90"/>
                  <a:pt x="1212" y="90"/>
                </a:cubicBezTo>
                <a:cubicBezTo>
                  <a:pt x="1212" y="90"/>
                  <a:pt x="1212" y="90"/>
                  <a:pt x="1212" y="90"/>
                </a:cubicBezTo>
                <a:cubicBezTo>
                  <a:pt x="1213" y="91"/>
                  <a:pt x="1213" y="91"/>
                  <a:pt x="1213" y="91"/>
                </a:cubicBezTo>
                <a:cubicBezTo>
                  <a:pt x="1213" y="91"/>
                  <a:pt x="1213" y="91"/>
                  <a:pt x="1213" y="91"/>
                </a:cubicBezTo>
                <a:cubicBezTo>
                  <a:pt x="1213" y="92"/>
                  <a:pt x="1213" y="92"/>
                  <a:pt x="1213" y="92"/>
                </a:cubicBezTo>
                <a:cubicBezTo>
                  <a:pt x="1213" y="92"/>
                  <a:pt x="1213" y="92"/>
                  <a:pt x="1213" y="92"/>
                </a:cubicBezTo>
                <a:cubicBezTo>
                  <a:pt x="1214" y="92"/>
                  <a:pt x="1214" y="92"/>
                  <a:pt x="1214" y="92"/>
                </a:cubicBezTo>
                <a:cubicBezTo>
                  <a:pt x="1214" y="92"/>
                  <a:pt x="1214" y="92"/>
                  <a:pt x="1214" y="92"/>
                </a:cubicBezTo>
                <a:cubicBezTo>
                  <a:pt x="1214" y="93"/>
                  <a:pt x="1214" y="93"/>
                  <a:pt x="1214" y="93"/>
                </a:cubicBezTo>
                <a:cubicBezTo>
                  <a:pt x="1214" y="93"/>
                  <a:pt x="1214" y="93"/>
                  <a:pt x="1214" y="93"/>
                </a:cubicBezTo>
                <a:cubicBezTo>
                  <a:pt x="1214" y="93"/>
                  <a:pt x="1214" y="93"/>
                  <a:pt x="1214" y="93"/>
                </a:cubicBezTo>
                <a:cubicBezTo>
                  <a:pt x="1214" y="93"/>
                  <a:pt x="1214" y="93"/>
                  <a:pt x="1214" y="93"/>
                </a:cubicBezTo>
                <a:cubicBezTo>
                  <a:pt x="1215" y="93"/>
                  <a:pt x="1215" y="94"/>
                  <a:pt x="1215" y="94"/>
                </a:cubicBezTo>
                <a:cubicBezTo>
                  <a:pt x="1215" y="94"/>
                  <a:pt x="1215" y="94"/>
                  <a:pt x="1215" y="94"/>
                </a:cubicBezTo>
                <a:cubicBezTo>
                  <a:pt x="1215" y="94"/>
                  <a:pt x="1215" y="94"/>
                  <a:pt x="1216" y="94"/>
                </a:cubicBezTo>
                <a:cubicBezTo>
                  <a:pt x="1216" y="94"/>
                  <a:pt x="1216" y="94"/>
                  <a:pt x="1216" y="94"/>
                </a:cubicBezTo>
                <a:cubicBezTo>
                  <a:pt x="1216" y="95"/>
                  <a:pt x="1216" y="95"/>
                  <a:pt x="1216" y="95"/>
                </a:cubicBezTo>
                <a:cubicBezTo>
                  <a:pt x="1216" y="95"/>
                  <a:pt x="1216" y="95"/>
                  <a:pt x="1216" y="95"/>
                </a:cubicBezTo>
                <a:cubicBezTo>
                  <a:pt x="1216" y="95"/>
                  <a:pt x="1216" y="95"/>
                  <a:pt x="1216" y="95"/>
                </a:cubicBezTo>
                <a:cubicBezTo>
                  <a:pt x="1216" y="95"/>
                  <a:pt x="1216" y="95"/>
                  <a:pt x="1216" y="95"/>
                </a:cubicBezTo>
                <a:cubicBezTo>
                  <a:pt x="1216" y="95"/>
                  <a:pt x="1216" y="95"/>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7"/>
                  <a:pt x="1218" y="97"/>
                </a:cubicBezTo>
                <a:cubicBezTo>
                  <a:pt x="1218" y="97"/>
                  <a:pt x="1218" y="97"/>
                  <a:pt x="1218" y="97"/>
                </a:cubicBezTo>
                <a:cubicBezTo>
                  <a:pt x="1218" y="97"/>
                  <a:pt x="1218" y="97"/>
                  <a:pt x="1219" y="97"/>
                </a:cubicBezTo>
                <a:cubicBezTo>
                  <a:pt x="1219" y="97"/>
                  <a:pt x="1219" y="97"/>
                  <a:pt x="1219" y="97"/>
                </a:cubicBezTo>
                <a:cubicBezTo>
                  <a:pt x="1219" y="97"/>
                  <a:pt x="1219" y="98"/>
                  <a:pt x="1219" y="98"/>
                </a:cubicBezTo>
                <a:cubicBezTo>
                  <a:pt x="1219" y="98"/>
                  <a:pt x="1219" y="98"/>
                  <a:pt x="1219" y="98"/>
                </a:cubicBezTo>
                <a:cubicBezTo>
                  <a:pt x="1219" y="98"/>
                  <a:pt x="1219" y="98"/>
                  <a:pt x="1219" y="98"/>
                </a:cubicBezTo>
                <a:cubicBezTo>
                  <a:pt x="1219" y="98"/>
                  <a:pt x="1219" y="98"/>
                  <a:pt x="1219" y="98"/>
                </a:cubicBezTo>
                <a:cubicBezTo>
                  <a:pt x="1219" y="98"/>
                  <a:pt x="1220" y="98"/>
                  <a:pt x="1220" y="98"/>
                </a:cubicBezTo>
                <a:cubicBezTo>
                  <a:pt x="1220" y="98"/>
                  <a:pt x="1220" y="98"/>
                  <a:pt x="1220" y="98"/>
                </a:cubicBezTo>
                <a:cubicBezTo>
                  <a:pt x="1220" y="99"/>
                  <a:pt x="1220" y="99"/>
                  <a:pt x="1220" y="99"/>
                </a:cubicBezTo>
                <a:cubicBezTo>
                  <a:pt x="1220" y="99"/>
                  <a:pt x="1220" y="99"/>
                  <a:pt x="1220" y="99"/>
                </a:cubicBezTo>
                <a:cubicBezTo>
                  <a:pt x="1221" y="99"/>
                  <a:pt x="1221" y="99"/>
                  <a:pt x="1221" y="99"/>
                </a:cubicBezTo>
                <a:cubicBezTo>
                  <a:pt x="1221" y="99"/>
                  <a:pt x="1221" y="99"/>
                  <a:pt x="1221" y="99"/>
                </a:cubicBezTo>
                <a:cubicBezTo>
                  <a:pt x="1221" y="99"/>
                  <a:pt x="1222" y="99"/>
                  <a:pt x="1222" y="99"/>
                </a:cubicBezTo>
                <a:cubicBezTo>
                  <a:pt x="1222" y="99"/>
                  <a:pt x="1222" y="99"/>
                  <a:pt x="1222" y="99"/>
                </a:cubicBezTo>
                <a:cubicBezTo>
                  <a:pt x="1222" y="100"/>
                  <a:pt x="1222" y="100"/>
                  <a:pt x="1222" y="100"/>
                </a:cubicBezTo>
                <a:cubicBezTo>
                  <a:pt x="1222" y="100"/>
                  <a:pt x="1222" y="100"/>
                  <a:pt x="1222" y="100"/>
                </a:cubicBezTo>
                <a:cubicBezTo>
                  <a:pt x="1222" y="100"/>
                  <a:pt x="1222" y="100"/>
                  <a:pt x="1222" y="100"/>
                </a:cubicBezTo>
                <a:cubicBezTo>
                  <a:pt x="1223" y="100"/>
                  <a:pt x="1223" y="100"/>
                  <a:pt x="1223" y="100"/>
                </a:cubicBezTo>
                <a:cubicBezTo>
                  <a:pt x="1223" y="100"/>
                  <a:pt x="1223" y="100"/>
                  <a:pt x="1223" y="100"/>
                </a:cubicBezTo>
                <a:cubicBezTo>
                  <a:pt x="1223" y="100"/>
                  <a:pt x="1223" y="100"/>
                  <a:pt x="1224" y="100"/>
                </a:cubicBezTo>
                <a:cubicBezTo>
                  <a:pt x="1224" y="100"/>
                  <a:pt x="1224" y="100"/>
                  <a:pt x="1224" y="100"/>
                </a:cubicBezTo>
                <a:cubicBezTo>
                  <a:pt x="1224" y="101"/>
                  <a:pt x="1224" y="101"/>
                  <a:pt x="1224" y="101"/>
                </a:cubicBezTo>
                <a:cubicBezTo>
                  <a:pt x="1224" y="101"/>
                  <a:pt x="1224" y="101"/>
                  <a:pt x="1225" y="101"/>
                </a:cubicBezTo>
                <a:cubicBezTo>
                  <a:pt x="1225" y="101"/>
                  <a:pt x="1225" y="101"/>
                  <a:pt x="1225" y="101"/>
                </a:cubicBezTo>
                <a:cubicBezTo>
                  <a:pt x="1225" y="101"/>
                  <a:pt x="1225" y="101"/>
                  <a:pt x="1225" y="101"/>
                </a:cubicBezTo>
                <a:cubicBezTo>
                  <a:pt x="1225" y="101"/>
                  <a:pt x="1225" y="101"/>
                  <a:pt x="1225" y="101"/>
                </a:cubicBezTo>
                <a:cubicBezTo>
                  <a:pt x="1226" y="102"/>
                  <a:pt x="1226" y="101"/>
                  <a:pt x="1226" y="101"/>
                </a:cubicBezTo>
                <a:cubicBezTo>
                  <a:pt x="1226" y="101"/>
                  <a:pt x="1226" y="101"/>
                  <a:pt x="1226" y="101"/>
                </a:cubicBezTo>
                <a:cubicBezTo>
                  <a:pt x="1227" y="102"/>
                  <a:pt x="1227" y="102"/>
                  <a:pt x="1227" y="102"/>
                </a:cubicBezTo>
                <a:cubicBezTo>
                  <a:pt x="1227" y="102"/>
                  <a:pt x="1227" y="102"/>
                  <a:pt x="1227" y="102"/>
                </a:cubicBezTo>
                <a:cubicBezTo>
                  <a:pt x="1228" y="102"/>
                  <a:pt x="1228" y="102"/>
                  <a:pt x="1229" y="102"/>
                </a:cubicBezTo>
                <a:cubicBezTo>
                  <a:pt x="1229" y="102"/>
                  <a:pt x="1229" y="102"/>
                  <a:pt x="1229" y="102"/>
                </a:cubicBezTo>
                <a:cubicBezTo>
                  <a:pt x="1229" y="102"/>
                  <a:pt x="1229" y="102"/>
                  <a:pt x="1229" y="102"/>
                </a:cubicBezTo>
                <a:cubicBezTo>
                  <a:pt x="1229" y="103"/>
                  <a:pt x="1230" y="102"/>
                  <a:pt x="1230" y="103"/>
                </a:cubicBezTo>
                <a:cubicBezTo>
                  <a:pt x="1230" y="102"/>
                  <a:pt x="1230" y="102"/>
                  <a:pt x="1230" y="102"/>
                </a:cubicBezTo>
                <a:cubicBezTo>
                  <a:pt x="1230" y="103"/>
                  <a:pt x="1230" y="103"/>
                  <a:pt x="1230" y="103"/>
                </a:cubicBezTo>
                <a:cubicBezTo>
                  <a:pt x="1231" y="103"/>
                  <a:pt x="1232" y="103"/>
                  <a:pt x="1232" y="103"/>
                </a:cubicBezTo>
                <a:cubicBezTo>
                  <a:pt x="1232" y="103"/>
                  <a:pt x="1232" y="103"/>
                  <a:pt x="1233" y="103"/>
                </a:cubicBezTo>
                <a:cubicBezTo>
                  <a:pt x="1234" y="103"/>
                  <a:pt x="1235" y="103"/>
                  <a:pt x="1236" y="103"/>
                </a:cubicBezTo>
                <a:cubicBezTo>
                  <a:pt x="1237" y="103"/>
                  <a:pt x="1238" y="103"/>
                  <a:pt x="1239" y="103"/>
                </a:cubicBezTo>
                <a:cubicBezTo>
                  <a:pt x="1241" y="103"/>
                  <a:pt x="1242" y="103"/>
                  <a:pt x="1244" y="103"/>
                </a:cubicBezTo>
                <a:cubicBezTo>
                  <a:pt x="1244" y="103"/>
                  <a:pt x="1244" y="103"/>
                  <a:pt x="1244" y="103"/>
                </a:cubicBezTo>
                <a:cubicBezTo>
                  <a:pt x="1245" y="103"/>
                  <a:pt x="1246" y="103"/>
                  <a:pt x="1246" y="103"/>
                </a:cubicBezTo>
                <a:cubicBezTo>
                  <a:pt x="1246" y="103"/>
                  <a:pt x="1247" y="103"/>
                  <a:pt x="1247" y="103"/>
                </a:cubicBezTo>
                <a:cubicBezTo>
                  <a:pt x="1247" y="102"/>
                  <a:pt x="1248" y="103"/>
                  <a:pt x="1248" y="102"/>
                </a:cubicBezTo>
                <a:cubicBezTo>
                  <a:pt x="1248" y="102"/>
                  <a:pt x="1248" y="102"/>
                  <a:pt x="1248" y="102"/>
                </a:cubicBezTo>
                <a:cubicBezTo>
                  <a:pt x="1248" y="102"/>
                  <a:pt x="1248" y="102"/>
                  <a:pt x="1248" y="102"/>
                </a:cubicBezTo>
                <a:cubicBezTo>
                  <a:pt x="1249" y="102"/>
                  <a:pt x="1249" y="102"/>
                  <a:pt x="1250" y="102"/>
                </a:cubicBezTo>
                <a:cubicBezTo>
                  <a:pt x="1250" y="102"/>
                  <a:pt x="1250" y="102"/>
                  <a:pt x="1250" y="102"/>
                </a:cubicBezTo>
                <a:cubicBezTo>
                  <a:pt x="1250" y="102"/>
                  <a:pt x="1250" y="102"/>
                  <a:pt x="1250" y="102"/>
                </a:cubicBezTo>
                <a:cubicBezTo>
                  <a:pt x="1250" y="102"/>
                  <a:pt x="1251" y="102"/>
                  <a:pt x="1251" y="102"/>
                </a:cubicBezTo>
                <a:cubicBezTo>
                  <a:pt x="1251" y="101"/>
                  <a:pt x="1251" y="101"/>
                  <a:pt x="1251" y="101"/>
                </a:cubicBezTo>
                <a:cubicBezTo>
                  <a:pt x="1251" y="101"/>
                  <a:pt x="1251" y="101"/>
                  <a:pt x="1251" y="101"/>
                </a:cubicBezTo>
                <a:cubicBezTo>
                  <a:pt x="1252" y="101"/>
                  <a:pt x="1252" y="101"/>
                  <a:pt x="1252" y="101"/>
                </a:cubicBezTo>
                <a:cubicBezTo>
                  <a:pt x="1252" y="101"/>
                  <a:pt x="1252" y="101"/>
                  <a:pt x="1252" y="101"/>
                </a:cubicBezTo>
                <a:cubicBezTo>
                  <a:pt x="1252" y="101"/>
                  <a:pt x="1252" y="101"/>
                  <a:pt x="1252" y="101"/>
                </a:cubicBezTo>
                <a:cubicBezTo>
                  <a:pt x="1253" y="101"/>
                  <a:pt x="1253" y="101"/>
                  <a:pt x="1253" y="101"/>
                </a:cubicBezTo>
                <a:cubicBezTo>
                  <a:pt x="1253" y="101"/>
                  <a:pt x="1253" y="101"/>
                  <a:pt x="1253" y="101"/>
                </a:cubicBezTo>
                <a:cubicBezTo>
                  <a:pt x="1253" y="101"/>
                  <a:pt x="1253" y="101"/>
                  <a:pt x="1253" y="101"/>
                </a:cubicBezTo>
                <a:cubicBezTo>
                  <a:pt x="1254" y="101"/>
                  <a:pt x="1254" y="101"/>
                  <a:pt x="1254" y="100"/>
                </a:cubicBezTo>
                <a:cubicBezTo>
                  <a:pt x="1254" y="100"/>
                  <a:pt x="1254" y="100"/>
                  <a:pt x="1254" y="100"/>
                </a:cubicBezTo>
                <a:cubicBezTo>
                  <a:pt x="1254" y="100"/>
                  <a:pt x="1255" y="100"/>
                  <a:pt x="1255" y="100"/>
                </a:cubicBezTo>
                <a:cubicBezTo>
                  <a:pt x="1255" y="100"/>
                  <a:pt x="1255" y="100"/>
                  <a:pt x="1255" y="100"/>
                </a:cubicBezTo>
                <a:cubicBezTo>
                  <a:pt x="1255" y="100"/>
                  <a:pt x="1256" y="100"/>
                  <a:pt x="1256" y="100"/>
                </a:cubicBezTo>
                <a:cubicBezTo>
                  <a:pt x="1256" y="100"/>
                  <a:pt x="1256" y="100"/>
                  <a:pt x="1256" y="100"/>
                </a:cubicBezTo>
                <a:cubicBezTo>
                  <a:pt x="1256" y="100"/>
                  <a:pt x="1256" y="100"/>
                  <a:pt x="1257" y="99"/>
                </a:cubicBezTo>
                <a:cubicBezTo>
                  <a:pt x="1257" y="99"/>
                  <a:pt x="1257" y="99"/>
                  <a:pt x="1257" y="99"/>
                </a:cubicBezTo>
                <a:cubicBezTo>
                  <a:pt x="1257" y="99"/>
                  <a:pt x="1257" y="99"/>
                  <a:pt x="1257" y="99"/>
                </a:cubicBezTo>
                <a:cubicBezTo>
                  <a:pt x="1257" y="99"/>
                  <a:pt x="1257" y="99"/>
                  <a:pt x="1257" y="99"/>
                </a:cubicBezTo>
                <a:cubicBezTo>
                  <a:pt x="1257" y="99"/>
                  <a:pt x="1258" y="99"/>
                  <a:pt x="1258" y="99"/>
                </a:cubicBezTo>
                <a:cubicBezTo>
                  <a:pt x="1258" y="99"/>
                  <a:pt x="1258" y="99"/>
                  <a:pt x="1258" y="99"/>
                </a:cubicBezTo>
                <a:cubicBezTo>
                  <a:pt x="1258" y="99"/>
                  <a:pt x="1259" y="99"/>
                  <a:pt x="1259" y="98"/>
                </a:cubicBezTo>
                <a:cubicBezTo>
                  <a:pt x="1259" y="98"/>
                  <a:pt x="1259" y="98"/>
                  <a:pt x="1259" y="98"/>
                </a:cubicBezTo>
                <a:cubicBezTo>
                  <a:pt x="1259" y="98"/>
                  <a:pt x="1259" y="98"/>
                  <a:pt x="1259" y="98"/>
                </a:cubicBezTo>
                <a:cubicBezTo>
                  <a:pt x="1259" y="98"/>
                  <a:pt x="1259" y="98"/>
                  <a:pt x="1259" y="98"/>
                </a:cubicBezTo>
                <a:cubicBezTo>
                  <a:pt x="1259" y="98"/>
                  <a:pt x="1260" y="98"/>
                  <a:pt x="1260" y="98"/>
                </a:cubicBezTo>
                <a:cubicBezTo>
                  <a:pt x="1260" y="98"/>
                  <a:pt x="1260" y="98"/>
                  <a:pt x="1260" y="98"/>
                </a:cubicBezTo>
                <a:cubicBezTo>
                  <a:pt x="1260" y="98"/>
                  <a:pt x="1260" y="97"/>
                  <a:pt x="1260" y="97"/>
                </a:cubicBezTo>
                <a:cubicBezTo>
                  <a:pt x="1260" y="97"/>
                  <a:pt x="1260" y="97"/>
                  <a:pt x="1260" y="97"/>
                </a:cubicBezTo>
                <a:cubicBezTo>
                  <a:pt x="1260" y="97"/>
                  <a:pt x="1261" y="97"/>
                  <a:pt x="1261" y="97"/>
                </a:cubicBezTo>
                <a:cubicBezTo>
                  <a:pt x="1261" y="97"/>
                  <a:pt x="1261" y="97"/>
                  <a:pt x="1261" y="97"/>
                </a:cubicBezTo>
                <a:cubicBezTo>
                  <a:pt x="1261" y="94"/>
                  <a:pt x="1261" y="91"/>
                  <a:pt x="1261" y="87"/>
                </a:cubicBezTo>
                <a:cubicBezTo>
                  <a:pt x="1261" y="86"/>
                  <a:pt x="1260" y="87"/>
                  <a:pt x="1260" y="87"/>
                </a:cubicBezTo>
                <a:cubicBezTo>
                  <a:pt x="1260" y="87"/>
                  <a:pt x="1260" y="87"/>
                  <a:pt x="1260" y="87"/>
                </a:cubicBezTo>
                <a:cubicBezTo>
                  <a:pt x="1260" y="87"/>
                  <a:pt x="1260" y="87"/>
                  <a:pt x="1259" y="88"/>
                </a:cubicBezTo>
                <a:cubicBezTo>
                  <a:pt x="1259" y="88"/>
                  <a:pt x="1259" y="88"/>
                  <a:pt x="1259" y="88"/>
                </a:cubicBezTo>
                <a:cubicBezTo>
                  <a:pt x="1259" y="88"/>
                  <a:pt x="1259" y="88"/>
                  <a:pt x="1259" y="88"/>
                </a:cubicBezTo>
                <a:cubicBezTo>
                  <a:pt x="1259" y="88"/>
                  <a:pt x="1259" y="88"/>
                  <a:pt x="1259" y="88"/>
                </a:cubicBezTo>
                <a:cubicBezTo>
                  <a:pt x="1259" y="88"/>
                  <a:pt x="1258" y="88"/>
                  <a:pt x="1258" y="88"/>
                </a:cubicBezTo>
                <a:cubicBezTo>
                  <a:pt x="1258" y="88"/>
                  <a:pt x="1258" y="88"/>
                  <a:pt x="1258" y="88"/>
                </a:cubicBezTo>
                <a:cubicBezTo>
                  <a:pt x="1258" y="88"/>
                  <a:pt x="1258" y="88"/>
                  <a:pt x="1258" y="89"/>
                </a:cubicBezTo>
                <a:cubicBezTo>
                  <a:pt x="1258" y="89"/>
                  <a:pt x="1258" y="89"/>
                  <a:pt x="1258" y="89"/>
                </a:cubicBezTo>
                <a:cubicBezTo>
                  <a:pt x="1258" y="89"/>
                  <a:pt x="1257" y="89"/>
                  <a:pt x="1257" y="89"/>
                </a:cubicBezTo>
                <a:cubicBezTo>
                  <a:pt x="1257" y="89"/>
                  <a:pt x="1257" y="89"/>
                  <a:pt x="1257" y="89"/>
                </a:cubicBezTo>
                <a:cubicBezTo>
                  <a:pt x="1257" y="89"/>
                  <a:pt x="1257" y="89"/>
                  <a:pt x="1257" y="89"/>
                </a:cubicBezTo>
                <a:cubicBezTo>
                  <a:pt x="1257" y="89"/>
                  <a:pt x="1257" y="89"/>
                  <a:pt x="1257" y="89"/>
                </a:cubicBezTo>
                <a:cubicBezTo>
                  <a:pt x="1256" y="90"/>
                  <a:pt x="1256" y="89"/>
                  <a:pt x="1256" y="90"/>
                </a:cubicBezTo>
                <a:cubicBezTo>
                  <a:pt x="1256" y="90"/>
                  <a:pt x="1256" y="90"/>
                  <a:pt x="1256" y="90"/>
                </a:cubicBezTo>
                <a:cubicBezTo>
                  <a:pt x="1256" y="90"/>
                  <a:pt x="1255" y="90"/>
                  <a:pt x="1255" y="90"/>
                </a:cubicBezTo>
                <a:cubicBezTo>
                  <a:pt x="1255" y="90"/>
                  <a:pt x="1255" y="90"/>
                  <a:pt x="1255" y="90"/>
                </a:cubicBezTo>
                <a:cubicBezTo>
                  <a:pt x="1255" y="90"/>
                  <a:pt x="1255" y="90"/>
                  <a:pt x="1255" y="90"/>
                </a:cubicBezTo>
                <a:cubicBezTo>
                  <a:pt x="1255" y="90"/>
                  <a:pt x="1255" y="90"/>
                  <a:pt x="1255" y="90"/>
                </a:cubicBezTo>
                <a:cubicBezTo>
                  <a:pt x="1255" y="90"/>
                  <a:pt x="1255" y="90"/>
                  <a:pt x="1255" y="90"/>
                </a:cubicBezTo>
                <a:cubicBezTo>
                  <a:pt x="1254" y="91"/>
                  <a:pt x="1254" y="90"/>
                  <a:pt x="1254" y="91"/>
                </a:cubicBezTo>
                <a:cubicBezTo>
                  <a:pt x="1254" y="91"/>
                  <a:pt x="1254" y="91"/>
                  <a:pt x="1254" y="91"/>
                </a:cubicBezTo>
                <a:cubicBezTo>
                  <a:pt x="1254" y="91"/>
                  <a:pt x="1253" y="91"/>
                  <a:pt x="1253" y="91"/>
                </a:cubicBezTo>
                <a:cubicBezTo>
                  <a:pt x="1253" y="91"/>
                  <a:pt x="1253" y="91"/>
                  <a:pt x="1253" y="91"/>
                </a:cubicBezTo>
                <a:cubicBezTo>
                  <a:pt x="1253" y="91"/>
                  <a:pt x="1253" y="91"/>
                  <a:pt x="1252" y="91"/>
                </a:cubicBezTo>
                <a:cubicBezTo>
                  <a:pt x="1252" y="91"/>
                  <a:pt x="1252" y="91"/>
                  <a:pt x="1252" y="91"/>
                </a:cubicBezTo>
                <a:cubicBezTo>
                  <a:pt x="1252" y="92"/>
                  <a:pt x="1252" y="91"/>
                  <a:pt x="1251" y="92"/>
                </a:cubicBezTo>
                <a:cubicBezTo>
                  <a:pt x="1251" y="92"/>
                  <a:pt x="1251" y="92"/>
                  <a:pt x="1251" y="92"/>
                </a:cubicBezTo>
                <a:cubicBezTo>
                  <a:pt x="1251" y="92"/>
                  <a:pt x="1251" y="92"/>
                  <a:pt x="1251" y="92"/>
                </a:cubicBezTo>
                <a:cubicBezTo>
                  <a:pt x="1251" y="92"/>
                  <a:pt x="1251" y="92"/>
                  <a:pt x="1250" y="92"/>
                </a:cubicBezTo>
                <a:cubicBezTo>
                  <a:pt x="1250" y="92"/>
                  <a:pt x="1250" y="92"/>
                  <a:pt x="1250" y="92"/>
                </a:cubicBezTo>
                <a:cubicBezTo>
                  <a:pt x="1250" y="93"/>
                  <a:pt x="1249" y="93"/>
                  <a:pt x="1249" y="92"/>
                </a:cubicBezTo>
                <a:cubicBezTo>
                  <a:pt x="1249" y="93"/>
                  <a:pt x="1249" y="93"/>
                  <a:pt x="1248" y="93"/>
                </a:cubicBezTo>
                <a:cubicBezTo>
                  <a:pt x="1248" y="93"/>
                  <a:pt x="1248" y="93"/>
                  <a:pt x="1248" y="93"/>
                </a:cubicBezTo>
                <a:cubicBezTo>
                  <a:pt x="1248" y="93"/>
                  <a:pt x="1247" y="93"/>
                  <a:pt x="1247" y="93"/>
                </a:cubicBezTo>
                <a:cubicBezTo>
                  <a:pt x="1247" y="93"/>
                  <a:pt x="1247" y="93"/>
                  <a:pt x="1246" y="93"/>
                </a:cubicBezTo>
                <a:cubicBezTo>
                  <a:pt x="1246" y="93"/>
                  <a:pt x="1245" y="93"/>
                  <a:pt x="1245" y="93"/>
                </a:cubicBezTo>
                <a:cubicBezTo>
                  <a:pt x="1245" y="94"/>
                  <a:pt x="1244" y="94"/>
                  <a:pt x="1244" y="94"/>
                </a:cubicBezTo>
                <a:cubicBezTo>
                  <a:pt x="1242" y="94"/>
                  <a:pt x="1239" y="94"/>
                  <a:pt x="1236" y="94"/>
                </a:cubicBezTo>
                <a:cubicBezTo>
                  <a:pt x="1236" y="94"/>
                  <a:pt x="1236" y="94"/>
                  <a:pt x="1236" y="93"/>
                </a:cubicBezTo>
                <a:cubicBezTo>
                  <a:pt x="1235" y="93"/>
                  <a:pt x="1235" y="93"/>
                  <a:pt x="1234" y="93"/>
                </a:cubicBezTo>
                <a:cubicBezTo>
                  <a:pt x="1234" y="93"/>
                  <a:pt x="1234" y="93"/>
                  <a:pt x="1234" y="93"/>
                </a:cubicBezTo>
                <a:cubicBezTo>
                  <a:pt x="1234" y="93"/>
                  <a:pt x="1233" y="93"/>
                  <a:pt x="1233" y="93"/>
                </a:cubicBezTo>
                <a:cubicBezTo>
                  <a:pt x="1233" y="93"/>
                  <a:pt x="1233" y="93"/>
                  <a:pt x="1233" y="93"/>
                </a:cubicBezTo>
                <a:cubicBezTo>
                  <a:pt x="1232" y="93"/>
                  <a:pt x="1232" y="93"/>
                  <a:pt x="1232" y="93"/>
                </a:cubicBezTo>
                <a:cubicBezTo>
                  <a:pt x="1232" y="93"/>
                  <a:pt x="1232" y="93"/>
                  <a:pt x="1232" y="93"/>
                </a:cubicBezTo>
                <a:cubicBezTo>
                  <a:pt x="1232" y="92"/>
                  <a:pt x="1232" y="92"/>
                  <a:pt x="1232" y="92"/>
                </a:cubicBezTo>
                <a:cubicBezTo>
                  <a:pt x="1231" y="92"/>
                  <a:pt x="1231" y="92"/>
                  <a:pt x="1231" y="92"/>
                </a:cubicBezTo>
                <a:close/>
                <a:moveTo>
                  <a:pt x="589" y="84"/>
                </a:moveTo>
                <a:cubicBezTo>
                  <a:pt x="589" y="84"/>
                  <a:pt x="589" y="84"/>
                  <a:pt x="589" y="84"/>
                </a:cubicBezTo>
                <a:cubicBezTo>
                  <a:pt x="589" y="84"/>
                  <a:pt x="589" y="83"/>
                  <a:pt x="589" y="83"/>
                </a:cubicBezTo>
                <a:cubicBezTo>
                  <a:pt x="589" y="83"/>
                  <a:pt x="589" y="83"/>
                  <a:pt x="589" y="82"/>
                </a:cubicBezTo>
                <a:cubicBezTo>
                  <a:pt x="589" y="82"/>
                  <a:pt x="589" y="81"/>
                  <a:pt x="589" y="80"/>
                </a:cubicBezTo>
                <a:cubicBezTo>
                  <a:pt x="589" y="79"/>
                  <a:pt x="589" y="77"/>
                  <a:pt x="589" y="76"/>
                </a:cubicBezTo>
                <a:cubicBezTo>
                  <a:pt x="589" y="75"/>
                  <a:pt x="589" y="74"/>
                  <a:pt x="589" y="73"/>
                </a:cubicBezTo>
                <a:cubicBezTo>
                  <a:pt x="589" y="73"/>
                  <a:pt x="589" y="73"/>
                  <a:pt x="589" y="73"/>
                </a:cubicBezTo>
                <a:cubicBezTo>
                  <a:pt x="589" y="73"/>
                  <a:pt x="589" y="73"/>
                  <a:pt x="589" y="73"/>
                </a:cubicBezTo>
                <a:cubicBezTo>
                  <a:pt x="589" y="73"/>
                  <a:pt x="589" y="72"/>
                  <a:pt x="589" y="72"/>
                </a:cubicBezTo>
                <a:cubicBezTo>
                  <a:pt x="589" y="72"/>
                  <a:pt x="588" y="72"/>
                  <a:pt x="589" y="72"/>
                </a:cubicBezTo>
                <a:cubicBezTo>
                  <a:pt x="588" y="71"/>
                  <a:pt x="589" y="71"/>
                  <a:pt x="588" y="71"/>
                </a:cubicBezTo>
                <a:cubicBezTo>
                  <a:pt x="588" y="71"/>
                  <a:pt x="588" y="71"/>
                  <a:pt x="588" y="71"/>
                </a:cubicBezTo>
                <a:cubicBezTo>
                  <a:pt x="588" y="70"/>
                  <a:pt x="588" y="70"/>
                  <a:pt x="588" y="70"/>
                </a:cubicBezTo>
                <a:cubicBezTo>
                  <a:pt x="588" y="70"/>
                  <a:pt x="588" y="70"/>
                  <a:pt x="588" y="70"/>
                </a:cubicBezTo>
                <a:cubicBezTo>
                  <a:pt x="588" y="69"/>
                  <a:pt x="588" y="69"/>
                  <a:pt x="588" y="69"/>
                </a:cubicBezTo>
                <a:cubicBezTo>
                  <a:pt x="588" y="69"/>
                  <a:pt x="588" y="69"/>
                  <a:pt x="588" y="69"/>
                </a:cubicBezTo>
                <a:cubicBezTo>
                  <a:pt x="587" y="69"/>
                  <a:pt x="587" y="68"/>
                  <a:pt x="587" y="68"/>
                </a:cubicBezTo>
                <a:cubicBezTo>
                  <a:pt x="587" y="68"/>
                  <a:pt x="587" y="68"/>
                  <a:pt x="587" y="68"/>
                </a:cubicBezTo>
                <a:cubicBezTo>
                  <a:pt x="587" y="68"/>
                  <a:pt x="587" y="68"/>
                  <a:pt x="587" y="68"/>
                </a:cubicBezTo>
                <a:cubicBezTo>
                  <a:pt x="587" y="68"/>
                  <a:pt x="587" y="68"/>
                  <a:pt x="587" y="67"/>
                </a:cubicBezTo>
                <a:cubicBezTo>
                  <a:pt x="587" y="67"/>
                  <a:pt x="587" y="67"/>
                  <a:pt x="587" y="67"/>
                </a:cubicBezTo>
                <a:cubicBezTo>
                  <a:pt x="587" y="67"/>
                  <a:pt x="587" y="67"/>
                  <a:pt x="587" y="67"/>
                </a:cubicBezTo>
                <a:cubicBezTo>
                  <a:pt x="587" y="67"/>
                  <a:pt x="587" y="67"/>
                  <a:pt x="587" y="67"/>
                </a:cubicBezTo>
                <a:cubicBezTo>
                  <a:pt x="587" y="67"/>
                  <a:pt x="587" y="67"/>
                  <a:pt x="587" y="67"/>
                </a:cubicBezTo>
                <a:cubicBezTo>
                  <a:pt x="586" y="67"/>
                  <a:pt x="586" y="66"/>
                  <a:pt x="586" y="66"/>
                </a:cubicBezTo>
                <a:cubicBezTo>
                  <a:pt x="586" y="66"/>
                  <a:pt x="586" y="66"/>
                  <a:pt x="586" y="66"/>
                </a:cubicBezTo>
                <a:cubicBezTo>
                  <a:pt x="586" y="66"/>
                  <a:pt x="586" y="65"/>
                  <a:pt x="586" y="65"/>
                </a:cubicBezTo>
                <a:cubicBezTo>
                  <a:pt x="586" y="65"/>
                  <a:pt x="586" y="65"/>
                  <a:pt x="586" y="65"/>
                </a:cubicBezTo>
                <a:cubicBezTo>
                  <a:pt x="586" y="65"/>
                  <a:pt x="586" y="65"/>
                  <a:pt x="585" y="65"/>
                </a:cubicBezTo>
                <a:cubicBezTo>
                  <a:pt x="585" y="65"/>
                  <a:pt x="585" y="65"/>
                  <a:pt x="585" y="65"/>
                </a:cubicBezTo>
                <a:cubicBezTo>
                  <a:pt x="585" y="65"/>
                  <a:pt x="585" y="64"/>
                  <a:pt x="585" y="64"/>
                </a:cubicBezTo>
                <a:cubicBezTo>
                  <a:pt x="585" y="64"/>
                  <a:pt x="585" y="64"/>
                  <a:pt x="585" y="64"/>
                </a:cubicBezTo>
                <a:cubicBezTo>
                  <a:pt x="585" y="64"/>
                  <a:pt x="585" y="64"/>
                  <a:pt x="584" y="64"/>
                </a:cubicBezTo>
                <a:cubicBezTo>
                  <a:pt x="584" y="64"/>
                  <a:pt x="584" y="64"/>
                  <a:pt x="584" y="64"/>
                </a:cubicBezTo>
                <a:cubicBezTo>
                  <a:pt x="584" y="63"/>
                  <a:pt x="584" y="63"/>
                  <a:pt x="584" y="63"/>
                </a:cubicBezTo>
                <a:cubicBezTo>
                  <a:pt x="584" y="63"/>
                  <a:pt x="584" y="63"/>
                  <a:pt x="584" y="63"/>
                </a:cubicBezTo>
                <a:cubicBezTo>
                  <a:pt x="584" y="63"/>
                  <a:pt x="584"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0"/>
                  <a:pt x="581" y="60"/>
                  <a:pt x="581" y="60"/>
                </a:cubicBezTo>
                <a:cubicBezTo>
                  <a:pt x="581" y="60"/>
                  <a:pt x="581" y="60"/>
                  <a:pt x="581" y="60"/>
                </a:cubicBezTo>
                <a:cubicBezTo>
                  <a:pt x="581" y="60"/>
                  <a:pt x="581" y="60"/>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79" y="59"/>
                  <a:pt x="579" y="58"/>
                  <a:pt x="579" y="58"/>
                </a:cubicBezTo>
                <a:cubicBezTo>
                  <a:pt x="579" y="58"/>
                  <a:pt x="579" y="58"/>
                  <a:pt x="579" y="58"/>
                </a:cubicBezTo>
                <a:cubicBezTo>
                  <a:pt x="579" y="58"/>
                  <a:pt x="578" y="58"/>
                  <a:pt x="578" y="58"/>
                </a:cubicBezTo>
                <a:cubicBezTo>
                  <a:pt x="578" y="58"/>
                  <a:pt x="578" y="58"/>
                  <a:pt x="578" y="58"/>
                </a:cubicBezTo>
                <a:cubicBezTo>
                  <a:pt x="578" y="58"/>
                  <a:pt x="578" y="57"/>
                  <a:pt x="578" y="57"/>
                </a:cubicBezTo>
                <a:cubicBezTo>
                  <a:pt x="578" y="57"/>
                  <a:pt x="578" y="57"/>
                  <a:pt x="578" y="57"/>
                </a:cubicBezTo>
                <a:cubicBezTo>
                  <a:pt x="578" y="57"/>
                  <a:pt x="578" y="57"/>
                  <a:pt x="577" y="57"/>
                </a:cubicBezTo>
                <a:cubicBezTo>
                  <a:pt x="577" y="57"/>
                  <a:pt x="577" y="57"/>
                  <a:pt x="577" y="57"/>
                </a:cubicBezTo>
                <a:cubicBezTo>
                  <a:pt x="577" y="57"/>
                  <a:pt x="577" y="57"/>
                  <a:pt x="577" y="57"/>
                </a:cubicBezTo>
                <a:cubicBezTo>
                  <a:pt x="577" y="57"/>
                  <a:pt x="577" y="57"/>
                  <a:pt x="577" y="57"/>
                </a:cubicBezTo>
                <a:cubicBezTo>
                  <a:pt x="577" y="56"/>
                  <a:pt x="577" y="56"/>
                  <a:pt x="576" y="56"/>
                </a:cubicBezTo>
                <a:cubicBezTo>
                  <a:pt x="576" y="56"/>
                  <a:pt x="576" y="56"/>
                  <a:pt x="576" y="56"/>
                </a:cubicBezTo>
                <a:cubicBezTo>
                  <a:pt x="576" y="56"/>
                  <a:pt x="576" y="56"/>
                  <a:pt x="575" y="56"/>
                </a:cubicBezTo>
                <a:cubicBezTo>
                  <a:pt x="575" y="56"/>
                  <a:pt x="575" y="56"/>
                  <a:pt x="575" y="56"/>
                </a:cubicBezTo>
                <a:cubicBezTo>
                  <a:pt x="575" y="55"/>
                  <a:pt x="575" y="55"/>
                  <a:pt x="575" y="55"/>
                </a:cubicBezTo>
                <a:cubicBezTo>
                  <a:pt x="575" y="55"/>
                  <a:pt x="575" y="55"/>
                  <a:pt x="575" y="55"/>
                </a:cubicBezTo>
                <a:cubicBezTo>
                  <a:pt x="575" y="55"/>
                  <a:pt x="574" y="55"/>
                  <a:pt x="574" y="55"/>
                </a:cubicBezTo>
                <a:cubicBezTo>
                  <a:pt x="574" y="55"/>
                  <a:pt x="574" y="55"/>
                  <a:pt x="574" y="55"/>
                </a:cubicBezTo>
                <a:cubicBezTo>
                  <a:pt x="574" y="55"/>
                  <a:pt x="574" y="55"/>
                  <a:pt x="574" y="55"/>
                </a:cubicBezTo>
                <a:cubicBezTo>
                  <a:pt x="574" y="55"/>
                  <a:pt x="574" y="55"/>
                  <a:pt x="574" y="55"/>
                </a:cubicBezTo>
                <a:cubicBezTo>
                  <a:pt x="574" y="54"/>
                  <a:pt x="573" y="54"/>
                  <a:pt x="573" y="54"/>
                </a:cubicBezTo>
                <a:cubicBezTo>
                  <a:pt x="573" y="54"/>
                  <a:pt x="573" y="54"/>
                  <a:pt x="573" y="54"/>
                </a:cubicBezTo>
                <a:cubicBezTo>
                  <a:pt x="573" y="54"/>
                  <a:pt x="573" y="54"/>
                  <a:pt x="573" y="54"/>
                </a:cubicBezTo>
                <a:cubicBezTo>
                  <a:pt x="573" y="54"/>
                  <a:pt x="573" y="54"/>
                  <a:pt x="573" y="54"/>
                </a:cubicBezTo>
                <a:cubicBezTo>
                  <a:pt x="573" y="54"/>
                  <a:pt x="572" y="54"/>
                  <a:pt x="572" y="53"/>
                </a:cubicBezTo>
                <a:cubicBezTo>
                  <a:pt x="572" y="54"/>
                  <a:pt x="572" y="54"/>
                  <a:pt x="572" y="54"/>
                </a:cubicBezTo>
                <a:cubicBezTo>
                  <a:pt x="572" y="53"/>
                  <a:pt x="572" y="53"/>
                  <a:pt x="572" y="53"/>
                </a:cubicBezTo>
                <a:cubicBezTo>
                  <a:pt x="572" y="53"/>
                  <a:pt x="572" y="53"/>
                  <a:pt x="572" y="53"/>
                </a:cubicBezTo>
                <a:cubicBezTo>
                  <a:pt x="571" y="53"/>
                  <a:pt x="571" y="53"/>
                  <a:pt x="571" y="53"/>
                </a:cubicBezTo>
                <a:cubicBezTo>
                  <a:pt x="571" y="53"/>
                  <a:pt x="571" y="53"/>
                  <a:pt x="571" y="53"/>
                </a:cubicBezTo>
                <a:cubicBezTo>
                  <a:pt x="571" y="53"/>
                  <a:pt x="571" y="53"/>
                  <a:pt x="570" y="52"/>
                </a:cubicBezTo>
                <a:cubicBezTo>
                  <a:pt x="570" y="52"/>
                  <a:pt x="570" y="52"/>
                  <a:pt x="570" y="52"/>
                </a:cubicBezTo>
                <a:cubicBezTo>
                  <a:pt x="570" y="52"/>
                  <a:pt x="570" y="52"/>
                  <a:pt x="570" y="52"/>
                </a:cubicBezTo>
                <a:cubicBezTo>
                  <a:pt x="570" y="52"/>
                  <a:pt x="570" y="52"/>
                  <a:pt x="570" y="52"/>
                </a:cubicBezTo>
                <a:cubicBezTo>
                  <a:pt x="570" y="52"/>
                  <a:pt x="570" y="52"/>
                  <a:pt x="570" y="52"/>
                </a:cubicBezTo>
                <a:cubicBezTo>
                  <a:pt x="570" y="52"/>
                  <a:pt x="570" y="52"/>
                  <a:pt x="569" y="52"/>
                </a:cubicBezTo>
                <a:cubicBezTo>
                  <a:pt x="569" y="52"/>
                  <a:pt x="569" y="52"/>
                  <a:pt x="569" y="52"/>
                </a:cubicBezTo>
                <a:cubicBezTo>
                  <a:pt x="569" y="52"/>
                  <a:pt x="569" y="52"/>
                  <a:pt x="569" y="51"/>
                </a:cubicBezTo>
                <a:cubicBezTo>
                  <a:pt x="569" y="51"/>
                  <a:pt x="569" y="51"/>
                  <a:pt x="569" y="51"/>
                </a:cubicBezTo>
                <a:cubicBezTo>
                  <a:pt x="569" y="51"/>
                  <a:pt x="568" y="51"/>
                  <a:pt x="568" y="51"/>
                </a:cubicBezTo>
                <a:cubicBezTo>
                  <a:pt x="568" y="51"/>
                  <a:pt x="568" y="51"/>
                  <a:pt x="568" y="51"/>
                </a:cubicBezTo>
                <a:cubicBezTo>
                  <a:pt x="568" y="51"/>
                  <a:pt x="568" y="51"/>
                  <a:pt x="568" y="51"/>
                </a:cubicBezTo>
                <a:cubicBezTo>
                  <a:pt x="568" y="51"/>
                  <a:pt x="568" y="51"/>
                  <a:pt x="568" y="51"/>
                </a:cubicBezTo>
                <a:cubicBezTo>
                  <a:pt x="568" y="50"/>
                  <a:pt x="567" y="51"/>
                  <a:pt x="567" y="50"/>
                </a:cubicBezTo>
                <a:cubicBezTo>
                  <a:pt x="567" y="50"/>
                  <a:pt x="567" y="50"/>
                  <a:pt x="567" y="50"/>
                </a:cubicBezTo>
                <a:cubicBezTo>
                  <a:pt x="567" y="50"/>
                  <a:pt x="566" y="50"/>
                  <a:pt x="566" y="50"/>
                </a:cubicBezTo>
                <a:cubicBezTo>
                  <a:pt x="566" y="50"/>
                  <a:pt x="566" y="50"/>
                  <a:pt x="566" y="50"/>
                </a:cubicBezTo>
                <a:cubicBezTo>
                  <a:pt x="566" y="50"/>
                  <a:pt x="566" y="50"/>
                  <a:pt x="566" y="50"/>
                </a:cubicBezTo>
                <a:cubicBezTo>
                  <a:pt x="566" y="50"/>
                  <a:pt x="566" y="50"/>
                  <a:pt x="566" y="50"/>
                </a:cubicBezTo>
                <a:cubicBezTo>
                  <a:pt x="565" y="50"/>
                  <a:pt x="565" y="49"/>
                  <a:pt x="565" y="49"/>
                </a:cubicBezTo>
                <a:cubicBezTo>
                  <a:pt x="565" y="49"/>
                  <a:pt x="565" y="49"/>
                  <a:pt x="565" y="49"/>
                </a:cubicBezTo>
                <a:cubicBezTo>
                  <a:pt x="565" y="49"/>
                  <a:pt x="565" y="49"/>
                  <a:pt x="565" y="49"/>
                </a:cubicBezTo>
                <a:cubicBezTo>
                  <a:pt x="565" y="49"/>
                  <a:pt x="565" y="49"/>
                  <a:pt x="565" y="49"/>
                </a:cubicBezTo>
                <a:cubicBezTo>
                  <a:pt x="565" y="49"/>
                  <a:pt x="565" y="49"/>
                  <a:pt x="565" y="49"/>
                </a:cubicBezTo>
                <a:cubicBezTo>
                  <a:pt x="564" y="49"/>
                  <a:pt x="564" y="49"/>
                  <a:pt x="564" y="49"/>
                </a:cubicBezTo>
                <a:cubicBezTo>
                  <a:pt x="564" y="49"/>
                  <a:pt x="564" y="49"/>
                  <a:pt x="564" y="49"/>
                </a:cubicBezTo>
                <a:cubicBezTo>
                  <a:pt x="564" y="48"/>
                  <a:pt x="563" y="48"/>
                  <a:pt x="563" y="48"/>
                </a:cubicBezTo>
                <a:cubicBezTo>
                  <a:pt x="563" y="48"/>
                  <a:pt x="563" y="48"/>
                  <a:pt x="563" y="48"/>
                </a:cubicBezTo>
                <a:cubicBezTo>
                  <a:pt x="563" y="48"/>
                  <a:pt x="563" y="48"/>
                  <a:pt x="563" y="48"/>
                </a:cubicBezTo>
                <a:cubicBezTo>
                  <a:pt x="563" y="48"/>
                  <a:pt x="563" y="48"/>
                  <a:pt x="563" y="48"/>
                </a:cubicBezTo>
                <a:cubicBezTo>
                  <a:pt x="563" y="48"/>
                  <a:pt x="562" y="48"/>
                  <a:pt x="562" y="48"/>
                </a:cubicBezTo>
                <a:cubicBezTo>
                  <a:pt x="562" y="48"/>
                  <a:pt x="562" y="48"/>
                  <a:pt x="562" y="48"/>
                </a:cubicBezTo>
                <a:cubicBezTo>
                  <a:pt x="562" y="47"/>
                  <a:pt x="562" y="47"/>
                  <a:pt x="561" y="47"/>
                </a:cubicBezTo>
                <a:cubicBezTo>
                  <a:pt x="561" y="47"/>
                  <a:pt x="561" y="47"/>
                  <a:pt x="561" y="47"/>
                </a:cubicBezTo>
                <a:cubicBezTo>
                  <a:pt x="561" y="47"/>
                  <a:pt x="561" y="47"/>
                  <a:pt x="561" y="47"/>
                </a:cubicBezTo>
                <a:cubicBezTo>
                  <a:pt x="561" y="47"/>
                  <a:pt x="561" y="47"/>
                  <a:pt x="561" y="47"/>
                </a:cubicBezTo>
                <a:cubicBezTo>
                  <a:pt x="561" y="47"/>
                  <a:pt x="561" y="47"/>
                  <a:pt x="560" y="47"/>
                </a:cubicBezTo>
                <a:cubicBezTo>
                  <a:pt x="560" y="47"/>
                  <a:pt x="560" y="47"/>
                  <a:pt x="560" y="47"/>
                </a:cubicBezTo>
                <a:cubicBezTo>
                  <a:pt x="560" y="46"/>
                  <a:pt x="560" y="46"/>
                  <a:pt x="560" y="46"/>
                </a:cubicBezTo>
                <a:cubicBezTo>
                  <a:pt x="560" y="46"/>
                  <a:pt x="560" y="46"/>
                  <a:pt x="560" y="46"/>
                </a:cubicBezTo>
                <a:cubicBezTo>
                  <a:pt x="560" y="46"/>
                  <a:pt x="559" y="46"/>
                  <a:pt x="559" y="46"/>
                </a:cubicBezTo>
                <a:cubicBezTo>
                  <a:pt x="559" y="46"/>
                  <a:pt x="559" y="46"/>
                  <a:pt x="559" y="46"/>
                </a:cubicBezTo>
                <a:cubicBezTo>
                  <a:pt x="559" y="46"/>
                  <a:pt x="559" y="46"/>
                  <a:pt x="559" y="45"/>
                </a:cubicBezTo>
                <a:cubicBezTo>
                  <a:pt x="559" y="45"/>
                  <a:pt x="559" y="45"/>
                  <a:pt x="559" y="45"/>
                </a:cubicBezTo>
                <a:cubicBezTo>
                  <a:pt x="559" y="45"/>
                  <a:pt x="558" y="45"/>
                  <a:pt x="558" y="45"/>
                </a:cubicBezTo>
                <a:cubicBezTo>
                  <a:pt x="558" y="45"/>
                  <a:pt x="558" y="45"/>
                  <a:pt x="558" y="45"/>
                </a:cubicBezTo>
                <a:cubicBezTo>
                  <a:pt x="558" y="45"/>
                  <a:pt x="558" y="45"/>
                  <a:pt x="558" y="45"/>
                </a:cubicBezTo>
                <a:cubicBezTo>
                  <a:pt x="558" y="45"/>
                  <a:pt x="558" y="45"/>
                  <a:pt x="558" y="45"/>
                </a:cubicBezTo>
                <a:cubicBezTo>
                  <a:pt x="557" y="45"/>
                  <a:pt x="557" y="45"/>
                  <a:pt x="557" y="44"/>
                </a:cubicBezTo>
                <a:cubicBezTo>
                  <a:pt x="557" y="45"/>
                  <a:pt x="557" y="45"/>
                  <a:pt x="557" y="45"/>
                </a:cubicBezTo>
                <a:cubicBezTo>
                  <a:pt x="557" y="44"/>
                  <a:pt x="557" y="44"/>
                  <a:pt x="557" y="44"/>
                </a:cubicBezTo>
                <a:cubicBezTo>
                  <a:pt x="557" y="44"/>
                  <a:pt x="557" y="44"/>
                  <a:pt x="557" y="44"/>
                </a:cubicBezTo>
                <a:cubicBezTo>
                  <a:pt x="556" y="44"/>
                  <a:pt x="556" y="44"/>
                  <a:pt x="556" y="44"/>
                </a:cubicBezTo>
                <a:cubicBezTo>
                  <a:pt x="556" y="44"/>
                  <a:pt x="556" y="44"/>
                  <a:pt x="556" y="44"/>
                </a:cubicBezTo>
                <a:cubicBezTo>
                  <a:pt x="556" y="43"/>
                  <a:pt x="555" y="43"/>
                  <a:pt x="555" y="43"/>
                </a:cubicBezTo>
                <a:cubicBezTo>
                  <a:pt x="555" y="43"/>
                  <a:pt x="555" y="43"/>
                  <a:pt x="555" y="43"/>
                </a:cubicBezTo>
                <a:cubicBezTo>
                  <a:pt x="555" y="43"/>
                  <a:pt x="555" y="43"/>
                  <a:pt x="555" y="43"/>
                </a:cubicBezTo>
                <a:cubicBezTo>
                  <a:pt x="555" y="43"/>
                  <a:pt x="555" y="43"/>
                  <a:pt x="555" y="43"/>
                </a:cubicBezTo>
                <a:cubicBezTo>
                  <a:pt x="555" y="43"/>
                  <a:pt x="555" y="42"/>
                  <a:pt x="554" y="42"/>
                </a:cubicBezTo>
                <a:cubicBezTo>
                  <a:pt x="554" y="42"/>
                  <a:pt x="554" y="42"/>
                  <a:pt x="554" y="42"/>
                </a:cubicBezTo>
                <a:cubicBezTo>
                  <a:pt x="554" y="42"/>
                  <a:pt x="554" y="42"/>
                  <a:pt x="553" y="42"/>
                </a:cubicBezTo>
                <a:cubicBezTo>
                  <a:pt x="553" y="42"/>
                  <a:pt x="553" y="42"/>
                  <a:pt x="553" y="42"/>
                </a:cubicBezTo>
                <a:cubicBezTo>
                  <a:pt x="553" y="42"/>
                  <a:pt x="553" y="41"/>
                  <a:pt x="553" y="41"/>
                </a:cubicBezTo>
                <a:cubicBezTo>
                  <a:pt x="553" y="41"/>
                  <a:pt x="553" y="41"/>
                  <a:pt x="553" y="41"/>
                </a:cubicBezTo>
                <a:cubicBezTo>
                  <a:pt x="553" y="41"/>
                  <a:pt x="553" y="41"/>
                  <a:pt x="553" y="41"/>
                </a:cubicBezTo>
                <a:cubicBezTo>
                  <a:pt x="553" y="41"/>
                  <a:pt x="553" y="41"/>
                  <a:pt x="553" y="41"/>
                </a:cubicBezTo>
                <a:cubicBezTo>
                  <a:pt x="553" y="41"/>
                  <a:pt x="553" y="41"/>
                  <a:pt x="552" y="41"/>
                </a:cubicBezTo>
                <a:cubicBezTo>
                  <a:pt x="552" y="41"/>
                  <a:pt x="552" y="41"/>
                  <a:pt x="552" y="41"/>
                </a:cubicBezTo>
                <a:cubicBezTo>
                  <a:pt x="552" y="40"/>
                  <a:pt x="552" y="40"/>
                  <a:pt x="551" y="39"/>
                </a:cubicBezTo>
                <a:cubicBezTo>
                  <a:pt x="551" y="39"/>
                  <a:pt x="551" y="39"/>
                  <a:pt x="551" y="39"/>
                </a:cubicBezTo>
                <a:cubicBezTo>
                  <a:pt x="551" y="39"/>
                  <a:pt x="551" y="39"/>
                  <a:pt x="551" y="39"/>
                </a:cubicBezTo>
                <a:cubicBezTo>
                  <a:pt x="551" y="39"/>
                  <a:pt x="551" y="39"/>
                  <a:pt x="551" y="39"/>
                </a:cubicBezTo>
                <a:cubicBezTo>
                  <a:pt x="551" y="39"/>
                  <a:pt x="551" y="38"/>
                  <a:pt x="551" y="38"/>
                </a:cubicBezTo>
                <a:cubicBezTo>
                  <a:pt x="551" y="38"/>
                  <a:pt x="551" y="38"/>
                  <a:pt x="551" y="38"/>
                </a:cubicBezTo>
                <a:cubicBezTo>
                  <a:pt x="551" y="38"/>
                  <a:pt x="550" y="38"/>
                  <a:pt x="550" y="38"/>
                </a:cubicBezTo>
                <a:cubicBezTo>
                  <a:pt x="550" y="38"/>
                  <a:pt x="550" y="38"/>
                  <a:pt x="550" y="38"/>
                </a:cubicBezTo>
                <a:cubicBezTo>
                  <a:pt x="550" y="38"/>
                  <a:pt x="550" y="37"/>
                  <a:pt x="550" y="37"/>
                </a:cubicBezTo>
                <a:cubicBezTo>
                  <a:pt x="550" y="37"/>
                  <a:pt x="550" y="37"/>
                  <a:pt x="550" y="37"/>
                </a:cubicBezTo>
                <a:cubicBezTo>
                  <a:pt x="550" y="37"/>
                  <a:pt x="550" y="37"/>
                  <a:pt x="550" y="36"/>
                </a:cubicBezTo>
                <a:cubicBezTo>
                  <a:pt x="550" y="36"/>
                  <a:pt x="550" y="36"/>
                  <a:pt x="550" y="36"/>
                </a:cubicBezTo>
                <a:cubicBezTo>
                  <a:pt x="550" y="36"/>
                  <a:pt x="550" y="36"/>
                  <a:pt x="550" y="36"/>
                </a:cubicBezTo>
                <a:cubicBezTo>
                  <a:pt x="549" y="36"/>
                  <a:pt x="549" y="36"/>
                  <a:pt x="549" y="35"/>
                </a:cubicBezTo>
                <a:cubicBezTo>
                  <a:pt x="549" y="35"/>
                  <a:pt x="549" y="35"/>
                  <a:pt x="549" y="35"/>
                </a:cubicBezTo>
                <a:cubicBezTo>
                  <a:pt x="549" y="35"/>
                  <a:pt x="549" y="34"/>
                  <a:pt x="549" y="34"/>
                </a:cubicBezTo>
                <a:cubicBezTo>
                  <a:pt x="549" y="34"/>
                  <a:pt x="549" y="34"/>
                  <a:pt x="549" y="33"/>
                </a:cubicBezTo>
                <a:cubicBezTo>
                  <a:pt x="549" y="31"/>
                  <a:pt x="549" y="29"/>
                  <a:pt x="549" y="27"/>
                </a:cubicBezTo>
                <a:cubicBezTo>
                  <a:pt x="549" y="27"/>
                  <a:pt x="549" y="27"/>
                  <a:pt x="549" y="27"/>
                </a:cubicBezTo>
                <a:cubicBezTo>
                  <a:pt x="549" y="27"/>
                  <a:pt x="549" y="26"/>
                  <a:pt x="549" y="26"/>
                </a:cubicBezTo>
                <a:cubicBezTo>
                  <a:pt x="549" y="26"/>
                  <a:pt x="549" y="26"/>
                  <a:pt x="549" y="26"/>
                </a:cubicBezTo>
                <a:cubicBezTo>
                  <a:pt x="549" y="25"/>
                  <a:pt x="549" y="25"/>
                  <a:pt x="550" y="25"/>
                </a:cubicBezTo>
                <a:cubicBezTo>
                  <a:pt x="550" y="25"/>
                  <a:pt x="550" y="25"/>
                  <a:pt x="550" y="25"/>
                </a:cubicBezTo>
                <a:cubicBezTo>
                  <a:pt x="550" y="25"/>
                  <a:pt x="550" y="24"/>
                  <a:pt x="550" y="24"/>
                </a:cubicBezTo>
                <a:cubicBezTo>
                  <a:pt x="550" y="24"/>
                  <a:pt x="550" y="24"/>
                  <a:pt x="550" y="24"/>
                </a:cubicBezTo>
                <a:cubicBezTo>
                  <a:pt x="550" y="24"/>
                  <a:pt x="550" y="24"/>
                  <a:pt x="550" y="23"/>
                </a:cubicBezTo>
                <a:cubicBezTo>
                  <a:pt x="550" y="24"/>
                  <a:pt x="550" y="24"/>
                  <a:pt x="550" y="24"/>
                </a:cubicBezTo>
                <a:cubicBezTo>
                  <a:pt x="551" y="23"/>
                  <a:pt x="550" y="23"/>
                  <a:pt x="551" y="23"/>
                </a:cubicBezTo>
                <a:cubicBezTo>
                  <a:pt x="551" y="23"/>
                  <a:pt x="551" y="23"/>
                  <a:pt x="551" y="23"/>
                </a:cubicBezTo>
                <a:cubicBezTo>
                  <a:pt x="551" y="23"/>
                  <a:pt x="551" y="23"/>
                  <a:pt x="551" y="22"/>
                </a:cubicBezTo>
                <a:cubicBezTo>
                  <a:pt x="551" y="22"/>
                  <a:pt x="551" y="22"/>
                  <a:pt x="551" y="22"/>
                </a:cubicBezTo>
                <a:cubicBezTo>
                  <a:pt x="551" y="22"/>
                  <a:pt x="551" y="22"/>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3" y="21"/>
                  <a:pt x="553" y="21"/>
                  <a:pt x="553" y="20"/>
                </a:cubicBezTo>
                <a:cubicBezTo>
                  <a:pt x="553" y="20"/>
                  <a:pt x="553" y="20"/>
                  <a:pt x="553" y="20"/>
                </a:cubicBezTo>
                <a:cubicBezTo>
                  <a:pt x="553" y="20"/>
                  <a:pt x="554" y="20"/>
                  <a:pt x="554" y="20"/>
                </a:cubicBezTo>
                <a:cubicBezTo>
                  <a:pt x="554" y="20"/>
                  <a:pt x="554" y="20"/>
                  <a:pt x="554" y="20"/>
                </a:cubicBezTo>
                <a:cubicBezTo>
                  <a:pt x="554" y="20"/>
                  <a:pt x="554" y="19"/>
                  <a:pt x="554" y="19"/>
                </a:cubicBezTo>
                <a:cubicBezTo>
                  <a:pt x="554" y="19"/>
                  <a:pt x="554" y="19"/>
                  <a:pt x="554" y="19"/>
                </a:cubicBezTo>
                <a:cubicBezTo>
                  <a:pt x="554" y="19"/>
                  <a:pt x="554" y="19"/>
                  <a:pt x="554" y="19"/>
                </a:cubicBezTo>
                <a:cubicBezTo>
                  <a:pt x="555" y="19"/>
                  <a:pt x="555" y="19"/>
                  <a:pt x="555" y="19"/>
                </a:cubicBezTo>
                <a:cubicBezTo>
                  <a:pt x="555" y="19"/>
                  <a:pt x="555" y="19"/>
                  <a:pt x="555" y="19"/>
                </a:cubicBezTo>
                <a:cubicBezTo>
                  <a:pt x="555" y="19"/>
                  <a:pt x="555" y="19"/>
                  <a:pt x="555" y="19"/>
                </a:cubicBezTo>
                <a:cubicBezTo>
                  <a:pt x="555" y="18"/>
                  <a:pt x="556" y="19"/>
                  <a:pt x="556" y="18"/>
                </a:cubicBezTo>
                <a:cubicBezTo>
                  <a:pt x="556" y="18"/>
                  <a:pt x="556" y="18"/>
                  <a:pt x="556" y="18"/>
                </a:cubicBezTo>
                <a:cubicBezTo>
                  <a:pt x="556" y="18"/>
                  <a:pt x="556" y="18"/>
                  <a:pt x="557" y="18"/>
                </a:cubicBezTo>
                <a:cubicBezTo>
                  <a:pt x="556" y="18"/>
                  <a:pt x="556" y="18"/>
                  <a:pt x="556" y="18"/>
                </a:cubicBezTo>
                <a:cubicBezTo>
                  <a:pt x="557" y="18"/>
                  <a:pt x="557" y="18"/>
                  <a:pt x="557" y="18"/>
                </a:cubicBezTo>
                <a:cubicBezTo>
                  <a:pt x="557" y="18"/>
                  <a:pt x="557" y="18"/>
                  <a:pt x="557" y="18"/>
                </a:cubicBezTo>
                <a:cubicBezTo>
                  <a:pt x="557" y="17"/>
                  <a:pt x="558" y="17"/>
                  <a:pt x="558" y="17"/>
                </a:cubicBezTo>
                <a:cubicBezTo>
                  <a:pt x="558" y="17"/>
                  <a:pt x="558" y="17"/>
                  <a:pt x="558" y="17"/>
                </a:cubicBezTo>
                <a:cubicBezTo>
                  <a:pt x="558" y="17"/>
                  <a:pt x="559" y="17"/>
                  <a:pt x="559" y="17"/>
                </a:cubicBezTo>
                <a:cubicBezTo>
                  <a:pt x="559" y="17"/>
                  <a:pt x="559" y="17"/>
                  <a:pt x="559" y="17"/>
                </a:cubicBezTo>
                <a:cubicBezTo>
                  <a:pt x="559" y="17"/>
                  <a:pt x="560" y="17"/>
                  <a:pt x="560" y="17"/>
                </a:cubicBezTo>
                <a:cubicBezTo>
                  <a:pt x="560" y="17"/>
                  <a:pt x="560" y="17"/>
                  <a:pt x="560" y="17"/>
                </a:cubicBezTo>
                <a:cubicBezTo>
                  <a:pt x="560" y="17"/>
                  <a:pt x="560" y="17"/>
                  <a:pt x="560" y="17"/>
                </a:cubicBezTo>
                <a:cubicBezTo>
                  <a:pt x="561" y="16"/>
                  <a:pt x="561" y="17"/>
                  <a:pt x="562" y="16"/>
                </a:cubicBezTo>
                <a:cubicBezTo>
                  <a:pt x="562" y="16"/>
                  <a:pt x="562" y="16"/>
                  <a:pt x="562" y="16"/>
                </a:cubicBezTo>
                <a:cubicBezTo>
                  <a:pt x="562" y="16"/>
                  <a:pt x="562" y="16"/>
                  <a:pt x="562" y="16"/>
                </a:cubicBezTo>
                <a:cubicBezTo>
                  <a:pt x="563" y="16"/>
                  <a:pt x="564" y="16"/>
                  <a:pt x="565" y="16"/>
                </a:cubicBezTo>
                <a:cubicBezTo>
                  <a:pt x="566" y="16"/>
                  <a:pt x="567" y="16"/>
                  <a:pt x="568" y="16"/>
                </a:cubicBezTo>
                <a:cubicBezTo>
                  <a:pt x="569" y="16"/>
                  <a:pt x="570" y="16"/>
                  <a:pt x="571" y="16"/>
                </a:cubicBezTo>
                <a:cubicBezTo>
                  <a:pt x="571" y="16"/>
                  <a:pt x="572" y="16"/>
                  <a:pt x="572" y="16"/>
                </a:cubicBezTo>
                <a:cubicBezTo>
                  <a:pt x="572" y="17"/>
                  <a:pt x="573" y="16"/>
                  <a:pt x="573" y="17"/>
                </a:cubicBezTo>
                <a:cubicBezTo>
                  <a:pt x="574" y="16"/>
                  <a:pt x="574" y="16"/>
                  <a:pt x="574" y="16"/>
                </a:cubicBezTo>
                <a:cubicBezTo>
                  <a:pt x="574" y="17"/>
                  <a:pt x="574" y="17"/>
                  <a:pt x="574" y="17"/>
                </a:cubicBezTo>
                <a:cubicBezTo>
                  <a:pt x="574" y="17"/>
                  <a:pt x="575" y="17"/>
                  <a:pt x="575" y="17"/>
                </a:cubicBezTo>
                <a:cubicBezTo>
                  <a:pt x="575" y="17"/>
                  <a:pt x="575" y="17"/>
                  <a:pt x="575" y="17"/>
                </a:cubicBezTo>
                <a:cubicBezTo>
                  <a:pt x="575" y="17"/>
                  <a:pt x="575" y="17"/>
                  <a:pt x="575" y="17"/>
                </a:cubicBezTo>
                <a:cubicBezTo>
                  <a:pt x="576" y="17"/>
                  <a:pt x="576" y="17"/>
                  <a:pt x="576" y="17"/>
                </a:cubicBezTo>
                <a:cubicBezTo>
                  <a:pt x="577" y="17"/>
                  <a:pt x="577" y="17"/>
                  <a:pt x="577" y="17"/>
                </a:cubicBezTo>
                <a:cubicBezTo>
                  <a:pt x="577" y="17"/>
                  <a:pt x="577" y="17"/>
                  <a:pt x="577" y="17"/>
                </a:cubicBezTo>
                <a:cubicBezTo>
                  <a:pt x="577" y="17"/>
                  <a:pt x="577" y="17"/>
                  <a:pt x="578" y="18"/>
                </a:cubicBezTo>
                <a:cubicBezTo>
                  <a:pt x="578" y="18"/>
                  <a:pt x="578" y="18"/>
                  <a:pt x="578" y="18"/>
                </a:cubicBezTo>
                <a:cubicBezTo>
                  <a:pt x="578" y="18"/>
                  <a:pt x="578" y="18"/>
                  <a:pt x="578" y="18"/>
                </a:cubicBezTo>
                <a:cubicBezTo>
                  <a:pt x="578" y="18"/>
                  <a:pt x="578" y="18"/>
                  <a:pt x="579" y="18"/>
                </a:cubicBezTo>
                <a:cubicBezTo>
                  <a:pt x="579" y="18"/>
                  <a:pt x="579" y="18"/>
                  <a:pt x="579" y="18"/>
                </a:cubicBezTo>
                <a:cubicBezTo>
                  <a:pt x="579" y="18"/>
                  <a:pt x="579" y="18"/>
                  <a:pt x="580" y="18"/>
                </a:cubicBezTo>
                <a:cubicBezTo>
                  <a:pt x="580" y="18"/>
                  <a:pt x="580" y="18"/>
                  <a:pt x="580" y="18"/>
                </a:cubicBezTo>
                <a:cubicBezTo>
                  <a:pt x="580" y="19"/>
                  <a:pt x="580" y="18"/>
                  <a:pt x="580" y="19"/>
                </a:cubicBezTo>
                <a:cubicBezTo>
                  <a:pt x="580" y="19"/>
                  <a:pt x="580" y="19"/>
                  <a:pt x="580" y="19"/>
                </a:cubicBezTo>
                <a:cubicBezTo>
                  <a:pt x="580" y="19"/>
                  <a:pt x="581" y="19"/>
                  <a:pt x="581" y="19"/>
                </a:cubicBezTo>
                <a:cubicBezTo>
                  <a:pt x="581" y="19"/>
                  <a:pt x="581" y="19"/>
                  <a:pt x="581" y="19"/>
                </a:cubicBezTo>
                <a:cubicBezTo>
                  <a:pt x="581" y="19"/>
                  <a:pt x="581" y="19"/>
                  <a:pt x="582" y="19"/>
                </a:cubicBezTo>
                <a:cubicBezTo>
                  <a:pt x="582" y="19"/>
                  <a:pt x="582" y="19"/>
                  <a:pt x="582" y="19"/>
                </a:cubicBezTo>
                <a:cubicBezTo>
                  <a:pt x="582" y="20"/>
                  <a:pt x="582" y="19"/>
                  <a:pt x="582" y="20"/>
                </a:cubicBezTo>
                <a:cubicBezTo>
                  <a:pt x="582" y="20"/>
                  <a:pt x="582" y="20"/>
                  <a:pt x="582" y="20"/>
                </a:cubicBezTo>
                <a:cubicBezTo>
                  <a:pt x="582" y="20"/>
                  <a:pt x="583" y="20"/>
                  <a:pt x="583" y="20"/>
                </a:cubicBezTo>
                <a:cubicBezTo>
                  <a:pt x="583" y="20"/>
                  <a:pt x="583" y="20"/>
                  <a:pt x="583" y="20"/>
                </a:cubicBezTo>
                <a:cubicBezTo>
                  <a:pt x="583" y="20"/>
                  <a:pt x="583" y="20"/>
                  <a:pt x="583" y="20"/>
                </a:cubicBezTo>
                <a:cubicBezTo>
                  <a:pt x="583" y="20"/>
                  <a:pt x="583" y="20"/>
                  <a:pt x="583" y="20"/>
                </a:cubicBezTo>
                <a:cubicBezTo>
                  <a:pt x="584" y="21"/>
                  <a:pt x="584" y="21"/>
                  <a:pt x="584" y="21"/>
                </a:cubicBezTo>
                <a:cubicBezTo>
                  <a:pt x="584" y="21"/>
                  <a:pt x="584" y="21"/>
                  <a:pt x="584" y="21"/>
                </a:cubicBezTo>
                <a:cubicBezTo>
                  <a:pt x="584" y="21"/>
                  <a:pt x="584" y="21"/>
                  <a:pt x="584" y="21"/>
                </a:cubicBezTo>
                <a:cubicBezTo>
                  <a:pt x="584" y="21"/>
                  <a:pt x="584" y="21"/>
                  <a:pt x="584" y="21"/>
                </a:cubicBezTo>
                <a:cubicBezTo>
                  <a:pt x="585" y="21"/>
                  <a:pt x="585" y="21"/>
                  <a:pt x="585" y="21"/>
                </a:cubicBezTo>
                <a:cubicBezTo>
                  <a:pt x="585" y="21"/>
                  <a:pt x="585" y="21"/>
                  <a:pt x="585" y="21"/>
                </a:cubicBezTo>
                <a:cubicBezTo>
                  <a:pt x="586" y="21"/>
                  <a:pt x="585" y="21"/>
                  <a:pt x="585" y="20"/>
                </a:cubicBezTo>
                <a:cubicBezTo>
                  <a:pt x="585" y="18"/>
                  <a:pt x="585" y="15"/>
                  <a:pt x="585" y="13"/>
                </a:cubicBezTo>
                <a:cubicBezTo>
                  <a:pt x="585" y="11"/>
                  <a:pt x="586" y="10"/>
                  <a:pt x="585" y="9"/>
                </a:cubicBezTo>
                <a:cubicBezTo>
                  <a:pt x="585" y="9"/>
                  <a:pt x="585" y="9"/>
                  <a:pt x="585" y="9"/>
                </a:cubicBezTo>
                <a:cubicBezTo>
                  <a:pt x="585" y="9"/>
                  <a:pt x="585" y="9"/>
                  <a:pt x="584" y="9"/>
                </a:cubicBezTo>
                <a:cubicBezTo>
                  <a:pt x="584" y="9"/>
                  <a:pt x="584" y="9"/>
                  <a:pt x="584" y="9"/>
                </a:cubicBezTo>
                <a:cubicBezTo>
                  <a:pt x="584" y="8"/>
                  <a:pt x="584" y="8"/>
                  <a:pt x="584" y="8"/>
                </a:cubicBezTo>
                <a:cubicBezTo>
                  <a:pt x="584" y="8"/>
                  <a:pt x="584" y="8"/>
                  <a:pt x="584" y="8"/>
                </a:cubicBezTo>
                <a:cubicBezTo>
                  <a:pt x="583" y="8"/>
                  <a:pt x="583" y="8"/>
                  <a:pt x="583" y="8"/>
                </a:cubicBezTo>
                <a:cubicBezTo>
                  <a:pt x="583" y="8"/>
                  <a:pt x="583" y="8"/>
                  <a:pt x="583" y="8"/>
                </a:cubicBezTo>
                <a:cubicBezTo>
                  <a:pt x="583" y="8"/>
                  <a:pt x="583" y="8"/>
                  <a:pt x="583" y="8"/>
                </a:cubicBezTo>
                <a:cubicBezTo>
                  <a:pt x="582" y="8"/>
                  <a:pt x="582" y="8"/>
                  <a:pt x="582" y="8"/>
                </a:cubicBezTo>
                <a:cubicBezTo>
                  <a:pt x="582" y="8"/>
                  <a:pt x="582" y="8"/>
                  <a:pt x="582" y="8"/>
                </a:cubicBezTo>
                <a:cubicBezTo>
                  <a:pt x="582" y="8"/>
                  <a:pt x="582" y="8"/>
                  <a:pt x="582" y="8"/>
                </a:cubicBezTo>
                <a:cubicBezTo>
                  <a:pt x="581" y="7"/>
                  <a:pt x="581" y="7"/>
                  <a:pt x="581" y="7"/>
                </a:cubicBezTo>
                <a:cubicBezTo>
                  <a:pt x="581" y="7"/>
                  <a:pt x="581" y="7"/>
                  <a:pt x="581" y="7"/>
                </a:cubicBezTo>
                <a:cubicBezTo>
                  <a:pt x="580" y="7"/>
                  <a:pt x="580" y="7"/>
                  <a:pt x="579" y="7"/>
                </a:cubicBezTo>
                <a:cubicBezTo>
                  <a:pt x="579" y="7"/>
                  <a:pt x="579" y="7"/>
                  <a:pt x="579" y="7"/>
                </a:cubicBezTo>
                <a:cubicBezTo>
                  <a:pt x="578" y="7"/>
                  <a:pt x="578" y="7"/>
                  <a:pt x="577" y="7"/>
                </a:cubicBezTo>
                <a:cubicBezTo>
                  <a:pt x="577" y="7"/>
                  <a:pt x="577" y="7"/>
                  <a:pt x="577" y="6"/>
                </a:cubicBezTo>
                <a:cubicBezTo>
                  <a:pt x="577" y="6"/>
                  <a:pt x="576" y="6"/>
                  <a:pt x="575" y="6"/>
                </a:cubicBezTo>
                <a:cubicBezTo>
                  <a:pt x="575" y="6"/>
                  <a:pt x="575" y="6"/>
                  <a:pt x="575" y="6"/>
                </a:cubicBezTo>
                <a:cubicBezTo>
                  <a:pt x="573" y="6"/>
                  <a:pt x="572" y="6"/>
                  <a:pt x="571" y="6"/>
                </a:cubicBezTo>
                <a:cubicBezTo>
                  <a:pt x="570" y="6"/>
                  <a:pt x="569" y="6"/>
                  <a:pt x="568" y="6"/>
                </a:cubicBezTo>
                <a:cubicBezTo>
                  <a:pt x="567" y="6"/>
                  <a:pt x="567" y="6"/>
                  <a:pt x="566" y="6"/>
                </a:cubicBezTo>
                <a:cubicBezTo>
                  <a:pt x="565" y="6"/>
                  <a:pt x="564" y="6"/>
                  <a:pt x="564" y="6"/>
                </a:cubicBezTo>
                <a:cubicBezTo>
                  <a:pt x="563" y="6"/>
                  <a:pt x="562" y="6"/>
                  <a:pt x="561" y="6"/>
                </a:cubicBezTo>
                <a:cubicBezTo>
                  <a:pt x="561" y="6"/>
                  <a:pt x="561" y="6"/>
                  <a:pt x="560" y="6"/>
                </a:cubicBezTo>
                <a:cubicBezTo>
                  <a:pt x="560" y="7"/>
                  <a:pt x="559" y="6"/>
                  <a:pt x="559" y="6"/>
                </a:cubicBezTo>
                <a:cubicBezTo>
                  <a:pt x="559" y="7"/>
                  <a:pt x="559" y="7"/>
                  <a:pt x="558" y="7"/>
                </a:cubicBezTo>
                <a:cubicBezTo>
                  <a:pt x="558" y="7"/>
                  <a:pt x="557" y="6"/>
                  <a:pt x="557" y="7"/>
                </a:cubicBezTo>
                <a:cubicBezTo>
                  <a:pt x="557" y="7"/>
                  <a:pt x="557" y="7"/>
                  <a:pt x="557" y="7"/>
                </a:cubicBezTo>
                <a:cubicBezTo>
                  <a:pt x="557" y="7"/>
                  <a:pt x="556" y="7"/>
                  <a:pt x="556" y="7"/>
                </a:cubicBezTo>
                <a:cubicBezTo>
                  <a:pt x="556" y="7"/>
                  <a:pt x="556" y="7"/>
                  <a:pt x="556" y="7"/>
                </a:cubicBezTo>
                <a:cubicBezTo>
                  <a:pt x="555" y="7"/>
                  <a:pt x="555" y="7"/>
                  <a:pt x="555" y="8"/>
                </a:cubicBezTo>
                <a:cubicBezTo>
                  <a:pt x="555" y="8"/>
                  <a:pt x="555" y="8"/>
                  <a:pt x="555" y="8"/>
                </a:cubicBezTo>
                <a:cubicBezTo>
                  <a:pt x="554" y="8"/>
                  <a:pt x="554" y="8"/>
                  <a:pt x="553" y="8"/>
                </a:cubicBezTo>
                <a:cubicBezTo>
                  <a:pt x="553" y="8"/>
                  <a:pt x="553" y="8"/>
                  <a:pt x="553" y="8"/>
                </a:cubicBezTo>
                <a:cubicBezTo>
                  <a:pt x="553" y="8"/>
                  <a:pt x="553" y="8"/>
                  <a:pt x="553" y="8"/>
                </a:cubicBezTo>
                <a:cubicBezTo>
                  <a:pt x="553" y="8"/>
                  <a:pt x="553" y="8"/>
                  <a:pt x="553" y="8"/>
                </a:cubicBezTo>
                <a:cubicBezTo>
                  <a:pt x="552" y="9"/>
                  <a:pt x="552" y="8"/>
                  <a:pt x="552" y="9"/>
                </a:cubicBezTo>
                <a:cubicBezTo>
                  <a:pt x="552" y="9"/>
                  <a:pt x="552" y="9"/>
                  <a:pt x="552" y="9"/>
                </a:cubicBezTo>
                <a:cubicBezTo>
                  <a:pt x="552" y="9"/>
                  <a:pt x="551" y="9"/>
                  <a:pt x="551" y="9"/>
                </a:cubicBezTo>
                <a:cubicBezTo>
                  <a:pt x="551" y="9"/>
                  <a:pt x="551" y="9"/>
                  <a:pt x="551" y="9"/>
                </a:cubicBezTo>
                <a:cubicBezTo>
                  <a:pt x="551" y="9"/>
                  <a:pt x="550" y="9"/>
                  <a:pt x="550" y="9"/>
                </a:cubicBezTo>
                <a:cubicBezTo>
                  <a:pt x="550" y="9"/>
                  <a:pt x="550" y="9"/>
                  <a:pt x="550" y="9"/>
                </a:cubicBezTo>
                <a:cubicBezTo>
                  <a:pt x="550" y="9"/>
                  <a:pt x="550" y="9"/>
                  <a:pt x="550" y="10"/>
                </a:cubicBezTo>
                <a:cubicBezTo>
                  <a:pt x="550" y="10"/>
                  <a:pt x="550" y="10"/>
                  <a:pt x="550" y="10"/>
                </a:cubicBezTo>
                <a:cubicBezTo>
                  <a:pt x="550" y="10"/>
                  <a:pt x="549" y="10"/>
                  <a:pt x="549" y="10"/>
                </a:cubicBezTo>
                <a:cubicBezTo>
                  <a:pt x="549" y="10"/>
                  <a:pt x="549" y="10"/>
                  <a:pt x="549" y="10"/>
                </a:cubicBezTo>
                <a:cubicBezTo>
                  <a:pt x="549" y="10"/>
                  <a:pt x="549" y="10"/>
                  <a:pt x="549" y="10"/>
                </a:cubicBezTo>
                <a:cubicBezTo>
                  <a:pt x="549" y="10"/>
                  <a:pt x="549" y="10"/>
                  <a:pt x="549" y="10"/>
                </a:cubicBezTo>
                <a:cubicBezTo>
                  <a:pt x="549" y="10"/>
                  <a:pt x="549" y="10"/>
                  <a:pt x="549" y="10"/>
                </a:cubicBezTo>
                <a:cubicBezTo>
                  <a:pt x="548" y="11"/>
                  <a:pt x="548" y="10"/>
                  <a:pt x="548" y="11"/>
                </a:cubicBezTo>
                <a:cubicBezTo>
                  <a:pt x="548" y="11"/>
                  <a:pt x="548" y="11"/>
                  <a:pt x="548" y="11"/>
                </a:cubicBezTo>
                <a:cubicBezTo>
                  <a:pt x="548" y="11"/>
                  <a:pt x="548" y="11"/>
                  <a:pt x="548" y="11"/>
                </a:cubicBezTo>
                <a:cubicBezTo>
                  <a:pt x="548" y="11"/>
                  <a:pt x="548" y="11"/>
                  <a:pt x="548" y="11"/>
                </a:cubicBezTo>
                <a:cubicBezTo>
                  <a:pt x="547" y="11"/>
                  <a:pt x="547" y="11"/>
                  <a:pt x="547" y="11"/>
                </a:cubicBezTo>
                <a:cubicBezTo>
                  <a:pt x="547" y="11"/>
                  <a:pt x="547" y="11"/>
                  <a:pt x="547" y="11"/>
                </a:cubicBezTo>
                <a:cubicBezTo>
                  <a:pt x="547" y="11"/>
                  <a:pt x="547" y="12"/>
                  <a:pt x="546" y="12"/>
                </a:cubicBezTo>
                <a:cubicBezTo>
                  <a:pt x="546" y="12"/>
                  <a:pt x="546" y="12"/>
                  <a:pt x="546" y="12"/>
                </a:cubicBezTo>
                <a:cubicBezTo>
                  <a:pt x="546" y="12"/>
                  <a:pt x="546" y="12"/>
                  <a:pt x="545" y="12"/>
                </a:cubicBezTo>
                <a:cubicBezTo>
                  <a:pt x="546" y="12"/>
                  <a:pt x="546" y="12"/>
                  <a:pt x="546" y="12"/>
                </a:cubicBezTo>
                <a:cubicBezTo>
                  <a:pt x="545" y="12"/>
                  <a:pt x="545" y="13"/>
                  <a:pt x="545" y="13"/>
                </a:cubicBezTo>
                <a:cubicBezTo>
                  <a:pt x="545" y="13"/>
                  <a:pt x="545" y="13"/>
                  <a:pt x="545" y="13"/>
                </a:cubicBezTo>
                <a:cubicBezTo>
                  <a:pt x="545" y="13"/>
                  <a:pt x="545" y="13"/>
                  <a:pt x="545" y="13"/>
                </a:cubicBezTo>
                <a:cubicBezTo>
                  <a:pt x="545" y="13"/>
                  <a:pt x="545" y="13"/>
                  <a:pt x="545" y="13"/>
                </a:cubicBezTo>
                <a:cubicBezTo>
                  <a:pt x="545" y="13"/>
                  <a:pt x="545" y="13"/>
                  <a:pt x="544" y="13"/>
                </a:cubicBezTo>
                <a:cubicBezTo>
                  <a:pt x="544" y="13"/>
                  <a:pt x="544" y="13"/>
                  <a:pt x="544" y="13"/>
                </a:cubicBezTo>
                <a:cubicBezTo>
                  <a:pt x="544" y="14"/>
                  <a:pt x="544" y="14"/>
                  <a:pt x="544" y="14"/>
                </a:cubicBezTo>
                <a:cubicBezTo>
                  <a:pt x="544" y="14"/>
                  <a:pt x="544" y="14"/>
                  <a:pt x="544" y="14"/>
                </a:cubicBezTo>
                <a:cubicBezTo>
                  <a:pt x="544" y="14"/>
                  <a:pt x="544" y="14"/>
                  <a:pt x="544" y="14"/>
                </a:cubicBezTo>
                <a:cubicBezTo>
                  <a:pt x="544" y="14"/>
                  <a:pt x="544" y="14"/>
                  <a:pt x="544" y="14"/>
                </a:cubicBezTo>
                <a:cubicBezTo>
                  <a:pt x="544" y="14"/>
                  <a:pt x="543" y="14"/>
                  <a:pt x="543" y="14"/>
                </a:cubicBezTo>
                <a:cubicBezTo>
                  <a:pt x="543" y="14"/>
                  <a:pt x="543" y="14"/>
                  <a:pt x="543" y="14"/>
                </a:cubicBezTo>
                <a:cubicBezTo>
                  <a:pt x="543" y="15"/>
                  <a:pt x="543" y="15"/>
                  <a:pt x="543" y="15"/>
                </a:cubicBezTo>
                <a:cubicBezTo>
                  <a:pt x="543" y="15"/>
                  <a:pt x="543" y="15"/>
                  <a:pt x="543" y="15"/>
                </a:cubicBezTo>
                <a:cubicBezTo>
                  <a:pt x="543" y="15"/>
                  <a:pt x="543" y="15"/>
                  <a:pt x="543" y="15"/>
                </a:cubicBezTo>
                <a:cubicBezTo>
                  <a:pt x="543" y="15"/>
                  <a:pt x="543" y="15"/>
                  <a:pt x="543" y="15"/>
                </a:cubicBezTo>
                <a:cubicBezTo>
                  <a:pt x="543" y="15"/>
                  <a:pt x="542" y="15"/>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1" y="16"/>
                  <a:pt x="541" y="17"/>
                  <a:pt x="541" y="17"/>
                </a:cubicBezTo>
                <a:cubicBezTo>
                  <a:pt x="541" y="17"/>
                  <a:pt x="541" y="17"/>
                  <a:pt x="541" y="17"/>
                </a:cubicBezTo>
                <a:cubicBezTo>
                  <a:pt x="541" y="17"/>
                  <a:pt x="541" y="17"/>
                  <a:pt x="541" y="17"/>
                </a:cubicBezTo>
                <a:cubicBezTo>
                  <a:pt x="541" y="17"/>
                  <a:pt x="541" y="17"/>
                  <a:pt x="541" y="17"/>
                </a:cubicBezTo>
                <a:cubicBezTo>
                  <a:pt x="541" y="17"/>
                  <a:pt x="541" y="18"/>
                  <a:pt x="541" y="18"/>
                </a:cubicBezTo>
                <a:cubicBezTo>
                  <a:pt x="541" y="18"/>
                  <a:pt x="541" y="18"/>
                  <a:pt x="541" y="18"/>
                </a:cubicBezTo>
                <a:cubicBezTo>
                  <a:pt x="540" y="18"/>
                  <a:pt x="540" y="18"/>
                  <a:pt x="540" y="18"/>
                </a:cubicBezTo>
                <a:cubicBezTo>
                  <a:pt x="540" y="18"/>
                  <a:pt x="540" y="18"/>
                  <a:pt x="540" y="18"/>
                </a:cubicBezTo>
                <a:cubicBezTo>
                  <a:pt x="540" y="18"/>
                  <a:pt x="540" y="19"/>
                  <a:pt x="540" y="19"/>
                </a:cubicBezTo>
                <a:cubicBezTo>
                  <a:pt x="540" y="19"/>
                  <a:pt x="540" y="19"/>
                  <a:pt x="540" y="19"/>
                </a:cubicBezTo>
                <a:cubicBezTo>
                  <a:pt x="540" y="19"/>
                  <a:pt x="540" y="19"/>
                  <a:pt x="540" y="19"/>
                </a:cubicBezTo>
                <a:cubicBezTo>
                  <a:pt x="540" y="19"/>
                  <a:pt x="540" y="19"/>
                  <a:pt x="540" y="19"/>
                </a:cubicBezTo>
                <a:cubicBezTo>
                  <a:pt x="539" y="20"/>
                  <a:pt x="539" y="20"/>
                  <a:pt x="539" y="20"/>
                </a:cubicBezTo>
                <a:cubicBezTo>
                  <a:pt x="539" y="20"/>
                  <a:pt x="539" y="20"/>
                  <a:pt x="539" y="20"/>
                </a:cubicBezTo>
                <a:cubicBezTo>
                  <a:pt x="539" y="20"/>
                  <a:pt x="539" y="21"/>
                  <a:pt x="539" y="21"/>
                </a:cubicBezTo>
                <a:cubicBezTo>
                  <a:pt x="539" y="21"/>
                  <a:pt x="539" y="21"/>
                  <a:pt x="539" y="21"/>
                </a:cubicBezTo>
                <a:cubicBezTo>
                  <a:pt x="539" y="21"/>
                  <a:pt x="539" y="21"/>
                  <a:pt x="539" y="21"/>
                </a:cubicBezTo>
                <a:cubicBezTo>
                  <a:pt x="539" y="21"/>
                  <a:pt x="539" y="22"/>
                  <a:pt x="538" y="22"/>
                </a:cubicBezTo>
                <a:cubicBezTo>
                  <a:pt x="538" y="22"/>
                  <a:pt x="538" y="22"/>
                  <a:pt x="538" y="22"/>
                </a:cubicBezTo>
                <a:cubicBezTo>
                  <a:pt x="538" y="22"/>
                  <a:pt x="538" y="22"/>
                  <a:pt x="538" y="23"/>
                </a:cubicBezTo>
                <a:cubicBezTo>
                  <a:pt x="538" y="23"/>
                  <a:pt x="538" y="23"/>
                  <a:pt x="538" y="23"/>
                </a:cubicBezTo>
                <a:cubicBezTo>
                  <a:pt x="538" y="23"/>
                  <a:pt x="538" y="23"/>
                  <a:pt x="538" y="23"/>
                </a:cubicBezTo>
                <a:cubicBezTo>
                  <a:pt x="538" y="23"/>
                  <a:pt x="538" y="23"/>
                  <a:pt x="538" y="24"/>
                </a:cubicBezTo>
                <a:cubicBezTo>
                  <a:pt x="538" y="24"/>
                  <a:pt x="538" y="24"/>
                  <a:pt x="538" y="24"/>
                </a:cubicBezTo>
                <a:cubicBezTo>
                  <a:pt x="538" y="24"/>
                  <a:pt x="538" y="24"/>
                  <a:pt x="538" y="24"/>
                </a:cubicBezTo>
                <a:cubicBezTo>
                  <a:pt x="537" y="24"/>
                  <a:pt x="538" y="25"/>
                  <a:pt x="537" y="25"/>
                </a:cubicBezTo>
                <a:cubicBezTo>
                  <a:pt x="538" y="25"/>
                  <a:pt x="538" y="25"/>
                  <a:pt x="537" y="25"/>
                </a:cubicBezTo>
                <a:cubicBezTo>
                  <a:pt x="537" y="26"/>
                  <a:pt x="537" y="26"/>
                  <a:pt x="537" y="27"/>
                </a:cubicBezTo>
                <a:cubicBezTo>
                  <a:pt x="537" y="28"/>
                  <a:pt x="537" y="29"/>
                  <a:pt x="537" y="30"/>
                </a:cubicBezTo>
                <a:cubicBezTo>
                  <a:pt x="537" y="32"/>
                  <a:pt x="537" y="35"/>
                  <a:pt x="538" y="37"/>
                </a:cubicBezTo>
                <a:cubicBezTo>
                  <a:pt x="539" y="42"/>
                  <a:pt x="541" y="46"/>
                  <a:pt x="545" y="49"/>
                </a:cubicBezTo>
                <a:cubicBezTo>
                  <a:pt x="548" y="52"/>
                  <a:pt x="552" y="55"/>
                  <a:pt x="556" y="57"/>
                </a:cubicBezTo>
                <a:cubicBezTo>
                  <a:pt x="559" y="58"/>
                  <a:pt x="561" y="60"/>
                  <a:pt x="563" y="61"/>
                </a:cubicBezTo>
                <a:cubicBezTo>
                  <a:pt x="567" y="63"/>
                  <a:pt x="570" y="65"/>
                  <a:pt x="573" y="68"/>
                </a:cubicBezTo>
                <a:cubicBezTo>
                  <a:pt x="576" y="71"/>
                  <a:pt x="578" y="75"/>
                  <a:pt x="578" y="79"/>
                </a:cubicBezTo>
                <a:cubicBezTo>
                  <a:pt x="578" y="86"/>
                  <a:pt x="574" y="90"/>
                  <a:pt x="568" y="92"/>
                </a:cubicBezTo>
                <a:cubicBezTo>
                  <a:pt x="566" y="93"/>
                  <a:pt x="563" y="93"/>
                  <a:pt x="561" y="93"/>
                </a:cubicBezTo>
                <a:cubicBezTo>
                  <a:pt x="553" y="93"/>
                  <a:pt x="545" y="91"/>
                  <a:pt x="538" y="86"/>
                </a:cubicBezTo>
                <a:cubicBezTo>
                  <a:pt x="538" y="85"/>
                  <a:pt x="537" y="85"/>
                  <a:pt x="537" y="85"/>
                </a:cubicBezTo>
                <a:cubicBezTo>
                  <a:pt x="537" y="89"/>
                  <a:pt x="537" y="93"/>
                  <a:pt x="537" y="97"/>
                </a:cubicBezTo>
                <a:cubicBezTo>
                  <a:pt x="537" y="98"/>
                  <a:pt x="537" y="98"/>
                  <a:pt x="538" y="98"/>
                </a:cubicBezTo>
                <a:cubicBezTo>
                  <a:pt x="539" y="99"/>
                  <a:pt x="541" y="100"/>
                  <a:pt x="543" y="100"/>
                </a:cubicBezTo>
                <a:cubicBezTo>
                  <a:pt x="546" y="102"/>
                  <a:pt x="550" y="102"/>
                  <a:pt x="553" y="103"/>
                </a:cubicBezTo>
                <a:cubicBezTo>
                  <a:pt x="555" y="103"/>
                  <a:pt x="556" y="103"/>
                  <a:pt x="557" y="103"/>
                </a:cubicBezTo>
                <a:cubicBezTo>
                  <a:pt x="558" y="103"/>
                  <a:pt x="559" y="103"/>
                  <a:pt x="560" y="103"/>
                </a:cubicBezTo>
                <a:cubicBezTo>
                  <a:pt x="561" y="103"/>
                  <a:pt x="562" y="103"/>
                  <a:pt x="564" y="103"/>
                </a:cubicBezTo>
                <a:cubicBezTo>
                  <a:pt x="564" y="103"/>
                  <a:pt x="564" y="103"/>
                  <a:pt x="564" y="103"/>
                </a:cubicBezTo>
                <a:cubicBezTo>
                  <a:pt x="565" y="103"/>
                  <a:pt x="566" y="103"/>
                  <a:pt x="566" y="103"/>
                </a:cubicBezTo>
                <a:cubicBezTo>
                  <a:pt x="566" y="102"/>
                  <a:pt x="567" y="102"/>
                  <a:pt x="567" y="103"/>
                </a:cubicBezTo>
                <a:cubicBezTo>
                  <a:pt x="567" y="102"/>
                  <a:pt x="568" y="103"/>
                  <a:pt x="568" y="102"/>
                </a:cubicBezTo>
                <a:cubicBezTo>
                  <a:pt x="568" y="102"/>
                  <a:pt x="568" y="102"/>
                  <a:pt x="568" y="102"/>
                </a:cubicBezTo>
                <a:cubicBezTo>
                  <a:pt x="569" y="102"/>
                  <a:pt x="569" y="102"/>
                  <a:pt x="569" y="102"/>
                </a:cubicBezTo>
                <a:cubicBezTo>
                  <a:pt x="569" y="102"/>
                  <a:pt x="569" y="102"/>
                  <a:pt x="570" y="102"/>
                </a:cubicBezTo>
                <a:cubicBezTo>
                  <a:pt x="570" y="102"/>
                  <a:pt x="570" y="102"/>
                  <a:pt x="570" y="102"/>
                </a:cubicBezTo>
                <a:cubicBezTo>
                  <a:pt x="570" y="102"/>
                  <a:pt x="570" y="102"/>
                  <a:pt x="570" y="102"/>
                </a:cubicBezTo>
                <a:cubicBezTo>
                  <a:pt x="570" y="102"/>
                  <a:pt x="571" y="102"/>
                  <a:pt x="571" y="101"/>
                </a:cubicBezTo>
                <a:cubicBezTo>
                  <a:pt x="571" y="101"/>
                  <a:pt x="571" y="101"/>
                  <a:pt x="571" y="101"/>
                </a:cubicBezTo>
                <a:cubicBezTo>
                  <a:pt x="571" y="101"/>
                  <a:pt x="572" y="101"/>
                  <a:pt x="572" y="101"/>
                </a:cubicBezTo>
                <a:cubicBezTo>
                  <a:pt x="572" y="101"/>
                  <a:pt x="572" y="101"/>
                  <a:pt x="572" y="101"/>
                </a:cubicBezTo>
                <a:cubicBezTo>
                  <a:pt x="572" y="101"/>
                  <a:pt x="573" y="101"/>
                  <a:pt x="573" y="101"/>
                </a:cubicBezTo>
                <a:cubicBezTo>
                  <a:pt x="573" y="101"/>
                  <a:pt x="573" y="101"/>
                  <a:pt x="573" y="101"/>
                </a:cubicBezTo>
                <a:cubicBezTo>
                  <a:pt x="573" y="101"/>
                  <a:pt x="574" y="101"/>
                  <a:pt x="574" y="100"/>
                </a:cubicBezTo>
                <a:cubicBezTo>
                  <a:pt x="574" y="100"/>
                  <a:pt x="574" y="100"/>
                  <a:pt x="574" y="100"/>
                </a:cubicBezTo>
                <a:cubicBezTo>
                  <a:pt x="574" y="100"/>
                  <a:pt x="574" y="100"/>
                  <a:pt x="574" y="100"/>
                </a:cubicBezTo>
                <a:cubicBezTo>
                  <a:pt x="574" y="100"/>
                  <a:pt x="575" y="100"/>
                  <a:pt x="575" y="100"/>
                </a:cubicBezTo>
                <a:cubicBezTo>
                  <a:pt x="575" y="100"/>
                  <a:pt x="575" y="100"/>
                  <a:pt x="575" y="100"/>
                </a:cubicBezTo>
                <a:cubicBezTo>
                  <a:pt x="575" y="100"/>
                  <a:pt x="576" y="100"/>
                  <a:pt x="576" y="100"/>
                </a:cubicBezTo>
                <a:cubicBezTo>
                  <a:pt x="576" y="100"/>
                  <a:pt x="576" y="100"/>
                  <a:pt x="576" y="100"/>
                </a:cubicBezTo>
                <a:cubicBezTo>
                  <a:pt x="576" y="100"/>
                  <a:pt x="576" y="100"/>
                  <a:pt x="576" y="99"/>
                </a:cubicBezTo>
                <a:cubicBezTo>
                  <a:pt x="576" y="99"/>
                  <a:pt x="576" y="99"/>
                  <a:pt x="576" y="99"/>
                </a:cubicBezTo>
                <a:cubicBezTo>
                  <a:pt x="577" y="99"/>
                  <a:pt x="577" y="99"/>
                  <a:pt x="577" y="99"/>
                </a:cubicBezTo>
                <a:cubicBezTo>
                  <a:pt x="577" y="99"/>
                  <a:pt x="577" y="99"/>
                  <a:pt x="577" y="99"/>
                </a:cubicBezTo>
                <a:cubicBezTo>
                  <a:pt x="577" y="99"/>
                  <a:pt x="578" y="99"/>
                  <a:pt x="578" y="99"/>
                </a:cubicBezTo>
                <a:cubicBezTo>
                  <a:pt x="578" y="99"/>
                  <a:pt x="578" y="99"/>
                  <a:pt x="578" y="99"/>
                </a:cubicBezTo>
                <a:cubicBezTo>
                  <a:pt x="578" y="99"/>
                  <a:pt x="578" y="98"/>
                  <a:pt x="578" y="98"/>
                </a:cubicBezTo>
                <a:cubicBezTo>
                  <a:pt x="578" y="98"/>
                  <a:pt x="578" y="98"/>
                  <a:pt x="578" y="98"/>
                </a:cubicBezTo>
                <a:cubicBezTo>
                  <a:pt x="578" y="98"/>
                  <a:pt x="579" y="98"/>
                  <a:pt x="579" y="98"/>
                </a:cubicBezTo>
                <a:cubicBezTo>
                  <a:pt x="579" y="98"/>
                  <a:pt x="579" y="98"/>
                  <a:pt x="579" y="98"/>
                </a:cubicBezTo>
                <a:cubicBezTo>
                  <a:pt x="579" y="98"/>
                  <a:pt x="579" y="98"/>
                  <a:pt x="579" y="98"/>
                </a:cubicBezTo>
                <a:cubicBezTo>
                  <a:pt x="579" y="98"/>
                  <a:pt x="579" y="98"/>
                  <a:pt x="579" y="98"/>
                </a:cubicBezTo>
                <a:cubicBezTo>
                  <a:pt x="579" y="97"/>
                  <a:pt x="580" y="98"/>
                  <a:pt x="580" y="97"/>
                </a:cubicBezTo>
                <a:cubicBezTo>
                  <a:pt x="580" y="97"/>
                  <a:pt x="580" y="97"/>
                  <a:pt x="580" y="97"/>
                </a:cubicBezTo>
                <a:cubicBezTo>
                  <a:pt x="580" y="97"/>
                  <a:pt x="580" y="97"/>
                  <a:pt x="580" y="97"/>
                </a:cubicBezTo>
                <a:cubicBezTo>
                  <a:pt x="580" y="97"/>
                  <a:pt x="580" y="97"/>
                  <a:pt x="580" y="97"/>
                </a:cubicBezTo>
                <a:cubicBezTo>
                  <a:pt x="580" y="97"/>
                  <a:pt x="580" y="97"/>
                  <a:pt x="581" y="97"/>
                </a:cubicBezTo>
                <a:cubicBezTo>
                  <a:pt x="581" y="97"/>
                  <a:pt x="581" y="97"/>
                  <a:pt x="581" y="97"/>
                </a:cubicBezTo>
                <a:cubicBezTo>
                  <a:pt x="581" y="96"/>
                  <a:pt x="581" y="97"/>
                  <a:pt x="581" y="96"/>
                </a:cubicBezTo>
                <a:cubicBezTo>
                  <a:pt x="581" y="96"/>
                  <a:pt x="581" y="96"/>
                  <a:pt x="581" y="96"/>
                </a:cubicBezTo>
                <a:cubicBezTo>
                  <a:pt x="581" y="96"/>
                  <a:pt x="582" y="96"/>
                  <a:pt x="582" y="96"/>
                </a:cubicBezTo>
                <a:cubicBezTo>
                  <a:pt x="582" y="96"/>
                  <a:pt x="582" y="96"/>
                  <a:pt x="582" y="96"/>
                </a:cubicBezTo>
                <a:cubicBezTo>
                  <a:pt x="582" y="96"/>
                  <a:pt x="582" y="96"/>
                  <a:pt x="582" y="96"/>
                </a:cubicBezTo>
                <a:cubicBezTo>
                  <a:pt x="582" y="96"/>
                  <a:pt x="582" y="96"/>
                  <a:pt x="582" y="96"/>
                </a:cubicBezTo>
                <a:cubicBezTo>
                  <a:pt x="582" y="95"/>
                  <a:pt x="582" y="95"/>
                  <a:pt x="582" y="95"/>
                </a:cubicBezTo>
                <a:cubicBezTo>
                  <a:pt x="582" y="95"/>
                  <a:pt x="582" y="95"/>
                  <a:pt x="582" y="95"/>
                </a:cubicBezTo>
                <a:cubicBezTo>
                  <a:pt x="582" y="95"/>
                  <a:pt x="583" y="95"/>
                  <a:pt x="583" y="95"/>
                </a:cubicBezTo>
                <a:cubicBezTo>
                  <a:pt x="583" y="95"/>
                  <a:pt x="583" y="95"/>
                  <a:pt x="583" y="95"/>
                </a:cubicBezTo>
                <a:cubicBezTo>
                  <a:pt x="583" y="95"/>
                  <a:pt x="583" y="95"/>
                  <a:pt x="583" y="95"/>
                </a:cubicBezTo>
                <a:cubicBezTo>
                  <a:pt x="583" y="95"/>
                  <a:pt x="583" y="95"/>
                  <a:pt x="583" y="95"/>
                </a:cubicBezTo>
                <a:cubicBezTo>
                  <a:pt x="583" y="94"/>
                  <a:pt x="583" y="94"/>
                  <a:pt x="583" y="94"/>
                </a:cubicBezTo>
                <a:cubicBezTo>
                  <a:pt x="583" y="94"/>
                  <a:pt x="583" y="94"/>
                  <a:pt x="583" y="94"/>
                </a:cubicBezTo>
                <a:cubicBezTo>
                  <a:pt x="583" y="94"/>
                  <a:pt x="584" y="94"/>
                  <a:pt x="584" y="94"/>
                </a:cubicBezTo>
                <a:cubicBezTo>
                  <a:pt x="584" y="94"/>
                  <a:pt x="584" y="94"/>
                  <a:pt x="584" y="94"/>
                </a:cubicBezTo>
                <a:cubicBezTo>
                  <a:pt x="584" y="94"/>
                  <a:pt x="584" y="94"/>
                  <a:pt x="584" y="93"/>
                </a:cubicBezTo>
                <a:cubicBezTo>
                  <a:pt x="584" y="93"/>
                  <a:pt x="584" y="93"/>
                  <a:pt x="584" y="93"/>
                </a:cubicBezTo>
                <a:cubicBezTo>
                  <a:pt x="584" y="93"/>
                  <a:pt x="584" y="93"/>
                  <a:pt x="584" y="93"/>
                </a:cubicBezTo>
                <a:cubicBezTo>
                  <a:pt x="584" y="93"/>
                  <a:pt x="584" y="93"/>
                  <a:pt x="584" y="93"/>
                </a:cubicBezTo>
                <a:cubicBezTo>
                  <a:pt x="585" y="93"/>
                  <a:pt x="585" y="93"/>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6" y="92"/>
                  <a:pt x="586" y="91"/>
                  <a:pt x="586" y="91"/>
                </a:cubicBezTo>
                <a:cubicBezTo>
                  <a:pt x="586" y="91"/>
                  <a:pt x="586" y="91"/>
                  <a:pt x="586" y="91"/>
                </a:cubicBezTo>
                <a:cubicBezTo>
                  <a:pt x="586" y="91"/>
                  <a:pt x="586" y="91"/>
                  <a:pt x="586" y="90"/>
                </a:cubicBezTo>
                <a:cubicBezTo>
                  <a:pt x="586" y="90"/>
                  <a:pt x="586" y="90"/>
                  <a:pt x="586" y="90"/>
                </a:cubicBezTo>
                <a:cubicBezTo>
                  <a:pt x="586" y="90"/>
                  <a:pt x="586" y="90"/>
                  <a:pt x="586" y="90"/>
                </a:cubicBezTo>
                <a:cubicBezTo>
                  <a:pt x="586" y="90"/>
                  <a:pt x="586" y="90"/>
                  <a:pt x="586" y="90"/>
                </a:cubicBezTo>
                <a:cubicBezTo>
                  <a:pt x="587" y="90"/>
                  <a:pt x="587" y="89"/>
                  <a:pt x="587" y="89"/>
                </a:cubicBezTo>
                <a:cubicBezTo>
                  <a:pt x="587" y="89"/>
                  <a:pt x="587" y="89"/>
                  <a:pt x="587" y="89"/>
                </a:cubicBezTo>
                <a:cubicBezTo>
                  <a:pt x="587" y="89"/>
                  <a:pt x="587" y="89"/>
                  <a:pt x="587" y="89"/>
                </a:cubicBezTo>
                <a:cubicBezTo>
                  <a:pt x="587" y="89"/>
                  <a:pt x="587" y="89"/>
                  <a:pt x="587" y="89"/>
                </a:cubicBezTo>
                <a:cubicBezTo>
                  <a:pt x="588" y="88"/>
                  <a:pt x="587" y="88"/>
                  <a:pt x="588" y="88"/>
                </a:cubicBezTo>
                <a:cubicBezTo>
                  <a:pt x="588" y="88"/>
                  <a:pt x="588" y="88"/>
                  <a:pt x="588" y="88"/>
                </a:cubicBezTo>
                <a:cubicBezTo>
                  <a:pt x="588" y="87"/>
                  <a:pt x="588" y="87"/>
                  <a:pt x="588" y="87"/>
                </a:cubicBezTo>
                <a:cubicBezTo>
                  <a:pt x="588" y="87"/>
                  <a:pt x="588" y="87"/>
                  <a:pt x="588" y="87"/>
                </a:cubicBezTo>
                <a:cubicBezTo>
                  <a:pt x="588" y="86"/>
                  <a:pt x="588" y="86"/>
                  <a:pt x="588" y="86"/>
                </a:cubicBezTo>
                <a:cubicBezTo>
                  <a:pt x="588" y="86"/>
                  <a:pt x="588" y="86"/>
                  <a:pt x="588" y="85"/>
                </a:cubicBezTo>
                <a:cubicBezTo>
                  <a:pt x="589" y="85"/>
                  <a:pt x="588" y="85"/>
                  <a:pt x="589" y="84"/>
                </a:cubicBezTo>
                <a:close/>
                <a:moveTo>
                  <a:pt x="300" y="53"/>
                </a:moveTo>
                <a:cubicBezTo>
                  <a:pt x="297" y="43"/>
                  <a:pt x="290" y="37"/>
                  <a:pt x="280" y="34"/>
                </a:cubicBezTo>
                <a:cubicBezTo>
                  <a:pt x="274" y="32"/>
                  <a:pt x="268" y="32"/>
                  <a:pt x="262" y="33"/>
                </a:cubicBezTo>
                <a:cubicBezTo>
                  <a:pt x="251" y="35"/>
                  <a:pt x="243" y="42"/>
                  <a:pt x="239" y="52"/>
                </a:cubicBezTo>
                <a:cubicBezTo>
                  <a:pt x="235" y="62"/>
                  <a:pt x="235" y="72"/>
                  <a:pt x="238" y="82"/>
                </a:cubicBezTo>
                <a:cubicBezTo>
                  <a:pt x="241" y="91"/>
                  <a:pt x="248" y="98"/>
                  <a:pt x="257" y="101"/>
                </a:cubicBezTo>
                <a:cubicBezTo>
                  <a:pt x="263" y="103"/>
                  <a:pt x="269" y="104"/>
                  <a:pt x="275" y="103"/>
                </a:cubicBezTo>
                <a:cubicBezTo>
                  <a:pt x="286" y="101"/>
                  <a:pt x="294" y="95"/>
                  <a:pt x="299" y="86"/>
                </a:cubicBezTo>
                <a:cubicBezTo>
                  <a:pt x="301" y="80"/>
                  <a:pt x="302" y="74"/>
                  <a:pt x="302" y="67"/>
                </a:cubicBezTo>
                <a:cubicBezTo>
                  <a:pt x="302" y="63"/>
                  <a:pt x="302" y="58"/>
                  <a:pt x="300" y="53"/>
                </a:cubicBezTo>
                <a:close/>
                <a:moveTo>
                  <a:pt x="422" y="54"/>
                </a:moveTo>
                <a:cubicBezTo>
                  <a:pt x="419" y="43"/>
                  <a:pt x="412" y="37"/>
                  <a:pt x="401" y="34"/>
                </a:cubicBezTo>
                <a:cubicBezTo>
                  <a:pt x="396" y="32"/>
                  <a:pt x="390" y="32"/>
                  <a:pt x="384" y="33"/>
                </a:cubicBezTo>
                <a:cubicBezTo>
                  <a:pt x="374" y="35"/>
                  <a:pt x="366" y="41"/>
                  <a:pt x="362" y="50"/>
                </a:cubicBezTo>
                <a:cubicBezTo>
                  <a:pt x="357" y="60"/>
                  <a:pt x="356" y="74"/>
                  <a:pt x="361" y="84"/>
                </a:cubicBezTo>
                <a:cubicBezTo>
                  <a:pt x="365" y="94"/>
                  <a:pt x="371" y="100"/>
                  <a:pt x="381" y="102"/>
                </a:cubicBezTo>
                <a:cubicBezTo>
                  <a:pt x="386" y="103"/>
                  <a:pt x="392" y="103"/>
                  <a:pt x="397" y="103"/>
                </a:cubicBezTo>
                <a:cubicBezTo>
                  <a:pt x="408" y="101"/>
                  <a:pt x="415" y="95"/>
                  <a:pt x="420" y="85"/>
                </a:cubicBezTo>
                <a:cubicBezTo>
                  <a:pt x="423" y="80"/>
                  <a:pt x="424" y="74"/>
                  <a:pt x="424" y="67"/>
                </a:cubicBezTo>
                <a:cubicBezTo>
                  <a:pt x="424" y="63"/>
                  <a:pt x="423" y="58"/>
                  <a:pt x="422" y="54"/>
                </a:cubicBezTo>
                <a:close/>
                <a:moveTo>
                  <a:pt x="1580" y="22"/>
                </a:moveTo>
                <a:cubicBezTo>
                  <a:pt x="1580" y="22"/>
                  <a:pt x="1580" y="22"/>
                  <a:pt x="1580" y="22"/>
                </a:cubicBezTo>
                <a:cubicBezTo>
                  <a:pt x="1580" y="22"/>
                  <a:pt x="1580" y="21"/>
                  <a:pt x="1580" y="21"/>
                </a:cubicBezTo>
                <a:cubicBezTo>
                  <a:pt x="1580" y="21"/>
                  <a:pt x="1580" y="21"/>
                  <a:pt x="1580" y="21"/>
                </a:cubicBezTo>
                <a:cubicBezTo>
                  <a:pt x="1580" y="21"/>
                  <a:pt x="1580" y="20"/>
                  <a:pt x="1580" y="20"/>
                </a:cubicBezTo>
                <a:cubicBezTo>
                  <a:pt x="1580" y="20"/>
                  <a:pt x="1580" y="20"/>
                  <a:pt x="1580" y="20"/>
                </a:cubicBezTo>
                <a:cubicBezTo>
                  <a:pt x="1579" y="20"/>
                  <a:pt x="1579" y="20"/>
                  <a:pt x="1579" y="19"/>
                </a:cubicBezTo>
                <a:cubicBezTo>
                  <a:pt x="1579" y="19"/>
                  <a:pt x="1579" y="19"/>
                  <a:pt x="1579" y="19"/>
                </a:cubicBezTo>
                <a:cubicBezTo>
                  <a:pt x="1579" y="19"/>
                  <a:pt x="1579" y="19"/>
                  <a:pt x="1579" y="19"/>
                </a:cubicBezTo>
                <a:cubicBezTo>
                  <a:pt x="1579" y="19"/>
                  <a:pt x="1579" y="19"/>
                  <a:pt x="1579" y="19"/>
                </a:cubicBezTo>
                <a:cubicBezTo>
                  <a:pt x="1579" y="18"/>
                  <a:pt x="1579" y="18"/>
                  <a:pt x="1579" y="18"/>
                </a:cubicBezTo>
                <a:cubicBezTo>
                  <a:pt x="1579" y="18"/>
                  <a:pt x="1579" y="18"/>
                  <a:pt x="1579" y="18"/>
                </a:cubicBezTo>
                <a:cubicBezTo>
                  <a:pt x="1578" y="18"/>
                  <a:pt x="1578" y="17"/>
                  <a:pt x="1578" y="17"/>
                </a:cubicBezTo>
                <a:cubicBezTo>
                  <a:pt x="1578" y="17"/>
                  <a:pt x="1578" y="17"/>
                  <a:pt x="1578" y="17"/>
                </a:cubicBezTo>
                <a:cubicBezTo>
                  <a:pt x="1578" y="17"/>
                  <a:pt x="1578" y="17"/>
                  <a:pt x="1578" y="17"/>
                </a:cubicBezTo>
                <a:cubicBezTo>
                  <a:pt x="1578" y="17"/>
                  <a:pt x="1578" y="17"/>
                  <a:pt x="1578" y="17"/>
                </a:cubicBezTo>
                <a:cubicBezTo>
                  <a:pt x="1578" y="17"/>
                  <a:pt x="1578" y="16"/>
                  <a:pt x="1577" y="16"/>
                </a:cubicBezTo>
                <a:cubicBezTo>
                  <a:pt x="1577" y="16"/>
                  <a:pt x="1577" y="16"/>
                  <a:pt x="1577" y="16"/>
                </a:cubicBezTo>
                <a:cubicBezTo>
                  <a:pt x="1577" y="16"/>
                  <a:pt x="1577" y="16"/>
                  <a:pt x="1577" y="16"/>
                </a:cubicBezTo>
                <a:cubicBezTo>
                  <a:pt x="1577" y="16"/>
                  <a:pt x="1577" y="16"/>
                  <a:pt x="1577" y="16"/>
                </a:cubicBezTo>
                <a:cubicBezTo>
                  <a:pt x="1577" y="16"/>
                  <a:pt x="1577" y="15"/>
                  <a:pt x="1576" y="15"/>
                </a:cubicBezTo>
                <a:cubicBezTo>
                  <a:pt x="1576" y="15"/>
                  <a:pt x="1576" y="15"/>
                  <a:pt x="1576" y="15"/>
                </a:cubicBezTo>
                <a:cubicBezTo>
                  <a:pt x="1576" y="15"/>
                  <a:pt x="1576" y="15"/>
                  <a:pt x="1576" y="15"/>
                </a:cubicBezTo>
                <a:cubicBezTo>
                  <a:pt x="1576" y="15"/>
                  <a:pt x="1576" y="15"/>
                  <a:pt x="1576" y="15"/>
                </a:cubicBezTo>
                <a:cubicBezTo>
                  <a:pt x="1576" y="14"/>
                  <a:pt x="1576" y="14"/>
                  <a:pt x="1576" y="14"/>
                </a:cubicBezTo>
                <a:cubicBezTo>
                  <a:pt x="1576" y="14"/>
                  <a:pt x="1576" y="14"/>
                  <a:pt x="1576" y="14"/>
                </a:cubicBezTo>
                <a:cubicBezTo>
                  <a:pt x="1576" y="14"/>
                  <a:pt x="1576" y="14"/>
                  <a:pt x="1575" y="14"/>
                </a:cubicBezTo>
                <a:cubicBezTo>
                  <a:pt x="1575" y="14"/>
                  <a:pt x="1575" y="14"/>
                  <a:pt x="1575" y="14"/>
                </a:cubicBezTo>
                <a:cubicBezTo>
                  <a:pt x="1575" y="14"/>
                  <a:pt x="1575" y="14"/>
                  <a:pt x="1575" y="13"/>
                </a:cubicBezTo>
                <a:cubicBezTo>
                  <a:pt x="1575" y="13"/>
                  <a:pt x="1575" y="13"/>
                  <a:pt x="1575" y="13"/>
                </a:cubicBezTo>
                <a:cubicBezTo>
                  <a:pt x="1575" y="13"/>
                  <a:pt x="1575" y="13"/>
                  <a:pt x="1575" y="13"/>
                </a:cubicBezTo>
                <a:cubicBezTo>
                  <a:pt x="1575" y="13"/>
                  <a:pt x="1575" y="13"/>
                  <a:pt x="1575" y="13"/>
                </a:cubicBezTo>
                <a:cubicBezTo>
                  <a:pt x="1575" y="13"/>
                  <a:pt x="1575" y="13"/>
                  <a:pt x="1574" y="13"/>
                </a:cubicBezTo>
                <a:cubicBezTo>
                  <a:pt x="1574" y="13"/>
                  <a:pt x="1574" y="13"/>
                  <a:pt x="1574" y="13"/>
                </a:cubicBezTo>
                <a:cubicBezTo>
                  <a:pt x="1574" y="13"/>
                  <a:pt x="1574" y="13"/>
                  <a:pt x="1574" y="12"/>
                </a:cubicBezTo>
                <a:cubicBezTo>
                  <a:pt x="1574" y="12"/>
                  <a:pt x="1574" y="12"/>
                  <a:pt x="1574" y="12"/>
                </a:cubicBezTo>
                <a:cubicBezTo>
                  <a:pt x="1574" y="12"/>
                  <a:pt x="1574" y="12"/>
                  <a:pt x="1574" y="12"/>
                </a:cubicBezTo>
                <a:cubicBezTo>
                  <a:pt x="1574" y="12"/>
                  <a:pt x="1574" y="12"/>
                  <a:pt x="1574" y="12"/>
                </a:cubicBezTo>
                <a:cubicBezTo>
                  <a:pt x="1574" y="12"/>
                  <a:pt x="1573" y="12"/>
                  <a:pt x="1573" y="12"/>
                </a:cubicBezTo>
                <a:cubicBezTo>
                  <a:pt x="1573" y="12"/>
                  <a:pt x="1573" y="12"/>
                  <a:pt x="1573" y="12"/>
                </a:cubicBezTo>
                <a:cubicBezTo>
                  <a:pt x="1573" y="12"/>
                  <a:pt x="1573" y="11"/>
                  <a:pt x="1573" y="11"/>
                </a:cubicBezTo>
                <a:cubicBezTo>
                  <a:pt x="1573" y="11"/>
                  <a:pt x="1573" y="11"/>
                  <a:pt x="1573" y="11"/>
                </a:cubicBezTo>
                <a:cubicBezTo>
                  <a:pt x="1573" y="11"/>
                  <a:pt x="1572" y="11"/>
                  <a:pt x="1572" y="11"/>
                </a:cubicBezTo>
                <a:cubicBezTo>
                  <a:pt x="1572" y="11"/>
                  <a:pt x="1572" y="11"/>
                  <a:pt x="1572" y="11"/>
                </a:cubicBezTo>
                <a:cubicBezTo>
                  <a:pt x="1572" y="11"/>
                  <a:pt x="1572" y="11"/>
                  <a:pt x="1572" y="11"/>
                </a:cubicBezTo>
                <a:cubicBezTo>
                  <a:pt x="1572" y="11"/>
                  <a:pt x="1572" y="11"/>
                  <a:pt x="1572" y="11"/>
                </a:cubicBezTo>
                <a:cubicBezTo>
                  <a:pt x="1572" y="10"/>
                  <a:pt x="1571" y="10"/>
                  <a:pt x="1571" y="10"/>
                </a:cubicBezTo>
                <a:cubicBezTo>
                  <a:pt x="1571" y="10"/>
                  <a:pt x="1571" y="10"/>
                  <a:pt x="1571" y="10"/>
                </a:cubicBezTo>
                <a:cubicBezTo>
                  <a:pt x="1571" y="10"/>
                  <a:pt x="1570" y="10"/>
                  <a:pt x="1570" y="10"/>
                </a:cubicBezTo>
                <a:cubicBezTo>
                  <a:pt x="1570" y="10"/>
                  <a:pt x="1570" y="10"/>
                  <a:pt x="1570" y="10"/>
                </a:cubicBezTo>
                <a:cubicBezTo>
                  <a:pt x="1570" y="9"/>
                  <a:pt x="1570" y="9"/>
                  <a:pt x="1570" y="9"/>
                </a:cubicBezTo>
                <a:cubicBezTo>
                  <a:pt x="1570" y="9"/>
                  <a:pt x="1570" y="9"/>
                  <a:pt x="1570" y="9"/>
                </a:cubicBezTo>
                <a:cubicBezTo>
                  <a:pt x="1570" y="9"/>
                  <a:pt x="1569" y="9"/>
                  <a:pt x="1569" y="9"/>
                </a:cubicBezTo>
                <a:cubicBezTo>
                  <a:pt x="1569" y="9"/>
                  <a:pt x="1569" y="9"/>
                  <a:pt x="1569" y="9"/>
                </a:cubicBezTo>
                <a:cubicBezTo>
                  <a:pt x="1569" y="9"/>
                  <a:pt x="1569" y="9"/>
                  <a:pt x="1568" y="9"/>
                </a:cubicBezTo>
                <a:cubicBezTo>
                  <a:pt x="1568" y="9"/>
                  <a:pt x="1568" y="9"/>
                  <a:pt x="1568" y="9"/>
                </a:cubicBezTo>
                <a:cubicBezTo>
                  <a:pt x="1568" y="8"/>
                  <a:pt x="1568" y="8"/>
                  <a:pt x="1568" y="8"/>
                </a:cubicBezTo>
                <a:cubicBezTo>
                  <a:pt x="1568" y="8"/>
                  <a:pt x="1568" y="8"/>
                  <a:pt x="1568" y="8"/>
                </a:cubicBezTo>
                <a:cubicBezTo>
                  <a:pt x="1568" y="8"/>
                  <a:pt x="1567" y="8"/>
                  <a:pt x="1567" y="8"/>
                </a:cubicBezTo>
                <a:cubicBezTo>
                  <a:pt x="1567" y="8"/>
                  <a:pt x="1567" y="8"/>
                  <a:pt x="1567" y="8"/>
                </a:cubicBezTo>
                <a:cubicBezTo>
                  <a:pt x="1567" y="8"/>
                  <a:pt x="1566" y="8"/>
                  <a:pt x="1566" y="8"/>
                </a:cubicBezTo>
                <a:cubicBezTo>
                  <a:pt x="1566" y="8"/>
                  <a:pt x="1566" y="8"/>
                  <a:pt x="1566" y="7"/>
                </a:cubicBezTo>
                <a:cubicBezTo>
                  <a:pt x="1565" y="7"/>
                  <a:pt x="1565" y="7"/>
                  <a:pt x="1565" y="7"/>
                </a:cubicBezTo>
                <a:cubicBezTo>
                  <a:pt x="1565" y="7"/>
                  <a:pt x="1565" y="7"/>
                  <a:pt x="1565" y="7"/>
                </a:cubicBezTo>
                <a:cubicBezTo>
                  <a:pt x="1564" y="7"/>
                  <a:pt x="1564" y="7"/>
                  <a:pt x="1564" y="7"/>
                </a:cubicBezTo>
                <a:cubicBezTo>
                  <a:pt x="1564" y="7"/>
                  <a:pt x="1564" y="7"/>
                  <a:pt x="1564" y="7"/>
                </a:cubicBezTo>
                <a:cubicBezTo>
                  <a:pt x="1564" y="7"/>
                  <a:pt x="1564" y="7"/>
                  <a:pt x="1564" y="7"/>
                </a:cubicBezTo>
                <a:cubicBezTo>
                  <a:pt x="1563" y="7"/>
                  <a:pt x="1563" y="7"/>
                  <a:pt x="1562" y="7"/>
                </a:cubicBezTo>
                <a:cubicBezTo>
                  <a:pt x="1562" y="7"/>
                  <a:pt x="1562" y="7"/>
                  <a:pt x="1562" y="7"/>
                </a:cubicBezTo>
                <a:cubicBezTo>
                  <a:pt x="1562" y="6"/>
                  <a:pt x="1562" y="6"/>
                  <a:pt x="1562" y="6"/>
                </a:cubicBezTo>
                <a:cubicBezTo>
                  <a:pt x="1562" y="6"/>
                  <a:pt x="1561" y="7"/>
                  <a:pt x="1560" y="6"/>
                </a:cubicBezTo>
                <a:cubicBezTo>
                  <a:pt x="1560" y="6"/>
                  <a:pt x="1560" y="6"/>
                  <a:pt x="1560" y="6"/>
                </a:cubicBezTo>
                <a:cubicBezTo>
                  <a:pt x="1559" y="6"/>
                  <a:pt x="1558" y="6"/>
                  <a:pt x="1558" y="6"/>
                </a:cubicBezTo>
                <a:cubicBezTo>
                  <a:pt x="1557" y="6"/>
                  <a:pt x="1556" y="6"/>
                  <a:pt x="1556" y="6"/>
                </a:cubicBezTo>
                <a:cubicBezTo>
                  <a:pt x="1555" y="6"/>
                  <a:pt x="1554" y="6"/>
                  <a:pt x="1554" y="6"/>
                </a:cubicBezTo>
                <a:cubicBezTo>
                  <a:pt x="1553" y="6"/>
                  <a:pt x="1552" y="6"/>
                  <a:pt x="1551" y="6"/>
                </a:cubicBezTo>
                <a:cubicBezTo>
                  <a:pt x="1550" y="6"/>
                  <a:pt x="1549" y="6"/>
                  <a:pt x="1549" y="6"/>
                </a:cubicBezTo>
                <a:cubicBezTo>
                  <a:pt x="1548" y="6"/>
                  <a:pt x="1548" y="6"/>
                  <a:pt x="1548" y="6"/>
                </a:cubicBezTo>
                <a:cubicBezTo>
                  <a:pt x="1547" y="7"/>
                  <a:pt x="1547" y="6"/>
                  <a:pt x="1546" y="6"/>
                </a:cubicBezTo>
                <a:cubicBezTo>
                  <a:pt x="1546" y="7"/>
                  <a:pt x="1546" y="7"/>
                  <a:pt x="1546" y="7"/>
                </a:cubicBezTo>
                <a:cubicBezTo>
                  <a:pt x="1546" y="7"/>
                  <a:pt x="1546" y="7"/>
                  <a:pt x="1546" y="7"/>
                </a:cubicBezTo>
                <a:cubicBezTo>
                  <a:pt x="1546" y="7"/>
                  <a:pt x="1545" y="7"/>
                  <a:pt x="1545" y="7"/>
                </a:cubicBezTo>
                <a:cubicBezTo>
                  <a:pt x="1545" y="7"/>
                  <a:pt x="1545" y="7"/>
                  <a:pt x="1545" y="7"/>
                </a:cubicBezTo>
                <a:cubicBezTo>
                  <a:pt x="1544" y="7"/>
                  <a:pt x="1544" y="7"/>
                  <a:pt x="1543" y="7"/>
                </a:cubicBezTo>
                <a:cubicBezTo>
                  <a:pt x="1543" y="7"/>
                  <a:pt x="1543" y="7"/>
                  <a:pt x="1543" y="7"/>
                </a:cubicBezTo>
                <a:cubicBezTo>
                  <a:pt x="1543" y="7"/>
                  <a:pt x="1543" y="7"/>
                  <a:pt x="1543" y="7"/>
                </a:cubicBezTo>
                <a:cubicBezTo>
                  <a:pt x="1543" y="7"/>
                  <a:pt x="1543" y="7"/>
                  <a:pt x="1542" y="8"/>
                </a:cubicBezTo>
                <a:cubicBezTo>
                  <a:pt x="1542" y="8"/>
                  <a:pt x="1542" y="8"/>
                  <a:pt x="1542" y="8"/>
                </a:cubicBezTo>
                <a:cubicBezTo>
                  <a:pt x="1542" y="8"/>
                  <a:pt x="1542" y="8"/>
                  <a:pt x="1542" y="8"/>
                </a:cubicBezTo>
                <a:cubicBezTo>
                  <a:pt x="1542" y="8"/>
                  <a:pt x="1542" y="8"/>
                  <a:pt x="1541" y="8"/>
                </a:cubicBezTo>
                <a:cubicBezTo>
                  <a:pt x="1541" y="8"/>
                  <a:pt x="1541" y="8"/>
                  <a:pt x="1541" y="8"/>
                </a:cubicBezTo>
                <a:cubicBezTo>
                  <a:pt x="1541" y="8"/>
                  <a:pt x="1541" y="8"/>
                  <a:pt x="1541" y="8"/>
                </a:cubicBezTo>
                <a:cubicBezTo>
                  <a:pt x="1541" y="8"/>
                  <a:pt x="1541" y="8"/>
                  <a:pt x="1541" y="8"/>
                </a:cubicBezTo>
                <a:cubicBezTo>
                  <a:pt x="1540" y="8"/>
                  <a:pt x="1540" y="8"/>
                  <a:pt x="1540" y="8"/>
                </a:cubicBezTo>
                <a:cubicBezTo>
                  <a:pt x="1540" y="8"/>
                  <a:pt x="1540" y="8"/>
                  <a:pt x="1540" y="9"/>
                </a:cubicBezTo>
                <a:cubicBezTo>
                  <a:pt x="1540" y="9"/>
                  <a:pt x="1540" y="9"/>
                  <a:pt x="1540" y="9"/>
                </a:cubicBezTo>
                <a:cubicBezTo>
                  <a:pt x="1539" y="9"/>
                  <a:pt x="1539" y="9"/>
                  <a:pt x="1539" y="9"/>
                </a:cubicBezTo>
                <a:cubicBezTo>
                  <a:pt x="1539" y="9"/>
                  <a:pt x="1539" y="9"/>
                  <a:pt x="1539" y="9"/>
                </a:cubicBezTo>
                <a:cubicBezTo>
                  <a:pt x="1539" y="9"/>
                  <a:pt x="1538" y="9"/>
                  <a:pt x="1538" y="9"/>
                </a:cubicBezTo>
                <a:cubicBezTo>
                  <a:pt x="1538" y="9"/>
                  <a:pt x="1538" y="9"/>
                  <a:pt x="1538" y="9"/>
                </a:cubicBezTo>
                <a:cubicBezTo>
                  <a:pt x="1538" y="9"/>
                  <a:pt x="1538" y="9"/>
                  <a:pt x="1538" y="10"/>
                </a:cubicBezTo>
                <a:cubicBezTo>
                  <a:pt x="1538" y="10"/>
                  <a:pt x="1538" y="10"/>
                  <a:pt x="1538" y="10"/>
                </a:cubicBezTo>
                <a:cubicBezTo>
                  <a:pt x="1537" y="10"/>
                  <a:pt x="1537" y="10"/>
                  <a:pt x="1537" y="10"/>
                </a:cubicBezTo>
                <a:cubicBezTo>
                  <a:pt x="1537" y="10"/>
                  <a:pt x="1537" y="10"/>
                  <a:pt x="1537" y="10"/>
                </a:cubicBezTo>
                <a:cubicBezTo>
                  <a:pt x="1537" y="10"/>
                  <a:pt x="1537" y="10"/>
                  <a:pt x="1536" y="10"/>
                </a:cubicBezTo>
                <a:cubicBezTo>
                  <a:pt x="1536" y="10"/>
                  <a:pt x="1536" y="10"/>
                  <a:pt x="1536" y="10"/>
                </a:cubicBezTo>
                <a:cubicBezTo>
                  <a:pt x="1536" y="11"/>
                  <a:pt x="1536" y="10"/>
                  <a:pt x="1536" y="11"/>
                </a:cubicBezTo>
                <a:cubicBezTo>
                  <a:pt x="1536" y="11"/>
                  <a:pt x="1536" y="11"/>
                  <a:pt x="1536" y="11"/>
                </a:cubicBezTo>
                <a:cubicBezTo>
                  <a:pt x="1536" y="11"/>
                  <a:pt x="1536" y="11"/>
                  <a:pt x="1535" y="11"/>
                </a:cubicBezTo>
                <a:cubicBezTo>
                  <a:pt x="1535" y="11"/>
                  <a:pt x="1535" y="11"/>
                  <a:pt x="1535" y="11"/>
                </a:cubicBezTo>
                <a:cubicBezTo>
                  <a:pt x="1535" y="11"/>
                  <a:pt x="1535" y="11"/>
                  <a:pt x="1535" y="11"/>
                </a:cubicBezTo>
                <a:cubicBezTo>
                  <a:pt x="1535" y="11"/>
                  <a:pt x="1535" y="11"/>
                  <a:pt x="1535" y="11"/>
                </a:cubicBezTo>
                <a:cubicBezTo>
                  <a:pt x="1535" y="11"/>
                  <a:pt x="1534" y="12"/>
                  <a:pt x="1534" y="12"/>
                </a:cubicBezTo>
                <a:cubicBezTo>
                  <a:pt x="1534" y="12"/>
                  <a:pt x="1534" y="12"/>
                  <a:pt x="1534" y="12"/>
                </a:cubicBezTo>
                <a:cubicBezTo>
                  <a:pt x="1534" y="12"/>
                  <a:pt x="1534" y="12"/>
                  <a:pt x="1534" y="12"/>
                </a:cubicBezTo>
                <a:cubicBezTo>
                  <a:pt x="1534" y="12"/>
                  <a:pt x="1534" y="12"/>
                  <a:pt x="1534" y="12"/>
                </a:cubicBezTo>
                <a:cubicBezTo>
                  <a:pt x="1534" y="12"/>
                  <a:pt x="1533" y="12"/>
                  <a:pt x="1533" y="13"/>
                </a:cubicBezTo>
                <a:cubicBezTo>
                  <a:pt x="1533" y="12"/>
                  <a:pt x="1533" y="12"/>
                  <a:pt x="1533" y="12"/>
                </a:cubicBezTo>
                <a:cubicBezTo>
                  <a:pt x="1533" y="12"/>
                  <a:pt x="1533" y="13"/>
                  <a:pt x="1533" y="13"/>
                </a:cubicBezTo>
                <a:cubicBezTo>
                  <a:pt x="1533" y="13"/>
                  <a:pt x="1533" y="13"/>
                  <a:pt x="1533" y="13"/>
                </a:cubicBezTo>
                <a:cubicBezTo>
                  <a:pt x="1533" y="13"/>
                  <a:pt x="1533" y="13"/>
                  <a:pt x="1533" y="13"/>
                </a:cubicBezTo>
                <a:cubicBezTo>
                  <a:pt x="1533" y="13"/>
                  <a:pt x="1533" y="13"/>
                  <a:pt x="1533" y="13"/>
                </a:cubicBezTo>
                <a:cubicBezTo>
                  <a:pt x="1533" y="13"/>
                  <a:pt x="1532" y="13"/>
                  <a:pt x="1532" y="13"/>
                </a:cubicBezTo>
                <a:cubicBezTo>
                  <a:pt x="1532" y="13"/>
                  <a:pt x="1532" y="13"/>
                  <a:pt x="1532" y="13"/>
                </a:cubicBezTo>
                <a:cubicBezTo>
                  <a:pt x="1532" y="14"/>
                  <a:pt x="1531" y="14"/>
                  <a:pt x="1531" y="15"/>
                </a:cubicBezTo>
                <a:cubicBezTo>
                  <a:pt x="1531" y="15"/>
                  <a:pt x="1531" y="15"/>
                  <a:pt x="1531" y="15"/>
                </a:cubicBezTo>
                <a:cubicBezTo>
                  <a:pt x="1531" y="15"/>
                  <a:pt x="1531" y="15"/>
                  <a:pt x="1531" y="15"/>
                </a:cubicBezTo>
                <a:cubicBezTo>
                  <a:pt x="1531" y="19"/>
                  <a:pt x="1531" y="22"/>
                  <a:pt x="1531" y="26"/>
                </a:cubicBezTo>
                <a:cubicBezTo>
                  <a:pt x="1531" y="26"/>
                  <a:pt x="1531" y="26"/>
                  <a:pt x="1531" y="26"/>
                </a:cubicBezTo>
                <a:cubicBezTo>
                  <a:pt x="1531" y="26"/>
                  <a:pt x="1531" y="26"/>
                  <a:pt x="1531" y="26"/>
                </a:cubicBezTo>
                <a:cubicBezTo>
                  <a:pt x="1531" y="26"/>
                  <a:pt x="1531" y="26"/>
                  <a:pt x="1532" y="26"/>
                </a:cubicBezTo>
                <a:cubicBezTo>
                  <a:pt x="1531" y="26"/>
                  <a:pt x="1531" y="26"/>
                  <a:pt x="1531" y="26"/>
                </a:cubicBezTo>
                <a:cubicBezTo>
                  <a:pt x="1532" y="26"/>
                  <a:pt x="1532" y="26"/>
                  <a:pt x="1532" y="26"/>
                </a:cubicBezTo>
                <a:cubicBezTo>
                  <a:pt x="1532" y="26"/>
                  <a:pt x="1532" y="26"/>
                  <a:pt x="1532" y="26"/>
                </a:cubicBezTo>
                <a:cubicBezTo>
                  <a:pt x="1532" y="26"/>
                  <a:pt x="1532" y="25"/>
                  <a:pt x="1532" y="25"/>
                </a:cubicBezTo>
                <a:cubicBezTo>
                  <a:pt x="1532" y="25"/>
                  <a:pt x="1532" y="25"/>
                  <a:pt x="1532" y="25"/>
                </a:cubicBezTo>
                <a:cubicBezTo>
                  <a:pt x="1532" y="25"/>
                  <a:pt x="1533" y="25"/>
                  <a:pt x="1533" y="25"/>
                </a:cubicBezTo>
                <a:cubicBezTo>
                  <a:pt x="1533" y="25"/>
                  <a:pt x="1533" y="25"/>
                  <a:pt x="1533" y="25"/>
                </a:cubicBezTo>
                <a:cubicBezTo>
                  <a:pt x="1533" y="25"/>
                  <a:pt x="1533" y="25"/>
                  <a:pt x="1533" y="24"/>
                </a:cubicBezTo>
                <a:cubicBezTo>
                  <a:pt x="1533" y="25"/>
                  <a:pt x="1533" y="25"/>
                  <a:pt x="1533" y="25"/>
                </a:cubicBezTo>
                <a:cubicBezTo>
                  <a:pt x="1533" y="24"/>
                  <a:pt x="1533" y="24"/>
                  <a:pt x="1533" y="24"/>
                </a:cubicBezTo>
                <a:cubicBezTo>
                  <a:pt x="1533" y="24"/>
                  <a:pt x="1533" y="24"/>
                  <a:pt x="1533" y="24"/>
                </a:cubicBezTo>
                <a:cubicBezTo>
                  <a:pt x="1533" y="24"/>
                  <a:pt x="1534" y="24"/>
                  <a:pt x="1534" y="24"/>
                </a:cubicBezTo>
                <a:cubicBezTo>
                  <a:pt x="1534" y="24"/>
                  <a:pt x="1534" y="24"/>
                  <a:pt x="1534" y="24"/>
                </a:cubicBezTo>
                <a:cubicBezTo>
                  <a:pt x="1534" y="24"/>
                  <a:pt x="1534" y="24"/>
                  <a:pt x="1534" y="23"/>
                </a:cubicBezTo>
                <a:cubicBezTo>
                  <a:pt x="1534" y="24"/>
                  <a:pt x="1534" y="24"/>
                  <a:pt x="1534" y="24"/>
                </a:cubicBezTo>
                <a:cubicBezTo>
                  <a:pt x="1534" y="23"/>
                  <a:pt x="1534" y="23"/>
                  <a:pt x="1534" y="23"/>
                </a:cubicBezTo>
                <a:cubicBezTo>
                  <a:pt x="1534" y="23"/>
                  <a:pt x="1534" y="23"/>
                  <a:pt x="1534" y="23"/>
                </a:cubicBezTo>
                <a:cubicBezTo>
                  <a:pt x="1534" y="23"/>
                  <a:pt x="1535" y="23"/>
                  <a:pt x="1535" y="23"/>
                </a:cubicBezTo>
                <a:cubicBezTo>
                  <a:pt x="1535" y="23"/>
                  <a:pt x="1535" y="23"/>
                  <a:pt x="1535" y="23"/>
                </a:cubicBezTo>
                <a:cubicBezTo>
                  <a:pt x="1535" y="23"/>
                  <a:pt x="1535" y="23"/>
                  <a:pt x="1535" y="23"/>
                </a:cubicBezTo>
                <a:cubicBezTo>
                  <a:pt x="1535" y="23"/>
                  <a:pt x="1535" y="23"/>
                  <a:pt x="1535" y="23"/>
                </a:cubicBezTo>
                <a:cubicBezTo>
                  <a:pt x="1535" y="22"/>
                  <a:pt x="1536" y="22"/>
                  <a:pt x="1536" y="22"/>
                </a:cubicBezTo>
                <a:cubicBezTo>
                  <a:pt x="1536" y="22"/>
                  <a:pt x="1536" y="22"/>
                  <a:pt x="1536" y="22"/>
                </a:cubicBezTo>
                <a:cubicBezTo>
                  <a:pt x="1536" y="22"/>
                  <a:pt x="1536" y="22"/>
                  <a:pt x="1536" y="22"/>
                </a:cubicBezTo>
                <a:cubicBezTo>
                  <a:pt x="1536" y="22"/>
                  <a:pt x="1536" y="22"/>
                  <a:pt x="1536" y="22"/>
                </a:cubicBezTo>
                <a:cubicBezTo>
                  <a:pt x="1536" y="22"/>
                  <a:pt x="1536" y="22"/>
                  <a:pt x="1536" y="21"/>
                </a:cubicBezTo>
                <a:cubicBezTo>
                  <a:pt x="1536" y="21"/>
                  <a:pt x="1536" y="21"/>
                  <a:pt x="1536" y="21"/>
                </a:cubicBezTo>
                <a:cubicBezTo>
                  <a:pt x="1537" y="21"/>
                  <a:pt x="1537" y="21"/>
                  <a:pt x="1537" y="21"/>
                </a:cubicBezTo>
                <a:cubicBezTo>
                  <a:pt x="1537" y="21"/>
                  <a:pt x="1537" y="21"/>
                  <a:pt x="1537" y="21"/>
                </a:cubicBezTo>
                <a:cubicBezTo>
                  <a:pt x="1538" y="21"/>
                  <a:pt x="1538" y="21"/>
                  <a:pt x="1538" y="20"/>
                </a:cubicBezTo>
                <a:cubicBezTo>
                  <a:pt x="1538" y="20"/>
                  <a:pt x="1538" y="20"/>
                  <a:pt x="1538" y="20"/>
                </a:cubicBezTo>
                <a:cubicBezTo>
                  <a:pt x="1538" y="20"/>
                  <a:pt x="1538" y="20"/>
                  <a:pt x="1539" y="20"/>
                </a:cubicBezTo>
                <a:cubicBezTo>
                  <a:pt x="1538" y="20"/>
                  <a:pt x="1538" y="20"/>
                  <a:pt x="1538" y="20"/>
                </a:cubicBezTo>
                <a:cubicBezTo>
                  <a:pt x="1539" y="20"/>
                  <a:pt x="1539" y="20"/>
                  <a:pt x="1539" y="20"/>
                </a:cubicBezTo>
                <a:cubicBezTo>
                  <a:pt x="1539" y="20"/>
                  <a:pt x="1539" y="20"/>
                  <a:pt x="1539" y="20"/>
                </a:cubicBezTo>
                <a:cubicBezTo>
                  <a:pt x="1539" y="19"/>
                  <a:pt x="1539" y="20"/>
                  <a:pt x="1540" y="19"/>
                </a:cubicBezTo>
                <a:cubicBezTo>
                  <a:pt x="1540" y="19"/>
                  <a:pt x="1540" y="19"/>
                  <a:pt x="1540" y="19"/>
                </a:cubicBezTo>
                <a:cubicBezTo>
                  <a:pt x="1540" y="19"/>
                  <a:pt x="1540" y="19"/>
                  <a:pt x="1540" y="19"/>
                </a:cubicBezTo>
                <a:cubicBezTo>
                  <a:pt x="1540" y="19"/>
                  <a:pt x="1540" y="19"/>
                  <a:pt x="1540" y="19"/>
                </a:cubicBezTo>
                <a:cubicBezTo>
                  <a:pt x="1540" y="19"/>
                  <a:pt x="1540" y="19"/>
                  <a:pt x="1541" y="19"/>
                </a:cubicBezTo>
                <a:cubicBezTo>
                  <a:pt x="1541" y="19"/>
                  <a:pt x="1541" y="19"/>
                  <a:pt x="1541" y="19"/>
                </a:cubicBezTo>
                <a:cubicBezTo>
                  <a:pt x="1541" y="18"/>
                  <a:pt x="1541" y="19"/>
                  <a:pt x="1541" y="18"/>
                </a:cubicBezTo>
                <a:cubicBezTo>
                  <a:pt x="1541" y="18"/>
                  <a:pt x="1541" y="18"/>
                  <a:pt x="1541" y="18"/>
                </a:cubicBezTo>
                <a:cubicBezTo>
                  <a:pt x="1542" y="18"/>
                  <a:pt x="1542" y="18"/>
                  <a:pt x="1542" y="18"/>
                </a:cubicBezTo>
                <a:cubicBezTo>
                  <a:pt x="1542" y="18"/>
                  <a:pt x="1542" y="18"/>
                  <a:pt x="1542" y="18"/>
                </a:cubicBezTo>
                <a:cubicBezTo>
                  <a:pt x="1542" y="18"/>
                  <a:pt x="1543" y="18"/>
                  <a:pt x="1543" y="18"/>
                </a:cubicBezTo>
                <a:cubicBezTo>
                  <a:pt x="1543" y="18"/>
                  <a:pt x="1543" y="18"/>
                  <a:pt x="1543" y="18"/>
                </a:cubicBezTo>
                <a:cubicBezTo>
                  <a:pt x="1543" y="17"/>
                  <a:pt x="1543" y="17"/>
                  <a:pt x="1543" y="17"/>
                </a:cubicBezTo>
                <a:cubicBezTo>
                  <a:pt x="1543" y="17"/>
                  <a:pt x="1543" y="17"/>
                  <a:pt x="1543" y="17"/>
                </a:cubicBezTo>
                <a:cubicBezTo>
                  <a:pt x="1544" y="17"/>
                  <a:pt x="1544" y="17"/>
                  <a:pt x="1544" y="17"/>
                </a:cubicBezTo>
                <a:cubicBezTo>
                  <a:pt x="1544" y="17"/>
                  <a:pt x="1544" y="17"/>
                  <a:pt x="1544" y="17"/>
                </a:cubicBezTo>
                <a:cubicBezTo>
                  <a:pt x="1544" y="17"/>
                  <a:pt x="1544" y="17"/>
                  <a:pt x="1544" y="17"/>
                </a:cubicBezTo>
                <a:cubicBezTo>
                  <a:pt x="1545" y="17"/>
                  <a:pt x="1545" y="17"/>
                  <a:pt x="1545" y="17"/>
                </a:cubicBezTo>
                <a:cubicBezTo>
                  <a:pt x="1545" y="17"/>
                  <a:pt x="1545" y="17"/>
                  <a:pt x="1545" y="17"/>
                </a:cubicBezTo>
                <a:cubicBezTo>
                  <a:pt x="1545" y="17"/>
                  <a:pt x="1545" y="17"/>
                  <a:pt x="1545" y="17"/>
                </a:cubicBezTo>
                <a:cubicBezTo>
                  <a:pt x="1546" y="16"/>
                  <a:pt x="1546" y="16"/>
                  <a:pt x="1546" y="16"/>
                </a:cubicBezTo>
                <a:cubicBezTo>
                  <a:pt x="1546" y="16"/>
                  <a:pt x="1546" y="16"/>
                  <a:pt x="1546" y="16"/>
                </a:cubicBezTo>
                <a:cubicBezTo>
                  <a:pt x="1546" y="16"/>
                  <a:pt x="1546" y="16"/>
                  <a:pt x="1546" y="16"/>
                </a:cubicBezTo>
                <a:cubicBezTo>
                  <a:pt x="1547" y="16"/>
                  <a:pt x="1547" y="16"/>
                  <a:pt x="1548" y="16"/>
                </a:cubicBezTo>
                <a:cubicBezTo>
                  <a:pt x="1548" y="16"/>
                  <a:pt x="1548" y="16"/>
                  <a:pt x="1548" y="16"/>
                </a:cubicBezTo>
                <a:cubicBezTo>
                  <a:pt x="1548" y="16"/>
                  <a:pt x="1549" y="16"/>
                  <a:pt x="1549" y="16"/>
                </a:cubicBezTo>
                <a:cubicBezTo>
                  <a:pt x="1549" y="15"/>
                  <a:pt x="1549" y="15"/>
                  <a:pt x="1549" y="15"/>
                </a:cubicBezTo>
                <a:cubicBezTo>
                  <a:pt x="1549" y="15"/>
                  <a:pt x="1549" y="15"/>
                  <a:pt x="1549" y="15"/>
                </a:cubicBezTo>
                <a:cubicBezTo>
                  <a:pt x="1550" y="15"/>
                  <a:pt x="1550" y="16"/>
                  <a:pt x="1551" y="15"/>
                </a:cubicBezTo>
                <a:cubicBezTo>
                  <a:pt x="1551" y="15"/>
                  <a:pt x="1552" y="15"/>
                  <a:pt x="1552" y="15"/>
                </a:cubicBezTo>
                <a:cubicBezTo>
                  <a:pt x="1553" y="15"/>
                  <a:pt x="1554" y="15"/>
                  <a:pt x="1555" y="15"/>
                </a:cubicBezTo>
                <a:cubicBezTo>
                  <a:pt x="1555" y="15"/>
                  <a:pt x="1555" y="15"/>
                  <a:pt x="1556" y="15"/>
                </a:cubicBezTo>
                <a:cubicBezTo>
                  <a:pt x="1556" y="16"/>
                  <a:pt x="1557" y="15"/>
                  <a:pt x="1558" y="16"/>
                </a:cubicBezTo>
                <a:cubicBezTo>
                  <a:pt x="1558" y="15"/>
                  <a:pt x="1558" y="15"/>
                  <a:pt x="1558" y="15"/>
                </a:cubicBezTo>
                <a:cubicBezTo>
                  <a:pt x="1558" y="16"/>
                  <a:pt x="1558" y="16"/>
                  <a:pt x="1558" y="16"/>
                </a:cubicBezTo>
                <a:cubicBezTo>
                  <a:pt x="1558" y="16"/>
                  <a:pt x="1559" y="16"/>
                  <a:pt x="1559" y="16"/>
                </a:cubicBezTo>
                <a:cubicBezTo>
                  <a:pt x="1559" y="16"/>
                  <a:pt x="1559" y="16"/>
                  <a:pt x="1559" y="16"/>
                </a:cubicBezTo>
                <a:cubicBezTo>
                  <a:pt x="1559" y="16"/>
                  <a:pt x="1559" y="16"/>
                  <a:pt x="1559" y="16"/>
                </a:cubicBezTo>
                <a:cubicBezTo>
                  <a:pt x="1560" y="16"/>
                  <a:pt x="1560" y="16"/>
                  <a:pt x="1560" y="16"/>
                </a:cubicBezTo>
                <a:cubicBezTo>
                  <a:pt x="1560" y="16"/>
                  <a:pt x="1560" y="16"/>
                  <a:pt x="1560" y="16"/>
                </a:cubicBezTo>
                <a:cubicBezTo>
                  <a:pt x="1560" y="16"/>
                  <a:pt x="1560" y="16"/>
                  <a:pt x="1560" y="16"/>
                </a:cubicBezTo>
                <a:cubicBezTo>
                  <a:pt x="1561" y="16"/>
                  <a:pt x="1561" y="16"/>
                  <a:pt x="1561" y="17"/>
                </a:cubicBezTo>
                <a:cubicBezTo>
                  <a:pt x="1561" y="17"/>
                  <a:pt x="1561" y="17"/>
                  <a:pt x="1561" y="17"/>
                </a:cubicBezTo>
                <a:cubicBezTo>
                  <a:pt x="1561" y="17"/>
                  <a:pt x="1562" y="17"/>
                  <a:pt x="1562" y="17"/>
                </a:cubicBezTo>
                <a:cubicBezTo>
                  <a:pt x="1562" y="17"/>
                  <a:pt x="1562" y="17"/>
                  <a:pt x="1562" y="17"/>
                </a:cubicBezTo>
                <a:cubicBezTo>
                  <a:pt x="1562" y="17"/>
                  <a:pt x="1562" y="17"/>
                  <a:pt x="1563" y="17"/>
                </a:cubicBezTo>
                <a:cubicBezTo>
                  <a:pt x="1563" y="17"/>
                  <a:pt x="1563" y="17"/>
                  <a:pt x="1563" y="17"/>
                </a:cubicBezTo>
                <a:cubicBezTo>
                  <a:pt x="1563" y="17"/>
                  <a:pt x="1563" y="17"/>
                  <a:pt x="1563" y="18"/>
                </a:cubicBezTo>
                <a:cubicBezTo>
                  <a:pt x="1563" y="18"/>
                  <a:pt x="1563" y="18"/>
                  <a:pt x="1563" y="18"/>
                </a:cubicBezTo>
                <a:cubicBezTo>
                  <a:pt x="1563" y="18"/>
                  <a:pt x="1563" y="18"/>
                  <a:pt x="1564" y="18"/>
                </a:cubicBezTo>
                <a:cubicBezTo>
                  <a:pt x="1564" y="18"/>
                  <a:pt x="1564" y="18"/>
                  <a:pt x="1564" y="18"/>
                </a:cubicBezTo>
                <a:cubicBezTo>
                  <a:pt x="1564" y="18"/>
                  <a:pt x="1564" y="18"/>
                  <a:pt x="1564" y="18"/>
                </a:cubicBezTo>
                <a:cubicBezTo>
                  <a:pt x="1564" y="18"/>
                  <a:pt x="1564" y="18"/>
                  <a:pt x="1564" y="18"/>
                </a:cubicBezTo>
                <a:cubicBezTo>
                  <a:pt x="1564" y="18"/>
                  <a:pt x="1565" y="19"/>
                  <a:pt x="1565" y="19"/>
                </a:cubicBezTo>
                <a:cubicBezTo>
                  <a:pt x="1565" y="19"/>
                  <a:pt x="1565" y="19"/>
                  <a:pt x="1565" y="19"/>
                </a:cubicBezTo>
                <a:cubicBezTo>
                  <a:pt x="1565" y="19"/>
                  <a:pt x="1565" y="19"/>
                  <a:pt x="1565" y="19"/>
                </a:cubicBezTo>
                <a:cubicBezTo>
                  <a:pt x="1565" y="19"/>
                  <a:pt x="1565" y="19"/>
                  <a:pt x="1565" y="19"/>
                </a:cubicBezTo>
                <a:cubicBezTo>
                  <a:pt x="1566" y="20"/>
                  <a:pt x="1566" y="20"/>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8" y="22"/>
                  <a:pt x="1568" y="22"/>
                  <a:pt x="1568" y="22"/>
                </a:cubicBezTo>
                <a:cubicBezTo>
                  <a:pt x="1568" y="22"/>
                  <a:pt x="1568" y="22"/>
                  <a:pt x="1568" y="22"/>
                </a:cubicBezTo>
                <a:cubicBezTo>
                  <a:pt x="1568" y="22"/>
                  <a:pt x="1568" y="22"/>
                  <a:pt x="1568" y="23"/>
                </a:cubicBezTo>
                <a:cubicBezTo>
                  <a:pt x="1568" y="23"/>
                  <a:pt x="1568" y="23"/>
                  <a:pt x="1568" y="23"/>
                </a:cubicBezTo>
                <a:cubicBezTo>
                  <a:pt x="1568" y="23"/>
                  <a:pt x="1568" y="23"/>
                  <a:pt x="1568" y="23"/>
                </a:cubicBezTo>
                <a:cubicBezTo>
                  <a:pt x="1568" y="23"/>
                  <a:pt x="1568" y="23"/>
                  <a:pt x="1568" y="23"/>
                </a:cubicBezTo>
                <a:cubicBezTo>
                  <a:pt x="1569" y="23"/>
                  <a:pt x="1569" y="24"/>
                  <a:pt x="1569" y="24"/>
                </a:cubicBezTo>
                <a:cubicBezTo>
                  <a:pt x="1569" y="24"/>
                  <a:pt x="1569" y="24"/>
                  <a:pt x="1569" y="24"/>
                </a:cubicBezTo>
                <a:cubicBezTo>
                  <a:pt x="1569" y="24"/>
                  <a:pt x="1569" y="24"/>
                  <a:pt x="1569" y="25"/>
                </a:cubicBezTo>
                <a:cubicBezTo>
                  <a:pt x="1569" y="25"/>
                  <a:pt x="1569" y="25"/>
                  <a:pt x="1569" y="25"/>
                </a:cubicBezTo>
                <a:cubicBezTo>
                  <a:pt x="1569" y="25"/>
                  <a:pt x="1569" y="25"/>
                  <a:pt x="1569" y="25"/>
                </a:cubicBezTo>
                <a:cubicBezTo>
                  <a:pt x="1569" y="25"/>
                  <a:pt x="1569" y="25"/>
                  <a:pt x="1570" y="26"/>
                </a:cubicBezTo>
                <a:cubicBezTo>
                  <a:pt x="1570" y="26"/>
                  <a:pt x="1570" y="26"/>
                  <a:pt x="1570" y="26"/>
                </a:cubicBezTo>
                <a:cubicBezTo>
                  <a:pt x="1570" y="26"/>
                  <a:pt x="1570" y="26"/>
                  <a:pt x="1570" y="27"/>
                </a:cubicBezTo>
                <a:cubicBezTo>
                  <a:pt x="1570" y="27"/>
                  <a:pt x="1570" y="27"/>
                  <a:pt x="1570" y="27"/>
                </a:cubicBezTo>
                <a:cubicBezTo>
                  <a:pt x="1570" y="27"/>
                  <a:pt x="1570" y="28"/>
                  <a:pt x="1570" y="28"/>
                </a:cubicBezTo>
                <a:cubicBezTo>
                  <a:pt x="1570" y="28"/>
                  <a:pt x="1570" y="29"/>
                  <a:pt x="1570" y="29"/>
                </a:cubicBezTo>
                <a:cubicBezTo>
                  <a:pt x="1570" y="31"/>
                  <a:pt x="1570" y="33"/>
                  <a:pt x="1570" y="36"/>
                </a:cubicBezTo>
                <a:cubicBezTo>
                  <a:pt x="1570" y="36"/>
                  <a:pt x="1570" y="36"/>
                  <a:pt x="1570" y="36"/>
                </a:cubicBezTo>
                <a:cubicBezTo>
                  <a:pt x="1570" y="37"/>
                  <a:pt x="1570" y="37"/>
                  <a:pt x="1570" y="38"/>
                </a:cubicBezTo>
                <a:cubicBezTo>
                  <a:pt x="1570" y="38"/>
                  <a:pt x="1570" y="38"/>
                  <a:pt x="1570" y="38"/>
                </a:cubicBezTo>
                <a:cubicBezTo>
                  <a:pt x="1570" y="39"/>
                  <a:pt x="1570" y="39"/>
                  <a:pt x="1570" y="39"/>
                </a:cubicBezTo>
                <a:cubicBezTo>
                  <a:pt x="1570" y="39"/>
                  <a:pt x="1570" y="39"/>
                  <a:pt x="1570" y="39"/>
                </a:cubicBezTo>
                <a:cubicBezTo>
                  <a:pt x="1570" y="40"/>
                  <a:pt x="1570" y="40"/>
                  <a:pt x="1570" y="40"/>
                </a:cubicBezTo>
                <a:cubicBezTo>
                  <a:pt x="1569" y="40"/>
                  <a:pt x="1569" y="40"/>
                  <a:pt x="1569" y="41"/>
                </a:cubicBezTo>
                <a:cubicBezTo>
                  <a:pt x="1569" y="41"/>
                  <a:pt x="1569" y="41"/>
                  <a:pt x="1569" y="41"/>
                </a:cubicBezTo>
                <a:cubicBezTo>
                  <a:pt x="1569" y="41"/>
                  <a:pt x="1569" y="41"/>
                  <a:pt x="1569" y="42"/>
                </a:cubicBezTo>
                <a:cubicBezTo>
                  <a:pt x="1569" y="42"/>
                  <a:pt x="1569" y="42"/>
                  <a:pt x="1569" y="42"/>
                </a:cubicBezTo>
                <a:cubicBezTo>
                  <a:pt x="1569" y="42"/>
                  <a:pt x="1569" y="42"/>
                  <a:pt x="1569" y="42"/>
                </a:cubicBezTo>
                <a:cubicBezTo>
                  <a:pt x="1569" y="43"/>
                  <a:pt x="1569" y="43"/>
                  <a:pt x="1568" y="43"/>
                </a:cubicBezTo>
                <a:cubicBezTo>
                  <a:pt x="1568" y="43"/>
                  <a:pt x="1568" y="43"/>
                  <a:pt x="1568" y="43"/>
                </a:cubicBezTo>
                <a:cubicBezTo>
                  <a:pt x="1568" y="43"/>
                  <a:pt x="1568" y="43"/>
                  <a:pt x="1568" y="43"/>
                </a:cubicBezTo>
                <a:cubicBezTo>
                  <a:pt x="1568" y="44"/>
                  <a:pt x="1568" y="44"/>
                  <a:pt x="1568" y="44"/>
                </a:cubicBezTo>
                <a:cubicBezTo>
                  <a:pt x="1568" y="44"/>
                  <a:pt x="1568" y="44"/>
                  <a:pt x="1568" y="44"/>
                </a:cubicBezTo>
                <a:cubicBezTo>
                  <a:pt x="1568" y="44"/>
                  <a:pt x="1568" y="45"/>
                  <a:pt x="1567" y="45"/>
                </a:cubicBezTo>
                <a:cubicBezTo>
                  <a:pt x="1567" y="45"/>
                  <a:pt x="1567" y="45"/>
                  <a:pt x="1567" y="45"/>
                </a:cubicBezTo>
                <a:cubicBezTo>
                  <a:pt x="1567" y="45"/>
                  <a:pt x="1567" y="45"/>
                  <a:pt x="1567" y="45"/>
                </a:cubicBezTo>
                <a:cubicBezTo>
                  <a:pt x="1567" y="45"/>
                  <a:pt x="1567" y="45"/>
                  <a:pt x="1567" y="45"/>
                </a:cubicBezTo>
                <a:cubicBezTo>
                  <a:pt x="1567" y="45"/>
                  <a:pt x="1567" y="45"/>
                  <a:pt x="1567" y="45"/>
                </a:cubicBezTo>
                <a:cubicBezTo>
                  <a:pt x="1567" y="46"/>
                  <a:pt x="1567" y="46"/>
                  <a:pt x="1567" y="46"/>
                </a:cubicBezTo>
                <a:cubicBezTo>
                  <a:pt x="1567" y="46"/>
                  <a:pt x="1567" y="46"/>
                  <a:pt x="1567" y="46"/>
                </a:cubicBezTo>
                <a:cubicBezTo>
                  <a:pt x="1567" y="46"/>
                  <a:pt x="1567" y="46"/>
                  <a:pt x="1566" y="47"/>
                </a:cubicBezTo>
                <a:cubicBezTo>
                  <a:pt x="1566" y="47"/>
                  <a:pt x="1566" y="47"/>
                  <a:pt x="1566" y="47"/>
                </a:cubicBezTo>
                <a:cubicBezTo>
                  <a:pt x="1566" y="47"/>
                  <a:pt x="1566" y="47"/>
                  <a:pt x="1566" y="47"/>
                </a:cubicBezTo>
                <a:cubicBezTo>
                  <a:pt x="1566" y="47"/>
                  <a:pt x="1566" y="47"/>
                  <a:pt x="1566" y="47"/>
                </a:cubicBezTo>
                <a:cubicBezTo>
                  <a:pt x="1566" y="47"/>
                  <a:pt x="1566" y="47"/>
                  <a:pt x="1566" y="48"/>
                </a:cubicBezTo>
                <a:cubicBezTo>
                  <a:pt x="1566" y="48"/>
                  <a:pt x="1566" y="48"/>
                  <a:pt x="1566" y="48"/>
                </a:cubicBezTo>
                <a:cubicBezTo>
                  <a:pt x="1566" y="48"/>
                  <a:pt x="1565" y="48"/>
                  <a:pt x="1565" y="48"/>
                </a:cubicBezTo>
                <a:cubicBezTo>
                  <a:pt x="1565" y="48"/>
                  <a:pt x="1565" y="48"/>
                  <a:pt x="1565" y="48"/>
                </a:cubicBezTo>
                <a:cubicBezTo>
                  <a:pt x="1565" y="48"/>
                  <a:pt x="1565" y="48"/>
                  <a:pt x="1565" y="48"/>
                </a:cubicBezTo>
                <a:cubicBezTo>
                  <a:pt x="1565" y="48"/>
                  <a:pt x="1565" y="48"/>
                  <a:pt x="1565" y="48"/>
                </a:cubicBezTo>
                <a:cubicBezTo>
                  <a:pt x="1565" y="48"/>
                  <a:pt x="1565" y="49"/>
                  <a:pt x="1565" y="49"/>
                </a:cubicBezTo>
                <a:cubicBezTo>
                  <a:pt x="1565" y="49"/>
                  <a:pt x="1565" y="49"/>
                  <a:pt x="1565" y="49"/>
                </a:cubicBezTo>
                <a:cubicBezTo>
                  <a:pt x="1565" y="49"/>
                  <a:pt x="1564" y="49"/>
                  <a:pt x="1564" y="49"/>
                </a:cubicBezTo>
                <a:cubicBezTo>
                  <a:pt x="1564" y="49"/>
                  <a:pt x="1564" y="49"/>
                  <a:pt x="1564" y="49"/>
                </a:cubicBezTo>
                <a:cubicBezTo>
                  <a:pt x="1564" y="49"/>
                  <a:pt x="1564" y="50"/>
                  <a:pt x="1564" y="50"/>
                </a:cubicBezTo>
                <a:cubicBezTo>
                  <a:pt x="1564" y="50"/>
                  <a:pt x="1564" y="50"/>
                  <a:pt x="1564" y="50"/>
                </a:cubicBezTo>
                <a:cubicBezTo>
                  <a:pt x="1564" y="50"/>
                  <a:pt x="1564" y="50"/>
                  <a:pt x="1564" y="50"/>
                </a:cubicBezTo>
                <a:cubicBezTo>
                  <a:pt x="1564" y="50"/>
                  <a:pt x="1564" y="50"/>
                  <a:pt x="1564" y="50"/>
                </a:cubicBezTo>
                <a:cubicBezTo>
                  <a:pt x="1563" y="50"/>
                  <a:pt x="1563" y="50"/>
                  <a:pt x="1563" y="50"/>
                </a:cubicBezTo>
                <a:cubicBezTo>
                  <a:pt x="1563" y="50"/>
                  <a:pt x="1563" y="50"/>
                  <a:pt x="1563" y="50"/>
                </a:cubicBezTo>
                <a:cubicBezTo>
                  <a:pt x="1562" y="52"/>
                  <a:pt x="1561" y="53"/>
                  <a:pt x="1559" y="54"/>
                </a:cubicBezTo>
                <a:cubicBezTo>
                  <a:pt x="1560" y="54"/>
                  <a:pt x="1560" y="54"/>
                  <a:pt x="1560" y="54"/>
                </a:cubicBezTo>
                <a:cubicBezTo>
                  <a:pt x="1559" y="54"/>
                  <a:pt x="1559" y="54"/>
                  <a:pt x="1559" y="55"/>
                </a:cubicBezTo>
                <a:cubicBezTo>
                  <a:pt x="1559" y="55"/>
                  <a:pt x="1559" y="55"/>
                  <a:pt x="1559" y="55"/>
                </a:cubicBezTo>
                <a:cubicBezTo>
                  <a:pt x="1559" y="55"/>
                  <a:pt x="1559" y="55"/>
                  <a:pt x="1559" y="55"/>
                </a:cubicBezTo>
                <a:cubicBezTo>
                  <a:pt x="1559" y="55"/>
                  <a:pt x="1559" y="55"/>
                  <a:pt x="1559" y="55"/>
                </a:cubicBezTo>
                <a:cubicBezTo>
                  <a:pt x="1559" y="55"/>
                  <a:pt x="1558" y="55"/>
                  <a:pt x="1558" y="55"/>
                </a:cubicBezTo>
                <a:cubicBezTo>
                  <a:pt x="1558" y="55"/>
                  <a:pt x="1558" y="55"/>
                  <a:pt x="1558" y="55"/>
                </a:cubicBezTo>
                <a:cubicBezTo>
                  <a:pt x="1558" y="55"/>
                  <a:pt x="1558" y="55"/>
                  <a:pt x="1558" y="56"/>
                </a:cubicBezTo>
                <a:cubicBezTo>
                  <a:pt x="1558" y="56"/>
                  <a:pt x="1558" y="56"/>
                  <a:pt x="1558" y="56"/>
                </a:cubicBezTo>
                <a:cubicBezTo>
                  <a:pt x="1558" y="56"/>
                  <a:pt x="1557" y="56"/>
                  <a:pt x="1557" y="56"/>
                </a:cubicBezTo>
                <a:cubicBezTo>
                  <a:pt x="1557" y="56"/>
                  <a:pt x="1557" y="56"/>
                  <a:pt x="1557" y="56"/>
                </a:cubicBezTo>
                <a:cubicBezTo>
                  <a:pt x="1557" y="56"/>
                  <a:pt x="1557" y="56"/>
                  <a:pt x="1557" y="57"/>
                </a:cubicBezTo>
                <a:cubicBezTo>
                  <a:pt x="1557" y="57"/>
                  <a:pt x="1557" y="57"/>
                  <a:pt x="1557" y="57"/>
                </a:cubicBezTo>
                <a:cubicBezTo>
                  <a:pt x="1557" y="57"/>
                  <a:pt x="1556" y="57"/>
                  <a:pt x="1556" y="57"/>
                </a:cubicBezTo>
                <a:cubicBezTo>
                  <a:pt x="1556" y="57"/>
                  <a:pt x="1556" y="57"/>
                  <a:pt x="1556" y="57"/>
                </a:cubicBezTo>
                <a:cubicBezTo>
                  <a:pt x="1556" y="57"/>
                  <a:pt x="1556" y="57"/>
                  <a:pt x="1556" y="57"/>
                </a:cubicBezTo>
                <a:cubicBezTo>
                  <a:pt x="1556" y="57"/>
                  <a:pt x="1556" y="57"/>
                  <a:pt x="1556" y="57"/>
                </a:cubicBezTo>
                <a:cubicBezTo>
                  <a:pt x="1556" y="58"/>
                  <a:pt x="1555" y="57"/>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4" y="59"/>
                  <a:pt x="1554" y="58"/>
                  <a:pt x="1554" y="59"/>
                </a:cubicBezTo>
                <a:cubicBezTo>
                  <a:pt x="1554" y="59"/>
                  <a:pt x="1554" y="59"/>
                  <a:pt x="1554" y="59"/>
                </a:cubicBezTo>
                <a:cubicBezTo>
                  <a:pt x="1554" y="59"/>
                  <a:pt x="1554" y="59"/>
                  <a:pt x="1554" y="59"/>
                </a:cubicBezTo>
                <a:cubicBezTo>
                  <a:pt x="1554" y="59"/>
                  <a:pt x="1554" y="59"/>
                  <a:pt x="1554" y="59"/>
                </a:cubicBezTo>
                <a:cubicBezTo>
                  <a:pt x="1553" y="59"/>
                  <a:pt x="1553" y="59"/>
                  <a:pt x="1553" y="59"/>
                </a:cubicBezTo>
                <a:cubicBezTo>
                  <a:pt x="1553" y="59"/>
                  <a:pt x="1553" y="59"/>
                  <a:pt x="1553" y="59"/>
                </a:cubicBezTo>
                <a:cubicBezTo>
                  <a:pt x="1553" y="60"/>
                  <a:pt x="1553" y="60"/>
                  <a:pt x="1553" y="60"/>
                </a:cubicBezTo>
                <a:cubicBezTo>
                  <a:pt x="1553" y="60"/>
                  <a:pt x="1553" y="60"/>
                  <a:pt x="1553" y="60"/>
                </a:cubicBezTo>
                <a:cubicBezTo>
                  <a:pt x="1552" y="60"/>
                  <a:pt x="1552" y="60"/>
                  <a:pt x="1552" y="60"/>
                </a:cubicBezTo>
                <a:cubicBezTo>
                  <a:pt x="1552" y="60"/>
                  <a:pt x="1552" y="60"/>
                  <a:pt x="1552" y="60"/>
                </a:cubicBezTo>
                <a:cubicBezTo>
                  <a:pt x="1552" y="60"/>
                  <a:pt x="1552" y="60"/>
                  <a:pt x="1552" y="60"/>
                </a:cubicBezTo>
                <a:cubicBezTo>
                  <a:pt x="1552" y="60"/>
                  <a:pt x="1552" y="60"/>
                  <a:pt x="1552" y="60"/>
                </a:cubicBezTo>
                <a:cubicBezTo>
                  <a:pt x="1552" y="61"/>
                  <a:pt x="1551" y="61"/>
                  <a:pt x="1551" y="61"/>
                </a:cubicBezTo>
                <a:cubicBezTo>
                  <a:pt x="1551" y="61"/>
                  <a:pt x="1551" y="61"/>
                  <a:pt x="1551" y="61"/>
                </a:cubicBezTo>
                <a:cubicBezTo>
                  <a:pt x="1551" y="61"/>
                  <a:pt x="1551" y="61"/>
                  <a:pt x="1551" y="61"/>
                </a:cubicBezTo>
                <a:cubicBezTo>
                  <a:pt x="1551" y="61"/>
                  <a:pt x="1551" y="61"/>
                  <a:pt x="1551" y="61"/>
                </a:cubicBezTo>
                <a:cubicBezTo>
                  <a:pt x="1550" y="61"/>
                  <a:pt x="1550" y="62"/>
                  <a:pt x="1550" y="62"/>
                </a:cubicBezTo>
                <a:cubicBezTo>
                  <a:pt x="1550" y="62"/>
                  <a:pt x="1550" y="62"/>
                  <a:pt x="1550" y="62"/>
                </a:cubicBezTo>
                <a:cubicBezTo>
                  <a:pt x="1550" y="62"/>
                  <a:pt x="1549" y="62"/>
                  <a:pt x="1549" y="62"/>
                </a:cubicBezTo>
                <a:cubicBezTo>
                  <a:pt x="1549" y="62"/>
                  <a:pt x="1549" y="62"/>
                  <a:pt x="1549" y="62"/>
                </a:cubicBezTo>
                <a:cubicBezTo>
                  <a:pt x="1549" y="62"/>
                  <a:pt x="1549" y="63"/>
                  <a:pt x="1548" y="63"/>
                </a:cubicBezTo>
                <a:cubicBezTo>
                  <a:pt x="1548" y="63"/>
                  <a:pt x="1548" y="63"/>
                  <a:pt x="1548" y="63"/>
                </a:cubicBezTo>
                <a:cubicBezTo>
                  <a:pt x="1548" y="63"/>
                  <a:pt x="1548" y="63"/>
                  <a:pt x="1548" y="63"/>
                </a:cubicBezTo>
                <a:cubicBezTo>
                  <a:pt x="1548" y="63"/>
                  <a:pt x="1548" y="63"/>
                  <a:pt x="1548" y="63"/>
                </a:cubicBezTo>
                <a:cubicBezTo>
                  <a:pt x="1548" y="64"/>
                  <a:pt x="1547" y="64"/>
                  <a:pt x="1547" y="64"/>
                </a:cubicBezTo>
                <a:cubicBezTo>
                  <a:pt x="1547" y="64"/>
                  <a:pt x="1547" y="64"/>
                  <a:pt x="1547" y="64"/>
                </a:cubicBezTo>
                <a:cubicBezTo>
                  <a:pt x="1547" y="64"/>
                  <a:pt x="1547" y="64"/>
                  <a:pt x="1547" y="64"/>
                </a:cubicBezTo>
                <a:cubicBezTo>
                  <a:pt x="1547" y="64"/>
                  <a:pt x="1547" y="64"/>
                  <a:pt x="1547" y="64"/>
                </a:cubicBezTo>
                <a:cubicBezTo>
                  <a:pt x="1546" y="64"/>
                  <a:pt x="1546" y="65"/>
                  <a:pt x="1546" y="65"/>
                </a:cubicBezTo>
                <a:cubicBezTo>
                  <a:pt x="1546" y="65"/>
                  <a:pt x="1546" y="65"/>
                  <a:pt x="1546" y="65"/>
                </a:cubicBezTo>
                <a:cubicBezTo>
                  <a:pt x="1546" y="65"/>
                  <a:pt x="1546" y="65"/>
                  <a:pt x="1546" y="65"/>
                </a:cubicBezTo>
                <a:cubicBezTo>
                  <a:pt x="1546" y="65"/>
                  <a:pt x="1546" y="65"/>
                  <a:pt x="1546" y="65"/>
                </a:cubicBezTo>
                <a:cubicBezTo>
                  <a:pt x="1545" y="65"/>
                  <a:pt x="1545" y="65"/>
                  <a:pt x="1545" y="65"/>
                </a:cubicBezTo>
                <a:cubicBezTo>
                  <a:pt x="1545" y="65"/>
                  <a:pt x="1545" y="65"/>
                  <a:pt x="1545" y="65"/>
                </a:cubicBezTo>
                <a:cubicBezTo>
                  <a:pt x="1545" y="65"/>
                  <a:pt x="1545" y="66"/>
                  <a:pt x="1545" y="66"/>
                </a:cubicBezTo>
                <a:cubicBezTo>
                  <a:pt x="1545" y="66"/>
                  <a:pt x="1545" y="66"/>
                  <a:pt x="1545" y="66"/>
                </a:cubicBezTo>
                <a:cubicBezTo>
                  <a:pt x="1545" y="66"/>
                  <a:pt x="1545" y="66"/>
                  <a:pt x="1544" y="66"/>
                </a:cubicBezTo>
                <a:cubicBezTo>
                  <a:pt x="1544" y="66"/>
                  <a:pt x="1544" y="66"/>
                  <a:pt x="1544" y="66"/>
                </a:cubicBezTo>
                <a:cubicBezTo>
                  <a:pt x="1544" y="66"/>
                  <a:pt x="1544" y="66"/>
                  <a:pt x="1544" y="66"/>
                </a:cubicBezTo>
                <a:cubicBezTo>
                  <a:pt x="1544" y="66"/>
                  <a:pt x="1544" y="66"/>
                  <a:pt x="1544" y="66"/>
                </a:cubicBezTo>
                <a:cubicBezTo>
                  <a:pt x="1544" y="66"/>
                  <a:pt x="1544"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2" y="68"/>
                  <a:pt x="1542" y="68"/>
                  <a:pt x="1542" y="68"/>
                </a:cubicBezTo>
                <a:cubicBezTo>
                  <a:pt x="1542" y="68"/>
                  <a:pt x="1542" y="68"/>
                  <a:pt x="1542" y="68"/>
                </a:cubicBezTo>
                <a:cubicBezTo>
                  <a:pt x="1542" y="68"/>
                  <a:pt x="1541" y="68"/>
                  <a:pt x="1541" y="68"/>
                </a:cubicBezTo>
                <a:cubicBezTo>
                  <a:pt x="1541" y="68"/>
                  <a:pt x="1541" y="68"/>
                  <a:pt x="1541" y="68"/>
                </a:cubicBezTo>
                <a:cubicBezTo>
                  <a:pt x="1541" y="69"/>
                  <a:pt x="1541" y="69"/>
                  <a:pt x="1541" y="69"/>
                </a:cubicBezTo>
                <a:cubicBezTo>
                  <a:pt x="1541" y="69"/>
                  <a:pt x="1541" y="69"/>
                  <a:pt x="1541" y="69"/>
                </a:cubicBezTo>
                <a:cubicBezTo>
                  <a:pt x="1541" y="69"/>
                  <a:pt x="1541" y="69"/>
                  <a:pt x="1541" y="69"/>
                </a:cubicBezTo>
                <a:cubicBezTo>
                  <a:pt x="1541" y="69"/>
                  <a:pt x="1541" y="69"/>
                  <a:pt x="1541" y="69"/>
                </a:cubicBezTo>
                <a:cubicBezTo>
                  <a:pt x="1540" y="69"/>
                  <a:pt x="1540" y="70"/>
                  <a:pt x="1540" y="70"/>
                </a:cubicBezTo>
                <a:cubicBezTo>
                  <a:pt x="1540" y="70"/>
                  <a:pt x="1540" y="70"/>
                  <a:pt x="1540" y="70"/>
                </a:cubicBezTo>
                <a:cubicBezTo>
                  <a:pt x="1539" y="70"/>
                  <a:pt x="1539" y="70"/>
                  <a:pt x="1539" y="70"/>
                </a:cubicBezTo>
                <a:cubicBezTo>
                  <a:pt x="1539" y="70"/>
                  <a:pt x="1539" y="70"/>
                  <a:pt x="1539" y="70"/>
                </a:cubicBezTo>
                <a:cubicBezTo>
                  <a:pt x="1539" y="70"/>
                  <a:pt x="1539" y="70"/>
                  <a:pt x="1539" y="71"/>
                </a:cubicBezTo>
                <a:cubicBezTo>
                  <a:pt x="1539" y="71"/>
                  <a:pt x="1539" y="71"/>
                  <a:pt x="1539" y="71"/>
                </a:cubicBezTo>
                <a:cubicBezTo>
                  <a:pt x="1539" y="71"/>
                  <a:pt x="1539" y="71"/>
                  <a:pt x="1539" y="71"/>
                </a:cubicBezTo>
                <a:cubicBezTo>
                  <a:pt x="1539" y="71"/>
                  <a:pt x="1539" y="71"/>
                  <a:pt x="1539" y="71"/>
                </a:cubicBezTo>
                <a:cubicBezTo>
                  <a:pt x="1538" y="71"/>
                  <a:pt x="1538" y="71"/>
                  <a:pt x="1538" y="71"/>
                </a:cubicBezTo>
                <a:cubicBezTo>
                  <a:pt x="1538" y="71"/>
                  <a:pt x="1538" y="71"/>
                  <a:pt x="1538" y="71"/>
                </a:cubicBezTo>
                <a:cubicBezTo>
                  <a:pt x="1538" y="71"/>
                  <a:pt x="1538" y="71"/>
                  <a:pt x="1538" y="72"/>
                </a:cubicBezTo>
                <a:cubicBezTo>
                  <a:pt x="1538" y="72"/>
                  <a:pt x="1538" y="72"/>
                  <a:pt x="1538" y="72"/>
                </a:cubicBezTo>
                <a:cubicBezTo>
                  <a:pt x="1538" y="72"/>
                  <a:pt x="1538" y="72"/>
                  <a:pt x="1537" y="72"/>
                </a:cubicBezTo>
                <a:cubicBezTo>
                  <a:pt x="1538" y="72"/>
                  <a:pt x="1538" y="72"/>
                  <a:pt x="1538" y="72"/>
                </a:cubicBezTo>
                <a:cubicBezTo>
                  <a:pt x="1537" y="72"/>
                  <a:pt x="1537" y="72"/>
                  <a:pt x="1537" y="72"/>
                </a:cubicBezTo>
                <a:cubicBezTo>
                  <a:pt x="1537" y="72"/>
                  <a:pt x="1537" y="72"/>
                  <a:pt x="1537" y="72"/>
                </a:cubicBezTo>
                <a:cubicBezTo>
                  <a:pt x="1537" y="72"/>
                  <a:pt x="1537" y="73"/>
                  <a:pt x="1537" y="73"/>
                </a:cubicBezTo>
                <a:cubicBezTo>
                  <a:pt x="1537" y="73"/>
                  <a:pt x="1537" y="73"/>
                  <a:pt x="1537" y="73"/>
                </a:cubicBezTo>
                <a:cubicBezTo>
                  <a:pt x="1537" y="73"/>
                  <a:pt x="1537" y="73"/>
                  <a:pt x="1536" y="73"/>
                </a:cubicBezTo>
                <a:cubicBezTo>
                  <a:pt x="1536" y="73"/>
                  <a:pt x="1536" y="73"/>
                  <a:pt x="1536" y="73"/>
                </a:cubicBezTo>
                <a:cubicBezTo>
                  <a:pt x="1536" y="73"/>
                  <a:pt x="1536" y="73"/>
                  <a:pt x="1536" y="73"/>
                </a:cubicBezTo>
                <a:cubicBezTo>
                  <a:pt x="1536" y="73"/>
                  <a:pt x="1536" y="73"/>
                  <a:pt x="1536" y="73"/>
                </a:cubicBezTo>
                <a:cubicBezTo>
                  <a:pt x="1536" y="73"/>
                  <a:pt x="1536" y="74"/>
                  <a:pt x="1536" y="74"/>
                </a:cubicBezTo>
                <a:cubicBezTo>
                  <a:pt x="1536" y="74"/>
                  <a:pt x="1536" y="74"/>
                  <a:pt x="1536" y="74"/>
                </a:cubicBezTo>
                <a:cubicBezTo>
                  <a:pt x="1536" y="74"/>
                  <a:pt x="1536" y="74"/>
                  <a:pt x="1535" y="74"/>
                </a:cubicBezTo>
                <a:cubicBezTo>
                  <a:pt x="1535" y="74"/>
                  <a:pt x="1535" y="74"/>
                  <a:pt x="1535" y="74"/>
                </a:cubicBezTo>
                <a:cubicBezTo>
                  <a:pt x="1535" y="74"/>
                  <a:pt x="1535" y="74"/>
                  <a:pt x="1535" y="74"/>
                </a:cubicBezTo>
                <a:cubicBezTo>
                  <a:pt x="1535" y="74"/>
                  <a:pt x="1535" y="74"/>
                  <a:pt x="1535" y="74"/>
                </a:cubicBezTo>
                <a:cubicBezTo>
                  <a:pt x="1535" y="74"/>
                  <a:pt x="1535" y="75"/>
                  <a:pt x="1535" y="75"/>
                </a:cubicBezTo>
                <a:cubicBezTo>
                  <a:pt x="1535" y="75"/>
                  <a:pt x="1535" y="75"/>
                  <a:pt x="1535" y="75"/>
                </a:cubicBezTo>
                <a:cubicBezTo>
                  <a:pt x="1535" y="75"/>
                  <a:pt x="1534" y="75"/>
                  <a:pt x="1534" y="75"/>
                </a:cubicBezTo>
                <a:cubicBezTo>
                  <a:pt x="1534" y="75"/>
                  <a:pt x="1534" y="75"/>
                  <a:pt x="1534" y="75"/>
                </a:cubicBezTo>
                <a:cubicBezTo>
                  <a:pt x="1534" y="75"/>
                  <a:pt x="1534" y="76"/>
                  <a:pt x="1534" y="76"/>
                </a:cubicBezTo>
                <a:cubicBezTo>
                  <a:pt x="1534" y="76"/>
                  <a:pt x="1534" y="76"/>
                  <a:pt x="1534" y="76"/>
                </a:cubicBezTo>
                <a:cubicBezTo>
                  <a:pt x="1534" y="76"/>
                  <a:pt x="1533" y="76"/>
                  <a:pt x="1533" y="77"/>
                </a:cubicBezTo>
                <a:cubicBezTo>
                  <a:pt x="1533" y="76"/>
                  <a:pt x="1533" y="76"/>
                  <a:pt x="1533" y="76"/>
                </a:cubicBezTo>
                <a:cubicBezTo>
                  <a:pt x="1533" y="77"/>
                  <a:pt x="1533" y="77"/>
                  <a:pt x="1533" y="77"/>
                </a:cubicBezTo>
                <a:cubicBezTo>
                  <a:pt x="1533" y="77"/>
                  <a:pt x="1533" y="77"/>
                  <a:pt x="1533" y="77"/>
                </a:cubicBezTo>
                <a:cubicBezTo>
                  <a:pt x="1533" y="77"/>
                  <a:pt x="1533" y="77"/>
                  <a:pt x="1533" y="77"/>
                </a:cubicBezTo>
                <a:cubicBezTo>
                  <a:pt x="1533" y="77"/>
                  <a:pt x="1533" y="77"/>
                  <a:pt x="1533" y="77"/>
                </a:cubicBezTo>
                <a:cubicBezTo>
                  <a:pt x="1533" y="78"/>
                  <a:pt x="1532" y="78"/>
                  <a:pt x="1532" y="78"/>
                </a:cubicBezTo>
                <a:cubicBezTo>
                  <a:pt x="1532" y="78"/>
                  <a:pt x="1532" y="78"/>
                  <a:pt x="1532" y="78"/>
                </a:cubicBezTo>
                <a:cubicBezTo>
                  <a:pt x="1532" y="78"/>
                  <a:pt x="1532" y="78"/>
                  <a:pt x="1532" y="79"/>
                </a:cubicBezTo>
                <a:cubicBezTo>
                  <a:pt x="1532" y="79"/>
                  <a:pt x="1532" y="79"/>
                  <a:pt x="1532" y="79"/>
                </a:cubicBezTo>
                <a:cubicBezTo>
                  <a:pt x="1532" y="79"/>
                  <a:pt x="1532" y="79"/>
                  <a:pt x="1532" y="79"/>
                </a:cubicBezTo>
                <a:cubicBezTo>
                  <a:pt x="1532" y="79"/>
                  <a:pt x="1532" y="79"/>
                  <a:pt x="1532" y="79"/>
                </a:cubicBezTo>
                <a:cubicBezTo>
                  <a:pt x="1531" y="79"/>
                  <a:pt x="1531" y="79"/>
                  <a:pt x="1531" y="80"/>
                </a:cubicBezTo>
                <a:cubicBezTo>
                  <a:pt x="1531" y="80"/>
                  <a:pt x="1531" y="80"/>
                  <a:pt x="1531" y="80"/>
                </a:cubicBezTo>
                <a:cubicBezTo>
                  <a:pt x="1531" y="80"/>
                  <a:pt x="1531" y="80"/>
                  <a:pt x="1531" y="80"/>
                </a:cubicBezTo>
                <a:cubicBezTo>
                  <a:pt x="1531" y="80"/>
                  <a:pt x="1531" y="80"/>
                  <a:pt x="1531" y="80"/>
                </a:cubicBezTo>
                <a:cubicBezTo>
                  <a:pt x="1531" y="80"/>
                  <a:pt x="1531" y="80"/>
                  <a:pt x="1531" y="80"/>
                </a:cubicBezTo>
                <a:cubicBezTo>
                  <a:pt x="1531" y="80"/>
                  <a:pt x="1531" y="81"/>
                  <a:pt x="1531" y="81"/>
                </a:cubicBezTo>
                <a:cubicBezTo>
                  <a:pt x="1531" y="81"/>
                  <a:pt x="1531" y="81"/>
                  <a:pt x="1531" y="81"/>
                </a:cubicBezTo>
                <a:cubicBezTo>
                  <a:pt x="1530" y="81"/>
                  <a:pt x="1530" y="81"/>
                  <a:pt x="1530" y="81"/>
                </a:cubicBezTo>
                <a:cubicBezTo>
                  <a:pt x="1530" y="81"/>
                  <a:pt x="1530" y="81"/>
                  <a:pt x="1530" y="81"/>
                </a:cubicBezTo>
                <a:cubicBezTo>
                  <a:pt x="1530" y="82"/>
                  <a:pt x="1530" y="82"/>
                  <a:pt x="1530" y="82"/>
                </a:cubicBezTo>
                <a:cubicBezTo>
                  <a:pt x="1530" y="82"/>
                  <a:pt x="1530" y="82"/>
                  <a:pt x="1530" y="82"/>
                </a:cubicBezTo>
                <a:cubicBezTo>
                  <a:pt x="1530" y="82"/>
                  <a:pt x="1530" y="83"/>
                  <a:pt x="1530" y="83"/>
                </a:cubicBezTo>
                <a:cubicBezTo>
                  <a:pt x="1530" y="83"/>
                  <a:pt x="1530" y="83"/>
                  <a:pt x="1529" y="83"/>
                </a:cubicBezTo>
                <a:cubicBezTo>
                  <a:pt x="1529" y="83"/>
                  <a:pt x="1529" y="84"/>
                  <a:pt x="1529" y="84"/>
                </a:cubicBezTo>
                <a:cubicBezTo>
                  <a:pt x="1529" y="84"/>
                  <a:pt x="1529" y="84"/>
                  <a:pt x="1529" y="84"/>
                </a:cubicBezTo>
                <a:cubicBezTo>
                  <a:pt x="1529" y="84"/>
                  <a:pt x="1529" y="84"/>
                  <a:pt x="1529" y="85"/>
                </a:cubicBezTo>
                <a:cubicBezTo>
                  <a:pt x="1529" y="85"/>
                  <a:pt x="1529" y="85"/>
                  <a:pt x="1529" y="85"/>
                </a:cubicBezTo>
                <a:cubicBezTo>
                  <a:pt x="1529" y="85"/>
                  <a:pt x="1529" y="85"/>
                  <a:pt x="1528" y="86"/>
                </a:cubicBezTo>
                <a:cubicBezTo>
                  <a:pt x="1529" y="86"/>
                  <a:pt x="1529" y="86"/>
                  <a:pt x="1529" y="86"/>
                </a:cubicBezTo>
                <a:cubicBezTo>
                  <a:pt x="1528" y="86"/>
                  <a:pt x="1528" y="86"/>
                  <a:pt x="1528" y="86"/>
                </a:cubicBezTo>
                <a:cubicBezTo>
                  <a:pt x="1528" y="86"/>
                  <a:pt x="1528" y="87"/>
                  <a:pt x="1528" y="87"/>
                </a:cubicBezTo>
                <a:cubicBezTo>
                  <a:pt x="1528" y="87"/>
                  <a:pt x="1528" y="87"/>
                  <a:pt x="1528" y="87"/>
                </a:cubicBezTo>
                <a:cubicBezTo>
                  <a:pt x="1528" y="88"/>
                  <a:pt x="1528" y="88"/>
                  <a:pt x="1528" y="88"/>
                </a:cubicBezTo>
                <a:cubicBezTo>
                  <a:pt x="1528" y="88"/>
                  <a:pt x="1528" y="89"/>
                  <a:pt x="1528" y="89"/>
                </a:cubicBezTo>
                <a:cubicBezTo>
                  <a:pt x="1527" y="89"/>
                  <a:pt x="1528" y="90"/>
                  <a:pt x="1527" y="90"/>
                </a:cubicBezTo>
                <a:cubicBezTo>
                  <a:pt x="1527" y="91"/>
                  <a:pt x="1527" y="91"/>
                  <a:pt x="1527" y="91"/>
                </a:cubicBezTo>
                <a:cubicBezTo>
                  <a:pt x="1527" y="92"/>
                  <a:pt x="1527" y="93"/>
                  <a:pt x="1527" y="94"/>
                </a:cubicBezTo>
                <a:cubicBezTo>
                  <a:pt x="1527" y="96"/>
                  <a:pt x="1527" y="99"/>
                  <a:pt x="1527" y="101"/>
                </a:cubicBezTo>
                <a:cubicBezTo>
                  <a:pt x="1527" y="102"/>
                  <a:pt x="1528" y="102"/>
                  <a:pt x="1529" y="102"/>
                </a:cubicBezTo>
                <a:cubicBezTo>
                  <a:pt x="1547" y="102"/>
                  <a:pt x="1565" y="102"/>
                  <a:pt x="1584" y="102"/>
                </a:cubicBezTo>
                <a:cubicBezTo>
                  <a:pt x="1584" y="102"/>
                  <a:pt x="1585" y="102"/>
                  <a:pt x="1585" y="101"/>
                </a:cubicBezTo>
                <a:cubicBezTo>
                  <a:pt x="1585" y="101"/>
                  <a:pt x="1585" y="101"/>
                  <a:pt x="1585" y="101"/>
                </a:cubicBezTo>
                <a:cubicBezTo>
                  <a:pt x="1586" y="98"/>
                  <a:pt x="1586" y="95"/>
                  <a:pt x="1585" y="92"/>
                </a:cubicBezTo>
                <a:cubicBezTo>
                  <a:pt x="1585" y="92"/>
                  <a:pt x="1585" y="92"/>
                  <a:pt x="1585" y="92"/>
                </a:cubicBezTo>
                <a:cubicBezTo>
                  <a:pt x="1585" y="91"/>
                  <a:pt x="1584" y="92"/>
                  <a:pt x="1583" y="92"/>
                </a:cubicBezTo>
                <a:cubicBezTo>
                  <a:pt x="1569" y="92"/>
                  <a:pt x="1555" y="92"/>
                  <a:pt x="1540" y="92"/>
                </a:cubicBezTo>
                <a:cubicBezTo>
                  <a:pt x="1540" y="92"/>
                  <a:pt x="1539" y="92"/>
                  <a:pt x="1539" y="91"/>
                </a:cubicBezTo>
                <a:cubicBezTo>
                  <a:pt x="1538" y="91"/>
                  <a:pt x="1538" y="90"/>
                  <a:pt x="1539" y="90"/>
                </a:cubicBezTo>
                <a:cubicBezTo>
                  <a:pt x="1539" y="89"/>
                  <a:pt x="1539" y="88"/>
                  <a:pt x="1539" y="88"/>
                </a:cubicBezTo>
                <a:cubicBezTo>
                  <a:pt x="1539" y="88"/>
                  <a:pt x="1539" y="87"/>
                  <a:pt x="1539" y="87"/>
                </a:cubicBezTo>
                <a:cubicBezTo>
                  <a:pt x="1539" y="87"/>
                  <a:pt x="1539" y="86"/>
                  <a:pt x="1539" y="86"/>
                </a:cubicBezTo>
                <a:cubicBezTo>
                  <a:pt x="1539" y="86"/>
                  <a:pt x="1539" y="86"/>
                  <a:pt x="1539" y="86"/>
                </a:cubicBezTo>
                <a:cubicBezTo>
                  <a:pt x="1539" y="86"/>
                  <a:pt x="1539" y="85"/>
                  <a:pt x="1540" y="85"/>
                </a:cubicBezTo>
                <a:cubicBezTo>
                  <a:pt x="1539" y="85"/>
                  <a:pt x="1540" y="85"/>
                  <a:pt x="1540" y="85"/>
                </a:cubicBezTo>
                <a:cubicBezTo>
                  <a:pt x="1540" y="85"/>
                  <a:pt x="1540" y="84"/>
                  <a:pt x="1540" y="84"/>
                </a:cubicBezTo>
                <a:cubicBezTo>
                  <a:pt x="1540" y="84"/>
                  <a:pt x="1540" y="84"/>
                  <a:pt x="1540" y="84"/>
                </a:cubicBezTo>
                <a:cubicBezTo>
                  <a:pt x="1540" y="84"/>
                  <a:pt x="1540" y="84"/>
                  <a:pt x="1540" y="83"/>
                </a:cubicBezTo>
                <a:cubicBezTo>
                  <a:pt x="1540" y="83"/>
                  <a:pt x="1540" y="83"/>
                  <a:pt x="1540" y="83"/>
                </a:cubicBezTo>
                <a:cubicBezTo>
                  <a:pt x="1540" y="83"/>
                  <a:pt x="1540" y="83"/>
                  <a:pt x="1541" y="83"/>
                </a:cubicBezTo>
                <a:cubicBezTo>
                  <a:pt x="1541" y="83"/>
                  <a:pt x="1541" y="83"/>
                  <a:pt x="1541" y="83"/>
                </a:cubicBezTo>
                <a:cubicBezTo>
                  <a:pt x="1541" y="83"/>
                  <a:pt x="1541" y="82"/>
                  <a:pt x="1541" y="82"/>
                </a:cubicBezTo>
                <a:cubicBezTo>
                  <a:pt x="1541" y="82"/>
                  <a:pt x="1541" y="82"/>
                  <a:pt x="1541" y="82"/>
                </a:cubicBezTo>
                <a:cubicBezTo>
                  <a:pt x="1541" y="82"/>
                  <a:pt x="1541" y="82"/>
                  <a:pt x="1541" y="82"/>
                </a:cubicBezTo>
                <a:cubicBezTo>
                  <a:pt x="1541" y="82"/>
                  <a:pt x="1541" y="82"/>
                  <a:pt x="1541" y="82"/>
                </a:cubicBezTo>
                <a:cubicBezTo>
                  <a:pt x="1542" y="82"/>
                  <a:pt x="1541" y="81"/>
                  <a:pt x="1542" y="81"/>
                </a:cubicBezTo>
                <a:cubicBezTo>
                  <a:pt x="1542" y="81"/>
                  <a:pt x="1542" y="81"/>
                  <a:pt x="1542" y="81"/>
                </a:cubicBezTo>
                <a:cubicBezTo>
                  <a:pt x="1542" y="81"/>
                  <a:pt x="1542" y="81"/>
                  <a:pt x="1542" y="81"/>
                </a:cubicBezTo>
                <a:cubicBezTo>
                  <a:pt x="1542" y="81"/>
                  <a:pt x="1542" y="81"/>
                  <a:pt x="1542" y="81"/>
                </a:cubicBezTo>
                <a:cubicBezTo>
                  <a:pt x="1542" y="81"/>
                  <a:pt x="1542" y="80"/>
                  <a:pt x="1542" y="80"/>
                </a:cubicBezTo>
                <a:cubicBezTo>
                  <a:pt x="1542" y="80"/>
                  <a:pt x="1542" y="80"/>
                  <a:pt x="1542" y="80"/>
                </a:cubicBezTo>
                <a:cubicBezTo>
                  <a:pt x="1543" y="80"/>
                  <a:pt x="1543" y="80"/>
                  <a:pt x="1543" y="79"/>
                </a:cubicBezTo>
                <a:cubicBezTo>
                  <a:pt x="1543" y="79"/>
                  <a:pt x="1543" y="79"/>
                  <a:pt x="1543" y="79"/>
                </a:cubicBezTo>
                <a:cubicBezTo>
                  <a:pt x="1543" y="79"/>
                  <a:pt x="1543" y="79"/>
                  <a:pt x="1543" y="79"/>
                </a:cubicBezTo>
                <a:cubicBezTo>
                  <a:pt x="1543" y="79"/>
                  <a:pt x="1543" y="79"/>
                  <a:pt x="1543" y="79"/>
                </a:cubicBezTo>
                <a:cubicBezTo>
                  <a:pt x="1544" y="79"/>
                  <a:pt x="1544" y="79"/>
                  <a:pt x="1544" y="79"/>
                </a:cubicBezTo>
                <a:cubicBezTo>
                  <a:pt x="1544" y="79"/>
                  <a:pt x="1544" y="79"/>
                  <a:pt x="1544" y="79"/>
                </a:cubicBezTo>
                <a:cubicBezTo>
                  <a:pt x="1544" y="78"/>
                  <a:pt x="1544" y="78"/>
                  <a:pt x="1544" y="78"/>
                </a:cubicBezTo>
                <a:cubicBezTo>
                  <a:pt x="1544" y="78"/>
                  <a:pt x="1544" y="78"/>
                  <a:pt x="1544" y="78"/>
                </a:cubicBezTo>
                <a:cubicBezTo>
                  <a:pt x="1544" y="78"/>
                  <a:pt x="1544" y="78"/>
                  <a:pt x="1544" y="78"/>
                </a:cubicBezTo>
                <a:cubicBezTo>
                  <a:pt x="1544" y="78"/>
                  <a:pt x="1544" y="78"/>
                  <a:pt x="1544" y="78"/>
                </a:cubicBezTo>
                <a:cubicBezTo>
                  <a:pt x="1545" y="78"/>
                  <a:pt x="1545" y="78"/>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6" y="77"/>
                  <a:pt x="1546" y="77"/>
                  <a:pt x="1546" y="76"/>
                </a:cubicBezTo>
                <a:cubicBezTo>
                  <a:pt x="1546" y="76"/>
                  <a:pt x="1546" y="76"/>
                  <a:pt x="1546" y="76"/>
                </a:cubicBezTo>
                <a:cubicBezTo>
                  <a:pt x="1546" y="76"/>
                  <a:pt x="1546" y="76"/>
                  <a:pt x="1546" y="76"/>
                </a:cubicBezTo>
                <a:cubicBezTo>
                  <a:pt x="1546" y="76"/>
                  <a:pt x="1546" y="76"/>
                  <a:pt x="1546" y="76"/>
                </a:cubicBezTo>
                <a:cubicBezTo>
                  <a:pt x="1547" y="76"/>
                  <a:pt x="1547" y="75"/>
                  <a:pt x="1548" y="75"/>
                </a:cubicBezTo>
                <a:cubicBezTo>
                  <a:pt x="1548" y="75"/>
                  <a:pt x="1548" y="75"/>
                  <a:pt x="1548" y="75"/>
                </a:cubicBezTo>
                <a:cubicBezTo>
                  <a:pt x="1548" y="75"/>
                  <a:pt x="1548" y="75"/>
                  <a:pt x="1548" y="75"/>
                </a:cubicBezTo>
                <a:cubicBezTo>
                  <a:pt x="1548" y="75"/>
                  <a:pt x="1548" y="75"/>
                  <a:pt x="1548" y="75"/>
                </a:cubicBezTo>
                <a:cubicBezTo>
                  <a:pt x="1548" y="75"/>
                  <a:pt x="1548" y="74"/>
                  <a:pt x="1548" y="74"/>
                </a:cubicBezTo>
                <a:cubicBezTo>
                  <a:pt x="1548" y="74"/>
                  <a:pt x="1548" y="74"/>
                  <a:pt x="1548" y="74"/>
                </a:cubicBezTo>
                <a:cubicBezTo>
                  <a:pt x="1549" y="74"/>
                  <a:pt x="1549" y="74"/>
                  <a:pt x="1549" y="74"/>
                </a:cubicBezTo>
                <a:cubicBezTo>
                  <a:pt x="1549" y="74"/>
                  <a:pt x="1549" y="74"/>
                  <a:pt x="1549" y="74"/>
                </a:cubicBezTo>
                <a:cubicBezTo>
                  <a:pt x="1549" y="74"/>
                  <a:pt x="1550" y="73"/>
                  <a:pt x="1550" y="73"/>
                </a:cubicBezTo>
                <a:cubicBezTo>
                  <a:pt x="1550" y="73"/>
                  <a:pt x="1550" y="73"/>
                  <a:pt x="1550" y="73"/>
                </a:cubicBezTo>
                <a:cubicBezTo>
                  <a:pt x="1550" y="73"/>
                  <a:pt x="1550" y="73"/>
                  <a:pt x="1550" y="73"/>
                </a:cubicBezTo>
                <a:cubicBezTo>
                  <a:pt x="1550" y="73"/>
                  <a:pt x="1550" y="73"/>
                  <a:pt x="1550" y="73"/>
                </a:cubicBezTo>
                <a:cubicBezTo>
                  <a:pt x="1550" y="73"/>
                  <a:pt x="1551" y="73"/>
                  <a:pt x="1551" y="72"/>
                </a:cubicBezTo>
                <a:cubicBezTo>
                  <a:pt x="1551" y="72"/>
                  <a:pt x="1551" y="72"/>
                  <a:pt x="1551" y="72"/>
                </a:cubicBezTo>
                <a:cubicBezTo>
                  <a:pt x="1551" y="72"/>
                  <a:pt x="1551" y="72"/>
                  <a:pt x="1551" y="72"/>
                </a:cubicBezTo>
                <a:cubicBezTo>
                  <a:pt x="1551" y="72"/>
                  <a:pt x="1551" y="72"/>
                  <a:pt x="1551" y="72"/>
                </a:cubicBezTo>
                <a:cubicBezTo>
                  <a:pt x="1552" y="72"/>
                  <a:pt x="1552" y="72"/>
                  <a:pt x="1552" y="72"/>
                </a:cubicBezTo>
                <a:cubicBezTo>
                  <a:pt x="1552" y="72"/>
                  <a:pt x="1552" y="72"/>
                  <a:pt x="1552" y="72"/>
                </a:cubicBezTo>
                <a:cubicBezTo>
                  <a:pt x="1552" y="71"/>
                  <a:pt x="1552" y="71"/>
                  <a:pt x="1552" y="71"/>
                </a:cubicBezTo>
                <a:cubicBezTo>
                  <a:pt x="1552" y="71"/>
                  <a:pt x="1552" y="71"/>
                  <a:pt x="1552" y="71"/>
                </a:cubicBezTo>
                <a:cubicBezTo>
                  <a:pt x="1553" y="71"/>
                  <a:pt x="1553" y="71"/>
                  <a:pt x="1553" y="71"/>
                </a:cubicBezTo>
                <a:cubicBezTo>
                  <a:pt x="1553" y="71"/>
                  <a:pt x="1553" y="71"/>
                  <a:pt x="1553" y="71"/>
                </a:cubicBezTo>
                <a:cubicBezTo>
                  <a:pt x="1553" y="71"/>
                  <a:pt x="1553" y="71"/>
                  <a:pt x="1553" y="71"/>
                </a:cubicBezTo>
                <a:cubicBezTo>
                  <a:pt x="1553" y="71"/>
                  <a:pt x="1553" y="71"/>
                  <a:pt x="1553" y="71"/>
                </a:cubicBezTo>
                <a:cubicBezTo>
                  <a:pt x="1553" y="70"/>
                  <a:pt x="1554" y="70"/>
                  <a:pt x="1554" y="70"/>
                </a:cubicBezTo>
                <a:cubicBezTo>
                  <a:pt x="1554" y="70"/>
                  <a:pt x="1554" y="70"/>
                  <a:pt x="1554" y="70"/>
                </a:cubicBezTo>
                <a:cubicBezTo>
                  <a:pt x="1554" y="70"/>
                  <a:pt x="1554" y="70"/>
                  <a:pt x="1554" y="70"/>
                </a:cubicBezTo>
                <a:cubicBezTo>
                  <a:pt x="1554" y="70"/>
                  <a:pt x="1554" y="70"/>
                  <a:pt x="1554" y="70"/>
                </a:cubicBezTo>
                <a:cubicBezTo>
                  <a:pt x="1554" y="70"/>
                  <a:pt x="1554" y="70"/>
                  <a:pt x="1555" y="70"/>
                </a:cubicBezTo>
                <a:cubicBezTo>
                  <a:pt x="1555" y="70"/>
                  <a:pt x="1555" y="70"/>
                  <a:pt x="1555" y="70"/>
                </a:cubicBezTo>
                <a:cubicBezTo>
                  <a:pt x="1555" y="69"/>
                  <a:pt x="1555" y="69"/>
                  <a:pt x="1555" y="69"/>
                </a:cubicBezTo>
                <a:cubicBezTo>
                  <a:pt x="1555" y="69"/>
                  <a:pt x="1555" y="69"/>
                  <a:pt x="1555" y="69"/>
                </a:cubicBezTo>
                <a:cubicBezTo>
                  <a:pt x="1555" y="69"/>
                  <a:pt x="1555" y="69"/>
                  <a:pt x="1556" y="69"/>
                </a:cubicBezTo>
                <a:cubicBezTo>
                  <a:pt x="1556" y="69"/>
                  <a:pt x="1556" y="69"/>
                  <a:pt x="1556" y="69"/>
                </a:cubicBezTo>
                <a:cubicBezTo>
                  <a:pt x="1556" y="69"/>
                  <a:pt x="1556" y="68"/>
                  <a:pt x="1557" y="68"/>
                </a:cubicBezTo>
                <a:cubicBezTo>
                  <a:pt x="1557" y="68"/>
                  <a:pt x="1557" y="68"/>
                  <a:pt x="1557" y="68"/>
                </a:cubicBezTo>
                <a:cubicBezTo>
                  <a:pt x="1557" y="68"/>
                  <a:pt x="1557" y="68"/>
                  <a:pt x="1557" y="68"/>
                </a:cubicBezTo>
                <a:cubicBezTo>
                  <a:pt x="1557" y="68"/>
                  <a:pt x="1557" y="68"/>
                  <a:pt x="1557" y="68"/>
                </a:cubicBezTo>
                <a:cubicBezTo>
                  <a:pt x="1557" y="68"/>
                  <a:pt x="1558" y="68"/>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9" y="66"/>
                  <a:pt x="1559" y="67"/>
                  <a:pt x="1559" y="66"/>
                </a:cubicBezTo>
                <a:cubicBezTo>
                  <a:pt x="1559" y="66"/>
                  <a:pt x="1559" y="66"/>
                  <a:pt x="1559" y="66"/>
                </a:cubicBezTo>
                <a:cubicBezTo>
                  <a:pt x="1559" y="66"/>
                  <a:pt x="1559" y="66"/>
                  <a:pt x="1559" y="66"/>
                </a:cubicBezTo>
                <a:cubicBezTo>
                  <a:pt x="1559" y="66"/>
                  <a:pt x="1559" y="66"/>
                  <a:pt x="1559" y="66"/>
                </a:cubicBezTo>
                <a:cubicBezTo>
                  <a:pt x="1560" y="66"/>
                  <a:pt x="1560" y="66"/>
                  <a:pt x="1560" y="66"/>
                </a:cubicBezTo>
                <a:cubicBezTo>
                  <a:pt x="1560" y="66"/>
                  <a:pt x="1560" y="66"/>
                  <a:pt x="1560" y="66"/>
                </a:cubicBezTo>
                <a:cubicBezTo>
                  <a:pt x="1560" y="66"/>
                  <a:pt x="1560" y="65"/>
                  <a:pt x="1560" y="65"/>
                </a:cubicBezTo>
                <a:cubicBezTo>
                  <a:pt x="1560" y="65"/>
                  <a:pt x="1560" y="65"/>
                  <a:pt x="1560" y="65"/>
                </a:cubicBezTo>
                <a:cubicBezTo>
                  <a:pt x="1561" y="65"/>
                  <a:pt x="1561" y="65"/>
                  <a:pt x="1561" y="65"/>
                </a:cubicBezTo>
                <a:cubicBezTo>
                  <a:pt x="1561" y="65"/>
                  <a:pt x="1561" y="65"/>
                  <a:pt x="1561" y="65"/>
                </a:cubicBezTo>
                <a:cubicBezTo>
                  <a:pt x="1561" y="65"/>
                  <a:pt x="1561" y="65"/>
                  <a:pt x="1561" y="65"/>
                </a:cubicBezTo>
                <a:cubicBezTo>
                  <a:pt x="1561" y="65"/>
                  <a:pt x="1561" y="65"/>
                  <a:pt x="1561" y="65"/>
                </a:cubicBezTo>
                <a:cubicBezTo>
                  <a:pt x="1562" y="65"/>
                  <a:pt x="1562" y="64"/>
                  <a:pt x="1562" y="64"/>
                </a:cubicBezTo>
                <a:cubicBezTo>
                  <a:pt x="1562" y="64"/>
                  <a:pt x="1562" y="64"/>
                  <a:pt x="1562" y="64"/>
                </a:cubicBezTo>
                <a:cubicBezTo>
                  <a:pt x="1562" y="64"/>
                  <a:pt x="1562" y="64"/>
                  <a:pt x="1562" y="64"/>
                </a:cubicBezTo>
                <a:cubicBezTo>
                  <a:pt x="1562" y="64"/>
                  <a:pt x="1562" y="64"/>
                  <a:pt x="1562" y="64"/>
                </a:cubicBezTo>
                <a:cubicBezTo>
                  <a:pt x="1562" y="64"/>
                  <a:pt x="1563" y="64"/>
                  <a:pt x="1563" y="63"/>
                </a:cubicBezTo>
                <a:cubicBezTo>
                  <a:pt x="1563" y="64"/>
                  <a:pt x="1563" y="64"/>
                  <a:pt x="1563" y="64"/>
                </a:cubicBezTo>
                <a:cubicBezTo>
                  <a:pt x="1563" y="63"/>
                  <a:pt x="1563" y="63"/>
                  <a:pt x="1563" y="63"/>
                </a:cubicBezTo>
                <a:cubicBezTo>
                  <a:pt x="1563" y="63"/>
                  <a:pt x="1563" y="63"/>
                  <a:pt x="1563" y="63"/>
                </a:cubicBezTo>
                <a:cubicBezTo>
                  <a:pt x="1563" y="63"/>
                  <a:pt x="1563" y="63"/>
                  <a:pt x="1564" y="63"/>
                </a:cubicBezTo>
                <a:cubicBezTo>
                  <a:pt x="1564" y="63"/>
                  <a:pt x="1564" y="63"/>
                  <a:pt x="1564" y="63"/>
                </a:cubicBezTo>
                <a:cubicBezTo>
                  <a:pt x="1564" y="63"/>
                  <a:pt x="1564" y="63"/>
                  <a:pt x="1564" y="62"/>
                </a:cubicBezTo>
                <a:cubicBezTo>
                  <a:pt x="1564" y="62"/>
                  <a:pt x="1564" y="62"/>
                  <a:pt x="1564" y="62"/>
                </a:cubicBezTo>
                <a:cubicBezTo>
                  <a:pt x="1564" y="62"/>
                  <a:pt x="1565" y="62"/>
                  <a:pt x="1565" y="62"/>
                </a:cubicBezTo>
                <a:cubicBezTo>
                  <a:pt x="1565" y="62"/>
                  <a:pt x="1565" y="62"/>
                  <a:pt x="1565" y="62"/>
                </a:cubicBezTo>
                <a:cubicBezTo>
                  <a:pt x="1565" y="62"/>
                  <a:pt x="1565" y="62"/>
                  <a:pt x="1565" y="62"/>
                </a:cubicBezTo>
                <a:cubicBezTo>
                  <a:pt x="1565" y="62"/>
                  <a:pt x="1565" y="62"/>
                  <a:pt x="1565" y="62"/>
                </a:cubicBezTo>
                <a:cubicBezTo>
                  <a:pt x="1565" y="62"/>
                  <a:pt x="1566" y="61"/>
                  <a:pt x="1566" y="61"/>
                </a:cubicBezTo>
                <a:cubicBezTo>
                  <a:pt x="1566" y="61"/>
                  <a:pt x="1566" y="61"/>
                  <a:pt x="1566" y="61"/>
                </a:cubicBezTo>
                <a:cubicBezTo>
                  <a:pt x="1566" y="61"/>
                  <a:pt x="1566" y="61"/>
                  <a:pt x="1566" y="61"/>
                </a:cubicBezTo>
                <a:cubicBezTo>
                  <a:pt x="1566" y="61"/>
                  <a:pt x="1566" y="61"/>
                  <a:pt x="1566" y="61"/>
                </a:cubicBezTo>
                <a:cubicBezTo>
                  <a:pt x="1567" y="61"/>
                  <a:pt x="1567" y="61"/>
                  <a:pt x="1567" y="60"/>
                </a:cubicBezTo>
                <a:cubicBezTo>
                  <a:pt x="1567" y="60"/>
                  <a:pt x="1567" y="60"/>
                  <a:pt x="1567" y="60"/>
                </a:cubicBezTo>
                <a:cubicBezTo>
                  <a:pt x="1567" y="60"/>
                  <a:pt x="1567" y="60"/>
                  <a:pt x="1567" y="60"/>
                </a:cubicBezTo>
                <a:cubicBezTo>
                  <a:pt x="1567" y="60"/>
                  <a:pt x="1567" y="60"/>
                  <a:pt x="1567" y="60"/>
                </a:cubicBezTo>
                <a:cubicBezTo>
                  <a:pt x="1568" y="60"/>
                  <a:pt x="1568" y="59"/>
                  <a:pt x="1568" y="59"/>
                </a:cubicBezTo>
                <a:cubicBezTo>
                  <a:pt x="1568" y="59"/>
                  <a:pt x="1568" y="59"/>
                  <a:pt x="1568" y="59"/>
                </a:cubicBezTo>
                <a:cubicBezTo>
                  <a:pt x="1569" y="59"/>
                  <a:pt x="1569" y="59"/>
                  <a:pt x="1569" y="59"/>
                </a:cubicBezTo>
                <a:cubicBezTo>
                  <a:pt x="1569" y="59"/>
                  <a:pt x="1569" y="59"/>
                  <a:pt x="1569" y="59"/>
                </a:cubicBezTo>
                <a:cubicBezTo>
                  <a:pt x="1569" y="59"/>
                  <a:pt x="1569" y="58"/>
                  <a:pt x="1569" y="58"/>
                </a:cubicBezTo>
                <a:cubicBezTo>
                  <a:pt x="1569" y="58"/>
                  <a:pt x="1569" y="58"/>
                  <a:pt x="1569" y="58"/>
                </a:cubicBezTo>
                <a:cubicBezTo>
                  <a:pt x="1569" y="58"/>
                  <a:pt x="1569" y="58"/>
                  <a:pt x="1569" y="58"/>
                </a:cubicBezTo>
                <a:cubicBezTo>
                  <a:pt x="1569" y="58"/>
                  <a:pt x="1569" y="58"/>
                  <a:pt x="1569" y="58"/>
                </a:cubicBezTo>
                <a:cubicBezTo>
                  <a:pt x="1570" y="58"/>
                  <a:pt x="1570" y="58"/>
                  <a:pt x="1570" y="58"/>
                </a:cubicBezTo>
                <a:cubicBezTo>
                  <a:pt x="1570" y="58"/>
                  <a:pt x="1570" y="58"/>
                  <a:pt x="1570" y="58"/>
                </a:cubicBezTo>
                <a:cubicBezTo>
                  <a:pt x="1570" y="58"/>
                  <a:pt x="1570" y="57"/>
                  <a:pt x="1570" y="57"/>
                </a:cubicBezTo>
                <a:cubicBezTo>
                  <a:pt x="1570" y="57"/>
                  <a:pt x="1570" y="57"/>
                  <a:pt x="1570" y="57"/>
                </a:cubicBezTo>
                <a:cubicBezTo>
                  <a:pt x="1570" y="57"/>
                  <a:pt x="1570" y="57"/>
                  <a:pt x="1571" y="57"/>
                </a:cubicBezTo>
                <a:cubicBezTo>
                  <a:pt x="1571" y="57"/>
                  <a:pt x="1571" y="57"/>
                  <a:pt x="1571" y="57"/>
                </a:cubicBezTo>
                <a:cubicBezTo>
                  <a:pt x="1571" y="57"/>
                  <a:pt x="1571" y="57"/>
                  <a:pt x="1571" y="57"/>
                </a:cubicBezTo>
                <a:cubicBezTo>
                  <a:pt x="1571" y="57"/>
                  <a:pt x="1571" y="57"/>
                  <a:pt x="1571" y="57"/>
                </a:cubicBezTo>
                <a:cubicBezTo>
                  <a:pt x="1571" y="56"/>
                  <a:pt x="1571" y="56"/>
                  <a:pt x="1571" y="56"/>
                </a:cubicBezTo>
                <a:cubicBezTo>
                  <a:pt x="1571" y="56"/>
                  <a:pt x="1571" y="56"/>
                  <a:pt x="1571" y="56"/>
                </a:cubicBezTo>
                <a:cubicBezTo>
                  <a:pt x="1571" y="56"/>
                  <a:pt x="1572" y="56"/>
                  <a:pt x="1572" y="56"/>
                </a:cubicBezTo>
                <a:cubicBezTo>
                  <a:pt x="1572" y="56"/>
                  <a:pt x="1572" y="56"/>
                  <a:pt x="1572" y="56"/>
                </a:cubicBezTo>
                <a:cubicBezTo>
                  <a:pt x="1572" y="56"/>
                  <a:pt x="1572" y="56"/>
                  <a:pt x="1572" y="56"/>
                </a:cubicBezTo>
                <a:cubicBezTo>
                  <a:pt x="1572" y="56"/>
                  <a:pt x="1572" y="56"/>
                  <a:pt x="1572" y="56"/>
                </a:cubicBezTo>
                <a:cubicBezTo>
                  <a:pt x="1572" y="55"/>
                  <a:pt x="1572" y="55"/>
                  <a:pt x="1572" y="55"/>
                </a:cubicBezTo>
                <a:cubicBezTo>
                  <a:pt x="1572" y="55"/>
                  <a:pt x="1572" y="55"/>
                  <a:pt x="1572" y="55"/>
                </a:cubicBezTo>
                <a:cubicBezTo>
                  <a:pt x="1572" y="55"/>
                  <a:pt x="1573" y="55"/>
                  <a:pt x="1573" y="55"/>
                </a:cubicBezTo>
                <a:cubicBezTo>
                  <a:pt x="1573" y="55"/>
                  <a:pt x="1573" y="55"/>
                  <a:pt x="1573" y="55"/>
                </a:cubicBezTo>
                <a:cubicBezTo>
                  <a:pt x="1573" y="55"/>
                  <a:pt x="1573" y="55"/>
                  <a:pt x="1573" y="54"/>
                </a:cubicBezTo>
                <a:cubicBezTo>
                  <a:pt x="1573" y="54"/>
                  <a:pt x="1573" y="54"/>
                  <a:pt x="1573" y="54"/>
                </a:cubicBezTo>
                <a:cubicBezTo>
                  <a:pt x="1573" y="54"/>
                  <a:pt x="1573" y="54"/>
                  <a:pt x="1573" y="54"/>
                </a:cubicBezTo>
                <a:cubicBezTo>
                  <a:pt x="1573" y="54"/>
                  <a:pt x="1573" y="54"/>
                  <a:pt x="1573" y="54"/>
                </a:cubicBezTo>
                <a:cubicBezTo>
                  <a:pt x="1574" y="54"/>
                  <a:pt x="1574" y="53"/>
                  <a:pt x="1574" y="53"/>
                </a:cubicBezTo>
                <a:cubicBezTo>
                  <a:pt x="1574" y="53"/>
                  <a:pt x="1574" y="53"/>
                  <a:pt x="1574" y="53"/>
                </a:cubicBezTo>
                <a:cubicBezTo>
                  <a:pt x="1574" y="53"/>
                  <a:pt x="1574" y="53"/>
                  <a:pt x="1574" y="53"/>
                </a:cubicBezTo>
                <a:cubicBezTo>
                  <a:pt x="1574" y="53"/>
                  <a:pt x="1574" y="53"/>
                  <a:pt x="1574" y="53"/>
                </a:cubicBezTo>
                <a:cubicBezTo>
                  <a:pt x="1575" y="53"/>
                  <a:pt x="1575" y="53"/>
                  <a:pt x="1575" y="52"/>
                </a:cubicBezTo>
                <a:cubicBezTo>
                  <a:pt x="1575" y="52"/>
                  <a:pt x="1575" y="52"/>
                  <a:pt x="1575" y="52"/>
                </a:cubicBezTo>
                <a:cubicBezTo>
                  <a:pt x="1575" y="52"/>
                  <a:pt x="1575" y="52"/>
                  <a:pt x="1575" y="52"/>
                </a:cubicBezTo>
                <a:cubicBezTo>
                  <a:pt x="1575" y="52"/>
                  <a:pt x="1575" y="52"/>
                  <a:pt x="1575" y="52"/>
                </a:cubicBezTo>
                <a:cubicBezTo>
                  <a:pt x="1575" y="52"/>
                  <a:pt x="1575" y="52"/>
                  <a:pt x="1575" y="51"/>
                </a:cubicBezTo>
                <a:cubicBezTo>
                  <a:pt x="1575" y="51"/>
                  <a:pt x="1575" y="51"/>
                  <a:pt x="1575" y="51"/>
                </a:cubicBezTo>
                <a:cubicBezTo>
                  <a:pt x="1576" y="51"/>
                  <a:pt x="1576" y="51"/>
                  <a:pt x="1576" y="51"/>
                </a:cubicBezTo>
                <a:cubicBezTo>
                  <a:pt x="1576" y="51"/>
                  <a:pt x="1576" y="51"/>
                  <a:pt x="1576" y="51"/>
                </a:cubicBezTo>
                <a:cubicBezTo>
                  <a:pt x="1576" y="51"/>
                  <a:pt x="1576" y="51"/>
                  <a:pt x="1576" y="50"/>
                </a:cubicBezTo>
                <a:cubicBezTo>
                  <a:pt x="1576" y="50"/>
                  <a:pt x="1576" y="50"/>
                  <a:pt x="1576" y="50"/>
                </a:cubicBezTo>
                <a:cubicBezTo>
                  <a:pt x="1576" y="50"/>
                  <a:pt x="1576" y="50"/>
                  <a:pt x="1576" y="50"/>
                </a:cubicBezTo>
                <a:cubicBezTo>
                  <a:pt x="1576" y="50"/>
                  <a:pt x="1576" y="50"/>
                  <a:pt x="1576" y="50"/>
                </a:cubicBezTo>
                <a:cubicBezTo>
                  <a:pt x="1577" y="50"/>
                  <a:pt x="1577" y="49"/>
                  <a:pt x="1577" y="49"/>
                </a:cubicBezTo>
                <a:cubicBezTo>
                  <a:pt x="1577" y="49"/>
                  <a:pt x="1577" y="49"/>
                  <a:pt x="1577" y="49"/>
                </a:cubicBezTo>
                <a:cubicBezTo>
                  <a:pt x="1577" y="49"/>
                  <a:pt x="1577" y="49"/>
                  <a:pt x="1577" y="49"/>
                </a:cubicBezTo>
                <a:cubicBezTo>
                  <a:pt x="1577" y="49"/>
                  <a:pt x="1577" y="49"/>
                  <a:pt x="1577" y="49"/>
                </a:cubicBezTo>
                <a:cubicBezTo>
                  <a:pt x="1577" y="49"/>
                  <a:pt x="1577" y="48"/>
                  <a:pt x="1578" y="48"/>
                </a:cubicBezTo>
                <a:cubicBezTo>
                  <a:pt x="1577" y="48"/>
                  <a:pt x="1577" y="48"/>
                  <a:pt x="1577" y="48"/>
                </a:cubicBezTo>
                <a:cubicBezTo>
                  <a:pt x="1578" y="48"/>
                  <a:pt x="1578" y="48"/>
                  <a:pt x="1578" y="48"/>
                </a:cubicBezTo>
                <a:cubicBezTo>
                  <a:pt x="1578" y="48"/>
                  <a:pt x="1578" y="48"/>
                  <a:pt x="1578" y="48"/>
                </a:cubicBezTo>
                <a:cubicBezTo>
                  <a:pt x="1578" y="47"/>
                  <a:pt x="1578" y="47"/>
                  <a:pt x="1578" y="47"/>
                </a:cubicBezTo>
                <a:cubicBezTo>
                  <a:pt x="1578" y="47"/>
                  <a:pt x="1578" y="47"/>
                  <a:pt x="1578" y="47"/>
                </a:cubicBezTo>
                <a:cubicBezTo>
                  <a:pt x="1578" y="47"/>
                  <a:pt x="1578" y="46"/>
                  <a:pt x="1579" y="46"/>
                </a:cubicBezTo>
                <a:cubicBezTo>
                  <a:pt x="1579" y="46"/>
                  <a:pt x="1579" y="46"/>
                  <a:pt x="1579" y="46"/>
                </a:cubicBezTo>
                <a:cubicBezTo>
                  <a:pt x="1579" y="46"/>
                  <a:pt x="1579" y="46"/>
                  <a:pt x="1579" y="45"/>
                </a:cubicBezTo>
                <a:cubicBezTo>
                  <a:pt x="1579" y="45"/>
                  <a:pt x="1579" y="45"/>
                  <a:pt x="1579" y="45"/>
                </a:cubicBezTo>
                <a:cubicBezTo>
                  <a:pt x="1579" y="45"/>
                  <a:pt x="1579" y="45"/>
                  <a:pt x="1579" y="45"/>
                </a:cubicBezTo>
                <a:cubicBezTo>
                  <a:pt x="1579" y="45"/>
                  <a:pt x="1579" y="45"/>
                  <a:pt x="1579" y="45"/>
                </a:cubicBezTo>
                <a:cubicBezTo>
                  <a:pt x="1580" y="45"/>
                  <a:pt x="1579" y="44"/>
                  <a:pt x="1580" y="44"/>
                </a:cubicBezTo>
                <a:cubicBezTo>
                  <a:pt x="1580" y="44"/>
                  <a:pt x="1580" y="44"/>
                  <a:pt x="1580" y="44"/>
                </a:cubicBezTo>
                <a:cubicBezTo>
                  <a:pt x="1580" y="43"/>
                  <a:pt x="1580" y="43"/>
                  <a:pt x="1580" y="43"/>
                </a:cubicBezTo>
                <a:cubicBezTo>
                  <a:pt x="1580" y="43"/>
                  <a:pt x="1580" y="43"/>
                  <a:pt x="1580" y="43"/>
                </a:cubicBezTo>
                <a:cubicBezTo>
                  <a:pt x="1580" y="43"/>
                  <a:pt x="1580" y="43"/>
                  <a:pt x="1580" y="43"/>
                </a:cubicBezTo>
                <a:cubicBezTo>
                  <a:pt x="1580" y="42"/>
                  <a:pt x="1580" y="42"/>
                  <a:pt x="1580" y="42"/>
                </a:cubicBezTo>
                <a:cubicBezTo>
                  <a:pt x="1580" y="42"/>
                  <a:pt x="1580" y="42"/>
                  <a:pt x="1580" y="42"/>
                </a:cubicBezTo>
                <a:cubicBezTo>
                  <a:pt x="1581" y="41"/>
                  <a:pt x="1580" y="41"/>
                  <a:pt x="1581" y="40"/>
                </a:cubicBezTo>
                <a:cubicBezTo>
                  <a:pt x="1581" y="40"/>
                  <a:pt x="1581" y="40"/>
                  <a:pt x="1581" y="40"/>
                </a:cubicBezTo>
                <a:cubicBezTo>
                  <a:pt x="1581" y="40"/>
                  <a:pt x="1581" y="40"/>
                  <a:pt x="1581" y="40"/>
                </a:cubicBezTo>
                <a:cubicBezTo>
                  <a:pt x="1581" y="40"/>
                  <a:pt x="1581" y="39"/>
                  <a:pt x="1581" y="39"/>
                </a:cubicBezTo>
                <a:cubicBezTo>
                  <a:pt x="1581" y="39"/>
                  <a:pt x="1581" y="39"/>
                  <a:pt x="1581" y="39"/>
                </a:cubicBezTo>
                <a:cubicBezTo>
                  <a:pt x="1581" y="38"/>
                  <a:pt x="1581" y="37"/>
                  <a:pt x="1581" y="37"/>
                </a:cubicBezTo>
                <a:cubicBezTo>
                  <a:pt x="1581" y="37"/>
                  <a:pt x="1581" y="37"/>
                  <a:pt x="1581" y="36"/>
                </a:cubicBezTo>
                <a:cubicBezTo>
                  <a:pt x="1582" y="35"/>
                  <a:pt x="1581" y="34"/>
                  <a:pt x="1582" y="33"/>
                </a:cubicBezTo>
                <a:cubicBezTo>
                  <a:pt x="1582" y="32"/>
                  <a:pt x="1582" y="31"/>
                  <a:pt x="1582" y="29"/>
                </a:cubicBezTo>
                <a:cubicBezTo>
                  <a:pt x="1581" y="28"/>
                  <a:pt x="1582" y="27"/>
                  <a:pt x="1581" y="26"/>
                </a:cubicBezTo>
                <a:cubicBezTo>
                  <a:pt x="1581" y="26"/>
                  <a:pt x="1581" y="26"/>
                  <a:pt x="1581" y="26"/>
                </a:cubicBezTo>
                <a:cubicBezTo>
                  <a:pt x="1581" y="26"/>
                  <a:pt x="1581" y="25"/>
                  <a:pt x="1581" y="25"/>
                </a:cubicBezTo>
                <a:cubicBezTo>
                  <a:pt x="1581" y="25"/>
                  <a:pt x="1581" y="24"/>
                  <a:pt x="1581" y="24"/>
                </a:cubicBezTo>
                <a:cubicBezTo>
                  <a:pt x="1581" y="24"/>
                  <a:pt x="1581" y="24"/>
                  <a:pt x="1581" y="23"/>
                </a:cubicBezTo>
                <a:cubicBezTo>
                  <a:pt x="1581" y="23"/>
                  <a:pt x="1581" y="23"/>
                  <a:pt x="1581" y="23"/>
                </a:cubicBezTo>
                <a:cubicBezTo>
                  <a:pt x="1580" y="23"/>
                  <a:pt x="1581" y="22"/>
                  <a:pt x="1580" y="22"/>
                </a:cubicBezTo>
                <a:close/>
                <a:moveTo>
                  <a:pt x="1749" y="37"/>
                </a:moveTo>
                <a:cubicBezTo>
                  <a:pt x="1749" y="37"/>
                  <a:pt x="1749" y="37"/>
                  <a:pt x="1749" y="36"/>
                </a:cubicBezTo>
                <a:cubicBezTo>
                  <a:pt x="1750" y="35"/>
                  <a:pt x="1749" y="34"/>
                  <a:pt x="1750" y="33"/>
                </a:cubicBezTo>
                <a:cubicBezTo>
                  <a:pt x="1750" y="32"/>
                  <a:pt x="1750" y="31"/>
                  <a:pt x="1750" y="29"/>
                </a:cubicBezTo>
                <a:cubicBezTo>
                  <a:pt x="1749" y="28"/>
                  <a:pt x="1750" y="28"/>
                  <a:pt x="1750" y="27"/>
                </a:cubicBezTo>
                <a:cubicBezTo>
                  <a:pt x="1749" y="26"/>
                  <a:pt x="1749" y="26"/>
                  <a:pt x="1749" y="26"/>
                </a:cubicBezTo>
                <a:cubicBezTo>
                  <a:pt x="1749" y="26"/>
                  <a:pt x="1749" y="25"/>
                  <a:pt x="1749" y="25"/>
                </a:cubicBezTo>
                <a:cubicBezTo>
                  <a:pt x="1749" y="25"/>
                  <a:pt x="1749" y="24"/>
                  <a:pt x="1749" y="24"/>
                </a:cubicBezTo>
                <a:cubicBezTo>
                  <a:pt x="1749" y="24"/>
                  <a:pt x="1749" y="24"/>
                  <a:pt x="1749" y="23"/>
                </a:cubicBezTo>
                <a:cubicBezTo>
                  <a:pt x="1749" y="23"/>
                  <a:pt x="1749" y="23"/>
                  <a:pt x="1749" y="23"/>
                </a:cubicBezTo>
                <a:cubicBezTo>
                  <a:pt x="1749" y="23"/>
                  <a:pt x="1749" y="22"/>
                  <a:pt x="1748" y="22"/>
                </a:cubicBezTo>
                <a:cubicBezTo>
                  <a:pt x="1748" y="22"/>
                  <a:pt x="1748" y="22"/>
                  <a:pt x="1748" y="22"/>
                </a:cubicBezTo>
                <a:cubicBezTo>
                  <a:pt x="1748" y="22"/>
                  <a:pt x="1748" y="21"/>
                  <a:pt x="1748" y="21"/>
                </a:cubicBezTo>
                <a:cubicBezTo>
                  <a:pt x="1748" y="21"/>
                  <a:pt x="1748" y="21"/>
                  <a:pt x="1748" y="21"/>
                </a:cubicBezTo>
                <a:cubicBezTo>
                  <a:pt x="1748" y="21"/>
                  <a:pt x="1748" y="21"/>
                  <a:pt x="1748" y="21"/>
                </a:cubicBezTo>
                <a:cubicBezTo>
                  <a:pt x="1748" y="21"/>
                  <a:pt x="1748" y="20"/>
                  <a:pt x="1748" y="20"/>
                </a:cubicBezTo>
                <a:cubicBezTo>
                  <a:pt x="1748" y="20"/>
                  <a:pt x="1748" y="20"/>
                  <a:pt x="1748" y="20"/>
                </a:cubicBezTo>
                <a:cubicBezTo>
                  <a:pt x="1748" y="20"/>
                  <a:pt x="1748" y="20"/>
                  <a:pt x="1747" y="19"/>
                </a:cubicBezTo>
                <a:cubicBezTo>
                  <a:pt x="1747" y="19"/>
                  <a:pt x="1747" y="19"/>
                  <a:pt x="1747" y="19"/>
                </a:cubicBezTo>
                <a:cubicBezTo>
                  <a:pt x="1747" y="19"/>
                  <a:pt x="1747" y="19"/>
                  <a:pt x="1747" y="19"/>
                </a:cubicBezTo>
                <a:cubicBezTo>
                  <a:pt x="1747" y="19"/>
                  <a:pt x="1747" y="19"/>
                  <a:pt x="1747" y="19"/>
                </a:cubicBezTo>
                <a:cubicBezTo>
                  <a:pt x="1747" y="18"/>
                  <a:pt x="1747" y="18"/>
                  <a:pt x="1747" y="18"/>
                </a:cubicBezTo>
                <a:cubicBezTo>
                  <a:pt x="1747" y="18"/>
                  <a:pt x="1747" y="18"/>
                  <a:pt x="1747" y="18"/>
                </a:cubicBezTo>
                <a:cubicBezTo>
                  <a:pt x="1746" y="18"/>
                  <a:pt x="1747" y="17"/>
                  <a:pt x="1746" y="17"/>
                </a:cubicBezTo>
                <a:cubicBezTo>
                  <a:pt x="1746" y="17"/>
                  <a:pt x="1746" y="17"/>
                  <a:pt x="1746" y="17"/>
                </a:cubicBezTo>
                <a:cubicBezTo>
                  <a:pt x="1746" y="17"/>
                  <a:pt x="1746" y="17"/>
                  <a:pt x="1746" y="17"/>
                </a:cubicBezTo>
                <a:cubicBezTo>
                  <a:pt x="1746" y="17"/>
                  <a:pt x="1746" y="17"/>
                  <a:pt x="1746" y="17"/>
                </a:cubicBezTo>
                <a:cubicBezTo>
                  <a:pt x="1746" y="17"/>
                  <a:pt x="1746" y="16"/>
                  <a:pt x="1746" y="16"/>
                </a:cubicBezTo>
                <a:cubicBezTo>
                  <a:pt x="1746" y="16"/>
                  <a:pt x="1746" y="16"/>
                  <a:pt x="1746" y="16"/>
                </a:cubicBezTo>
                <a:cubicBezTo>
                  <a:pt x="1746" y="16"/>
                  <a:pt x="1745" y="16"/>
                  <a:pt x="1745" y="16"/>
                </a:cubicBezTo>
                <a:cubicBezTo>
                  <a:pt x="1745" y="16"/>
                  <a:pt x="1745" y="16"/>
                  <a:pt x="1745" y="16"/>
                </a:cubicBezTo>
                <a:cubicBezTo>
                  <a:pt x="1745" y="16"/>
                  <a:pt x="1745" y="15"/>
                  <a:pt x="1745" y="15"/>
                </a:cubicBezTo>
                <a:cubicBezTo>
                  <a:pt x="1745" y="15"/>
                  <a:pt x="1745" y="15"/>
                  <a:pt x="1745" y="15"/>
                </a:cubicBezTo>
                <a:cubicBezTo>
                  <a:pt x="1745" y="15"/>
                  <a:pt x="1744" y="15"/>
                  <a:pt x="1744" y="15"/>
                </a:cubicBezTo>
                <a:cubicBezTo>
                  <a:pt x="1744" y="15"/>
                  <a:pt x="1744" y="15"/>
                  <a:pt x="1744" y="15"/>
                </a:cubicBezTo>
                <a:cubicBezTo>
                  <a:pt x="1744" y="14"/>
                  <a:pt x="1744" y="14"/>
                  <a:pt x="1744" y="14"/>
                </a:cubicBezTo>
                <a:cubicBezTo>
                  <a:pt x="1744" y="14"/>
                  <a:pt x="1744" y="14"/>
                  <a:pt x="1744" y="14"/>
                </a:cubicBezTo>
                <a:cubicBezTo>
                  <a:pt x="1744" y="14"/>
                  <a:pt x="1744" y="14"/>
                  <a:pt x="1744" y="14"/>
                </a:cubicBezTo>
                <a:cubicBezTo>
                  <a:pt x="1744" y="14"/>
                  <a:pt x="1744" y="14"/>
                  <a:pt x="1744" y="14"/>
                </a:cubicBezTo>
                <a:cubicBezTo>
                  <a:pt x="1743" y="14"/>
                  <a:pt x="1743" y="14"/>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2" y="13"/>
                  <a:pt x="1742" y="13"/>
                  <a:pt x="1742" y="12"/>
                </a:cubicBezTo>
                <a:cubicBezTo>
                  <a:pt x="1742" y="12"/>
                  <a:pt x="1742" y="12"/>
                  <a:pt x="1742" y="12"/>
                </a:cubicBezTo>
                <a:cubicBezTo>
                  <a:pt x="1742" y="12"/>
                  <a:pt x="1742" y="12"/>
                  <a:pt x="1742" y="12"/>
                </a:cubicBezTo>
                <a:cubicBezTo>
                  <a:pt x="1742" y="12"/>
                  <a:pt x="1742" y="12"/>
                  <a:pt x="1742" y="12"/>
                </a:cubicBezTo>
                <a:cubicBezTo>
                  <a:pt x="1742" y="12"/>
                  <a:pt x="1742" y="12"/>
                  <a:pt x="1741" y="12"/>
                </a:cubicBezTo>
                <a:cubicBezTo>
                  <a:pt x="1741" y="12"/>
                  <a:pt x="1741" y="12"/>
                  <a:pt x="1741" y="12"/>
                </a:cubicBezTo>
                <a:cubicBezTo>
                  <a:pt x="1741" y="11"/>
                  <a:pt x="1741" y="11"/>
                  <a:pt x="1740" y="11"/>
                </a:cubicBezTo>
                <a:cubicBezTo>
                  <a:pt x="1740" y="11"/>
                  <a:pt x="1740" y="11"/>
                  <a:pt x="1740" y="11"/>
                </a:cubicBezTo>
                <a:cubicBezTo>
                  <a:pt x="1740" y="11"/>
                  <a:pt x="1740" y="11"/>
                  <a:pt x="1740" y="11"/>
                </a:cubicBezTo>
                <a:cubicBezTo>
                  <a:pt x="1740" y="11"/>
                  <a:pt x="1740" y="11"/>
                  <a:pt x="1740" y="11"/>
                </a:cubicBezTo>
                <a:cubicBezTo>
                  <a:pt x="1740" y="10"/>
                  <a:pt x="1740" y="11"/>
                  <a:pt x="1739" y="10"/>
                </a:cubicBezTo>
                <a:cubicBezTo>
                  <a:pt x="1739" y="10"/>
                  <a:pt x="1739" y="10"/>
                  <a:pt x="1739" y="10"/>
                </a:cubicBezTo>
                <a:cubicBezTo>
                  <a:pt x="1739" y="10"/>
                  <a:pt x="1739" y="10"/>
                  <a:pt x="1739" y="10"/>
                </a:cubicBezTo>
                <a:cubicBezTo>
                  <a:pt x="1739" y="10"/>
                  <a:pt x="1739" y="10"/>
                  <a:pt x="1739" y="10"/>
                </a:cubicBezTo>
                <a:cubicBezTo>
                  <a:pt x="1739" y="10"/>
                  <a:pt x="1739" y="10"/>
                  <a:pt x="1738" y="10"/>
                </a:cubicBezTo>
                <a:cubicBezTo>
                  <a:pt x="1738" y="10"/>
                  <a:pt x="1738" y="10"/>
                  <a:pt x="1738" y="10"/>
                </a:cubicBezTo>
                <a:cubicBezTo>
                  <a:pt x="1738" y="9"/>
                  <a:pt x="1738" y="9"/>
                  <a:pt x="1738" y="9"/>
                </a:cubicBezTo>
                <a:cubicBezTo>
                  <a:pt x="1738" y="9"/>
                  <a:pt x="1738" y="9"/>
                  <a:pt x="1738" y="9"/>
                </a:cubicBezTo>
                <a:cubicBezTo>
                  <a:pt x="1738" y="9"/>
                  <a:pt x="1737" y="9"/>
                  <a:pt x="1737" y="9"/>
                </a:cubicBezTo>
                <a:cubicBezTo>
                  <a:pt x="1737" y="9"/>
                  <a:pt x="1737" y="9"/>
                  <a:pt x="1737" y="9"/>
                </a:cubicBezTo>
                <a:cubicBezTo>
                  <a:pt x="1737" y="9"/>
                  <a:pt x="1737" y="9"/>
                  <a:pt x="1737" y="9"/>
                </a:cubicBezTo>
                <a:cubicBezTo>
                  <a:pt x="1737" y="9"/>
                  <a:pt x="1737" y="9"/>
                  <a:pt x="1737" y="9"/>
                </a:cubicBezTo>
                <a:cubicBezTo>
                  <a:pt x="1736" y="8"/>
                  <a:pt x="1736" y="8"/>
                  <a:pt x="1736" y="8"/>
                </a:cubicBezTo>
                <a:cubicBezTo>
                  <a:pt x="1736" y="8"/>
                  <a:pt x="1736" y="8"/>
                  <a:pt x="1736" y="8"/>
                </a:cubicBezTo>
                <a:cubicBezTo>
                  <a:pt x="1736" y="8"/>
                  <a:pt x="1735" y="8"/>
                  <a:pt x="1735" y="8"/>
                </a:cubicBezTo>
                <a:cubicBezTo>
                  <a:pt x="1735" y="8"/>
                  <a:pt x="1735" y="8"/>
                  <a:pt x="1735" y="8"/>
                </a:cubicBezTo>
                <a:cubicBezTo>
                  <a:pt x="1735" y="8"/>
                  <a:pt x="1734" y="8"/>
                  <a:pt x="1734" y="8"/>
                </a:cubicBezTo>
                <a:cubicBezTo>
                  <a:pt x="1734" y="8"/>
                  <a:pt x="1734" y="8"/>
                  <a:pt x="1734" y="7"/>
                </a:cubicBezTo>
                <a:cubicBezTo>
                  <a:pt x="1734" y="7"/>
                  <a:pt x="1733" y="7"/>
                  <a:pt x="1733" y="7"/>
                </a:cubicBezTo>
                <a:cubicBezTo>
                  <a:pt x="1733" y="7"/>
                  <a:pt x="1733" y="7"/>
                  <a:pt x="1733" y="7"/>
                </a:cubicBezTo>
                <a:cubicBezTo>
                  <a:pt x="1733" y="7"/>
                  <a:pt x="1732" y="7"/>
                  <a:pt x="1732" y="7"/>
                </a:cubicBezTo>
                <a:cubicBezTo>
                  <a:pt x="1732" y="7"/>
                  <a:pt x="1732" y="7"/>
                  <a:pt x="1732" y="7"/>
                </a:cubicBezTo>
                <a:cubicBezTo>
                  <a:pt x="1732" y="7"/>
                  <a:pt x="1732" y="7"/>
                  <a:pt x="1732" y="7"/>
                </a:cubicBezTo>
                <a:cubicBezTo>
                  <a:pt x="1731" y="7"/>
                  <a:pt x="1731" y="7"/>
                  <a:pt x="1731" y="7"/>
                </a:cubicBezTo>
                <a:cubicBezTo>
                  <a:pt x="1730" y="7"/>
                  <a:pt x="1730" y="7"/>
                  <a:pt x="1730" y="7"/>
                </a:cubicBezTo>
                <a:cubicBezTo>
                  <a:pt x="1730" y="6"/>
                  <a:pt x="1730" y="6"/>
                  <a:pt x="1730" y="6"/>
                </a:cubicBezTo>
                <a:cubicBezTo>
                  <a:pt x="1730" y="6"/>
                  <a:pt x="1729" y="7"/>
                  <a:pt x="1729" y="6"/>
                </a:cubicBezTo>
                <a:cubicBezTo>
                  <a:pt x="1728" y="6"/>
                  <a:pt x="1728" y="6"/>
                  <a:pt x="1728" y="6"/>
                </a:cubicBezTo>
                <a:cubicBezTo>
                  <a:pt x="1727" y="6"/>
                  <a:pt x="1726" y="6"/>
                  <a:pt x="1726" y="6"/>
                </a:cubicBezTo>
                <a:cubicBezTo>
                  <a:pt x="1725" y="6"/>
                  <a:pt x="1724" y="6"/>
                  <a:pt x="1724" y="6"/>
                </a:cubicBezTo>
                <a:cubicBezTo>
                  <a:pt x="1723" y="6"/>
                  <a:pt x="1722" y="6"/>
                  <a:pt x="1722" y="6"/>
                </a:cubicBezTo>
                <a:cubicBezTo>
                  <a:pt x="1721" y="6"/>
                  <a:pt x="1720" y="6"/>
                  <a:pt x="1719" y="6"/>
                </a:cubicBezTo>
                <a:cubicBezTo>
                  <a:pt x="1719" y="6"/>
                  <a:pt x="1718" y="6"/>
                  <a:pt x="1717" y="6"/>
                </a:cubicBezTo>
                <a:cubicBezTo>
                  <a:pt x="1717" y="6"/>
                  <a:pt x="1716" y="6"/>
                  <a:pt x="1716" y="6"/>
                </a:cubicBezTo>
                <a:cubicBezTo>
                  <a:pt x="1716" y="7"/>
                  <a:pt x="1715" y="6"/>
                  <a:pt x="1714" y="6"/>
                </a:cubicBezTo>
                <a:cubicBezTo>
                  <a:pt x="1714" y="7"/>
                  <a:pt x="1714" y="7"/>
                  <a:pt x="1714" y="7"/>
                </a:cubicBezTo>
                <a:cubicBezTo>
                  <a:pt x="1714" y="7"/>
                  <a:pt x="1714" y="7"/>
                  <a:pt x="1714" y="7"/>
                </a:cubicBezTo>
                <a:cubicBezTo>
                  <a:pt x="1714" y="7"/>
                  <a:pt x="1713" y="7"/>
                  <a:pt x="1713" y="7"/>
                </a:cubicBezTo>
                <a:cubicBezTo>
                  <a:pt x="1713" y="7"/>
                  <a:pt x="1713" y="7"/>
                  <a:pt x="1713" y="7"/>
                </a:cubicBezTo>
                <a:cubicBezTo>
                  <a:pt x="1712" y="7"/>
                  <a:pt x="1712" y="7"/>
                  <a:pt x="1712" y="7"/>
                </a:cubicBezTo>
                <a:cubicBezTo>
                  <a:pt x="1711" y="7"/>
                  <a:pt x="1711" y="7"/>
                  <a:pt x="1711" y="7"/>
                </a:cubicBezTo>
                <a:cubicBezTo>
                  <a:pt x="1711" y="7"/>
                  <a:pt x="1711" y="7"/>
                  <a:pt x="1711" y="7"/>
                </a:cubicBezTo>
                <a:cubicBezTo>
                  <a:pt x="1711" y="7"/>
                  <a:pt x="1711" y="7"/>
                  <a:pt x="1710" y="8"/>
                </a:cubicBezTo>
                <a:cubicBezTo>
                  <a:pt x="1710" y="8"/>
                  <a:pt x="1710" y="8"/>
                  <a:pt x="1710" y="8"/>
                </a:cubicBezTo>
                <a:cubicBezTo>
                  <a:pt x="1710" y="8"/>
                  <a:pt x="1710" y="8"/>
                  <a:pt x="1710" y="8"/>
                </a:cubicBezTo>
                <a:cubicBezTo>
                  <a:pt x="1710" y="8"/>
                  <a:pt x="1710" y="8"/>
                  <a:pt x="1709" y="8"/>
                </a:cubicBezTo>
                <a:cubicBezTo>
                  <a:pt x="1709" y="8"/>
                  <a:pt x="1709" y="8"/>
                  <a:pt x="1709" y="8"/>
                </a:cubicBezTo>
                <a:cubicBezTo>
                  <a:pt x="1709" y="8"/>
                  <a:pt x="1709" y="8"/>
                  <a:pt x="1709" y="8"/>
                </a:cubicBezTo>
                <a:cubicBezTo>
                  <a:pt x="1709" y="8"/>
                  <a:pt x="1709" y="8"/>
                  <a:pt x="1709" y="8"/>
                </a:cubicBezTo>
                <a:cubicBezTo>
                  <a:pt x="1709" y="8"/>
                  <a:pt x="1709" y="8"/>
                  <a:pt x="1709" y="8"/>
                </a:cubicBezTo>
                <a:cubicBezTo>
                  <a:pt x="1708" y="8"/>
                  <a:pt x="1708" y="8"/>
                  <a:pt x="1708" y="9"/>
                </a:cubicBezTo>
                <a:cubicBezTo>
                  <a:pt x="1708" y="9"/>
                  <a:pt x="1708" y="9"/>
                  <a:pt x="1708" y="9"/>
                </a:cubicBezTo>
                <a:cubicBezTo>
                  <a:pt x="1708" y="9"/>
                  <a:pt x="1707" y="9"/>
                  <a:pt x="1707" y="9"/>
                </a:cubicBezTo>
                <a:cubicBezTo>
                  <a:pt x="1707" y="9"/>
                  <a:pt x="1707" y="9"/>
                  <a:pt x="1707" y="9"/>
                </a:cubicBezTo>
                <a:cubicBezTo>
                  <a:pt x="1707" y="9"/>
                  <a:pt x="1707" y="9"/>
                  <a:pt x="1706" y="9"/>
                </a:cubicBezTo>
                <a:cubicBezTo>
                  <a:pt x="1706" y="9"/>
                  <a:pt x="1706" y="9"/>
                  <a:pt x="1706" y="9"/>
                </a:cubicBezTo>
                <a:cubicBezTo>
                  <a:pt x="1706" y="9"/>
                  <a:pt x="1706" y="9"/>
                  <a:pt x="1706" y="10"/>
                </a:cubicBezTo>
                <a:cubicBezTo>
                  <a:pt x="1706" y="10"/>
                  <a:pt x="1706" y="10"/>
                  <a:pt x="1706" y="10"/>
                </a:cubicBezTo>
                <a:cubicBezTo>
                  <a:pt x="1706" y="10"/>
                  <a:pt x="1705" y="10"/>
                  <a:pt x="1705" y="10"/>
                </a:cubicBezTo>
                <a:cubicBezTo>
                  <a:pt x="1705" y="10"/>
                  <a:pt x="1705" y="10"/>
                  <a:pt x="1705" y="10"/>
                </a:cubicBezTo>
                <a:cubicBezTo>
                  <a:pt x="1705" y="10"/>
                  <a:pt x="1705" y="10"/>
                  <a:pt x="1705" y="10"/>
                </a:cubicBezTo>
                <a:cubicBezTo>
                  <a:pt x="1705" y="10"/>
                  <a:pt x="1705" y="10"/>
                  <a:pt x="1705" y="10"/>
                </a:cubicBezTo>
                <a:cubicBezTo>
                  <a:pt x="1704" y="11"/>
                  <a:pt x="1704" y="10"/>
                  <a:pt x="1704" y="11"/>
                </a:cubicBezTo>
                <a:cubicBezTo>
                  <a:pt x="1704" y="11"/>
                  <a:pt x="1704" y="11"/>
                  <a:pt x="1704" y="11"/>
                </a:cubicBezTo>
                <a:cubicBezTo>
                  <a:pt x="1704" y="11"/>
                  <a:pt x="1704" y="11"/>
                  <a:pt x="1704" y="11"/>
                </a:cubicBezTo>
                <a:cubicBezTo>
                  <a:pt x="1704" y="11"/>
                  <a:pt x="1704" y="11"/>
                  <a:pt x="1704" y="11"/>
                </a:cubicBezTo>
                <a:cubicBezTo>
                  <a:pt x="1703" y="11"/>
                  <a:pt x="1703" y="11"/>
                  <a:pt x="1703" y="11"/>
                </a:cubicBezTo>
                <a:cubicBezTo>
                  <a:pt x="1703" y="11"/>
                  <a:pt x="1703" y="11"/>
                  <a:pt x="1703" y="11"/>
                </a:cubicBezTo>
                <a:cubicBezTo>
                  <a:pt x="1703" y="11"/>
                  <a:pt x="1703" y="12"/>
                  <a:pt x="1703" y="12"/>
                </a:cubicBezTo>
                <a:cubicBezTo>
                  <a:pt x="1703" y="12"/>
                  <a:pt x="1703" y="12"/>
                  <a:pt x="1703" y="12"/>
                </a:cubicBezTo>
                <a:cubicBezTo>
                  <a:pt x="1702" y="12"/>
                  <a:pt x="1702" y="12"/>
                  <a:pt x="1702" y="12"/>
                </a:cubicBezTo>
                <a:cubicBezTo>
                  <a:pt x="1702" y="12"/>
                  <a:pt x="1702" y="12"/>
                  <a:pt x="1702" y="12"/>
                </a:cubicBezTo>
                <a:cubicBezTo>
                  <a:pt x="1702" y="12"/>
                  <a:pt x="1702" y="12"/>
                  <a:pt x="1702" y="12"/>
                </a:cubicBezTo>
                <a:cubicBezTo>
                  <a:pt x="1702" y="12"/>
                  <a:pt x="1702" y="12"/>
                  <a:pt x="1702" y="12"/>
                </a:cubicBezTo>
                <a:cubicBezTo>
                  <a:pt x="1701" y="12"/>
                  <a:pt x="1701" y="13"/>
                  <a:pt x="1701" y="13"/>
                </a:cubicBezTo>
                <a:cubicBezTo>
                  <a:pt x="1701" y="13"/>
                  <a:pt x="1701" y="13"/>
                  <a:pt x="1701" y="13"/>
                </a:cubicBezTo>
                <a:cubicBezTo>
                  <a:pt x="1701" y="13"/>
                  <a:pt x="1701" y="13"/>
                  <a:pt x="1701" y="13"/>
                </a:cubicBezTo>
                <a:cubicBezTo>
                  <a:pt x="1701" y="13"/>
                  <a:pt x="1701" y="13"/>
                  <a:pt x="1701" y="13"/>
                </a:cubicBezTo>
                <a:cubicBezTo>
                  <a:pt x="1701" y="13"/>
                  <a:pt x="1701" y="13"/>
                  <a:pt x="1700" y="13"/>
                </a:cubicBezTo>
                <a:cubicBezTo>
                  <a:pt x="1700" y="13"/>
                  <a:pt x="1700" y="13"/>
                  <a:pt x="1700" y="13"/>
                </a:cubicBezTo>
                <a:cubicBezTo>
                  <a:pt x="1700" y="14"/>
                  <a:pt x="1699" y="14"/>
                  <a:pt x="1699" y="15"/>
                </a:cubicBezTo>
                <a:cubicBezTo>
                  <a:pt x="1699" y="15"/>
                  <a:pt x="1699" y="15"/>
                  <a:pt x="1699" y="15"/>
                </a:cubicBezTo>
                <a:cubicBezTo>
                  <a:pt x="1699" y="15"/>
                  <a:pt x="1699" y="15"/>
                  <a:pt x="1699" y="15"/>
                </a:cubicBezTo>
                <a:cubicBezTo>
                  <a:pt x="1699" y="19"/>
                  <a:pt x="1699" y="22"/>
                  <a:pt x="1699" y="26"/>
                </a:cubicBezTo>
                <a:cubicBezTo>
                  <a:pt x="1699" y="26"/>
                  <a:pt x="1699" y="26"/>
                  <a:pt x="1699" y="26"/>
                </a:cubicBezTo>
                <a:cubicBezTo>
                  <a:pt x="1699" y="26"/>
                  <a:pt x="1699" y="26"/>
                  <a:pt x="1699" y="26"/>
                </a:cubicBezTo>
                <a:cubicBezTo>
                  <a:pt x="1699" y="26"/>
                  <a:pt x="1700" y="26"/>
                  <a:pt x="1700" y="26"/>
                </a:cubicBezTo>
                <a:cubicBezTo>
                  <a:pt x="1700" y="26"/>
                  <a:pt x="1700" y="26"/>
                  <a:pt x="1700" y="26"/>
                </a:cubicBezTo>
                <a:cubicBezTo>
                  <a:pt x="1700" y="26"/>
                  <a:pt x="1700" y="26"/>
                  <a:pt x="1700" y="26"/>
                </a:cubicBezTo>
                <a:cubicBezTo>
                  <a:pt x="1700" y="26"/>
                  <a:pt x="1700" y="26"/>
                  <a:pt x="1700" y="26"/>
                </a:cubicBezTo>
                <a:cubicBezTo>
                  <a:pt x="1700" y="26"/>
                  <a:pt x="1700" y="25"/>
                  <a:pt x="1700" y="25"/>
                </a:cubicBezTo>
                <a:cubicBezTo>
                  <a:pt x="1700" y="25"/>
                  <a:pt x="1700" y="25"/>
                  <a:pt x="1700" y="25"/>
                </a:cubicBezTo>
                <a:cubicBezTo>
                  <a:pt x="1701" y="25"/>
                  <a:pt x="1701" y="25"/>
                  <a:pt x="1701" y="25"/>
                </a:cubicBezTo>
                <a:cubicBezTo>
                  <a:pt x="1701" y="25"/>
                  <a:pt x="1701" y="25"/>
                  <a:pt x="1701" y="25"/>
                </a:cubicBezTo>
                <a:cubicBezTo>
                  <a:pt x="1701" y="25"/>
                  <a:pt x="1701" y="25"/>
                  <a:pt x="1701" y="24"/>
                </a:cubicBezTo>
                <a:cubicBezTo>
                  <a:pt x="1701" y="25"/>
                  <a:pt x="1701" y="25"/>
                  <a:pt x="1701" y="25"/>
                </a:cubicBezTo>
                <a:cubicBezTo>
                  <a:pt x="1701" y="24"/>
                  <a:pt x="1701" y="24"/>
                  <a:pt x="1701" y="24"/>
                </a:cubicBezTo>
                <a:cubicBezTo>
                  <a:pt x="1701" y="24"/>
                  <a:pt x="1701" y="24"/>
                  <a:pt x="1701" y="24"/>
                </a:cubicBezTo>
                <a:cubicBezTo>
                  <a:pt x="1702" y="24"/>
                  <a:pt x="1702" y="24"/>
                  <a:pt x="1702" y="24"/>
                </a:cubicBezTo>
                <a:cubicBezTo>
                  <a:pt x="1702" y="24"/>
                  <a:pt x="1702" y="24"/>
                  <a:pt x="1702" y="24"/>
                </a:cubicBezTo>
                <a:cubicBezTo>
                  <a:pt x="1702" y="24"/>
                  <a:pt x="1702" y="24"/>
                  <a:pt x="1702" y="23"/>
                </a:cubicBezTo>
                <a:cubicBezTo>
                  <a:pt x="1702" y="24"/>
                  <a:pt x="1702" y="24"/>
                  <a:pt x="1702" y="24"/>
                </a:cubicBezTo>
                <a:cubicBezTo>
                  <a:pt x="1702" y="23"/>
                  <a:pt x="1702" y="23"/>
                  <a:pt x="1702" y="23"/>
                </a:cubicBezTo>
                <a:cubicBezTo>
                  <a:pt x="1702" y="23"/>
                  <a:pt x="1702" y="23"/>
                  <a:pt x="1702" y="23"/>
                </a:cubicBezTo>
                <a:cubicBezTo>
                  <a:pt x="1703" y="23"/>
                  <a:pt x="1703" y="23"/>
                  <a:pt x="1703" y="23"/>
                </a:cubicBezTo>
                <a:cubicBezTo>
                  <a:pt x="1703" y="23"/>
                  <a:pt x="1703" y="23"/>
                  <a:pt x="1703" y="23"/>
                </a:cubicBezTo>
                <a:cubicBezTo>
                  <a:pt x="1703" y="23"/>
                  <a:pt x="1703" y="23"/>
                  <a:pt x="1703" y="23"/>
                </a:cubicBezTo>
                <a:cubicBezTo>
                  <a:pt x="1703" y="23"/>
                  <a:pt x="1703" y="23"/>
                  <a:pt x="1703" y="23"/>
                </a:cubicBezTo>
                <a:cubicBezTo>
                  <a:pt x="1703" y="22"/>
                  <a:pt x="1704" y="22"/>
                  <a:pt x="1704" y="22"/>
                </a:cubicBezTo>
                <a:cubicBezTo>
                  <a:pt x="1704" y="22"/>
                  <a:pt x="1704" y="22"/>
                  <a:pt x="1704" y="22"/>
                </a:cubicBezTo>
                <a:cubicBezTo>
                  <a:pt x="1704" y="22"/>
                  <a:pt x="1704" y="22"/>
                  <a:pt x="1704" y="22"/>
                </a:cubicBezTo>
                <a:cubicBezTo>
                  <a:pt x="1704" y="22"/>
                  <a:pt x="1704" y="22"/>
                  <a:pt x="1704" y="22"/>
                </a:cubicBezTo>
                <a:cubicBezTo>
                  <a:pt x="1704" y="22"/>
                  <a:pt x="1704" y="22"/>
                  <a:pt x="1705" y="21"/>
                </a:cubicBezTo>
                <a:cubicBezTo>
                  <a:pt x="1705" y="21"/>
                  <a:pt x="1705" y="21"/>
                  <a:pt x="1705" y="21"/>
                </a:cubicBezTo>
                <a:cubicBezTo>
                  <a:pt x="1705" y="21"/>
                  <a:pt x="1705" y="21"/>
                  <a:pt x="1706" y="21"/>
                </a:cubicBezTo>
                <a:cubicBezTo>
                  <a:pt x="1706" y="21"/>
                  <a:pt x="1706" y="21"/>
                  <a:pt x="1706" y="21"/>
                </a:cubicBezTo>
                <a:cubicBezTo>
                  <a:pt x="1706" y="21"/>
                  <a:pt x="1706" y="21"/>
                  <a:pt x="1706" y="20"/>
                </a:cubicBezTo>
                <a:cubicBezTo>
                  <a:pt x="1706" y="20"/>
                  <a:pt x="1706" y="20"/>
                  <a:pt x="1706" y="20"/>
                </a:cubicBezTo>
                <a:cubicBezTo>
                  <a:pt x="1706" y="20"/>
                  <a:pt x="1707" y="20"/>
                  <a:pt x="1707" y="20"/>
                </a:cubicBezTo>
                <a:cubicBezTo>
                  <a:pt x="1707" y="20"/>
                  <a:pt x="1707" y="20"/>
                  <a:pt x="1707" y="20"/>
                </a:cubicBezTo>
                <a:cubicBezTo>
                  <a:pt x="1707" y="20"/>
                  <a:pt x="1707" y="20"/>
                  <a:pt x="1707" y="20"/>
                </a:cubicBezTo>
                <a:cubicBezTo>
                  <a:pt x="1707" y="20"/>
                  <a:pt x="1707" y="20"/>
                  <a:pt x="1707" y="20"/>
                </a:cubicBezTo>
                <a:cubicBezTo>
                  <a:pt x="1707" y="19"/>
                  <a:pt x="1708" y="20"/>
                  <a:pt x="1708" y="19"/>
                </a:cubicBezTo>
                <a:cubicBezTo>
                  <a:pt x="1708" y="19"/>
                  <a:pt x="1708" y="19"/>
                  <a:pt x="1708" y="19"/>
                </a:cubicBezTo>
                <a:cubicBezTo>
                  <a:pt x="1708" y="19"/>
                  <a:pt x="1708" y="19"/>
                  <a:pt x="1708" y="19"/>
                </a:cubicBezTo>
                <a:cubicBezTo>
                  <a:pt x="1708" y="19"/>
                  <a:pt x="1708" y="19"/>
                  <a:pt x="1708" y="19"/>
                </a:cubicBezTo>
                <a:cubicBezTo>
                  <a:pt x="1709" y="19"/>
                  <a:pt x="1709" y="19"/>
                  <a:pt x="1709" y="19"/>
                </a:cubicBezTo>
                <a:cubicBezTo>
                  <a:pt x="1709" y="19"/>
                  <a:pt x="1709" y="19"/>
                  <a:pt x="1709" y="19"/>
                </a:cubicBezTo>
                <a:cubicBezTo>
                  <a:pt x="1709" y="18"/>
                  <a:pt x="1709" y="19"/>
                  <a:pt x="1709" y="18"/>
                </a:cubicBezTo>
                <a:cubicBezTo>
                  <a:pt x="1709" y="18"/>
                  <a:pt x="1709" y="18"/>
                  <a:pt x="1709" y="18"/>
                </a:cubicBezTo>
                <a:cubicBezTo>
                  <a:pt x="1710" y="18"/>
                  <a:pt x="1710" y="18"/>
                  <a:pt x="1710" y="18"/>
                </a:cubicBezTo>
                <a:cubicBezTo>
                  <a:pt x="1710" y="18"/>
                  <a:pt x="1710" y="18"/>
                  <a:pt x="1710" y="18"/>
                </a:cubicBezTo>
                <a:cubicBezTo>
                  <a:pt x="1710" y="18"/>
                  <a:pt x="1711" y="18"/>
                  <a:pt x="1711" y="18"/>
                </a:cubicBezTo>
                <a:cubicBezTo>
                  <a:pt x="1711" y="18"/>
                  <a:pt x="1711" y="18"/>
                  <a:pt x="1711" y="18"/>
                </a:cubicBezTo>
                <a:cubicBezTo>
                  <a:pt x="1711" y="17"/>
                  <a:pt x="1711" y="17"/>
                  <a:pt x="1712" y="17"/>
                </a:cubicBezTo>
                <a:cubicBezTo>
                  <a:pt x="1712" y="17"/>
                  <a:pt x="1712" y="17"/>
                  <a:pt x="1712" y="17"/>
                </a:cubicBezTo>
                <a:cubicBezTo>
                  <a:pt x="1712" y="17"/>
                  <a:pt x="1712" y="17"/>
                  <a:pt x="1712" y="17"/>
                </a:cubicBezTo>
                <a:cubicBezTo>
                  <a:pt x="1712" y="17"/>
                  <a:pt x="1712" y="17"/>
                  <a:pt x="1713" y="17"/>
                </a:cubicBezTo>
                <a:cubicBezTo>
                  <a:pt x="1713" y="17"/>
                  <a:pt x="1713" y="17"/>
                  <a:pt x="1713" y="17"/>
                </a:cubicBezTo>
                <a:cubicBezTo>
                  <a:pt x="1713" y="17"/>
                  <a:pt x="1713" y="17"/>
                  <a:pt x="1713" y="17"/>
                </a:cubicBezTo>
                <a:cubicBezTo>
                  <a:pt x="1713" y="17"/>
                  <a:pt x="1713" y="17"/>
                  <a:pt x="1713" y="17"/>
                </a:cubicBezTo>
                <a:cubicBezTo>
                  <a:pt x="1713" y="17"/>
                  <a:pt x="1713" y="17"/>
                  <a:pt x="1713" y="17"/>
                </a:cubicBezTo>
                <a:cubicBezTo>
                  <a:pt x="1714" y="16"/>
                  <a:pt x="1714" y="16"/>
                  <a:pt x="1714" y="16"/>
                </a:cubicBezTo>
                <a:cubicBezTo>
                  <a:pt x="1714" y="16"/>
                  <a:pt x="1714" y="16"/>
                  <a:pt x="1714" y="16"/>
                </a:cubicBezTo>
                <a:cubicBezTo>
                  <a:pt x="1715" y="16"/>
                  <a:pt x="1715" y="16"/>
                  <a:pt x="1715" y="16"/>
                </a:cubicBezTo>
                <a:cubicBezTo>
                  <a:pt x="1715" y="16"/>
                  <a:pt x="1715" y="16"/>
                  <a:pt x="1716" y="16"/>
                </a:cubicBezTo>
                <a:cubicBezTo>
                  <a:pt x="1716" y="16"/>
                  <a:pt x="1716" y="16"/>
                  <a:pt x="1716" y="16"/>
                </a:cubicBezTo>
                <a:cubicBezTo>
                  <a:pt x="1716" y="16"/>
                  <a:pt x="1717" y="16"/>
                  <a:pt x="1717" y="16"/>
                </a:cubicBezTo>
                <a:cubicBezTo>
                  <a:pt x="1717" y="15"/>
                  <a:pt x="1717" y="15"/>
                  <a:pt x="1717" y="15"/>
                </a:cubicBezTo>
                <a:cubicBezTo>
                  <a:pt x="1717" y="15"/>
                  <a:pt x="1717" y="15"/>
                  <a:pt x="1717" y="15"/>
                </a:cubicBezTo>
                <a:cubicBezTo>
                  <a:pt x="1718" y="15"/>
                  <a:pt x="1719" y="16"/>
                  <a:pt x="1719" y="15"/>
                </a:cubicBezTo>
                <a:cubicBezTo>
                  <a:pt x="1720" y="15"/>
                  <a:pt x="1720" y="15"/>
                  <a:pt x="1720" y="15"/>
                </a:cubicBezTo>
                <a:cubicBezTo>
                  <a:pt x="1721" y="15"/>
                  <a:pt x="1722" y="15"/>
                  <a:pt x="1723" y="15"/>
                </a:cubicBezTo>
                <a:cubicBezTo>
                  <a:pt x="1723" y="15"/>
                  <a:pt x="1723" y="15"/>
                  <a:pt x="1724" y="15"/>
                </a:cubicBezTo>
                <a:cubicBezTo>
                  <a:pt x="1724" y="16"/>
                  <a:pt x="1725" y="15"/>
                  <a:pt x="1726" y="16"/>
                </a:cubicBezTo>
                <a:cubicBezTo>
                  <a:pt x="1726" y="15"/>
                  <a:pt x="1726" y="15"/>
                  <a:pt x="1726" y="15"/>
                </a:cubicBezTo>
                <a:cubicBezTo>
                  <a:pt x="1726" y="16"/>
                  <a:pt x="1726" y="16"/>
                  <a:pt x="1726" y="16"/>
                </a:cubicBezTo>
                <a:cubicBezTo>
                  <a:pt x="1726" y="16"/>
                  <a:pt x="1727" y="16"/>
                  <a:pt x="1727" y="16"/>
                </a:cubicBezTo>
                <a:cubicBezTo>
                  <a:pt x="1727" y="16"/>
                  <a:pt x="1727" y="16"/>
                  <a:pt x="1727" y="16"/>
                </a:cubicBezTo>
                <a:cubicBezTo>
                  <a:pt x="1728" y="16"/>
                  <a:pt x="1728" y="16"/>
                  <a:pt x="1728" y="16"/>
                </a:cubicBezTo>
                <a:cubicBezTo>
                  <a:pt x="1728" y="16"/>
                  <a:pt x="1728" y="16"/>
                  <a:pt x="1728" y="16"/>
                </a:cubicBezTo>
                <a:cubicBezTo>
                  <a:pt x="1729" y="16"/>
                  <a:pt x="1729" y="16"/>
                  <a:pt x="1729" y="16"/>
                </a:cubicBezTo>
                <a:cubicBezTo>
                  <a:pt x="1729" y="16"/>
                  <a:pt x="1729" y="16"/>
                  <a:pt x="1729" y="16"/>
                </a:cubicBezTo>
                <a:cubicBezTo>
                  <a:pt x="1729" y="16"/>
                  <a:pt x="1729" y="16"/>
                  <a:pt x="1729" y="17"/>
                </a:cubicBezTo>
                <a:cubicBezTo>
                  <a:pt x="1729" y="17"/>
                  <a:pt x="1729" y="17"/>
                  <a:pt x="1729" y="17"/>
                </a:cubicBezTo>
                <a:cubicBezTo>
                  <a:pt x="1729" y="17"/>
                  <a:pt x="1730" y="17"/>
                  <a:pt x="1730" y="17"/>
                </a:cubicBezTo>
                <a:cubicBezTo>
                  <a:pt x="1730" y="17"/>
                  <a:pt x="1730" y="17"/>
                  <a:pt x="1730" y="17"/>
                </a:cubicBezTo>
                <a:cubicBezTo>
                  <a:pt x="1730" y="17"/>
                  <a:pt x="1731" y="17"/>
                  <a:pt x="1731" y="17"/>
                </a:cubicBezTo>
                <a:cubicBezTo>
                  <a:pt x="1731" y="17"/>
                  <a:pt x="1731" y="17"/>
                  <a:pt x="1731" y="17"/>
                </a:cubicBezTo>
                <a:cubicBezTo>
                  <a:pt x="1731" y="17"/>
                  <a:pt x="1731" y="17"/>
                  <a:pt x="1731" y="18"/>
                </a:cubicBezTo>
                <a:cubicBezTo>
                  <a:pt x="1731" y="18"/>
                  <a:pt x="1731" y="18"/>
                  <a:pt x="1731" y="18"/>
                </a:cubicBezTo>
                <a:cubicBezTo>
                  <a:pt x="1732" y="18"/>
                  <a:pt x="1732" y="18"/>
                  <a:pt x="1732" y="18"/>
                </a:cubicBezTo>
                <a:cubicBezTo>
                  <a:pt x="1732" y="18"/>
                  <a:pt x="1732" y="18"/>
                  <a:pt x="1732" y="18"/>
                </a:cubicBezTo>
                <a:cubicBezTo>
                  <a:pt x="1732" y="18"/>
                  <a:pt x="1732" y="18"/>
                  <a:pt x="1732" y="18"/>
                </a:cubicBezTo>
                <a:cubicBezTo>
                  <a:pt x="1732" y="18"/>
                  <a:pt x="1732" y="18"/>
                  <a:pt x="1732" y="18"/>
                </a:cubicBezTo>
                <a:cubicBezTo>
                  <a:pt x="1733" y="18"/>
                  <a:pt x="1733" y="19"/>
                  <a:pt x="1733" y="19"/>
                </a:cubicBezTo>
                <a:cubicBezTo>
                  <a:pt x="1733" y="19"/>
                  <a:pt x="1733" y="19"/>
                  <a:pt x="1733" y="19"/>
                </a:cubicBezTo>
                <a:cubicBezTo>
                  <a:pt x="1733" y="19"/>
                  <a:pt x="1733" y="19"/>
                  <a:pt x="1733" y="19"/>
                </a:cubicBezTo>
                <a:cubicBezTo>
                  <a:pt x="1733" y="19"/>
                  <a:pt x="1733" y="19"/>
                  <a:pt x="1733" y="19"/>
                </a:cubicBezTo>
                <a:cubicBezTo>
                  <a:pt x="1734" y="20"/>
                  <a:pt x="1734" y="20"/>
                  <a:pt x="1735" y="21"/>
                </a:cubicBezTo>
                <a:cubicBezTo>
                  <a:pt x="1735" y="21"/>
                  <a:pt x="1735" y="21"/>
                  <a:pt x="1735" y="21"/>
                </a:cubicBezTo>
                <a:cubicBezTo>
                  <a:pt x="1735" y="21"/>
                  <a:pt x="1735" y="21"/>
                  <a:pt x="1735" y="21"/>
                </a:cubicBezTo>
                <a:cubicBezTo>
                  <a:pt x="1735" y="21"/>
                  <a:pt x="1735" y="21"/>
                  <a:pt x="1735" y="21"/>
                </a:cubicBezTo>
                <a:cubicBezTo>
                  <a:pt x="1735" y="21"/>
                  <a:pt x="1735" y="21"/>
                  <a:pt x="1736" y="21"/>
                </a:cubicBezTo>
                <a:cubicBezTo>
                  <a:pt x="1736" y="21"/>
                  <a:pt x="1736" y="21"/>
                  <a:pt x="1736" y="21"/>
                </a:cubicBezTo>
                <a:cubicBezTo>
                  <a:pt x="1736" y="22"/>
                  <a:pt x="1736" y="22"/>
                  <a:pt x="1736" y="22"/>
                </a:cubicBezTo>
                <a:cubicBezTo>
                  <a:pt x="1736" y="22"/>
                  <a:pt x="1736" y="22"/>
                  <a:pt x="1736" y="22"/>
                </a:cubicBezTo>
                <a:cubicBezTo>
                  <a:pt x="1736" y="22"/>
                  <a:pt x="1736" y="22"/>
                  <a:pt x="1736" y="23"/>
                </a:cubicBezTo>
                <a:cubicBezTo>
                  <a:pt x="1736" y="23"/>
                  <a:pt x="1736" y="23"/>
                  <a:pt x="1736" y="23"/>
                </a:cubicBezTo>
                <a:cubicBezTo>
                  <a:pt x="1736" y="23"/>
                  <a:pt x="1736" y="23"/>
                  <a:pt x="1737" y="23"/>
                </a:cubicBezTo>
                <a:cubicBezTo>
                  <a:pt x="1737" y="23"/>
                  <a:pt x="1737" y="23"/>
                  <a:pt x="1737" y="23"/>
                </a:cubicBezTo>
                <a:cubicBezTo>
                  <a:pt x="1737" y="23"/>
                  <a:pt x="1737" y="24"/>
                  <a:pt x="1737" y="24"/>
                </a:cubicBezTo>
                <a:cubicBezTo>
                  <a:pt x="1737" y="24"/>
                  <a:pt x="1737" y="24"/>
                  <a:pt x="1737" y="24"/>
                </a:cubicBezTo>
                <a:cubicBezTo>
                  <a:pt x="1737" y="24"/>
                  <a:pt x="1737" y="24"/>
                  <a:pt x="1737" y="25"/>
                </a:cubicBezTo>
                <a:cubicBezTo>
                  <a:pt x="1737" y="25"/>
                  <a:pt x="1737" y="25"/>
                  <a:pt x="1737" y="25"/>
                </a:cubicBezTo>
                <a:cubicBezTo>
                  <a:pt x="1737" y="25"/>
                  <a:pt x="1737" y="25"/>
                  <a:pt x="1737" y="25"/>
                </a:cubicBezTo>
                <a:cubicBezTo>
                  <a:pt x="1737" y="25"/>
                  <a:pt x="1737" y="25"/>
                  <a:pt x="1738" y="26"/>
                </a:cubicBezTo>
                <a:cubicBezTo>
                  <a:pt x="1738" y="26"/>
                  <a:pt x="1738" y="26"/>
                  <a:pt x="1738" y="26"/>
                </a:cubicBezTo>
                <a:cubicBezTo>
                  <a:pt x="1738" y="26"/>
                  <a:pt x="1738" y="26"/>
                  <a:pt x="1738" y="27"/>
                </a:cubicBezTo>
                <a:cubicBezTo>
                  <a:pt x="1738" y="27"/>
                  <a:pt x="1738" y="27"/>
                  <a:pt x="1738" y="27"/>
                </a:cubicBezTo>
                <a:cubicBezTo>
                  <a:pt x="1738" y="27"/>
                  <a:pt x="1738" y="28"/>
                  <a:pt x="1738" y="28"/>
                </a:cubicBezTo>
                <a:cubicBezTo>
                  <a:pt x="1738" y="28"/>
                  <a:pt x="1738" y="29"/>
                  <a:pt x="1738" y="29"/>
                </a:cubicBezTo>
                <a:cubicBezTo>
                  <a:pt x="1739" y="31"/>
                  <a:pt x="1739" y="33"/>
                  <a:pt x="1738" y="36"/>
                </a:cubicBezTo>
                <a:cubicBezTo>
                  <a:pt x="1738" y="36"/>
                  <a:pt x="1738" y="36"/>
                  <a:pt x="1738" y="36"/>
                </a:cubicBezTo>
                <a:cubicBezTo>
                  <a:pt x="1738" y="37"/>
                  <a:pt x="1738" y="37"/>
                  <a:pt x="1738" y="38"/>
                </a:cubicBezTo>
                <a:cubicBezTo>
                  <a:pt x="1738" y="38"/>
                  <a:pt x="1738" y="38"/>
                  <a:pt x="1738" y="38"/>
                </a:cubicBezTo>
                <a:cubicBezTo>
                  <a:pt x="1738" y="39"/>
                  <a:pt x="1738" y="39"/>
                  <a:pt x="1738" y="39"/>
                </a:cubicBezTo>
                <a:cubicBezTo>
                  <a:pt x="1738" y="39"/>
                  <a:pt x="1738" y="39"/>
                  <a:pt x="1738" y="39"/>
                </a:cubicBezTo>
                <a:cubicBezTo>
                  <a:pt x="1738" y="40"/>
                  <a:pt x="1738" y="40"/>
                  <a:pt x="1738" y="40"/>
                </a:cubicBezTo>
                <a:cubicBezTo>
                  <a:pt x="1737" y="40"/>
                  <a:pt x="1738" y="40"/>
                  <a:pt x="1737" y="41"/>
                </a:cubicBezTo>
                <a:cubicBezTo>
                  <a:pt x="1737" y="41"/>
                  <a:pt x="1737" y="41"/>
                  <a:pt x="1737" y="41"/>
                </a:cubicBezTo>
                <a:cubicBezTo>
                  <a:pt x="1737" y="41"/>
                  <a:pt x="1737" y="41"/>
                  <a:pt x="1737" y="42"/>
                </a:cubicBezTo>
                <a:cubicBezTo>
                  <a:pt x="1737" y="42"/>
                  <a:pt x="1737" y="42"/>
                  <a:pt x="1737" y="42"/>
                </a:cubicBezTo>
                <a:cubicBezTo>
                  <a:pt x="1737" y="42"/>
                  <a:pt x="1737" y="42"/>
                  <a:pt x="1737" y="42"/>
                </a:cubicBezTo>
                <a:cubicBezTo>
                  <a:pt x="1737" y="43"/>
                  <a:pt x="1737" y="43"/>
                  <a:pt x="1737" y="43"/>
                </a:cubicBezTo>
                <a:cubicBezTo>
                  <a:pt x="1736" y="43"/>
                  <a:pt x="1736" y="43"/>
                  <a:pt x="1736" y="43"/>
                </a:cubicBezTo>
                <a:cubicBezTo>
                  <a:pt x="1736" y="43"/>
                  <a:pt x="1736" y="43"/>
                  <a:pt x="1736" y="43"/>
                </a:cubicBezTo>
                <a:cubicBezTo>
                  <a:pt x="1736" y="44"/>
                  <a:pt x="1736" y="44"/>
                  <a:pt x="1736" y="44"/>
                </a:cubicBezTo>
                <a:cubicBezTo>
                  <a:pt x="1736" y="44"/>
                  <a:pt x="1736" y="44"/>
                  <a:pt x="1736" y="44"/>
                </a:cubicBezTo>
                <a:cubicBezTo>
                  <a:pt x="1736" y="44"/>
                  <a:pt x="1736" y="45"/>
                  <a:pt x="1736" y="45"/>
                </a:cubicBezTo>
                <a:cubicBezTo>
                  <a:pt x="1736" y="45"/>
                  <a:pt x="1736" y="45"/>
                  <a:pt x="1736" y="45"/>
                </a:cubicBezTo>
                <a:cubicBezTo>
                  <a:pt x="1735" y="45"/>
                  <a:pt x="1735" y="45"/>
                  <a:pt x="1735" y="45"/>
                </a:cubicBezTo>
                <a:cubicBezTo>
                  <a:pt x="1735" y="45"/>
                  <a:pt x="1735" y="45"/>
                  <a:pt x="1735" y="45"/>
                </a:cubicBezTo>
                <a:cubicBezTo>
                  <a:pt x="1735" y="45"/>
                  <a:pt x="1735" y="45"/>
                  <a:pt x="1735" y="45"/>
                </a:cubicBezTo>
                <a:cubicBezTo>
                  <a:pt x="1735" y="46"/>
                  <a:pt x="1735" y="46"/>
                  <a:pt x="1735" y="46"/>
                </a:cubicBezTo>
                <a:cubicBezTo>
                  <a:pt x="1735" y="46"/>
                  <a:pt x="1735" y="46"/>
                  <a:pt x="1735" y="46"/>
                </a:cubicBezTo>
                <a:cubicBezTo>
                  <a:pt x="1735" y="46"/>
                  <a:pt x="1735" y="46"/>
                  <a:pt x="1735" y="47"/>
                </a:cubicBezTo>
                <a:cubicBezTo>
                  <a:pt x="1735" y="47"/>
                  <a:pt x="1735" y="47"/>
                  <a:pt x="1735" y="47"/>
                </a:cubicBezTo>
                <a:cubicBezTo>
                  <a:pt x="1734" y="47"/>
                  <a:pt x="1734" y="47"/>
                  <a:pt x="1734" y="47"/>
                </a:cubicBezTo>
                <a:cubicBezTo>
                  <a:pt x="1734" y="47"/>
                  <a:pt x="1734" y="47"/>
                  <a:pt x="1734" y="47"/>
                </a:cubicBezTo>
                <a:cubicBezTo>
                  <a:pt x="1734" y="47"/>
                  <a:pt x="1734" y="47"/>
                  <a:pt x="1734" y="48"/>
                </a:cubicBezTo>
                <a:cubicBezTo>
                  <a:pt x="1734" y="48"/>
                  <a:pt x="1734" y="48"/>
                  <a:pt x="1734" y="48"/>
                </a:cubicBezTo>
                <a:cubicBezTo>
                  <a:pt x="1734" y="48"/>
                  <a:pt x="1734" y="48"/>
                  <a:pt x="1734" y="48"/>
                </a:cubicBezTo>
                <a:cubicBezTo>
                  <a:pt x="1734" y="48"/>
                  <a:pt x="1734" y="48"/>
                  <a:pt x="1734" y="48"/>
                </a:cubicBezTo>
                <a:cubicBezTo>
                  <a:pt x="1733" y="48"/>
                  <a:pt x="1733" y="48"/>
                  <a:pt x="1733" y="48"/>
                </a:cubicBezTo>
                <a:cubicBezTo>
                  <a:pt x="1733" y="48"/>
                  <a:pt x="1733" y="48"/>
                  <a:pt x="1733" y="48"/>
                </a:cubicBezTo>
                <a:cubicBezTo>
                  <a:pt x="1733" y="48"/>
                  <a:pt x="1733" y="49"/>
                  <a:pt x="1733" y="49"/>
                </a:cubicBezTo>
                <a:cubicBezTo>
                  <a:pt x="1733" y="49"/>
                  <a:pt x="1733" y="49"/>
                  <a:pt x="1733" y="49"/>
                </a:cubicBezTo>
                <a:cubicBezTo>
                  <a:pt x="1733" y="49"/>
                  <a:pt x="1733" y="49"/>
                  <a:pt x="1732" y="49"/>
                </a:cubicBezTo>
                <a:cubicBezTo>
                  <a:pt x="1732" y="49"/>
                  <a:pt x="1732" y="49"/>
                  <a:pt x="1732" y="49"/>
                </a:cubicBezTo>
                <a:cubicBezTo>
                  <a:pt x="1732" y="49"/>
                  <a:pt x="1732" y="50"/>
                  <a:pt x="1732" y="50"/>
                </a:cubicBezTo>
                <a:cubicBezTo>
                  <a:pt x="1732" y="50"/>
                  <a:pt x="1732" y="50"/>
                  <a:pt x="1732" y="50"/>
                </a:cubicBezTo>
                <a:cubicBezTo>
                  <a:pt x="1732" y="50"/>
                  <a:pt x="1732" y="50"/>
                  <a:pt x="1732" y="50"/>
                </a:cubicBezTo>
                <a:cubicBezTo>
                  <a:pt x="1732" y="50"/>
                  <a:pt x="1732" y="50"/>
                  <a:pt x="1732" y="50"/>
                </a:cubicBezTo>
                <a:cubicBezTo>
                  <a:pt x="1732" y="50"/>
                  <a:pt x="1731" y="50"/>
                  <a:pt x="1731" y="50"/>
                </a:cubicBezTo>
                <a:cubicBezTo>
                  <a:pt x="1731" y="50"/>
                  <a:pt x="1731" y="50"/>
                  <a:pt x="1731" y="50"/>
                </a:cubicBezTo>
                <a:cubicBezTo>
                  <a:pt x="1730" y="52"/>
                  <a:pt x="1729" y="53"/>
                  <a:pt x="1728" y="54"/>
                </a:cubicBezTo>
                <a:cubicBezTo>
                  <a:pt x="1728" y="54"/>
                  <a:pt x="1728" y="54"/>
                  <a:pt x="1728" y="54"/>
                </a:cubicBezTo>
                <a:cubicBezTo>
                  <a:pt x="1727" y="54"/>
                  <a:pt x="1727" y="54"/>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6" y="55"/>
                  <a:pt x="1726" y="55"/>
                  <a:pt x="1726" y="56"/>
                </a:cubicBezTo>
                <a:cubicBezTo>
                  <a:pt x="1726" y="56"/>
                  <a:pt x="1726" y="56"/>
                  <a:pt x="1726" y="56"/>
                </a:cubicBezTo>
                <a:cubicBezTo>
                  <a:pt x="1726" y="56"/>
                  <a:pt x="1725" y="56"/>
                  <a:pt x="1725" y="56"/>
                </a:cubicBezTo>
                <a:cubicBezTo>
                  <a:pt x="1725" y="56"/>
                  <a:pt x="1725" y="56"/>
                  <a:pt x="1725" y="56"/>
                </a:cubicBezTo>
                <a:cubicBezTo>
                  <a:pt x="1725" y="56"/>
                  <a:pt x="1725" y="56"/>
                  <a:pt x="1725" y="57"/>
                </a:cubicBezTo>
                <a:cubicBezTo>
                  <a:pt x="1725" y="57"/>
                  <a:pt x="1725" y="57"/>
                  <a:pt x="1725" y="57"/>
                </a:cubicBezTo>
                <a:cubicBezTo>
                  <a:pt x="1725" y="57"/>
                  <a:pt x="1725" y="57"/>
                  <a:pt x="1724" y="57"/>
                </a:cubicBezTo>
                <a:cubicBezTo>
                  <a:pt x="1724" y="57"/>
                  <a:pt x="1724" y="57"/>
                  <a:pt x="1724" y="57"/>
                </a:cubicBezTo>
                <a:cubicBezTo>
                  <a:pt x="1724" y="57"/>
                  <a:pt x="1724" y="57"/>
                  <a:pt x="1724" y="57"/>
                </a:cubicBezTo>
                <a:cubicBezTo>
                  <a:pt x="1724" y="57"/>
                  <a:pt x="1724" y="57"/>
                  <a:pt x="1724" y="57"/>
                </a:cubicBezTo>
                <a:cubicBezTo>
                  <a:pt x="1724" y="58"/>
                  <a:pt x="1724" y="57"/>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9"/>
                  <a:pt x="1722" y="58"/>
                  <a:pt x="1722" y="59"/>
                </a:cubicBezTo>
                <a:cubicBezTo>
                  <a:pt x="1722" y="59"/>
                  <a:pt x="1722" y="59"/>
                  <a:pt x="1722" y="59"/>
                </a:cubicBezTo>
                <a:cubicBezTo>
                  <a:pt x="1722" y="59"/>
                  <a:pt x="1722" y="59"/>
                  <a:pt x="1722" y="59"/>
                </a:cubicBezTo>
                <a:cubicBezTo>
                  <a:pt x="1722" y="59"/>
                  <a:pt x="1722" y="59"/>
                  <a:pt x="1722" y="59"/>
                </a:cubicBezTo>
                <a:cubicBezTo>
                  <a:pt x="1722" y="59"/>
                  <a:pt x="1721" y="59"/>
                  <a:pt x="1721" y="59"/>
                </a:cubicBezTo>
                <a:cubicBezTo>
                  <a:pt x="1721" y="59"/>
                  <a:pt x="1721" y="59"/>
                  <a:pt x="1721" y="59"/>
                </a:cubicBezTo>
                <a:cubicBezTo>
                  <a:pt x="1721" y="60"/>
                  <a:pt x="1721" y="60"/>
                  <a:pt x="1721" y="60"/>
                </a:cubicBezTo>
                <a:cubicBezTo>
                  <a:pt x="1721" y="60"/>
                  <a:pt x="1721" y="60"/>
                  <a:pt x="1721" y="60"/>
                </a:cubicBezTo>
                <a:cubicBezTo>
                  <a:pt x="1720" y="60"/>
                  <a:pt x="1720" y="60"/>
                  <a:pt x="1720" y="60"/>
                </a:cubicBezTo>
                <a:cubicBezTo>
                  <a:pt x="1720" y="60"/>
                  <a:pt x="1720" y="60"/>
                  <a:pt x="1720" y="60"/>
                </a:cubicBezTo>
                <a:cubicBezTo>
                  <a:pt x="1720" y="60"/>
                  <a:pt x="1719" y="60"/>
                  <a:pt x="1719" y="61"/>
                </a:cubicBezTo>
                <a:cubicBezTo>
                  <a:pt x="1719" y="61"/>
                  <a:pt x="1719" y="61"/>
                  <a:pt x="1719" y="61"/>
                </a:cubicBezTo>
                <a:cubicBezTo>
                  <a:pt x="1719" y="61"/>
                  <a:pt x="1719" y="61"/>
                  <a:pt x="1719" y="61"/>
                </a:cubicBezTo>
                <a:cubicBezTo>
                  <a:pt x="1719" y="61"/>
                  <a:pt x="1719" y="61"/>
                  <a:pt x="1719" y="61"/>
                </a:cubicBezTo>
                <a:cubicBezTo>
                  <a:pt x="1719" y="61"/>
                  <a:pt x="1718" y="62"/>
                  <a:pt x="1718" y="62"/>
                </a:cubicBezTo>
                <a:cubicBezTo>
                  <a:pt x="1718" y="62"/>
                  <a:pt x="1718" y="62"/>
                  <a:pt x="1718" y="62"/>
                </a:cubicBezTo>
                <a:cubicBezTo>
                  <a:pt x="1718" y="62"/>
                  <a:pt x="1718" y="62"/>
                  <a:pt x="1717" y="62"/>
                </a:cubicBezTo>
                <a:cubicBezTo>
                  <a:pt x="1717" y="62"/>
                  <a:pt x="1717" y="62"/>
                  <a:pt x="1717" y="62"/>
                </a:cubicBezTo>
                <a:cubicBezTo>
                  <a:pt x="1717" y="62"/>
                  <a:pt x="1717" y="63"/>
                  <a:pt x="1716" y="63"/>
                </a:cubicBezTo>
                <a:cubicBezTo>
                  <a:pt x="1716" y="63"/>
                  <a:pt x="1716" y="63"/>
                  <a:pt x="1716" y="63"/>
                </a:cubicBezTo>
                <a:cubicBezTo>
                  <a:pt x="1716" y="63"/>
                  <a:pt x="1716" y="63"/>
                  <a:pt x="1716" y="63"/>
                </a:cubicBezTo>
                <a:cubicBezTo>
                  <a:pt x="1716" y="63"/>
                  <a:pt x="1716" y="63"/>
                  <a:pt x="1716" y="63"/>
                </a:cubicBezTo>
                <a:cubicBezTo>
                  <a:pt x="1716" y="64"/>
                  <a:pt x="1715" y="64"/>
                  <a:pt x="1715" y="64"/>
                </a:cubicBezTo>
                <a:cubicBezTo>
                  <a:pt x="1715" y="64"/>
                  <a:pt x="1715" y="64"/>
                  <a:pt x="1715" y="64"/>
                </a:cubicBezTo>
                <a:cubicBezTo>
                  <a:pt x="1715" y="64"/>
                  <a:pt x="1715" y="64"/>
                  <a:pt x="1715" y="64"/>
                </a:cubicBezTo>
                <a:cubicBezTo>
                  <a:pt x="1715" y="64"/>
                  <a:pt x="1715" y="64"/>
                  <a:pt x="1715" y="64"/>
                </a:cubicBezTo>
                <a:cubicBezTo>
                  <a:pt x="1715" y="64"/>
                  <a:pt x="1714" y="65"/>
                  <a:pt x="1714" y="65"/>
                </a:cubicBezTo>
                <a:cubicBezTo>
                  <a:pt x="1714" y="65"/>
                  <a:pt x="1714" y="65"/>
                  <a:pt x="1714" y="65"/>
                </a:cubicBezTo>
                <a:cubicBezTo>
                  <a:pt x="1714" y="65"/>
                  <a:pt x="1714" y="65"/>
                  <a:pt x="1714" y="65"/>
                </a:cubicBezTo>
                <a:cubicBezTo>
                  <a:pt x="1714" y="65"/>
                  <a:pt x="1714" y="65"/>
                  <a:pt x="1714" y="65"/>
                </a:cubicBezTo>
                <a:cubicBezTo>
                  <a:pt x="1714" y="65"/>
                  <a:pt x="1713" y="65"/>
                  <a:pt x="1713" y="65"/>
                </a:cubicBezTo>
                <a:cubicBezTo>
                  <a:pt x="1713" y="65"/>
                  <a:pt x="1713" y="65"/>
                  <a:pt x="1713" y="65"/>
                </a:cubicBezTo>
                <a:cubicBezTo>
                  <a:pt x="1713" y="65"/>
                  <a:pt x="1713" y="66"/>
                  <a:pt x="1713" y="66"/>
                </a:cubicBezTo>
                <a:cubicBezTo>
                  <a:pt x="1713" y="66"/>
                  <a:pt x="1713" y="66"/>
                  <a:pt x="1713" y="66"/>
                </a:cubicBezTo>
                <a:cubicBezTo>
                  <a:pt x="1713" y="66"/>
                  <a:pt x="1712" y="66"/>
                  <a:pt x="1712" y="66"/>
                </a:cubicBezTo>
                <a:cubicBezTo>
                  <a:pt x="1712" y="66"/>
                  <a:pt x="1712" y="66"/>
                  <a:pt x="1712" y="66"/>
                </a:cubicBezTo>
                <a:cubicBezTo>
                  <a:pt x="1712" y="66"/>
                  <a:pt x="1712" y="67"/>
                  <a:pt x="1712" y="67"/>
                </a:cubicBezTo>
                <a:cubicBezTo>
                  <a:pt x="1712" y="67"/>
                  <a:pt x="1712" y="67"/>
                  <a:pt x="1712" y="67"/>
                </a:cubicBezTo>
                <a:cubicBezTo>
                  <a:pt x="1711" y="67"/>
                  <a:pt x="1711" y="67"/>
                  <a:pt x="1711" y="67"/>
                </a:cubicBezTo>
                <a:cubicBezTo>
                  <a:pt x="1711" y="67"/>
                  <a:pt x="1711" y="67"/>
                  <a:pt x="1711" y="67"/>
                </a:cubicBezTo>
                <a:cubicBezTo>
                  <a:pt x="1711" y="67"/>
                  <a:pt x="1711" y="67"/>
                  <a:pt x="1711" y="67"/>
                </a:cubicBezTo>
                <a:cubicBezTo>
                  <a:pt x="1711" y="67"/>
                  <a:pt x="1711" y="67"/>
                  <a:pt x="1711" y="67"/>
                </a:cubicBezTo>
                <a:cubicBezTo>
                  <a:pt x="1711" y="68"/>
                  <a:pt x="1710" y="68"/>
                  <a:pt x="1710" y="68"/>
                </a:cubicBezTo>
                <a:cubicBezTo>
                  <a:pt x="1710" y="68"/>
                  <a:pt x="1710" y="68"/>
                  <a:pt x="1710" y="68"/>
                </a:cubicBezTo>
                <a:cubicBezTo>
                  <a:pt x="1710" y="68"/>
                  <a:pt x="1710" y="68"/>
                  <a:pt x="1710" y="68"/>
                </a:cubicBezTo>
                <a:cubicBezTo>
                  <a:pt x="1710" y="68"/>
                  <a:pt x="1710" y="68"/>
                  <a:pt x="1710" y="68"/>
                </a:cubicBezTo>
                <a:cubicBezTo>
                  <a:pt x="1710" y="68"/>
                  <a:pt x="1710" y="68"/>
                  <a:pt x="1709" y="68"/>
                </a:cubicBezTo>
                <a:cubicBezTo>
                  <a:pt x="1710" y="68"/>
                  <a:pt x="1710" y="68"/>
                  <a:pt x="1710" y="68"/>
                </a:cubicBezTo>
                <a:cubicBezTo>
                  <a:pt x="1709" y="69"/>
                  <a:pt x="1709" y="69"/>
                  <a:pt x="1709" y="69"/>
                </a:cubicBezTo>
                <a:cubicBezTo>
                  <a:pt x="1709" y="69"/>
                  <a:pt x="1709" y="69"/>
                  <a:pt x="1709" y="69"/>
                </a:cubicBezTo>
                <a:cubicBezTo>
                  <a:pt x="1709" y="69"/>
                  <a:pt x="1709" y="69"/>
                  <a:pt x="1709" y="69"/>
                </a:cubicBezTo>
                <a:cubicBezTo>
                  <a:pt x="1709" y="69"/>
                  <a:pt x="1709" y="69"/>
                  <a:pt x="1709" y="69"/>
                </a:cubicBezTo>
                <a:cubicBezTo>
                  <a:pt x="1708" y="69"/>
                  <a:pt x="1708" y="70"/>
                  <a:pt x="1708" y="70"/>
                </a:cubicBezTo>
                <a:cubicBezTo>
                  <a:pt x="1708" y="70"/>
                  <a:pt x="1708" y="70"/>
                  <a:pt x="1708" y="70"/>
                </a:cubicBezTo>
                <a:cubicBezTo>
                  <a:pt x="1708" y="70"/>
                  <a:pt x="1707" y="70"/>
                  <a:pt x="1707" y="70"/>
                </a:cubicBezTo>
                <a:cubicBezTo>
                  <a:pt x="1707" y="70"/>
                  <a:pt x="1707" y="70"/>
                  <a:pt x="1707" y="70"/>
                </a:cubicBezTo>
                <a:cubicBezTo>
                  <a:pt x="1707" y="70"/>
                  <a:pt x="1707" y="70"/>
                  <a:pt x="1707" y="71"/>
                </a:cubicBezTo>
                <a:cubicBezTo>
                  <a:pt x="1707" y="71"/>
                  <a:pt x="1707" y="71"/>
                  <a:pt x="1707" y="71"/>
                </a:cubicBezTo>
                <a:cubicBezTo>
                  <a:pt x="1707" y="71"/>
                  <a:pt x="1707" y="71"/>
                  <a:pt x="1707" y="71"/>
                </a:cubicBezTo>
                <a:cubicBezTo>
                  <a:pt x="1707" y="71"/>
                  <a:pt x="1707" y="71"/>
                  <a:pt x="1707" y="71"/>
                </a:cubicBezTo>
                <a:cubicBezTo>
                  <a:pt x="1707" y="71"/>
                  <a:pt x="1706" y="71"/>
                  <a:pt x="1706" y="71"/>
                </a:cubicBezTo>
                <a:cubicBezTo>
                  <a:pt x="1706" y="71"/>
                  <a:pt x="1706" y="71"/>
                  <a:pt x="1706" y="71"/>
                </a:cubicBezTo>
                <a:cubicBezTo>
                  <a:pt x="1706" y="71"/>
                  <a:pt x="1706" y="71"/>
                  <a:pt x="1706" y="72"/>
                </a:cubicBezTo>
                <a:cubicBezTo>
                  <a:pt x="1706" y="72"/>
                  <a:pt x="1706" y="72"/>
                  <a:pt x="1706" y="72"/>
                </a:cubicBezTo>
                <a:cubicBezTo>
                  <a:pt x="1706" y="72"/>
                  <a:pt x="1706" y="72"/>
                  <a:pt x="1706" y="72"/>
                </a:cubicBezTo>
                <a:cubicBezTo>
                  <a:pt x="1706" y="72"/>
                  <a:pt x="1706" y="72"/>
                  <a:pt x="1706" y="72"/>
                </a:cubicBezTo>
                <a:cubicBezTo>
                  <a:pt x="1706" y="72"/>
                  <a:pt x="1705" y="72"/>
                  <a:pt x="1705" y="72"/>
                </a:cubicBezTo>
                <a:cubicBezTo>
                  <a:pt x="1705" y="72"/>
                  <a:pt x="1705" y="72"/>
                  <a:pt x="1705" y="72"/>
                </a:cubicBezTo>
                <a:cubicBezTo>
                  <a:pt x="1705" y="72"/>
                  <a:pt x="1705" y="73"/>
                  <a:pt x="1705" y="73"/>
                </a:cubicBezTo>
                <a:cubicBezTo>
                  <a:pt x="1705" y="73"/>
                  <a:pt x="1705" y="73"/>
                  <a:pt x="1705" y="73"/>
                </a:cubicBezTo>
                <a:cubicBezTo>
                  <a:pt x="1705" y="73"/>
                  <a:pt x="1705" y="73"/>
                  <a:pt x="1705" y="73"/>
                </a:cubicBezTo>
                <a:cubicBezTo>
                  <a:pt x="1705" y="73"/>
                  <a:pt x="1705" y="73"/>
                  <a:pt x="1705" y="73"/>
                </a:cubicBezTo>
                <a:cubicBezTo>
                  <a:pt x="1704" y="73"/>
                  <a:pt x="1704" y="73"/>
                  <a:pt x="1704" y="73"/>
                </a:cubicBezTo>
                <a:cubicBezTo>
                  <a:pt x="1704" y="73"/>
                  <a:pt x="1704" y="73"/>
                  <a:pt x="1704" y="73"/>
                </a:cubicBezTo>
                <a:cubicBezTo>
                  <a:pt x="1704" y="73"/>
                  <a:pt x="1704" y="74"/>
                  <a:pt x="1704" y="74"/>
                </a:cubicBezTo>
                <a:cubicBezTo>
                  <a:pt x="1704" y="74"/>
                  <a:pt x="1704" y="74"/>
                  <a:pt x="1704" y="74"/>
                </a:cubicBezTo>
                <a:cubicBezTo>
                  <a:pt x="1704" y="74"/>
                  <a:pt x="1704" y="74"/>
                  <a:pt x="1704" y="74"/>
                </a:cubicBezTo>
                <a:cubicBezTo>
                  <a:pt x="1704" y="74"/>
                  <a:pt x="1704" y="74"/>
                  <a:pt x="1704" y="74"/>
                </a:cubicBezTo>
                <a:cubicBezTo>
                  <a:pt x="1703" y="74"/>
                  <a:pt x="1703" y="74"/>
                  <a:pt x="1703" y="74"/>
                </a:cubicBezTo>
                <a:cubicBezTo>
                  <a:pt x="1703" y="74"/>
                  <a:pt x="1703" y="74"/>
                  <a:pt x="1703" y="74"/>
                </a:cubicBezTo>
                <a:cubicBezTo>
                  <a:pt x="1703" y="74"/>
                  <a:pt x="1703" y="75"/>
                  <a:pt x="1703" y="75"/>
                </a:cubicBezTo>
                <a:cubicBezTo>
                  <a:pt x="1703" y="75"/>
                  <a:pt x="1703" y="75"/>
                  <a:pt x="1703" y="75"/>
                </a:cubicBezTo>
                <a:cubicBezTo>
                  <a:pt x="1703" y="75"/>
                  <a:pt x="1703" y="75"/>
                  <a:pt x="1703" y="75"/>
                </a:cubicBezTo>
                <a:cubicBezTo>
                  <a:pt x="1703" y="75"/>
                  <a:pt x="1703" y="75"/>
                  <a:pt x="1703" y="75"/>
                </a:cubicBezTo>
                <a:cubicBezTo>
                  <a:pt x="1702" y="75"/>
                  <a:pt x="1702" y="76"/>
                  <a:pt x="1702" y="76"/>
                </a:cubicBezTo>
                <a:cubicBezTo>
                  <a:pt x="1702" y="76"/>
                  <a:pt x="1702" y="76"/>
                  <a:pt x="1702" y="76"/>
                </a:cubicBezTo>
                <a:cubicBezTo>
                  <a:pt x="1702" y="76"/>
                  <a:pt x="1702" y="76"/>
                  <a:pt x="1701" y="77"/>
                </a:cubicBezTo>
                <a:cubicBezTo>
                  <a:pt x="1701" y="76"/>
                  <a:pt x="1701" y="76"/>
                  <a:pt x="1701" y="76"/>
                </a:cubicBezTo>
                <a:cubicBezTo>
                  <a:pt x="1701" y="77"/>
                  <a:pt x="1701" y="77"/>
                  <a:pt x="1701" y="77"/>
                </a:cubicBezTo>
                <a:cubicBezTo>
                  <a:pt x="1701" y="77"/>
                  <a:pt x="1701" y="77"/>
                  <a:pt x="1701" y="77"/>
                </a:cubicBezTo>
                <a:cubicBezTo>
                  <a:pt x="1701" y="77"/>
                  <a:pt x="1701" y="77"/>
                  <a:pt x="1701" y="77"/>
                </a:cubicBezTo>
                <a:cubicBezTo>
                  <a:pt x="1701" y="77"/>
                  <a:pt x="1701" y="77"/>
                  <a:pt x="1701" y="77"/>
                </a:cubicBezTo>
                <a:cubicBezTo>
                  <a:pt x="1701" y="78"/>
                  <a:pt x="1700" y="78"/>
                  <a:pt x="1700" y="78"/>
                </a:cubicBezTo>
                <a:cubicBezTo>
                  <a:pt x="1700" y="78"/>
                  <a:pt x="1700" y="78"/>
                  <a:pt x="1700" y="78"/>
                </a:cubicBezTo>
                <a:cubicBezTo>
                  <a:pt x="1700" y="78"/>
                  <a:pt x="1700" y="78"/>
                  <a:pt x="1700" y="79"/>
                </a:cubicBezTo>
                <a:cubicBezTo>
                  <a:pt x="1700" y="79"/>
                  <a:pt x="1700" y="79"/>
                  <a:pt x="1700" y="79"/>
                </a:cubicBezTo>
                <a:cubicBezTo>
                  <a:pt x="1700" y="79"/>
                  <a:pt x="1700" y="79"/>
                  <a:pt x="1700" y="79"/>
                </a:cubicBezTo>
                <a:cubicBezTo>
                  <a:pt x="1700" y="79"/>
                  <a:pt x="1700" y="79"/>
                  <a:pt x="1700" y="79"/>
                </a:cubicBezTo>
                <a:cubicBezTo>
                  <a:pt x="1699" y="79"/>
                  <a:pt x="1700" y="79"/>
                  <a:pt x="1699" y="80"/>
                </a:cubicBezTo>
                <a:cubicBezTo>
                  <a:pt x="1699" y="80"/>
                  <a:pt x="1699" y="80"/>
                  <a:pt x="1699" y="80"/>
                </a:cubicBezTo>
                <a:cubicBezTo>
                  <a:pt x="1699" y="80"/>
                  <a:pt x="1699" y="80"/>
                  <a:pt x="1699" y="80"/>
                </a:cubicBezTo>
                <a:cubicBezTo>
                  <a:pt x="1699" y="80"/>
                  <a:pt x="1699" y="80"/>
                  <a:pt x="1699" y="80"/>
                </a:cubicBezTo>
                <a:cubicBezTo>
                  <a:pt x="1699" y="80"/>
                  <a:pt x="1699" y="80"/>
                  <a:pt x="1699" y="80"/>
                </a:cubicBezTo>
                <a:cubicBezTo>
                  <a:pt x="1699" y="80"/>
                  <a:pt x="1699" y="81"/>
                  <a:pt x="1699" y="81"/>
                </a:cubicBezTo>
                <a:cubicBezTo>
                  <a:pt x="1699" y="81"/>
                  <a:pt x="1699" y="81"/>
                  <a:pt x="1699" y="81"/>
                </a:cubicBezTo>
                <a:cubicBezTo>
                  <a:pt x="1698" y="81"/>
                  <a:pt x="1699" y="81"/>
                  <a:pt x="1698" y="81"/>
                </a:cubicBezTo>
                <a:cubicBezTo>
                  <a:pt x="1698" y="81"/>
                  <a:pt x="1698" y="81"/>
                  <a:pt x="1698" y="81"/>
                </a:cubicBezTo>
                <a:cubicBezTo>
                  <a:pt x="1698" y="82"/>
                  <a:pt x="1698" y="82"/>
                  <a:pt x="1698" y="82"/>
                </a:cubicBezTo>
                <a:cubicBezTo>
                  <a:pt x="1698" y="82"/>
                  <a:pt x="1698" y="82"/>
                  <a:pt x="1698" y="82"/>
                </a:cubicBezTo>
                <a:cubicBezTo>
                  <a:pt x="1698" y="82"/>
                  <a:pt x="1698" y="83"/>
                  <a:pt x="1698" y="83"/>
                </a:cubicBezTo>
                <a:cubicBezTo>
                  <a:pt x="1698" y="83"/>
                  <a:pt x="1698" y="83"/>
                  <a:pt x="1698" y="83"/>
                </a:cubicBezTo>
                <a:cubicBezTo>
                  <a:pt x="1697" y="83"/>
                  <a:pt x="1697" y="84"/>
                  <a:pt x="1697" y="84"/>
                </a:cubicBezTo>
                <a:cubicBezTo>
                  <a:pt x="1697" y="84"/>
                  <a:pt x="1697" y="84"/>
                  <a:pt x="1697" y="84"/>
                </a:cubicBezTo>
                <a:cubicBezTo>
                  <a:pt x="1697" y="84"/>
                  <a:pt x="1697" y="84"/>
                  <a:pt x="1697" y="85"/>
                </a:cubicBezTo>
                <a:cubicBezTo>
                  <a:pt x="1697" y="85"/>
                  <a:pt x="1697" y="85"/>
                  <a:pt x="1697" y="85"/>
                </a:cubicBezTo>
                <a:cubicBezTo>
                  <a:pt x="1697" y="85"/>
                  <a:pt x="1697" y="85"/>
                  <a:pt x="1697" y="86"/>
                </a:cubicBezTo>
                <a:cubicBezTo>
                  <a:pt x="1697" y="86"/>
                  <a:pt x="1697" y="86"/>
                  <a:pt x="1697" y="86"/>
                </a:cubicBezTo>
                <a:cubicBezTo>
                  <a:pt x="1696" y="86"/>
                  <a:pt x="1697" y="87"/>
                  <a:pt x="1696" y="87"/>
                </a:cubicBezTo>
                <a:cubicBezTo>
                  <a:pt x="1696" y="87"/>
                  <a:pt x="1696" y="87"/>
                  <a:pt x="1696" y="87"/>
                </a:cubicBezTo>
                <a:cubicBezTo>
                  <a:pt x="1696" y="88"/>
                  <a:pt x="1696" y="88"/>
                  <a:pt x="1696" y="88"/>
                </a:cubicBezTo>
                <a:cubicBezTo>
                  <a:pt x="1696" y="88"/>
                  <a:pt x="1696" y="89"/>
                  <a:pt x="1696" y="89"/>
                </a:cubicBezTo>
                <a:cubicBezTo>
                  <a:pt x="1695" y="89"/>
                  <a:pt x="1696" y="90"/>
                  <a:pt x="1696" y="90"/>
                </a:cubicBezTo>
                <a:cubicBezTo>
                  <a:pt x="1696" y="91"/>
                  <a:pt x="1696" y="91"/>
                  <a:pt x="1696" y="91"/>
                </a:cubicBezTo>
                <a:cubicBezTo>
                  <a:pt x="1695" y="92"/>
                  <a:pt x="1696" y="93"/>
                  <a:pt x="1695" y="94"/>
                </a:cubicBezTo>
                <a:cubicBezTo>
                  <a:pt x="1695" y="96"/>
                  <a:pt x="1695" y="99"/>
                  <a:pt x="1695" y="101"/>
                </a:cubicBezTo>
                <a:cubicBezTo>
                  <a:pt x="1696" y="102"/>
                  <a:pt x="1696" y="102"/>
                  <a:pt x="1697" y="102"/>
                </a:cubicBezTo>
                <a:cubicBezTo>
                  <a:pt x="1715" y="102"/>
                  <a:pt x="1733" y="102"/>
                  <a:pt x="1752" y="102"/>
                </a:cubicBezTo>
                <a:cubicBezTo>
                  <a:pt x="1752" y="102"/>
                  <a:pt x="1753" y="102"/>
                  <a:pt x="1753" y="101"/>
                </a:cubicBezTo>
                <a:cubicBezTo>
                  <a:pt x="1753" y="101"/>
                  <a:pt x="1753" y="101"/>
                  <a:pt x="1753" y="101"/>
                </a:cubicBezTo>
                <a:cubicBezTo>
                  <a:pt x="1754" y="98"/>
                  <a:pt x="1754" y="95"/>
                  <a:pt x="1753" y="92"/>
                </a:cubicBezTo>
                <a:cubicBezTo>
                  <a:pt x="1753" y="92"/>
                  <a:pt x="1753" y="92"/>
                  <a:pt x="1753" y="92"/>
                </a:cubicBezTo>
                <a:cubicBezTo>
                  <a:pt x="1753" y="91"/>
                  <a:pt x="1752" y="92"/>
                  <a:pt x="1751" y="92"/>
                </a:cubicBezTo>
                <a:cubicBezTo>
                  <a:pt x="1737" y="92"/>
                  <a:pt x="1723" y="92"/>
                  <a:pt x="1709" y="92"/>
                </a:cubicBezTo>
                <a:cubicBezTo>
                  <a:pt x="1708" y="92"/>
                  <a:pt x="1707" y="92"/>
                  <a:pt x="1707" y="91"/>
                </a:cubicBezTo>
                <a:cubicBezTo>
                  <a:pt x="1706" y="91"/>
                  <a:pt x="1707" y="90"/>
                  <a:pt x="1707" y="90"/>
                </a:cubicBezTo>
                <a:cubicBezTo>
                  <a:pt x="1707" y="89"/>
                  <a:pt x="1707" y="88"/>
                  <a:pt x="1707" y="88"/>
                </a:cubicBezTo>
                <a:cubicBezTo>
                  <a:pt x="1707" y="87"/>
                  <a:pt x="1707" y="87"/>
                  <a:pt x="1707" y="87"/>
                </a:cubicBezTo>
                <a:cubicBezTo>
                  <a:pt x="1707" y="87"/>
                  <a:pt x="1707" y="86"/>
                  <a:pt x="1707" y="86"/>
                </a:cubicBezTo>
                <a:cubicBezTo>
                  <a:pt x="1707" y="86"/>
                  <a:pt x="1707" y="86"/>
                  <a:pt x="1707" y="86"/>
                </a:cubicBezTo>
                <a:cubicBezTo>
                  <a:pt x="1708" y="86"/>
                  <a:pt x="1708" y="85"/>
                  <a:pt x="1708" y="85"/>
                </a:cubicBezTo>
                <a:cubicBezTo>
                  <a:pt x="1708" y="85"/>
                  <a:pt x="1708" y="85"/>
                  <a:pt x="1708" y="85"/>
                </a:cubicBezTo>
                <a:cubicBezTo>
                  <a:pt x="1708" y="85"/>
                  <a:pt x="1708" y="85"/>
                  <a:pt x="1708" y="85"/>
                </a:cubicBezTo>
                <a:cubicBezTo>
                  <a:pt x="1708" y="85"/>
                  <a:pt x="1708" y="84"/>
                  <a:pt x="1708" y="84"/>
                </a:cubicBezTo>
                <a:cubicBezTo>
                  <a:pt x="1708" y="84"/>
                  <a:pt x="1708" y="84"/>
                  <a:pt x="1708" y="84"/>
                </a:cubicBezTo>
                <a:cubicBezTo>
                  <a:pt x="1708" y="84"/>
                  <a:pt x="1708" y="84"/>
                  <a:pt x="1708" y="83"/>
                </a:cubicBezTo>
                <a:cubicBezTo>
                  <a:pt x="1708" y="83"/>
                  <a:pt x="1708" y="83"/>
                  <a:pt x="1708" y="83"/>
                </a:cubicBezTo>
                <a:cubicBezTo>
                  <a:pt x="1709" y="83"/>
                  <a:pt x="1709" y="83"/>
                  <a:pt x="1709" y="83"/>
                </a:cubicBezTo>
                <a:cubicBezTo>
                  <a:pt x="1709" y="83"/>
                  <a:pt x="1709" y="83"/>
                  <a:pt x="1709" y="83"/>
                </a:cubicBezTo>
                <a:cubicBezTo>
                  <a:pt x="1709" y="83"/>
                  <a:pt x="1709" y="82"/>
                  <a:pt x="1709" y="82"/>
                </a:cubicBezTo>
                <a:cubicBezTo>
                  <a:pt x="1709" y="82"/>
                  <a:pt x="1709" y="82"/>
                  <a:pt x="1709" y="82"/>
                </a:cubicBezTo>
                <a:cubicBezTo>
                  <a:pt x="1709" y="82"/>
                  <a:pt x="1709" y="82"/>
                  <a:pt x="1709" y="82"/>
                </a:cubicBezTo>
                <a:cubicBezTo>
                  <a:pt x="1709" y="82"/>
                  <a:pt x="1709" y="82"/>
                  <a:pt x="1709" y="82"/>
                </a:cubicBezTo>
                <a:cubicBezTo>
                  <a:pt x="1710" y="82"/>
                  <a:pt x="1710" y="81"/>
                  <a:pt x="1710" y="81"/>
                </a:cubicBezTo>
                <a:cubicBezTo>
                  <a:pt x="1710" y="81"/>
                  <a:pt x="1710" y="81"/>
                  <a:pt x="1710" y="81"/>
                </a:cubicBezTo>
                <a:cubicBezTo>
                  <a:pt x="1710" y="81"/>
                  <a:pt x="1710" y="81"/>
                  <a:pt x="1710" y="81"/>
                </a:cubicBezTo>
                <a:cubicBezTo>
                  <a:pt x="1710" y="81"/>
                  <a:pt x="1710" y="81"/>
                  <a:pt x="1710" y="81"/>
                </a:cubicBezTo>
                <a:cubicBezTo>
                  <a:pt x="1710" y="81"/>
                  <a:pt x="1710" y="80"/>
                  <a:pt x="1710" y="80"/>
                </a:cubicBezTo>
                <a:cubicBezTo>
                  <a:pt x="1710" y="80"/>
                  <a:pt x="1710" y="80"/>
                  <a:pt x="1710" y="80"/>
                </a:cubicBezTo>
                <a:cubicBezTo>
                  <a:pt x="1711" y="80"/>
                  <a:pt x="1711" y="80"/>
                  <a:pt x="1711" y="79"/>
                </a:cubicBezTo>
                <a:cubicBezTo>
                  <a:pt x="1711" y="79"/>
                  <a:pt x="1711" y="79"/>
                  <a:pt x="1711" y="79"/>
                </a:cubicBezTo>
                <a:cubicBezTo>
                  <a:pt x="1711" y="79"/>
                  <a:pt x="1711" y="79"/>
                  <a:pt x="1712" y="79"/>
                </a:cubicBezTo>
                <a:cubicBezTo>
                  <a:pt x="1712" y="79"/>
                  <a:pt x="1712" y="79"/>
                  <a:pt x="1712" y="79"/>
                </a:cubicBezTo>
                <a:cubicBezTo>
                  <a:pt x="1712" y="79"/>
                  <a:pt x="1712" y="79"/>
                  <a:pt x="1712" y="79"/>
                </a:cubicBezTo>
                <a:cubicBezTo>
                  <a:pt x="1712" y="79"/>
                  <a:pt x="1712" y="79"/>
                  <a:pt x="1712" y="79"/>
                </a:cubicBezTo>
                <a:cubicBezTo>
                  <a:pt x="1712" y="78"/>
                  <a:pt x="1712" y="78"/>
                  <a:pt x="1712" y="78"/>
                </a:cubicBezTo>
                <a:cubicBezTo>
                  <a:pt x="1712" y="78"/>
                  <a:pt x="1712" y="78"/>
                  <a:pt x="1712" y="78"/>
                </a:cubicBezTo>
                <a:cubicBezTo>
                  <a:pt x="1712" y="78"/>
                  <a:pt x="1712" y="78"/>
                  <a:pt x="1713" y="78"/>
                </a:cubicBezTo>
                <a:cubicBezTo>
                  <a:pt x="1713" y="78"/>
                  <a:pt x="1713" y="78"/>
                  <a:pt x="1713" y="78"/>
                </a:cubicBezTo>
                <a:cubicBezTo>
                  <a:pt x="1713" y="78"/>
                  <a:pt x="1713" y="78"/>
                  <a:pt x="1713" y="77"/>
                </a:cubicBezTo>
                <a:cubicBezTo>
                  <a:pt x="1713" y="77"/>
                  <a:pt x="1713" y="77"/>
                  <a:pt x="1713" y="77"/>
                </a:cubicBezTo>
                <a:cubicBezTo>
                  <a:pt x="1713" y="77"/>
                  <a:pt x="1713" y="77"/>
                  <a:pt x="1713" y="77"/>
                </a:cubicBezTo>
                <a:cubicBezTo>
                  <a:pt x="1713" y="77"/>
                  <a:pt x="1713" y="77"/>
                  <a:pt x="1713" y="77"/>
                </a:cubicBezTo>
                <a:cubicBezTo>
                  <a:pt x="1713" y="77"/>
                  <a:pt x="1714" y="77"/>
                  <a:pt x="1714" y="77"/>
                </a:cubicBezTo>
                <a:cubicBezTo>
                  <a:pt x="1714" y="77"/>
                  <a:pt x="1714" y="77"/>
                  <a:pt x="1714" y="77"/>
                </a:cubicBezTo>
                <a:cubicBezTo>
                  <a:pt x="1714" y="77"/>
                  <a:pt x="1714" y="77"/>
                  <a:pt x="1714" y="76"/>
                </a:cubicBezTo>
                <a:cubicBezTo>
                  <a:pt x="1714" y="76"/>
                  <a:pt x="1714" y="76"/>
                  <a:pt x="1714" y="76"/>
                </a:cubicBezTo>
                <a:cubicBezTo>
                  <a:pt x="1714" y="76"/>
                  <a:pt x="1714" y="76"/>
                  <a:pt x="1714" y="76"/>
                </a:cubicBezTo>
                <a:cubicBezTo>
                  <a:pt x="1714" y="76"/>
                  <a:pt x="1714" y="76"/>
                  <a:pt x="1714" y="76"/>
                </a:cubicBezTo>
                <a:cubicBezTo>
                  <a:pt x="1715" y="76"/>
                  <a:pt x="1715" y="75"/>
                  <a:pt x="1716" y="75"/>
                </a:cubicBezTo>
                <a:cubicBezTo>
                  <a:pt x="1716" y="75"/>
                  <a:pt x="1716" y="75"/>
                  <a:pt x="1716" y="75"/>
                </a:cubicBezTo>
                <a:cubicBezTo>
                  <a:pt x="1716" y="75"/>
                  <a:pt x="1716" y="75"/>
                  <a:pt x="1716" y="75"/>
                </a:cubicBezTo>
                <a:cubicBezTo>
                  <a:pt x="1716" y="75"/>
                  <a:pt x="1716" y="75"/>
                  <a:pt x="1716" y="75"/>
                </a:cubicBezTo>
                <a:cubicBezTo>
                  <a:pt x="1716" y="75"/>
                  <a:pt x="1716" y="74"/>
                  <a:pt x="1716" y="74"/>
                </a:cubicBezTo>
                <a:cubicBezTo>
                  <a:pt x="1716" y="74"/>
                  <a:pt x="1716" y="74"/>
                  <a:pt x="1716" y="74"/>
                </a:cubicBezTo>
                <a:cubicBezTo>
                  <a:pt x="1717" y="74"/>
                  <a:pt x="1717" y="74"/>
                  <a:pt x="1717" y="74"/>
                </a:cubicBezTo>
                <a:cubicBezTo>
                  <a:pt x="1717" y="74"/>
                  <a:pt x="1717" y="74"/>
                  <a:pt x="1717" y="74"/>
                </a:cubicBezTo>
                <a:cubicBezTo>
                  <a:pt x="1717" y="74"/>
                  <a:pt x="1717" y="74"/>
                  <a:pt x="1717" y="74"/>
                </a:cubicBezTo>
                <a:cubicBezTo>
                  <a:pt x="1717" y="74"/>
                  <a:pt x="1717" y="74"/>
                  <a:pt x="1717" y="74"/>
                </a:cubicBezTo>
                <a:cubicBezTo>
                  <a:pt x="1718" y="74"/>
                  <a:pt x="1718" y="73"/>
                  <a:pt x="1718" y="73"/>
                </a:cubicBezTo>
                <a:cubicBezTo>
                  <a:pt x="1718" y="73"/>
                  <a:pt x="1718" y="73"/>
                  <a:pt x="1718" y="73"/>
                </a:cubicBezTo>
                <a:cubicBezTo>
                  <a:pt x="1718" y="73"/>
                  <a:pt x="1718" y="73"/>
                  <a:pt x="1718" y="73"/>
                </a:cubicBezTo>
                <a:cubicBezTo>
                  <a:pt x="1718" y="73"/>
                  <a:pt x="1718" y="73"/>
                  <a:pt x="1718" y="73"/>
                </a:cubicBezTo>
                <a:cubicBezTo>
                  <a:pt x="1718" y="73"/>
                  <a:pt x="1719" y="73"/>
                  <a:pt x="1719" y="72"/>
                </a:cubicBezTo>
                <a:cubicBezTo>
                  <a:pt x="1719" y="72"/>
                  <a:pt x="1719" y="72"/>
                  <a:pt x="1719" y="72"/>
                </a:cubicBezTo>
                <a:cubicBezTo>
                  <a:pt x="1719" y="72"/>
                  <a:pt x="1719" y="72"/>
                  <a:pt x="1720" y="72"/>
                </a:cubicBezTo>
                <a:cubicBezTo>
                  <a:pt x="1720" y="72"/>
                  <a:pt x="1720" y="72"/>
                  <a:pt x="1720" y="72"/>
                </a:cubicBezTo>
                <a:cubicBezTo>
                  <a:pt x="1720" y="72"/>
                  <a:pt x="1720" y="72"/>
                  <a:pt x="1720" y="72"/>
                </a:cubicBezTo>
                <a:cubicBezTo>
                  <a:pt x="1720" y="72"/>
                  <a:pt x="1720" y="72"/>
                  <a:pt x="1720" y="72"/>
                </a:cubicBezTo>
                <a:cubicBezTo>
                  <a:pt x="1720" y="71"/>
                  <a:pt x="1720" y="71"/>
                  <a:pt x="1721" y="71"/>
                </a:cubicBezTo>
                <a:cubicBezTo>
                  <a:pt x="1720" y="71"/>
                  <a:pt x="1720" y="71"/>
                  <a:pt x="1720" y="71"/>
                </a:cubicBezTo>
                <a:cubicBezTo>
                  <a:pt x="1721" y="71"/>
                  <a:pt x="1721" y="71"/>
                  <a:pt x="1721" y="71"/>
                </a:cubicBezTo>
                <a:cubicBezTo>
                  <a:pt x="1721" y="71"/>
                  <a:pt x="1721" y="71"/>
                  <a:pt x="1721" y="71"/>
                </a:cubicBezTo>
                <a:cubicBezTo>
                  <a:pt x="1721" y="71"/>
                  <a:pt x="1721" y="71"/>
                  <a:pt x="1721" y="71"/>
                </a:cubicBezTo>
                <a:cubicBezTo>
                  <a:pt x="1721" y="71"/>
                  <a:pt x="1721" y="71"/>
                  <a:pt x="1721" y="71"/>
                </a:cubicBezTo>
                <a:cubicBezTo>
                  <a:pt x="1721" y="70"/>
                  <a:pt x="1722" y="70"/>
                  <a:pt x="1722" y="70"/>
                </a:cubicBezTo>
                <a:cubicBezTo>
                  <a:pt x="1722" y="70"/>
                  <a:pt x="1722" y="70"/>
                  <a:pt x="1722" y="70"/>
                </a:cubicBezTo>
                <a:cubicBezTo>
                  <a:pt x="1722" y="70"/>
                  <a:pt x="1722" y="70"/>
                  <a:pt x="1722" y="70"/>
                </a:cubicBezTo>
                <a:cubicBezTo>
                  <a:pt x="1722" y="70"/>
                  <a:pt x="1722" y="70"/>
                  <a:pt x="1722" y="70"/>
                </a:cubicBezTo>
                <a:cubicBezTo>
                  <a:pt x="1722" y="70"/>
                  <a:pt x="1723" y="70"/>
                  <a:pt x="1723" y="70"/>
                </a:cubicBezTo>
                <a:cubicBezTo>
                  <a:pt x="1723" y="70"/>
                  <a:pt x="1723" y="70"/>
                  <a:pt x="1723" y="70"/>
                </a:cubicBezTo>
                <a:cubicBezTo>
                  <a:pt x="1723" y="69"/>
                  <a:pt x="1723" y="69"/>
                  <a:pt x="1723" y="69"/>
                </a:cubicBezTo>
                <a:cubicBezTo>
                  <a:pt x="1723" y="69"/>
                  <a:pt x="1723" y="69"/>
                  <a:pt x="1723" y="69"/>
                </a:cubicBezTo>
                <a:cubicBezTo>
                  <a:pt x="1723" y="69"/>
                  <a:pt x="1724" y="69"/>
                  <a:pt x="1724" y="69"/>
                </a:cubicBezTo>
                <a:cubicBezTo>
                  <a:pt x="1724" y="69"/>
                  <a:pt x="1724" y="69"/>
                  <a:pt x="1724" y="69"/>
                </a:cubicBezTo>
                <a:cubicBezTo>
                  <a:pt x="1724" y="69"/>
                  <a:pt x="1724" y="69"/>
                  <a:pt x="1724" y="68"/>
                </a:cubicBezTo>
                <a:cubicBezTo>
                  <a:pt x="1724" y="68"/>
                  <a:pt x="1724" y="68"/>
                  <a:pt x="1724" y="68"/>
                </a:cubicBezTo>
                <a:cubicBezTo>
                  <a:pt x="1724" y="68"/>
                  <a:pt x="1725" y="68"/>
                  <a:pt x="1725" y="68"/>
                </a:cubicBezTo>
                <a:cubicBezTo>
                  <a:pt x="1725" y="68"/>
                  <a:pt x="1725" y="68"/>
                  <a:pt x="1725" y="68"/>
                </a:cubicBezTo>
                <a:cubicBezTo>
                  <a:pt x="1725" y="68"/>
                  <a:pt x="1725" y="68"/>
                  <a:pt x="1725" y="68"/>
                </a:cubicBezTo>
                <a:cubicBezTo>
                  <a:pt x="1725" y="68"/>
                  <a:pt x="1725" y="68"/>
                  <a:pt x="1725" y="68"/>
                </a:cubicBezTo>
                <a:cubicBezTo>
                  <a:pt x="1725" y="68"/>
                  <a:pt x="1726" y="68"/>
                  <a:pt x="1726" y="67"/>
                </a:cubicBezTo>
                <a:cubicBezTo>
                  <a:pt x="1726" y="67"/>
                  <a:pt x="1726" y="67"/>
                  <a:pt x="1726" y="67"/>
                </a:cubicBezTo>
                <a:cubicBezTo>
                  <a:pt x="1726" y="67"/>
                  <a:pt x="1726" y="67"/>
                  <a:pt x="1726" y="67"/>
                </a:cubicBezTo>
                <a:cubicBezTo>
                  <a:pt x="1726" y="67"/>
                  <a:pt x="1726" y="67"/>
                  <a:pt x="1726" y="67"/>
                </a:cubicBezTo>
                <a:cubicBezTo>
                  <a:pt x="1726" y="67"/>
                  <a:pt x="1726" y="67"/>
                  <a:pt x="1727" y="67"/>
                </a:cubicBezTo>
                <a:cubicBezTo>
                  <a:pt x="1727" y="67"/>
                  <a:pt x="1727" y="67"/>
                  <a:pt x="1727" y="67"/>
                </a:cubicBezTo>
                <a:cubicBezTo>
                  <a:pt x="1727" y="66"/>
                  <a:pt x="1727" y="67"/>
                  <a:pt x="1727" y="66"/>
                </a:cubicBezTo>
                <a:cubicBezTo>
                  <a:pt x="1727" y="66"/>
                  <a:pt x="1727" y="66"/>
                  <a:pt x="1727" y="66"/>
                </a:cubicBezTo>
                <a:cubicBezTo>
                  <a:pt x="1727" y="66"/>
                  <a:pt x="1727" y="66"/>
                  <a:pt x="1728" y="66"/>
                </a:cubicBezTo>
                <a:cubicBezTo>
                  <a:pt x="1728" y="66"/>
                  <a:pt x="1728" y="66"/>
                  <a:pt x="1728" y="66"/>
                </a:cubicBezTo>
                <a:cubicBezTo>
                  <a:pt x="1728" y="66"/>
                  <a:pt x="1728" y="66"/>
                  <a:pt x="1729" y="65"/>
                </a:cubicBezTo>
                <a:cubicBezTo>
                  <a:pt x="1729" y="65"/>
                  <a:pt x="1729" y="65"/>
                  <a:pt x="1729" y="65"/>
                </a:cubicBezTo>
                <a:cubicBezTo>
                  <a:pt x="1729" y="65"/>
                  <a:pt x="1729" y="65"/>
                  <a:pt x="1729" y="65"/>
                </a:cubicBezTo>
                <a:cubicBezTo>
                  <a:pt x="1729" y="65"/>
                  <a:pt x="1729" y="65"/>
                  <a:pt x="1729" y="65"/>
                </a:cubicBezTo>
                <a:cubicBezTo>
                  <a:pt x="1729" y="65"/>
                  <a:pt x="1729" y="65"/>
                  <a:pt x="1730" y="65"/>
                </a:cubicBezTo>
                <a:cubicBezTo>
                  <a:pt x="1730" y="65"/>
                  <a:pt x="1730" y="65"/>
                  <a:pt x="1730" y="65"/>
                </a:cubicBezTo>
                <a:cubicBezTo>
                  <a:pt x="1730" y="65"/>
                  <a:pt x="1730" y="64"/>
                  <a:pt x="1730" y="64"/>
                </a:cubicBezTo>
                <a:cubicBezTo>
                  <a:pt x="1730" y="64"/>
                  <a:pt x="1730" y="64"/>
                  <a:pt x="1730" y="64"/>
                </a:cubicBezTo>
                <a:cubicBezTo>
                  <a:pt x="1730" y="64"/>
                  <a:pt x="1730" y="64"/>
                  <a:pt x="1730" y="64"/>
                </a:cubicBezTo>
                <a:cubicBezTo>
                  <a:pt x="1730" y="64"/>
                  <a:pt x="1730" y="64"/>
                  <a:pt x="1730" y="64"/>
                </a:cubicBezTo>
                <a:cubicBezTo>
                  <a:pt x="1731" y="64"/>
                  <a:pt x="1731" y="64"/>
                  <a:pt x="1731" y="63"/>
                </a:cubicBezTo>
                <a:cubicBezTo>
                  <a:pt x="1731" y="64"/>
                  <a:pt x="1731" y="64"/>
                  <a:pt x="1731" y="64"/>
                </a:cubicBezTo>
                <a:cubicBezTo>
                  <a:pt x="1731" y="63"/>
                  <a:pt x="1731" y="63"/>
                  <a:pt x="1731" y="63"/>
                </a:cubicBezTo>
                <a:cubicBezTo>
                  <a:pt x="1731" y="63"/>
                  <a:pt x="1731" y="63"/>
                  <a:pt x="1731" y="63"/>
                </a:cubicBezTo>
                <a:cubicBezTo>
                  <a:pt x="1731" y="63"/>
                  <a:pt x="1732" y="63"/>
                  <a:pt x="1732" y="63"/>
                </a:cubicBezTo>
                <a:cubicBezTo>
                  <a:pt x="1732" y="63"/>
                  <a:pt x="1732" y="63"/>
                  <a:pt x="1732" y="63"/>
                </a:cubicBezTo>
                <a:cubicBezTo>
                  <a:pt x="1732" y="63"/>
                  <a:pt x="1732" y="63"/>
                  <a:pt x="1732" y="62"/>
                </a:cubicBezTo>
                <a:cubicBezTo>
                  <a:pt x="1732" y="62"/>
                  <a:pt x="1732" y="62"/>
                  <a:pt x="1732" y="62"/>
                </a:cubicBezTo>
                <a:cubicBezTo>
                  <a:pt x="1733" y="62"/>
                  <a:pt x="1733" y="62"/>
                  <a:pt x="1733" y="62"/>
                </a:cubicBezTo>
                <a:cubicBezTo>
                  <a:pt x="1733" y="62"/>
                  <a:pt x="1733" y="62"/>
                  <a:pt x="1733" y="62"/>
                </a:cubicBezTo>
                <a:cubicBezTo>
                  <a:pt x="1733" y="62"/>
                  <a:pt x="1733" y="62"/>
                  <a:pt x="1733" y="62"/>
                </a:cubicBezTo>
                <a:cubicBezTo>
                  <a:pt x="1733" y="62"/>
                  <a:pt x="1733" y="62"/>
                  <a:pt x="1733" y="62"/>
                </a:cubicBezTo>
                <a:cubicBezTo>
                  <a:pt x="1733" y="62"/>
                  <a:pt x="1734" y="61"/>
                  <a:pt x="1734" y="61"/>
                </a:cubicBezTo>
                <a:cubicBezTo>
                  <a:pt x="1734" y="61"/>
                  <a:pt x="1734" y="61"/>
                  <a:pt x="1734" y="61"/>
                </a:cubicBezTo>
                <a:cubicBezTo>
                  <a:pt x="1734" y="61"/>
                  <a:pt x="1734" y="61"/>
                  <a:pt x="1734" y="61"/>
                </a:cubicBezTo>
                <a:cubicBezTo>
                  <a:pt x="1734" y="61"/>
                  <a:pt x="1734" y="61"/>
                  <a:pt x="1734" y="61"/>
                </a:cubicBezTo>
                <a:cubicBezTo>
                  <a:pt x="1735" y="61"/>
                  <a:pt x="1735" y="61"/>
                  <a:pt x="1735" y="60"/>
                </a:cubicBezTo>
                <a:cubicBezTo>
                  <a:pt x="1735" y="60"/>
                  <a:pt x="1735" y="60"/>
                  <a:pt x="1735" y="60"/>
                </a:cubicBezTo>
                <a:cubicBezTo>
                  <a:pt x="1735" y="60"/>
                  <a:pt x="1735" y="60"/>
                  <a:pt x="1735" y="60"/>
                </a:cubicBezTo>
                <a:cubicBezTo>
                  <a:pt x="1735" y="60"/>
                  <a:pt x="1735" y="60"/>
                  <a:pt x="1735" y="60"/>
                </a:cubicBezTo>
                <a:cubicBezTo>
                  <a:pt x="1735" y="60"/>
                  <a:pt x="1735" y="60"/>
                  <a:pt x="1736" y="60"/>
                </a:cubicBezTo>
                <a:cubicBezTo>
                  <a:pt x="1736" y="60"/>
                  <a:pt x="1736" y="60"/>
                  <a:pt x="1736" y="60"/>
                </a:cubicBezTo>
                <a:cubicBezTo>
                  <a:pt x="1736" y="59"/>
                  <a:pt x="1736" y="59"/>
                  <a:pt x="1737" y="59"/>
                </a:cubicBezTo>
                <a:cubicBezTo>
                  <a:pt x="1736" y="59"/>
                  <a:pt x="1736" y="59"/>
                  <a:pt x="1736" y="59"/>
                </a:cubicBezTo>
                <a:cubicBezTo>
                  <a:pt x="1737" y="59"/>
                  <a:pt x="1737" y="59"/>
                  <a:pt x="1737" y="59"/>
                </a:cubicBezTo>
                <a:cubicBezTo>
                  <a:pt x="1737" y="59"/>
                  <a:pt x="1737" y="59"/>
                  <a:pt x="1737" y="59"/>
                </a:cubicBezTo>
                <a:cubicBezTo>
                  <a:pt x="1737" y="59"/>
                  <a:pt x="1737" y="58"/>
                  <a:pt x="1737" y="58"/>
                </a:cubicBezTo>
                <a:cubicBezTo>
                  <a:pt x="1737" y="58"/>
                  <a:pt x="1737" y="58"/>
                  <a:pt x="1737" y="58"/>
                </a:cubicBezTo>
                <a:cubicBezTo>
                  <a:pt x="1737" y="58"/>
                  <a:pt x="1738" y="58"/>
                  <a:pt x="1738" y="58"/>
                </a:cubicBezTo>
                <a:cubicBezTo>
                  <a:pt x="1738" y="58"/>
                  <a:pt x="1738" y="58"/>
                  <a:pt x="1738" y="58"/>
                </a:cubicBezTo>
                <a:cubicBezTo>
                  <a:pt x="1738" y="58"/>
                  <a:pt x="1738" y="58"/>
                  <a:pt x="1738" y="58"/>
                </a:cubicBezTo>
                <a:cubicBezTo>
                  <a:pt x="1738" y="58"/>
                  <a:pt x="1738" y="58"/>
                  <a:pt x="1738" y="58"/>
                </a:cubicBezTo>
                <a:cubicBezTo>
                  <a:pt x="1738" y="58"/>
                  <a:pt x="1738" y="57"/>
                  <a:pt x="1738" y="57"/>
                </a:cubicBezTo>
                <a:cubicBezTo>
                  <a:pt x="1738" y="57"/>
                  <a:pt x="1738" y="57"/>
                  <a:pt x="1738" y="57"/>
                </a:cubicBezTo>
                <a:cubicBezTo>
                  <a:pt x="1738" y="57"/>
                  <a:pt x="1739" y="57"/>
                  <a:pt x="1739" y="57"/>
                </a:cubicBezTo>
                <a:cubicBezTo>
                  <a:pt x="1739" y="57"/>
                  <a:pt x="1739" y="57"/>
                  <a:pt x="1739" y="57"/>
                </a:cubicBezTo>
                <a:cubicBezTo>
                  <a:pt x="1739" y="57"/>
                  <a:pt x="1739" y="57"/>
                  <a:pt x="1739" y="57"/>
                </a:cubicBezTo>
                <a:cubicBezTo>
                  <a:pt x="1739" y="57"/>
                  <a:pt x="1739" y="57"/>
                  <a:pt x="1739" y="57"/>
                </a:cubicBezTo>
                <a:cubicBezTo>
                  <a:pt x="1739" y="56"/>
                  <a:pt x="1739" y="56"/>
                  <a:pt x="1739" y="56"/>
                </a:cubicBezTo>
                <a:cubicBezTo>
                  <a:pt x="1739" y="56"/>
                  <a:pt x="1739" y="56"/>
                  <a:pt x="1739" y="56"/>
                </a:cubicBezTo>
                <a:cubicBezTo>
                  <a:pt x="1740" y="56"/>
                  <a:pt x="1740" y="56"/>
                  <a:pt x="1740" y="56"/>
                </a:cubicBezTo>
                <a:cubicBezTo>
                  <a:pt x="1740" y="56"/>
                  <a:pt x="1740" y="56"/>
                  <a:pt x="1740" y="56"/>
                </a:cubicBezTo>
                <a:cubicBezTo>
                  <a:pt x="1740" y="56"/>
                  <a:pt x="1740" y="56"/>
                  <a:pt x="1740" y="56"/>
                </a:cubicBezTo>
                <a:cubicBezTo>
                  <a:pt x="1740" y="56"/>
                  <a:pt x="1740" y="56"/>
                  <a:pt x="1740" y="56"/>
                </a:cubicBezTo>
                <a:cubicBezTo>
                  <a:pt x="1740" y="55"/>
                  <a:pt x="1740" y="55"/>
                  <a:pt x="1740" y="55"/>
                </a:cubicBezTo>
                <a:cubicBezTo>
                  <a:pt x="1740" y="55"/>
                  <a:pt x="1740" y="55"/>
                  <a:pt x="1740" y="55"/>
                </a:cubicBezTo>
                <a:cubicBezTo>
                  <a:pt x="1741" y="55"/>
                  <a:pt x="1741" y="55"/>
                  <a:pt x="1741" y="55"/>
                </a:cubicBezTo>
                <a:cubicBezTo>
                  <a:pt x="1741" y="55"/>
                  <a:pt x="1741" y="55"/>
                  <a:pt x="1741" y="55"/>
                </a:cubicBezTo>
                <a:cubicBezTo>
                  <a:pt x="1741" y="55"/>
                  <a:pt x="1741" y="55"/>
                  <a:pt x="1741" y="54"/>
                </a:cubicBezTo>
                <a:cubicBezTo>
                  <a:pt x="1741" y="54"/>
                  <a:pt x="1741" y="54"/>
                  <a:pt x="1741" y="54"/>
                </a:cubicBezTo>
                <a:cubicBezTo>
                  <a:pt x="1741" y="54"/>
                  <a:pt x="1741" y="54"/>
                  <a:pt x="1741" y="54"/>
                </a:cubicBezTo>
                <a:cubicBezTo>
                  <a:pt x="1741" y="54"/>
                  <a:pt x="1741" y="54"/>
                  <a:pt x="1741" y="54"/>
                </a:cubicBezTo>
                <a:cubicBezTo>
                  <a:pt x="1742" y="54"/>
                  <a:pt x="1742" y="53"/>
                  <a:pt x="1742" y="53"/>
                </a:cubicBezTo>
                <a:cubicBezTo>
                  <a:pt x="1742" y="53"/>
                  <a:pt x="1742" y="53"/>
                  <a:pt x="1742" y="53"/>
                </a:cubicBezTo>
                <a:cubicBezTo>
                  <a:pt x="1742" y="53"/>
                  <a:pt x="1742" y="53"/>
                  <a:pt x="1743" y="53"/>
                </a:cubicBezTo>
                <a:cubicBezTo>
                  <a:pt x="1742" y="53"/>
                  <a:pt x="1742" y="53"/>
                  <a:pt x="1742" y="53"/>
                </a:cubicBezTo>
                <a:cubicBezTo>
                  <a:pt x="1743" y="53"/>
                  <a:pt x="1743" y="53"/>
                  <a:pt x="1743" y="52"/>
                </a:cubicBezTo>
                <a:cubicBezTo>
                  <a:pt x="1743" y="52"/>
                  <a:pt x="1743" y="52"/>
                  <a:pt x="1743" y="52"/>
                </a:cubicBezTo>
                <a:cubicBezTo>
                  <a:pt x="1743" y="52"/>
                  <a:pt x="1743" y="52"/>
                  <a:pt x="1743" y="52"/>
                </a:cubicBezTo>
                <a:cubicBezTo>
                  <a:pt x="1743" y="52"/>
                  <a:pt x="1743" y="52"/>
                  <a:pt x="1743" y="52"/>
                </a:cubicBezTo>
                <a:cubicBezTo>
                  <a:pt x="1743" y="52"/>
                  <a:pt x="1743" y="52"/>
                  <a:pt x="1744" y="51"/>
                </a:cubicBezTo>
                <a:cubicBezTo>
                  <a:pt x="1744" y="51"/>
                  <a:pt x="1744" y="51"/>
                  <a:pt x="1744" y="51"/>
                </a:cubicBezTo>
                <a:cubicBezTo>
                  <a:pt x="1744" y="51"/>
                  <a:pt x="1744" y="51"/>
                  <a:pt x="1744" y="51"/>
                </a:cubicBezTo>
                <a:cubicBezTo>
                  <a:pt x="1744" y="51"/>
                  <a:pt x="1744" y="51"/>
                  <a:pt x="1744" y="51"/>
                </a:cubicBezTo>
                <a:cubicBezTo>
                  <a:pt x="1744" y="51"/>
                  <a:pt x="1744" y="51"/>
                  <a:pt x="1744" y="50"/>
                </a:cubicBezTo>
                <a:cubicBezTo>
                  <a:pt x="1744" y="50"/>
                  <a:pt x="1744" y="50"/>
                  <a:pt x="1744" y="50"/>
                </a:cubicBezTo>
                <a:cubicBezTo>
                  <a:pt x="1744" y="50"/>
                  <a:pt x="1745" y="50"/>
                  <a:pt x="1745" y="50"/>
                </a:cubicBezTo>
                <a:cubicBezTo>
                  <a:pt x="1745" y="50"/>
                  <a:pt x="1745" y="50"/>
                  <a:pt x="1745" y="50"/>
                </a:cubicBezTo>
                <a:cubicBezTo>
                  <a:pt x="1745" y="50"/>
                  <a:pt x="1745" y="49"/>
                  <a:pt x="1745" y="49"/>
                </a:cubicBezTo>
                <a:cubicBezTo>
                  <a:pt x="1745" y="49"/>
                  <a:pt x="1745" y="49"/>
                  <a:pt x="1745" y="49"/>
                </a:cubicBezTo>
                <a:cubicBezTo>
                  <a:pt x="1745" y="49"/>
                  <a:pt x="1745" y="49"/>
                  <a:pt x="1745" y="49"/>
                </a:cubicBezTo>
                <a:cubicBezTo>
                  <a:pt x="1745" y="49"/>
                  <a:pt x="1745" y="49"/>
                  <a:pt x="1745" y="49"/>
                </a:cubicBezTo>
                <a:cubicBezTo>
                  <a:pt x="1746" y="49"/>
                  <a:pt x="1745" y="48"/>
                  <a:pt x="1746" y="48"/>
                </a:cubicBezTo>
                <a:cubicBezTo>
                  <a:pt x="1746" y="48"/>
                  <a:pt x="1746" y="48"/>
                  <a:pt x="1746" y="48"/>
                </a:cubicBezTo>
                <a:cubicBezTo>
                  <a:pt x="1746" y="48"/>
                  <a:pt x="1746" y="48"/>
                  <a:pt x="1746" y="48"/>
                </a:cubicBezTo>
                <a:cubicBezTo>
                  <a:pt x="1746" y="48"/>
                  <a:pt x="1746" y="48"/>
                  <a:pt x="1746" y="48"/>
                </a:cubicBezTo>
                <a:cubicBezTo>
                  <a:pt x="1746" y="47"/>
                  <a:pt x="1746" y="47"/>
                  <a:pt x="1746" y="47"/>
                </a:cubicBezTo>
                <a:cubicBezTo>
                  <a:pt x="1746" y="47"/>
                  <a:pt x="1746" y="47"/>
                  <a:pt x="1746" y="47"/>
                </a:cubicBezTo>
                <a:cubicBezTo>
                  <a:pt x="1747" y="47"/>
                  <a:pt x="1746" y="46"/>
                  <a:pt x="1747" y="46"/>
                </a:cubicBezTo>
                <a:cubicBezTo>
                  <a:pt x="1747" y="46"/>
                  <a:pt x="1747" y="46"/>
                  <a:pt x="1747" y="46"/>
                </a:cubicBezTo>
                <a:cubicBezTo>
                  <a:pt x="1747" y="46"/>
                  <a:pt x="1747" y="46"/>
                  <a:pt x="1747" y="45"/>
                </a:cubicBezTo>
                <a:cubicBezTo>
                  <a:pt x="1747" y="45"/>
                  <a:pt x="1747" y="45"/>
                  <a:pt x="1747" y="45"/>
                </a:cubicBezTo>
                <a:cubicBezTo>
                  <a:pt x="1747" y="45"/>
                  <a:pt x="1747" y="45"/>
                  <a:pt x="1747" y="45"/>
                </a:cubicBezTo>
                <a:cubicBezTo>
                  <a:pt x="1747" y="45"/>
                  <a:pt x="1747" y="44"/>
                  <a:pt x="1747" y="44"/>
                </a:cubicBezTo>
                <a:cubicBezTo>
                  <a:pt x="1748" y="44"/>
                  <a:pt x="1748" y="44"/>
                  <a:pt x="1748" y="44"/>
                </a:cubicBezTo>
                <a:cubicBezTo>
                  <a:pt x="1748" y="44"/>
                  <a:pt x="1748" y="44"/>
                  <a:pt x="1748" y="44"/>
                </a:cubicBezTo>
                <a:cubicBezTo>
                  <a:pt x="1748" y="43"/>
                  <a:pt x="1748" y="43"/>
                  <a:pt x="1748" y="43"/>
                </a:cubicBezTo>
                <a:cubicBezTo>
                  <a:pt x="1748" y="43"/>
                  <a:pt x="1748" y="43"/>
                  <a:pt x="1748" y="43"/>
                </a:cubicBezTo>
                <a:cubicBezTo>
                  <a:pt x="1748" y="42"/>
                  <a:pt x="1748" y="42"/>
                  <a:pt x="1748" y="42"/>
                </a:cubicBezTo>
                <a:cubicBezTo>
                  <a:pt x="1748" y="42"/>
                  <a:pt x="1748" y="42"/>
                  <a:pt x="1748" y="42"/>
                </a:cubicBezTo>
                <a:cubicBezTo>
                  <a:pt x="1749" y="41"/>
                  <a:pt x="1749" y="41"/>
                  <a:pt x="1749" y="40"/>
                </a:cubicBezTo>
                <a:cubicBezTo>
                  <a:pt x="1749" y="40"/>
                  <a:pt x="1749" y="40"/>
                  <a:pt x="1749" y="40"/>
                </a:cubicBezTo>
                <a:cubicBezTo>
                  <a:pt x="1749" y="40"/>
                  <a:pt x="1749" y="40"/>
                  <a:pt x="1749" y="40"/>
                </a:cubicBezTo>
                <a:cubicBezTo>
                  <a:pt x="1749" y="40"/>
                  <a:pt x="1749" y="39"/>
                  <a:pt x="1749" y="39"/>
                </a:cubicBezTo>
                <a:cubicBezTo>
                  <a:pt x="1749" y="39"/>
                  <a:pt x="1749" y="39"/>
                  <a:pt x="1749" y="39"/>
                </a:cubicBezTo>
                <a:cubicBezTo>
                  <a:pt x="1749" y="38"/>
                  <a:pt x="1749" y="37"/>
                  <a:pt x="1749" y="37"/>
                </a:cubicBezTo>
                <a:close/>
                <a:moveTo>
                  <a:pt x="1386" y="37"/>
                </a:moveTo>
                <a:cubicBezTo>
                  <a:pt x="1386" y="37"/>
                  <a:pt x="1386" y="38"/>
                  <a:pt x="1386" y="38"/>
                </a:cubicBezTo>
                <a:cubicBezTo>
                  <a:pt x="1385" y="38"/>
                  <a:pt x="1386" y="39"/>
                  <a:pt x="1385" y="39"/>
                </a:cubicBezTo>
                <a:cubicBezTo>
                  <a:pt x="1385" y="39"/>
                  <a:pt x="1385" y="39"/>
                  <a:pt x="1385" y="39"/>
                </a:cubicBezTo>
                <a:cubicBezTo>
                  <a:pt x="1385" y="40"/>
                  <a:pt x="1385" y="40"/>
                  <a:pt x="1385" y="40"/>
                </a:cubicBezTo>
                <a:cubicBezTo>
                  <a:pt x="1385" y="40"/>
                  <a:pt x="1385" y="40"/>
                  <a:pt x="1385" y="40"/>
                </a:cubicBezTo>
                <a:cubicBezTo>
                  <a:pt x="1385" y="41"/>
                  <a:pt x="1385" y="41"/>
                  <a:pt x="1385" y="41"/>
                </a:cubicBezTo>
                <a:cubicBezTo>
                  <a:pt x="1385" y="41"/>
                  <a:pt x="1385" y="41"/>
                  <a:pt x="1385" y="41"/>
                </a:cubicBezTo>
                <a:cubicBezTo>
                  <a:pt x="1384" y="42"/>
                  <a:pt x="1385" y="42"/>
                  <a:pt x="1384" y="42"/>
                </a:cubicBezTo>
                <a:cubicBezTo>
                  <a:pt x="1384" y="42"/>
                  <a:pt x="1384" y="42"/>
                  <a:pt x="1384" y="42"/>
                </a:cubicBezTo>
                <a:cubicBezTo>
                  <a:pt x="1384" y="43"/>
                  <a:pt x="1384" y="43"/>
                  <a:pt x="1384" y="43"/>
                </a:cubicBezTo>
                <a:cubicBezTo>
                  <a:pt x="1384" y="43"/>
                  <a:pt x="1384" y="43"/>
                  <a:pt x="1384" y="43"/>
                </a:cubicBezTo>
                <a:cubicBezTo>
                  <a:pt x="1384" y="43"/>
                  <a:pt x="1384" y="44"/>
                  <a:pt x="1384" y="44"/>
                </a:cubicBezTo>
                <a:cubicBezTo>
                  <a:pt x="1384" y="44"/>
                  <a:pt x="1384" y="44"/>
                  <a:pt x="1384" y="44"/>
                </a:cubicBezTo>
                <a:cubicBezTo>
                  <a:pt x="1383" y="44"/>
                  <a:pt x="1383" y="44"/>
                  <a:pt x="1383" y="44"/>
                </a:cubicBezTo>
                <a:cubicBezTo>
                  <a:pt x="1383" y="44"/>
                  <a:pt x="1383" y="44"/>
                  <a:pt x="1383" y="44"/>
                </a:cubicBezTo>
                <a:cubicBezTo>
                  <a:pt x="1383" y="45"/>
                  <a:pt x="1383" y="45"/>
                  <a:pt x="1383" y="45"/>
                </a:cubicBezTo>
                <a:cubicBezTo>
                  <a:pt x="1383" y="45"/>
                  <a:pt x="1383" y="45"/>
                  <a:pt x="1383" y="45"/>
                </a:cubicBezTo>
                <a:cubicBezTo>
                  <a:pt x="1383" y="45"/>
                  <a:pt x="1383" y="46"/>
                  <a:pt x="1383" y="46"/>
                </a:cubicBezTo>
                <a:cubicBezTo>
                  <a:pt x="1383" y="46"/>
                  <a:pt x="1383" y="46"/>
                  <a:pt x="1383" y="46"/>
                </a:cubicBezTo>
                <a:cubicBezTo>
                  <a:pt x="1382" y="46"/>
                  <a:pt x="1382" y="46"/>
                  <a:pt x="1382" y="46"/>
                </a:cubicBezTo>
                <a:cubicBezTo>
                  <a:pt x="1382" y="46"/>
                  <a:pt x="1382" y="46"/>
                  <a:pt x="1382" y="46"/>
                </a:cubicBezTo>
                <a:cubicBezTo>
                  <a:pt x="1382" y="46"/>
                  <a:pt x="1382" y="47"/>
                  <a:pt x="1382" y="47"/>
                </a:cubicBezTo>
                <a:cubicBezTo>
                  <a:pt x="1382" y="47"/>
                  <a:pt x="1382" y="47"/>
                  <a:pt x="1382" y="47"/>
                </a:cubicBezTo>
                <a:cubicBezTo>
                  <a:pt x="1382" y="47"/>
                  <a:pt x="1382" y="47"/>
                  <a:pt x="1382" y="47"/>
                </a:cubicBezTo>
                <a:cubicBezTo>
                  <a:pt x="1382" y="47"/>
                  <a:pt x="1382" y="47"/>
                  <a:pt x="1382" y="47"/>
                </a:cubicBezTo>
                <a:cubicBezTo>
                  <a:pt x="1381" y="47"/>
                  <a:pt x="1381" y="48"/>
                  <a:pt x="1381" y="48"/>
                </a:cubicBezTo>
                <a:cubicBezTo>
                  <a:pt x="1381" y="48"/>
                  <a:pt x="1381" y="48"/>
                  <a:pt x="1381" y="48"/>
                </a:cubicBezTo>
                <a:cubicBezTo>
                  <a:pt x="1381" y="48"/>
                  <a:pt x="1381" y="48"/>
                  <a:pt x="1381" y="48"/>
                </a:cubicBezTo>
                <a:cubicBezTo>
                  <a:pt x="1381" y="48"/>
                  <a:pt x="1381" y="48"/>
                  <a:pt x="1381" y="48"/>
                </a:cubicBezTo>
                <a:cubicBezTo>
                  <a:pt x="1381" y="48"/>
                  <a:pt x="1381" y="48"/>
                  <a:pt x="1381" y="49"/>
                </a:cubicBezTo>
                <a:cubicBezTo>
                  <a:pt x="1381" y="49"/>
                  <a:pt x="1381" y="49"/>
                  <a:pt x="1381" y="49"/>
                </a:cubicBezTo>
                <a:cubicBezTo>
                  <a:pt x="1380" y="49"/>
                  <a:pt x="1380" y="49"/>
                  <a:pt x="1380" y="50"/>
                </a:cubicBezTo>
                <a:cubicBezTo>
                  <a:pt x="1380" y="50"/>
                  <a:pt x="1380" y="50"/>
                  <a:pt x="1380" y="50"/>
                </a:cubicBezTo>
                <a:cubicBezTo>
                  <a:pt x="1380" y="50"/>
                  <a:pt x="1380" y="50"/>
                  <a:pt x="1379" y="50"/>
                </a:cubicBezTo>
                <a:cubicBezTo>
                  <a:pt x="1379" y="50"/>
                  <a:pt x="1379" y="50"/>
                  <a:pt x="1379" y="50"/>
                </a:cubicBezTo>
                <a:cubicBezTo>
                  <a:pt x="1379" y="50"/>
                  <a:pt x="1379" y="50"/>
                  <a:pt x="1379" y="50"/>
                </a:cubicBezTo>
                <a:cubicBezTo>
                  <a:pt x="1379" y="50"/>
                  <a:pt x="1379" y="50"/>
                  <a:pt x="1379" y="50"/>
                </a:cubicBezTo>
                <a:cubicBezTo>
                  <a:pt x="1379" y="50"/>
                  <a:pt x="1379" y="51"/>
                  <a:pt x="1379" y="51"/>
                </a:cubicBezTo>
                <a:cubicBezTo>
                  <a:pt x="1379" y="51"/>
                  <a:pt x="1379" y="51"/>
                  <a:pt x="1379" y="51"/>
                </a:cubicBezTo>
                <a:cubicBezTo>
                  <a:pt x="1379" y="51"/>
                  <a:pt x="1379" y="51"/>
                  <a:pt x="1378" y="51"/>
                </a:cubicBezTo>
                <a:cubicBezTo>
                  <a:pt x="1379" y="51"/>
                  <a:pt x="1379" y="51"/>
                  <a:pt x="1379" y="51"/>
                </a:cubicBezTo>
                <a:cubicBezTo>
                  <a:pt x="1378" y="51"/>
                  <a:pt x="1378" y="51"/>
                  <a:pt x="1378" y="51"/>
                </a:cubicBezTo>
                <a:cubicBezTo>
                  <a:pt x="1378" y="51"/>
                  <a:pt x="1378" y="51"/>
                  <a:pt x="1378" y="51"/>
                </a:cubicBezTo>
                <a:cubicBezTo>
                  <a:pt x="1378" y="51"/>
                  <a:pt x="1378" y="52"/>
                  <a:pt x="1378" y="52"/>
                </a:cubicBezTo>
                <a:cubicBezTo>
                  <a:pt x="1378" y="52"/>
                  <a:pt x="1378" y="52"/>
                  <a:pt x="1378" y="52"/>
                </a:cubicBezTo>
                <a:cubicBezTo>
                  <a:pt x="1378" y="52"/>
                  <a:pt x="1377" y="52"/>
                  <a:pt x="1377" y="52"/>
                </a:cubicBezTo>
                <a:cubicBezTo>
                  <a:pt x="1377" y="52"/>
                  <a:pt x="1377" y="52"/>
                  <a:pt x="1377" y="52"/>
                </a:cubicBezTo>
                <a:cubicBezTo>
                  <a:pt x="1377" y="52"/>
                  <a:pt x="1377" y="52"/>
                  <a:pt x="1377" y="53"/>
                </a:cubicBezTo>
                <a:cubicBezTo>
                  <a:pt x="1377" y="53"/>
                  <a:pt x="1377" y="53"/>
                  <a:pt x="1377" y="53"/>
                </a:cubicBezTo>
                <a:cubicBezTo>
                  <a:pt x="1377" y="53"/>
                  <a:pt x="1377" y="53"/>
                  <a:pt x="1377" y="53"/>
                </a:cubicBezTo>
                <a:cubicBezTo>
                  <a:pt x="1377" y="53"/>
                  <a:pt x="1377" y="53"/>
                  <a:pt x="1377" y="53"/>
                </a:cubicBezTo>
                <a:cubicBezTo>
                  <a:pt x="1377" y="53"/>
                  <a:pt x="1376" y="53"/>
                  <a:pt x="1376" y="53"/>
                </a:cubicBezTo>
                <a:cubicBezTo>
                  <a:pt x="1376" y="53"/>
                  <a:pt x="1376" y="53"/>
                  <a:pt x="1376" y="53"/>
                </a:cubicBezTo>
                <a:cubicBezTo>
                  <a:pt x="1376" y="53"/>
                  <a:pt x="1376" y="53"/>
                  <a:pt x="1376" y="54"/>
                </a:cubicBezTo>
                <a:cubicBezTo>
                  <a:pt x="1376" y="54"/>
                  <a:pt x="1376" y="54"/>
                  <a:pt x="1376" y="54"/>
                </a:cubicBezTo>
                <a:cubicBezTo>
                  <a:pt x="1376" y="54"/>
                  <a:pt x="1376" y="54"/>
                  <a:pt x="1376" y="54"/>
                </a:cubicBezTo>
                <a:cubicBezTo>
                  <a:pt x="1376" y="54"/>
                  <a:pt x="1376" y="54"/>
                  <a:pt x="1376" y="54"/>
                </a:cubicBezTo>
                <a:cubicBezTo>
                  <a:pt x="1376" y="54"/>
                  <a:pt x="1375" y="54"/>
                  <a:pt x="1375" y="54"/>
                </a:cubicBezTo>
                <a:cubicBezTo>
                  <a:pt x="1375" y="54"/>
                  <a:pt x="1375" y="54"/>
                  <a:pt x="1375" y="54"/>
                </a:cubicBezTo>
                <a:cubicBezTo>
                  <a:pt x="1375" y="54"/>
                  <a:pt x="1375" y="54"/>
                  <a:pt x="1375" y="55"/>
                </a:cubicBezTo>
                <a:cubicBezTo>
                  <a:pt x="1375" y="55"/>
                  <a:pt x="1375" y="55"/>
                  <a:pt x="1375" y="55"/>
                </a:cubicBezTo>
                <a:cubicBezTo>
                  <a:pt x="1375" y="55"/>
                  <a:pt x="1375" y="55"/>
                  <a:pt x="1375" y="55"/>
                </a:cubicBezTo>
                <a:cubicBezTo>
                  <a:pt x="1375" y="55"/>
                  <a:pt x="1375" y="55"/>
                  <a:pt x="1375" y="55"/>
                </a:cubicBezTo>
                <a:cubicBezTo>
                  <a:pt x="1374" y="55"/>
                  <a:pt x="1374" y="56"/>
                  <a:pt x="1373" y="56"/>
                </a:cubicBezTo>
                <a:cubicBezTo>
                  <a:pt x="1373" y="56"/>
                  <a:pt x="1373" y="56"/>
                  <a:pt x="1373" y="56"/>
                </a:cubicBezTo>
                <a:cubicBezTo>
                  <a:pt x="1373" y="56"/>
                  <a:pt x="1373" y="56"/>
                  <a:pt x="1373" y="56"/>
                </a:cubicBezTo>
                <a:cubicBezTo>
                  <a:pt x="1373" y="56"/>
                  <a:pt x="1373" y="56"/>
                  <a:pt x="1373" y="56"/>
                </a:cubicBezTo>
                <a:cubicBezTo>
                  <a:pt x="1373" y="56"/>
                  <a:pt x="1373" y="56"/>
                  <a:pt x="1373" y="57"/>
                </a:cubicBezTo>
                <a:cubicBezTo>
                  <a:pt x="1373" y="57"/>
                  <a:pt x="1373" y="57"/>
                  <a:pt x="1373" y="57"/>
                </a:cubicBezTo>
                <a:cubicBezTo>
                  <a:pt x="1372" y="57"/>
                  <a:pt x="1372" y="57"/>
                  <a:pt x="1372" y="57"/>
                </a:cubicBezTo>
                <a:cubicBezTo>
                  <a:pt x="1372" y="57"/>
                  <a:pt x="1372" y="57"/>
                  <a:pt x="1372" y="57"/>
                </a:cubicBezTo>
                <a:cubicBezTo>
                  <a:pt x="1371" y="57"/>
                  <a:pt x="1371" y="58"/>
                  <a:pt x="1371" y="58"/>
                </a:cubicBezTo>
                <a:cubicBezTo>
                  <a:pt x="1371" y="58"/>
                  <a:pt x="1371" y="58"/>
                  <a:pt x="1371" y="58"/>
                </a:cubicBezTo>
                <a:cubicBezTo>
                  <a:pt x="1371" y="58"/>
                  <a:pt x="1371" y="58"/>
                  <a:pt x="1371" y="58"/>
                </a:cubicBezTo>
                <a:cubicBezTo>
                  <a:pt x="1371" y="58"/>
                  <a:pt x="1371" y="58"/>
                  <a:pt x="1371" y="58"/>
                </a:cubicBezTo>
                <a:cubicBezTo>
                  <a:pt x="1371" y="58"/>
                  <a:pt x="1370" y="58"/>
                  <a:pt x="1370" y="58"/>
                </a:cubicBezTo>
                <a:cubicBezTo>
                  <a:pt x="1370" y="58"/>
                  <a:pt x="1370" y="58"/>
                  <a:pt x="1370" y="58"/>
                </a:cubicBezTo>
                <a:cubicBezTo>
                  <a:pt x="1370" y="58"/>
                  <a:pt x="1370" y="59"/>
                  <a:pt x="1370" y="59"/>
                </a:cubicBezTo>
                <a:cubicBezTo>
                  <a:pt x="1370" y="59"/>
                  <a:pt x="1370" y="59"/>
                  <a:pt x="1370" y="59"/>
                </a:cubicBezTo>
                <a:cubicBezTo>
                  <a:pt x="1370" y="59"/>
                  <a:pt x="1369" y="59"/>
                  <a:pt x="1369" y="59"/>
                </a:cubicBezTo>
                <a:cubicBezTo>
                  <a:pt x="1369" y="59"/>
                  <a:pt x="1369" y="59"/>
                  <a:pt x="1369" y="59"/>
                </a:cubicBezTo>
                <a:cubicBezTo>
                  <a:pt x="1369" y="59"/>
                  <a:pt x="1369" y="59"/>
                  <a:pt x="1369" y="59"/>
                </a:cubicBezTo>
                <a:cubicBezTo>
                  <a:pt x="1369" y="59"/>
                  <a:pt x="1369" y="59"/>
                  <a:pt x="1369" y="59"/>
                </a:cubicBezTo>
                <a:cubicBezTo>
                  <a:pt x="1369" y="59"/>
                  <a:pt x="1368" y="60"/>
                  <a:pt x="1368" y="60"/>
                </a:cubicBezTo>
                <a:cubicBezTo>
                  <a:pt x="1368" y="60"/>
                  <a:pt x="1368" y="60"/>
                  <a:pt x="1368" y="60"/>
                </a:cubicBezTo>
                <a:cubicBezTo>
                  <a:pt x="1368" y="60"/>
                  <a:pt x="1368" y="60"/>
                  <a:pt x="1368" y="60"/>
                </a:cubicBezTo>
                <a:cubicBezTo>
                  <a:pt x="1368" y="60"/>
                  <a:pt x="1368" y="60"/>
                  <a:pt x="1368" y="60"/>
                </a:cubicBezTo>
                <a:cubicBezTo>
                  <a:pt x="1368" y="60"/>
                  <a:pt x="1367" y="60"/>
                  <a:pt x="1367" y="61"/>
                </a:cubicBezTo>
                <a:cubicBezTo>
                  <a:pt x="1367" y="60"/>
                  <a:pt x="1367" y="60"/>
                  <a:pt x="1367" y="60"/>
                </a:cubicBezTo>
                <a:cubicBezTo>
                  <a:pt x="1367" y="61"/>
                  <a:pt x="1367" y="61"/>
                  <a:pt x="1367" y="61"/>
                </a:cubicBezTo>
                <a:cubicBezTo>
                  <a:pt x="1367" y="61"/>
                  <a:pt x="1367" y="61"/>
                  <a:pt x="1367" y="61"/>
                </a:cubicBezTo>
                <a:cubicBezTo>
                  <a:pt x="1367" y="61"/>
                  <a:pt x="1366" y="61"/>
                  <a:pt x="1366" y="62"/>
                </a:cubicBezTo>
                <a:cubicBezTo>
                  <a:pt x="1366" y="62"/>
                  <a:pt x="1366" y="62"/>
                  <a:pt x="1366" y="62"/>
                </a:cubicBezTo>
                <a:cubicBezTo>
                  <a:pt x="1366" y="62"/>
                  <a:pt x="1366" y="62"/>
                  <a:pt x="1366" y="62"/>
                </a:cubicBezTo>
                <a:cubicBezTo>
                  <a:pt x="1366" y="62"/>
                  <a:pt x="1366" y="62"/>
                  <a:pt x="1366" y="62"/>
                </a:cubicBezTo>
                <a:cubicBezTo>
                  <a:pt x="1365" y="62"/>
                  <a:pt x="1365" y="62"/>
                  <a:pt x="1365" y="63"/>
                </a:cubicBezTo>
                <a:cubicBezTo>
                  <a:pt x="1365" y="63"/>
                  <a:pt x="1365" y="63"/>
                  <a:pt x="1365" y="63"/>
                </a:cubicBezTo>
                <a:cubicBezTo>
                  <a:pt x="1364" y="63"/>
                  <a:pt x="1364" y="63"/>
                  <a:pt x="1364" y="63"/>
                </a:cubicBezTo>
                <a:cubicBezTo>
                  <a:pt x="1364" y="63"/>
                  <a:pt x="1364" y="63"/>
                  <a:pt x="1364" y="63"/>
                </a:cubicBezTo>
                <a:cubicBezTo>
                  <a:pt x="1364" y="63"/>
                  <a:pt x="1363" y="63"/>
                  <a:pt x="1363" y="64"/>
                </a:cubicBezTo>
                <a:cubicBezTo>
                  <a:pt x="1363" y="64"/>
                  <a:pt x="1363" y="64"/>
                  <a:pt x="1363" y="64"/>
                </a:cubicBezTo>
                <a:cubicBezTo>
                  <a:pt x="1363" y="64"/>
                  <a:pt x="1363" y="64"/>
                  <a:pt x="1363" y="64"/>
                </a:cubicBezTo>
                <a:cubicBezTo>
                  <a:pt x="1363" y="64"/>
                  <a:pt x="1363" y="64"/>
                  <a:pt x="1363" y="64"/>
                </a:cubicBezTo>
                <a:cubicBezTo>
                  <a:pt x="1363" y="64"/>
                  <a:pt x="1363" y="64"/>
                  <a:pt x="1362" y="64"/>
                </a:cubicBezTo>
                <a:cubicBezTo>
                  <a:pt x="1362" y="64"/>
                  <a:pt x="1362" y="64"/>
                  <a:pt x="1362" y="64"/>
                </a:cubicBezTo>
                <a:cubicBezTo>
                  <a:pt x="1362" y="64"/>
                  <a:pt x="1362" y="64"/>
                  <a:pt x="1362" y="65"/>
                </a:cubicBezTo>
                <a:cubicBezTo>
                  <a:pt x="1362" y="65"/>
                  <a:pt x="1362" y="65"/>
                  <a:pt x="1362" y="65"/>
                </a:cubicBezTo>
                <a:cubicBezTo>
                  <a:pt x="1362" y="65"/>
                  <a:pt x="1361" y="65"/>
                  <a:pt x="1361" y="65"/>
                </a:cubicBezTo>
                <a:cubicBezTo>
                  <a:pt x="1361" y="65"/>
                  <a:pt x="1361" y="65"/>
                  <a:pt x="1361" y="65"/>
                </a:cubicBezTo>
                <a:cubicBezTo>
                  <a:pt x="1361" y="65"/>
                  <a:pt x="1361" y="65"/>
                  <a:pt x="1361" y="65"/>
                </a:cubicBezTo>
                <a:cubicBezTo>
                  <a:pt x="1361" y="65"/>
                  <a:pt x="1361" y="65"/>
                  <a:pt x="1361" y="65"/>
                </a:cubicBezTo>
                <a:cubicBezTo>
                  <a:pt x="1361" y="66"/>
                  <a:pt x="1360" y="66"/>
                  <a:pt x="1360" y="66"/>
                </a:cubicBezTo>
                <a:cubicBezTo>
                  <a:pt x="1360" y="66"/>
                  <a:pt x="1360" y="66"/>
                  <a:pt x="1360" y="66"/>
                </a:cubicBezTo>
                <a:cubicBezTo>
                  <a:pt x="1360" y="66"/>
                  <a:pt x="1360" y="66"/>
                  <a:pt x="1360" y="66"/>
                </a:cubicBezTo>
                <a:cubicBezTo>
                  <a:pt x="1360" y="66"/>
                  <a:pt x="1360" y="66"/>
                  <a:pt x="1360" y="66"/>
                </a:cubicBezTo>
                <a:cubicBezTo>
                  <a:pt x="1360" y="66"/>
                  <a:pt x="1359" y="67"/>
                  <a:pt x="1359" y="67"/>
                </a:cubicBezTo>
                <a:cubicBezTo>
                  <a:pt x="1359" y="67"/>
                  <a:pt x="1359" y="67"/>
                  <a:pt x="1359" y="67"/>
                </a:cubicBezTo>
                <a:cubicBezTo>
                  <a:pt x="1359" y="67"/>
                  <a:pt x="1358" y="67"/>
                  <a:pt x="1358" y="68"/>
                </a:cubicBezTo>
                <a:cubicBezTo>
                  <a:pt x="1358" y="67"/>
                  <a:pt x="1358" y="67"/>
                  <a:pt x="1358" y="67"/>
                </a:cubicBezTo>
                <a:cubicBezTo>
                  <a:pt x="1358" y="67"/>
                  <a:pt x="1358" y="68"/>
                  <a:pt x="1358" y="68"/>
                </a:cubicBezTo>
                <a:cubicBezTo>
                  <a:pt x="1358" y="68"/>
                  <a:pt x="1358" y="68"/>
                  <a:pt x="1358" y="68"/>
                </a:cubicBezTo>
                <a:cubicBezTo>
                  <a:pt x="1358" y="68"/>
                  <a:pt x="1358" y="68"/>
                  <a:pt x="1358" y="68"/>
                </a:cubicBezTo>
                <a:cubicBezTo>
                  <a:pt x="1358" y="68"/>
                  <a:pt x="1358" y="68"/>
                  <a:pt x="1358" y="68"/>
                </a:cubicBezTo>
                <a:cubicBezTo>
                  <a:pt x="1357" y="68"/>
                  <a:pt x="1357" y="68"/>
                  <a:pt x="1357" y="68"/>
                </a:cubicBezTo>
                <a:cubicBezTo>
                  <a:pt x="1357" y="68"/>
                  <a:pt x="1357" y="68"/>
                  <a:pt x="1357" y="68"/>
                </a:cubicBezTo>
                <a:cubicBezTo>
                  <a:pt x="1357" y="69"/>
                  <a:pt x="1356" y="69"/>
                  <a:pt x="1356" y="69"/>
                </a:cubicBezTo>
                <a:cubicBezTo>
                  <a:pt x="1356" y="69"/>
                  <a:pt x="1356" y="69"/>
                  <a:pt x="1356" y="69"/>
                </a:cubicBezTo>
                <a:cubicBezTo>
                  <a:pt x="1356" y="69"/>
                  <a:pt x="1356" y="69"/>
                  <a:pt x="1356" y="70"/>
                </a:cubicBezTo>
                <a:cubicBezTo>
                  <a:pt x="1356" y="70"/>
                  <a:pt x="1356" y="70"/>
                  <a:pt x="1356" y="70"/>
                </a:cubicBezTo>
                <a:cubicBezTo>
                  <a:pt x="1356" y="70"/>
                  <a:pt x="1356" y="70"/>
                  <a:pt x="1355" y="70"/>
                </a:cubicBezTo>
                <a:cubicBezTo>
                  <a:pt x="1355" y="70"/>
                  <a:pt x="1355" y="70"/>
                  <a:pt x="1355" y="70"/>
                </a:cubicBezTo>
                <a:cubicBezTo>
                  <a:pt x="1355" y="70"/>
                  <a:pt x="1355" y="70"/>
                  <a:pt x="1355" y="70"/>
                </a:cubicBezTo>
                <a:cubicBezTo>
                  <a:pt x="1355" y="70"/>
                  <a:pt x="1355" y="70"/>
                  <a:pt x="1355" y="70"/>
                </a:cubicBezTo>
                <a:cubicBezTo>
                  <a:pt x="1355" y="70"/>
                  <a:pt x="1355" y="70"/>
                  <a:pt x="1355" y="71"/>
                </a:cubicBezTo>
                <a:cubicBezTo>
                  <a:pt x="1355" y="71"/>
                  <a:pt x="1355" y="71"/>
                  <a:pt x="1355" y="71"/>
                </a:cubicBezTo>
                <a:cubicBezTo>
                  <a:pt x="1355" y="71"/>
                  <a:pt x="1355" y="71"/>
                  <a:pt x="1354" y="71"/>
                </a:cubicBezTo>
                <a:cubicBezTo>
                  <a:pt x="1354" y="71"/>
                  <a:pt x="1354" y="71"/>
                  <a:pt x="1354" y="71"/>
                </a:cubicBezTo>
                <a:cubicBezTo>
                  <a:pt x="1353" y="72"/>
                  <a:pt x="1352" y="73"/>
                  <a:pt x="1351" y="74"/>
                </a:cubicBezTo>
                <a:cubicBezTo>
                  <a:pt x="1351" y="74"/>
                  <a:pt x="1351" y="74"/>
                  <a:pt x="1351" y="74"/>
                </a:cubicBezTo>
                <a:cubicBezTo>
                  <a:pt x="1351" y="74"/>
                  <a:pt x="1351" y="75"/>
                  <a:pt x="1351" y="75"/>
                </a:cubicBezTo>
                <a:cubicBezTo>
                  <a:pt x="1351" y="75"/>
                  <a:pt x="1351" y="75"/>
                  <a:pt x="1351" y="75"/>
                </a:cubicBezTo>
                <a:cubicBezTo>
                  <a:pt x="1350" y="75"/>
                  <a:pt x="1350" y="75"/>
                  <a:pt x="1350" y="75"/>
                </a:cubicBezTo>
                <a:cubicBezTo>
                  <a:pt x="1350" y="75"/>
                  <a:pt x="1350" y="75"/>
                  <a:pt x="1350" y="75"/>
                </a:cubicBezTo>
                <a:cubicBezTo>
                  <a:pt x="1350" y="75"/>
                  <a:pt x="1350" y="75"/>
                  <a:pt x="1350" y="75"/>
                </a:cubicBezTo>
                <a:cubicBezTo>
                  <a:pt x="1350" y="75"/>
                  <a:pt x="1350" y="75"/>
                  <a:pt x="1350" y="75"/>
                </a:cubicBezTo>
                <a:cubicBezTo>
                  <a:pt x="1350" y="76"/>
                  <a:pt x="1350" y="76"/>
                  <a:pt x="1350" y="76"/>
                </a:cubicBezTo>
                <a:cubicBezTo>
                  <a:pt x="1350" y="76"/>
                  <a:pt x="1350" y="76"/>
                  <a:pt x="1350" y="76"/>
                </a:cubicBezTo>
                <a:cubicBezTo>
                  <a:pt x="1349" y="76"/>
                  <a:pt x="1349" y="76"/>
                  <a:pt x="1349" y="76"/>
                </a:cubicBezTo>
                <a:cubicBezTo>
                  <a:pt x="1349" y="76"/>
                  <a:pt x="1349" y="76"/>
                  <a:pt x="1349" y="76"/>
                </a:cubicBezTo>
                <a:cubicBezTo>
                  <a:pt x="1349" y="77"/>
                  <a:pt x="1349" y="77"/>
                  <a:pt x="1349" y="77"/>
                </a:cubicBezTo>
                <a:cubicBezTo>
                  <a:pt x="1349" y="77"/>
                  <a:pt x="1349" y="77"/>
                  <a:pt x="1349" y="77"/>
                </a:cubicBezTo>
                <a:cubicBezTo>
                  <a:pt x="1349" y="77"/>
                  <a:pt x="1349" y="77"/>
                  <a:pt x="1349" y="77"/>
                </a:cubicBezTo>
                <a:cubicBezTo>
                  <a:pt x="1349" y="77"/>
                  <a:pt x="1349" y="77"/>
                  <a:pt x="1349" y="77"/>
                </a:cubicBezTo>
                <a:cubicBezTo>
                  <a:pt x="1348" y="77"/>
                  <a:pt x="1348" y="78"/>
                  <a:pt x="1348" y="78"/>
                </a:cubicBezTo>
                <a:cubicBezTo>
                  <a:pt x="1348" y="78"/>
                  <a:pt x="1348" y="78"/>
                  <a:pt x="1348" y="78"/>
                </a:cubicBezTo>
                <a:cubicBezTo>
                  <a:pt x="1348" y="78"/>
                  <a:pt x="1348" y="78"/>
                  <a:pt x="1348" y="78"/>
                </a:cubicBezTo>
                <a:cubicBezTo>
                  <a:pt x="1348" y="78"/>
                  <a:pt x="1348" y="78"/>
                  <a:pt x="1348" y="78"/>
                </a:cubicBezTo>
                <a:cubicBezTo>
                  <a:pt x="1348" y="78"/>
                  <a:pt x="1348" y="79"/>
                  <a:pt x="1347" y="79"/>
                </a:cubicBezTo>
                <a:cubicBezTo>
                  <a:pt x="1347" y="79"/>
                  <a:pt x="1347" y="79"/>
                  <a:pt x="1347" y="79"/>
                </a:cubicBezTo>
                <a:cubicBezTo>
                  <a:pt x="1347" y="79"/>
                  <a:pt x="1347" y="79"/>
                  <a:pt x="1347" y="79"/>
                </a:cubicBezTo>
                <a:cubicBezTo>
                  <a:pt x="1347" y="79"/>
                  <a:pt x="1347" y="79"/>
                  <a:pt x="1347" y="79"/>
                </a:cubicBezTo>
                <a:cubicBezTo>
                  <a:pt x="1347" y="79"/>
                  <a:pt x="1347" y="80"/>
                  <a:pt x="1347" y="80"/>
                </a:cubicBezTo>
                <a:cubicBezTo>
                  <a:pt x="1347" y="80"/>
                  <a:pt x="1347" y="80"/>
                  <a:pt x="1347" y="80"/>
                </a:cubicBezTo>
                <a:cubicBezTo>
                  <a:pt x="1347" y="80"/>
                  <a:pt x="1347" y="80"/>
                  <a:pt x="1346" y="81"/>
                </a:cubicBezTo>
                <a:cubicBezTo>
                  <a:pt x="1346" y="81"/>
                  <a:pt x="1346" y="81"/>
                  <a:pt x="1346" y="81"/>
                </a:cubicBezTo>
                <a:cubicBezTo>
                  <a:pt x="1346" y="81"/>
                  <a:pt x="1346" y="81"/>
                  <a:pt x="1346" y="81"/>
                </a:cubicBezTo>
                <a:cubicBezTo>
                  <a:pt x="1346" y="81"/>
                  <a:pt x="1346" y="81"/>
                  <a:pt x="1346" y="81"/>
                </a:cubicBezTo>
                <a:cubicBezTo>
                  <a:pt x="1346" y="81"/>
                  <a:pt x="1346" y="82"/>
                  <a:pt x="1346" y="82"/>
                </a:cubicBezTo>
                <a:cubicBezTo>
                  <a:pt x="1346" y="82"/>
                  <a:pt x="1346" y="82"/>
                  <a:pt x="1346" y="82"/>
                </a:cubicBezTo>
                <a:cubicBezTo>
                  <a:pt x="1346" y="82"/>
                  <a:pt x="1346" y="82"/>
                  <a:pt x="1346" y="82"/>
                </a:cubicBezTo>
                <a:cubicBezTo>
                  <a:pt x="1345" y="82"/>
                  <a:pt x="1346" y="83"/>
                  <a:pt x="1345" y="83"/>
                </a:cubicBezTo>
                <a:cubicBezTo>
                  <a:pt x="1345" y="83"/>
                  <a:pt x="1345" y="83"/>
                  <a:pt x="1345" y="83"/>
                </a:cubicBezTo>
                <a:cubicBezTo>
                  <a:pt x="1345" y="83"/>
                  <a:pt x="1345" y="83"/>
                  <a:pt x="1345" y="83"/>
                </a:cubicBezTo>
                <a:cubicBezTo>
                  <a:pt x="1345" y="83"/>
                  <a:pt x="1345" y="83"/>
                  <a:pt x="1345" y="83"/>
                </a:cubicBezTo>
                <a:cubicBezTo>
                  <a:pt x="1345" y="84"/>
                  <a:pt x="1345" y="84"/>
                  <a:pt x="1345" y="84"/>
                </a:cubicBezTo>
                <a:cubicBezTo>
                  <a:pt x="1345" y="84"/>
                  <a:pt x="1345" y="84"/>
                  <a:pt x="1345" y="84"/>
                </a:cubicBezTo>
                <a:cubicBezTo>
                  <a:pt x="1345" y="84"/>
                  <a:pt x="1345" y="84"/>
                  <a:pt x="1345" y="84"/>
                </a:cubicBezTo>
                <a:cubicBezTo>
                  <a:pt x="1344" y="85"/>
                  <a:pt x="1344" y="85"/>
                  <a:pt x="1344" y="85"/>
                </a:cubicBezTo>
                <a:cubicBezTo>
                  <a:pt x="1344" y="85"/>
                  <a:pt x="1344" y="85"/>
                  <a:pt x="1344" y="86"/>
                </a:cubicBezTo>
                <a:cubicBezTo>
                  <a:pt x="1344" y="86"/>
                  <a:pt x="1344" y="86"/>
                  <a:pt x="1344" y="87"/>
                </a:cubicBezTo>
                <a:cubicBezTo>
                  <a:pt x="1344" y="87"/>
                  <a:pt x="1344" y="87"/>
                  <a:pt x="1344" y="87"/>
                </a:cubicBezTo>
                <a:cubicBezTo>
                  <a:pt x="1344" y="87"/>
                  <a:pt x="1344" y="88"/>
                  <a:pt x="1344" y="88"/>
                </a:cubicBezTo>
                <a:cubicBezTo>
                  <a:pt x="1344" y="88"/>
                  <a:pt x="1344" y="88"/>
                  <a:pt x="1344" y="88"/>
                </a:cubicBezTo>
                <a:cubicBezTo>
                  <a:pt x="1343" y="89"/>
                  <a:pt x="1344" y="89"/>
                  <a:pt x="1343" y="90"/>
                </a:cubicBezTo>
                <a:cubicBezTo>
                  <a:pt x="1343" y="90"/>
                  <a:pt x="1343" y="90"/>
                  <a:pt x="1343" y="90"/>
                </a:cubicBezTo>
                <a:cubicBezTo>
                  <a:pt x="1343" y="91"/>
                  <a:pt x="1343" y="92"/>
                  <a:pt x="1343" y="92"/>
                </a:cubicBezTo>
                <a:cubicBezTo>
                  <a:pt x="1343" y="93"/>
                  <a:pt x="1343" y="93"/>
                  <a:pt x="1343" y="94"/>
                </a:cubicBezTo>
                <a:cubicBezTo>
                  <a:pt x="1343" y="96"/>
                  <a:pt x="1343" y="98"/>
                  <a:pt x="1343" y="100"/>
                </a:cubicBezTo>
                <a:cubicBezTo>
                  <a:pt x="1343" y="101"/>
                  <a:pt x="1343" y="102"/>
                  <a:pt x="1345" y="102"/>
                </a:cubicBezTo>
                <a:cubicBezTo>
                  <a:pt x="1363" y="102"/>
                  <a:pt x="1381" y="102"/>
                  <a:pt x="1399" y="102"/>
                </a:cubicBezTo>
                <a:cubicBezTo>
                  <a:pt x="1400" y="102"/>
                  <a:pt x="1401" y="102"/>
                  <a:pt x="1401" y="101"/>
                </a:cubicBezTo>
                <a:cubicBezTo>
                  <a:pt x="1401" y="98"/>
                  <a:pt x="1401" y="95"/>
                  <a:pt x="1401" y="92"/>
                </a:cubicBezTo>
                <a:cubicBezTo>
                  <a:pt x="1400" y="91"/>
                  <a:pt x="1400" y="92"/>
                  <a:pt x="1399" y="92"/>
                </a:cubicBezTo>
                <a:cubicBezTo>
                  <a:pt x="1385" y="92"/>
                  <a:pt x="1371" y="92"/>
                  <a:pt x="1356" y="92"/>
                </a:cubicBezTo>
                <a:cubicBezTo>
                  <a:pt x="1354" y="92"/>
                  <a:pt x="1354" y="92"/>
                  <a:pt x="1354" y="89"/>
                </a:cubicBezTo>
                <a:cubicBezTo>
                  <a:pt x="1354" y="89"/>
                  <a:pt x="1354" y="89"/>
                  <a:pt x="1354" y="89"/>
                </a:cubicBezTo>
                <a:cubicBezTo>
                  <a:pt x="1355" y="88"/>
                  <a:pt x="1354" y="88"/>
                  <a:pt x="1355" y="87"/>
                </a:cubicBezTo>
                <a:cubicBezTo>
                  <a:pt x="1355" y="87"/>
                  <a:pt x="1355" y="87"/>
                  <a:pt x="1355" y="87"/>
                </a:cubicBezTo>
                <a:cubicBezTo>
                  <a:pt x="1355" y="87"/>
                  <a:pt x="1355" y="87"/>
                  <a:pt x="1355" y="87"/>
                </a:cubicBezTo>
                <a:cubicBezTo>
                  <a:pt x="1355" y="87"/>
                  <a:pt x="1355" y="86"/>
                  <a:pt x="1355" y="86"/>
                </a:cubicBezTo>
                <a:cubicBezTo>
                  <a:pt x="1355" y="86"/>
                  <a:pt x="1355" y="86"/>
                  <a:pt x="1355" y="85"/>
                </a:cubicBezTo>
                <a:cubicBezTo>
                  <a:pt x="1355" y="85"/>
                  <a:pt x="1355" y="85"/>
                  <a:pt x="1355" y="85"/>
                </a:cubicBezTo>
                <a:cubicBezTo>
                  <a:pt x="1355" y="85"/>
                  <a:pt x="1355" y="85"/>
                  <a:pt x="1355" y="84"/>
                </a:cubicBezTo>
                <a:cubicBezTo>
                  <a:pt x="1356" y="84"/>
                  <a:pt x="1356" y="84"/>
                  <a:pt x="1356" y="84"/>
                </a:cubicBezTo>
                <a:cubicBezTo>
                  <a:pt x="1356" y="84"/>
                  <a:pt x="1356" y="84"/>
                  <a:pt x="1356" y="84"/>
                </a:cubicBezTo>
                <a:cubicBezTo>
                  <a:pt x="1356" y="84"/>
                  <a:pt x="1356" y="83"/>
                  <a:pt x="1356" y="83"/>
                </a:cubicBezTo>
                <a:cubicBezTo>
                  <a:pt x="1356" y="83"/>
                  <a:pt x="1356" y="83"/>
                  <a:pt x="1356" y="83"/>
                </a:cubicBezTo>
                <a:cubicBezTo>
                  <a:pt x="1356" y="83"/>
                  <a:pt x="1356" y="83"/>
                  <a:pt x="1356" y="83"/>
                </a:cubicBezTo>
                <a:cubicBezTo>
                  <a:pt x="1356" y="82"/>
                  <a:pt x="1356" y="82"/>
                  <a:pt x="1356" y="82"/>
                </a:cubicBezTo>
                <a:cubicBezTo>
                  <a:pt x="1357" y="82"/>
                  <a:pt x="1357" y="82"/>
                  <a:pt x="1357" y="82"/>
                </a:cubicBezTo>
                <a:cubicBezTo>
                  <a:pt x="1357" y="82"/>
                  <a:pt x="1357" y="82"/>
                  <a:pt x="1357" y="82"/>
                </a:cubicBezTo>
                <a:cubicBezTo>
                  <a:pt x="1357" y="82"/>
                  <a:pt x="1357" y="82"/>
                  <a:pt x="1357" y="82"/>
                </a:cubicBezTo>
                <a:cubicBezTo>
                  <a:pt x="1357" y="82"/>
                  <a:pt x="1357" y="81"/>
                  <a:pt x="1357" y="81"/>
                </a:cubicBezTo>
                <a:cubicBezTo>
                  <a:pt x="1357" y="81"/>
                  <a:pt x="1357" y="81"/>
                  <a:pt x="1357" y="81"/>
                </a:cubicBezTo>
                <a:cubicBezTo>
                  <a:pt x="1357" y="81"/>
                  <a:pt x="1357" y="81"/>
                  <a:pt x="1358" y="81"/>
                </a:cubicBezTo>
                <a:cubicBezTo>
                  <a:pt x="1357" y="81"/>
                  <a:pt x="1357" y="81"/>
                  <a:pt x="1357" y="81"/>
                </a:cubicBezTo>
                <a:cubicBezTo>
                  <a:pt x="1358" y="81"/>
                  <a:pt x="1358" y="81"/>
                  <a:pt x="1358" y="81"/>
                </a:cubicBezTo>
                <a:cubicBezTo>
                  <a:pt x="1358" y="81"/>
                  <a:pt x="1358" y="81"/>
                  <a:pt x="1358" y="81"/>
                </a:cubicBezTo>
                <a:cubicBezTo>
                  <a:pt x="1358" y="80"/>
                  <a:pt x="1358" y="80"/>
                  <a:pt x="1358" y="80"/>
                </a:cubicBezTo>
                <a:cubicBezTo>
                  <a:pt x="1358" y="80"/>
                  <a:pt x="1358" y="80"/>
                  <a:pt x="1358" y="80"/>
                </a:cubicBezTo>
                <a:cubicBezTo>
                  <a:pt x="1358" y="80"/>
                  <a:pt x="1358" y="80"/>
                  <a:pt x="1359" y="80"/>
                </a:cubicBezTo>
                <a:cubicBezTo>
                  <a:pt x="1359" y="80"/>
                  <a:pt x="1359" y="80"/>
                  <a:pt x="1359" y="80"/>
                </a:cubicBezTo>
                <a:cubicBezTo>
                  <a:pt x="1359" y="79"/>
                  <a:pt x="1359" y="79"/>
                  <a:pt x="1359" y="79"/>
                </a:cubicBezTo>
                <a:cubicBezTo>
                  <a:pt x="1359" y="79"/>
                  <a:pt x="1359" y="79"/>
                  <a:pt x="1359" y="79"/>
                </a:cubicBezTo>
                <a:cubicBezTo>
                  <a:pt x="1359" y="79"/>
                  <a:pt x="1359" y="79"/>
                  <a:pt x="1359" y="79"/>
                </a:cubicBezTo>
                <a:cubicBezTo>
                  <a:pt x="1359" y="79"/>
                  <a:pt x="1359" y="79"/>
                  <a:pt x="1359" y="79"/>
                </a:cubicBezTo>
                <a:cubicBezTo>
                  <a:pt x="1359" y="79"/>
                  <a:pt x="1360" y="79"/>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1" y="78"/>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2" y="77"/>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3" y="76"/>
                  <a:pt x="1363" y="76"/>
                  <a:pt x="1363" y="75"/>
                </a:cubicBezTo>
                <a:cubicBezTo>
                  <a:pt x="1363" y="75"/>
                  <a:pt x="1363" y="75"/>
                  <a:pt x="1363" y="75"/>
                </a:cubicBezTo>
                <a:cubicBezTo>
                  <a:pt x="1363" y="75"/>
                  <a:pt x="1364" y="75"/>
                  <a:pt x="1364" y="75"/>
                </a:cubicBezTo>
                <a:cubicBezTo>
                  <a:pt x="1364" y="75"/>
                  <a:pt x="1364" y="75"/>
                  <a:pt x="1364" y="75"/>
                </a:cubicBezTo>
                <a:cubicBezTo>
                  <a:pt x="1364" y="75"/>
                  <a:pt x="1364" y="74"/>
                  <a:pt x="1364" y="74"/>
                </a:cubicBezTo>
                <a:cubicBezTo>
                  <a:pt x="1364" y="74"/>
                  <a:pt x="1364" y="74"/>
                  <a:pt x="1364" y="74"/>
                </a:cubicBezTo>
                <a:cubicBezTo>
                  <a:pt x="1364" y="74"/>
                  <a:pt x="1364" y="74"/>
                  <a:pt x="1364" y="74"/>
                </a:cubicBezTo>
                <a:cubicBezTo>
                  <a:pt x="1364" y="74"/>
                  <a:pt x="1364" y="74"/>
                  <a:pt x="1364" y="74"/>
                </a:cubicBezTo>
                <a:cubicBezTo>
                  <a:pt x="1365" y="74"/>
                  <a:pt x="1365" y="74"/>
                  <a:pt x="1365" y="74"/>
                </a:cubicBezTo>
                <a:cubicBezTo>
                  <a:pt x="1365" y="74"/>
                  <a:pt x="1365" y="74"/>
                  <a:pt x="1365" y="74"/>
                </a:cubicBezTo>
                <a:cubicBezTo>
                  <a:pt x="1365" y="73"/>
                  <a:pt x="1365" y="74"/>
                  <a:pt x="1365" y="73"/>
                </a:cubicBezTo>
                <a:cubicBezTo>
                  <a:pt x="1365" y="73"/>
                  <a:pt x="1365" y="73"/>
                  <a:pt x="1365" y="73"/>
                </a:cubicBezTo>
                <a:cubicBezTo>
                  <a:pt x="1366" y="73"/>
                  <a:pt x="1366" y="73"/>
                  <a:pt x="1366" y="73"/>
                </a:cubicBezTo>
                <a:cubicBezTo>
                  <a:pt x="1366" y="73"/>
                  <a:pt x="1366" y="73"/>
                  <a:pt x="1366" y="73"/>
                </a:cubicBezTo>
                <a:cubicBezTo>
                  <a:pt x="1366" y="73"/>
                  <a:pt x="1366" y="73"/>
                  <a:pt x="1366" y="73"/>
                </a:cubicBezTo>
                <a:cubicBezTo>
                  <a:pt x="1366" y="73"/>
                  <a:pt x="1366" y="73"/>
                  <a:pt x="1366" y="73"/>
                </a:cubicBezTo>
                <a:cubicBezTo>
                  <a:pt x="1367" y="72"/>
                  <a:pt x="1367" y="72"/>
                  <a:pt x="1367" y="72"/>
                </a:cubicBezTo>
                <a:cubicBezTo>
                  <a:pt x="1367" y="72"/>
                  <a:pt x="1367" y="72"/>
                  <a:pt x="1367" y="72"/>
                </a:cubicBezTo>
                <a:cubicBezTo>
                  <a:pt x="1367" y="72"/>
                  <a:pt x="1368" y="72"/>
                  <a:pt x="1368" y="72"/>
                </a:cubicBezTo>
                <a:cubicBezTo>
                  <a:pt x="1368" y="72"/>
                  <a:pt x="1368" y="72"/>
                  <a:pt x="1368" y="72"/>
                </a:cubicBezTo>
                <a:cubicBezTo>
                  <a:pt x="1368" y="71"/>
                  <a:pt x="1368" y="71"/>
                  <a:pt x="1368" y="71"/>
                </a:cubicBezTo>
                <a:cubicBezTo>
                  <a:pt x="1368" y="71"/>
                  <a:pt x="1368" y="71"/>
                  <a:pt x="1368" y="71"/>
                </a:cubicBezTo>
                <a:cubicBezTo>
                  <a:pt x="1368" y="71"/>
                  <a:pt x="1369" y="71"/>
                  <a:pt x="1369" y="71"/>
                </a:cubicBezTo>
                <a:cubicBezTo>
                  <a:pt x="1369" y="71"/>
                  <a:pt x="1369" y="71"/>
                  <a:pt x="1369" y="71"/>
                </a:cubicBezTo>
                <a:cubicBezTo>
                  <a:pt x="1369" y="71"/>
                  <a:pt x="1369" y="71"/>
                  <a:pt x="1369" y="70"/>
                </a:cubicBezTo>
                <a:cubicBezTo>
                  <a:pt x="1369" y="71"/>
                  <a:pt x="1369" y="71"/>
                  <a:pt x="1369" y="71"/>
                </a:cubicBezTo>
                <a:cubicBezTo>
                  <a:pt x="1369" y="70"/>
                  <a:pt x="1369" y="70"/>
                  <a:pt x="1369" y="70"/>
                </a:cubicBezTo>
                <a:cubicBezTo>
                  <a:pt x="1369" y="70"/>
                  <a:pt x="1369" y="70"/>
                  <a:pt x="1369" y="70"/>
                </a:cubicBezTo>
                <a:cubicBezTo>
                  <a:pt x="1370" y="70"/>
                  <a:pt x="1370" y="70"/>
                  <a:pt x="1370" y="70"/>
                </a:cubicBezTo>
                <a:cubicBezTo>
                  <a:pt x="1370" y="70"/>
                  <a:pt x="1370" y="70"/>
                  <a:pt x="1370" y="70"/>
                </a:cubicBezTo>
                <a:cubicBezTo>
                  <a:pt x="1370" y="70"/>
                  <a:pt x="1370" y="70"/>
                  <a:pt x="1370" y="69"/>
                </a:cubicBezTo>
                <a:cubicBezTo>
                  <a:pt x="1370" y="69"/>
                  <a:pt x="1370" y="69"/>
                  <a:pt x="1370" y="69"/>
                </a:cubicBezTo>
                <a:cubicBezTo>
                  <a:pt x="1371" y="69"/>
                  <a:pt x="1371" y="69"/>
                  <a:pt x="1371" y="69"/>
                </a:cubicBezTo>
                <a:cubicBezTo>
                  <a:pt x="1371" y="69"/>
                  <a:pt x="1371" y="69"/>
                  <a:pt x="1371" y="69"/>
                </a:cubicBezTo>
                <a:cubicBezTo>
                  <a:pt x="1371" y="69"/>
                  <a:pt x="1371" y="69"/>
                  <a:pt x="1371" y="69"/>
                </a:cubicBezTo>
                <a:cubicBezTo>
                  <a:pt x="1371" y="69"/>
                  <a:pt x="1371" y="69"/>
                  <a:pt x="1371" y="69"/>
                </a:cubicBezTo>
                <a:cubicBezTo>
                  <a:pt x="1372" y="69"/>
                  <a:pt x="1372" y="69"/>
                  <a:pt x="1372" y="68"/>
                </a:cubicBezTo>
                <a:cubicBezTo>
                  <a:pt x="1372" y="68"/>
                  <a:pt x="1372" y="68"/>
                  <a:pt x="1372" y="68"/>
                </a:cubicBezTo>
                <a:cubicBezTo>
                  <a:pt x="1372" y="68"/>
                  <a:pt x="1373" y="68"/>
                  <a:pt x="1373" y="68"/>
                </a:cubicBezTo>
                <a:cubicBezTo>
                  <a:pt x="1373" y="68"/>
                  <a:pt x="1373" y="68"/>
                  <a:pt x="1373" y="68"/>
                </a:cubicBezTo>
                <a:cubicBezTo>
                  <a:pt x="1373" y="68"/>
                  <a:pt x="1373" y="68"/>
                  <a:pt x="1373" y="67"/>
                </a:cubicBezTo>
                <a:cubicBezTo>
                  <a:pt x="1373" y="67"/>
                  <a:pt x="1373" y="67"/>
                  <a:pt x="1373" y="67"/>
                </a:cubicBezTo>
                <a:cubicBezTo>
                  <a:pt x="1373" y="67"/>
                  <a:pt x="1374" y="67"/>
                  <a:pt x="1374" y="67"/>
                </a:cubicBezTo>
                <a:cubicBezTo>
                  <a:pt x="1374" y="67"/>
                  <a:pt x="1374" y="67"/>
                  <a:pt x="1374" y="67"/>
                </a:cubicBezTo>
                <a:cubicBezTo>
                  <a:pt x="1374" y="67"/>
                  <a:pt x="1374" y="67"/>
                  <a:pt x="1374" y="67"/>
                </a:cubicBezTo>
                <a:cubicBezTo>
                  <a:pt x="1374" y="67"/>
                  <a:pt x="1374" y="67"/>
                  <a:pt x="1374" y="67"/>
                </a:cubicBezTo>
                <a:cubicBezTo>
                  <a:pt x="1374" y="67"/>
                  <a:pt x="1374" y="66"/>
                  <a:pt x="1375" y="66"/>
                </a:cubicBezTo>
                <a:cubicBezTo>
                  <a:pt x="1375" y="66"/>
                  <a:pt x="1375" y="66"/>
                  <a:pt x="1375" y="66"/>
                </a:cubicBezTo>
                <a:cubicBezTo>
                  <a:pt x="1375" y="66"/>
                  <a:pt x="1375" y="66"/>
                  <a:pt x="1375" y="66"/>
                </a:cubicBezTo>
                <a:cubicBezTo>
                  <a:pt x="1375" y="66"/>
                  <a:pt x="1375" y="66"/>
                  <a:pt x="1375" y="66"/>
                </a:cubicBezTo>
                <a:cubicBezTo>
                  <a:pt x="1375" y="66"/>
                  <a:pt x="1376" y="66"/>
                  <a:pt x="1376" y="66"/>
                </a:cubicBezTo>
                <a:cubicBezTo>
                  <a:pt x="1376" y="66"/>
                  <a:pt x="1376" y="66"/>
                  <a:pt x="1376" y="66"/>
                </a:cubicBezTo>
                <a:cubicBezTo>
                  <a:pt x="1376" y="65"/>
                  <a:pt x="1376" y="66"/>
                  <a:pt x="1376" y="65"/>
                </a:cubicBezTo>
                <a:cubicBezTo>
                  <a:pt x="1376" y="65"/>
                  <a:pt x="1376" y="65"/>
                  <a:pt x="1376" y="65"/>
                </a:cubicBezTo>
                <a:cubicBezTo>
                  <a:pt x="1376" y="65"/>
                  <a:pt x="1377" y="65"/>
                  <a:pt x="1377" y="65"/>
                </a:cubicBezTo>
                <a:cubicBezTo>
                  <a:pt x="1377" y="65"/>
                  <a:pt x="1377" y="65"/>
                  <a:pt x="1377" y="65"/>
                </a:cubicBezTo>
                <a:cubicBezTo>
                  <a:pt x="1377" y="65"/>
                  <a:pt x="1377" y="65"/>
                  <a:pt x="1377" y="65"/>
                </a:cubicBezTo>
                <a:cubicBezTo>
                  <a:pt x="1377" y="65"/>
                  <a:pt x="1377" y="65"/>
                  <a:pt x="1377" y="65"/>
                </a:cubicBezTo>
                <a:cubicBezTo>
                  <a:pt x="1377"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9" y="63"/>
                  <a:pt x="1379" y="63"/>
                  <a:pt x="1379" y="63"/>
                </a:cubicBezTo>
                <a:cubicBezTo>
                  <a:pt x="1379" y="63"/>
                  <a:pt x="1379" y="63"/>
                  <a:pt x="1379" y="63"/>
                </a:cubicBezTo>
                <a:cubicBezTo>
                  <a:pt x="1379" y="63"/>
                  <a:pt x="1379" y="63"/>
                  <a:pt x="1379" y="63"/>
                </a:cubicBezTo>
                <a:cubicBezTo>
                  <a:pt x="1379" y="63"/>
                  <a:pt x="1379" y="63"/>
                  <a:pt x="1379" y="63"/>
                </a:cubicBezTo>
                <a:cubicBezTo>
                  <a:pt x="1380" y="63"/>
                  <a:pt x="1380" y="63"/>
                  <a:pt x="1380" y="63"/>
                </a:cubicBezTo>
                <a:cubicBezTo>
                  <a:pt x="1380" y="63"/>
                  <a:pt x="1380" y="63"/>
                  <a:pt x="1380" y="63"/>
                </a:cubicBezTo>
                <a:cubicBezTo>
                  <a:pt x="1380" y="62"/>
                  <a:pt x="1380" y="62"/>
                  <a:pt x="1380" y="62"/>
                </a:cubicBezTo>
                <a:cubicBezTo>
                  <a:pt x="1380" y="62"/>
                  <a:pt x="1380" y="62"/>
                  <a:pt x="1380" y="62"/>
                </a:cubicBezTo>
                <a:cubicBezTo>
                  <a:pt x="1381" y="62"/>
                  <a:pt x="1381" y="62"/>
                  <a:pt x="1381" y="62"/>
                </a:cubicBezTo>
                <a:cubicBezTo>
                  <a:pt x="1381" y="62"/>
                  <a:pt x="1381" y="62"/>
                  <a:pt x="1381" y="62"/>
                </a:cubicBezTo>
                <a:cubicBezTo>
                  <a:pt x="1381" y="62"/>
                  <a:pt x="1381" y="62"/>
                  <a:pt x="1381" y="61"/>
                </a:cubicBezTo>
                <a:cubicBezTo>
                  <a:pt x="1381" y="61"/>
                  <a:pt x="1381" y="61"/>
                  <a:pt x="1381" y="61"/>
                </a:cubicBezTo>
                <a:cubicBezTo>
                  <a:pt x="1381" y="61"/>
                  <a:pt x="1381" y="61"/>
                  <a:pt x="1382" y="61"/>
                </a:cubicBezTo>
                <a:cubicBezTo>
                  <a:pt x="1382" y="61"/>
                  <a:pt x="1382" y="61"/>
                  <a:pt x="1382" y="61"/>
                </a:cubicBezTo>
                <a:cubicBezTo>
                  <a:pt x="1382" y="61"/>
                  <a:pt x="1382" y="61"/>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4" y="60"/>
                  <a:pt x="1384" y="59"/>
                </a:cubicBezTo>
                <a:cubicBezTo>
                  <a:pt x="1384" y="59"/>
                  <a:pt x="1384" y="59"/>
                  <a:pt x="1384" y="59"/>
                </a:cubicBezTo>
                <a:cubicBezTo>
                  <a:pt x="1384" y="59"/>
                  <a:pt x="1384" y="59"/>
                  <a:pt x="1384" y="59"/>
                </a:cubicBezTo>
                <a:cubicBezTo>
                  <a:pt x="1384" y="59"/>
                  <a:pt x="1384" y="59"/>
                  <a:pt x="1384" y="59"/>
                </a:cubicBezTo>
                <a:cubicBezTo>
                  <a:pt x="1384" y="59"/>
                  <a:pt x="1385" y="58"/>
                  <a:pt x="1385" y="58"/>
                </a:cubicBezTo>
                <a:cubicBezTo>
                  <a:pt x="1385" y="58"/>
                  <a:pt x="1385" y="58"/>
                  <a:pt x="1385" y="58"/>
                </a:cubicBezTo>
                <a:cubicBezTo>
                  <a:pt x="1386" y="58"/>
                  <a:pt x="1386" y="58"/>
                  <a:pt x="1386" y="58"/>
                </a:cubicBezTo>
                <a:cubicBezTo>
                  <a:pt x="1386" y="58"/>
                  <a:pt x="1386" y="58"/>
                  <a:pt x="1386" y="58"/>
                </a:cubicBezTo>
                <a:cubicBezTo>
                  <a:pt x="1386" y="58"/>
                  <a:pt x="1386" y="57"/>
                  <a:pt x="1386" y="57"/>
                </a:cubicBezTo>
                <a:cubicBezTo>
                  <a:pt x="1386" y="57"/>
                  <a:pt x="1386" y="57"/>
                  <a:pt x="1386" y="57"/>
                </a:cubicBezTo>
                <a:cubicBezTo>
                  <a:pt x="1386" y="57"/>
                  <a:pt x="1386" y="57"/>
                  <a:pt x="1386" y="57"/>
                </a:cubicBezTo>
                <a:cubicBezTo>
                  <a:pt x="1386" y="57"/>
                  <a:pt x="1386" y="57"/>
                  <a:pt x="1386" y="57"/>
                </a:cubicBezTo>
                <a:cubicBezTo>
                  <a:pt x="1387" y="57"/>
                  <a:pt x="1387" y="57"/>
                  <a:pt x="1387" y="57"/>
                </a:cubicBezTo>
                <a:cubicBezTo>
                  <a:pt x="1387" y="57"/>
                  <a:pt x="1387" y="57"/>
                  <a:pt x="1387" y="57"/>
                </a:cubicBezTo>
                <a:cubicBezTo>
                  <a:pt x="1387" y="57"/>
                  <a:pt x="1387" y="56"/>
                  <a:pt x="1387" y="56"/>
                </a:cubicBezTo>
                <a:cubicBezTo>
                  <a:pt x="1387" y="56"/>
                  <a:pt x="1387" y="56"/>
                  <a:pt x="1387" y="56"/>
                </a:cubicBezTo>
                <a:cubicBezTo>
                  <a:pt x="1387" y="56"/>
                  <a:pt x="1387" y="56"/>
                  <a:pt x="1387" y="56"/>
                </a:cubicBezTo>
                <a:cubicBezTo>
                  <a:pt x="1387" y="56"/>
                  <a:pt x="1387" y="56"/>
                  <a:pt x="1387" y="56"/>
                </a:cubicBezTo>
                <a:cubicBezTo>
                  <a:pt x="1388" y="56"/>
                  <a:pt x="1388" y="56"/>
                  <a:pt x="1388" y="55"/>
                </a:cubicBezTo>
                <a:cubicBezTo>
                  <a:pt x="1388" y="55"/>
                  <a:pt x="1388" y="55"/>
                  <a:pt x="1388" y="55"/>
                </a:cubicBezTo>
                <a:cubicBezTo>
                  <a:pt x="1388" y="55"/>
                  <a:pt x="1388" y="55"/>
                  <a:pt x="1388" y="55"/>
                </a:cubicBezTo>
                <a:cubicBezTo>
                  <a:pt x="1388" y="55"/>
                  <a:pt x="1388" y="55"/>
                  <a:pt x="1388" y="55"/>
                </a:cubicBezTo>
                <a:cubicBezTo>
                  <a:pt x="1389" y="55"/>
                  <a:pt x="1389" y="54"/>
                  <a:pt x="1389" y="54"/>
                </a:cubicBezTo>
                <a:cubicBezTo>
                  <a:pt x="1389" y="54"/>
                  <a:pt x="1389" y="54"/>
                  <a:pt x="1389" y="54"/>
                </a:cubicBezTo>
                <a:cubicBezTo>
                  <a:pt x="1389" y="54"/>
                  <a:pt x="1389" y="54"/>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1" y="53"/>
                  <a:pt x="1391" y="52"/>
                  <a:pt x="1391" y="52"/>
                </a:cubicBezTo>
                <a:cubicBezTo>
                  <a:pt x="1391" y="52"/>
                  <a:pt x="1391" y="52"/>
                  <a:pt x="1391" y="52"/>
                </a:cubicBezTo>
                <a:cubicBezTo>
                  <a:pt x="1391" y="52"/>
                  <a:pt x="1391" y="51"/>
                  <a:pt x="1391" y="51"/>
                </a:cubicBezTo>
                <a:cubicBezTo>
                  <a:pt x="1391" y="51"/>
                  <a:pt x="1391" y="51"/>
                  <a:pt x="1391" y="51"/>
                </a:cubicBezTo>
                <a:cubicBezTo>
                  <a:pt x="1392" y="51"/>
                  <a:pt x="1391" y="51"/>
                  <a:pt x="1392" y="51"/>
                </a:cubicBezTo>
                <a:cubicBezTo>
                  <a:pt x="1392" y="51"/>
                  <a:pt x="1392" y="51"/>
                  <a:pt x="1392" y="51"/>
                </a:cubicBezTo>
                <a:cubicBezTo>
                  <a:pt x="1392" y="51"/>
                  <a:pt x="1392" y="50"/>
                  <a:pt x="1392" y="50"/>
                </a:cubicBezTo>
                <a:cubicBezTo>
                  <a:pt x="1392" y="50"/>
                  <a:pt x="1392" y="50"/>
                  <a:pt x="1392" y="50"/>
                </a:cubicBezTo>
                <a:cubicBezTo>
                  <a:pt x="1392" y="50"/>
                  <a:pt x="1392" y="50"/>
                  <a:pt x="1392" y="50"/>
                </a:cubicBezTo>
                <a:cubicBezTo>
                  <a:pt x="1392" y="50"/>
                  <a:pt x="1392" y="50"/>
                  <a:pt x="1392" y="50"/>
                </a:cubicBezTo>
                <a:cubicBezTo>
                  <a:pt x="1392" y="50"/>
                  <a:pt x="1393" y="49"/>
                  <a:pt x="1393" y="49"/>
                </a:cubicBezTo>
                <a:cubicBezTo>
                  <a:pt x="1393" y="49"/>
                  <a:pt x="1393" y="49"/>
                  <a:pt x="1393" y="49"/>
                </a:cubicBezTo>
                <a:cubicBezTo>
                  <a:pt x="1393" y="49"/>
                  <a:pt x="1393" y="49"/>
                  <a:pt x="1393" y="49"/>
                </a:cubicBezTo>
                <a:cubicBezTo>
                  <a:pt x="1393" y="49"/>
                  <a:pt x="1393" y="49"/>
                  <a:pt x="1393" y="49"/>
                </a:cubicBezTo>
                <a:cubicBezTo>
                  <a:pt x="1393" y="48"/>
                  <a:pt x="1393" y="48"/>
                  <a:pt x="1393" y="48"/>
                </a:cubicBezTo>
                <a:cubicBezTo>
                  <a:pt x="1393" y="48"/>
                  <a:pt x="1393" y="48"/>
                  <a:pt x="1393" y="48"/>
                </a:cubicBezTo>
                <a:cubicBezTo>
                  <a:pt x="1393" y="48"/>
                  <a:pt x="1393" y="48"/>
                  <a:pt x="1393" y="48"/>
                </a:cubicBezTo>
                <a:cubicBezTo>
                  <a:pt x="1394" y="48"/>
                  <a:pt x="1394" y="48"/>
                  <a:pt x="1394" y="47"/>
                </a:cubicBezTo>
                <a:cubicBezTo>
                  <a:pt x="1394" y="48"/>
                  <a:pt x="1394" y="48"/>
                  <a:pt x="1394" y="48"/>
                </a:cubicBezTo>
                <a:cubicBezTo>
                  <a:pt x="1394" y="47"/>
                  <a:pt x="1394" y="47"/>
                  <a:pt x="1394" y="47"/>
                </a:cubicBezTo>
                <a:cubicBezTo>
                  <a:pt x="1394" y="47"/>
                  <a:pt x="1394" y="47"/>
                  <a:pt x="1394" y="47"/>
                </a:cubicBezTo>
                <a:cubicBezTo>
                  <a:pt x="1394" y="47"/>
                  <a:pt x="1394" y="46"/>
                  <a:pt x="1394" y="46"/>
                </a:cubicBezTo>
                <a:cubicBezTo>
                  <a:pt x="1394" y="46"/>
                  <a:pt x="1394" y="46"/>
                  <a:pt x="1394" y="46"/>
                </a:cubicBezTo>
                <a:cubicBezTo>
                  <a:pt x="1395" y="46"/>
                  <a:pt x="1395" y="45"/>
                  <a:pt x="1395" y="45"/>
                </a:cubicBezTo>
                <a:cubicBezTo>
                  <a:pt x="1395" y="45"/>
                  <a:pt x="1395" y="45"/>
                  <a:pt x="1395" y="45"/>
                </a:cubicBezTo>
                <a:cubicBezTo>
                  <a:pt x="1395" y="45"/>
                  <a:pt x="1395" y="45"/>
                  <a:pt x="1395" y="44"/>
                </a:cubicBezTo>
                <a:cubicBezTo>
                  <a:pt x="1395" y="44"/>
                  <a:pt x="1395" y="44"/>
                  <a:pt x="1395" y="44"/>
                </a:cubicBezTo>
                <a:cubicBezTo>
                  <a:pt x="1395" y="44"/>
                  <a:pt x="1395" y="44"/>
                  <a:pt x="1395" y="43"/>
                </a:cubicBezTo>
                <a:cubicBezTo>
                  <a:pt x="1395" y="43"/>
                  <a:pt x="1395" y="43"/>
                  <a:pt x="1395" y="43"/>
                </a:cubicBezTo>
                <a:cubicBezTo>
                  <a:pt x="1396" y="43"/>
                  <a:pt x="1396" y="43"/>
                  <a:pt x="1396" y="43"/>
                </a:cubicBezTo>
                <a:cubicBezTo>
                  <a:pt x="1396" y="42"/>
                  <a:pt x="1396" y="42"/>
                  <a:pt x="1396" y="42"/>
                </a:cubicBezTo>
                <a:cubicBezTo>
                  <a:pt x="1396" y="42"/>
                  <a:pt x="1396" y="42"/>
                  <a:pt x="1396" y="42"/>
                </a:cubicBezTo>
                <a:cubicBezTo>
                  <a:pt x="1396" y="42"/>
                  <a:pt x="1396" y="42"/>
                  <a:pt x="1396" y="41"/>
                </a:cubicBezTo>
                <a:cubicBezTo>
                  <a:pt x="1396" y="41"/>
                  <a:pt x="1396" y="41"/>
                  <a:pt x="1396" y="41"/>
                </a:cubicBezTo>
                <a:cubicBezTo>
                  <a:pt x="1397" y="41"/>
                  <a:pt x="1396" y="40"/>
                  <a:pt x="1397" y="40"/>
                </a:cubicBezTo>
                <a:cubicBezTo>
                  <a:pt x="1397" y="40"/>
                  <a:pt x="1397" y="40"/>
                  <a:pt x="1397" y="40"/>
                </a:cubicBezTo>
                <a:cubicBezTo>
                  <a:pt x="1397" y="39"/>
                  <a:pt x="1397" y="39"/>
                  <a:pt x="1397" y="38"/>
                </a:cubicBezTo>
                <a:cubicBezTo>
                  <a:pt x="1397" y="38"/>
                  <a:pt x="1397" y="38"/>
                  <a:pt x="1397" y="38"/>
                </a:cubicBezTo>
                <a:cubicBezTo>
                  <a:pt x="1397" y="37"/>
                  <a:pt x="1397" y="37"/>
                  <a:pt x="1397" y="36"/>
                </a:cubicBezTo>
                <a:cubicBezTo>
                  <a:pt x="1397" y="36"/>
                  <a:pt x="1397" y="36"/>
                  <a:pt x="1397" y="35"/>
                </a:cubicBezTo>
                <a:cubicBezTo>
                  <a:pt x="1397" y="33"/>
                  <a:pt x="1397" y="30"/>
                  <a:pt x="1397" y="27"/>
                </a:cubicBezTo>
                <a:cubicBezTo>
                  <a:pt x="1397" y="27"/>
                  <a:pt x="1397" y="27"/>
                  <a:pt x="1397" y="27"/>
                </a:cubicBezTo>
                <a:cubicBezTo>
                  <a:pt x="1397" y="26"/>
                  <a:pt x="1397" y="25"/>
                  <a:pt x="1397" y="25"/>
                </a:cubicBezTo>
                <a:cubicBezTo>
                  <a:pt x="1397" y="25"/>
                  <a:pt x="1397" y="25"/>
                  <a:pt x="1397" y="25"/>
                </a:cubicBezTo>
                <a:cubicBezTo>
                  <a:pt x="1397" y="25"/>
                  <a:pt x="1397" y="25"/>
                  <a:pt x="1397" y="25"/>
                </a:cubicBezTo>
                <a:cubicBezTo>
                  <a:pt x="1397" y="24"/>
                  <a:pt x="1397" y="24"/>
                  <a:pt x="1397" y="24"/>
                </a:cubicBezTo>
                <a:cubicBezTo>
                  <a:pt x="1396" y="23"/>
                  <a:pt x="1396" y="23"/>
                  <a:pt x="1396" y="23"/>
                </a:cubicBezTo>
                <a:cubicBezTo>
                  <a:pt x="1396" y="23"/>
                  <a:pt x="1396" y="23"/>
                  <a:pt x="1396" y="23"/>
                </a:cubicBezTo>
                <a:cubicBezTo>
                  <a:pt x="1396" y="23"/>
                  <a:pt x="1396" y="22"/>
                  <a:pt x="1396" y="22"/>
                </a:cubicBezTo>
                <a:cubicBezTo>
                  <a:pt x="1396" y="22"/>
                  <a:pt x="1396" y="22"/>
                  <a:pt x="1396" y="22"/>
                </a:cubicBezTo>
                <a:cubicBezTo>
                  <a:pt x="1396" y="22"/>
                  <a:pt x="1396" y="21"/>
                  <a:pt x="1396" y="21"/>
                </a:cubicBezTo>
                <a:cubicBezTo>
                  <a:pt x="1396" y="21"/>
                  <a:pt x="1396" y="21"/>
                  <a:pt x="1396" y="21"/>
                </a:cubicBezTo>
                <a:cubicBezTo>
                  <a:pt x="1396" y="21"/>
                  <a:pt x="1396" y="21"/>
                  <a:pt x="1395" y="20"/>
                </a:cubicBezTo>
                <a:cubicBezTo>
                  <a:pt x="1395" y="20"/>
                  <a:pt x="1395" y="20"/>
                  <a:pt x="1395" y="20"/>
                </a:cubicBezTo>
                <a:cubicBezTo>
                  <a:pt x="1395" y="20"/>
                  <a:pt x="1395" y="20"/>
                  <a:pt x="1395" y="20"/>
                </a:cubicBezTo>
                <a:cubicBezTo>
                  <a:pt x="1395" y="20"/>
                  <a:pt x="1395" y="20"/>
                  <a:pt x="1395" y="20"/>
                </a:cubicBezTo>
                <a:cubicBezTo>
                  <a:pt x="1395" y="20"/>
                  <a:pt x="1395" y="20"/>
                  <a:pt x="1395" y="20"/>
                </a:cubicBezTo>
                <a:cubicBezTo>
                  <a:pt x="1395" y="19"/>
                  <a:pt x="1395" y="19"/>
                  <a:pt x="1395" y="19"/>
                </a:cubicBezTo>
                <a:cubicBezTo>
                  <a:pt x="1395" y="19"/>
                  <a:pt x="1395" y="19"/>
                  <a:pt x="1395" y="19"/>
                </a:cubicBezTo>
                <a:cubicBezTo>
                  <a:pt x="1395" y="19"/>
                  <a:pt x="1395" y="19"/>
                  <a:pt x="1395" y="19"/>
                </a:cubicBezTo>
                <a:cubicBezTo>
                  <a:pt x="1395" y="19"/>
                  <a:pt x="1395" y="18"/>
                  <a:pt x="1394" y="18"/>
                </a:cubicBezTo>
                <a:cubicBezTo>
                  <a:pt x="1394" y="18"/>
                  <a:pt x="1394" y="18"/>
                  <a:pt x="1394" y="18"/>
                </a:cubicBezTo>
                <a:cubicBezTo>
                  <a:pt x="1394" y="18"/>
                  <a:pt x="1394" y="18"/>
                  <a:pt x="1394" y="18"/>
                </a:cubicBezTo>
                <a:cubicBezTo>
                  <a:pt x="1394" y="18"/>
                  <a:pt x="1394" y="18"/>
                  <a:pt x="1394" y="18"/>
                </a:cubicBezTo>
                <a:cubicBezTo>
                  <a:pt x="1394" y="17"/>
                  <a:pt x="1394" y="17"/>
                  <a:pt x="1394" y="17"/>
                </a:cubicBezTo>
                <a:cubicBezTo>
                  <a:pt x="1394" y="17"/>
                  <a:pt x="1394" y="17"/>
                  <a:pt x="1394" y="17"/>
                </a:cubicBezTo>
                <a:cubicBezTo>
                  <a:pt x="1394" y="17"/>
                  <a:pt x="1393" y="17"/>
                  <a:pt x="1393" y="17"/>
                </a:cubicBezTo>
                <a:cubicBezTo>
                  <a:pt x="1393" y="17"/>
                  <a:pt x="1393" y="17"/>
                  <a:pt x="1393" y="17"/>
                </a:cubicBezTo>
                <a:cubicBezTo>
                  <a:pt x="1393" y="16"/>
                  <a:pt x="1393" y="16"/>
                  <a:pt x="1393" y="16"/>
                </a:cubicBezTo>
                <a:cubicBezTo>
                  <a:pt x="1393" y="16"/>
                  <a:pt x="1393" y="16"/>
                  <a:pt x="1393" y="16"/>
                </a:cubicBezTo>
                <a:cubicBezTo>
                  <a:pt x="1393" y="16"/>
                  <a:pt x="1393" y="16"/>
                  <a:pt x="1393" y="16"/>
                </a:cubicBezTo>
                <a:cubicBezTo>
                  <a:pt x="1393" y="16"/>
                  <a:pt x="1393" y="16"/>
                  <a:pt x="1393" y="16"/>
                </a:cubicBezTo>
                <a:cubicBezTo>
                  <a:pt x="1393" y="15"/>
                  <a:pt x="1392" y="15"/>
                  <a:pt x="1392" y="15"/>
                </a:cubicBezTo>
                <a:cubicBezTo>
                  <a:pt x="1392" y="15"/>
                  <a:pt x="1392" y="15"/>
                  <a:pt x="1392" y="15"/>
                </a:cubicBezTo>
                <a:cubicBezTo>
                  <a:pt x="1392" y="15"/>
                  <a:pt x="1392" y="15"/>
                  <a:pt x="1392" y="15"/>
                </a:cubicBezTo>
                <a:cubicBezTo>
                  <a:pt x="1392" y="15"/>
                  <a:pt x="1392" y="15"/>
                  <a:pt x="1392" y="15"/>
                </a:cubicBezTo>
                <a:cubicBezTo>
                  <a:pt x="1392" y="14"/>
                  <a:pt x="1392" y="14"/>
                  <a:pt x="1392" y="14"/>
                </a:cubicBezTo>
                <a:cubicBezTo>
                  <a:pt x="1392" y="14"/>
                  <a:pt x="1392" y="14"/>
                  <a:pt x="1392" y="14"/>
                </a:cubicBezTo>
                <a:cubicBezTo>
                  <a:pt x="1392" y="14"/>
                  <a:pt x="1391" y="14"/>
                  <a:pt x="1391" y="14"/>
                </a:cubicBezTo>
                <a:cubicBezTo>
                  <a:pt x="1391" y="14"/>
                  <a:pt x="1391" y="14"/>
                  <a:pt x="1391" y="14"/>
                </a:cubicBezTo>
                <a:cubicBezTo>
                  <a:pt x="1391" y="14"/>
                  <a:pt x="1391" y="14"/>
                  <a:pt x="1391" y="13"/>
                </a:cubicBezTo>
                <a:cubicBezTo>
                  <a:pt x="1391" y="14"/>
                  <a:pt x="1391" y="14"/>
                  <a:pt x="1391" y="14"/>
                </a:cubicBezTo>
                <a:cubicBezTo>
                  <a:pt x="1391" y="13"/>
                  <a:pt x="1391" y="13"/>
                  <a:pt x="1391" y="13"/>
                </a:cubicBezTo>
                <a:cubicBezTo>
                  <a:pt x="1391" y="13"/>
                  <a:pt x="1391" y="13"/>
                  <a:pt x="1391" y="13"/>
                </a:cubicBezTo>
                <a:cubicBezTo>
                  <a:pt x="1390" y="13"/>
                  <a:pt x="1390" y="13"/>
                  <a:pt x="1390" y="13"/>
                </a:cubicBezTo>
                <a:cubicBezTo>
                  <a:pt x="1390" y="13"/>
                  <a:pt x="1390" y="13"/>
                  <a:pt x="1390" y="13"/>
                </a:cubicBezTo>
                <a:cubicBezTo>
                  <a:pt x="1390" y="13"/>
                  <a:pt x="1390" y="12"/>
                  <a:pt x="1390" y="12"/>
                </a:cubicBezTo>
                <a:cubicBezTo>
                  <a:pt x="1390" y="12"/>
                  <a:pt x="1390" y="12"/>
                  <a:pt x="1390" y="12"/>
                </a:cubicBezTo>
                <a:cubicBezTo>
                  <a:pt x="1390" y="12"/>
                  <a:pt x="1390" y="12"/>
                  <a:pt x="1389" y="12"/>
                </a:cubicBezTo>
                <a:cubicBezTo>
                  <a:pt x="1389" y="12"/>
                  <a:pt x="1389" y="12"/>
                  <a:pt x="1389" y="12"/>
                </a:cubicBezTo>
                <a:cubicBezTo>
                  <a:pt x="1389" y="12"/>
                  <a:pt x="1389" y="12"/>
                  <a:pt x="1389" y="11"/>
                </a:cubicBezTo>
                <a:cubicBezTo>
                  <a:pt x="1389" y="11"/>
                  <a:pt x="1389" y="11"/>
                  <a:pt x="1389" y="11"/>
                </a:cubicBezTo>
                <a:cubicBezTo>
                  <a:pt x="1388" y="11"/>
                  <a:pt x="1388" y="11"/>
                  <a:pt x="1388" y="11"/>
                </a:cubicBezTo>
                <a:cubicBezTo>
                  <a:pt x="1388" y="11"/>
                  <a:pt x="1388" y="11"/>
                  <a:pt x="1388" y="11"/>
                </a:cubicBezTo>
                <a:cubicBezTo>
                  <a:pt x="1388" y="11"/>
                  <a:pt x="1388" y="11"/>
                  <a:pt x="1388" y="11"/>
                </a:cubicBezTo>
                <a:cubicBezTo>
                  <a:pt x="1388" y="11"/>
                  <a:pt x="1388" y="11"/>
                  <a:pt x="1388" y="11"/>
                </a:cubicBezTo>
                <a:cubicBezTo>
                  <a:pt x="1388" y="10"/>
                  <a:pt x="1387" y="11"/>
                  <a:pt x="1387" y="10"/>
                </a:cubicBezTo>
                <a:cubicBezTo>
                  <a:pt x="1387" y="10"/>
                  <a:pt x="1387" y="10"/>
                  <a:pt x="1387" y="10"/>
                </a:cubicBezTo>
                <a:cubicBezTo>
                  <a:pt x="1387" y="10"/>
                  <a:pt x="1387" y="10"/>
                  <a:pt x="1387" y="10"/>
                </a:cubicBezTo>
                <a:cubicBezTo>
                  <a:pt x="1387" y="10"/>
                  <a:pt x="1387" y="10"/>
                  <a:pt x="1387" y="10"/>
                </a:cubicBezTo>
                <a:cubicBezTo>
                  <a:pt x="1387" y="10"/>
                  <a:pt x="1386" y="10"/>
                  <a:pt x="1386" y="10"/>
                </a:cubicBezTo>
                <a:cubicBezTo>
                  <a:pt x="1386" y="10"/>
                  <a:pt x="1386" y="10"/>
                  <a:pt x="1386" y="10"/>
                </a:cubicBezTo>
                <a:cubicBezTo>
                  <a:pt x="1386" y="9"/>
                  <a:pt x="1386" y="9"/>
                  <a:pt x="1385" y="9"/>
                </a:cubicBezTo>
                <a:cubicBezTo>
                  <a:pt x="1385" y="9"/>
                  <a:pt x="1385" y="9"/>
                  <a:pt x="1385" y="9"/>
                </a:cubicBezTo>
                <a:cubicBezTo>
                  <a:pt x="1385" y="9"/>
                  <a:pt x="1385" y="9"/>
                  <a:pt x="1385" y="9"/>
                </a:cubicBezTo>
                <a:cubicBezTo>
                  <a:pt x="1385" y="9"/>
                  <a:pt x="1385" y="9"/>
                  <a:pt x="1385" y="9"/>
                </a:cubicBezTo>
                <a:cubicBezTo>
                  <a:pt x="1385" y="9"/>
                  <a:pt x="1384" y="9"/>
                  <a:pt x="1384" y="9"/>
                </a:cubicBezTo>
                <a:cubicBezTo>
                  <a:pt x="1384" y="9"/>
                  <a:pt x="1384" y="9"/>
                  <a:pt x="1384" y="9"/>
                </a:cubicBezTo>
                <a:cubicBezTo>
                  <a:pt x="1384" y="9"/>
                  <a:pt x="1384" y="9"/>
                  <a:pt x="1384" y="9"/>
                </a:cubicBezTo>
                <a:cubicBezTo>
                  <a:pt x="1384" y="8"/>
                  <a:pt x="1383" y="8"/>
                  <a:pt x="1383" y="8"/>
                </a:cubicBezTo>
                <a:cubicBezTo>
                  <a:pt x="1383" y="8"/>
                  <a:pt x="1383" y="8"/>
                  <a:pt x="1383" y="8"/>
                </a:cubicBezTo>
                <a:cubicBezTo>
                  <a:pt x="1383" y="8"/>
                  <a:pt x="1383" y="8"/>
                  <a:pt x="1383" y="8"/>
                </a:cubicBezTo>
                <a:cubicBezTo>
                  <a:pt x="1383" y="8"/>
                  <a:pt x="1383" y="8"/>
                  <a:pt x="1383" y="8"/>
                </a:cubicBezTo>
                <a:cubicBezTo>
                  <a:pt x="1382" y="8"/>
                  <a:pt x="1382" y="8"/>
                  <a:pt x="1382" y="8"/>
                </a:cubicBezTo>
                <a:cubicBezTo>
                  <a:pt x="1382" y="8"/>
                  <a:pt x="1382" y="8"/>
                  <a:pt x="1382" y="8"/>
                </a:cubicBezTo>
                <a:cubicBezTo>
                  <a:pt x="1382" y="8"/>
                  <a:pt x="1382" y="8"/>
                  <a:pt x="1382" y="8"/>
                </a:cubicBezTo>
                <a:cubicBezTo>
                  <a:pt x="1381" y="7"/>
                  <a:pt x="1381" y="7"/>
                  <a:pt x="1381" y="7"/>
                </a:cubicBezTo>
                <a:cubicBezTo>
                  <a:pt x="1381" y="7"/>
                  <a:pt x="1381" y="7"/>
                  <a:pt x="1381" y="7"/>
                </a:cubicBezTo>
                <a:cubicBezTo>
                  <a:pt x="1381" y="7"/>
                  <a:pt x="1381" y="7"/>
                  <a:pt x="1381" y="7"/>
                </a:cubicBezTo>
                <a:cubicBezTo>
                  <a:pt x="1380" y="7"/>
                  <a:pt x="1380" y="7"/>
                  <a:pt x="1379" y="7"/>
                </a:cubicBezTo>
                <a:cubicBezTo>
                  <a:pt x="1379" y="7"/>
                  <a:pt x="1379" y="7"/>
                  <a:pt x="1379" y="7"/>
                </a:cubicBezTo>
                <a:cubicBezTo>
                  <a:pt x="1379" y="6"/>
                  <a:pt x="1378" y="7"/>
                  <a:pt x="1378" y="7"/>
                </a:cubicBezTo>
                <a:cubicBezTo>
                  <a:pt x="1378" y="7"/>
                  <a:pt x="1378" y="7"/>
                  <a:pt x="1378" y="6"/>
                </a:cubicBezTo>
                <a:cubicBezTo>
                  <a:pt x="1377" y="6"/>
                  <a:pt x="1377" y="6"/>
                  <a:pt x="1376" y="6"/>
                </a:cubicBezTo>
                <a:cubicBezTo>
                  <a:pt x="1376" y="6"/>
                  <a:pt x="1376" y="6"/>
                  <a:pt x="1376" y="6"/>
                </a:cubicBezTo>
                <a:cubicBezTo>
                  <a:pt x="1375" y="6"/>
                  <a:pt x="1374" y="6"/>
                  <a:pt x="1373" y="6"/>
                </a:cubicBezTo>
                <a:cubicBezTo>
                  <a:pt x="1373" y="6"/>
                  <a:pt x="1372" y="6"/>
                  <a:pt x="1371" y="6"/>
                </a:cubicBezTo>
                <a:cubicBezTo>
                  <a:pt x="1371" y="6"/>
                  <a:pt x="1370" y="6"/>
                  <a:pt x="1369" y="6"/>
                </a:cubicBezTo>
                <a:cubicBezTo>
                  <a:pt x="1368" y="6"/>
                  <a:pt x="1368" y="6"/>
                  <a:pt x="1367" y="6"/>
                </a:cubicBezTo>
                <a:cubicBezTo>
                  <a:pt x="1366" y="6"/>
                  <a:pt x="1365" y="6"/>
                  <a:pt x="1364" y="6"/>
                </a:cubicBezTo>
                <a:cubicBezTo>
                  <a:pt x="1364" y="6"/>
                  <a:pt x="1364" y="6"/>
                  <a:pt x="1364" y="6"/>
                </a:cubicBezTo>
                <a:cubicBezTo>
                  <a:pt x="1363" y="7"/>
                  <a:pt x="1363" y="6"/>
                  <a:pt x="1362" y="6"/>
                </a:cubicBezTo>
                <a:cubicBezTo>
                  <a:pt x="1362" y="7"/>
                  <a:pt x="1362" y="7"/>
                  <a:pt x="1362" y="7"/>
                </a:cubicBezTo>
                <a:cubicBezTo>
                  <a:pt x="1361" y="7"/>
                  <a:pt x="1361" y="6"/>
                  <a:pt x="1360" y="7"/>
                </a:cubicBezTo>
                <a:cubicBezTo>
                  <a:pt x="1360" y="7"/>
                  <a:pt x="1360" y="7"/>
                  <a:pt x="1360" y="7"/>
                </a:cubicBezTo>
                <a:cubicBezTo>
                  <a:pt x="1360" y="7"/>
                  <a:pt x="1360" y="7"/>
                  <a:pt x="1359" y="7"/>
                </a:cubicBezTo>
                <a:cubicBezTo>
                  <a:pt x="1359" y="7"/>
                  <a:pt x="1359" y="7"/>
                  <a:pt x="1359" y="7"/>
                </a:cubicBezTo>
                <a:cubicBezTo>
                  <a:pt x="1359" y="7"/>
                  <a:pt x="1358" y="7"/>
                  <a:pt x="1358" y="7"/>
                </a:cubicBezTo>
                <a:cubicBezTo>
                  <a:pt x="1358" y="8"/>
                  <a:pt x="1358" y="8"/>
                  <a:pt x="1358" y="8"/>
                </a:cubicBezTo>
                <a:cubicBezTo>
                  <a:pt x="1358" y="8"/>
                  <a:pt x="1357" y="8"/>
                  <a:pt x="1357" y="8"/>
                </a:cubicBezTo>
                <a:cubicBezTo>
                  <a:pt x="1357" y="8"/>
                  <a:pt x="1357" y="8"/>
                  <a:pt x="1357" y="8"/>
                </a:cubicBezTo>
                <a:cubicBezTo>
                  <a:pt x="1357" y="8"/>
                  <a:pt x="1357" y="8"/>
                  <a:pt x="1357" y="8"/>
                </a:cubicBezTo>
                <a:cubicBezTo>
                  <a:pt x="1357" y="8"/>
                  <a:pt x="1356" y="8"/>
                  <a:pt x="1356" y="8"/>
                </a:cubicBezTo>
                <a:cubicBezTo>
                  <a:pt x="1356" y="8"/>
                  <a:pt x="1356" y="8"/>
                  <a:pt x="1356" y="8"/>
                </a:cubicBezTo>
                <a:cubicBezTo>
                  <a:pt x="1356" y="8"/>
                  <a:pt x="1356" y="8"/>
                  <a:pt x="1355" y="9"/>
                </a:cubicBezTo>
                <a:cubicBezTo>
                  <a:pt x="1355" y="9"/>
                  <a:pt x="1355" y="9"/>
                  <a:pt x="1355" y="9"/>
                </a:cubicBezTo>
                <a:cubicBezTo>
                  <a:pt x="1355" y="9"/>
                  <a:pt x="1355" y="9"/>
                  <a:pt x="1355" y="9"/>
                </a:cubicBezTo>
                <a:cubicBezTo>
                  <a:pt x="1355" y="9"/>
                  <a:pt x="1355" y="9"/>
                  <a:pt x="1355" y="9"/>
                </a:cubicBezTo>
                <a:cubicBezTo>
                  <a:pt x="1355" y="9"/>
                  <a:pt x="1354" y="9"/>
                  <a:pt x="1354" y="9"/>
                </a:cubicBezTo>
                <a:cubicBezTo>
                  <a:pt x="1354" y="9"/>
                  <a:pt x="1354" y="9"/>
                  <a:pt x="1354" y="9"/>
                </a:cubicBezTo>
                <a:cubicBezTo>
                  <a:pt x="1354" y="9"/>
                  <a:pt x="1354" y="9"/>
                  <a:pt x="1353" y="10"/>
                </a:cubicBezTo>
                <a:cubicBezTo>
                  <a:pt x="1353" y="10"/>
                  <a:pt x="1353" y="10"/>
                  <a:pt x="1353" y="10"/>
                </a:cubicBezTo>
                <a:cubicBezTo>
                  <a:pt x="1353" y="10"/>
                  <a:pt x="1353" y="10"/>
                  <a:pt x="1353" y="10"/>
                </a:cubicBezTo>
                <a:cubicBezTo>
                  <a:pt x="1353" y="10"/>
                  <a:pt x="1353" y="10"/>
                  <a:pt x="1353" y="10"/>
                </a:cubicBezTo>
                <a:cubicBezTo>
                  <a:pt x="1353" y="10"/>
                  <a:pt x="1352" y="10"/>
                  <a:pt x="1352" y="10"/>
                </a:cubicBezTo>
                <a:cubicBezTo>
                  <a:pt x="1352" y="10"/>
                  <a:pt x="1352" y="10"/>
                  <a:pt x="1352" y="10"/>
                </a:cubicBezTo>
                <a:cubicBezTo>
                  <a:pt x="1352" y="11"/>
                  <a:pt x="1352" y="10"/>
                  <a:pt x="1352" y="11"/>
                </a:cubicBezTo>
                <a:cubicBezTo>
                  <a:pt x="1352" y="11"/>
                  <a:pt x="1352" y="11"/>
                  <a:pt x="1352" y="11"/>
                </a:cubicBezTo>
                <a:cubicBezTo>
                  <a:pt x="1351" y="11"/>
                  <a:pt x="1351" y="11"/>
                  <a:pt x="1351" y="11"/>
                </a:cubicBezTo>
                <a:cubicBezTo>
                  <a:pt x="1351" y="11"/>
                  <a:pt x="1351" y="11"/>
                  <a:pt x="1351" y="11"/>
                </a:cubicBezTo>
                <a:cubicBezTo>
                  <a:pt x="1350" y="11"/>
                  <a:pt x="1350" y="12"/>
                  <a:pt x="1350" y="12"/>
                </a:cubicBezTo>
                <a:cubicBezTo>
                  <a:pt x="1350" y="12"/>
                  <a:pt x="1350" y="12"/>
                  <a:pt x="1350" y="12"/>
                </a:cubicBezTo>
                <a:cubicBezTo>
                  <a:pt x="1350" y="12"/>
                  <a:pt x="1350" y="12"/>
                  <a:pt x="1350" y="12"/>
                </a:cubicBezTo>
                <a:cubicBezTo>
                  <a:pt x="1350" y="12"/>
                  <a:pt x="1350" y="12"/>
                  <a:pt x="1350" y="12"/>
                </a:cubicBezTo>
                <a:cubicBezTo>
                  <a:pt x="1349" y="12"/>
                  <a:pt x="1349" y="12"/>
                  <a:pt x="1349" y="12"/>
                </a:cubicBezTo>
                <a:cubicBezTo>
                  <a:pt x="1349" y="12"/>
                  <a:pt x="1349" y="12"/>
                  <a:pt x="1349" y="12"/>
                </a:cubicBezTo>
                <a:cubicBezTo>
                  <a:pt x="1349" y="13"/>
                  <a:pt x="1349" y="13"/>
                  <a:pt x="1349" y="13"/>
                </a:cubicBezTo>
                <a:cubicBezTo>
                  <a:pt x="1349" y="13"/>
                  <a:pt x="1349" y="13"/>
                  <a:pt x="1349" y="13"/>
                </a:cubicBezTo>
                <a:cubicBezTo>
                  <a:pt x="1349" y="13"/>
                  <a:pt x="1348" y="13"/>
                  <a:pt x="1348" y="14"/>
                </a:cubicBezTo>
                <a:cubicBezTo>
                  <a:pt x="1348" y="14"/>
                  <a:pt x="1348" y="14"/>
                  <a:pt x="1348" y="14"/>
                </a:cubicBezTo>
                <a:cubicBezTo>
                  <a:pt x="1348" y="14"/>
                  <a:pt x="1348" y="14"/>
                  <a:pt x="1347" y="14"/>
                </a:cubicBezTo>
                <a:cubicBezTo>
                  <a:pt x="1348" y="14"/>
                  <a:pt x="1348" y="14"/>
                  <a:pt x="1348" y="14"/>
                </a:cubicBezTo>
                <a:cubicBezTo>
                  <a:pt x="1347" y="14"/>
                  <a:pt x="1347" y="14"/>
                  <a:pt x="1347" y="14"/>
                </a:cubicBezTo>
                <a:cubicBezTo>
                  <a:pt x="1347" y="14"/>
                  <a:pt x="1347" y="14"/>
                  <a:pt x="1347" y="14"/>
                </a:cubicBezTo>
                <a:cubicBezTo>
                  <a:pt x="1347" y="14"/>
                  <a:pt x="1347" y="14"/>
                  <a:pt x="1347" y="15"/>
                </a:cubicBezTo>
                <a:cubicBezTo>
                  <a:pt x="1347" y="15"/>
                  <a:pt x="1347" y="15"/>
                  <a:pt x="1347" y="15"/>
                </a:cubicBezTo>
                <a:cubicBezTo>
                  <a:pt x="1346" y="17"/>
                  <a:pt x="1347" y="19"/>
                  <a:pt x="1347" y="22"/>
                </a:cubicBezTo>
                <a:cubicBezTo>
                  <a:pt x="1347" y="23"/>
                  <a:pt x="1346" y="25"/>
                  <a:pt x="1347" y="26"/>
                </a:cubicBezTo>
                <a:cubicBezTo>
                  <a:pt x="1348" y="25"/>
                  <a:pt x="1349" y="24"/>
                  <a:pt x="1350" y="23"/>
                </a:cubicBezTo>
                <a:cubicBezTo>
                  <a:pt x="1350" y="23"/>
                  <a:pt x="1350" y="23"/>
                  <a:pt x="1350" y="23"/>
                </a:cubicBezTo>
                <a:cubicBezTo>
                  <a:pt x="1350" y="23"/>
                  <a:pt x="1350" y="23"/>
                  <a:pt x="1350" y="23"/>
                </a:cubicBezTo>
                <a:cubicBezTo>
                  <a:pt x="1350" y="23"/>
                  <a:pt x="1350" y="23"/>
                  <a:pt x="1350" y="23"/>
                </a:cubicBezTo>
                <a:cubicBezTo>
                  <a:pt x="1350" y="23"/>
                  <a:pt x="1350" y="23"/>
                  <a:pt x="1351" y="23"/>
                </a:cubicBezTo>
                <a:cubicBezTo>
                  <a:pt x="1351" y="23"/>
                  <a:pt x="1351" y="23"/>
                  <a:pt x="1351" y="23"/>
                </a:cubicBezTo>
                <a:cubicBezTo>
                  <a:pt x="1351" y="23"/>
                  <a:pt x="1351" y="23"/>
                  <a:pt x="1351" y="22"/>
                </a:cubicBezTo>
                <a:cubicBezTo>
                  <a:pt x="1351" y="22"/>
                  <a:pt x="1351" y="22"/>
                  <a:pt x="1351" y="22"/>
                </a:cubicBezTo>
                <a:cubicBezTo>
                  <a:pt x="1351" y="22"/>
                  <a:pt x="1351" y="22"/>
                  <a:pt x="1351" y="22"/>
                </a:cubicBezTo>
                <a:cubicBezTo>
                  <a:pt x="1351" y="22"/>
                  <a:pt x="1351" y="22"/>
                  <a:pt x="1351" y="22"/>
                </a:cubicBezTo>
                <a:cubicBezTo>
                  <a:pt x="1351" y="22"/>
                  <a:pt x="1352" y="22"/>
                  <a:pt x="1352" y="22"/>
                </a:cubicBezTo>
                <a:cubicBezTo>
                  <a:pt x="1352" y="22"/>
                  <a:pt x="1352" y="22"/>
                  <a:pt x="1352" y="22"/>
                </a:cubicBezTo>
                <a:cubicBezTo>
                  <a:pt x="1352" y="22"/>
                  <a:pt x="1352" y="22"/>
                  <a:pt x="1352" y="21"/>
                </a:cubicBezTo>
                <a:cubicBezTo>
                  <a:pt x="1352" y="21"/>
                  <a:pt x="1352" y="21"/>
                  <a:pt x="1352" y="21"/>
                </a:cubicBezTo>
                <a:cubicBezTo>
                  <a:pt x="1352" y="21"/>
                  <a:pt x="1353" y="21"/>
                  <a:pt x="1353" y="21"/>
                </a:cubicBezTo>
                <a:cubicBezTo>
                  <a:pt x="1353" y="21"/>
                  <a:pt x="1353" y="21"/>
                  <a:pt x="1353" y="21"/>
                </a:cubicBezTo>
                <a:cubicBezTo>
                  <a:pt x="1353" y="21"/>
                  <a:pt x="1353" y="21"/>
                  <a:pt x="1353" y="21"/>
                </a:cubicBezTo>
                <a:cubicBezTo>
                  <a:pt x="1353" y="21"/>
                  <a:pt x="1353" y="21"/>
                  <a:pt x="1353" y="21"/>
                </a:cubicBezTo>
                <a:cubicBezTo>
                  <a:pt x="1353" y="21"/>
                  <a:pt x="1354" y="21"/>
                  <a:pt x="1354" y="20"/>
                </a:cubicBezTo>
                <a:cubicBezTo>
                  <a:pt x="1354" y="20"/>
                  <a:pt x="1354" y="20"/>
                  <a:pt x="1354" y="20"/>
                </a:cubicBezTo>
                <a:cubicBezTo>
                  <a:pt x="1354" y="20"/>
                  <a:pt x="1354" y="20"/>
                  <a:pt x="1355" y="20"/>
                </a:cubicBezTo>
                <a:cubicBezTo>
                  <a:pt x="1355" y="20"/>
                  <a:pt x="1355" y="20"/>
                  <a:pt x="1355" y="20"/>
                </a:cubicBezTo>
                <a:cubicBezTo>
                  <a:pt x="1355" y="20"/>
                  <a:pt x="1355" y="20"/>
                  <a:pt x="1355" y="19"/>
                </a:cubicBezTo>
                <a:cubicBezTo>
                  <a:pt x="1355" y="19"/>
                  <a:pt x="1355" y="19"/>
                  <a:pt x="1355" y="19"/>
                </a:cubicBezTo>
                <a:cubicBezTo>
                  <a:pt x="1356" y="19"/>
                  <a:pt x="1356" y="19"/>
                  <a:pt x="1356" y="19"/>
                </a:cubicBezTo>
                <a:cubicBezTo>
                  <a:pt x="1356" y="19"/>
                  <a:pt x="1356" y="19"/>
                  <a:pt x="1356" y="19"/>
                </a:cubicBezTo>
                <a:cubicBezTo>
                  <a:pt x="1356" y="19"/>
                  <a:pt x="1356" y="19"/>
                  <a:pt x="1356" y="19"/>
                </a:cubicBezTo>
                <a:cubicBezTo>
                  <a:pt x="1356" y="19"/>
                  <a:pt x="1356" y="19"/>
                  <a:pt x="1356" y="19"/>
                </a:cubicBezTo>
                <a:cubicBezTo>
                  <a:pt x="1357" y="18"/>
                  <a:pt x="1357" y="19"/>
                  <a:pt x="1357" y="18"/>
                </a:cubicBezTo>
                <a:cubicBezTo>
                  <a:pt x="1357" y="18"/>
                  <a:pt x="1357" y="18"/>
                  <a:pt x="1357" y="18"/>
                </a:cubicBezTo>
                <a:cubicBezTo>
                  <a:pt x="1357" y="18"/>
                  <a:pt x="1358" y="18"/>
                  <a:pt x="1358" y="18"/>
                </a:cubicBezTo>
                <a:cubicBezTo>
                  <a:pt x="1358" y="18"/>
                  <a:pt x="1358" y="18"/>
                  <a:pt x="1358" y="18"/>
                </a:cubicBezTo>
                <a:cubicBezTo>
                  <a:pt x="1358" y="18"/>
                  <a:pt x="1358" y="18"/>
                  <a:pt x="1359" y="18"/>
                </a:cubicBezTo>
                <a:cubicBezTo>
                  <a:pt x="1359" y="18"/>
                  <a:pt x="1359" y="18"/>
                  <a:pt x="1359" y="18"/>
                </a:cubicBezTo>
                <a:cubicBezTo>
                  <a:pt x="1359" y="17"/>
                  <a:pt x="1359" y="17"/>
                  <a:pt x="1359" y="17"/>
                </a:cubicBezTo>
                <a:cubicBezTo>
                  <a:pt x="1359" y="17"/>
                  <a:pt x="1359" y="17"/>
                  <a:pt x="1359" y="17"/>
                </a:cubicBezTo>
                <a:cubicBezTo>
                  <a:pt x="1359" y="17"/>
                  <a:pt x="1360" y="17"/>
                  <a:pt x="1360" y="17"/>
                </a:cubicBezTo>
                <a:cubicBezTo>
                  <a:pt x="1360" y="17"/>
                  <a:pt x="1360" y="17"/>
                  <a:pt x="1360" y="17"/>
                </a:cubicBezTo>
                <a:cubicBezTo>
                  <a:pt x="1360" y="17"/>
                  <a:pt x="1360" y="17"/>
                  <a:pt x="1360" y="17"/>
                </a:cubicBezTo>
                <a:cubicBezTo>
                  <a:pt x="1360" y="17"/>
                  <a:pt x="1361" y="17"/>
                  <a:pt x="1361" y="17"/>
                </a:cubicBezTo>
                <a:cubicBezTo>
                  <a:pt x="1361" y="17"/>
                  <a:pt x="1361" y="17"/>
                  <a:pt x="1361" y="17"/>
                </a:cubicBezTo>
                <a:cubicBezTo>
                  <a:pt x="1361" y="16"/>
                  <a:pt x="1362" y="17"/>
                  <a:pt x="1362" y="16"/>
                </a:cubicBezTo>
                <a:cubicBezTo>
                  <a:pt x="1362" y="16"/>
                  <a:pt x="1362" y="16"/>
                  <a:pt x="1362" y="16"/>
                </a:cubicBezTo>
                <a:cubicBezTo>
                  <a:pt x="1362" y="16"/>
                  <a:pt x="1363" y="16"/>
                  <a:pt x="1363" y="16"/>
                </a:cubicBezTo>
                <a:cubicBezTo>
                  <a:pt x="1363" y="16"/>
                  <a:pt x="1363" y="16"/>
                  <a:pt x="1363" y="16"/>
                </a:cubicBezTo>
                <a:cubicBezTo>
                  <a:pt x="1363" y="16"/>
                  <a:pt x="1363" y="16"/>
                  <a:pt x="1363" y="16"/>
                </a:cubicBezTo>
                <a:cubicBezTo>
                  <a:pt x="1364" y="16"/>
                  <a:pt x="1364" y="16"/>
                  <a:pt x="1364" y="16"/>
                </a:cubicBezTo>
                <a:cubicBezTo>
                  <a:pt x="1365" y="15"/>
                  <a:pt x="1365" y="15"/>
                  <a:pt x="1365" y="15"/>
                </a:cubicBezTo>
                <a:cubicBezTo>
                  <a:pt x="1366" y="15"/>
                  <a:pt x="1366" y="16"/>
                  <a:pt x="1367" y="15"/>
                </a:cubicBezTo>
                <a:cubicBezTo>
                  <a:pt x="1367" y="15"/>
                  <a:pt x="1368" y="15"/>
                  <a:pt x="1368" y="15"/>
                </a:cubicBezTo>
                <a:cubicBezTo>
                  <a:pt x="1369" y="15"/>
                  <a:pt x="1369" y="15"/>
                  <a:pt x="1370" y="15"/>
                </a:cubicBezTo>
                <a:cubicBezTo>
                  <a:pt x="1371" y="15"/>
                  <a:pt x="1371" y="15"/>
                  <a:pt x="1371" y="15"/>
                </a:cubicBezTo>
                <a:cubicBezTo>
                  <a:pt x="1372" y="16"/>
                  <a:pt x="1373" y="15"/>
                  <a:pt x="1373" y="15"/>
                </a:cubicBezTo>
                <a:cubicBezTo>
                  <a:pt x="1373" y="15"/>
                  <a:pt x="1373" y="15"/>
                  <a:pt x="1373" y="15"/>
                </a:cubicBezTo>
                <a:cubicBezTo>
                  <a:pt x="1374" y="16"/>
                  <a:pt x="1374" y="16"/>
                  <a:pt x="1374" y="16"/>
                </a:cubicBezTo>
                <a:cubicBezTo>
                  <a:pt x="1374" y="16"/>
                  <a:pt x="1375" y="16"/>
                  <a:pt x="1375" y="16"/>
                </a:cubicBezTo>
                <a:cubicBezTo>
                  <a:pt x="1375" y="16"/>
                  <a:pt x="1375" y="16"/>
                  <a:pt x="1375" y="16"/>
                </a:cubicBezTo>
                <a:cubicBezTo>
                  <a:pt x="1375" y="16"/>
                  <a:pt x="1376" y="16"/>
                  <a:pt x="1376" y="16"/>
                </a:cubicBezTo>
                <a:cubicBezTo>
                  <a:pt x="1376" y="16"/>
                  <a:pt x="1376" y="16"/>
                  <a:pt x="1376" y="16"/>
                </a:cubicBezTo>
                <a:cubicBezTo>
                  <a:pt x="1376" y="17"/>
                  <a:pt x="1377" y="16"/>
                  <a:pt x="1377" y="17"/>
                </a:cubicBezTo>
                <a:cubicBezTo>
                  <a:pt x="1377" y="17"/>
                  <a:pt x="1377" y="17"/>
                  <a:pt x="1377" y="17"/>
                </a:cubicBezTo>
                <a:cubicBezTo>
                  <a:pt x="1377" y="17"/>
                  <a:pt x="1378" y="17"/>
                  <a:pt x="1378" y="17"/>
                </a:cubicBezTo>
                <a:cubicBezTo>
                  <a:pt x="1378" y="17"/>
                  <a:pt x="1378" y="17"/>
                  <a:pt x="1378" y="17"/>
                </a:cubicBezTo>
                <a:cubicBezTo>
                  <a:pt x="1378" y="17"/>
                  <a:pt x="1378" y="17"/>
                  <a:pt x="1378" y="17"/>
                </a:cubicBezTo>
                <a:cubicBezTo>
                  <a:pt x="1378" y="17"/>
                  <a:pt x="1378" y="17"/>
                  <a:pt x="1378" y="17"/>
                </a:cubicBezTo>
                <a:cubicBezTo>
                  <a:pt x="1379" y="17"/>
                  <a:pt x="1379" y="17"/>
                  <a:pt x="1379" y="18"/>
                </a:cubicBezTo>
                <a:cubicBezTo>
                  <a:pt x="1379" y="18"/>
                  <a:pt x="1379" y="18"/>
                  <a:pt x="1379" y="18"/>
                </a:cubicBezTo>
                <a:cubicBezTo>
                  <a:pt x="1379" y="18"/>
                  <a:pt x="1379" y="18"/>
                  <a:pt x="1380" y="18"/>
                </a:cubicBezTo>
                <a:cubicBezTo>
                  <a:pt x="1379" y="18"/>
                  <a:pt x="1379" y="18"/>
                  <a:pt x="1379" y="18"/>
                </a:cubicBezTo>
                <a:cubicBezTo>
                  <a:pt x="1380" y="18"/>
                  <a:pt x="1380" y="18"/>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1"/>
                  <a:pt x="1382" y="21"/>
                  <a:pt x="1383" y="21"/>
                </a:cubicBezTo>
                <a:cubicBezTo>
                  <a:pt x="1383" y="21"/>
                  <a:pt x="1383" y="21"/>
                  <a:pt x="1383" y="21"/>
                </a:cubicBezTo>
                <a:cubicBezTo>
                  <a:pt x="1383" y="21"/>
                  <a:pt x="1383" y="21"/>
                  <a:pt x="1383" y="21"/>
                </a:cubicBezTo>
                <a:cubicBezTo>
                  <a:pt x="1383" y="21"/>
                  <a:pt x="1383" y="21"/>
                  <a:pt x="1383" y="21"/>
                </a:cubicBezTo>
                <a:cubicBezTo>
                  <a:pt x="1383" y="21"/>
                  <a:pt x="1383" y="22"/>
                  <a:pt x="1383" y="22"/>
                </a:cubicBezTo>
                <a:cubicBezTo>
                  <a:pt x="1383" y="22"/>
                  <a:pt x="1383" y="22"/>
                  <a:pt x="1383" y="22"/>
                </a:cubicBezTo>
                <a:cubicBezTo>
                  <a:pt x="1383" y="22"/>
                  <a:pt x="1384" y="22"/>
                  <a:pt x="1384" y="22"/>
                </a:cubicBezTo>
                <a:cubicBezTo>
                  <a:pt x="1384" y="22"/>
                  <a:pt x="1384" y="22"/>
                  <a:pt x="1384" y="22"/>
                </a:cubicBezTo>
                <a:cubicBezTo>
                  <a:pt x="1384" y="22"/>
                  <a:pt x="1384" y="23"/>
                  <a:pt x="1384" y="23"/>
                </a:cubicBezTo>
                <a:cubicBezTo>
                  <a:pt x="1384" y="23"/>
                  <a:pt x="1384" y="23"/>
                  <a:pt x="1384" y="23"/>
                </a:cubicBezTo>
                <a:cubicBezTo>
                  <a:pt x="1384" y="23"/>
                  <a:pt x="1384" y="23"/>
                  <a:pt x="1384" y="24"/>
                </a:cubicBezTo>
                <a:cubicBezTo>
                  <a:pt x="1384" y="23"/>
                  <a:pt x="1384" y="23"/>
                  <a:pt x="1384" y="23"/>
                </a:cubicBezTo>
                <a:cubicBezTo>
                  <a:pt x="1385" y="24"/>
                  <a:pt x="1384" y="24"/>
                  <a:pt x="1385" y="24"/>
                </a:cubicBezTo>
                <a:cubicBezTo>
                  <a:pt x="1385" y="24"/>
                  <a:pt x="1385" y="24"/>
                  <a:pt x="1385" y="24"/>
                </a:cubicBezTo>
                <a:cubicBezTo>
                  <a:pt x="1385" y="24"/>
                  <a:pt x="1385" y="25"/>
                  <a:pt x="1385" y="25"/>
                </a:cubicBezTo>
                <a:cubicBezTo>
                  <a:pt x="1385" y="25"/>
                  <a:pt x="1385" y="25"/>
                  <a:pt x="1385" y="25"/>
                </a:cubicBezTo>
                <a:cubicBezTo>
                  <a:pt x="1385" y="25"/>
                  <a:pt x="1385" y="26"/>
                  <a:pt x="1385" y="26"/>
                </a:cubicBezTo>
                <a:cubicBezTo>
                  <a:pt x="1385" y="26"/>
                  <a:pt x="1385" y="26"/>
                  <a:pt x="1385" y="26"/>
                </a:cubicBezTo>
                <a:cubicBezTo>
                  <a:pt x="1386" y="26"/>
                  <a:pt x="1385" y="27"/>
                  <a:pt x="1386" y="27"/>
                </a:cubicBezTo>
                <a:cubicBezTo>
                  <a:pt x="1386" y="27"/>
                  <a:pt x="1386" y="27"/>
                  <a:pt x="1386" y="27"/>
                </a:cubicBezTo>
                <a:cubicBezTo>
                  <a:pt x="1386" y="28"/>
                  <a:pt x="1386" y="29"/>
                  <a:pt x="1386" y="29"/>
                </a:cubicBezTo>
                <a:cubicBezTo>
                  <a:pt x="1386" y="29"/>
                  <a:pt x="1386" y="29"/>
                  <a:pt x="1386" y="30"/>
                </a:cubicBezTo>
                <a:cubicBezTo>
                  <a:pt x="1386" y="31"/>
                  <a:pt x="1386" y="33"/>
                  <a:pt x="1386" y="35"/>
                </a:cubicBezTo>
                <a:cubicBezTo>
                  <a:pt x="1386" y="35"/>
                  <a:pt x="1386" y="35"/>
                  <a:pt x="1386" y="35"/>
                </a:cubicBezTo>
                <a:cubicBezTo>
                  <a:pt x="1386" y="36"/>
                  <a:pt x="1386" y="37"/>
                  <a:pt x="1386" y="37"/>
                </a:cubicBezTo>
                <a:close/>
                <a:moveTo>
                  <a:pt x="603" y="123"/>
                </a:moveTo>
                <a:cubicBezTo>
                  <a:pt x="603" y="124"/>
                  <a:pt x="603" y="124"/>
                  <a:pt x="603" y="123"/>
                </a:cubicBezTo>
                <a:cubicBezTo>
                  <a:pt x="601" y="124"/>
                  <a:pt x="600" y="124"/>
                  <a:pt x="599" y="123"/>
                </a:cubicBezTo>
                <a:cubicBezTo>
                  <a:pt x="599" y="124"/>
                  <a:pt x="599" y="124"/>
                  <a:pt x="598" y="123"/>
                </a:cubicBezTo>
                <a:cubicBezTo>
                  <a:pt x="598" y="123"/>
                  <a:pt x="597" y="123"/>
                  <a:pt x="597" y="123"/>
                </a:cubicBezTo>
                <a:cubicBezTo>
                  <a:pt x="597" y="123"/>
                  <a:pt x="597" y="123"/>
                  <a:pt x="597" y="123"/>
                </a:cubicBezTo>
                <a:cubicBezTo>
                  <a:pt x="596" y="123"/>
                  <a:pt x="596" y="123"/>
                  <a:pt x="596" y="123"/>
                </a:cubicBezTo>
                <a:cubicBezTo>
                  <a:pt x="596" y="123"/>
                  <a:pt x="596" y="123"/>
                  <a:pt x="596" y="123"/>
                </a:cubicBezTo>
                <a:cubicBezTo>
                  <a:pt x="595" y="122"/>
                  <a:pt x="594" y="123"/>
                  <a:pt x="594" y="123"/>
                </a:cubicBezTo>
                <a:cubicBezTo>
                  <a:pt x="594" y="126"/>
                  <a:pt x="594" y="129"/>
                  <a:pt x="594" y="132"/>
                </a:cubicBezTo>
                <a:cubicBezTo>
                  <a:pt x="594" y="132"/>
                  <a:pt x="594" y="132"/>
                  <a:pt x="595" y="132"/>
                </a:cubicBezTo>
                <a:cubicBezTo>
                  <a:pt x="595" y="132"/>
                  <a:pt x="595" y="132"/>
                  <a:pt x="595" y="132"/>
                </a:cubicBezTo>
                <a:cubicBezTo>
                  <a:pt x="595" y="133"/>
                  <a:pt x="595" y="133"/>
                  <a:pt x="595" y="133"/>
                </a:cubicBezTo>
                <a:cubicBezTo>
                  <a:pt x="596" y="133"/>
                  <a:pt x="596" y="133"/>
                  <a:pt x="597" y="133"/>
                </a:cubicBezTo>
                <a:cubicBezTo>
                  <a:pt x="597" y="133"/>
                  <a:pt x="597" y="133"/>
                  <a:pt x="597" y="133"/>
                </a:cubicBezTo>
                <a:cubicBezTo>
                  <a:pt x="600" y="133"/>
                  <a:pt x="602" y="133"/>
                  <a:pt x="605" y="133"/>
                </a:cubicBezTo>
                <a:cubicBezTo>
                  <a:pt x="605" y="133"/>
                  <a:pt x="605" y="133"/>
                  <a:pt x="605" y="133"/>
                </a:cubicBezTo>
                <a:cubicBezTo>
                  <a:pt x="605" y="133"/>
                  <a:pt x="605" y="133"/>
                  <a:pt x="605" y="133"/>
                </a:cubicBezTo>
                <a:cubicBezTo>
                  <a:pt x="606" y="132"/>
                  <a:pt x="606" y="133"/>
                  <a:pt x="607" y="132"/>
                </a:cubicBezTo>
                <a:cubicBezTo>
                  <a:pt x="607" y="132"/>
                  <a:pt x="607" y="132"/>
                  <a:pt x="607" y="132"/>
                </a:cubicBezTo>
                <a:cubicBezTo>
                  <a:pt x="607" y="132"/>
                  <a:pt x="607" y="132"/>
                  <a:pt x="608" y="132"/>
                </a:cubicBezTo>
                <a:cubicBezTo>
                  <a:pt x="608" y="132"/>
                  <a:pt x="608" y="132"/>
                  <a:pt x="608" y="132"/>
                </a:cubicBezTo>
                <a:cubicBezTo>
                  <a:pt x="608" y="132"/>
                  <a:pt x="608" y="132"/>
                  <a:pt x="608" y="132"/>
                </a:cubicBezTo>
                <a:cubicBezTo>
                  <a:pt x="608" y="132"/>
                  <a:pt x="609" y="132"/>
                  <a:pt x="609" y="132"/>
                </a:cubicBezTo>
                <a:cubicBezTo>
                  <a:pt x="609" y="132"/>
                  <a:pt x="609" y="132"/>
                  <a:pt x="609" y="132"/>
                </a:cubicBezTo>
                <a:cubicBezTo>
                  <a:pt x="609" y="132"/>
                  <a:pt x="609" y="132"/>
                  <a:pt x="609" y="131"/>
                </a:cubicBezTo>
                <a:cubicBezTo>
                  <a:pt x="610" y="131"/>
                  <a:pt x="610" y="131"/>
                  <a:pt x="610" y="131"/>
                </a:cubicBezTo>
                <a:cubicBezTo>
                  <a:pt x="610" y="131"/>
                  <a:pt x="610" y="131"/>
                  <a:pt x="610" y="131"/>
                </a:cubicBezTo>
                <a:cubicBezTo>
                  <a:pt x="610" y="131"/>
                  <a:pt x="610" y="131"/>
                  <a:pt x="610" y="131"/>
                </a:cubicBezTo>
                <a:cubicBezTo>
                  <a:pt x="610" y="131"/>
                  <a:pt x="610" y="131"/>
                  <a:pt x="610" y="131"/>
                </a:cubicBezTo>
                <a:cubicBezTo>
                  <a:pt x="611" y="131"/>
                  <a:pt x="611" y="131"/>
                  <a:pt x="611" y="131"/>
                </a:cubicBezTo>
                <a:cubicBezTo>
                  <a:pt x="611" y="131"/>
                  <a:pt x="611" y="131"/>
                  <a:pt x="611" y="131"/>
                </a:cubicBezTo>
                <a:cubicBezTo>
                  <a:pt x="611" y="131"/>
                  <a:pt x="611" y="131"/>
                  <a:pt x="611" y="131"/>
                </a:cubicBezTo>
                <a:cubicBezTo>
                  <a:pt x="611" y="131"/>
                  <a:pt x="611" y="131"/>
                  <a:pt x="612" y="130"/>
                </a:cubicBezTo>
                <a:cubicBezTo>
                  <a:pt x="612" y="130"/>
                  <a:pt x="612" y="130"/>
                  <a:pt x="612" y="130"/>
                </a:cubicBezTo>
                <a:cubicBezTo>
                  <a:pt x="612" y="130"/>
                  <a:pt x="612" y="130"/>
                  <a:pt x="612" y="130"/>
                </a:cubicBezTo>
                <a:cubicBezTo>
                  <a:pt x="612" y="130"/>
                  <a:pt x="612" y="130"/>
                  <a:pt x="612" y="130"/>
                </a:cubicBezTo>
                <a:cubicBezTo>
                  <a:pt x="612" y="130"/>
                  <a:pt x="612" y="130"/>
                  <a:pt x="613" y="130"/>
                </a:cubicBezTo>
                <a:cubicBezTo>
                  <a:pt x="613" y="130"/>
                  <a:pt x="613" y="130"/>
                  <a:pt x="613" y="130"/>
                </a:cubicBezTo>
                <a:cubicBezTo>
                  <a:pt x="613" y="129"/>
                  <a:pt x="613" y="130"/>
                  <a:pt x="613" y="129"/>
                </a:cubicBezTo>
                <a:cubicBezTo>
                  <a:pt x="613" y="129"/>
                  <a:pt x="613" y="129"/>
                  <a:pt x="613" y="129"/>
                </a:cubicBezTo>
                <a:cubicBezTo>
                  <a:pt x="613" y="129"/>
                  <a:pt x="614" y="129"/>
                  <a:pt x="614" y="129"/>
                </a:cubicBezTo>
                <a:cubicBezTo>
                  <a:pt x="614" y="129"/>
                  <a:pt x="614" y="129"/>
                  <a:pt x="614" y="129"/>
                </a:cubicBezTo>
                <a:cubicBezTo>
                  <a:pt x="614" y="129"/>
                  <a:pt x="614" y="129"/>
                  <a:pt x="614" y="129"/>
                </a:cubicBezTo>
                <a:cubicBezTo>
                  <a:pt x="614" y="129"/>
                  <a:pt x="614" y="129"/>
                  <a:pt x="614" y="129"/>
                </a:cubicBezTo>
                <a:cubicBezTo>
                  <a:pt x="614" y="128"/>
                  <a:pt x="615" y="128"/>
                  <a:pt x="615" y="128"/>
                </a:cubicBezTo>
                <a:cubicBezTo>
                  <a:pt x="615" y="128"/>
                  <a:pt x="615" y="128"/>
                  <a:pt x="615" y="128"/>
                </a:cubicBezTo>
                <a:cubicBezTo>
                  <a:pt x="615" y="128"/>
                  <a:pt x="615" y="128"/>
                  <a:pt x="615" y="128"/>
                </a:cubicBezTo>
                <a:cubicBezTo>
                  <a:pt x="615" y="128"/>
                  <a:pt x="615" y="128"/>
                  <a:pt x="615" y="128"/>
                </a:cubicBezTo>
                <a:cubicBezTo>
                  <a:pt x="616" y="128"/>
                  <a:pt x="616" y="127"/>
                  <a:pt x="616" y="127"/>
                </a:cubicBezTo>
                <a:cubicBezTo>
                  <a:pt x="616" y="127"/>
                  <a:pt x="616" y="127"/>
                  <a:pt x="616" y="127"/>
                </a:cubicBezTo>
                <a:cubicBezTo>
                  <a:pt x="616" y="127"/>
                  <a:pt x="616" y="127"/>
                  <a:pt x="616" y="127"/>
                </a:cubicBezTo>
                <a:cubicBezTo>
                  <a:pt x="616" y="127"/>
                  <a:pt x="616" y="127"/>
                  <a:pt x="616" y="127"/>
                </a:cubicBezTo>
                <a:cubicBezTo>
                  <a:pt x="616" y="127"/>
                  <a:pt x="616" y="127"/>
                  <a:pt x="616" y="126"/>
                </a:cubicBezTo>
                <a:cubicBezTo>
                  <a:pt x="616" y="127"/>
                  <a:pt x="616" y="127"/>
                  <a:pt x="616" y="127"/>
                </a:cubicBezTo>
                <a:cubicBezTo>
                  <a:pt x="617" y="126"/>
                  <a:pt x="617" y="126"/>
                  <a:pt x="617" y="126"/>
                </a:cubicBezTo>
                <a:cubicBezTo>
                  <a:pt x="617" y="126"/>
                  <a:pt x="617" y="126"/>
                  <a:pt x="617" y="126"/>
                </a:cubicBezTo>
                <a:cubicBezTo>
                  <a:pt x="617" y="126"/>
                  <a:pt x="617" y="126"/>
                  <a:pt x="617" y="126"/>
                </a:cubicBezTo>
                <a:cubicBezTo>
                  <a:pt x="617" y="126"/>
                  <a:pt x="617" y="126"/>
                  <a:pt x="617" y="126"/>
                </a:cubicBezTo>
                <a:cubicBezTo>
                  <a:pt x="617" y="126"/>
                  <a:pt x="618" y="125"/>
                  <a:pt x="618" y="125"/>
                </a:cubicBezTo>
                <a:cubicBezTo>
                  <a:pt x="618" y="125"/>
                  <a:pt x="618" y="125"/>
                  <a:pt x="618" y="125"/>
                </a:cubicBezTo>
                <a:cubicBezTo>
                  <a:pt x="618" y="125"/>
                  <a:pt x="618" y="125"/>
                  <a:pt x="618" y="124"/>
                </a:cubicBezTo>
                <a:cubicBezTo>
                  <a:pt x="618" y="124"/>
                  <a:pt x="618" y="124"/>
                  <a:pt x="618" y="124"/>
                </a:cubicBezTo>
                <a:cubicBezTo>
                  <a:pt x="618" y="124"/>
                  <a:pt x="618" y="124"/>
                  <a:pt x="618" y="124"/>
                </a:cubicBezTo>
                <a:cubicBezTo>
                  <a:pt x="618" y="124"/>
                  <a:pt x="618" y="124"/>
                  <a:pt x="618" y="124"/>
                </a:cubicBezTo>
                <a:cubicBezTo>
                  <a:pt x="619" y="124"/>
                  <a:pt x="619" y="123"/>
                  <a:pt x="619" y="123"/>
                </a:cubicBezTo>
                <a:cubicBezTo>
                  <a:pt x="619" y="123"/>
                  <a:pt x="619" y="123"/>
                  <a:pt x="619" y="123"/>
                </a:cubicBezTo>
                <a:cubicBezTo>
                  <a:pt x="619" y="123"/>
                  <a:pt x="619" y="123"/>
                  <a:pt x="620" y="123"/>
                </a:cubicBezTo>
                <a:cubicBezTo>
                  <a:pt x="619" y="123"/>
                  <a:pt x="619" y="123"/>
                  <a:pt x="619" y="123"/>
                </a:cubicBezTo>
                <a:cubicBezTo>
                  <a:pt x="620" y="123"/>
                  <a:pt x="620" y="122"/>
                  <a:pt x="620" y="122"/>
                </a:cubicBezTo>
                <a:cubicBezTo>
                  <a:pt x="620" y="122"/>
                  <a:pt x="620" y="122"/>
                  <a:pt x="620" y="122"/>
                </a:cubicBezTo>
                <a:cubicBezTo>
                  <a:pt x="620" y="122"/>
                  <a:pt x="620" y="122"/>
                  <a:pt x="620" y="122"/>
                </a:cubicBezTo>
                <a:cubicBezTo>
                  <a:pt x="620" y="122"/>
                  <a:pt x="620" y="122"/>
                  <a:pt x="620" y="122"/>
                </a:cubicBezTo>
                <a:cubicBezTo>
                  <a:pt x="621" y="122"/>
                  <a:pt x="620" y="121"/>
                  <a:pt x="621" y="121"/>
                </a:cubicBezTo>
                <a:cubicBezTo>
                  <a:pt x="621" y="121"/>
                  <a:pt x="621" y="121"/>
                  <a:pt x="621" y="121"/>
                </a:cubicBezTo>
                <a:cubicBezTo>
                  <a:pt x="621" y="121"/>
                  <a:pt x="621" y="120"/>
                  <a:pt x="621" y="120"/>
                </a:cubicBezTo>
                <a:cubicBezTo>
                  <a:pt x="621" y="120"/>
                  <a:pt x="621" y="120"/>
                  <a:pt x="621" y="120"/>
                </a:cubicBezTo>
                <a:cubicBezTo>
                  <a:pt x="621" y="120"/>
                  <a:pt x="621" y="120"/>
                  <a:pt x="621" y="120"/>
                </a:cubicBezTo>
                <a:cubicBezTo>
                  <a:pt x="621" y="120"/>
                  <a:pt x="621" y="120"/>
                  <a:pt x="621" y="120"/>
                </a:cubicBezTo>
                <a:cubicBezTo>
                  <a:pt x="622" y="120"/>
                  <a:pt x="621" y="119"/>
                  <a:pt x="622" y="119"/>
                </a:cubicBezTo>
                <a:cubicBezTo>
                  <a:pt x="622" y="119"/>
                  <a:pt x="622" y="119"/>
                  <a:pt x="622" y="119"/>
                </a:cubicBezTo>
                <a:cubicBezTo>
                  <a:pt x="622" y="119"/>
                  <a:pt x="622" y="119"/>
                  <a:pt x="622" y="119"/>
                </a:cubicBezTo>
                <a:cubicBezTo>
                  <a:pt x="622" y="119"/>
                  <a:pt x="622" y="119"/>
                  <a:pt x="622" y="119"/>
                </a:cubicBezTo>
                <a:cubicBezTo>
                  <a:pt x="622" y="118"/>
                  <a:pt x="622" y="118"/>
                  <a:pt x="622" y="118"/>
                </a:cubicBezTo>
                <a:cubicBezTo>
                  <a:pt x="622" y="118"/>
                  <a:pt x="622" y="118"/>
                  <a:pt x="622" y="118"/>
                </a:cubicBezTo>
                <a:cubicBezTo>
                  <a:pt x="623" y="118"/>
                  <a:pt x="622" y="117"/>
                  <a:pt x="623" y="117"/>
                </a:cubicBezTo>
                <a:cubicBezTo>
                  <a:pt x="623" y="117"/>
                  <a:pt x="623" y="117"/>
                  <a:pt x="623" y="117"/>
                </a:cubicBezTo>
                <a:cubicBezTo>
                  <a:pt x="623" y="117"/>
                  <a:pt x="623" y="117"/>
                  <a:pt x="623" y="116"/>
                </a:cubicBezTo>
                <a:cubicBezTo>
                  <a:pt x="623" y="116"/>
                  <a:pt x="623" y="116"/>
                  <a:pt x="623" y="116"/>
                </a:cubicBezTo>
                <a:cubicBezTo>
                  <a:pt x="623" y="116"/>
                  <a:pt x="623" y="116"/>
                  <a:pt x="623" y="116"/>
                </a:cubicBezTo>
                <a:cubicBezTo>
                  <a:pt x="623" y="116"/>
                  <a:pt x="623" y="116"/>
                  <a:pt x="623" y="116"/>
                </a:cubicBezTo>
                <a:cubicBezTo>
                  <a:pt x="624" y="116"/>
                  <a:pt x="624" y="115"/>
                  <a:pt x="624" y="115"/>
                </a:cubicBezTo>
                <a:cubicBezTo>
                  <a:pt x="624" y="115"/>
                  <a:pt x="624" y="115"/>
                  <a:pt x="624" y="115"/>
                </a:cubicBezTo>
                <a:cubicBezTo>
                  <a:pt x="624" y="115"/>
                  <a:pt x="624" y="115"/>
                  <a:pt x="624" y="114"/>
                </a:cubicBezTo>
                <a:cubicBezTo>
                  <a:pt x="624" y="114"/>
                  <a:pt x="624" y="114"/>
                  <a:pt x="624" y="114"/>
                </a:cubicBezTo>
                <a:cubicBezTo>
                  <a:pt x="624" y="114"/>
                  <a:pt x="624" y="114"/>
                  <a:pt x="624" y="114"/>
                </a:cubicBezTo>
                <a:cubicBezTo>
                  <a:pt x="624" y="113"/>
                  <a:pt x="624" y="113"/>
                  <a:pt x="624" y="113"/>
                </a:cubicBezTo>
                <a:cubicBezTo>
                  <a:pt x="624" y="113"/>
                  <a:pt x="624" y="113"/>
                  <a:pt x="624" y="113"/>
                </a:cubicBezTo>
                <a:cubicBezTo>
                  <a:pt x="625" y="113"/>
                  <a:pt x="625" y="113"/>
                  <a:pt x="625" y="113"/>
                </a:cubicBezTo>
                <a:cubicBezTo>
                  <a:pt x="625" y="113"/>
                  <a:pt x="625" y="113"/>
                  <a:pt x="625" y="113"/>
                </a:cubicBezTo>
                <a:cubicBezTo>
                  <a:pt x="625" y="112"/>
                  <a:pt x="625" y="112"/>
                  <a:pt x="625" y="112"/>
                </a:cubicBezTo>
                <a:cubicBezTo>
                  <a:pt x="625" y="112"/>
                  <a:pt x="625" y="112"/>
                  <a:pt x="625" y="112"/>
                </a:cubicBezTo>
                <a:cubicBezTo>
                  <a:pt x="625" y="112"/>
                  <a:pt x="625" y="112"/>
                  <a:pt x="625" y="112"/>
                </a:cubicBezTo>
                <a:cubicBezTo>
                  <a:pt x="625" y="111"/>
                  <a:pt x="625" y="111"/>
                  <a:pt x="625" y="111"/>
                </a:cubicBezTo>
                <a:cubicBezTo>
                  <a:pt x="625" y="111"/>
                  <a:pt x="625" y="111"/>
                  <a:pt x="625" y="111"/>
                </a:cubicBezTo>
                <a:cubicBezTo>
                  <a:pt x="626" y="111"/>
                  <a:pt x="626" y="110"/>
                  <a:pt x="626" y="110"/>
                </a:cubicBezTo>
                <a:cubicBezTo>
                  <a:pt x="626" y="110"/>
                  <a:pt x="626" y="110"/>
                  <a:pt x="626" y="110"/>
                </a:cubicBezTo>
                <a:cubicBezTo>
                  <a:pt x="626" y="110"/>
                  <a:pt x="626" y="110"/>
                  <a:pt x="626" y="110"/>
                </a:cubicBezTo>
                <a:cubicBezTo>
                  <a:pt x="626" y="110"/>
                  <a:pt x="626" y="109"/>
                  <a:pt x="626" y="109"/>
                </a:cubicBezTo>
                <a:cubicBezTo>
                  <a:pt x="626" y="109"/>
                  <a:pt x="626" y="109"/>
                  <a:pt x="626" y="109"/>
                </a:cubicBezTo>
                <a:cubicBezTo>
                  <a:pt x="626" y="109"/>
                  <a:pt x="626" y="109"/>
                  <a:pt x="626" y="108"/>
                </a:cubicBezTo>
                <a:cubicBezTo>
                  <a:pt x="626" y="108"/>
                  <a:pt x="626" y="108"/>
                  <a:pt x="626" y="108"/>
                </a:cubicBezTo>
                <a:cubicBezTo>
                  <a:pt x="627" y="108"/>
                  <a:pt x="627" y="108"/>
                  <a:pt x="627" y="108"/>
                </a:cubicBezTo>
                <a:cubicBezTo>
                  <a:pt x="627" y="108"/>
                  <a:pt x="627" y="108"/>
                  <a:pt x="627" y="107"/>
                </a:cubicBezTo>
                <a:cubicBezTo>
                  <a:pt x="627" y="107"/>
                  <a:pt x="627" y="107"/>
                  <a:pt x="627" y="107"/>
                </a:cubicBezTo>
                <a:cubicBezTo>
                  <a:pt x="627" y="107"/>
                  <a:pt x="627" y="107"/>
                  <a:pt x="627" y="106"/>
                </a:cubicBezTo>
                <a:cubicBezTo>
                  <a:pt x="627" y="106"/>
                  <a:pt x="627" y="106"/>
                  <a:pt x="627" y="106"/>
                </a:cubicBezTo>
                <a:cubicBezTo>
                  <a:pt x="627" y="106"/>
                  <a:pt x="627" y="106"/>
                  <a:pt x="628" y="106"/>
                </a:cubicBezTo>
                <a:cubicBezTo>
                  <a:pt x="628" y="106"/>
                  <a:pt x="628" y="106"/>
                  <a:pt x="628" y="106"/>
                </a:cubicBezTo>
                <a:cubicBezTo>
                  <a:pt x="628" y="105"/>
                  <a:pt x="628" y="105"/>
                  <a:pt x="628" y="105"/>
                </a:cubicBezTo>
                <a:cubicBezTo>
                  <a:pt x="628" y="105"/>
                  <a:pt x="628" y="105"/>
                  <a:pt x="628" y="105"/>
                </a:cubicBezTo>
                <a:cubicBezTo>
                  <a:pt x="628" y="104"/>
                  <a:pt x="628" y="104"/>
                  <a:pt x="628" y="104"/>
                </a:cubicBezTo>
                <a:cubicBezTo>
                  <a:pt x="628" y="104"/>
                  <a:pt x="628" y="104"/>
                  <a:pt x="628" y="104"/>
                </a:cubicBezTo>
                <a:cubicBezTo>
                  <a:pt x="629" y="104"/>
                  <a:pt x="628" y="103"/>
                  <a:pt x="629" y="103"/>
                </a:cubicBezTo>
                <a:cubicBezTo>
                  <a:pt x="629" y="103"/>
                  <a:pt x="629" y="103"/>
                  <a:pt x="629" y="103"/>
                </a:cubicBezTo>
                <a:cubicBezTo>
                  <a:pt x="629" y="103"/>
                  <a:pt x="629" y="102"/>
                  <a:pt x="629" y="102"/>
                </a:cubicBezTo>
                <a:cubicBezTo>
                  <a:pt x="629" y="102"/>
                  <a:pt x="629" y="102"/>
                  <a:pt x="629" y="102"/>
                </a:cubicBezTo>
                <a:cubicBezTo>
                  <a:pt x="629" y="102"/>
                  <a:pt x="629" y="101"/>
                  <a:pt x="629" y="101"/>
                </a:cubicBezTo>
                <a:cubicBezTo>
                  <a:pt x="629" y="101"/>
                  <a:pt x="629" y="101"/>
                  <a:pt x="629" y="101"/>
                </a:cubicBezTo>
                <a:cubicBezTo>
                  <a:pt x="630" y="101"/>
                  <a:pt x="630" y="101"/>
                  <a:pt x="630" y="100"/>
                </a:cubicBezTo>
                <a:cubicBezTo>
                  <a:pt x="630" y="100"/>
                  <a:pt x="630" y="100"/>
                  <a:pt x="630" y="100"/>
                </a:cubicBezTo>
                <a:cubicBezTo>
                  <a:pt x="630" y="100"/>
                  <a:pt x="630" y="100"/>
                  <a:pt x="630" y="99"/>
                </a:cubicBezTo>
                <a:cubicBezTo>
                  <a:pt x="630" y="99"/>
                  <a:pt x="630" y="99"/>
                  <a:pt x="630" y="99"/>
                </a:cubicBezTo>
                <a:cubicBezTo>
                  <a:pt x="630" y="99"/>
                  <a:pt x="630" y="99"/>
                  <a:pt x="630" y="99"/>
                </a:cubicBezTo>
                <a:cubicBezTo>
                  <a:pt x="630" y="99"/>
                  <a:pt x="630" y="98"/>
                  <a:pt x="630" y="98"/>
                </a:cubicBezTo>
                <a:cubicBezTo>
                  <a:pt x="631" y="98"/>
                  <a:pt x="631" y="98"/>
                  <a:pt x="631" y="98"/>
                </a:cubicBezTo>
                <a:cubicBezTo>
                  <a:pt x="631" y="98"/>
                  <a:pt x="631" y="98"/>
                  <a:pt x="631" y="98"/>
                </a:cubicBezTo>
                <a:cubicBezTo>
                  <a:pt x="631" y="97"/>
                  <a:pt x="631" y="97"/>
                  <a:pt x="631" y="97"/>
                </a:cubicBezTo>
                <a:cubicBezTo>
                  <a:pt x="631" y="97"/>
                  <a:pt x="631" y="97"/>
                  <a:pt x="631" y="97"/>
                </a:cubicBezTo>
                <a:cubicBezTo>
                  <a:pt x="631" y="96"/>
                  <a:pt x="631" y="96"/>
                  <a:pt x="631" y="96"/>
                </a:cubicBezTo>
                <a:cubicBezTo>
                  <a:pt x="631" y="96"/>
                  <a:pt x="631" y="96"/>
                  <a:pt x="631" y="96"/>
                </a:cubicBezTo>
                <a:cubicBezTo>
                  <a:pt x="632" y="96"/>
                  <a:pt x="632" y="95"/>
                  <a:pt x="632" y="95"/>
                </a:cubicBezTo>
                <a:cubicBezTo>
                  <a:pt x="632" y="95"/>
                  <a:pt x="632" y="95"/>
                  <a:pt x="632" y="95"/>
                </a:cubicBezTo>
                <a:cubicBezTo>
                  <a:pt x="632" y="95"/>
                  <a:pt x="632" y="95"/>
                  <a:pt x="632" y="95"/>
                </a:cubicBezTo>
                <a:cubicBezTo>
                  <a:pt x="632" y="95"/>
                  <a:pt x="632" y="94"/>
                  <a:pt x="632" y="94"/>
                </a:cubicBezTo>
                <a:cubicBezTo>
                  <a:pt x="632" y="94"/>
                  <a:pt x="632" y="94"/>
                  <a:pt x="632" y="94"/>
                </a:cubicBezTo>
                <a:cubicBezTo>
                  <a:pt x="632" y="94"/>
                  <a:pt x="632" y="94"/>
                  <a:pt x="632" y="93"/>
                </a:cubicBezTo>
                <a:cubicBezTo>
                  <a:pt x="632" y="93"/>
                  <a:pt x="632" y="93"/>
                  <a:pt x="632" y="93"/>
                </a:cubicBezTo>
                <a:cubicBezTo>
                  <a:pt x="632" y="93"/>
                  <a:pt x="632" y="93"/>
                  <a:pt x="632" y="93"/>
                </a:cubicBezTo>
                <a:cubicBezTo>
                  <a:pt x="633" y="93"/>
                  <a:pt x="633" y="93"/>
                  <a:pt x="633" y="92"/>
                </a:cubicBezTo>
                <a:cubicBezTo>
                  <a:pt x="633" y="92"/>
                  <a:pt x="633" y="92"/>
                  <a:pt x="633" y="92"/>
                </a:cubicBezTo>
                <a:cubicBezTo>
                  <a:pt x="633" y="92"/>
                  <a:pt x="633" y="92"/>
                  <a:pt x="633" y="92"/>
                </a:cubicBezTo>
                <a:cubicBezTo>
                  <a:pt x="633" y="91"/>
                  <a:pt x="633" y="91"/>
                  <a:pt x="633" y="91"/>
                </a:cubicBezTo>
                <a:cubicBezTo>
                  <a:pt x="633" y="91"/>
                  <a:pt x="633" y="91"/>
                  <a:pt x="633" y="91"/>
                </a:cubicBezTo>
                <a:cubicBezTo>
                  <a:pt x="633" y="91"/>
                  <a:pt x="633" y="91"/>
                  <a:pt x="633" y="91"/>
                </a:cubicBezTo>
                <a:cubicBezTo>
                  <a:pt x="633" y="91"/>
                  <a:pt x="633" y="91"/>
                  <a:pt x="633" y="91"/>
                </a:cubicBezTo>
                <a:cubicBezTo>
                  <a:pt x="634" y="90"/>
                  <a:pt x="634" y="90"/>
                  <a:pt x="634" y="90"/>
                </a:cubicBezTo>
                <a:cubicBezTo>
                  <a:pt x="634" y="90"/>
                  <a:pt x="634" y="90"/>
                  <a:pt x="634" y="90"/>
                </a:cubicBezTo>
                <a:cubicBezTo>
                  <a:pt x="634" y="90"/>
                  <a:pt x="634" y="90"/>
                  <a:pt x="634" y="90"/>
                </a:cubicBezTo>
                <a:cubicBezTo>
                  <a:pt x="634" y="89"/>
                  <a:pt x="634" y="89"/>
                  <a:pt x="634" y="89"/>
                </a:cubicBezTo>
                <a:cubicBezTo>
                  <a:pt x="634" y="89"/>
                  <a:pt x="634" y="89"/>
                  <a:pt x="634" y="89"/>
                </a:cubicBezTo>
                <a:cubicBezTo>
                  <a:pt x="634" y="89"/>
                  <a:pt x="634" y="88"/>
                  <a:pt x="634" y="88"/>
                </a:cubicBezTo>
                <a:cubicBezTo>
                  <a:pt x="634" y="88"/>
                  <a:pt x="634" y="88"/>
                  <a:pt x="634" y="88"/>
                </a:cubicBezTo>
                <a:cubicBezTo>
                  <a:pt x="635" y="88"/>
                  <a:pt x="635" y="88"/>
                  <a:pt x="635" y="88"/>
                </a:cubicBezTo>
                <a:cubicBezTo>
                  <a:pt x="635" y="88"/>
                  <a:pt x="635" y="87"/>
                  <a:pt x="635" y="87"/>
                </a:cubicBezTo>
                <a:cubicBezTo>
                  <a:pt x="635" y="87"/>
                  <a:pt x="635" y="87"/>
                  <a:pt x="635" y="87"/>
                </a:cubicBezTo>
                <a:cubicBezTo>
                  <a:pt x="635" y="87"/>
                  <a:pt x="635" y="86"/>
                  <a:pt x="635" y="86"/>
                </a:cubicBezTo>
                <a:cubicBezTo>
                  <a:pt x="635" y="86"/>
                  <a:pt x="635" y="86"/>
                  <a:pt x="635" y="86"/>
                </a:cubicBezTo>
                <a:cubicBezTo>
                  <a:pt x="635" y="86"/>
                  <a:pt x="635" y="86"/>
                  <a:pt x="636" y="85"/>
                </a:cubicBezTo>
                <a:cubicBezTo>
                  <a:pt x="636" y="85"/>
                  <a:pt x="636" y="85"/>
                  <a:pt x="636" y="85"/>
                </a:cubicBezTo>
                <a:cubicBezTo>
                  <a:pt x="636" y="85"/>
                  <a:pt x="636" y="85"/>
                  <a:pt x="636" y="84"/>
                </a:cubicBezTo>
                <a:cubicBezTo>
                  <a:pt x="636" y="84"/>
                  <a:pt x="636" y="84"/>
                  <a:pt x="636" y="84"/>
                </a:cubicBezTo>
                <a:cubicBezTo>
                  <a:pt x="636" y="84"/>
                  <a:pt x="636" y="84"/>
                  <a:pt x="636" y="84"/>
                </a:cubicBezTo>
                <a:cubicBezTo>
                  <a:pt x="636" y="84"/>
                  <a:pt x="636" y="84"/>
                  <a:pt x="636" y="84"/>
                </a:cubicBezTo>
                <a:cubicBezTo>
                  <a:pt x="637" y="83"/>
                  <a:pt x="636" y="83"/>
                  <a:pt x="637" y="83"/>
                </a:cubicBezTo>
                <a:cubicBezTo>
                  <a:pt x="637" y="83"/>
                  <a:pt x="637" y="83"/>
                  <a:pt x="637" y="83"/>
                </a:cubicBezTo>
                <a:cubicBezTo>
                  <a:pt x="637" y="83"/>
                  <a:pt x="637" y="82"/>
                  <a:pt x="637" y="82"/>
                </a:cubicBezTo>
                <a:cubicBezTo>
                  <a:pt x="637" y="82"/>
                  <a:pt x="637" y="82"/>
                  <a:pt x="637" y="82"/>
                </a:cubicBezTo>
                <a:cubicBezTo>
                  <a:pt x="637" y="82"/>
                  <a:pt x="637" y="81"/>
                  <a:pt x="637" y="81"/>
                </a:cubicBezTo>
                <a:cubicBezTo>
                  <a:pt x="637" y="81"/>
                  <a:pt x="637" y="81"/>
                  <a:pt x="637" y="81"/>
                </a:cubicBezTo>
                <a:cubicBezTo>
                  <a:pt x="638" y="81"/>
                  <a:pt x="638" y="80"/>
                  <a:pt x="638" y="80"/>
                </a:cubicBezTo>
                <a:cubicBezTo>
                  <a:pt x="638" y="80"/>
                  <a:pt x="638" y="80"/>
                  <a:pt x="638" y="80"/>
                </a:cubicBezTo>
                <a:cubicBezTo>
                  <a:pt x="638" y="80"/>
                  <a:pt x="638" y="79"/>
                  <a:pt x="638" y="79"/>
                </a:cubicBezTo>
                <a:cubicBezTo>
                  <a:pt x="638" y="79"/>
                  <a:pt x="638" y="79"/>
                  <a:pt x="638" y="79"/>
                </a:cubicBezTo>
                <a:cubicBezTo>
                  <a:pt x="638" y="79"/>
                  <a:pt x="638" y="79"/>
                  <a:pt x="638" y="78"/>
                </a:cubicBezTo>
                <a:cubicBezTo>
                  <a:pt x="638" y="78"/>
                  <a:pt x="638" y="78"/>
                  <a:pt x="638" y="78"/>
                </a:cubicBezTo>
                <a:cubicBezTo>
                  <a:pt x="639" y="78"/>
                  <a:pt x="639" y="78"/>
                  <a:pt x="639" y="77"/>
                </a:cubicBezTo>
                <a:cubicBezTo>
                  <a:pt x="639" y="77"/>
                  <a:pt x="639" y="77"/>
                  <a:pt x="639" y="77"/>
                </a:cubicBezTo>
                <a:cubicBezTo>
                  <a:pt x="639" y="77"/>
                  <a:pt x="639" y="77"/>
                  <a:pt x="639" y="77"/>
                </a:cubicBezTo>
                <a:cubicBezTo>
                  <a:pt x="639" y="77"/>
                  <a:pt x="639" y="76"/>
                  <a:pt x="639" y="76"/>
                </a:cubicBezTo>
                <a:cubicBezTo>
                  <a:pt x="639" y="76"/>
                  <a:pt x="639" y="76"/>
                  <a:pt x="639" y="76"/>
                </a:cubicBezTo>
                <a:cubicBezTo>
                  <a:pt x="639" y="76"/>
                  <a:pt x="639" y="76"/>
                  <a:pt x="639" y="76"/>
                </a:cubicBezTo>
                <a:cubicBezTo>
                  <a:pt x="640" y="76"/>
                  <a:pt x="640" y="75"/>
                  <a:pt x="640" y="75"/>
                </a:cubicBezTo>
                <a:cubicBezTo>
                  <a:pt x="640" y="75"/>
                  <a:pt x="640" y="75"/>
                  <a:pt x="640" y="75"/>
                </a:cubicBezTo>
                <a:cubicBezTo>
                  <a:pt x="640" y="75"/>
                  <a:pt x="640" y="75"/>
                  <a:pt x="640" y="75"/>
                </a:cubicBezTo>
                <a:cubicBezTo>
                  <a:pt x="640" y="74"/>
                  <a:pt x="640" y="74"/>
                  <a:pt x="640" y="74"/>
                </a:cubicBezTo>
                <a:cubicBezTo>
                  <a:pt x="640" y="74"/>
                  <a:pt x="640" y="74"/>
                  <a:pt x="640" y="74"/>
                </a:cubicBezTo>
                <a:cubicBezTo>
                  <a:pt x="640" y="74"/>
                  <a:pt x="640" y="73"/>
                  <a:pt x="640" y="73"/>
                </a:cubicBezTo>
                <a:cubicBezTo>
                  <a:pt x="640" y="73"/>
                  <a:pt x="640" y="73"/>
                  <a:pt x="640" y="73"/>
                </a:cubicBezTo>
                <a:cubicBezTo>
                  <a:pt x="640" y="73"/>
                  <a:pt x="640" y="73"/>
                  <a:pt x="640" y="73"/>
                </a:cubicBezTo>
                <a:cubicBezTo>
                  <a:pt x="641" y="73"/>
                  <a:pt x="641" y="72"/>
                  <a:pt x="641" y="72"/>
                </a:cubicBezTo>
                <a:cubicBezTo>
                  <a:pt x="641" y="72"/>
                  <a:pt x="641" y="72"/>
                  <a:pt x="641" y="72"/>
                </a:cubicBezTo>
                <a:cubicBezTo>
                  <a:pt x="641" y="72"/>
                  <a:pt x="641" y="72"/>
                  <a:pt x="641" y="71"/>
                </a:cubicBezTo>
                <a:cubicBezTo>
                  <a:pt x="641" y="71"/>
                  <a:pt x="641" y="71"/>
                  <a:pt x="641" y="71"/>
                </a:cubicBezTo>
                <a:cubicBezTo>
                  <a:pt x="641" y="71"/>
                  <a:pt x="641" y="71"/>
                  <a:pt x="641" y="71"/>
                </a:cubicBezTo>
                <a:cubicBezTo>
                  <a:pt x="641" y="71"/>
                  <a:pt x="641" y="71"/>
                  <a:pt x="641" y="70"/>
                </a:cubicBezTo>
                <a:cubicBezTo>
                  <a:pt x="641" y="71"/>
                  <a:pt x="641" y="71"/>
                  <a:pt x="641" y="71"/>
                </a:cubicBezTo>
                <a:cubicBezTo>
                  <a:pt x="642" y="70"/>
                  <a:pt x="642" y="70"/>
                  <a:pt x="642" y="70"/>
                </a:cubicBezTo>
                <a:cubicBezTo>
                  <a:pt x="642" y="70"/>
                  <a:pt x="642" y="70"/>
                  <a:pt x="642" y="70"/>
                </a:cubicBezTo>
                <a:cubicBezTo>
                  <a:pt x="642" y="69"/>
                  <a:pt x="642" y="69"/>
                  <a:pt x="642" y="69"/>
                </a:cubicBezTo>
                <a:cubicBezTo>
                  <a:pt x="642" y="69"/>
                  <a:pt x="642" y="69"/>
                  <a:pt x="642" y="69"/>
                </a:cubicBezTo>
                <a:cubicBezTo>
                  <a:pt x="642" y="69"/>
                  <a:pt x="642" y="69"/>
                  <a:pt x="642" y="69"/>
                </a:cubicBezTo>
                <a:cubicBezTo>
                  <a:pt x="643" y="69"/>
                  <a:pt x="642" y="68"/>
                  <a:pt x="643" y="68"/>
                </a:cubicBezTo>
                <a:cubicBezTo>
                  <a:pt x="643" y="68"/>
                  <a:pt x="643" y="68"/>
                  <a:pt x="643" y="68"/>
                </a:cubicBezTo>
                <a:cubicBezTo>
                  <a:pt x="643" y="68"/>
                  <a:pt x="643" y="67"/>
                  <a:pt x="643" y="67"/>
                </a:cubicBezTo>
                <a:cubicBezTo>
                  <a:pt x="643" y="67"/>
                  <a:pt x="643" y="67"/>
                  <a:pt x="643" y="67"/>
                </a:cubicBezTo>
                <a:cubicBezTo>
                  <a:pt x="643" y="67"/>
                  <a:pt x="643" y="66"/>
                  <a:pt x="643" y="66"/>
                </a:cubicBezTo>
                <a:cubicBezTo>
                  <a:pt x="643" y="66"/>
                  <a:pt x="643" y="66"/>
                  <a:pt x="643" y="66"/>
                </a:cubicBezTo>
                <a:cubicBezTo>
                  <a:pt x="643" y="66"/>
                  <a:pt x="643" y="65"/>
                  <a:pt x="644" y="65"/>
                </a:cubicBezTo>
                <a:cubicBezTo>
                  <a:pt x="644" y="65"/>
                  <a:pt x="644" y="65"/>
                  <a:pt x="644" y="65"/>
                </a:cubicBezTo>
                <a:cubicBezTo>
                  <a:pt x="644" y="65"/>
                  <a:pt x="644" y="65"/>
                  <a:pt x="644" y="64"/>
                </a:cubicBezTo>
                <a:cubicBezTo>
                  <a:pt x="644" y="64"/>
                  <a:pt x="644" y="64"/>
                  <a:pt x="644" y="64"/>
                </a:cubicBezTo>
                <a:cubicBezTo>
                  <a:pt x="644" y="64"/>
                  <a:pt x="644" y="64"/>
                  <a:pt x="644" y="64"/>
                </a:cubicBezTo>
                <a:cubicBezTo>
                  <a:pt x="644" y="64"/>
                  <a:pt x="644" y="64"/>
                  <a:pt x="644" y="64"/>
                </a:cubicBezTo>
                <a:cubicBezTo>
                  <a:pt x="645" y="63"/>
                  <a:pt x="644" y="63"/>
                  <a:pt x="645" y="63"/>
                </a:cubicBezTo>
                <a:cubicBezTo>
                  <a:pt x="645" y="63"/>
                  <a:pt x="645" y="63"/>
                  <a:pt x="645" y="63"/>
                </a:cubicBezTo>
                <a:cubicBezTo>
                  <a:pt x="645" y="62"/>
                  <a:pt x="645" y="62"/>
                  <a:pt x="645" y="62"/>
                </a:cubicBezTo>
                <a:cubicBezTo>
                  <a:pt x="645" y="62"/>
                  <a:pt x="645" y="62"/>
                  <a:pt x="645" y="62"/>
                </a:cubicBezTo>
                <a:cubicBezTo>
                  <a:pt x="645" y="62"/>
                  <a:pt x="645" y="61"/>
                  <a:pt x="645" y="61"/>
                </a:cubicBezTo>
                <a:cubicBezTo>
                  <a:pt x="645" y="61"/>
                  <a:pt x="645" y="61"/>
                  <a:pt x="645" y="61"/>
                </a:cubicBezTo>
                <a:cubicBezTo>
                  <a:pt x="646" y="61"/>
                  <a:pt x="646" y="60"/>
                  <a:pt x="646" y="60"/>
                </a:cubicBezTo>
                <a:cubicBezTo>
                  <a:pt x="646" y="60"/>
                  <a:pt x="646" y="60"/>
                  <a:pt x="646" y="60"/>
                </a:cubicBezTo>
                <a:cubicBezTo>
                  <a:pt x="646" y="60"/>
                  <a:pt x="646" y="59"/>
                  <a:pt x="646" y="59"/>
                </a:cubicBezTo>
                <a:cubicBezTo>
                  <a:pt x="646" y="59"/>
                  <a:pt x="646" y="59"/>
                  <a:pt x="646" y="59"/>
                </a:cubicBezTo>
                <a:cubicBezTo>
                  <a:pt x="646" y="59"/>
                  <a:pt x="646" y="58"/>
                  <a:pt x="646" y="58"/>
                </a:cubicBezTo>
                <a:cubicBezTo>
                  <a:pt x="646" y="58"/>
                  <a:pt x="646" y="58"/>
                  <a:pt x="646" y="58"/>
                </a:cubicBezTo>
                <a:cubicBezTo>
                  <a:pt x="647" y="58"/>
                  <a:pt x="647" y="57"/>
                  <a:pt x="647" y="57"/>
                </a:cubicBezTo>
                <a:cubicBezTo>
                  <a:pt x="647" y="57"/>
                  <a:pt x="647" y="57"/>
                  <a:pt x="647" y="57"/>
                </a:cubicBezTo>
                <a:cubicBezTo>
                  <a:pt x="647" y="57"/>
                  <a:pt x="647" y="57"/>
                  <a:pt x="647" y="56"/>
                </a:cubicBezTo>
                <a:cubicBezTo>
                  <a:pt x="647" y="56"/>
                  <a:pt x="647" y="56"/>
                  <a:pt x="647" y="56"/>
                </a:cubicBezTo>
                <a:cubicBezTo>
                  <a:pt x="647" y="56"/>
                  <a:pt x="647" y="56"/>
                  <a:pt x="647" y="56"/>
                </a:cubicBezTo>
                <a:cubicBezTo>
                  <a:pt x="647" y="56"/>
                  <a:pt x="647" y="56"/>
                  <a:pt x="647" y="56"/>
                </a:cubicBezTo>
                <a:cubicBezTo>
                  <a:pt x="648" y="55"/>
                  <a:pt x="648" y="55"/>
                  <a:pt x="648" y="55"/>
                </a:cubicBezTo>
                <a:cubicBezTo>
                  <a:pt x="648" y="55"/>
                  <a:pt x="648" y="55"/>
                  <a:pt x="648" y="55"/>
                </a:cubicBezTo>
                <a:cubicBezTo>
                  <a:pt x="648" y="55"/>
                  <a:pt x="648" y="55"/>
                  <a:pt x="648" y="55"/>
                </a:cubicBezTo>
                <a:cubicBezTo>
                  <a:pt x="648" y="54"/>
                  <a:pt x="648" y="54"/>
                  <a:pt x="648" y="54"/>
                </a:cubicBezTo>
                <a:cubicBezTo>
                  <a:pt x="648" y="54"/>
                  <a:pt x="648" y="54"/>
                  <a:pt x="648" y="54"/>
                </a:cubicBezTo>
                <a:cubicBezTo>
                  <a:pt x="648" y="54"/>
                  <a:pt x="648" y="53"/>
                  <a:pt x="648" y="53"/>
                </a:cubicBezTo>
                <a:cubicBezTo>
                  <a:pt x="648" y="53"/>
                  <a:pt x="648" y="53"/>
                  <a:pt x="648" y="53"/>
                </a:cubicBezTo>
                <a:cubicBezTo>
                  <a:pt x="648" y="53"/>
                  <a:pt x="648" y="53"/>
                  <a:pt x="648" y="53"/>
                </a:cubicBezTo>
                <a:cubicBezTo>
                  <a:pt x="649" y="53"/>
                  <a:pt x="649" y="52"/>
                  <a:pt x="649" y="52"/>
                </a:cubicBezTo>
                <a:cubicBezTo>
                  <a:pt x="649" y="52"/>
                  <a:pt x="649" y="52"/>
                  <a:pt x="649" y="52"/>
                </a:cubicBezTo>
                <a:cubicBezTo>
                  <a:pt x="649" y="52"/>
                  <a:pt x="649" y="52"/>
                  <a:pt x="649" y="51"/>
                </a:cubicBezTo>
                <a:cubicBezTo>
                  <a:pt x="649" y="51"/>
                  <a:pt x="649" y="51"/>
                  <a:pt x="649" y="51"/>
                </a:cubicBezTo>
                <a:cubicBezTo>
                  <a:pt x="649" y="51"/>
                  <a:pt x="649" y="51"/>
                  <a:pt x="649" y="51"/>
                </a:cubicBezTo>
                <a:cubicBezTo>
                  <a:pt x="649" y="51"/>
                  <a:pt x="649" y="51"/>
                  <a:pt x="649" y="50"/>
                </a:cubicBezTo>
                <a:cubicBezTo>
                  <a:pt x="649" y="50"/>
                  <a:pt x="649" y="50"/>
                  <a:pt x="649" y="50"/>
                </a:cubicBezTo>
                <a:cubicBezTo>
                  <a:pt x="650" y="50"/>
                  <a:pt x="650" y="50"/>
                  <a:pt x="650" y="49"/>
                </a:cubicBezTo>
                <a:cubicBezTo>
                  <a:pt x="650" y="49"/>
                  <a:pt x="650" y="49"/>
                  <a:pt x="650" y="49"/>
                </a:cubicBezTo>
                <a:cubicBezTo>
                  <a:pt x="650" y="49"/>
                  <a:pt x="650" y="49"/>
                  <a:pt x="650" y="49"/>
                </a:cubicBezTo>
                <a:cubicBezTo>
                  <a:pt x="650" y="49"/>
                  <a:pt x="650" y="49"/>
                  <a:pt x="650" y="49"/>
                </a:cubicBezTo>
                <a:cubicBezTo>
                  <a:pt x="650" y="49"/>
                  <a:pt x="650" y="49"/>
                  <a:pt x="650" y="49"/>
                </a:cubicBezTo>
                <a:cubicBezTo>
                  <a:pt x="651" y="48"/>
                  <a:pt x="650" y="48"/>
                  <a:pt x="651" y="48"/>
                </a:cubicBezTo>
                <a:cubicBezTo>
                  <a:pt x="651" y="48"/>
                  <a:pt x="651" y="48"/>
                  <a:pt x="651" y="48"/>
                </a:cubicBezTo>
                <a:cubicBezTo>
                  <a:pt x="651" y="47"/>
                  <a:pt x="651" y="47"/>
                  <a:pt x="651" y="47"/>
                </a:cubicBezTo>
                <a:cubicBezTo>
                  <a:pt x="651" y="47"/>
                  <a:pt x="651" y="47"/>
                  <a:pt x="651" y="47"/>
                </a:cubicBezTo>
                <a:cubicBezTo>
                  <a:pt x="651" y="47"/>
                  <a:pt x="651" y="46"/>
                  <a:pt x="651" y="46"/>
                </a:cubicBezTo>
                <a:cubicBezTo>
                  <a:pt x="651" y="46"/>
                  <a:pt x="651" y="46"/>
                  <a:pt x="651" y="46"/>
                </a:cubicBezTo>
                <a:cubicBezTo>
                  <a:pt x="651" y="46"/>
                  <a:pt x="651" y="45"/>
                  <a:pt x="652" y="45"/>
                </a:cubicBezTo>
                <a:cubicBezTo>
                  <a:pt x="652" y="45"/>
                  <a:pt x="652" y="45"/>
                  <a:pt x="652" y="45"/>
                </a:cubicBezTo>
                <a:cubicBezTo>
                  <a:pt x="652" y="45"/>
                  <a:pt x="652" y="44"/>
                  <a:pt x="652" y="44"/>
                </a:cubicBezTo>
                <a:cubicBezTo>
                  <a:pt x="652" y="44"/>
                  <a:pt x="652" y="44"/>
                  <a:pt x="652" y="44"/>
                </a:cubicBezTo>
                <a:cubicBezTo>
                  <a:pt x="652" y="44"/>
                  <a:pt x="652" y="44"/>
                  <a:pt x="652" y="43"/>
                </a:cubicBezTo>
                <a:cubicBezTo>
                  <a:pt x="652" y="43"/>
                  <a:pt x="652" y="43"/>
                  <a:pt x="652" y="43"/>
                </a:cubicBezTo>
                <a:cubicBezTo>
                  <a:pt x="653" y="43"/>
                  <a:pt x="652" y="43"/>
                  <a:pt x="653" y="42"/>
                </a:cubicBezTo>
                <a:cubicBezTo>
                  <a:pt x="653" y="42"/>
                  <a:pt x="653" y="42"/>
                  <a:pt x="653" y="42"/>
                </a:cubicBezTo>
                <a:cubicBezTo>
                  <a:pt x="653" y="42"/>
                  <a:pt x="653" y="42"/>
                  <a:pt x="653" y="42"/>
                </a:cubicBezTo>
                <a:cubicBezTo>
                  <a:pt x="653" y="42"/>
                  <a:pt x="653" y="42"/>
                  <a:pt x="653" y="42"/>
                </a:cubicBezTo>
                <a:cubicBezTo>
                  <a:pt x="653" y="41"/>
                  <a:pt x="653" y="41"/>
                  <a:pt x="653" y="41"/>
                </a:cubicBezTo>
                <a:cubicBezTo>
                  <a:pt x="653" y="41"/>
                  <a:pt x="653" y="41"/>
                  <a:pt x="653" y="41"/>
                </a:cubicBezTo>
                <a:cubicBezTo>
                  <a:pt x="654" y="40"/>
                  <a:pt x="654" y="40"/>
                  <a:pt x="654" y="40"/>
                </a:cubicBezTo>
                <a:cubicBezTo>
                  <a:pt x="654" y="40"/>
                  <a:pt x="654" y="40"/>
                  <a:pt x="654" y="40"/>
                </a:cubicBezTo>
                <a:cubicBezTo>
                  <a:pt x="654" y="39"/>
                  <a:pt x="654" y="39"/>
                  <a:pt x="654" y="39"/>
                </a:cubicBezTo>
                <a:cubicBezTo>
                  <a:pt x="654" y="39"/>
                  <a:pt x="654" y="39"/>
                  <a:pt x="654" y="39"/>
                </a:cubicBezTo>
                <a:cubicBezTo>
                  <a:pt x="654" y="39"/>
                  <a:pt x="654" y="38"/>
                  <a:pt x="654" y="38"/>
                </a:cubicBezTo>
                <a:cubicBezTo>
                  <a:pt x="654" y="38"/>
                  <a:pt x="654" y="38"/>
                  <a:pt x="654" y="38"/>
                </a:cubicBezTo>
                <a:cubicBezTo>
                  <a:pt x="655" y="38"/>
                  <a:pt x="655" y="37"/>
                  <a:pt x="655" y="37"/>
                </a:cubicBezTo>
                <a:cubicBezTo>
                  <a:pt x="655" y="37"/>
                  <a:pt x="655" y="37"/>
                  <a:pt x="655" y="37"/>
                </a:cubicBezTo>
                <a:cubicBezTo>
                  <a:pt x="655" y="37"/>
                  <a:pt x="655" y="37"/>
                  <a:pt x="655" y="36"/>
                </a:cubicBezTo>
                <a:cubicBezTo>
                  <a:pt x="655" y="36"/>
                  <a:pt x="655" y="36"/>
                  <a:pt x="655" y="36"/>
                </a:cubicBezTo>
                <a:cubicBezTo>
                  <a:pt x="655" y="36"/>
                  <a:pt x="655" y="36"/>
                  <a:pt x="655" y="36"/>
                </a:cubicBezTo>
                <a:cubicBezTo>
                  <a:pt x="655" y="36"/>
                  <a:pt x="655" y="36"/>
                  <a:pt x="655" y="35"/>
                </a:cubicBezTo>
                <a:cubicBezTo>
                  <a:pt x="655" y="35"/>
                  <a:pt x="655" y="35"/>
                  <a:pt x="655" y="35"/>
                </a:cubicBezTo>
                <a:cubicBezTo>
                  <a:pt x="656" y="35"/>
                  <a:pt x="656" y="35"/>
                  <a:pt x="656" y="35"/>
                </a:cubicBezTo>
                <a:cubicBezTo>
                  <a:pt x="656" y="35"/>
                  <a:pt x="656" y="35"/>
                  <a:pt x="656" y="35"/>
                </a:cubicBezTo>
                <a:cubicBezTo>
                  <a:pt x="656" y="34"/>
                  <a:pt x="655" y="34"/>
                  <a:pt x="655" y="34"/>
                </a:cubicBezTo>
                <a:cubicBezTo>
                  <a:pt x="652" y="34"/>
                  <a:pt x="648" y="34"/>
                  <a:pt x="645" y="34"/>
                </a:cubicBezTo>
                <a:cubicBezTo>
                  <a:pt x="645" y="34"/>
                  <a:pt x="644" y="34"/>
                  <a:pt x="644" y="34"/>
                </a:cubicBezTo>
                <a:cubicBezTo>
                  <a:pt x="644" y="35"/>
                  <a:pt x="644" y="35"/>
                  <a:pt x="644" y="35"/>
                </a:cubicBezTo>
                <a:cubicBezTo>
                  <a:pt x="644" y="35"/>
                  <a:pt x="644" y="35"/>
                  <a:pt x="644" y="35"/>
                </a:cubicBezTo>
                <a:cubicBezTo>
                  <a:pt x="644" y="35"/>
                  <a:pt x="644" y="35"/>
                  <a:pt x="644" y="35"/>
                </a:cubicBezTo>
                <a:cubicBezTo>
                  <a:pt x="644" y="35"/>
                  <a:pt x="644" y="35"/>
                  <a:pt x="644" y="35"/>
                </a:cubicBezTo>
                <a:cubicBezTo>
                  <a:pt x="644" y="36"/>
                  <a:pt x="644" y="36"/>
                  <a:pt x="644" y="36"/>
                </a:cubicBezTo>
                <a:cubicBezTo>
                  <a:pt x="644" y="36"/>
                  <a:pt x="644" y="36"/>
                  <a:pt x="644" y="36"/>
                </a:cubicBezTo>
                <a:cubicBezTo>
                  <a:pt x="643" y="37"/>
                  <a:pt x="643" y="37"/>
                  <a:pt x="643" y="37"/>
                </a:cubicBezTo>
                <a:cubicBezTo>
                  <a:pt x="643" y="37"/>
                  <a:pt x="643" y="37"/>
                  <a:pt x="643" y="37"/>
                </a:cubicBezTo>
                <a:cubicBezTo>
                  <a:pt x="643" y="37"/>
                  <a:pt x="643" y="37"/>
                  <a:pt x="643" y="37"/>
                </a:cubicBezTo>
                <a:cubicBezTo>
                  <a:pt x="643" y="38"/>
                  <a:pt x="643" y="38"/>
                  <a:pt x="643" y="38"/>
                </a:cubicBezTo>
                <a:cubicBezTo>
                  <a:pt x="643" y="38"/>
                  <a:pt x="643" y="38"/>
                  <a:pt x="643" y="39"/>
                </a:cubicBezTo>
                <a:cubicBezTo>
                  <a:pt x="643" y="39"/>
                  <a:pt x="643" y="39"/>
                  <a:pt x="643" y="39"/>
                </a:cubicBezTo>
                <a:cubicBezTo>
                  <a:pt x="643" y="39"/>
                  <a:pt x="643" y="39"/>
                  <a:pt x="643" y="39"/>
                </a:cubicBezTo>
                <a:cubicBezTo>
                  <a:pt x="642" y="39"/>
                  <a:pt x="643" y="40"/>
                  <a:pt x="642" y="40"/>
                </a:cubicBezTo>
                <a:cubicBezTo>
                  <a:pt x="642" y="40"/>
                  <a:pt x="642" y="40"/>
                  <a:pt x="642" y="40"/>
                </a:cubicBezTo>
                <a:cubicBezTo>
                  <a:pt x="642" y="40"/>
                  <a:pt x="642" y="41"/>
                  <a:pt x="642" y="41"/>
                </a:cubicBezTo>
                <a:cubicBezTo>
                  <a:pt x="642" y="41"/>
                  <a:pt x="642" y="41"/>
                  <a:pt x="642" y="41"/>
                </a:cubicBezTo>
                <a:cubicBezTo>
                  <a:pt x="642" y="42"/>
                  <a:pt x="642" y="42"/>
                  <a:pt x="642" y="42"/>
                </a:cubicBezTo>
                <a:cubicBezTo>
                  <a:pt x="642" y="42"/>
                  <a:pt x="642" y="42"/>
                  <a:pt x="642" y="42"/>
                </a:cubicBezTo>
                <a:cubicBezTo>
                  <a:pt x="641" y="42"/>
                  <a:pt x="641" y="43"/>
                  <a:pt x="641" y="43"/>
                </a:cubicBezTo>
                <a:cubicBezTo>
                  <a:pt x="641" y="43"/>
                  <a:pt x="641" y="43"/>
                  <a:pt x="641" y="43"/>
                </a:cubicBezTo>
                <a:cubicBezTo>
                  <a:pt x="641" y="43"/>
                  <a:pt x="641" y="44"/>
                  <a:pt x="641" y="44"/>
                </a:cubicBezTo>
                <a:cubicBezTo>
                  <a:pt x="641" y="44"/>
                  <a:pt x="641" y="44"/>
                  <a:pt x="641" y="44"/>
                </a:cubicBezTo>
                <a:cubicBezTo>
                  <a:pt x="641" y="44"/>
                  <a:pt x="641" y="44"/>
                  <a:pt x="641" y="44"/>
                </a:cubicBezTo>
                <a:cubicBezTo>
                  <a:pt x="641" y="44"/>
                  <a:pt x="641" y="45"/>
                  <a:pt x="640" y="45"/>
                </a:cubicBezTo>
                <a:cubicBezTo>
                  <a:pt x="641" y="45"/>
                  <a:pt x="641" y="45"/>
                  <a:pt x="640" y="45"/>
                </a:cubicBezTo>
                <a:cubicBezTo>
                  <a:pt x="640" y="45"/>
                  <a:pt x="640" y="46"/>
                  <a:pt x="640" y="46"/>
                </a:cubicBezTo>
                <a:cubicBezTo>
                  <a:pt x="640" y="46"/>
                  <a:pt x="640" y="46"/>
                  <a:pt x="640" y="46"/>
                </a:cubicBezTo>
                <a:cubicBezTo>
                  <a:pt x="640" y="46"/>
                  <a:pt x="640" y="47"/>
                  <a:pt x="640" y="47"/>
                </a:cubicBezTo>
                <a:cubicBezTo>
                  <a:pt x="640" y="47"/>
                  <a:pt x="640" y="47"/>
                  <a:pt x="640" y="47"/>
                </a:cubicBezTo>
                <a:cubicBezTo>
                  <a:pt x="640" y="47"/>
                  <a:pt x="640" y="47"/>
                  <a:pt x="639" y="48"/>
                </a:cubicBezTo>
                <a:cubicBezTo>
                  <a:pt x="639" y="48"/>
                  <a:pt x="639" y="48"/>
                  <a:pt x="639" y="48"/>
                </a:cubicBezTo>
                <a:cubicBezTo>
                  <a:pt x="639" y="48"/>
                  <a:pt x="639" y="48"/>
                  <a:pt x="639" y="48"/>
                </a:cubicBezTo>
                <a:cubicBezTo>
                  <a:pt x="639" y="48"/>
                  <a:pt x="639" y="48"/>
                  <a:pt x="639" y="49"/>
                </a:cubicBezTo>
                <a:cubicBezTo>
                  <a:pt x="639" y="49"/>
                  <a:pt x="639" y="49"/>
                  <a:pt x="639" y="49"/>
                </a:cubicBezTo>
                <a:cubicBezTo>
                  <a:pt x="639" y="49"/>
                  <a:pt x="639" y="49"/>
                  <a:pt x="639" y="50"/>
                </a:cubicBezTo>
                <a:cubicBezTo>
                  <a:pt x="639" y="50"/>
                  <a:pt x="639" y="50"/>
                  <a:pt x="639" y="50"/>
                </a:cubicBezTo>
                <a:cubicBezTo>
                  <a:pt x="638" y="50"/>
                  <a:pt x="639" y="50"/>
                  <a:pt x="638" y="51"/>
                </a:cubicBezTo>
                <a:cubicBezTo>
                  <a:pt x="638" y="51"/>
                  <a:pt x="638" y="51"/>
                  <a:pt x="638" y="51"/>
                </a:cubicBezTo>
                <a:cubicBezTo>
                  <a:pt x="638" y="51"/>
                  <a:pt x="638" y="51"/>
                  <a:pt x="638" y="52"/>
                </a:cubicBezTo>
                <a:cubicBezTo>
                  <a:pt x="638" y="52"/>
                  <a:pt x="638" y="52"/>
                  <a:pt x="638" y="52"/>
                </a:cubicBezTo>
                <a:cubicBezTo>
                  <a:pt x="638" y="52"/>
                  <a:pt x="638" y="52"/>
                  <a:pt x="638" y="52"/>
                </a:cubicBezTo>
                <a:cubicBezTo>
                  <a:pt x="638" y="52"/>
                  <a:pt x="638" y="52"/>
                  <a:pt x="638" y="52"/>
                </a:cubicBezTo>
                <a:cubicBezTo>
                  <a:pt x="637" y="53"/>
                  <a:pt x="638" y="53"/>
                  <a:pt x="637" y="53"/>
                </a:cubicBezTo>
                <a:cubicBezTo>
                  <a:pt x="637" y="53"/>
                  <a:pt x="637" y="53"/>
                  <a:pt x="637" y="53"/>
                </a:cubicBezTo>
                <a:cubicBezTo>
                  <a:pt x="637" y="54"/>
                  <a:pt x="637" y="54"/>
                  <a:pt x="637" y="54"/>
                </a:cubicBezTo>
                <a:cubicBezTo>
                  <a:pt x="637" y="54"/>
                  <a:pt x="637" y="54"/>
                  <a:pt x="637" y="54"/>
                </a:cubicBezTo>
                <a:cubicBezTo>
                  <a:pt x="637" y="55"/>
                  <a:pt x="637" y="55"/>
                  <a:pt x="637" y="55"/>
                </a:cubicBezTo>
                <a:cubicBezTo>
                  <a:pt x="637" y="55"/>
                  <a:pt x="637" y="55"/>
                  <a:pt x="637" y="55"/>
                </a:cubicBezTo>
                <a:cubicBezTo>
                  <a:pt x="637" y="55"/>
                  <a:pt x="637" y="56"/>
                  <a:pt x="637" y="56"/>
                </a:cubicBezTo>
                <a:cubicBezTo>
                  <a:pt x="636" y="56"/>
                  <a:pt x="636" y="56"/>
                  <a:pt x="636" y="56"/>
                </a:cubicBezTo>
                <a:cubicBezTo>
                  <a:pt x="636" y="56"/>
                  <a:pt x="636" y="56"/>
                  <a:pt x="636" y="56"/>
                </a:cubicBezTo>
                <a:cubicBezTo>
                  <a:pt x="636" y="57"/>
                  <a:pt x="636" y="57"/>
                  <a:pt x="636" y="57"/>
                </a:cubicBezTo>
                <a:cubicBezTo>
                  <a:pt x="636" y="57"/>
                  <a:pt x="636" y="57"/>
                  <a:pt x="636" y="57"/>
                </a:cubicBezTo>
                <a:cubicBezTo>
                  <a:pt x="636" y="58"/>
                  <a:pt x="636" y="58"/>
                  <a:pt x="636" y="58"/>
                </a:cubicBezTo>
                <a:cubicBezTo>
                  <a:pt x="636" y="58"/>
                  <a:pt x="636" y="58"/>
                  <a:pt x="636" y="58"/>
                </a:cubicBezTo>
                <a:cubicBezTo>
                  <a:pt x="636" y="58"/>
                  <a:pt x="636" y="58"/>
                  <a:pt x="636" y="58"/>
                </a:cubicBezTo>
                <a:cubicBezTo>
                  <a:pt x="635" y="59"/>
                  <a:pt x="635" y="59"/>
                  <a:pt x="635" y="59"/>
                </a:cubicBezTo>
                <a:cubicBezTo>
                  <a:pt x="635" y="59"/>
                  <a:pt x="635" y="59"/>
                  <a:pt x="635" y="59"/>
                </a:cubicBezTo>
                <a:cubicBezTo>
                  <a:pt x="635" y="59"/>
                  <a:pt x="635" y="60"/>
                  <a:pt x="635" y="60"/>
                </a:cubicBezTo>
                <a:cubicBezTo>
                  <a:pt x="635" y="60"/>
                  <a:pt x="635" y="60"/>
                  <a:pt x="635" y="60"/>
                </a:cubicBezTo>
                <a:cubicBezTo>
                  <a:pt x="635" y="60"/>
                  <a:pt x="635" y="61"/>
                  <a:pt x="635" y="61"/>
                </a:cubicBezTo>
                <a:cubicBezTo>
                  <a:pt x="635" y="61"/>
                  <a:pt x="635" y="61"/>
                  <a:pt x="635" y="61"/>
                </a:cubicBezTo>
                <a:cubicBezTo>
                  <a:pt x="635" y="61"/>
                  <a:pt x="635" y="61"/>
                  <a:pt x="635" y="61"/>
                </a:cubicBezTo>
                <a:cubicBezTo>
                  <a:pt x="634" y="61"/>
                  <a:pt x="634" y="62"/>
                  <a:pt x="634" y="62"/>
                </a:cubicBezTo>
                <a:cubicBezTo>
                  <a:pt x="634" y="62"/>
                  <a:pt x="634" y="62"/>
                  <a:pt x="634" y="62"/>
                </a:cubicBezTo>
                <a:cubicBezTo>
                  <a:pt x="634" y="62"/>
                  <a:pt x="634" y="63"/>
                  <a:pt x="634" y="63"/>
                </a:cubicBezTo>
                <a:cubicBezTo>
                  <a:pt x="634" y="63"/>
                  <a:pt x="634" y="63"/>
                  <a:pt x="634" y="63"/>
                </a:cubicBezTo>
                <a:cubicBezTo>
                  <a:pt x="634" y="63"/>
                  <a:pt x="634" y="64"/>
                  <a:pt x="634" y="64"/>
                </a:cubicBezTo>
                <a:cubicBezTo>
                  <a:pt x="634" y="64"/>
                  <a:pt x="634" y="64"/>
                  <a:pt x="634" y="64"/>
                </a:cubicBezTo>
                <a:cubicBezTo>
                  <a:pt x="633" y="64"/>
                  <a:pt x="633" y="64"/>
                  <a:pt x="633" y="65"/>
                </a:cubicBezTo>
                <a:cubicBezTo>
                  <a:pt x="633" y="65"/>
                  <a:pt x="633" y="65"/>
                  <a:pt x="633" y="65"/>
                </a:cubicBezTo>
                <a:cubicBezTo>
                  <a:pt x="633" y="65"/>
                  <a:pt x="633" y="65"/>
                  <a:pt x="633" y="65"/>
                </a:cubicBezTo>
                <a:cubicBezTo>
                  <a:pt x="633" y="65"/>
                  <a:pt x="633" y="65"/>
                  <a:pt x="633" y="66"/>
                </a:cubicBezTo>
                <a:cubicBezTo>
                  <a:pt x="633" y="66"/>
                  <a:pt x="633" y="66"/>
                  <a:pt x="633" y="66"/>
                </a:cubicBezTo>
                <a:cubicBezTo>
                  <a:pt x="632" y="66"/>
                  <a:pt x="633" y="66"/>
                  <a:pt x="632" y="67"/>
                </a:cubicBezTo>
                <a:cubicBezTo>
                  <a:pt x="632" y="67"/>
                  <a:pt x="632" y="67"/>
                  <a:pt x="632" y="67"/>
                </a:cubicBezTo>
                <a:cubicBezTo>
                  <a:pt x="632" y="67"/>
                  <a:pt x="632" y="67"/>
                  <a:pt x="632" y="68"/>
                </a:cubicBezTo>
                <a:cubicBezTo>
                  <a:pt x="632" y="68"/>
                  <a:pt x="632" y="68"/>
                  <a:pt x="632" y="68"/>
                </a:cubicBezTo>
                <a:cubicBezTo>
                  <a:pt x="632" y="68"/>
                  <a:pt x="632" y="68"/>
                  <a:pt x="632" y="69"/>
                </a:cubicBezTo>
                <a:cubicBezTo>
                  <a:pt x="632" y="69"/>
                  <a:pt x="632" y="69"/>
                  <a:pt x="632" y="69"/>
                </a:cubicBezTo>
                <a:cubicBezTo>
                  <a:pt x="632" y="69"/>
                  <a:pt x="632" y="69"/>
                  <a:pt x="631" y="70"/>
                </a:cubicBezTo>
                <a:cubicBezTo>
                  <a:pt x="631" y="70"/>
                  <a:pt x="631" y="70"/>
                  <a:pt x="631" y="70"/>
                </a:cubicBezTo>
                <a:cubicBezTo>
                  <a:pt x="631" y="70"/>
                  <a:pt x="631" y="70"/>
                  <a:pt x="631" y="71"/>
                </a:cubicBezTo>
                <a:cubicBezTo>
                  <a:pt x="631" y="71"/>
                  <a:pt x="631" y="71"/>
                  <a:pt x="631" y="71"/>
                </a:cubicBezTo>
                <a:cubicBezTo>
                  <a:pt x="631" y="71"/>
                  <a:pt x="631" y="71"/>
                  <a:pt x="631" y="71"/>
                </a:cubicBezTo>
                <a:cubicBezTo>
                  <a:pt x="631" y="72"/>
                  <a:pt x="631" y="72"/>
                  <a:pt x="631" y="72"/>
                </a:cubicBezTo>
                <a:cubicBezTo>
                  <a:pt x="631" y="72"/>
                  <a:pt x="631" y="72"/>
                  <a:pt x="631" y="72"/>
                </a:cubicBezTo>
                <a:cubicBezTo>
                  <a:pt x="631" y="72"/>
                  <a:pt x="631" y="72"/>
                  <a:pt x="630" y="72"/>
                </a:cubicBezTo>
                <a:cubicBezTo>
                  <a:pt x="630" y="72"/>
                  <a:pt x="630" y="73"/>
                  <a:pt x="630" y="73"/>
                </a:cubicBezTo>
                <a:cubicBezTo>
                  <a:pt x="630" y="73"/>
                  <a:pt x="630" y="73"/>
                  <a:pt x="630" y="73"/>
                </a:cubicBezTo>
                <a:cubicBezTo>
                  <a:pt x="630" y="73"/>
                  <a:pt x="630" y="73"/>
                  <a:pt x="630" y="73"/>
                </a:cubicBezTo>
                <a:cubicBezTo>
                  <a:pt x="630" y="74"/>
                  <a:pt x="630" y="74"/>
                  <a:pt x="630" y="74"/>
                </a:cubicBezTo>
                <a:cubicBezTo>
                  <a:pt x="630" y="74"/>
                  <a:pt x="630" y="74"/>
                  <a:pt x="630" y="74"/>
                </a:cubicBezTo>
                <a:cubicBezTo>
                  <a:pt x="629" y="75"/>
                  <a:pt x="629" y="75"/>
                  <a:pt x="629" y="75"/>
                </a:cubicBezTo>
                <a:cubicBezTo>
                  <a:pt x="629" y="75"/>
                  <a:pt x="629" y="75"/>
                  <a:pt x="629" y="75"/>
                </a:cubicBezTo>
                <a:cubicBezTo>
                  <a:pt x="629" y="75"/>
                  <a:pt x="629" y="75"/>
                  <a:pt x="629" y="75"/>
                </a:cubicBezTo>
                <a:cubicBezTo>
                  <a:pt x="629" y="76"/>
                  <a:pt x="629" y="76"/>
                  <a:pt x="629" y="76"/>
                </a:cubicBezTo>
                <a:cubicBezTo>
                  <a:pt x="629" y="76"/>
                  <a:pt x="629" y="76"/>
                  <a:pt x="629" y="76"/>
                </a:cubicBezTo>
                <a:cubicBezTo>
                  <a:pt x="629" y="76"/>
                  <a:pt x="629" y="77"/>
                  <a:pt x="629" y="77"/>
                </a:cubicBezTo>
                <a:cubicBezTo>
                  <a:pt x="629" y="77"/>
                  <a:pt x="629" y="77"/>
                  <a:pt x="629" y="77"/>
                </a:cubicBezTo>
                <a:cubicBezTo>
                  <a:pt x="628" y="77"/>
                  <a:pt x="628" y="78"/>
                  <a:pt x="628" y="78"/>
                </a:cubicBezTo>
                <a:cubicBezTo>
                  <a:pt x="628" y="78"/>
                  <a:pt x="628" y="78"/>
                  <a:pt x="628" y="78"/>
                </a:cubicBezTo>
                <a:cubicBezTo>
                  <a:pt x="628" y="78"/>
                  <a:pt x="628" y="78"/>
                  <a:pt x="628" y="78"/>
                </a:cubicBezTo>
                <a:cubicBezTo>
                  <a:pt x="628" y="78"/>
                  <a:pt x="628" y="79"/>
                  <a:pt x="628" y="79"/>
                </a:cubicBezTo>
                <a:cubicBezTo>
                  <a:pt x="628" y="79"/>
                  <a:pt x="628" y="79"/>
                  <a:pt x="628" y="79"/>
                </a:cubicBezTo>
                <a:cubicBezTo>
                  <a:pt x="628" y="79"/>
                  <a:pt x="628" y="80"/>
                  <a:pt x="628" y="80"/>
                </a:cubicBezTo>
                <a:cubicBezTo>
                  <a:pt x="628" y="80"/>
                  <a:pt x="628" y="80"/>
                  <a:pt x="628" y="80"/>
                </a:cubicBezTo>
                <a:cubicBezTo>
                  <a:pt x="627" y="80"/>
                  <a:pt x="628" y="81"/>
                  <a:pt x="627" y="81"/>
                </a:cubicBezTo>
                <a:cubicBezTo>
                  <a:pt x="627" y="81"/>
                  <a:pt x="627" y="81"/>
                  <a:pt x="627" y="81"/>
                </a:cubicBezTo>
                <a:cubicBezTo>
                  <a:pt x="627" y="81"/>
                  <a:pt x="627" y="82"/>
                  <a:pt x="627" y="82"/>
                </a:cubicBezTo>
                <a:cubicBezTo>
                  <a:pt x="627" y="82"/>
                  <a:pt x="627" y="82"/>
                  <a:pt x="627" y="82"/>
                </a:cubicBezTo>
                <a:cubicBezTo>
                  <a:pt x="627" y="82"/>
                  <a:pt x="627" y="82"/>
                  <a:pt x="627" y="82"/>
                </a:cubicBezTo>
                <a:cubicBezTo>
                  <a:pt x="627" y="82"/>
                  <a:pt x="627" y="83"/>
                  <a:pt x="627" y="83"/>
                </a:cubicBezTo>
                <a:cubicBezTo>
                  <a:pt x="627" y="83"/>
                  <a:pt x="627" y="83"/>
                  <a:pt x="626" y="83"/>
                </a:cubicBezTo>
                <a:cubicBezTo>
                  <a:pt x="626" y="83"/>
                  <a:pt x="626" y="84"/>
                  <a:pt x="626" y="84"/>
                </a:cubicBezTo>
                <a:cubicBezTo>
                  <a:pt x="626" y="84"/>
                  <a:pt x="626" y="84"/>
                  <a:pt x="626" y="84"/>
                </a:cubicBezTo>
                <a:cubicBezTo>
                  <a:pt x="626" y="84"/>
                  <a:pt x="626" y="85"/>
                  <a:pt x="626" y="85"/>
                </a:cubicBezTo>
                <a:cubicBezTo>
                  <a:pt x="626" y="85"/>
                  <a:pt x="626" y="85"/>
                  <a:pt x="626" y="85"/>
                </a:cubicBezTo>
                <a:cubicBezTo>
                  <a:pt x="626" y="85"/>
                  <a:pt x="626" y="85"/>
                  <a:pt x="626" y="86"/>
                </a:cubicBezTo>
                <a:cubicBezTo>
                  <a:pt x="626" y="86"/>
                  <a:pt x="626" y="86"/>
                  <a:pt x="626" y="86"/>
                </a:cubicBezTo>
                <a:cubicBezTo>
                  <a:pt x="625" y="86"/>
                  <a:pt x="625" y="86"/>
                  <a:pt x="625" y="86"/>
                </a:cubicBezTo>
                <a:cubicBezTo>
                  <a:pt x="625" y="86"/>
                  <a:pt x="625" y="86"/>
                  <a:pt x="625" y="87"/>
                </a:cubicBezTo>
                <a:cubicBezTo>
                  <a:pt x="625" y="87"/>
                  <a:pt x="625" y="87"/>
                  <a:pt x="625" y="87"/>
                </a:cubicBezTo>
                <a:cubicBezTo>
                  <a:pt x="625" y="87"/>
                  <a:pt x="625" y="87"/>
                  <a:pt x="625" y="88"/>
                </a:cubicBezTo>
                <a:cubicBezTo>
                  <a:pt x="625" y="88"/>
                  <a:pt x="625" y="88"/>
                  <a:pt x="625" y="88"/>
                </a:cubicBezTo>
                <a:cubicBezTo>
                  <a:pt x="625" y="88"/>
                  <a:pt x="625" y="88"/>
                  <a:pt x="625" y="88"/>
                </a:cubicBezTo>
                <a:cubicBezTo>
                  <a:pt x="625" y="89"/>
                  <a:pt x="625" y="89"/>
                  <a:pt x="625" y="89"/>
                </a:cubicBezTo>
                <a:cubicBezTo>
                  <a:pt x="624" y="89"/>
                  <a:pt x="624" y="89"/>
                  <a:pt x="624" y="89"/>
                </a:cubicBezTo>
                <a:cubicBezTo>
                  <a:pt x="624" y="89"/>
                  <a:pt x="624" y="89"/>
                  <a:pt x="624" y="89"/>
                </a:cubicBezTo>
                <a:cubicBezTo>
                  <a:pt x="624" y="89"/>
                  <a:pt x="624" y="89"/>
                  <a:pt x="624" y="89"/>
                </a:cubicBezTo>
                <a:cubicBezTo>
                  <a:pt x="623" y="90"/>
                  <a:pt x="624" y="89"/>
                  <a:pt x="623" y="89"/>
                </a:cubicBezTo>
                <a:cubicBezTo>
                  <a:pt x="623" y="89"/>
                  <a:pt x="623" y="89"/>
                  <a:pt x="623" y="89"/>
                </a:cubicBezTo>
                <a:cubicBezTo>
                  <a:pt x="623" y="88"/>
                  <a:pt x="623" y="88"/>
                  <a:pt x="623" y="88"/>
                </a:cubicBezTo>
                <a:cubicBezTo>
                  <a:pt x="623" y="88"/>
                  <a:pt x="623" y="88"/>
                  <a:pt x="623" y="88"/>
                </a:cubicBezTo>
                <a:cubicBezTo>
                  <a:pt x="623" y="87"/>
                  <a:pt x="623" y="87"/>
                  <a:pt x="623" y="87"/>
                </a:cubicBezTo>
                <a:cubicBezTo>
                  <a:pt x="623" y="87"/>
                  <a:pt x="623" y="87"/>
                  <a:pt x="623" y="87"/>
                </a:cubicBezTo>
                <a:cubicBezTo>
                  <a:pt x="623" y="86"/>
                  <a:pt x="623" y="86"/>
                  <a:pt x="622" y="86"/>
                </a:cubicBezTo>
                <a:cubicBezTo>
                  <a:pt x="622" y="86"/>
                  <a:pt x="622" y="86"/>
                  <a:pt x="622" y="86"/>
                </a:cubicBezTo>
                <a:cubicBezTo>
                  <a:pt x="622" y="85"/>
                  <a:pt x="622" y="85"/>
                  <a:pt x="622" y="85"/>
                </a:cubicBezTo>
                <a:cubicBezTo>
                  <a:pt x="622" y="85"/>
                  <a:pt x="622" y="85"/>
                  <a:pt x="622" y="85"/>
                </a:cubicBezTo>
                <a:cubicBezTo>
                  <a:pt x="622" y="84"/>
                  <a:pt x="622" y="84"/>
                  <a:pt x="622" y="84"/>
                </a:cubicBezTo>
                <a:cubicBezTo>
                  <a:pt x="622" y="84"/>
                  <a:pt x="622" y="84"/>
                  <a:pt x="622" y="84"/>
                </a:cubicBezTo>
                <a:cubicBezTo>
                  <a:pt x="622" y="84"/>
                  <a:pt x="622" y="84"/>
                  <a:pt x="622" y="84"/>
                </a:cubicBezTo>
                <a:cubicBezTo>
                  <a:pt x="622" y="83"/>
                  <a:pt x="622" y="83"/>
                  <a:pt x="621" y="83"/>
                </a:cubicBezTo>
                <a:cubicBezTo>
                  <a:pt x="621" y="83"/>
                  <a:pt x="621" y="83"/>
                  <a:pt x="621" y="83"/>
                </a:cubicBezTo>
                <a:cubicBezTo>
                  <a:pt x="621" y="83"/>
                  <a:pt x="621" y="83"/>
                  <a:pt x="621" y="83"/>
                </a:cubicBezTo>
                <a:cubicBezTo>
                  <a:pt x="621" y="82"/>
                  <a:pt x="621" y="82"/>
                  <a:pt x="621" y="82"/>
                </a:cubicBezTo>
                <a:cubicBezTo>
                  <a:pt x="621" y="82"/>
                  <a:pt x="621" y="82"/>
                  <a:pt x="621" y="82"/>
                </a:cubicBezTo>
                <a:cubicBezTo>
                  <a:pt x="621" y="81"/>
                  <a:pt x="621" y="81"/>
                  <a:pt x="621" y="81"/>
                </a:cubicBezTo>
                <a:cubicBezTo>
                  <a:pt x="621" y="81"/>
                  <a:pt x="621" y="81"/>
                  <a:pt x="621" y="81"/>
                </a:cubicBezTo>
                <a:cubicBezTo>
                  <a:pt x="620" y="80"/>
                  <a:pt x="621" y="80"/>
                  <a:pt x="620" y="80"/>
                </a:cubicBezTo>
                <a:cubicBezTo>
                  <a:pt x="620" y="80"/>
                  <a:pt x="620" y="80"/>
                  <a:pt x="620" y="80"/>
                </a:cubicBezTo>
                <a:cubicBezTo>
                  <a:pt x="620" y="79"/>
                  <a:pt x="620" y="79"/>
                  <a:pt x="620" y="79"/>
                </a:cubicBezTo>
                <a:cubicBezTo>
                  <a:pt x="620" y="79"/>
                  <a:pt x="620" y="79"/>
                  <a:pt x="620" y="79"/>
                </a:cubicBezTo>
                <a:cubicBezTo>
                  <a:pt x="620" y="78"/>
                  <a:pt x="620" y="78"/>
                  <a:pt x="620" y="78"/>
                </a:cubicBezTo>
                <a:cubicBezTo>
                  <a:pt x="619" y="78"/>
                  <a:pt x="619" y="78"/>
                  <a:pt x="620" y="78"/>
                </a:cubicBezTo>
                <a:cubicBezTo>
                  <a:pt x="619" y="77"/>
                  <a:pt x="619" y="77"/>
                  <a:pt x="619" y="77"/>
                </a:cubicBezTo>
                <a:cubicBezTo>
                  <a:pt x="619" y="77"/>
                  <a:pt x="619" y="77"/>
                  <a:pt x="619" y="77"/>
                </a:cubicBezTo>
                <a:cubicBezTo>
                  <a:pt x="619" y="77"/>
                  <a:pt x="619" y="77"/>
                  <a:pt x="619" y="77"/>
                </a:cubicBezTo>
                <a:cubicBezTo>
                  <a:pt x="619" y="76"/>
                  <a:pt x="619" y="76"/>
                  <a:pt x="619" y="76"/>
                </a:cubicBezTo>
                <a:cubicBezTo>
                  <a:pt x="619" y="76"/>
                  <a:pt x="619" y="76"/>
                  <a:pt x="619" y="76"/>
                </a:cubicBezTo>
                <a:cubicBezTo>
                  <a:pt x="619" y="76"/>
                  <a:pt x="619" y="76"/>
                  <a:pt x="619" y="76"/>
                </a:cubicBezTo>
                <a:cubicBezTo>
                  <a:pt x="619" y="75"/>
                  <a:pt x="619" y="75"/>
                  <a:pt x="619" y="75"/>
                </a:cubicBezTo>
                <a:cubicBezTo>
                  <a:pt x="619" y="75"/>
                  <a:pt x="619" y="75"/>
                  <a:pt x="619" y="75"/>
                </a:cubicBezTo>
                <a:cubicBezTo>
                  <a:pt x="618" y="74"/>
                  <a:pt x="619" y="74"/>
                  <a:pt x="618" y="74"/>
                </a:cubicBezTo>
                <a:cubicBezTo>
                  <a:pt x="618" y="74"/>
                  <a:pt x="618" y="74"/>
                  <a:pt x="618" y="74"/>
                </a:cubicBezTo>
                <a:cubicBezTo>
                  <a:pt x="618" y="73"/>
                  <a:pt x="618" y="73"/>
                  <a:pt x="618" y="73"/>
                </a:cubicBezTo>
                <a:cubicBezTo>
                  <a:pt x="618" y="73"/>
                  <a:pt x="618" y="73"/>
                  <a:pt x="618" y="73"/>
                </a:cubicBezTo>
                <a:cubicBezTo>
                  <a:pt x="618" y="72"/>
                  <a:pt x="618" y="72"/>
                  <a:pt x="617" y="72"/>
                </a:cubicBezTo>
                <a:cubicBezTo>
                  <a:pt x="617" y="72"/>
                  <a:pt x="617" y="72"/>
                  <a:pt x="617" y="72"/>
                </a:cubicBezTo>
                <a:cubicBezTo>
                  <a:pt x="617" y="71"/>
                  <a:pt x="617" y="71"/>
                  <a:pt x="617" y="71"/>
                </a:cubicBezTo>
                <a:cubicBezTo>
                  <a:pt x="617" y="71"/>
                  <a:pt x="617" y="71"/>
                  <a:pt x="617" y="71"/>
                </a:cubicBezTo>
                <a:cubicBezTo>
                  <a:pt x="617" y="70"/>
                  <a:pt x="617" y="70"/>
                  <a:pt x="617" y="70"/>
                </a:cubicBezTo>
                <a:cubicBezTo>
                  <a:pt x="617" y="70"/>
                  <a:pt x="617" y="70"/>
                  <a:pt x="617" y="70"/>
                </a:cubicBezTo>
                <a:cubicBezTo>
                  <a:pt x="617" y="70"/>
                  <a:pt x="617" y="70"/>
                  <a:pt x="617" y="70"/>
                </a:cubicBezTo>
                <a:cubicBezTo>
                  <a:pt x="617" y="69"/>
                  <a:pt x="617" y="69"/>
                  <a:pt x="616" y="69"/>
                </a:cubicBezTo>
                <a:cubicBezTo>
                  <a:pt x="616" y="69"/>
                  <a:pt x="616" y="69"/>
                  <a:pt x="616" y="69"/>
                </a:cubicBezTo>
                <a:cubicBezTo>
                  <a:pt x="616" y="69"/>
                  <a:pt x="616" y="69"/>
                  <a:pt x="616" y="69"/>
                </a:cubicBezTo>
                <a:cubicBezTo>
                  <a:pt x="616" y="68"/>
                  <a:pt x="616" y="68"/>
                  <a:pt x="616" y="68"/>
                </a:cubicBezTo>
                <a:cubicBezTo>
                  <a:pt x="616" y="68"/>
                  <a:pt x="616" y="68"/>
                  <a:pt x="616" y="68"/>
                </a:cubicBezTo>
                <a:cubicBezTo>
                  <a:pt x="616" y="67"/>
                  <a:pt x="616" y="67"/>
                  <a:pt x="616" y="67"/>
                </a:cubicBezTo>
                <a:cubicBezTo>
                  <a:pt x="616" y="67"/>
                  <a:pt x="616" y="67"/>
                  <a:pt x="616" y="67"/>
                </a:cubicBezTo>
                <a:cubicBezTo>
                  <a:pt x="615" y="66"/>
                  <a:pt x="616" y="66"/>
                  <a:pt x="615" y="66"/>
                </a:cubicBezTo>
                <a:cubicBezTo>
                  <a:pt x="615" y="66"/>
                  <a:pt x="615" y="66"/>
                  <a:pt x="615" y="66"/>
                </a:cubicBezTo>
                <a:cubicBezTo>
                  <a:pt x="615" y="65"/>
                  <a:pt x="615" y="65"/>
                  <a:pt x="615" y="65"/>
                </a:cubicBezTo>
                <a:cubicBezTo>
                  <a:pt x="615" y="65"/>
                  <a:pt x="615" y="65"/>
                  <a:pt x="615" y="65"/>
                </a:cubicBezTo>
                <a:cubicBezTo>
                  <a:pt x="615" y="64"/>
                  <a:pt x="615" y="64"/>
                  <a:pt x="615" y="64"/>
                </a:cubicBezTo>
                <a:cubicBezTo>
                  <a:pt x="615" y="64"/>
                  <a:pt x="615" y="64"/>
                  <a:pt x="615" y="64"/>
                </a:cubicBezTo>
                <a:cubicBezTo>
                  <a:pt x="615" y="63"/>
                  <a:pt x="615" y="63"/>
                  <a:pt x="614" y="63"/>
                </a:cubicBezTo>
                <a:cubicBezTo>
                  <a:pt x="614" y="63"/>
                  <a:pt x="614" y="63"/>
                  <a:pt x="614" y="63"/>
                </a:cubicBezTo>
                <a:cubicBezTo>
                  <a:pt x="614" y="62"/>
                  <a:pt x="614" y="62"/>
                  <a:pt x="614" y="62"/>
                </a:cubicBezTo>
                <a:cubicBezTo>
                  <a:pt x="614" y="62"/>
                  <a:pt x="614" y="62"/>
                  <a:pt x="614" y="62"/>
                </a:cubicBezTo>
                <a:cubicBezTo>
                  <a:pt x="614" y="62"/>
                  <a:pt x="614" y="62"/>
                  <a:pt x="614" y="62"/>
                </a:cubicBezTo>
                <a:cubicBezTo>
                  <a:pt x="614" y="61"/>
                  <a:pt x="614" y="61"/>
                  <a:pt x="614" y="61"/>
                </a:cubicBezTo>
                <a:cubicBezTo>
                  <a:pt x="614" y="61"/>
                  <a:pt x="614" y="61"/>
                  <a:pt x="614" y="61"/>
                </a:cubicBezTo>
                <a:cubicBezTo>
                  <a:pt x="613" y="61"/>
                  <a:pt x="614" y="60"/>
                  <a:pt x="613" y="60"/>
                </a:cubicBezTo>
                <a:cubicBezTo>
                  <a:pt x="613" y="60"/>
                  <a:pt x="613" y="60"/>
                  <a:pt x="613" y="60"/>
                </a:cubicBezTo>
                <a:cubicBezTo>
                  <a:pt x="613" y="59"/>
                  <a:pt x="613" y="59"/>
                  <a:pt x="613" y="59"/>
                </a:cubicBezTo>
                <a:cubicBezTo>
                  <a:pt x="613" y="59"/>
                  <a:pt x="613" y="59"/>
                  <a:pt x="613" y="59"/>
                </a:cubicBezTo>
                <a:cubicBezTo>
                  <a:pt x="613" y="58"/>
                  <a:pt x="613" y="58"/>
                  <a:pt x="613" y="58"/>
                </a:cubicBezTo>
                <a:cubicBezTo>
                  <a:pt x="613" y="58"/>
                  <a:pt x="613" y="58"/>
                  <a:pt x="613" y="58"/>
                </a:cubicBezTo>
                <a:cubicBezTo>
                  <a:pt x="612" y="57"/>
                  <a:pt x="612" y="57"/>
                  <a:pt x="612" y="57"/>
                </a:cubicBezTo>
                <a:cubicBezTo>
                  <a:pt x="612" y="57"/>
                  <a:pt x="612" y="57"/>
                  <a:pt x="612" y="57"/>
                </a:cubicBezTo>
                <a:cubicBezTo>
                  <a:pt x="612" y="56"/>
                  <a:pt x="612" y="56"/>
                  <a:pt x="612" y="56"/>
                </a:cubicBezTo>
                <a:cubicBezTo>
                  <a:pt x="612" y="56"/>
                  <a:pt x="612" y="56"/>
                  <a:pt x="612" y="56"/>
                </a:cubicBezTo>
                <a:cubicBezTo>
                  <a:pt x="612" y="55"/>
                  <a:pt x="612" y="55"/>
                  <a:pt x="612" y="55"/>
                </a:cubicBezTo>
                <a:cubicBezTo>
                  <a:pt x="611" y="55"/>
                  <a:pt x="611" y="55"/>
                  <a:pt x="611" y="55"/>
                </a:cubicBezTo>
                <a:cubicBezTo>
                  <a:pt x="612" y="55"/>
                  <a:pt x="612" y="55"/>
                  <a:pt x="612" y="55"/>
                </a:cubicBezTo>
                <a:cubicBezTo>
                  <a:pt x="611" y="54"/>
                  <a:pt x="611" y="54"/>
                  <a:pt x="611" y="54"/>
                </a:cubicBezTo>
                <a:cubicBezTo>
                  <a:pt x="611" y="54"/>
                  <a:pt x="611" y="54"/>
                  <a:pt x="611" y="54"/>
                </a:cubicBezTo>
                <a:cubicBezTo>
                  <a:pt x="611" y="54"/>
                  <a:pt x="611" y="54"/>
                  <a:pt x="611" y="54"/>
                </a:cubicBezTo>
                <a:cubicBezTo>
                  <a:pt x="611" y="53"/>
                  <a:pt x="611" y="53"/>
                  <a:pt x="611" y="53"/>
                </a:cubicBezTo>
                <a:cubicBezTo>
                  <a:pt x="611" y="53"/>
                  <a:pt x="611" y="53"/>
                  <a:pt x="611" y="53"/>
                </a:cubicBezTo>
                <a:cubicBezTo>
                  <a:pt x="611" y="53"/>
                  <a:pt x="611" y="52"/>
                  <a:pt x="611" y="52"/>
                </a:cubicBezTo>
                <a:cubicBezTo>
                  <a:pt x="611" y="52"/>
                  <a:pt x="611" y="52"/>
                  <a:pt x="611" y="52"/>
                </a:cubicBezTo>
                <a:cubicBezTo>
                  <a:pt x="610" y="51"/>
                  <a:pt x="611" y="51"/>
                  <a:pt x="610" y="51"/>
                </a:cubicBezTo>
                <a:cubicBezTo>
                  <a:pt x="610" y="51"/>
                  <a:pt x="610" y="51"/>
                  <a:pt x="610" y="51"/>
                </a:cubicBezTo>
                <a:cubicBezTo>
                  <a:pt x="610" y="50"/>
                  <a:pt x="610" y="50"/>
                  <a:pt x="610" y="50"/>
                </a:cubicBezTo>
                <a:cubicBezTo>
                  <a:pt x="610" y="50"/>
                  <a:pt x="610" y="50"/>
                  <a:pt x="610" y="50"/>
                </a:cubicBezTo>
                <a:cubicBezTo>
                  <a:pt x="610" y="49"/>
                  <a:pt x="610" y="49"/>
                  <a:pt x="610" y="49"/>
                </a:cubicBezTo>
                <a:cubicBezTo>
                  <a:pt x="609" y="49"/>
                  <a:pt x="609" y="49"/>
                  <a:pt x="609" y="49"/>
                </a:cubicBezTo>
                <a:cubicBezTo>
                  <a:pt x="609" y="48"/>
                  <a:pt x="609" y="48"/>
                  <a:pt x="609" y="48"/>
                </a:cubicBezTo>
                <a:cubicBezTo>
                  <a:pt x="609" y="48"/>
                  <a:pt x="609" y="48"/>
                  <a:pt x="609" y="48"/>
                </a:cubicBezTo>
                <a:cubicBezTo>
                  <a:pt x="609" y="48"/>
                  <a:pt x="609" y="48"/>
                  <a:pt x="609" y="48"/>
                </a:cubicBezTo>
                <a:cubicBezTo>
                  <a:pt x="609" y="47"/>
                  <a:pt x="609" y="47"/>
                  <a:pt x="609" y="47"/>
                </a:cubicBezTo>
                <a:cubicBezTo>
                  <a:pt x="609" y="47"/>
                  <a:pt x="609" y="47"/>
                  <a:pt x="609" y="47"/>
                </a:cubicBezTo>
                <a:cubicBezTo>
                  <a:pt x="609" y="47"/>
                  <a:pt x="609" y="47"/>
                  <a:pt x="609" y="47"/>
                </a:cubicBezTo>
                <a:cubicBezTo>
                  <a:pt x="609" y="46"/>
                  <a:pt x="609" y="46"/>
                  <a:pt x="608" y="46"/>
                </a:cubicBezTo>
                <a:cubicBezTo>
                  <a:pt x="608" y="46"/>
                  <a:pt x="608" y="46"/>
                  <a:pt x="608" y="46"/>
                </a:cubicBezTo>
                <a:cubicBezTo>
                  <a:pt x="608" y="46"/>
                  <a:pt x="608" y="45"/>
                  <a:pt x="608" y="45"/>
                </a:cubicBezTo>
                <a:cubicBezTo>
                  <a:pt x="608" y="45"/>
                  <a:pt x="608" y="45"/>
                  <a:pt x="608" y="45"/>
                </a:cubicBezTo>
                <a:cubicBezTo>
                  <a:pt x="608" y="45"/>
                  <a:pt x="608" y="44"/>
                  <a:pt x="608" y="44"/>
                </a:cubicBezTo>
                <a:cubicBezTo>
                  <a:pt x="608" y="44"/>
                  <a:pt x="608" y="44"/>
                  <a:pt x="608" y="44"/>
                </a:cubicBezTo>
                <a:cubicBezTo>
                  <a:pt x="607" y="43"/>
                  <a:pt x="608" y="43"/>
                  <a:pt x="607" y="43"/>
                </a:cubicBezTo>
                <a:cubicBezTo>
                  <a:pt x="607" y="43"/>
                  <a:pt x="607" y="43"/>
                  <a:pt x="607" y="43"/>
                </a:cubicBezTo>
                <a:cubicBezTo>
                  <a:pt x="607" y="43"/>
                  <a:pt x="607" y="42"/>
                  <a:pt x="607" y="42"/>
                </a:cubicBezTo>
                <a:cubicBezTo>
                  <a:pt x="607" y="42"/>
                  <a:pt x="607" y="42"/>
                  <a:pt x="607" y="42"/>
                </a:cubicBezTo>
                <a:cubicBezTo>
                  <a:pt x="607" y="41"/>
                  <a:pt x="607" y="41"/>
                  <a:pt x="607" y="41"/>
                </a:cubicBezTo>
                <a:cubicBezTo>
                  <a:pt x="607" y="41"/>
                  <a:pt x="607" y="41"/>
                  <a:pt x="607" y="41"/>
                </a:cubicBezTo>
                <a:cubicBezTo>
                  <a:pt x="607" y="41"/>
                  <a:pt x="607" y="41"/>
                  <a:pt x="607" y="41"/>
                </a:cubicBezTo>
                <a:cubicBezTo>
                  <a:pt x="607" y="40"/>
                  <a:pt x="607" y="40"/>
                  <a:pt x="606" y="40"/>
                </a:cubicBezTo>
                <a:cubicBezTo>
                  <a:pt x="606" y="40"/>
                  <a:pt x="606" y="40"/>
                  <a:pt x="606" y="40"/>
                </a:cubicBezTo>
                <a:cubicBezTo>
                  <a:pt x="606" y="40"/>
                  <a:pt x="606" y="40"/>
                  <a:pt x="606" y="40"/>
                </a:cubicBezTo>
                <a:cubicBezTo>
                  <a:pt x="606" y="39"/>
                  <a:pt x="606" y="39"/>
                  <a:pt x="606" y="39"/>
                </a:cubicBezTo>
                <a:cubicBezTo>
                  <a:pt x="606" y="39"/>
                  <a:pt x="606" y="39"/>
                  <a:pt x="606" y="39"/>
                </a:cubicBezTo>
                <a:cubicBezTo>
                  <a:pt x="606" y="39"/>
                  <a:pt x="606" y="38"/>
                  <a:pt x="606" y="38"/>
                </a:cubicBezTo>
                <a:cubicBezTo>
                  <a:pt x="606" y="38"/>
                  <a:pt x="606" y="38"/>
                  <a:pt x="606" y="38"/>
                </a:cubicBezTo>
                <a:cubicBezTo>
                  <a:pt x="605" y="38"/>
                  <a:pt x="606" y="37"/>
                  <a:pt x="605" y="37"/>
                </a:cubicBezTo>
                <a:cubicBezTo>
                  <a:pt x="605" y="37"/>
                  <a:pt x="605" y="37"/>
                  <a:pt x="605" y="37"/>
                </a:cubicBezTo>
                <a:cubicBezTo>
                  <a:pt x="605" y="37"/>
                  <a:pt x="605" y="36"/>
                  <a:pt x="605" y="36"/>
                </a:cubicBezTo>
                <a:cubicBezTo>
                  <a:pt x="605" y="36"/>
                  <a:pt x="605" y="36"/>
                  <a:pt x="605" y="36"/>
                </a:cubicBezTo>
                <a:cubicBezTo>
                  <a:pt x="605" y="36"/>
                  <a:pt x="605" y="35"/>
                  <a:pt x="605" y="35"/>
                </a:cubicBezTo>
                <a:cubicBezTo>
                  <a:pt x="605" y="35"/>
                  <a:pt x="605" y="35"/>
                  <a:pt x="605" y="35"/>
                </a:cubicBezTo>
                <a:cubicBezTo>
                  <a:pt x="604" y="34"/>
                  <a:pt x="604" y="34"/>
                  <a:pt x="604" y="34"/>
                </a:cubicBezTo>
                <a:cubicBezTo>
                  <a:pt x="600" y="34"/>
                  <a:pt x="597" y="34"/>
                  <a:pt x="593" y="34"/>
                </a:cubicBezTo>
                <a:cubicBezTo>
                  <a:pt x="592" y="34"/>
                  <a:pt x="592" y="35"/>
                  <a:pt x="592" y="35"/>
                </a:cubicBezTo>
                <a:cubicBezTo>
                  <a:pt x="593" y="35"/>
                  <a:pt x="593" y="35"/>
                  <a:pt x="593" y="35"/>
                </a:cubicBezTo>
                <a:cubicBezTo>
                  <a:pt x="592" y="35"/>
                  <a:pt x="592" y="35"/>
                  <a:pt x="592" y="35"/>
                </a:cubicBezTo>
                <a:cubicBezTo>
                  <a:pt x="593" y="36"/>
                  <a:pt x="593" y="36"/>
                  <a:pt x="593" y="36"/>
                </a:cubicBezTo>
                <a:cubicBezTo>
                  <a:pt x="593" y="36"/>
                  <a:pt x="593" y="36"/>
                  <a:pt x="593" y="36"/>
                </a:cubicBezTo>
                <a:cubicBezTo>
                  <a:pt x="593" y="36"/>
                  <a:pt x="593" y="37"/>
                  <a:pt x="593" y="37"/>
                </a:cubicBezTo>
                <a:cubicBezTo>
                  <a:pt x="593" y="37"/>
                  <a:pt x="593" y="37"/>
                  <a:pt x="593" y="37"/>
                </a:cubicBezTo>
                <a:cubicBezTo>
                  <a:pt x="593" y="37"/>
                  <a:pt x="593" y="38"/>
                  <a:pt x="593" y="38"/>
                </a:cubicBezTo>
                <a:cubicBezTo>
                  <a:pt x="593" y="38"/>
                  <a:pt x="593" y="38"/>
                  <a:pt x="593" y="38"/>
                </a:cubicBezTo>
                <a:cubicBezTo>
                  <a:pt x="594" y="38"/>
                  <a:pt x="594" y="38"/>
                  <a:pt x="594" y="39"/>
                </a:cubicBezTo>
                <a:cubicBezTo>
                  <a:pt x="594" y="39"/>
                  <a:pt x="594" y="39"/>
                  <a:pt x="594" y="39"/>
                </a:cubicBezTo>
                <a:cubicBezTo>
                  <a:pt x="594" y="39"/>
                  <a:pt x="594" y="39"/>
                  <a:pt x="594" y="40"/>
                </a:cubicBezTo>
                <a:cubicBezTo>
                  <a:pt x="594" y="40"/>
                  <a:pt x="594" y="40"/>
                  <a:pt x="594" y="40"/>
                </a:cubicBezTo>
                <a:cubicBezTo>
                  <a:pt x="595" y="40"/>
                  <a:pt x="594" y="40"/>
                  <a:pt x="595" y="41"/>
                </a:cubicBezTo>
                <a:cubicBezTo>
                  <a:pt x="595" y="41"/>
                  <a:pt x="595" y="41"/>
                  <a:pt x="595" y="41"/>
                </a:cubicBezTo>
                <a:cubicBezTo>
                  <a:pt x="595" y="41"/>
                  <a:pt x="595" y="41"/>
                  <a:pt x="595" y="41"/>
                </a:cubicBezTo>
                <a:cubicBezTo>
                  <a:pt x="595" y="41"/>
                  <a:pt x="595" y="41"/>
                  <a:pt x="595" y="41"/>
                </a:cubicBezTo>
                <a:cubicBezTo>
                  <a:pt x="595" y="42"/>
                  <a:pt x="595" y="42"/>
                  <a:pt x="595" y="42"/>
                </a:cubicBezTo>
                <a:cubicBezTo>
                  <a:pt x="595" y="42"/>
                  <a:pt x="595" y="42"/>
                  <a:pt x="595" y="42"/>
                </a:cubicBezTo>
                <a:cubicBezTo>
                  <a:pt x="595" y="43"/>
                  <a:pt x="595" y="43"/>
                  <a:pt x="596" y="43"/>
                </a:cubicBezTo>
                <a:cubicBezTo>
                  <a:pt x="596" y="43"/>
                  <a:pt x="596" y="43"/>
                  <a:pt x="596" y="43"/>
                </a:cubicBezTo>
                <a:cubicBezTo>
                  <a:pt x="596" y="43"/>
                  <a:pt x="596" y="43"/>
                  <a:pt x="596" y="43"/>
                </a:cubicBezTo>
                <a:cubicBezTo>
                  <a:pt x="596" y="44"/>
                  <a:pt x="596" y="44"/>
                  <a:pt x="596" y="44"/>
                </a:cubicBezTo>
                <a:cubicBezTo>
                  <a:pt x="596" y="44"/>
                  <a:pt x="596" y="44"/>
                  <a:pt x="596" y="44"/>
                </a:cubicBezTo>
                <a:cubicBezTo>
                  <a:pt x="596" y="44"/>
                  <a:pt x="596" y="45"/>
                  <a:pt x="596" y="45"/>
                </a:cubicBezTo>
                <a:cubicBezTo>
                  <a:pt x="596" y="45"/>
                  <a:pt x="596" y="45"/>
                  <a:pt x="596" y="45"/>
                </a:cubicBezTo>
                <a:cubicBezTo>
                  <a:pt x="596" y="45"/>
                  <a:pt x="596" y="46"/>
                  <a:pt x="597" y="46"/>
                </a:cubicBezTo>
                <a:cubicBezTo>
                  <a:pt x="597" y="46"/>
                  <a:pt x="597" y="46"/>
                  <a:pt x="597" y="46"/>
                </a:cubicBezTo>
                <a:cubicBezTo>
                  <a:pt x="597" y="46"/>
                  <a:pt x="597" y="46"/>
                  <a:pt x="597" y="47"/>
                </a:cubicBezTo>
                <a:cubicBezTo>
                  <a:pt x="597" y="47"/>
                  <a:pt x="597" y="47"/>
                  <a:pt x="597" y="47"/>
                </a:cubicBezTo>
                <a:cubicBezTo>
                  <a:pt x="597" y="47"/>
                  <a:pt x="597" y="47"/>
                  <a:pt x="597" y="48"/>
                </a:cubicBezTo>
                <a:cubicBezTo>
                  <a:pt x="597" y="48"/>
                  <a:pt x="597" y="48"/>
                  <a:pt x="597" y="48"/>
                </a:cubicBezTo>
                <a:cubicBezTo>
                  <a:pt x="598" y="48"/>
                  <a:pt x="597" y="48"/>
                  <a:pt x="598" y="49"/>
                </a:cubicBezTo>
                <a:cubicBezTo>
                  <a:pt x="598" y="49"/>
                  <a:pt x="598" y="49"/>
                  <a:pt x="598" y="49"/>
                </a:cubicBezTo>
                <a:cubicBezTo>
                  <a:pt x="598" y="49"/>
                  <a:pt x="598" y="49"/>
                  <a:pt x="598" y="49"/>
                </a:cubicBezTo>
                <a:cubicBezTo>
                  <a:pt x="598" y="49"/>
                  <a:pt x="598" y="49"/>
                  <a:pt x="598" y="49"/>
                </a:cubicBezTo>
                <a:cubicBezTo>
                  <a:pt x="598" y="50"/>
                  <a:pt x="598" y="50"/>
                  <a:pt x="598" y="50"/>
                </a:cubicBezTo>
                <a:cubicBezTo>
                  <a:pt x="598" y="50"/>
                  <a:pt x="598" y="50"/>
                  <a:pt x="598" y="50"/>
                </a:cubicBezTo>
                <a:cubicBezTo>
                  <a:pt x="599" y="51"/>
                  <a:pt x="598" y="51"/>
                  <a:pt x="599" y="51"/>
                </a:cubicBezTo>
                <a:cubicBezTo>
                  <a:pt x="599" y="51"/>
                  <a:pt x="599" y="51"/>
                  <a:pt x="599" y="51"/>
                </a:cubicBezTo>
                <a:cubicBezTo>
                  <a:pt x="599" y="51"/>
                  <a:pt x="599" y="51"/>
                  <a:pt x="599" y="51"/>
                </a:cubicBezTo>
                <a:cubicBezTo>
                  <a:pt x="599" y="52"/>
                  <a:pt x="599" y="52"/>
                  <a:pt x="599" y="52"/>
                </a:cubicBezTo>
                <a:cubicBezTo>
                  <a:pt x="599" y="52"/>
                  <a:pt x="599" y="52"/>
                  <a:pt x="599" y="52"/>
                </a:cubicBezTo>
                <a:cubicBezTo>
                  <a:pt x="599" y="52"/>
                  <a:pt x="599" y="53"/>
                  <a:pt x="599" y="53"/>
                </a:cubicBezTo>
                <a:cubicBezTo>
                  <a:pt x="599" y="53"/>
                  <a:pt x="599" y="53"/>
                  <a:pt x="599" y="53"/>
                </a:cubicBezTo>
                <a:cubicBezTo>
                  <a:pt x="600" y="53"/>
                  <a:pt x="600" y="54"/>
                  <a:pt x="600" y="54"/>
                </a:cubicBezTo>
                <a:cubicBezTo>
                  <a:pt x="600" y="54"/>
                  <a:pt x="600" y="54"/>
                  <a:pt x="600" y="54"/>
                </a:cubicBezTo>
                <a:cubicBezTo>
                  <a:pt x="600" y="54"/>
                  <a:pt x="600" y="54"/>
                  <a:pt x="600" y="55"/>
                </a:cubicBezTo>
                <a:cubicBezTo>
                  <a:pt x="600" y="55"/>
                  <a:pt x="600" y="55"/>
                  <a:pt x="600" y="55"/>
                </a:cubicBezTo>
                <a:cubicBezTo>
                  <a:pt x="600" y="55"/>
                  <a:pt x="600" y="55"/>
                  <a:pt x="600" y="56"/>
                </a:cubicBezTo>
                <a:cubicBezTo>
                  <a:pt x="600" y="56"/>
                  <a:pt x="600" y="56"/>
                  <a:pt x="600" y="56"/>
                </a:cubicBezTo>
                <a:cubicBezTo>
                  <a:pt x="601" y="56"/>
                  <a:pt x="600" y="56"/>
                  <a:pt x="601" y="57"/>
                </a:cubicBezTo>
                <a:cubicBezTo>
                  <a:pt x="601" y="57"/>
                  <a:pt x="601" y="57"/>
                  <a:pt x="601" y="57"/>
                </a:cubicBezTo>
                <a:cubicBezTo>
                  <a:pt x="601" y="57"/>
                  <a:pt x="601" y="57"/>
                  <a:pt x="601" y="57"/>
                </a:cubicBezTo>
                <a:cubicBezTo>
                  <a:pt x="601" y="57"/>
                  <a:pt x="601" y="57"/>
                  <a:pt x="601" y="57"/>
                </a:cubicBezTo>
                <a:cubicBezTo>
                  <a:pt x="601" y="58"/>
                  <a:pt x="601" y="58"/>
                  <a:pt x="602" y="58"/>
                </a:cubicBezTo>
                <a:cubicBezTo>
                  <a:pt x="602" y="58"/>
                  <a:pt x="602" y="58"/>
                  <a:pt x="602" y="58"/>
                </a:cubicBezTo>
                <a:cubicBezTo>
                  <a:pt x="602" y="59"/>
                  <a:pt x="602" y="59"/>
                  <a:pt x="602" y="59"/>
                </a:cubicBezTo>
                <a:cubicBezTo>
                  <a:pt x="602" y="59"/>
                  <a:pt x="602" y="59"/>
                  <a:pt x="602" y="59"/>
                </a:cubicBezTo>
                <a:cubicBezTo>
                  <a:pt x="602" y="59"/>
                  <a:pt x="602" y="59"/>
                  <a:pt x="602" y="59"/>
                </a:cubicBezTo>
                <a:cubicBezTo>
                  <a:pt x="602" y="60"/>
                  <a:pt x="602" y="60"/>
                  <a:pt x="602" y="60"/>
                </a:cubicBezTo>
                <a:cubicBezTo>
                  <a:pt x="602" y="60"/>
                  <a:pt x="602" y="60"/>
                  <a:pt x="602" y="60"/>
                </a:cubicBezTo>
                <a:cubicBezTo>
                  <a:pt x="602" y="60"/>
                  <a:pt x="602" y="61"/>
                  <a:pt x="602" y="61"/>
                </a:cubicBezTo>
                <a:cubicBezTo>
                  <a:pt x="603" y="61"/>
                  <a:pt x="603" y="61"/>
                  <a:pt x="603" y="61"/>
                </a:cubicBezTo>
                <a:cubicBezTo>
                  <a:pt x="603" y="61"/>
                  <a:pt x="603" y="62"/>
                  <a:pt x="603" y="62"/>
                </a:cubicBezTo>
                <a:cubicBezTo>
                  <a:pt x="603" y="62"/>
                  <a:pt x="603" y="62"/>
                  <a:pt x="603" y="62"/>
                </a:cubicBezTo>
                <a:cubicBezTo>
                  <a:pt x="603" y="62"/>
                  <a:pt x="603" y="62"/>
                  <a:pt x="603" y="63"/>
                </a:cubicBezTo>
                <a:cubicBezTo>
                  <a:pt x="603" y="63"/>
                  <a:pt x="603" y="63"/>
                  <a:pt x="603" y="63"/>
                </a:cubicBezTo>
                <a:cubicBezTo>
                  <a:pt x="603" y="63"/>
                  <a:pt x="603" y="63"/>
                  <a:pt x="604" y="64"/>
                </a:cubicBezTo>
                <a:cubicBezTo>
                  <a:pt x="604" y="64"/>
                  <a:pt x="604" y="64"/>
                  <a:pt x="604" y="64"/>
                </a:cubicBezTo>
                <a:cubicBezTo>
                  <a:pt x="604" y="64"/>
                  <a:pt x="604" y="64"/>
                  <a:pt x="604" y="65"/>
                </a:cubicBezTo>
                <a:cubicBezTo>
                  <a:pt x="604" y="65"/>
                  <a:pt x="604" y="65"/>
                  <a:pt x="604" y="65"/>
                </a:cubicBezTo>
                <a:cubicBezTo>
                  <a:pt x="604" y="65"/>
                  <a:pt x="604" y="65"/>
                  <a:pt x="604" y="65"/>
                </a:cubicBezTo>
                <a:cubicBezTo>
                  <a:pt x="604" y="65"/>
                  <a:pt x="604" y="65"/>
                  <a:pt x="604" y="65"/>
                </a:cubicBezTo>
                <a:cubicBezTo>
                  <a:pt x="605" y="66"/>
                  <a:pt x="604" y="66"/>
                  <a:pt x="605" y="66"/>
                </a:cubicBezTo>
                <a:cubicBezTo>
                  <a:pt x="605" y="66"/>
                  <a:pt x="605" y="66"/>
                  <a:pt x="605" y="66"/>
                </a:cubicBezTo>
                <a:cubicBezTo>
                  <a:pt x="605" y="67"/>
                  <a:pt x="605" y="67"/>
                  <a:pt x="605" y="67"/>
                </a:cubicBezTo>
                <a:cubicBezTo>
                  <a:pt x="605" y="67"/>
                  <a:pt x="605" y="67"/>
                  <a:pt x="605" y="67"/>
                </a:cubicBezTo>
                <a:cubicBezTo>
                  <a:pt x="605" y="67"/>
                  <a:pt x="605" y="67"/>
                  <a:pt x="605" y="67"/>
                </a:cubicBezTo>
                <a:cubicBezTo>
                  <a:pt x="605" y="68"/>
                  <a:pt x="605" y="68"/>
                  <a:pt x="605" y="68"/>
                </a:cubicBezTo>
                <a:cubicBezTo>
                  <a:pt x="605" y="68"/>
                  <a:pt x="605" y="68"/>
                  <a:pt x="605" y="68"/>
                </a:cubicBezTo>
                <a:cubicBezTo>
                  <a:pt x="605" y="68"/>
                  <a:pt x="605" y="69"/>
                  <a:pt x="606" y="69"/>
                </a:cubicBezTo>
                <a:cubicBezTo>
                  <a:pt x="606" y="69"/>
                  <a:pt x="606" y="69"/>
                  <a:pt x="606" y="69"/>
                </a:cubicBezTo>
                <a:cubicBezTo>
                  <a:pt x="606" y="69"/>
                  <a:pt x="606" y="70"/>
                  <a:pt x="606" y="70"/>
                </a:cubicBezTo>
                <a:cubicBezTo>
                  <a:pt x="606" y="70"/>
                  <a:pt x="606" y="70"/>
                  <a:pt x="606" y="70"/>
                </a:cubicBezTo>
                <a:cubicBezTo>
                  <a:pt x="606" y="70"/>
                  <a:pt x="606" y="70"/>
                  <a:pt x="606" y="71"/>
                </a:cubicBezTo>
                <a:cubicBezTo>
                  <a:pt x="606" y="71"/>
                  <a:pt x="606" y="71"/>
                  <a:pt x="606" y="71"/>
                </a:cubicBezTo>
                <a:cubicBezTo>
                  <a:pt x="607" y="71"/>
                  <a:pt x="606" y="71"/>
                  <a:pt x="607" y="72"/>
                </a:cubicBezTo>
                <a:cubicBezTo>
                  <a:pt x="607" y="72"/>
                  <a:pt x="607" y="72"/>
                  <a:pt x="607" y="72"/>
                </a:cubicBezTo>
                <a:cubicBezTo>
                  <a:pt x="607" y="72"/>
                  <a:pt x="607" y="72"/>
                  <a:pt x="607" y="73"/>
                </a:cubicBezTo>
                <a:cubicBezTo>
                  <a:pt x="607" y="73"/>
                  <a:pt x="607" y="73"/>
                  <a:pt x="607" y="73"/>
                </a:cubicBezTo>
                <a:cubicBezTo>
                  <a:pt x="607" y="73"/>
                  <a:pt x="607" y="73"/>
                  <a:pt x="607" y="73"/>
                </a:cubicBezTo>
                <a:cubicBezTo>
                  <a:pt x="607" y="73"/>
                  <a:pt x="607" y="73"/>
                  <a:pt x="607" y="73"/>
                </a:cubicBezTo>
                <a:cubicBezTo>
                  <a:pt x="608" y="74"/>
                  <a:pt x="607" y="74"/>
                  <a:pt x="608" y="74"/>
                </a:cubicBezTo>
                <a:cubicBezTo>
                  <a:pt x="608" y="74"/>
                  <a:pt x="608" y="74"/>
                  <a:pt x="608" y="74"/>
                </a:cubicBezTo>
                <a:cubicBezTo>
                  <a:pt x="608" y="75"/>
                  <a:pt x="608" y="75"/>
                  <a:pt x="608" y="75"/>
                </a:cubicBezTo>
                <a:cubicBezTo>
                  <a:pt x="608" y="75"/>
                  <a:pt x="608" y="75"/>
                  <a:pt x="608" y="75"/>
                </a:cubicBezTo>
                <a:cubicBezTo>
                  <a:pt x="608" y="75"/>
                  <a:pt x="608" y="75"/>
                  <a:pt x="608" y="75"/>
                </a:cubicBezTo>
                <a:cubicBezTo>
                  <a:pt x="608" y="76"/>
                  <a:pt x="608" y="76"/>
                  <a:pt x="608" y="76"/>
                </a:cubicBezTo>
                <a:cubicBezTo>
                  <a:pt x="608" y="76"/>
                  <a:pt x="608" y="76"/>
                  <a:pt x="608" y="76"/>
                </a:cubicBezTo>
                <a:cubicBezTo>
                  <a:pt x="609" y="76"/>
                  <a:pt x="609" y="77"/>
                  <a:pt x="609" y="77"/>
                </a:cubicBezTo>
                <a:cubicBezTo>
                  <a:pt x="609" y="77"/>
                  <a:pt x="609" y="77"/>
                  <a:pt x="609" y="77"/>
                </a:cubicBezTo>
                <a:cubicBezTo>
                  <a:pt x="609" y="77"/>
                  <a:pt x="609" y="77"/>
                  <a:pt x="609" y="77"/>
                </a:cubicBezTo>
                <a:cubicBezTo>
                  <a:pt x="609" y="77"/>
                  <a:pt x="609" y="78"/>
                  <a:pt x="609" y="78"/>
                </a:cubicBezTo>
                <a:cubicBezTo>
                  <a:pt x="609" y="78"/>
                  <a:pt x="609" y="78"/>
                  <a:pt x="609" y="78"/>
                </a:cubicBezTo>
                <a:cubicBezTo>
                  <a:pt x="609" y="78"/>
                  <a:pt x="609" y="78"/>
                  <a:pt x="609" y="79"/>
                </a:cubicBezTo>
                <a:cubicBezTo>
                  <a:pt x="610" y="79"/>
                  <a:pt x="610" y="79"/>
                  <a:pt x="610" y="79"/>
                </a:cubicBezTo>
                <a:cubicBezTo>
                  <a:pt x="610" y="79"/>
                  <a:pt x="610" y="79"/>
                  <a:pt x="610" y="80"/>
                </a:cubicBezTo>
                <a:cubicBezTo>
                  <a:pt x="610" y="80"/>
                  <a:pt x="610" y="80"/>
                  <a:pt x="610" y="80"/>
                </a:cubicBezTo>
                <a:cubicBezTo>
                  <a:pt x="610" y="80"/>
                  <a:pt x="610" y="80"/>
                  <a:pt x="610" y="81"/>
                </a:cubicBezTo>
                <a:cubicBezTo>
                  <a:pt x="610" y="81"/>
                  <a:pt x="610" y="81"/>
                  <a:pt x="610" y="81"/>
                </a:cubicBezTo>
                <a:cubicBezTo>
                  <a:pt x="610" y="81"/>
                  <a:pt x="610" y="81"/>
                  <a:pt x="611" y="81"/>
                </a:cubicBezTo>
                <a:cubicBezTo>
                  <a:pt x="611" y="81"/>
                  <a:pt x="611" y="81"/>
                  <a:pt x="611" y="81"/>
                </a:cubicBezTo>
                <a:cubicBezTo>
                  <a:pt x="611" y="82"/>
                  <a:pt x="611" y="82"/>
                  <a:pt x="611" y="82"/>
                </a:cubicBezTo>
                <a:cubicBezTo>
                  <a:pt x="611" y="82"/>
                  <a:pt x="611" y="82"/>
                  <a:pt x="611" y="82"/>
                </a:cubicBezTo>
                <a:cubicBezTo>
                  <a:pt x="611" y="83"/>
                  <a:pt x="611" y="83"/>
                  <a:pt x="611" y="83"/>
                </a:cubicBezTo>
                <a:cubicBezTo>
                  <a:pt x="611" y="83"/>
                  <a:pt x="611" y="83"/>
                  <a:pt x="611" y="83"/>
                </a:cubicBezTo>
                <a:cubicBezTo>
                  <a:pt x="611" y="83"/>
                  <a:pt x="611" y="83"/>
                  <a:pt x="611" y="83"/>
                </a:cubicBezTo>
                <a:cubicBezTo>
                  <a:pt x="611" y="84"/>
                  <a:pt x="611" y="84"/>
                  <a:pt x="612" y="84"/>
                </a:cubicBezTo>
                <a:cubicBezTo>
                  <a:pt x="612" y="84"/>
                  <a:pt x="612" y="84"/>
                  <a:pt x="612" y="84"/>
                </a:cubicBezTo>
                <a:cubicBezTo>
                  <a:pt x="612" y="84"/>
                  <a:pt x="612" y="85"/>
                  <a:pt x="612" y="85"/>
                </a:cubicBezTo>
                <a:cubicBezTo>
                  <a:pt x="612" y="85"/>
                  <a:pt x="612" y="85"/>
                  <a:pt x="612" y="85"/>
                </a:cubicBezTo>
                <a:cubicBezTo>
                  <a:pt x="612" y="85"/>
                  <a:pt x="612" y="85"/>
                  <a:pt x="612" y="85"/>
                </a:cubicBezTo>
                <a:cubicBezTo>
                  <a:pt x="612" y="85"/>
                  <a:pt x="612" y="86"/>
                  <a:pt x="612" y="86"/>
                </a:cubicBezTo>
                <a:cubicBezTo>
                  <a:pt x="612" y="86"/>
                  <a:pt x="612" y="86"/>
                  <a:pt x="612" y="86"/>
                </a:cubicBezTo>
                <a:cubicBezTo>
                  <a:pt x="612" y="86"/>
                  <a:pt x="612" y="86"/>
                  <a:pt x="613" y="87"/>
                </a:cubicBezTo>
                <a:cubicBezTo>
                  <a:pt x="613" y="87"/>
                  <a:pt x="613" y="87"/>
                  <a:pt x="613" y="87"/>
                </a:cubicBezTo>
                <a:cubicBezTo>
                  <a:pt x="613" y="87"/>
                  <a:pt x="613" y="87"/>
                  <a:pt x="613" y="88"/>
                </a:cubicBezTo>
                <a:cubicBezTo>
                  <a:pt x="613" y="88"/>
                  <a:pt x="613" y="88"/>
                  <a:pt x="613" y="88"/>
                </a:cubicBezTo>
                <a:cubicBezTo>
                  <a:pt x="613" y="88"/>
                  <a:pt x="613" y="88"/>
                  <a:pt x="613" y="89"/>
                </a:cubicBezTo>
                <a:cubicBezTo>
                  <a:pt x="613" y="89"/>
                  <a:pt x="613" y="89"/>
                  <a:pt x="613" y="89"/>
                </a:cubicBezTo>
                <a:cubicBezTo>
                  <a:pt x="613" y="89"/>
                  <a:pt x="613" y="89"/>
                  <a:pt x="614" y="89"/>
                </a:cubicBezTo>
                <a:cubicBezTo>
                  <a:pt x="614" y="89"/>
                  <a:pt x="614" y="89"/>
                  <a:pt x="614" y="89"/>
                </a:cubicBezTo>
                <a:cubicBezTo>
                  <a:pt x="614" y="90"/>
                  <a:pt x="614" y="90"/>
                  <a:pt x="614" y="90"/>
                </a:cubicBezTo>
                <a:cubicBezTo>
                  <a:pt x="614" y="90"/>
                  <a:pt x="614" y="90"/>
                  <a:pt x="614" y="90"/>
                </a:cubicBezTo>
                <a:cubicBezTo>
                  <a:pt x="614" y="91"/>
                  <a:pt x="614" y="91"/>
                  <a:pt x="614" y="91"/>
                </a:cubicBezTo>
                <a:cubicBezTo>
                  <a:pt x="614" y="91"/>
                  <a:pt x="614" y="91"/>
                  <a:pt x="614" y="91"/>
                </a:cubicBezTo>
                <a:cubicBezTo>
                  <a:pt x="614" y="91"/>
                  <a:pt x="614" y="91"/>
                  <a:pt x="614" y="91"/>
                </a:cubicBezTo>
                <a:cubicBezTo>
                  <a:pt x="615" y="92"/>
                  <a:pt x="614" y="92"/>
                  <a:pt x="615" y="92"/>
                </a:cubicBezTo>
                <a:cubicBezTo>
                  <a:pt x="615" y="92"/>
                  <a:pt x="615" y="92"/>
                  <a:pt x="615" y="92"/>
                </a:cubicBezTo>
                <a:cubicBezTo>
                  <a:pt x="615" y="92"/>
                  <a:pt x="615" y="93"/>
                  <a:pt x="615" y="93"/>
                </a:cubicBezTo>
                <a:cubicBezTo>
                  <a:pt x="615" y="93"/>
                  <a:pt x="615" y="93"/>
                  <a:pt x="615" y="93"/>
                </a:cubicBezTo>
                <a:cubicBezTo>
                  <a:pt x="615" y="93"/>
                  <a:pt x="615" y="93"/>
                  <a:pt x="615" y="93"/>
                </a:cubicBezTo>
                <a:cubicBezTo>
                  <a:pt x="615" y="93"/>
                  <a:pt x="615" y="94"/>
                  <a:pt x="615" y="94"/>
                </a:cubicBezTo>
                <a:cubicBezTo>
                  <a:pt x="615" y="94"/>
                  <a:pt x="615" y="94"/>
                  <a:pt x="615" y="94"/>
                </a:cubicBezTo>
                <a:cubicBezTo>
                  <a:pt x="616" y="94"/>
                  <a:pt x="616" y="94"/>
                  <a:pt x="616" y="95"/>
                </a:cubicBezTo>
                <a:cubicBezTo>
                  <a:pt x="616" y="95"/>
                  <a:pt x="616" y="95"/>
                  <a:pt x="616" y="95"/>
                </a:cubicBezTo>
                <a:cubicBezTo>
                  <a:pt x="616" y="95"/>
                  <a:pt x="616" y="95"/>
                  <a:pt x="616" y="96"/>
                </a:cubicBezTo>
                <a:cubicBezTo>
                  <a:pt x="616" y="96"/>
                  <a:pt x="616" y="96"/>
                  <a:pt x="616" y="96"/>
                </a:cubicBezTo>
                <a:cubicBezTo>
                  <a:pt x="616" y="96"/>
                  <a:pt x="616" y="96"/>
                  <a:pt x="617" y="97"/>
                </a:cubicBezTo>
                <a:cubicBezTo>
                  <a:pt x="616" y="97"/>
                  <a:pt x="616" y="97"/>
                  <a:pt x="616" y="97"/>
                </a:cubicBezTo>
                <a:cubicBezTo>
                  <a:pt x="617" y="97"/>
                  <a:pt x="617" y="97"/>
                  <a:pt x="617" y="97"/>
                </a:cubicBezTo>
                <a:cubicBezTo>
                  <a:pt x="617" y="97"/>
                  <a:pt x="617" y="97"/>
                  <a:pt x="617" y="97"/>
                </a:cubicBezTo>
                <a:cubicBezTo>
                  <a:pt x="617" y="98"/>
                  <a:pt x="617" y="98"/>
                  <a:pt x="617" y="98"/>
                </a:cubicBezTo>
                <a:cubicBezTo>
                  <a:pt x="617" y="98"/>
                  <a:pt x="617" y="98"/>
                  <a:pt x="617" y="98"/>
                </a:cubicBezTo>
                <a:cubicBezTo>
                  <a:pt x="617" y="99"/>
                  <a:pt x="617" y="99"/>
                  <a:pt x="617" y="99"/>
                </a:cubicBezTo>
                <a:cubicBezTo>
                  <a:pt x="618" y="99"/>
                  <a:pt x="618" y="99"/>
                  <a:pt x="618" y="99"/>
                </a:cubicBezTo>
                <a:cubicBezTo>
                  <a:pt x="618" y="99"/>
                  <a:pt x="618" y="99"/>
                  <a:pt x="618" y="99"/>
                </a:cubicBezTo>
                <a:cubicBezTo>
                  <a:pt x="618" y="100"/>
                  <a:pt x="618" y="100"/>
                  <a:pt x="618" y="100"/>
                </a:cubicBezTo>
                <a:cubicBezTo>
                  <a:pt x="618" y="100"/>
                  <a:pt x="618" y="100"/>
                  <a:pt x="618" y="100"/>
                </a:cubicBezTo>
                <a:cubicBezTo>
                  <a:pt x="618" y="100"/>
                  <a:pt x="618" y="101"/>
                  <a:pt x="618" y="101"/>
                </a:cubicBezTo>
                <a:cubicBezTo>
                  <a:pt x="618" y="101"/>
                  <a:pt x="619" y="101"/>
                  <a:pt x="618" y="102"/>
                </a:cubicBezTo>
                <a:cubicBezTo>
                  <a:pt x="618" y="102"/>
                  <a:pt x="618" y="102"/>
                  <a:pt x="618" y="103"/>
                </a:cubicBezTo>
                <a:cubicBezTo>
                  <a:pt x="618" y="103"/>
                  <a:pt x="618" y="103"/>
                  <a:pt x="618" y="103"/>
                </a:cubicBezTo>
                <a:cubicBezTo>
                  <a:pt x="618" y="103"/>
                  <a:pt x="618" y="103"/>
                  <a:pt x="618" y="103"/>
                </a:cubicBezTo>
                <a:cubicBezTo>
                  <a:pt x="618" y="103"/>
                  <a:pt x="618" y="103"/>
                  <a:pt x="618" y="103"/>
                </a:cubicBezTo>
                <a:cubicBezTo>
                  <a:pt x="617" y="103"/>
                  <a:pt x="617" y="104"/>
                  <a:pt x="617" y="104"/>
                </a:cubicBezTo>
                <a:cubicBezTo>
                  <a:pt x="617" y="104"/>
                  <a:pt x="617" y="104"/>
                  <a:pt x="617" y="104"/>
                </a:cubicBezTo>
                <a:cubicBezTo>
                  <a:pt x="617" y="104"/>
                  <a:pt x="617" y="104"/>
                  <a:pt x="617" y="104"/>
                </a:cubicBezTo>
                <a:cubicBezTo>
                  <a:pt x="617" y="105"/>
                  <a:pt x="617" y="105"/>
                  <a:pt x="617" y="105"/>
                </a:cubicBezTo>
                <a:cubicBezTo>
                  <a:pt x="617" y="105"/>
                  <a:pt x="617" y="105"/>
                  <a:pt x="617" y="105"/>
                </a:cubicBezTo>
                <a:cubicBezTo>
                  <a:pt x="617" y="105"/>
                  <a:pt x="617" y="106"/>
                  <a:pt x="616" y="106"/>
                </a:cubicBezTo>
                <a:cubicBezTo>
                  <a:pt x="617" y="106"/>
                  <a:pt x="617" y="106"/>
                  <a:pt x="617" y="106"/>
                </a:cubicBezTo>
                <a:cubicBezTo>
                  <a:pt x="616" y="106"/>
                  <a:pt x="616" y="106"/>
                  <a:pt x="616" y="107"/>
                </a:cubicBezTo>
                <a:cubicBezTo>
                  <a:pt x="616" y="107"/>
                  <a:pt x="616" y="107"/>
                  <a:pt x="616" y="107"/>
                </a:cubicBezTo>
                <a:cubicBezTo>
                  <a:pt x="616" y="107"/>
                  <a:pt x="616" y="107"/>
                  <a:pt x="616" y="107"/>
                </a:cubicBezTo>
                <a:cubicBezTo>
                  <a:pt x="616" y="107"/>
                  <a:pt x="616" y="107"/>
                  <a:pt x="616" y="107"/>
                </a:cubicBezTo>
                <a:cubicBezTo>
                  <a:pt x="616" y="107"/>
                  <a:pt x="616" y="107"/>
                  <a:pt x="616" y="107"/>
                </a:cubicBezTo>
                <a:cubicBezTo>
                  <a:pt x="616" y="108"/>
                  <a:pt x="616" y="108"/>
                  <a:pt x="615" y="108"/>
                </a:cubicBezTo>
                <a:cubicBezTo>
                  <a:pt x="615" y="108"/>
                  <a:pt x="615" y="108"/>
                  <a:pt x="615" y="108"/>
                </a:cubicBezTo>
                <a:cubicBezTo>
                  <a:pt x="615" y="109"/>
                  <a:pt x="615" y="109"/>
                  <a:pt x="615" y="109"/>
                </a:cubicBezTo>
                <a:cubicBezTo>
                  <a:pt x="615" y="109"/>
                  <a:pt x="615" y="109"/>
                  <a:pt x="615" y="109"/>
                </a:cubicBezTo>
                <a:cubicBezTo>
                  <a:pt x="615" y="109"/>
                  <a:pt x="615" y="110"/>
                  <a:pt x="615" y="110"/>
                </a:cubicBezTo>
                <a:cubicBezTo>
                  <a:pt x="615" y="110"/>
                  <a:pt x="615" y="110"/>
                  <a:pt x="615" y="110"/>
                </a:cubicBezTo>
                <a:cubicBezTo>
                  <a:pt x="614" y="110"/>
                  <a:pt x="615" y="110"/>
                  <a:pt x="614" y="111"/>
                </a:cubicBezTo>
                <a:cubicBezTo>
                  <a:pt x="614" y="111"/>
                  <a:pt x="614" y="111"/>
                  <a:pt x="614" y="111"/>
                </a:cubicBezTo>
                <a:cubicBezTo>
                  <a:pt x="614" y="111"/>
                  <a:pt x="614" y="111"/>
                  <a:pt x="614" y="111"/>
                </a:cubicBezTo>
                <a:cubicBezTo>
                  <a:pt x="614" y="111"/>
                  <a:pt x="614" y="111"/>
                  <a:pt x="614" y="112"/>
                </a:cubicBezTo>
                <a:cubicBezTo>
                  <a:pt x="614" y="112"/>
                  <a:pt x="614" y="112"/>
                  <a:pt x="614" y="112"/>
                </a:cubicBezTo>
                <a:cubicBezTo>
                  <a:pt x="614" y="112"/>
                  <a:pt x="614" y="112"/>
                  <a:pt x="614" y="112"/>
                </a:cubicBezTo>
                <a:cubicBezTo>
                  <a:pt x="614" y="112"/>
                  <a:pt x="614" y="112"/>
                  <a:pt x="614" y="112"/>
                </a:cubicBezTo>
                <a:cubicBezTo>
                  <a:pt x="613" y="113"/>
                  <a:pt x="613" y="113"/>
                  <a:pt x="613" y="113"/>
                </a:cubicBezTo>
                <a:cubicBezTo>
                  <a:pt x="613" y="113"/>
                  <a:pt x="613" y="113"/>
                  <a:pt x="613" y="113"/>
                </a:cubicBezTo>
                <a:cubicBezTo>
                  <a:pt x="613" y="113"/>
                  <a:pt x="613" y="113"/>
                  <a:pt x="613" y="113"/>
                </a:cubicBezTo>
                <a:cubicBezTo>
                  <a:pt x="613" y="114"/>
                  <a:pt x="613" y="114"/>
                  <a:pt x="613" y="114"/>
                </a:cubicBezTo>
                <a:cubicBezTo>
                  <a:pt x="613" y="114"/>
                  <a:pt x="613" y="114"/>
                  <a:pt x="613" y="114"/>
                </a:cubicBezTo>
                <a:cubicBezTo>
                  <a:pt x="613" y="114"/>
                  <a:pt x="613" y="115"/>
                  <a:pt x="613" y="115"/>
                </a:cubicBezTo>
                <a:cubicBezTo>
                  <a:pt x="613" y="115"/>
                  <a:pt x="613" y="115"/>
                  <a:pt x="613" y="115"/>
                </a:cubicBezTo>
                <a:cubicBezTo>
                  <a:pt x="612" y="115"/>
                  <a:pt x="612" y="115"/>
                  <a:pt x="612" y="116"/>
                </a:cubicBezTo>
                <a:cubicBezTo>
                  <a:pt x="612" y="115"/>
                  <a:pt x="612" y="115"/>
                  <a:pt x="612" y="115"/>
                </a:cubicBezTo>
                <a:cubicBezTo>
                  <a:pt x="612" y="116"/>
                  <a:pt x="612" y="116"/>
                  <a:pt x="612" y="116"/>
                </a:cubicBezTo>
                <a:cubicBezTo>
                  <a:pt x="612" y="116"/>
                  <a:pt x="612" y="116"/>
                  <a:pt x="612" y="116"/>
                </a:cubicBezTo>
                <a:cubicBezTo>
                  <a:pt x="612" y="116"/>
                  <a:pt x="612" y="117"/>
                  <a:pt x="612" y="117"/>
                </a:cubicBezTo>
                <a:cubicBezTo>
                  <a:pt x="612" y="117"/>
                  <a:pt x="612" y="117"/>
                  <a:pt x="612" y="117"/>
                </a:cubicBezTo>
                <a:cubicBezTo>
                  <a:pt x="611" y="117"/>
                  <a:pt x="611" y="117"/>
                  <a:pt x="611" y="118"/>
                </a:cubicBezTo>
                <a:cubicBezTo>
                  <a:pt x="611" y="118"/>
                  <a:pt x="611" y="118"/>
                  <a:pt x="611" y="118"/>
                </a:cubicBezTo>
                <a:cubicBezTo>
                  <a:pt x="611" y="118"/>
                  <a:pt x="611" y="118"/>
                  <a:pt x="611" y="118"/>
                </a:cubicBezTo>
                <a:cubicBezTo>
                  <a:pt x="611" y="118"/>
                  <a:pt x="611" y="118"/>
                  <a:pt x="611" y="118"/>
                </a:cubicBezTo>
                <a:cubicBezTo>
                  <a:pt x="611" y="118"/>
                  <a:pt x="611" y="118"/>
                  <a:pt x="611" y="119"/>
                </a:cubicBezTo>
                <a:cubicBezTo>
                  <a:pt x="611" y="119"/>
                  <a:pt x="611" y="119"/>
                  <a:pt x="611" y="119"/>
                </a:cubicBezTo>
                <a:cubicBezTo>
                  <a:pt x="610" y="119"/>
                  <a:pt x="610" y="119"/>
                  <a:pt x="610" y="119"/>
                </a:cubicBezTo>
                <a:cubicBezTo>
                  <a:pt x="610" y="119"/>
                  <a:pt x="610" y="119"/>
                  <a:pt x="610" y="119"/>
                </a:cubicBezTo>
                <a:cubicBezTo>
                  <a:pt x="610" y="119"/>
                  <a:pt x="610" y="119"/>
                  <a:pt x="610" y="119"/>
                </a:cubicBezTo>
                <a:cubicBezTo>
                  <a:pt x="610" y="119"/>
                  <a:pt x="610" y="119"/>
                  <a:pt x="610" y="119"/>
                </a:cubicBezTo>
                <a:cubicBezTo>
                  <a:pt x="610" y="119"/>
                  <a:pt x="610" y="119"/>
                  <a:pt x="610" y="120"/>
                </a:cubicBezTo>
                <a:cubicBezTo>
                  <a:pt x="610" y="120"/>
                  <a:pt x="610" y="120"/>
                  <a:pt x="610" y="120"/>
                </a:cubicBezTo>
                <a:cubicBezTo>
                  <a:pt x="609" y="120"/>
                  <a:pt x="609" y="120"/>
                  <a:pt x="609" y="120"/>
                </a:cubicBezTo>
                <a:cubicBezTo>
                  <a:pt x="609" y="120"/>
                  <a:pt x="609" y="120"/>
                  <a:pt x="609" y="120"/>
                </a:cubicBezTo>
                <a:cubicBezTo>
                  <a:pt x="609" y="120"/>
                  <a:pt x="609" y="120"/>
                  <a:pt x="609" y="120"/>
                </a:cubicBezTo>
                <a:cubicBezTo>
                  <a:pt x="609" y="120"/>
                  <a:pt x="609" y="120"/>
                  <a:pt x="609" y="120"/>
                </a:cubicBezTo>
                <a:cubicBezTo>
                  <a:pt x="609" y="120"/>
                  <a:pt x="609" y="121"/>
                  <a:pt x="609" y="121"/>
                </a:cubicBezTo>
                <a:cubicBezTo>
                  <a:pt x="609" y="121"/>
                  <a:pt x="609" y="121"/>
                  <a:pt x="609" y="121"/>
                </a:cubicBezTo>
                <a:cubicBezTo>
                  <a:pt x="608" y="121"/>
                  <a:pt x="608" y="121"/>
                  <a:pt x="608" y="121"/>
                </a:cubicBezTo>
                <a:cubicBezTo>
                  <a:pt x="608" y="121"/>
                  <a:pt x="608" y="121"/>
                  <a:pt x="608" y="121"/>
                </a:cubicBezTo>
                <a:cubicBezTo>
                  <a:pt x="608" y="121"/>
                  <a:pt x="608" y="121"/>
                  <a:pt x="608" y="121"/>
                </a:cubicBezTo>
                <a:cubicBezTo>
                  <a:pt x="608" y="121"/>
                  <a:pt x="608" y="121"/>
                  <a:pt x="608" y="121"/>
                </a:cubicBezTo>
                <a:cubicBezTo>
                  <a:pt x="607" y="122"/>
                  <a:pt x="607" y="122"/>
                  <a:pt x="607" y="122"/>
                </a:cubicBezTo>
                <a:cubicBezTo>
                  <a:pt x="607" y="122"/>
                  <a:pt x="607" y="122"/>
                  <a:pt x="607" y="122"/>
                </a:cubicBezTo>
                <a:cubicBezTo>
                  <a:pt x="607" y="122"/>
                  <a:pt x="606" y="122"/>
                  <a:pt x="606" y="122"/>
                </a:cubicBezTo>
                <a:cubicBezTo>
                  <a:pt x="606" y="122"/>
                  <a:pt x="606" y="122"/>
                  <a:pt x="606" y="122"/>
                </a:cubicBezTo>
                <a:cubicBezTo>
                  <a:pt x="606" y="123"/>
                  <a:pt x="606" y="123"/>
                  <a:pt x="605" y="123"/>
                </a:cubicBezTo>
                <a:cubicBezTo>
                  <a:pt x="605" y="123"/>
                  <a:pt x="605" y="123"/>
                  <a:pt x="605" y="123"/>
                </a:cubicBezTo>
                <a:cubicBezTo>
                  <a:pt x="605" y="123"/>
                  <a:pt x="605" y="123"/>
                  <a:pt x="605" y="123"/>
                </a:cubicBezTo>
                <a:cubicBezTo>
                  <a:pt x="605" y="123"/>
                  <a:pt x="604" y="123"/>
                  <a:pt x="604" y="123"/>
                </a:cubicBezTo>
                <a:cubicBezTo>
                  <a:pt x="604" y="123"/>
                  <a:pt x="604" y="123"/>
                  <a:pt x="603" y="123"/>
                </a:cubicBezTo>
                <a:close/>
                <a:moveTo>
                  <a:pt x="1154" y="49"/>
                </a:moveTo>
                <a:cubicBezTo>
                  <a:pt x="1154" y="49"/>
                  <a:pt x="1154" y="49"/>
                  <a:pt x="1154" y="49"/>
                </a:cubicBezTo>
                <a:cubicBezTo>
                  <a:pt x="1154" y="49"/>
                  <a:pt x="1154" y="49"/>
                  <a:pt x="1154" y="49"/>
                </a:cubicBezTo>
                <a:cubicBezTo>
                  <a:pt x="1154" y="49"/>
                  <a:pt x="1154" y="49"/>
                  <a:pt x="1154" y="48"/>
                </a:cubicBezTo>
                <a:cubicBezTo>
                  <a:pt x="1153" y="48"/>
                  <a:pt x="1153" y="48"/>
                  <a:pt x="1154" y="48"/>
                </a:cubicBezTo>
                <a:cubicBezTo>
                  <a:pt x="1153" y="48"/>
                  <a:pt x="1154" y="47"/>
                  <a:pt x="1153" y="47"/>
                </a:cubicBezTo>
                <a:cubicBezTo>
                  <a:pt x="1153" y="47"/>
                  <a:pt x="1153" y="47"/>
                  <a:pt x="1153" y="47"/>
                </a:cubicBezTo>
                <a:cubicBezTo>
                  <a:pt x="1153" y="47"/>
                  <a:pt x="1153" y="46"/>
                  <a:pt x="1153" y="46"/>
                </a:cubicBezTo>
                <a:cubicBezTo>
                  <a:pt x="1153" y="46"/>
                  <a:pt x="1153" y="46"/>
                  <a:pt x="1153" y="46"/>
                </a:cubicBezTo>
                <a:cubicBezTo>
                  <a:pt x="1153" y="46"/>
                  <a:pt x="1153" y="45"/>
                  <a:pt x="1152" y="45"/>
                </a:cubicBezTo>
                <a:cubicBezTo>
                  <a:pt x="1152" y="45"/>
                  <a:pt x="1152" y="45"/>
                  <a:pt x="1152" y="45"/>
                </a:cubicBezTo>
                <a:cubicBezTo>
                  <a:pt x="1152" y="45"/>
                  <a:pt x="1152" y="45"/>
                  <a:pt x="1152" y="44"/>
                </a:cubicBezTo>
                <a:cubicBezTo>
                  <a:pt x="1152" y="44"/>
                  <a:pt x="1152" y="44"/>
                  <a:pt x="1152" y="44"/>
                </a:cubicBezTo>
                <a:cubicBezTo>
                  <a:pt x="1152" y="44"/>
                  <a:pt x="1152" y="44"/>
                  <a:pt x="1152" y="44"/>
                </a:cubicBezTo>
                <a:cubicBezTo>
                  <a:pt x="1152" y="44"/>
                  <a:pt x="1152" y="44"/>
                  <a:pt x="1152" y="44"/>
                </a:cubicBezTo>
                <a:cubicBezTo>
                  <a:pt x="1152" y="44"/>
                  <a:pt x="1152" y="43"/>
                  <a:pt x="1151" y="43"/>
                </a:cubicBezTo>
                <a:cubicBezTo>
                  <a:pt x="1151" y="43"/>
                  <a:pt x="1151" y="43"/>
                  <a:pt x="1151" y="43"/>
                </a:cubicBezTo>
                <a:cubicBezTo>
                  <a:pt x="1151" y="43"/>
                  <a:pt x="1151" y="43"/>
                  <a:pt x="1151" y="42"/>
                </a:cubicBezTo>
                <a:cubicBezTo>
                  <a:pt x="1151" y="42"/>
                  <a:pt x="1151" y="42"/>
                  <a:pt x="1151" y="42"/>
                </a:cubicBezTo>
                <a:cubicBezTo>
                  <a:pt x="1151" y="42"/>
                  <a:pt x="1151" y="42"/>
                  <a:pt x="1151" y="42"/>
                </a:cubicBezTo>
                <a:cubicBezTo>
                  <a:pt x="1151" y="42"/>
                  <a:pt x="1151" y="42"/>
                  <a:pt x="1151" y="42"/>
                </a:cubicBezTo>
                <a:cubicBezTo>
                  <a:pt x="1151" y="42"/>
                  <a:pt x="1151" y="41"/>
                  <a:pt x="1150" y="41"/>
                </a:cubicBezTo>
                <a:cubicBezTo>
                  <a:pt x="1150" y="41"/>
                  <a:pt x="1150" y="41"/>
                  <a:pt x="1150" y="41"/>
                </a:cubicBezTo>
                <a:cubicBezTo>
                  <a:pt x="1150" y="41"/>
                  <a:pt x="1150" y="41"/>
                  <a:pt x="1150" y="41"/>
                </a:cubicBezTo>
                <a:cubicBezTo>
                  <a:pt x="1150" y="41"/>
                  <a:pt x="1150" y="41"/>
                  <a:pt x="1150" y="41"/>
                </a:cubicBezTo>
                <a:cubicBezTo>
                  <a:pt x="1150" y="40"/>
                  <a:pt x="1150" y="40"/>
                  <a:pt x="1150" y="40"/>
                </a:cubicBezTo>
                <a:cubicBezTo>
                  <a:pt x="1150" y="40"/>
                  <a:pt x="1150" y="40"/>
                  <a:pt x="1150" y="40"/>
                </a:cubicBezTo>
                <a:cubicBezTo>
                  <a:pt x="1150" y="40"/>
                  <a:pt x="1149" y="40"/>
                  <a:pt x="1149" y="40"/>
                </a:cubicBezTo>
                <a:cubicBezTo>
                  <a:pt x="1149" y="40"/>
                  <a:pt x="1149" y="40"/>
                  <a:pt x="1149" y="40"/>
                </a:cubicBezTo>
                <a:cubicBezTo>
                  <a:pt x="1149" y="40"/>
                  <a:pt x="1149" y="39"/>
                  <a:pt x="1149" y="39"/>
                </a:cubicBezTo>
                <a:cubicBezTo>
                  <a:pt x="1149" y="39"/>
                  <a:pt x="1149" y="39"/>
                  <a:pt x="1149" y="39"/>
                </a:cubicBezTo>
                <a:cubicBezTo>
                  <a:pt x="1149" y="39"/>
                  <a:pt x="1148" y="39"/>
                  <a:pt x="1148" y="39"/>
                </a:cubicBezTo>
                <a:cubicBezTo>
                  <a:pt x="1148" y="39"/>
                  <a:pt x="1148" y="39"/>
                  <a:pt x="1148" y="39"/>
                </a:cubicBezTo>
                <a:cubicBezTo>
                  <a:pt x="1148" y="38"/>
                  <a:pt x="1148" y="38"/>
                  <a:pt x="1148" y="38"/>
                </a:cubicBezTo>
                <a:cubicBezTo>
                  <a:pt x="1148" y="38"/>
                  <a:pt x="1148" y="38"/>
                  <a:pt x="1148" y="38"/>
                </a:cubicBezTo>
                <a:cubicBezTo>
                  <a:pt x="1148" y="38"/>
                  <a:pt x="1148" y="38"/>
                  <a:pt x="1148" y="38"/>
                </a:cubicBezTo>
                <a:cubicBezTo>
                  <a:pt x="1148" y="38"/>
                  <a:pt x="1148" y="38"/>
                  <a:pt x="1148" y="38"/>
                </a:cubicBezTo>
                <a:cubicBezTo>
                  <a:pt x="1148" y="38"/>
                  <a:pt x="1147" y="38"/>
                  <a:pt x="1147" y="38"/>
                </a:cubicBezTo>
                <a:cubicBezTo>
                  <a:pt x="1147" y="38"/>
                  <a:pt x="1147" y="38"/>
                  <a:pt x="1147" y="38"/>
                </a:cubicBezTo>
                <a:cubicBezTo>
                  <a:pt x="1147" y="37"/>
                  <a:pt x="1147" y="37"/>
                  <a:pt x="1146" y="37"/>
                </a:cubicBezTo>
                <a:cubicBezTo>
                  <a:pt x="1146" y="37"/>
                  <a:pt x="1146" y="37"/>
                  <a:pt x="1146" y="37"/>
                </a:cubicBezTo>
                <a:cubicBezTo>
                  <a:pt x="1146" y="37"/>
                  <a:pt x="1146" y="37"/>
                  <a:pt x="1146" y="36"/>
                </a:cubicBezTo>
                <a:cubicBezTo>
                  <a:pt x="1146" y="36"/>
                  <a:pt x="1146" y="36"/>
                  <a:pt x="1146" y="36"/>
                </a:cubicBezTo>
                <a:cubicBezTo>
                  <a:pt x="1146" y="36"/>
                  <a:pt x="1145" y="36"/>
                  <a:pt x="1145" y="36"/>
                </a:cubicBezTo>
                <a:cubicBezTo>
                  <a:pt x="1145" y="36"/>
                  <a:pt x="1145" y="36"/>
                  <a:pt x="1145" y="36"/>
                </a:cubicBezTo>
                <a:cubicBezTo>
                  <a:pt x="1145" y="36"/>
                  <a:pt x="1145" y="36"/>
                  <a:pt x="1145" y="36"/>
                </a:cubicBezTo>
                <a:cubicBezTo>
                  <a:pt x="1145" y="36"/>
                  <a:pt x="1145" y="36"/>
                  <a:pt x="1145" y="36"/>
                </a:cubicBezTo>
                <a:cubicBezTo>
                  <a:pt x="1145" y="36"/>
                  <a:pt x="1144" y="36"/>
                  <a:pt x="1144" y="35"/>
                </a:cubicBezTo>
                <a:cubicBezTo>
                  <a:pt x="1144" y="35"/>
                  <a:pt x="1144" y="35"/>
                  <a:pt x="1144" y="35"/>
                </a:cubicBezTo>
                <a:cubicBezTo>
                  <a:pt x="1144" y="35"/>
                  <a:pt x="1144" y="35"/>
                  <a:pt x="1144" y="35"/>
                </a:cubicBezTo>
                <a:cubicBezTo>
                  <a:pt x="1144" y="35"/>
                  <a:pt x="1144" y="35"/>
                  <a:pt x="1144" y="35"/>
                </a:cubicBezTo>
                <a:cubicBezTo>
                  <a:pt x="1143" y="35"/>
                  <a:pt x="1143" y="35"/>
                  <a:pt x="1143" y="35"/>
                </a:cubicBezTo>
                <a:cubicBezTo>
                  <a:pt x="1143" y="35"/>
                  <a:pt x="1143" y="35"/>
                  <a:pt x="1143" y="35"/>
                </a:cubicBezTo>
                <a:cubicBezTo>
                  <a:pt x="1143" y="35"/>
                  <a:pt x="1143" y="35"/>
                  <a:pt x="1143" y="35"/>
                </a:cubicBezTo>
                <a:cubicBezTo>
                  <a:pt x="1143" y="35"/>
                  <a:pt x="1143" y="35"/>
                  <a:pt x="1143" y="35"/>
                </a:cubicBezTo>
                <a:cubicBezTo>
                  <a:pt x="1143" y="34"/>
                  <a:pt x="1142" y="35"/>
                  <a:pt x="1142" y="34"/>
                </a:cubicBezTo>
                <a:cubicBezTo>
                  <a:pt x="1142" y="34"/>
                  <a:pt x="1142" y="34"/>
                  <a:pt x="1142" y="34"/>
                </a:cubicBezTo>
                <a:cubicBezTo>
                  <a:pt x="1142" y="34"/>
                  <a:pt x="1142" y="34"/>
                  <a:pt x="1141" y="34"/>
                </a:cubicBezTo>
                <a:cubicBezTo>
                  <a:pt x="1141" y="34"/>
                  <a:pt x="1141" y="34"/>
                  <a:pt x="1141" y="34"/>
                </a:cubicBezTo>
                <a:cubicBezTo>
                  <a:pt x="1141" y="34"/>
                  <a:pt x="1141" y="34"/>
                  <a:pt x="1140" y="34"/>
                </a:cubicBezTo>
                <a:cubicBezTo>
                  <a:pt x="1140" y="34"/>
                  <a:pt x="1140" y="34"/>
                  <a:pt x="1140" y="34"/>
                </a:cubicBezTo>
                <a:cubicBezTo>
                  <a:pt x="1140" y="33"/>
                  <a:pt x="1139" y="34"/>
                  <a:pt x="1139" y="33"/>
                </a:cubicBezTo>
                <a:cubicBezTo>
                  <a:pt x="1139" y="33"/>
                  <a:pt x="1139" y="33"/>
                  <a:pt x="1139" y="33"/>
                </a:cubicBezTo>
                <a:cubicBezTo>
                  <a:pt x="1139" y="33"/>
                  <a:pt x="1139" y="33"/>
                  <a:pt x="1139" y="33"/>
                </a:cubicBezTo>
                <a:cubicBezTo>
                  <a:pt x="1138" y="33"/>
                  <a:pt x="1138" y="33"/>
                  <a:pt x="1137" y="33"/>
                </a:cubicBezTo>
                <a:cubicBezTo>
                  <a:pt x="1137" y="33"/>
                  <a:pt x="1137" y="33"/>
                  <a:pt x="1137" y="33"/>
                </a:cubicBezTo>
                <a:cubicBezTo>
                  <a:pt x="1136" y="33"/>
                  <a:pt x="1135" y="33"/>
                  <a:pt x="1135" y="33"/>
                </a:cubicBezTo>
                <a:cubicBezTo>
                  <a:pt x="1133" y="33"/>
                  <a:pt x="1132" y="33"/>
                  <a:pt x="1130" y="33"/>
                </a:cubicBezTo>
                <a:cubicBezTo>
                  <a:pt x="1129" y="33"/>
                  <a:pt x="1128" y="33"/>
                  <a:pt x="1127" y="33"/>
                </a:cubicBezTo>
                <a:cubicBezTo>
                  <a:pt x="1127" y="33"/>
                  <a:pt x="1127" y="33"/>
                  <a:pt x="1127" y="33"/>
                </a:cubicBezTo>
                <a:cubicBezTo>
                  <a:pt x="1127" y="33"/>
                  <a:pt x="1127" y="33"/>
                  <a:pt x="1127" y="33"/>
                </a:cubicBezTo>
                <a:cubicBezTo>
                  <a:pt x="1127" y="33"/>
                  <a:pt x="1126" y="33"/>
                  <a:pt x="1126" y="33"/>
                </a:cubicBezTo>
                <a:cubicBezTo>
                  <a:pt x="1126" y="33"/>
                  <a:pt x="1126" y="33"/>
                  <a:pt x="1126" y="33"/>
                </a:cubicBezTo>
                <a:cubicBezTo>
                  <a:pt x="1126" y="33"/>
                  <a:pt x="1126" y="33"/>
                  <a:pt x="1126" y="33"/>
                </a:cubicBezTo>
                <a:cubicBezTo>
                  <a:pt x="1125" y="34"/>
                  <a:pt x="1125" y="33"/>
                  <a:pt x="1124" y="34"/>
                </a:cubicBezTo>
                <a:cubicBezTo>
                  <a:pt x="1124" y="34"/>
                  <a:pt x="1124" y="34"/>
                  <a:pt x="1124" y="34"/>
                </a:cubicBezTo>
                <a:cubicBezTo>
                  <a:pt x="1124" y="34"/>
                  <a:pt x="1124" y="34"/>
                  <a:pt x="1123" y="34"/>
                </a:cubicBezTo>
                <a:cubicBezTo>
                  <a:pt x="1123" y="34"/>
                  <a:pt x="1123" y="34"/>
                  <a:pt x="1123" y="34"/>
                </a:cubicBezTo>
                <a:cubicBezTo>
                  <a:pt x="1123" y="34"/>
                  <a:pt x="1123" y="34"/>
                  <a:pt x="1123" y="34"/>
                </a:cubicBezTo>
                <a:cubicBezTo>
                  <a:pt x="1123" y="34"/>
                  <a:pt x="1122" y="34"/>
                  <a:pt x="1122" y="34"/>
                </a:cubicBezTo>
                <a:cubicBezTo>
                  <a:pt x="1122" y="35"/>
                  <a:pt x="1122" y="34"/>
                  <a:pt x="1122" y="35"/>
                </a:cubicBezTo>
                <a:cubicBezTo>
                  <a:pt x="1122" y="35"/>
                  <a:pt x="1122" y="35"/>
                  <a:pt x="1122" y="35"/>
                </a:cubicBezTo>
                <a:cubicBezTo>
                  <a:pt x="1121" y="35"/>
                  <a:pt x="1121" y="35"/>
                  <a:pt x="1121" y="35"/>
                </a:cubicBezTo>
                <a:cubicBezTo>
                  <a:pt x="1121" y="35"/>
                  <a:pt x="1121" y="35"/>
                  <a:pt x="1121" y="35"/>
                </a:cubicBezTo>
                <a:cubicBezTo>
                  <a:pt x="1121" y="35"/>
                  <a:pt x="1120" y="35"/>
                  <a:pt x="1120" y="35"/>
                </a:cubicBezTo>
                <a:cubicBezTo>
                  <a:pt x="1120" y="35"/>
                  <a:pt x="1120" y="35"/>
                  <a:pt x="1120" y="35"/>
                </a:cubicBezTo>
                <a:cubicBezTo>
                  <a:pt x="1120" y="36"/>
                  <a:pt x="1120" y="36"/>
                  <a:pt x="1119" y="36"/>
                </a:cubicBezTo>
                <a:cubicBezTo>
                  <a:pt x="1119" y="36"/>
                  <a:pt x="1119" y="36"/>
                  <a:pt x="1119" y="36"/>
                </a:cubicBezTo>
                <a:cubicBezTo>
                  <a:pt x="1119" y="36"/>
                  <a:pt x="1119" y="36"/>
                  <a:pt x="1119" y="36"/>
                </a:cubicBezTo>
                <a:cubicBezTo>
                  <a:pt x="1119" y="36"/>
                  <a:pt x="1119" y="36"/>
                  <a:pt x="1119" y="36"/>
                </a:cubicBezTo>
                <a:cubicBezTo>
                  <a:pt x="1119" y="36"/>
                  <a:pt x="1119" y="36"/>
                  <a:pt x="1118" y="36"/>
                </a:cubicBezTo>
                <a:cubicBezTo>
                  <a:pt x="1118" y="36"/>
                  <a:pt x="1118" y="36"/>
                  <a:pt x="1118" y="36"/>
                </a:cubicBezTo>
                <a:cubicBezTo>
                  <a:pt x="1118" y="37"/>
                  <a:pt x="1118" y="37"/>
                  <a:pt x="1118" y="37"/>
                </a:cubicBezTo>
                <a:cubicBezTo>
                  <a:pt x="1118" y="37"/>
                  <a:pt x="1118" y="37"/>
                  <a:pt x="1118" y="37"/>
                </a:cubicBezTo>
                <a:cubicBezTo>
                  <a:pt x="1118" y="37"/>
                  <a:pt x="1117" y="37"/>
                  <a:pt x="1117" y="37"/>
                </a:cubicBezTo>
                <a:cubicBezTo>
                  <a:pt x="1117" y="37"/>
                  <a:pt x="1117" y="37"/>
                  <a:pt x="1117" y="37"/>
                </a:cubicBezTo>
                <a:cubicBezTo>
                  <a:pt x="1117" y="37"/>
                  <a:pt x="1117" y="37"/>
                  <a:pt x="1117" y="37"/>
                </a:cubicBezTo>
                <a:cubicBezTo>
                  <a:pt x="1117" y="37"/>
                  <a:pt x="1117" y="37"/>
                  <a:pt x="1117" y="37"/>
                </a:cubicBezTo>
                <a:cubicBezTo>
                  <a:pt x="1117" y="38"/>
                  <a:pt x="1116" y="38"/>
                  <a:pt x="1116" y="38"/>
                </a:cubicBezTo>
                <a:cubicBezTo>
                  <a:pt x="1116" y="38"/>
                  <a:pt x="1116" y="38"/>
                  <a:pt x="1116" y="38"/>
                </a:cubicBezTo>
                <a:cubicBezTo>
                  <a:pt x="1116" y="38"/>
                  <a:pt x="1116" y="38"/>
                  <a:pt x="1116" y="39"/>
                </a:cubicBezTo>
                <a:cubicBezTo>
                  <a:pt x="1116" y="39"/>
                  <a:pt x="1116" y="39"/>
                  <a:pt x="1116" y="39"/>
                </a:cubicBezTo>
                <a:cubicBezTo>
                  <a:pt x="1115" y="39"/>
                  <a:pt x="1115" y="39"/>
                  <a:pt x="1115" y="39"/>
                </a:cubicBezTo>
                <a:cubicBezTo>
                  <a:pt x="1115" y="39"/>
                  <a:pt x="1115" y="39"/>
                  <a:pt x="1115" y="39"/>
                </a:cubicBezTo>
                <a:cubicBezTo>
                  <a:pt x="1115" y="39"/>
                  <a:pt x="1115" y="39"/>
                  <a:pt x="1115" y="39"/>
                </a:cubicBezTo>
                <a:cubicBezTo>
                  <a:pt x="1115" y="39"/>
                  <a:pt x="1115" y="39"/>
                  <a:pt x="1115" y="39"/>
                </a:cubicBezTo>
                <a:cubicBezTo>
                  <a:pt x="1115" y="39"/>
                  <a:pt x="1115" y="39"/>
                  <a:pt x="1115" y="40"/>
                </a:cubicBezTo>
                <a:cubicBezTo>
                  <a:pt x="1115" y="40"/>
                  <a:pt x="1115" y="40"/>
                  <a:pt x="1115" y="40"/>
                </a:cubicBezTo>
                <a:cubicBezTo>
                  <a:pt x="1114" y="40"/>
                  <a:pt x="1114" y="40"/>
                  <a:pt x="1114" y="40"/>
                </a:cubicBezTo>
                <a:cubicBezTo>
                  <a:pt x="1114" y="40"/>
                  <a:pt x="1114" y="40"/>
                  <a:pt x="1114" y="40"/>
                </a:cubicBezTo>
                <a:cubicBezTo>
                  <a:pt x="1114" y="40"/>
                  <a:pt x="1114" y="40"/>
                  <a:pt x="1114" y="40"/>
                </a:cubicBezTo>
                <a:cubicBezTo>
                  <a:pt x="1114" y="40"/>
                  <a:pt x="1114" y="40"/>
                  <a:pt x="1114" y="40"/>
                </a:cubicBezTo>
                <a:cubicBezTo>
                  <a:pt x="1114" y="40"/>
                  <a:pt x="1114" y="40"/>
                  <a:pt x="1114" y="41"/>
                </a:cubicBezTo>
                <a:cubicBezTo>
                  <a:pt x="1114" y="41"/>
                  <a:pt x="1114" y="41"/>
                  <a:pt x="1114" y="41"/>
                </a:cubicBezTo>
                <a:cubicBezTo>
                  <a:pt x="1113" y="41"/>
                  <a:pt x="1113" y="41"/>
                  <a:pt x="1113" y="41"/>
                </a:cubicBezTo>
                <a:cubicBezTo>
                  <a:pt x="1113" y="41"/>
                  <a:pt x="1113" y="41"/>
                  <a:pt x="1113" y="41"/>
                </a:cubicBezTo>
                <a:cubicBezTo>
                  <a:pt x="1113" y="41"/>
                  <a:pt x="1113" y="42"/>
                  <a:pt x="1112" y="42"/>
                </a:cubicBezTo>
                <a:cubicBezTo>
                  <a:pt x="1112" y="42"/>
                  <a:pt x="1112" y="42"/>
                  <a:pt x="1112" y="42"/>
                </a:cubicBezTo>
                <a:cubicBezTo>
                  <a:pt x="1112" y="42"/>
                  <a:pt x="1112" y="42"/>
                  <a:pt x="1112" y="42"/>
                </a:cubicBezTo>
                <a:cubicBezTo>
                  <a:pt x="1112" y="42"/>
                  <a:pt x="1112" y="42"/>
                  <a:pt x="1112" y="42"/>
                </a:cubicBezTo>
                <a:cubicBezTo>
                  <a:pt x="1112" y="43"/>
                  <a:pt x="1112" y="43"/>
                  <a:pt x="1111" y="43"/>
                </a:cubicBezTo>
                <a:cubicBezTo>
                  <a:pt x="1111" y="43"/>
                  <a:pt x="1111" y="43"/>
                  <a:pt x="1111" y="43"/>
                </a:cubicBezTo>
                <a:cubicBezTo>
                  <a:pt x="1111" y="44"/>
                  <a:pt x="1111" y="44"/>
                  <a:pt x="1111" y="44"/>
                </a:cubicBezTo>
                <a:cubicBezTo>
                  <a:pt x="1111" y="44"/>
                  <a:pt x="1111" y="44"/>
                  <a:pt x="1111" y="44"/>
                </a:cubicBezTo>
                <a:cubicBezTo>
                  <a:pt x="1111" y="44"/>
                  <a:pt x="1111" y="44"/>
                  <a:pt x="1111" y="44"/>
                </a:cubicBezTo>
                <a:cubicBezTo>
                  <a:pt x="1111" y="44"/>
                  <a:pt x="1111" y="44"/>
                  <a:pt x="1111" y="44"/>
                </a:cubicBezTo>
                <a:cubicBezTo>
                  <a:pt x="1110" y="44"/>
                  <a:pt x="1110" y="44"/>
                  <a:pt x="1110" y="43"/>
                </a:cubicBezTo>
                <a:cubicBezTo>
                  <a:pt x="1110" y="41"/>
                  <a:pt x="1110" y="38"/>
                  <a:pt x="1110" y="35"/>
                </a:cubicBezTo>
                <a:cubicBezTo>
                  <a:pt x="1110" y="34"/>
                  <a:pt x="1110" y="34"/>
                  <a:pt x="1109" y="34"/>
                </a:cubicBezTo>
                <a:cubicBezTo>
                  <a:pt x="1106" y="34"/>
                  <a:pt x="1104" y="34"/>
                  <a:pt x="1101" y="34"/>
                </a:cubicBezTo>
                <a:cubicBezTo>
                  <a:pt x="1099" y="34"/>
                  <a:pt x="1099" y="34"/>
                  <a:pt x="1099" y="36"/>
                </a:cubicBezTo>
                <a:cubicBezTo>
                  <a:pt x="1099" y="57"/>
                  <a:pt x="1099" y="79"/>
                  <a:pt x="1099" y="100"/>
                </a:cubicBezTo>
                <a:cubicBezTo>
                  <a:pt x="1099" y="100"/>
                  <a:pt x="1099" y="101"/>
                  <a:pt x="1099" y="101"/>
                </a:cubicBezTo>
                <a:cubicBezTo>
                  <a:pt x="1099" y="101"/>
                  <a:pt x="1099" y="101"/>
                  <a:pt x="1099" y="101"/>
                </a:cubicBezTo>
                <a:cubicBezTo>
                  <a:pt x="1101" y="102"/>
                  <a:pt x="1104" y="102"/>
                  <a:pt x="1106" y="102"/>
                </a:cubicBezTo>
                <a:cubicBezTo>
                  <a:pt x="1107" y="102"/>
                  <a:pt x="1109" y="102"/>
                  <a:pt x="1110" y="101"/>
                </a:cubicBezTo>
                <a:cubicBezTo>
                  <a:pt x="1110" y="101"/>
                  <a:pt x="1110" y="101"/>
                  <a:pt x="1110" y="101"/>
                </a:cubicBezTo>
                <a:cubicBezTo>
                  <a:pt x="1110" y="101"/>
                  <a:pt x="1110" y="100"/>
                  <a:pt x="1110" y="100"/>
                </a:cubicBezTo>
                <a:cubicBezTo>
                  <a:pt x="1110" y="87"/>
                  <a:pt x="1110" y="74"/>
                  <a:pt x="1110" y="62"/>
                </a:cubicBezTo>
                <a:cubicBezTo>
                  <a:pt x="1110" y="61"/>
                  <a:pt x="1110" y="61"/>
                  <a:pt x="1110" y="60"/>
                </a:cubicBezTo>
                <a:cubicBezTo>
                  <a:pt x="1110" y="60"/>
                  <a:pt x="1110" y="60"/>
                  <a:pt x="1110" y="59"/>
                </a:cubicBezTo>
                <a:cubicBezTo>
                  <a:pt x="1111" y="59"/>
                  <a:pt x="1110" y="58"/>
                  <a:pt x="1111" y="58"/>
                </a:cubicBezTo>
                <a:cubicBezTo>
                  <a:pt x="1111" y="57"/>
                  <a:pt x="1111" y="57"/>
                  <a:pt x="1111" y="57"/>
                </a:cubicBezTo>
                <a:cubicBezTo>
                  <a:pt x="1111" y="57"/>
                  <a:pt x="1111" y="57"/>
                  <a:pt x="1111" y="56"/>
                </a:cubicBezTo>
                <a:cubicBezTo>
                  <a:pt x="1111" y="56"/>
                  <a:pt x="1111" y="56"/>
                  <a:pt x="1111" y="56"/>
                </a:cubicBezTo>
                <a:cubicBezTo>
                  <a:pt x="1111" y="56"/>
                  <a:pt x="1111" y="55"/>
                  <a:pt x="1111" y="55"/>
                </a:cubicBezTo>
                <a:cubicBezTo>
                  <a:pt x="1111" y="55"/>
                  <a:pt x="1111" y="55"/>
                  <a:pt x="1111" y="55"/>
                </a:cubicBezTo>
                <a:cubicBezTo>
                  <a:pt x="1111" y="55"/>
                  <a:pt x="1111" y="55"/>
                  <a:pt x="1111" y="55"/>
                </a:cubicBezTo>
                <a:cubicBezTo>
                  <a:pt x="1112" y="55"/>
                  <a:pt x="1112" y="54"/>
                  <a:pt x="1112" y="54"/>
                </a:cubicBezTo>
                <a:cubicBezTo>
                  <a:pt x="1112" y="54"/>
                  <a:pt x="1112" y="54"/>
                  <a:pt x="1112" y="54"/>
                </a:cubicBezTo>
                <a:cubicBezTo>
                  <a:pt x="1112" y="54"/>
                  <a:pt x="1112" y="53"/>
                  <a:pt x="1112" y="53"/>
                </a:cubicBezTo>
                <a:cubicBezTo>
                  <a:pt x="1112" y="53"/>
                  <a:pt x="1112" y="53"/>
                  <a:pt x="1112" y="53"/>
                </a:cubicBezTo>
                <a:cubicBezTo>
                  <a:pt x="1112" y="53"/>
                  <a:pt x="1112" y="53"/>
                  <a:pt x="1112" y="52"/>
                </a:cubicBezTo>
                <a:cubicBezTo>
                  <a:pt x="1112" y="52"/>
                  <a:pt x="1112" y="52"/>
                  <a:pt x="1112" y="52"/>
                </a:cubicBezTo>
                <a:cubicBezTo>
                  <a:pt x="1113" y="52"/>
                  <a:pt x="1113" y="52"/>
                  <a:pt x="1113" y="52"/>
                </a:cubicBezTo>
                <a:cubicBezTo>
                  <a:pt x="1113" y="52"/>
                  <a:pt x="1113" y="52"/>
                  <a:pt x="1113" y="52"/>
                </a:cubicBezTo>
                <a:cubicBezTo>
                  <a:pt x="1113" y="52"/>
                  <a:pt x="1113" y="51"/>
                  <a:pt x="1113" y="51"/>
                </a:cubicBezTo>
                <a:cubicBezTo>
                  <a:pt x="1113" y="51"/>
                  <a:pt x="1113" y="51"/>
                  <a:pt x="1113" y="51"/>
                </a:cubicBezTo>
                <a:cubicBezTo>
                  <a:pt x="1113" y="51"/>
                  <a:pt x="1113" y="51"/>
                  <a:pt x="1113" y="51"/>
                </a:cubicBezTo>
                <a:cubicBezTo>
                  <a:pt x="1113" y="51"/>
                  <a:pt x="1113" y="51"/>
                  <a:pt x="1113" y="51"/>
                </a:cubicBezTo>
                <a:cubicBezTo>
                  <a:pt x="1114" y="51"/>
                  <a:pt x="1114" y="50"/>
                  <a:pt x="1114" y="50"/>
                </a:cubicBezTo>
                <a:cubicBezTo>
                  <a:pt x="1114" y="50"/>
                  <a:pt x="1114" y="50"/>
                  <a:pt x="1114" y="50"/>
                </a:cubicBezTo>
                <a:cubicBezTo>
                  <a:pt x="1114" y="50"/>
                  <a:pt x="1114" y="50"/>
                  <a:pt x="1114" y="50"/>
                </a:cubicBezTo>
                <a:cubicBezTo>
                  <a:pt x="1114" y="50"/>
                  <a:pt x="1114" y="50"/>
                  <a:pt x="1114" y="50"/>
                </a:cubicBezTo>
                <a:cubicBezTo>
                  <a:pt x="1115" y="49"/>
                  <a:pt x="1115" y="49"/>
                  <a:pt x="1115" y="49"/>
                </a:cubicBezTo>
                <a:cubicBezTo>
                  <a:pt x="1115" y="49"/>
                  <a:pt x="1115" y="49"/>
                  <a:pt x="1115" y="49"/>
                </a:cubicBezTo>
                <a:cubicBezTo>
                  <a:pt x="1115" y="48"/>
                  <a:pt x="1115" y="48"/>
                  <a:pt x="1115" y="48"/>
                </a:cubicBezTo>
                <a:cubicBezTo>
                  <a:pt x="1115" y="48"/>
                  <a:pt x="1115" y="48"/>
                  <a:pt x="1115" y="48"/>
                </a:cubicBezTo>
                <a:cubicBezTo>
                  <a:pt x="1115" y="48"/>
                  <a:pt x="1116" y="48"/>
                  <a:pt x="1116" y="48"/>
                </a:cubicBezTo>
                <a:cubicBezTo>
                  <a:pt x="1116" y="48"/>
                  <a:pt x="1116" y="48"/>
                  <a:pt x="1116" y="48"/>
                </a:cubicBezTo>
                <a:cubicBezTo>
                  <a:pt x="1116" y="48"/>
                  <a:pt x="1116" y="48"/>
                  <a:pt x="1116" y="47"/>
                </a:cubicBezTo>
                <a:cubicBezTo>
                  <a:pt x="1116" y="48"/>
                  <a:pt x="1116" y="48"/>
                  <a:pt x="1116" y="48"/>
                </a:cubicBezTo>
                <a:cubicBezTo>
                  <a:pt x="1116" y="47"/>
                  <a:pt x="1116" y="47"/>
                  <a:pt x="1116" y="47"/>
                </a:cubicBezTo>
                <a:cubicBezTo>
                  <a:pt x="1116" y="47"/>
                  <a:pt x="1116" y="47"/>
                  <a:pt x="1116" y="47"/>
                </a:cubicBezTo>
                <a:cubicBezTo>
                  <a:pt x="1116" y="47"/>
                  <a:pt x="1117" y="47"/>
                  <a:pt x="1117" y="47"/>
                </a:cubicBezTo>
                <a:cubicBezTo>
                  <a:pt x="1117" y="47"/>
                  <a:pt x="1117" y="47"/>
                  <a:pt x="1117" y="47"/>
                </a:cubicBezTo>
                <a:cubicBezTo>
                  <a:pt x="1117" y="47"/>
                  <a:pt x="1117" y="47"/>
                  <a:pt x="1117" y="46"/>
                </a:cubicBezTo>
                <a:cubicBezTo>
                  <a:pt x="1117" y="46"/>
                  <a:pt x="1117" y="46"/>
                  <a:pt x="1117" y="46"/>
                </a:cubicBezTo>
                <a:cubicBezTo>
                  <a:pt x="1117" y="46"/>
                  <a:pt x="1117" y="46"/>
                  <a:pt x="1117" y="46"/>
                </a:cubicBezTo>
                <a:cubicBezTo>
                  <a:pt x="1117" y="46"/>
                  <a:pt x="1117" y="46"/>
                  <a:pt x="1117" y="46"/>
                </a:cubicBezTo>
                <a:cubicBezTo>
                  <a:pt x="1117" y="46"/>
                  <a:pt x="1118" y="46"/>
                  <a:pt x="1118" y="46"/>
                </a:cubicBezTo>
                <a:cubicBezTo>
                  <a:pt x="1118" y="46"/>
                  <a:pt x="1118" y="46"/>
                  <a:pt x="1118" y="46"/>
                </a:cubicBezTo>
                <a:cubicBezTo>
                  <a:pt x="1118" y="46"/>
                  <a:pt x="1118" y="45"/>
                  <a:pt x="1119" y="45"/>
                </a:cubicBezTo>
                <a:cubicBezTo>
                  <a:pt x="1119" y="45"/>
                  <a:pt x="1119" y="45"/>
                  <a:pt x="1119" y="45"/>
                </a:cubicBezTo>
                <a:cubicBezTo>
                  <a:pt x="1119" y="45"/>
                  <a:pt x="1119" y="45"/>
                  <a:pt x="1119" y="45"/>
                </a:cubicBezTo>
                <a:cubicBezTo>
                  <a:pt x="1119" y="45"/>
                  <a:pt x="1119" y="45"/>
                  <a:pt x="1119" y="45"/>
                </a:cubicBezTo>
                <a:cubicBezTo>
                  <a:pt x="1119" y="45"/>
                  <a:pt x="1120" y="45"/>
                  <a:pt x="1120" y="44"/>
                </a:cubicBezTo>
                <a:cubicBezTo>
                  <a:pt x="1120" y="44"/>
                  <a:pt x="1120" y="44"/>
                  <a:pt x="1120" y="44"/>
                </a:cubicBezTo>
                <a:cubicBezTo>
                  <a:pt x="1120" y="44"/>
                  <a:pt x="1120" y="44"/>
                  <a:pt x="1120" y="44"/>
                </a:cubicBezTo>
                <a:cubicBezTo>
                  <a:pt x="1120" y="44"/>
                  <a:pt x="1120" y="44"/>
                  <a:pt x="1120" y="44"/>
                </a:cubicBezTo>
                <a:cubicBezTo>
                  <a:pt x="1120" y="44"/>
                  <a:pt x="1120" y="44"/>
                  <a:pt x="1120" y="44"/>
                </a:cubicBezTo>
                <a:cubicBezTo>
                  <a:pt x="1121" y="44"/>
                  <a:pt x="1121" y="44"/>
                  <a:pt x="1121" y="44"/>
                </a:cubicBezTo>
                <a:cubicBezTo>
                  <a:pt x="1121" y="44"/>
                  <a:pt x="1121" y="44"/>
                  <a:pt x="1121" y="44"/>
                </a:cubicBezTo>
                <a:cubicBezTo>
                  <a:pt x="1121" y="44"/>
                  <a:pt x="1121" y="44"/>
                  <a:pt x="1121" y="44"/>
                </a:cubicBezTo>
                <a:cubicBezTo>
                  <a:pt x="1121" y="44"/>
                  <a:pt x="1121" y="44"/>
                  <a:pt x="1122" y="43"/>
                </a:cubicBezTo>
                <a:cubicBezTo>
                  <a:pt x="1122" y="43"/>
                  <a:pt x="1122" y="43"/>
                  <a:pt x="1122" y="43"/>
                </a:cubicBezTo>
                <a:cubicBezTo>
                  <a:pt x="1122" y="43"/>
                  <a:pt x="1122" y="43"/>
                  <a:pt x="1122" y="43"/>
                </a:cubicBezTo>
                <a:cubicBezTo>
                  <a:pt x="1122" y="43"/>
                  <a:pt x="1122" y="43"/>
                  <a:pt x="1123" y="43"/>
                </a:cubicBezTo>
                <a:cubicBezTo>
                  <a:pt x="1123" y="43"/>
                  <a:pt x="1123" y="43"/>
                  <a:pt x="1123" y="43"/>
                </a:cubicBezTo>
                <a:cubicBezTo>
                  <a:pt x="1123" y="43"/>
                  <a:pt x="1123" y="43"/>
                  <a:pt x="1124" y="43"/>
                </a:cubicBezTo>
                <a:cubicBezTo>
                  <a:pt x="1124" y="43"/>
                  <a:pt x="1124" y="43"/>
                  <a:pt x="1124" y="43"/>
                </a:cubicBezTo>
                <a:cubicBezTo>
                  <a:pt x="1124" y="43"/>
                  <a:pt x="1124" y="43"/>
                  <a:pt x="1124" y="43"/>
                </a:cubicBezTo>
                <a:cubicBezTo>
                  <a:pt x="1124" y="42"/>
                  <a:pt x="1125" y="43"/>
                  <a:pt x="1125" y="42"/>
                </a:cubicBezTo>
                <a:cubicBezTo>
                  <a:pt x="1125" y="42"/>
                  <a:pt x="1125" y="42"/>
                  <a:pt x="1125" y="42"/>
                </a:cubicBezTo>
                <a:cubicBezTo>
                  <a:pt x="1125" y="42"/>
                  <a:pt x="1125" y="42"/>
                  <a:pt x="1125" y="42"/>
                </a:cubicBezTo>
                <a:cubicBezTo>
                  <a:pt x="1126" y="42"/>
                  <a:pt x="1127" y="42"/>
                  <a:pt x="1127" y="42"/>
                </a:cubicBezTo>
                <a:cubicBezTo>
                  <a:pt x="1128" y="42"/>
                  <a:pt x="1129" y="42"/>
                  <a:pt x="1130" y="42"/>
                </a:cubicBezTo>
                <a:cubicBezTo>
                  <a:pt x="1131" y="42"/>
                  <a:pt x="1131" y="42"/>
                  <a:pt x="1132" y="42"/>
                </a:cubicBezTo>
                <a:cubicBezTo>
                  <a:pt x="1132" y="42"/>
                  <a:pt x="1132" y="42"/>
                  <a:pt x="1132" y="42"/>
                </a:cubicBezTo>
                <a:cubicBezTo>
                  <a:pt x="1132" y="42"/>
                  <a:pt x="1132" y="42"/>
                  <a:pt x="1132" y="42"/>
                </a:cubicBezTo>
                <a:cubicBezTo>
                  <a:pt x="1133" y="43"/>
                  <a:pt x="1133" y="42"/>
                  <a:pt x="1134" y="43"/>
                </a:cubicBezTo>
                <a:cubicBezTo>
                  <a:pt x="1134" y="43"/>
                  <a:pt x="1134" y="43"/>
                  <a:pt x="1134" y="43"/>
                </a:cubicBezTo>
                <a:cubicBezTo>
                  <a:pt x="1134" y="43"/>
                  <a:pt x="1134" y="43"/>
                  <a:pt x="1135" y="43"/>
                </a:cubicBezTo>
                <a:cubicBezTo>
                  <a:pt x="1135" y="43"/>
                  <a:pt x="1135" y="43"/>
                  <a:pt x="1135" y="43"/>
                </a:cubicBezTo>
                <a:cubicBezTo>
                  <a:pt x="1135" y="43"/>
                  <a:pt x="1135" y="43"/>
                  <a:pt x="1135" y="43"/>
                </a:cubicBezTo>
                <a:cubicBezTo>
                  <a:pt x="1135" y="43"/>
                  <a:pt x="1135" y="43"/>
                  <a:pt x="1135" y="43"/>
                </a:cubicBezTo>
                <a:cubicBezTo>
                  <a:pt x="1136" y="44"/>
                  <a:pt x="1136" y="44"/>
                  <a:pt x="1136" y="44"/>
                </a:cubicBezTo>
                <a:cubicBezTo>
                  <a:pt x="1136" y="44"/>
                  <a:pt x="1136" y="44"/>
                  <a:pt x="1136" y="44"/>
                </a:cubicBezTo>
                <a:cubicBezTo>
                  <a:pt x="1136" y="44"/>
                  <a:pt x="1137" y="44"/>
                  <a:pt x="1137" y="44"/>
                </a:cubicBezTo>
                <a:cubicBezTo>
                  <a:pt x="1137" y="44"/>
                  <a:pt x="1137" y="44"/>
                  <a:pt x="1137" y="44"/>
                </a:cubicBezTo>
                <a:cubicBezTo>
                  <a:pt x="1137" y="44"/>
                  <a:pt x="1137" y="44"/>
                  <a:pt x="1137" y="44"/>
                </a:cubicBezTo>
                <a:cubicBezTo>
                  <a:pt x="1137" y="44"/>
                  <a:pt x="1137" y="44"/>
                  <a:pt x="1137" y="44"/>
                </a:cubicBezTo>
                <a:cubicBezTo>
                  <a:pt x="1137" y="45"/>
                  <a:pt x="1138" y="45"/>
                  <a:pt x="1138" y="45"/>
                </a:cubicBezTo>
                <a:cubicBezTo>
                  <a:pt x="1138" y="45"/>
                  <a:pt x="1138" y="45"/>
                  <a:pt x="1138" y="45"/>
                </a:cubicBezTo>
                <a:cubicBezTo>
                  <a:pt x="1138" y="45"/>
                  <a:pt x="1138" y="45"/>
                  <a:pt x="1138" y="45"/>
                </a:cubicBezTo>
                <a:cubicBezTo>
                  <a:pt x="1138" y="45"/>
                  <a:pt x="1138" y="45"/>
                  <a:pt x="1138" y="45"/>
                </a:cubicBezTo>
                <a:cubicBezTo>
                  <a:pt x="1138" y="45"/>
                  <a:pt x="1138" y="45"/>
                  <a:pt x="1139" y="45"/>
                </a:cubicBezTo>
                <a:cubicBezTo>
                  <a:pt x="1139" y="45"/>
                  <a:pt x="1139" y="45"/>
                  <a:pt x="1139" y="45"/>
                </a:cubicBezTo>
                <a:cubicBezTo>
                  <a:pt x="1139" y="46"/>
                  <a:pt x="1139" y="46"/>
                  <a:pt x="1139" y="46"/>
                </a:cubicBezTo>
                <a:cubicBezTo>
                  <a:pt x="1139" y="46"/>
                  <a:pt x="1139" y="46"/>
                  <a:pt x="1139" y="46"/>
                </a:cubicBezTo>
                <a:cubicBezTo>
                  <a:pt x="1139" y="46"/>
                  <a:pt x="1139" y="46"/>
                  <a:pt x="1139" y="46"/>
                </a:cubicBezTo>
                <a:cubicBezTo>
                  <a:pt x="1139" y="46"/>
                  <a:pt x="1139" y="46"/>
                  <a:pt x="1139" y="46"/>
                </a:cubicBezTo>
                <a:cubicBezTo>
                  <a:pt x="1139" y="46"/>
                  <a:pt x="1140" y="46"/>
                  <a:pt x="1140" y="47"/>
                </a:cubicBezTo>
                <a:cubicBezTo>
                  <a:pt x="1140" y="46"/>
                  <a:pt x="1140" y="46"/>
                  <a:pt x="1140" y="46"/>
                </a:cubicBezTo>
                <a:cubicBezTo>
                  <a:pt x="1140" y="47"/>
                  <a:pt x="1140" y="47"/>
                  <a:pt x="1140" y="47"/>
                </a:cubicBezTo>
                <a:cubicBezTo>
                  <a:pt x="1140" y="47"/>
                  <a:pt x="1140" y="47"/>
                  <a:pt x="1140" y="47"/>
                </a:cubicBezTo>
                <a:cubicBezTo>
                  <a:pt x="1140" y="47"/>
                  <a:pt x="1140" y="47"/>
                  <a:pt x="1140" y="47"/>
                </a:cubicBezTo>
                <a:cubicBezTo>
                  <a:pt x="1140" y="47"/>
                  <a:pt x="1140" y="47"/>
                  <a:pt x="1140" y="47"/>
                </a:cubicBezTo>
                <a:cubicBezTo>
                  <a:pt x="1140" y="48"/>
                  <a:pt x="1141" y="48"/>
                  <a:pt x="1141" y="48"/>
                </a:cubicBezTo>
                <a:cubicBezTo>
                  <a:pt x="1141" y="48"/>
                  <a:pt x="1141" y="48"/>
                  <a:pt x="1141" y="48"/>
                </a:cubicBezTo>
                <a:cubicBezTo>
                  <a:pt x="1141" y="48"/>
                  <a:pt x="1141" y="48"/>
                  <a:pt x="1141" y="49"/>
                </a:cubicBezTo>
                <a:cubicBezTo>
                  <a:pt x="1141" y="49"/>
                  <a:pt x="1141" y="49"/>
                  <a:pt x="1141" y="49"/>
                </a:cubicBezTo>
                <a:cubicBezTo>
                  <a:pt x="1141" y="49"/>
                  <a:pt x="1141" y="49"/>
                  <a:pt x="1141" y="49"/>
                </a:cubicBezTo>
                <a:cubicBezTo>
                  <a:pt x="1141" y="49"/>
                  <a:pt x="1141" y="49"/>
                  <a:pt x="1141" y="49"/>
                </a:cubicBezTo>
                <a:cubicBezTo>
                  <a:pt x="1141" y="49"/>
                  <a:pt x="1141" y="49"/>
                  <a:pt x="1141" y="49"/>
                </a:cubicBezTo>
                <a:cubicBezTo>
                  <a:pt x="1141" y="49"/>
                  <a:pt x="1142" y="49"/>
                  <a:pt x="1142" y="50"/>
                </a:cubicBezTo>
                <a:cubicBezTo>
                  <a:pt x="1142" y="50"/>
                  <a:pt x="1142" y="50"/>
                  <a:pt x="1142" y="50"/>
                </a:cubicBezTo>
                <a:cubicBezTo>
                  <a:pt x="1142" y="50"/>
                  <a:pt x="1142" y="50"/>
                  <a:pt x="1142" y="50"/>
                </a:cubicBezTo>
                <a:cubicBezTo>
                  <a:pt x="1142" y="50"/>
                  <a:pt x="1142" y="50"/>
                  <a:pt x="1142" y="51"/>
                </a:cubicBezTo>
                <a:cubicBezTo>
                  <a:pt x="1142" y="51"/>
                  <a:pt x="1142" y="51"/>
                  <a:pt x="1142" y="51"/>
                </a:cubicBezTo>
                <a:cubicBezTo>
                  <a:pt x="1142" y="51"/>
                  <a:pt x="1142" y="51"/>
                  <a:pt x="1142" y="51"/>
                </a:cubicBezTo>
                <a:cubicBezTo>
                  <a:pt x="1142" y="51"/>
                  <a:pt x="1142" y="51"/>
                  <a:pt x="1142" y="51"/>
                </a:cubicBezTo>
                <a:cubicBezTo>
                  <a:pt x="1142" y="52"/>
                  <a:pt x="1142" y="52"/>
                  <a:pt x="1142" y="52"/>
                </a:cubicBezTo>
                <a:cubicBezTo>
                  <a:pt x="1143" y="52"/>
                  <a:pt x="1143" y="52"/>
                  <a:pt x="1143" y="52"/>
                </a:cubicBezTo>
                <a:cubicBezTo>
                  <a:pt x="1143" y="53"/>
                  <a:pt x="1143" y="53"/>
                  <a:pt x="1143" y="53"/>
                </a:cubicBezTo>
                <a:cubicBezTo>
                  <a:pt x="1143" y="53"/>
                  <a:pt x="1143" y="53"/>
                  <a:pt x="1143" y="53"/>
                </a:cubicBezTo>
                <a:cubicBezTo>
                  <a:pt x="1143" y="53"/>
                  <a:pt x="1143" y="53"/>
                  <a:pt x="1143" y="54"/>
                </a:cubicBezTo>
                <a:cubicBezTo>
                  <a:pt x="1143" y="54"/>
                  <a:pt x="1143" y="54"/>
                  <a:pt x="1143" y="54"/>
                </a:cubicBezTo>
                <a:cubicBezTo>
                  <a:pt x="1143" y="54"/>
                  <a:pt x="1143" y="55"/>
                  <a:pt x="1143" y="55"/>
                </a:cubicBezTo>
                <a:cubicBezTo>
                  <a:pt x="1144" y="55"/>
                  <a:pt x="1144" y="55"/>
                  <a:pt x="1143" y="55"/>
                </a:cubicBezTo>
                <a:cubicBezTo>
                  <a:pt x="1144" y="56"/>
                  <a:pt x="1143" y="57"/>
                  <a:pt x="1144" y="57"/>
                </a:cubicBezTo>
                <a:cubicBezTo>
                  <a:pt x="1144" y="57"/>
                  <a:pt x="1144" y="58"/>
                  <a:pt x="1144" y="58"/>
                </a:cubicBezTo>
                <a:cubicBezTo>
                  <a:pt x="1144" y="59"/>
                  <a:pt x="1144" y="61"/>
                  <a:pt x="1144" y="62"/>
                </a:cubicBezTo>
                <a:cubicBezTo>
                  <a:pt x="1144" y="62"/>
                  <a:pt x="1144" y="62"/>
                  <a:pt x="1144" y="63"/>
                </a:cubicBezTo>
                <a:cubicBezTo>
                  <a:pt x="1144" y="76"/>
                  <a:pt x="1144" y="88"/>
                  <a:pt x="1144" y="101"/>
                </a:cubicBezTo>
                <a:cubicBezTo>
                  <a:pt x="1145" y="102"/>
                  <a:pt x="1145" y="102"/>
                  <a:pt x="1146" y="102"/>
                </a:cubicBezTo>
                <a:cubicBezTo>
                  <a:pt x="1148" y="102"/>
                  <a:pt x="1151" y="102"/>
                  <a:pt x="1153" y="102"/>
                </a:cubicBezTo>
                <a:cubicBezTo>
                  <a:pt x="1155" y="102"/>
                  <a:pt x="1155" y="102"/>
                  <a:pt x="1155" y="100"/>
                </a:cubicBezTo>
                <a:cubicBezTo>
                  <a:pt x="1155" y="86"/>
                  <a:pt x="1155" y="72"/>
                  <a:pt x="1155" y="58"/>
                </a:cubicBezTo>
                <a:cubicBezTo>
                  <a:pt x="1155" y="57"/>
                  <a:pt x="1155" y="56"/>
                  <a:pt x="1155" y="56"/>
                </a:cubicBezTo>
                <a:cubicBezTo>
                  <a:pt x="1155" y="56"/>
                  <a:pt x="1155" y="55"/>
                  <a:pt x="1155" y="55"/>
                </a:cubicBezTo>
                <a:cubicBezTo>
                  <a:pt x="1155" y="54"/>
                  <a:pt x="1155" y="53"/>
                  <a:pt x="1155" y="53"/>
                </a:cubicBezTo>
                <a:cubicBezTo>
                  <a:pt x="1154" y="53"/>
                  <a:pt x="1154" y="53"/>
                  <a:pt x="1155" y="53"/>
                </a:cubicBezTo>
                <a:cubicBezTo>
                  <a:pt x="1154" y="52"/>
                  <a:pt x="1155" y="51"/>
                  <a:pt x="1154" y="51"/>
                </a:cubicBezTo>
                <a:cubicBezTo>
                  <a:pt x="1154" y="51"/>
                  <a:pt x="1154" y="51"/>
                  <a:pt x="1154" y="51"/>
                </a:cubicBezTo>
                <a:cubicBezTo>
                  <a:pt x="1154" y="50"/>
                  <a:pt x="1154" y="50"/>
                  <a:pt x="1154" y="49"/>
                </a:cubicBezTo>
                <a:close/>
                <a:moveTo>
                  <a:pt x="680" y="63"/>
                </a:moveTo>
                <a:cubicBezTo>
                  <a:pt x="680" y="63"/>
                  <a:pt x="680" y="63"/>
                  <a:pt x="680" y="63"/>
                </a:cubicBezTo>
                <a:cubicBezTo>
                  <a:pt x="680" y="62"/>
                  <a:pt x="679" y="62"/>
                  <a:pt x="679" y="62"/>
                </a:cubicBezTo>
                <a:cubicBezTo>
                  <a:pt x="679" y="62"/>
                  <a:pt x="679" y="62"/>
                  <a:pt x="679" y="62"/>
                </a:cubicBezTo>
                <a:cubicBezTo>
                  <a:pt x="679" y="62"/>
                  <a:pt x="679" y="62"/>
                  <a:pt x="678" y="62"/>
                </a:cubicBezTo>
                <a:cubicBezTo>
                  <a:pt x="678" y="62"/>
                  <a:pt x="678" y="62"/>
                  <a:pt x="678" y="62"/>
                </a:cubicBezTo>
                <a:cubicBezTo>
                  <a:pt x="678" y="62"/>
                  <a:pt x="678" y="62"/>
                  <a:pt x="678" y="62"/>
                </a:cubicBezTo>
                <a:cubicBezTo>
                  <a:pt x="678" y="62"/>
                  <a:pt x="678" y="62"/>
                  <a:pt x="678" y="62"/>
                </a:cubicBezTo>
                <a:cubicBezTo>
                  <a:pt x="678" y="61"/>
                  <a:pt x="677" y="61"/>
                  <a:pt x="677" y="61"/>
                </a:cubicBezTo>
                <a:cubicBezTo>
                  <a:pt x="677" y="61"/>
                  <a:pt x="677" y="61"/>
                  <a:pt x="677" y="61"/>
                </a:cubicBezTo>
                <a:cubicBezTo>
                  <a:pt x="677" y="61"/>
                  <a:pt x="676" y="61"/>
                  <a:pt x="676" y="61"/>
                </a:cubicBezTo>
                <a:cubicBezTo>
                  <a:pt x="676" y="61"/>
                  <a:pt x="676" y="61"/>
                  <a:pt x="676" y="61"/>
                </a:cubicBezTo>
                <a:cubicBezTo>
                  <a:pt x="676" y="61"/>
                  <a:pt x="676" y="61"/>
                  <a:pt x="676" y="60"/>
                </a:cubicBezTo>
                <a:cubicBezTo>
                  <a:pt x="676" y="60"/>
                  <a:pt x="676" y="60"/>
                  <a:pt x="676" y="60"/>
                </a:cubicBezTo>
                <a:cubicBezTo>
                  <a:pt x="675" y="60"/>
                  <a:pt x="675" y="60"/>
                  <a:pt x="675" y="60"/>
                </a:cubicBezTo>
                <a:cubicBezTo>
                  <a:pt x="675" y="60"/>
                  <a:pt x="675" y="60"/>
                  <a:pt x="675" y="60"/>
                </a:cubicBezTo>
                <a:cubicBezTo>
                  <a:pt x="675" y="60"/>
                  <a:pt x="675" y="60"/>
                  <a:pt x="675" y="60"/>
                </a:cubicBezTo>
                <a:cubicBezTo>
                  <a:pt x="675" y="60"/>
                  <a:pt x="675" y="60"/>
                  <a:pt x="675" y="60"/>
                </a:cubicBezTo>
                <a:cubicBezTo>
                  <a:pt x="674" y="60"/>
                  <a:pt x="674" y="60"/>
                  <a:pt x="674" y="59"/>
                </a:cubicBezTo>
                <a:cubicBezTo>
                  <a:pt x="674" y="59"/>
                  <a:pt x="674" y="59"/>
                  <a:pt x="674" y="59"/>
                </a:cubicBezTo>
                <a:cubicBezTo>
                  <a:pt x="674" y="59"/>
                  <a:pt x="674" y="59"/>
                  <a:pt x="673" y="59"/>
                </a:cubicBezTo>
                <a:cubicBezTo>
                  <a:pt x="673" y="59"/>
                  <a:pt x="673" y="59"/>
                  <a:pt x="673" y="59"/>
                </a:cubicBezTo>
                <a:cubicBezTo>
                  <a:pt x="673" y="59"/>
                  <a:pt x="673" y="59"/>
                  <a:pt x="673" y="59"/>
                </a:cubicBezTo>
                <a:cubicBezTo>
                  <a:pt x="673" y="59"/>
                  <a:pt x="673" y="59"/>
                  <a:pt x="673" y="59"/>
                </a:cubicBezTo>
                <a:cubicBezTo>
                  <a:pt x="673" y="59"/>
                  <a:pt x="673"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7"/>
                  <a:pt x="671" y="57"/>
                </a:cubicBezTo>
                <a:cubicBezTo>
                  <a:pt x="671" y="57"/>
                  <a:pt x="671" y="57"/>
                  <a:pt x="671" y="57"/>
                </a:cubicBezTo>
                <a:cubicBezTo>
                  <a:pt x="671" y="57"/>
                  <a:pt x="671" y="57"/>
                  <a:pt x="671" y="57"/>
                </a:cubicBezTo>
                <a:cubicBezTo>
                  <a:pt x="671" y="57"/>
                  <a:pt x="671" y="57"/>
                  <a:pt x="671" y="57"/>
                </a:cubicBezTo>
                <a:cubicBezTo>
                  <a:pt x="671" y="56"/>
                  <a:pt x="671" y="56"/>
                  <a:pt x="671" y="56"/>
                </a:cubicBezTo>
                <a:cubicBezTo>
                  <a:pt x="671" y="56"/>
                  <a:pt x="671" y="56"/>
                  <a:pt x="671" y="56"/>
                </a:cubicBezTo>
                <a:cubicBezTo>
                  <a:pt x="671" y="56"/>
                  <a:pt x="671" y="56"/>
                  <a:pt x="670" y="56"/>
                </a:cubicBezTo>
                <a:cubicBezTo>
                  <a:pt x="670" y="56"/>
                  <a:pt x="670" y="56"/>
                  <a:pt x="670" y="56"/>
                </a:cubicBezTo>
                <a:cubicBezTo>
                  <a:pt x="670" y="55"/>
                  <a:pt x="670" y="55"/>
                  <a:pt x="670" y="55"/>
                </a:cubicBezTo>
                <a:cubicBezTo>
                  <a:pt x="670" y="54"/>
                  <a:pt x="670" y="54"/>
                  <a:pt x="670" y="54"/>
                </a:cubicBezTo>
                <a:cubicBezTo>
                  <a:pt x="670" y="54"/>
                  <a:pt x="670" y="54"/>
                  <a:pt x="670" y="54"/>
                </a:cubicBezTo>
                <a:cubicBezTo>
                  <a:pt x="670" y="54"/>
                  <a:pt x="670" y="54"/>
                  <a:pt x="670" y="53"/>
                </a:cubicBezTo>
                <a:cubicBezTo>
                  <a:pt x="670" y="53"/>
                  <a:pt x="670" y="53"/>
                  <a:pt x="670" y="52"/>
                </a:cubicBezTo>
                <a:cubicBezTo>
                  <a:pt x="669" y="52"/>
                  <a:pt x="669" y="51"/>
                  <a:pt x="670" y="50"/>
                </a:cubicBezTo>
                <a:cubicBezTo>
                  <a:pt x="670" y="50"/>
                  <a:pt x="670" y="50"/>
                  <a:pt x="670" y="50"/>
                </a:cubicBezTo>
                <a:cubicBezTo>
                  <a:pt x="670" y="50"/>
                  <a:pt x="670" y="49"/>
                  <a:pt x="670" y="49"/>
                </a:cubicBezTo>
                <a:cubicBezTo>
                  <a:pt x="670" y="49"/>
                  <a:pt x="670" y="49"/>
                  <a:pt x="670" y="49"/>
                </a:cubicBezTo>
                <a:cubicBezTo>
                  <a:pt x="670" y="48"/>
                  <a:pt x="670" y="48"/>
                  <a:pt x="670" y="48"/>
                </a:cubicBezTo>
                <a:cubicBezTo>
                  <a:pt x="670" y="48"/>
                  <a:pt x="670" y="48"/>
                  <a:pt x="670" y="48"/>
                </a:cubicBezTo>
                <a:cubicBezTo>
                  <a:pt x="671" y="47"/>
                  <a:pt x="671" y="47"/>
                  <a:pt x="671" y="47"/>
                </a:cubicBezTo>
                <a:cubicBezTo>
                  <a:pt x="671" y="47"/>
                  <a:pt x="671" y="47"/>
                  <a:pt x="671" y="47"/>
                </a:cubicBezTo>
                <a:cubicBezTo>
                  <a:pt x="671" y="47"/>
                  <a:pt x="671" y="47"/>
                  <a:pt x="671" y="46"/>
                </a:cubicBezTo>
                <a:cubicBezTo>
                  <a:pt x="671" y="46"/>
                  <a:pt x="671" y="46"/>
                  <a:pt x="671" y="46"/>
                </a:cubicBezTo>
                <a:cubicBezTo>
                  <a:pt x="671" y="46"/>
                  <a:pt x="671" y="46"/>
                  <a:pt x="671" y="46"/>
                </a:cubicBezTo>
                <a:cubicBezTo>
                  <a:pt x="671" y="46"/>
                  <a:pt x="671" y="46"/>
                  <a:pt x="671" y="46"/>
                </a:cubicBezTo>
                <a:cubicBezTo>
                  <a:pt x="672" y="46"/>
                  <a:pt x="673" y="45"/>
                  <a:pt x="673" y="44"/>
                </a:cubicBezTo>
                <a:cubicBezTo>
                  <a:pt x="673" y="44"/>
                  <a:pt x="673" y="44"/>
                  <a:pt x="673" y="44"/>
                </a:cubicBezTo>
                <a:cubicBezTo>
                  <a:pt x="673" y="44"/>
                  <a:pt x="673" y="44"/>
                  <a:pt x="674" y="44"/>
                </a:cubicBezTo>
                <a:cubicBezTo>
                  <a:pt x="674" y="44"/>
                  <a:pt x="674" y="44"/>
                  <a:pt x="674" y="44"/>
                </a:cubicBezTo>
                <a:cubicBezTo>
                  <a:pt x="674" y="44"/>
                  <a:pt x="674" y="44"/>
                  <a:pt x="674" y="44"/>
                </a:cubicBezTo>
                <a:cubicBezTo>
                  <a:pt x="674" y="44"/>
                  <a:pt x="674" y="44"/>
                  <a:pt x="674" y="44"/>
                </a:cubicBezTo>
                <a:cubicBezTo>
                  <a:pt x="674" y="44"/>
                  <a:pt x="674" y="44"/>
                  <a:pt x="675" y="43"/>
                </a:cubicBezTo>
                <a:cubicBezTo>
                  <a:pt x="675" y="43"/>
                  <a:pt x="675" y="43"/>
                  <a:pt x="675" y="43"/>
                </a:cubicBezTo>
                <a:cubicBezTo>
                  <a:pt x="675" y="43"/>
                  <a:pt x="675" y="43"/>
                  <a:pt x="675" y="43"/>
                </a:cubicBezTo>
                <a:cubicBezTo>
                  <a:pt x="675" y="43"/>
                  <a:pt x="675" y="43"/>
                  <a:pt x="676" y="43"/>
                </a:cubicBezTo>
                <a:cubicBezTo>
                  <a:pt x="676" y="43"/>
                  <a:pt x="676" y="43"/>
                  <a:pt x="676" y="43"/>
                </a:cubicBezTo>
                <a:cubicBezTo>
                  <a:pt x="676" y="43"/>
                  <a:pt x="676" y="43"/>
                  <a:pt x="676" y="43"/>
                </a:cubicBezTo>
                <a:cubicBezTo>
                  <a:pt x="676" y="43"/>
                  <a:pt x="676" y="43"/>
                  <a:pt x="676" y="43"/>
                </a:cubicBezTo>
                <a:cubicBezTo>
                  <a:pt x="677" y="43"/>
                  <a:pt x="677" y="43"/>
                  <a:pt x="677" y="43"/>
                </a:cubicBezTo>
                <a:cubicBezTo>
                  <a:pt x="677" y="42"/>
                  <a:pt x="677" y="43"/>
                  <a:pt x="678" y="42"/>
                </a:cubicBezTo>
                <a:cubicBezTo>
                  <a:pt x="678" y="42"/>
                  <a:pt x="678" y="42"/>
                  <a:pt x="678" y="42"/>
                </a:cubicBezTo>
                <a:cubicBezTo>
                  <a:pt x="678" y="42"/>
                  <a:pt x="678" y="42"/>
                  <a:pt x="678" y="42"/>
                </a:cubicBezTo>
                <a:cubicBezTo>
                  <a:pt x="679" y="42"/>
                  <a:pt x="679" y="42"/>
                  <a:pt x="680" y="42"/>
                </a:cubicBezTo>
                <a:cubicBezTo>
                  <a:pt x="681" y="42"/>
                  <a:pt x="682" y="42"/>
                  <a:pt x="683" y="42"/>
                </a:cubicBezTo>
                <a:cubicBezTo>
                  <a:pt x="684" y="42"/>
                  <a:pt x="685" y="42"/>
                  <a:pt x="685" y="42"/>
                </a:cubicBezTo>
                <a:cubicBezTo>
                  <a:pt x="686" y="42"/>
                  <a:pt x="686" y="42"/>
                  <a:pt x="686" y="42"/>
                </a:cubicBezTo>
                <a:cubicBezTo>
                  <a:pt x="686" y="42"/>
                  <a:pt x="686" y="42"/>
                  <a:pt x="686" y="42"/>
                </a:cubicBezTo>
                <a:cubicBezTo>
                  <a:pt x="686" y="43"/>
                  <a:pt x="687" y="42"/>
                  <a:pt x="687" y="43"/>
                </a:cubicBezTo>
                <a:cubicBezTo>
                  <a:pt x="687" y="43"/>
                  <a:pt x="687" y="43"/>
                  <a:pt x="687" y="43"/>
                </a:cubicBezTo>
                <a:cubicBezTo>
                  <a:pt x="687" y="43"/>
                  <a:pt x="687" y="43"/>
                  <a:pt x="687" y="43"/>
                </a:cubicBezTo>
                <a:cubicBezTo>
                  <a:pt x="688" y="43"/>
                  <a:pt x="688" y="43"/>
                  <a:pt x="689" y="43"/>
                </a:cubicBezTo>
                <a:cubicBezTo>
                  <a:pt x="689" y="43"/>
                  <a:pt x="689" y="43"/>
                  <a:pt x="689" y="43"/>
                </a:cubicBezTo>
                <a:cubicBezTo>
                  <a:pt x="689" y="43"/>
                  <a:pt x="689" y="43"/>
                  <a:pt x="689" y="43"/>
                </a:cubicBezTo>
                <a:cubicBezTo>
                  <a:pt x="689" y="43"/>
                  <a:pt x="690" y="43"/>
                  <a:pt x="690" y="43"/>
                </a:cubicBezTo>
                <a:cubicBezTo>
                  <a:pt x="690" y="43"/>
                  <a:pt x="690" y="43"/>
                  <a:pt x="690" y="43"/>
                </a:cubicBezTo>
                <a:cubicBezTo>
                  <a:pt x="690" y="44"/>
                  <a:pt x="691" y="43"/>
                  <a:pt x="691" y="44"/>
                </a:cubicBezTo>
                <a:cubicBezTo>
                  <a:pt x="691" y="44"/>
                  <a:pt x="691" y="44"/>
                  <a:pt x="691" y="44"/>
                </a:cubicBezTo>
                <a:cubicBezTo>
                  <a:pt x="691" y="44"/>
                  <a:pt x="691" y="44"/>
                  <a:pt x="692" y="44"/>
                </a:cubicBezTo>
                <a:cubicBezTo>
                  <a:pt x="692" y="44"/>
                  <a:pt x="692" y="44"/>
                  <a:pt x="692" y="44"/>
                </a:cubicBezTo>
                <a:cubicBezTo>
                  <a:pt x="692" y="44"/>
                  <a:pt x="692" y="44"/>
                  <a:pt x="692" y="44"/>
                </a:cubicBezTo>
                <a:cubicBezTo>
                  <a:pt x="692" y="44"/>
                  <a:pt x="692" y="44"/>
                  <a:pt x="692" y="44"/>
                </a:cubicBezTo>
                <a:cubicBezTo>
                  <a:pt x="693" y="45"/>
                  <a:pt x="693" y="45"/>
                  <a:pt x="693" y="45"/>
                </a:cubicBezTo>
                <a:cubicBezTo>
                  <a:pt x="693" y="45"/>
                  <a:pt x="693" y="45"/>
                  <a:pt x="693" y="45"/>
                </a:cubicBezTo>
                <a:cubicBezTo>
                  <a:pt x="693" y="45"/>
                  <a:pt x="694" y="45"/>
                  <a:pt x="694" y="45"/>
                </a:cubicBezTo>
                <a:cubicBezTo>
                  <a:pt x="694" y="45"/>
                  <a:pt x="694" y="45"/>
                  <a:pt x="694" y="45"/>
                </a:cubicBezTo>
                <a:cubicBezTo>
                  <a:pt x="694" y="45"/>
                  <a:pt x="694" y="45"/>
                  <a:pt x="694" y="45"/>
                </a:cubicBezTo>
                <a:cubicBezTo>
                  <a:pt x="694" y="45"/>
                  <a:pt x="694" y="45"/>
                  <a:pt x="694" y="45"/>
                </a:cubicBezTo>
                <a:cubicBezTo>
                  <a:pt x="695" y="46"/>
                  <a:pt x="695" y="46"/>
                  <a:pt x="695" y="46"/>
                </a:cubicBezTo>
                <a:cubicBezTo>
                  <a:pt x="695" y="46"/>
                  <a:pt x="695" y="46"/>
                  <a:pt x="695" y="46"/>
                </a:cubicBezTo>
                <a:cubicBezTo>
                  <a:pt x="695" y="46"/>
                  <a:pt x="695" y="46"/>
                  <a:pt x="696" y="46"/>
                </a:cubicBezTo>
                <a:cubicBezTo>
                  <a:pt x="695" y="46"/>
                  <a:pt x="695" y="46"/>
                  <a:pt x="695" y="46"/>
                </a:cubicBezTo>
                <a:cubicBezTo>
                  <a:pt x="696" y="46"/>
                  <a:pt x="696" y="46"/>
                  <a:pt x="696" y="47"/>
                </a:cubicBezTo>
                <a:cubicBezTo>
                  <a:pt x="696" y="47"/>
                  <a:pt x="696" y="47"/>
                  <a:pt x="696" y="47"/>
                </a:cubicBezTo>
                <a:cubicBezTo>
                  <a:pt x="696" y="47"/>
                  <a:pt x="697" y="46"/>
                  <a:pt x="697" y="46"/>
                </a:cubicBezTo>
                <a:cubicBezTo>
                  <a:pt x="697" y="43"/>
                  <a:pt x="697" y="39"/>
                  <a:pt x="696" y="36"/>
                </a:cubicBezTo>
                <a:cubicBezTo>
                  <a:pt x="696" y="36"/>
                  <a:pt x="696" y="36"/>
                  <a:pt x="696" y="36"/>
                </a:cubicBezTo>
                <a:cubicBezTo>
                  <a:pt x="696" y="36"/>
                  <a:pt x="696" y="36"/>
                  <a:pt x="696" y="35"/>
                </a:cubicBezTo>
                <a:cubicBezTo>
                  <a:pt x="696" y="35"/>
                  <a:pt x="696" y="35"/>
                  <a:pt x="696" y="35"/>
                </a:cubicBezTo>
                <a:cubicBezTo>
                  <a:pt x="696" y="35"/>
                  <a:pt x="695" y="35"/>
                  <a:pt x="695" y="35"/>
                </a:cubicBezTo>
                <a:cubicBezTo>
                  <a:pt x="695" y="35"/>
                  <a:pt x="695" y="35"/>
                  <a:pt x="695" y="35"/>
                </a:cubicBezTo>
                <a:cubicBezTo>
                  <a:pt x="695" y="35"/>
                  <a:pt x="695" y="35"/>
                  <a:pt x="694" y="35"/>
                </a:cubicBezTo>
                <a:cubicBezTo>
                  <a:pt x="694" y="35"/>
                  <a:pt x="694" y="35"/>
                  <a:pt x="694" y="35"/>
                </a:cubicBezTo>
                <a:cubicBezTo>
                  <a:pt x="694" y="34"/>
                  <a:pt x="694" y="35"/>
                  <a:pt x="693" y="34"/>
                </a:cubicBezTo>
                <a:cubicBezTo>
                  <a:pt x="693" y="34"/>
                  <a:pt x="693" y="34"/>
                  <a:pt x="693" y="34"/>
                </a:cubicBezTo>
                <a:cubicBezTo>
                  <a:pt x="693" y="34"/>
                  <a:pt x="693" y="34"/>
                  <a:pt x="692" y="34"/>
                </a:cubicBezTo>
                <a:cubicBezTo>
                  <a:pt x="692" y="34"/>
                  <a:pt x="692" y="34"/>
                  <a:pt x="692" y="34"/>
                </a:cubicBezTo>
                <a:cubicBezTo>
                  <a:pt x="692" y="34"/>
                  <a:pt x="692" y="34"/>
                  <a:pt x="691" y="34"/>
                </a:cubicBezTo>
                <a:cubicBezTo>
                  <a:pt x="691" y="34"/>
                  <a:pt x="691" y="34"/>
                  <a:pt x="691" y="34"/>
                </a:cubicBezTo>
                <a:cubicBezTo>
                  <a:pt x="691" y="34"/>
                  <a:pt x="691" y="34"/>
                  <a:pt x="691" y="34"/>
                </a:cubicBezTo>
                <a:cubicBezTo>
                  <a:pt x="691" y="33"/>
                  <a:pt x="690" y="34"/>
                  <a:pt x="690" y="33"/>
                </a:cubicBezTo>
                <a:cubicBezTo>
                  <a:pt x="690" y="33"/>
                  <a:pt x="690" y="33"/>
                  <a:pt x="690" y="33"/>
                </a:cubicBezTo>
                <a:cubicBezTo>
                  <a:pt x="690" y="33"/>
                  <a:pt x="690" y="33"/>
                  <a:pt x="690" y="33"/>
                </a:cubicBezTo>
                <a:cubicBezTo>
                  <a:pt x="689" y="33"/>
                  <a:pt x="688" y="33"/>
                  <a:pt x="688" y="33"/>
                </a:cubicBezTo>
                <a:cubicBezTo>
                  <a:pt x="688" y="33"/>
                  <a:pt x="688" y="33"/>
                  <a:pt x="687" y="33"/>
                </a:cubicBezTo>
                <a:cubicBezTo>
                  <a:pt x="687" y="33"/>
                  <a:pt x="686" y="33"/>
                  <a:pt x="685" y="33"/>
                </a:cubicBezTo>
                <a:cubicBezTo>
                  <a:pt x="683" y="33"/>
                  <a:pt x="681" y="33"/>
                  <a:pt x="680" y="33"/>
                </a:cubicBezTo>
                <a:cubicBezTo>
                  <a:pt x="679" y="33"/>
                  <a:pt x="678" y="33"/>
                  <a:pt x="677" y="33"/>
                </a:cubicBezTo>
                <a:cubicBezTo>
                  <a:pt x="677" y="33"/>
                  <a:pt x="677" y="33"/>
                  <a:pt x="677" y="33"/>
                </a:cubicBezTo>
                <a:cubicBezTo>
                  <a:pt x="676" y="33"/>
                  <a:pt x="676" y="33"/>
                  <a:pt x="675" y="33"/>
                </a:cubicBezTo>
                <a:cubicBezTo>
                  <a:pt x="675" y="33"/>
                  <a:pt x="675" y="33"/>
                  <a:pt x="675" y="33"/>
                </a:cubicBezTo>
                <a:cubicBezTo>
                  <a:pt x="675" y="34"/>
                  <a:pt x="674" y="33"/>
                  <a:pt x="674" y="34"/>
                </a:cubicBezTo>
                <a:cubicBezTo>
                  <a:pt x="674" y="34"/>
                  <a:pt x="674" y="34"/>
                  <a:pt x="674" y="34"/>
                </a:cubicBezTo>
                <a:cubicBezTo>
                  <a:pt x="673" y="34"/>
                  <a:pt x="673" y="34"/>
                  <a:pt x="672" y="34"/>
                </a:cubicBezTo>
                <a:cubicBezTo>
                  <a:pt x="673" y="34"/>
                  <a:pt x="673" y="34"/>
                  <a:pt x="673" y="34"/>
                </a:cubicBezTo>
                <a:cubicBezTo>
                  <a:pt x="672" y="34"/>
                  <a:pt x="672" y="34"/>
                  <a:pt x="671" y="34"/>
                </a:cubicBezTo>
                <a:cubicBezTo>
                  <a:pt x="671" y="34"/>
                  <a:pt x="671" y="34"/>
                  <a:pt x="671" y="34"/>
                </a:cubicBezTo>
                <a:cubicBezTo>
                  <a:pt x="671" y="35"/>
                  <a:pt x="671" y="34"/>
                  <a:pt x="671" y="35"/>
                </a:cubicBezTo>
                <a:cubicBezTo>
                  <a:pt x="671" y="35"/>
                  <a:pt x="671" y="35"/>
                  <a:pt x="671" y="35"/>
                </a:cubicBezTo>
                <a:cubicBezTo>
                  <a:pt x="671" y="35"/>
                  <a:pt x="670" y="35"/>
                  <a:pt x="670" y="35"/>
                </a:cubicBezTo>
                <a:cubicBezTo>
                  <a:pt x="670" y="35"/>
                  <a:pt x="670" y="35"/>
                  <a:pt x="670" y="35"/>
                </a:cubicBezTo>
                <a:cubicBezTo>
                  <a:pt x="670" y="35"/>
                  <a:pt x="670" y="35"/>
                  <a:pt x="670" y="35"/>
                </a:cubicBezTo>
                <a:cubicBezTo>
                  <a:pt x="670" y="35"/>
                  <a:pt x="670" y="35"/>
                  <a:pt x="669" y="35"/>
                </a:cubicBezTo>
                <a:cubicBezTo>
                  <a:pt x="669" y="35"/>
                  <a:pt x="669" y="35"/>
                  <a:pt x="669" y="35"/>
                </a:cubicBezTo>
                <a:cubicBezTo>
                  <a:pt x="669" y="35"/>
                  <a:pt x="669" y="35"/>
                  <a:pt x="669" y="35"/>
                </a:cubicBezTo>
                <a:cubicBezTo>
                  <a:pt x="669" y="35"/>
                  <a:pt x="669" y="36"/>
                  <a:pt x="669" y="36"/>
                </a:cubicBezTo>
                <a:cubicBezTo>
                  <a:pt x="669" y="36"/>
                  <a:pt x="669" y="36"/>
                  <a:pt x="669" y="36"/>
                </a:cubicBezTo>
                <a:cubicBezTo>
                  <a:pt x="668" y="36"/>
                  <a:pt x="668" y="36"/>
                  <a:pt x="668" y="36"/>
                </a:cubicBezTo>
                <a:cubicBezTo>
                  <a:pt x="668" y="36"/>
                  <a:pt x="668" y="36"/>
                  <a:pt x="668" y="36"/>
                </a:cubicBezTo>
                <a:cubicBezTo>
                  <a:pt x="668" y="36"/>
                  <a:pt x="667" y="36"/>
                  <a:pt x="667" y="37"/>
                </a:cubicBezTo>
                <a:cubicBezTo>
                  <a:pt x="667" y="36"/>
                  <a:pt x="667" y="36"/>
                  <a:pt x="667" y="36"/>
                </a:cubicBezTo>
                <a:cubicBezTo>
                  <a:pt x="667" y="37"/>
                  <a:pt x="667" y="37"/>
                  <a:pt x="667" y="37"/>
                </a:cubicBezTo>
                <a:cubicBezTo>
                  <a:pt x="667" y="37"/>
                  <a:pt x="667" y="37"/>
                  <a:pt x="667" y="37"/>
                </a:cubicBezTo>
                <a:cubicBezTo>
                  <a:pt x="667" y="37"/>
                  <a:pt x="666" y="37"/>
                  <a:pt x="666" y="37"/>
                </a:cubicBezTo>
                <a:cubicBezTo>
                  <a:pt x="666" y="37"/>
                  <a:pt x="666" y="37"/>
                  <a:pt x="666" y="37"/>
                </a:cubicBezTo>
                <a:cubicBezTo>
                  <a:pt x="666" y="37"/>
                  <a:pt x="666" y="37"/>
                  <a:pt x="666" y="38"/>
                </a:cubicBezTo>
                <a:cubicBezTo>
                  <a:pt x="666" y="37"/>
                  <a:pt x="666" y="37"/>
                  <a:pt x="666" y="37"/>
                </a:cubicBezTo>
                <a:cubicBezTo>
                  <a:pt x="666" y="38"/>
                  <a:pt x="666" y="38"/>
                  <a:pt x="666" y="38"/>
                </a:cubicBezTo>
                <a:cubicBezTo>
                  <a:pt x="666" y="38"/>
                  <a:pt x="666" y="38"/>
                  <a:pt x="666" y="38"/>
                </a:cubicBezTo>
                <a:cubicBezTo>
                  <a:pt x="665" y="38"/>
                  <a:pt x="665" y="38"/>
                  <a:pt x="665" y="39"/>
                </a:cubicBezTo>
                <a:cubicBezTo>
                  <a:pt x="665" y="39"/>
                  <a:pt x="665" y="39"/>
                  <a:pt x="665" y="39"/>
                </a:cubicBezTo>
                <a:cubicBezTo>
                  <a:pt x="664" y="39"/>
                  <a:pt x="664" y="39"/>
                  <a:pt x="664" y="39"/>
                </a:cubicBezTo>
                <a:cubicBezTo>
                  <a:pt x="664" y="39"/>
                  <a:pt x="664" y="39"/>
                  <a:pt x="664" y="39"/>
                </a:cubicBezTo>
                <a:cubicBezTo>
                  <a:pt x="664" y="39"/>
                  <a:pt x="664" y="39"/>
                  <a:pt x="664" y="39"/>
                </a:cubicBezTo>
                <a:cubicBezTo>
                  <a:pt x="664" y="39"/>
                  <a:pt x="664" y="39"/>
                  <a:pt x="664" y="39"/>
                </a:cubicBezTo>
                <a:cubicBezTo>
                  <a:pt x="664" y="39"/>
                  <a:pt x="664" y="39"/>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2" y="40"/>
                  <a:pt x="662" y="41"/>
                </a:cubicBezTo>
                <a:cubicBezTo>
                  <a:pt x="663" y="41"/>
                  <a:pt x="663" y="41"/>
                  <a:pt x="663" y="41"/>
                </a:cubicBezTo>
                <a:cubicBezTo>
                  <a:pt x="662" y="41"/>
                  <a:pt x="662" y="41"/>
                  <a:pt x="662" y="41"/>
                </a:cubicBezTo>
                <a:cubicBezTo>
                  <a:pt x="662" y="41"/>
                  <a:pt x="662" y="41"/>
                  <a:pt x="662" y="41"/>
                </a:cubicBezTo>
                <a:cubicBezTo>
                  <a:pt x="662" y="41"/>
                  <a:pt x="662" y="42"/>
                  <a:pt x="662" y="42"/>
                </a:cubicBezTo>
                <a:cubicBezTo>
                  <a:pt x="662" y="42"/>
                  <a:pt x="662" y="42"/>
                  <a:pt x="662" y="42"/>
                </a:cubicBezTo>
                <a:cubicBezTo>
                  <a:pt x="662" y="42"/>
                  <a:pt x="661" y="42"/>
                  <a:pt x="661" y="42"/>
                </a:cubicBezTo>
                <a:cubicBezTo>
                  <a:pt x="661" y="42"/>
                  <a:pt x="661" y="42"/>
                  <a:pt x="661" y="42"/>
                </a:cubicBezTo>
                <a:cubicBezTo>
                  <a:pt x="661" y="42"/>
                  <a:pt x="661" y="43"/>
                  <a:pt x="661" y="43"/>
                </a:cubicBezTo>
                <a:cubicBezTo>
                  <a:pt x="661" y="43"/>
                  <a:pt x="661" y="43"/>
                  <a:pt x="661" y="43"/>
                </a:cubicBezTo>
                <a:cubicBezTo>
                  <a:pt x="661" y="43"/>
                  <a:pt x="661" y="43"/>
                  <a:pt x="661" y="43"/>
                </a:cubicBezTo>
                <a:cubicBezTo>
                  <a:pt x="661" y="43"/>
                  <a:pt x="661" y="43"/>
                  <a:pt x="661" y="43"/>
                </a:cubicBezTo>
                <a:cubicBezTo>
                  <a:pt x="660" y="43"/>
                  <a:pt x="660" y="44"/>
                  <a:pt x="660" y="44"/>
                </a:cubicBezTo>
                <a:cubicBezTo>
                  <a:pt x="660" y="44"/>
                  <a:pt x="660" y="44"/>
                  <a:pt x="660" y="44"/>
                </a:cubicBezTo>
                <a:cubicBezTo>
                  <a:pt x="660" y="44"/>
                  <a:pt x="660" y="44"/>
                  <a:pt x="660" y="44"/>
                </a:cubicBezTo>
                <a:cubicBezTo>
                  <a:pt x="660" y="44"/>
                  <a:pt x="660" y="44"/>
                  <a:pt x="660" y="44"/>
                </a:cubicBezTo>
                <a:cubicBezTo>
                  <a:pt x="660" y="45"/>
                  <a:pt x="660" y="45"/>
                  <a:pt x="660" y="45"/>
                </a:cubicBezTo>
                <a:cubicBezTo>
                  <a:pt x="660" y="45"/>
                  <a:pt x="660" y="45"/>
                  <a:pt x="660" y="45"/>
                </a:cubicBezTo>
                <a:cubicBezTo>
                  <a:pt x="660" y="45"/>
                  <a:pt x="660" y="45"/>
                  <a:pt x="660" y="45"/>
                </a:cubicBezTo>
                <a:cubicBezTo>
                  <a:pt x="659" y="46"/>
                  <a:pt x="659" y="46"/>
                  <a:pt x="659" y="46"/>
                </a:cubicBezTo>
                <a:cubicBezTo>
                  <a:pt x="659" y="46"/>
                  <a:pt x="659" y="46"/>
                  <a:pt x="659" y="46"/>
                </a:cubicBezTo>
                <a:cubicBezTo>
                  <a:pt x="659" y="46"/>
                  <a:pt x="659" y="47"/>
                  <a:pt x="659" y="47"/>
                </a:cubicBezTo>
                <a:cubicBezTo>
                  <a:pt x="659" y="47"/>
                  <a:pt x="659" y="48"/>
                  <a:pt x="659" y="48"/>
                </a:cubicBezTo>
                <a:cubicBezTo>
                  <a:pt x="659" y="48"/>
                  <a:pt x="659" y="49"/>
                  <a:pt x="659" y="49"/>
                </a:cubicBezTo>
                <a:cubicBezTo>
                  <a:pt x="659" y="49"/>
                  <a:pt x="659" y="49"/>
                  <a:pt x="659" y="49"/>
                </a:cubicBezTo>
                <a:cubicBezTo>
                  <a:pt x="658" y="51"/>
                  <a:pt x="658" y="53"/>
                  <a:pt x="659" y="55"/>
                </a:cubicBezTo>
                <a:cubicBezTo>
                  <a:pt x="659" y="55"/>
                  <a:pt x="659" y="56"/>
                  <a:pt x="659" y="56"/>
                </a:cubicBezTo>
                <a:cubicBezTo>
                  <a:pt x="659" y="56"/>
                  <a:pt x="659" y="57"/>
                  <a:pt x="659" y="57"/>
                </a:cubicBezTo>
                <a:cubicBezTo>
                  <a:pt x="659" y="57"/>
                  <a:pt x="659" y="57"/>
                  <a:pt x="659" y="58"/>
                </a:cubicBezTo>
                <a:cubicBezTo>
                  <a:pt x="659" y="58"/>
                  <a:pt x="659" y="58"/>
                  <a:pt x="659" y="59"/>
                </a:cubicBezTo>
                <a:cubicBezTo>
                  <a:pt x="659" y="59"/>
                  <a:pt x="659" y="59"/>
                  <a:pt x="659" y="59"/>
                </a:cubicBezTo>
                <a:cubicBezTo>
                  <a:pt x="659" y="59"/>
                  <a:pt x="659" y="59"/>
                  <a:pt x="659" y="59"/>
                </a:cubicBezTo>
                <a:cubicBezTo>
                  <a:pt x="659" y="59"/>
                  <a:pt x="659" y="59"/>
                  <a:pt x="660" y="60"/>
                </a:cubicBezTo>
                <a:cubicBezTo>
                  <a:pt x="660" y="60"/>
                  <a:pt x="660" y="60"/>
                  <a:pt x="660" y="60"/>
                </a:cubicBezTo>
                <a:cubicBezTo>
                  <a:pt x="660" y="60"/>
                  <a:pt x="660" y="60"/>
                  <a:pt x="660" y="60"/>
                </a:cubicBezTo>
                <a:cubicBezTo>
                  <a:pt x="660" y="60"/>
                  <a:pt x="660" y="60"/>
                  <a:pt x="660" y="60"/>
                </a:cubicBezTo>
                <a:cubicBezTo>
                  <a:pt x="660" y="61"/>
                  <a:pt x="660" y="61"/>
                  <a:pt x="660" y="61"/>
                </a:cubicBezTo>
                <a:cubicBezTo>
                  <a:pt x="660" y="61"/>
                  <a:pt x="660" y="61"/>
                  <a:pt x="660" y="61"/>
                </a:cubicBezTo>
                <a:cubicBezTo>
                  <a:pt x="660" y="61"/>
                  <a:pt x="660" y="61"/>
                  <a:pt x="660" y="61"/>
                </a:cubicBezTo>
                <a:cubicBezTo>
                  <a:pt x="660" y="61"/>
                  <a:pt x="660" y="61"/>
                  <a:pt x="660" y="61"/>
                </a:cubicBezTo>
                <a:cubicBezTo>
                  <a:pt x="660" y="62"/>
                  <a:pt x="661" y="62"/>
                  <a:pt x="661" y="62"/>
                </a:cubicBezTo>
                <a:cubicBezTo>
                  <a:pt x="661" y="62"/>
                  <a:pt x="661" y="62"/>
                  <a:pt x="661" y="62"/>
                </a:cubicBezTo>
                <a:cubicBezTo>
                  <a:pt x="661" y="62"/>
                  <a:pt x="661" y="62"/>
                  <a:pt x="661" y="62"/>
                </a:cubicBezTo>
                <a:cubicBezTo>
                  <a:pt x="661" y="62"/>
                  <a:pt x="661" y="62"/>
                  <a:pt x="661" y="62"/>
                </a:cubicBezTo>
                <a:cubicBezTo>
                  <a:pt x="661" y="63"/>
                  <a:pt x="661" y="63"/>
                  <a:pt x="661" y="63"/>
                </a:cubicBezTo>
                <a:cubicBezTo>
                  <a:pt x="661" y="63"/>
                  <a:pt x="661" y="63"/>
                  <a:pt x="661" y="63"/>
                </a:cubicBezTo>
                <a:cubicBezTo>
                  <a:pt x="662" y="63"/>
                  <a:pt x="661" y="63"/>
                  <a:pt x="662" y="64"/>
                </a:cubicBezTo>
                <a:cubicBezTo>
                  <a:pt x="662" y="63"/>
                  <a:pt x="662" y="63"/>
                  <a:pt x="662" y="63"/>
                </a:cubicBezTo>
                <a:cubicBezTo>
                  <a:pt x="662" y="64"/>
                  <a:pt x="662" y="64"/>
                  <a:pt x="662" y="64"/>
                </a:cubicBezTo>
                <a:cubicBezTo>
                  <a:pt x="662" y="64"/>
                  <a:pt x="662" y="64"/>
                  <a:pt x="662" y="64"/>
                </a:cubicBezTo>
                <a:cubicBezTo>
                  <a:pt x="662" y="64"/>
                  <a:pt x="662" y="64"/>
                  <a:pt x="662" y="64"/>
                </a:cubicBezTo>
                <a:cubicBezTo>
                  <a:pt x="662" y="64"/>
                  <a:pt x="662" y="64"/>
                  <a:pt x="662" y="64"/>
                </a:cubicBezTo>
                <a:cubicBezTo>
                  <a:pt x="662" y="64"/>
                  <a:pt x="663" y="64"/>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4" y="65"/>
                  <a:pt x="664" y="66"/>
                  <a:pt x="664" y="66"/>
                </a:cubicBezTo>
                <a:cubicBezTo>
                  <a:pt x="664" y="66"/>
                  <a:pt x="664" y="66"/>
                  <a:pt x="664" y="66"/>
                </a:cubicBezTo>
                <a:cubicBezTo>
                  <a:pt x="664" y="66"/>
                  <a:pt x="664" y="66"/>
                  <a:pt x="664" y="66"/>
                </a:cubicBezTo>
                <a:cubicBezTo>
                  <a:pt x="664" y="66"/>
                  <a:pt x="664" y="66"/>
                  <a:pt x="664" y="66"/>
                </a:cubicBezTo>
                <a:cubicBezTo>
                  <a:pt x="664" y="66"/>
                  <a:pt x="664" y="66"/>
                  <a:pt x="665" y="66"/>
                </a:cubicBezTo>
                <a:cubicBezTo>
                  <a:pt x="665" y="66"/>
                  <a:pt x="665" y="66"/>
                  <a:pt x="665" y="66"/>
                </a:cubicBezTo>
                <a:cubicBezTo>
                  <a:pt x="665" y="67"/>
                  <a:pt x="665" y="66"/>
                  <a:pt x="665" y="67"/>
                </a:cubicBezTo>
                <a:cubicBezTo>
                  <a:pt x="665" y="67"/>
                  <a:pt x="665" y="67"/>
                  <a:pt x="665" y="67"/>
                </a:cubicBezTo>
                <a:cubicBezTo>
                  <a:pt x="665" y="67"/>
                  <a:pt x="665" y="67"/>
                  <a:pt x="666" y="67"/>
                </a:cubicBezTo>
                <a:cubicBezTo>
                  <a:pt x="666" y="67"/>
                  <a:pt x="666" y="67"/>
                  <a:pt x="666" y="67"/>
                </a:cubicBezTo>
                <a:cubicBezTo>
                  <a:pt x="666" y="67"/>
                  <a:pt x="666" y="67"/>
                  <a:pt x="666" y="67"/>
                </a:cubicBezTo>
                <a:cubicBezTo>
                  <a:pt x="666" y="67"/>
                  <a:pt x="666" y="67"/>
                  <a:pt x="666" y="67"/>
                </a:cubicBezTo>
                <a:cubicBezTo>
                  <a:pt x="666" y="68"/>
                  <a:pt x="666" y="68"/>
                  <a:pt x="667" y="68"/>
                </a:cubicBezTo>
                <a:cubicBezTo>
                  <a:pt x="667" y="68"/>
                  <a:pt x="667" y="68"/>
                  <a:pt x="667" y="68"/>
                </a:cubicBezTo>
                <a:cubicBezTo>
                  <a:pt x="667" y="68"/>
                  <a:pt x="667" y="68"/>
                  <a:pt x="667" y="68"/>
                </a:cubicBezTo>
                <a:cubicBezTo>
                  <a:pt x="667" y="68"/>
                  <a:pt x="667" y="68"/>
                  <a:pt x="667" y="68"/>
                </a:cubicBezTo>
                <a:cubicBezTo>
                  <a:pt x="667" y="68"/>
                  <a:pt x="667" y="68"/>
                  <a:pt x="668" y="68"/>
                </a:cubicBezTo>
                <a:cubicBezTo>
                  <a:pt x="668" y="68"/>
                  <a:pt x="668" y="68"/>
                  <a:pt x="668" y="68"/>
                </a:cubicBezTo>
                <a:cubicBezTo>
                  <a:pt x="668" y="69"/>
                  <a:pt x="668" y="69"/>
                  <a:pt x="668" y="69"/>
                </a:cubicBezTo>
                <a:cubicBezTo>
                  <a:pt x="668" y="69"/>
                  <a:pt x="668" y="69"/>
                  <a:pt x="668" y="69"/>
                </a:cubicBezTo>
                <a:cubicBezTo>
                  <a:pt x="668" y="69"/>
                  <a:pt x="669" y="69"/>
                  <a:pt x="669" y="69"/>
                </a:cubicBezTo>
                <a:cubicBezTo>
                  <a:pt x="669" y="69"/>
                  <a:pt x="669" y="69"/>
                  <a:pt x="669" y="69"/>
                </a:cubicBezTo>
                <a:cubicBezTo>
                  <a:pt x="669" y="69"/>
                  <a:pt x="669" y="69"/>
                  <a:pt x="669" y="69"/>
                </a:cubicBezTo>
                <a:cubicBezTo>
                  <a:pt x="669" y="69"/>
                  <a:pt x="669" y="69"/>
                  <a:pt x="669" y="69"/>
                </a:cubicBezTo>
                <a:cubicBezTo>
                  <a:pt x="670" y="70"/>
                  <a:pt x="670" y="70"/>
                  <a:pt x="670" y="70"/>
                </a:cubicBezTo>
                <a:cubicBezTo>
                  <a:pt x="670" y="70"/>
                  <a:pt x="670" y="70"/>
                  <a:pt x="670" y="70"/>
                </a:cubicBezTo>
                <a:cubicBezTo>
                  <a:pt x="670" y="70"/>
                  <a:pt x="671" y="70"/>
                  <a:pt x="671" y="70"/>
                </a:cubicBezTo>
                <a:cubicBezTo>
                  <a:pt x="671" y="70"/>
                  <a:pt x="671" y="70"/>
                  <a:pt x="671" y="70"/>
                </a:cubicBezTo>
                <a:cubicBezTo>
                  <a:pt x="671" y="70"/>
                  <a:pt x="671" y="70"/>
                  <a:pt x="671" y="71"/>
                </a:cubicBezTo>
                <a:cubicBezTo>
                  <a:pt x="671" y="71"/>
                  <a:pt x="671" y="71"/>
                  <a:pt x="671" y="71"/>
                </a:cubicBezTo>
                <a:cubicBezTo>
                  <a:pt x="672" y="71"/>
                  <a:pt x="672" y="71"/>
                  <a:pt x="672" y="71"/>
                </a:cubicBezTo>
                <a:cubicBezTo>
                  <a:pt x="672" y="71"/>
                  <a:pt x="672" y="71"/>
                  <a:pt x="672" y="71"/>
                </a:cubicBezTo>
                <a:cubicBezTo>
                  <a:pt x="672" y="71"/>
                  <a:pt x="673" y="71"/>
                  <a:pt x="673" y="71"/>
                </a:cubicBezTo>
                <a:cubicBezTo>
                  <a:pt x="673" y="71"/>
                  <a:pt x="673" y="71"/>
                  <a:pt x="673" y="71"/>
                </a:cubicBezTo>
                <a:cubicBezTo>
                  <a:pt x="673" y="71"/>
                  <a:pt x="673" y="71"/>
                  <a:pt x="674" y="72"/>
                </a:cubicBezTo>
                <a:cubicBezTo>
                  <a:pt x="674" y="72"/>
                  <a:pt x="674" y="72"/>
                  <a:pt x="674" y="72"/>
                </a:cubicBezTo>
                <a:cubicBezTo>
                  <a:pt x="674" y="72"/>
                  <a:pt x="674" y="72"/>
                  <a:pt x="674" y="72"/>
                </a:cubicBezTo>
                <a:cubicBezTo>
                  <a:pt x="674" y="72"/>
                  <a:pt x="674" y="72"/>
                  <a:pt x="674" y="72"/>
                </a:cubicBezTo>
                <a:cubicBezTo>
                  <a:pt x="675" y="72"/>
                  <a:pt x="675" y="72"/>
                  <a:pt x="675" y="72"/>
                </a:cubicBezTo>
                <a:cubicBezTo>
                  <a:pt x="675" y="72"/>
                  <a:pt x="675" y="72"/>
                  <a:pt x="675" y="72"/>
                </a:cubicBezTo>
                <a:cubicBezTo>
                  <a:pt x="675" y="72"/>
                  <a:pt x="675" y="72"/>
                  <a:pt x="675" y="72"/>
                </a:cubicBezTo>
                <a:cubicBezTo>
                  <a:pt x="675" y="72"/>
                  <a:pt x="676" y="72"/>
                  <a:pt x="676" y="73"/>
                </a:cubicBezTo>
                <a:cubicBezTo>
                  <a:pt x="676" y="73"/>
                  <a:pt x="676" y="73"/>
                  <a:pt x="676" y="73"/>
                </a:cubicBezTo>
                <a:cubicBezTo>
                  <a:pt x="676" y="73"/>
                  <a:pt x="676" y="73"/>
                  <a:pt x="677" y="73"/>
                </a:cubicBezTo>
                <a:cubicBezTo>
                  <a:pt x="677" y="73"/>
                  <a:pt x="677" y="73"/>
                  <a:pt x="677" y="73"/>
                </a:cubicBezTo>
                <a:cubicBezTo>
                  <a:pt x="677" y="73"/>
                  <a:pt x="677" y="73"/>
                  <a:pt x="677" y="73"/>
                </a:cubicBezTo>
                <a:cubicBezTo>
                  <a:pt x="677" y="73"/>
                  <a:pt x="677" y="73"/>
                  <a:pt x="677" y="73"/>
                </a:cubicBezTo>
                <a:cubicBezTo>
                  <a:pt x="678" y="74"/>
                  <a:pt x="678" y="73"/>
                  <a:pt x="678" y="74"/>
                </a:cubicBezTo>
                <a:cubicBezTo>
                  <a:pt x="678" y="74"/>
                  <a:pt x="678" y="74"/>
                  <a:pt x="678" y="74"/>
                </a:cubicBezTo>
                <a:cubicBezTo>
                  <a:pt x="678" y="74"/>
                  <a:pt x="679" y="74"/>
                  <a:pt x="679" y="74"/>
                </a:cubicBezTo>
                <a:cubicBezTo>
                  <a:pt x="679" y="74"/>
                  <a:pt x="679" y="74"/>
                  <a:pt x="679" y="74"/>
                </a:cubicBezTo>
                <a:cubicBezTo>
                  <a:pt x="679" y="74"/>
                  <a:pt x="679" y="74"/>
                  <a:pt x="679" y="74"/>
                </a:cubicBezTo>
                <a:cubicBezTo>
                  <a:pt x="679" y="74"/>
                  <a:pt x="679" y="74"/>
                  <a:pt x="679" y="74"/>
                </a:cubicBezTo>
                <a:cubicBezTo>
                  <a:pt x="680" y="75"/>
                  <a:pt x="680" y="75"/>
                  <a:pt x="680" y="75"/>
                </a:cubicBezTo>
                <a:cubicBezTo>
                  <a:pt x="680" y="75"/>
                  <a:pt x="680" y="75"/>
                  <a:pt x="680" y="75"/>
                </a:cubicBezTo>
                <a:cubicBezTo>
                  <a:pt x="680" y="75"/>
                  <a:pt x="681" y="75"/>
                  <a:pt x="681" y="75"/>
                </a:cubicBezTo>
                <a:cubicBezTo>
                  <a:pt x="681" y="75"/>
                  <a:pt x="681" y="75"/>
                  <a:pt x="681" y="75"/>
                </a:cubicBezTo>
                <a:cubicBezTo>
                  <a:pt x="681" y="75"/>
                  <a:pt x="681" y="75"/>
                  <a:pt x="682" y="75"/>
                </a:cubicBezTo>
                <a:cubicBezTo>
                  <a:pt x="682" y="75"/>
                  <a:pt x="682" y="75"/>
                  <a:pt x="682" y="75"/>
                </a:cubicBezTo>
                <a:cubicBezTo>
                  <a:pt x="682" y="76"/>
                  <a:pt x="682" y="76"/>
                  <a:pt x="682" y="76"/>
                </a:cubicBezTo>
                <a:cubicBezTo>
                  <a:pt x="682" y="76"/>
                  <a:pt x="682" y="76"/>
                  <a:pt x="682" y="76"/>
                </a:cubicBezTo>
                <a:cubicBezTo>
                  <a:pt x="682" y="76"/>
                  <a:pt x="682" y="76"/>
                  <a:pt x="683" y="76"/>
                </a:cubicBezTo>
                <a:cubicBezTo>
                  <a:pt x="683" y="76"/>
                  <a:pt x="683" y="76"/>
                  <a:pt x="683" y="76"/>
                </a:cubicBezTo>
                <a:cubicBezTo>
                  <a:pt x="683" y="76"/>
                  <a:pt x="683" y="76"/>
                  <a:pt x="683" y="76"/>
                </a:cubicBezTo>
                <a:cubicBezTo>
                  <a:pt x="683" y="76"/>
                  <a:pt x="683" y="76"/>
                  <a:pt x="683" y="76"/>
                </a:cubicBezTo>
                <a:cubicBezTo>
                  <a:pt x="683" y="77"/>
                  <a:pt x="684" y="77"/>
                  <a:pt x="684" y="77"/>
                </a:cubicBezTo>
                <a:cubicBezTo>
                  <a:pt x="684" y="77"/>
                  <a:pt x="684" y="77"/>
                  <a:pt x="684" y="77"/>
                </a:cubicBezTo>
                <a:cubicBezTo>
                  <a:pt x="684" y="77"/>
                  <a:pt x="684" y="77"/>
                  <a:pt x="684" y="77"/>
                </a:cubicBezTo>
                <a:cubicBezTo>
                  <a:pt x="684" y="77"/>
                  <a:pt x="684" y="77"/>
                  <a:pt x="684" y="77"/>
                </a:cubicBezTo>
                <a:cubicBezTo>
                  <a:pt x="684" y="77"/>
                  <a:pt x="685" y="77"/>
                  <a:pt x="685" y="77"/>
                </a:cubicBezTo>
                <a:cubicBezTo>
                  <a:pt x="685" y="77"/>
                  <a:pt x="685" y="77"/>
                  <a:pt x="685" y="77"/>
                </a:cubicBezTo>
                <a:cubicBezTo>
                  <a:pt x="685" y="78"/>
                  <a:pt x="685" y="78"/>
                  <a:pt x="686" y="78"/>
                </a:cubicBezTo>
                <a:cubicBezTo>
                  <a:pt x="686" y="78"/>
                  <a:pt x="686" y="78"/>
                  <a:pt x="686" y="78"/>
                </a:cubicBezTo>
                <a:cubicBezTo>
                  <a:pt x="686" y="78"/>
                  <a:pt x="686" y="78"/>
                  <a:pt x="686" y="79"/>
                </a:cubicBezTo>
                <a:cubicBezTo>
                  <a:pt x="686" y="79"/>
                  <a:pt x="686" y="79"/>
                  <a:pt x="686" y="79"/>
                </a:cubicBezTo>
                <a:cubicBezTo>
                  <a:pt x="686" y="79"/>
                  <a:pt x="686" y="79"/>
                  <a:pt x="686" y="79"/>
                </a:cubicBezTo>
                <a:cubicBezTo>
                  <a:pt x="686" y="79"/>
                  <a:pt x="686" y="79"/>
                  <a:pt x="686" y="79"/>
                </a:cubicBezTo>
                <a:cubicBezTo>
                  <a:pt x="687" y="79"/>
                  <a:pt x="687" y="79"/>
                  <a:pt x="687" y="79"/>
                </a:cubicBezTo>
                <a:cubicBezTo>
                  <a:pt x="687" y="79"/>
                  <a:pt x="687" y="79"/>
                  <a:pt x="687" y="79"/>
                </a:cubicBezTo>
                <a:cubicBezTo>
                  <a:pt x="687" y="79"/>
                  <a:pt x="687" y="80"/>
                  <a:pt x="687" y="80"/>
                </a:cubicBezTo>
                <a:cubicBezTo>
                  <a:pt x="687" y="80"/>
                  <a:pt x="687" y="80"/>
                  <a:pt x="687" y="80"/>
                </a:cubicBezTo>
                <a:cubicBezTo>
                  <a:pt x="687" y="80"/>
                  <a:pt x="687" y="80"/>
                  <a:pt x="687" y="80"/>
                </a:cubicBezTo>
                <a:cubicBezTo>
                  <a:pt x="688" y="80"/>
                  <a:pt x="688" y="80"/>
                  <a:pt x="688" y="80"/>
                </a:cubicBezTo>
                <a:cubicBezTo>
                  <a:pt x="688" y="80"/>
                  <a:pt x="688" y="80"/>
                  <a:pt x="688" y="80"/>
                </a:cubicBezTo>
                <a:cubicBezTo>
                  <a:pt x="688" y="81"/>
                  <a:pt x="688" y="81"/>
                  <a:pt x="688" y="81"/>
                </a:cubicBezTo>
                <a:cubicBezTo>
                  <a:pt x="688" y="81"/>
                  <a:pt x="688" y="81"/>
                  <a:pt x="688" y="81"/>
                </a:cubicBezTo>
                <a:cubicBezTo>
                  <a:pt x="688" y="81"/>
                  <a:pt x="688" y="82"/>
                  <a:pt x="688" y="82"/>
                </a:cubicBezTo>
                <a:cubicBezTo>
                  <a:pt x="688" y="82"/>
                  <a:pt x="688" y="82"/>
                  <a:pt x="688" y="82"/>
                </a:cubicBezTo>
                <a:cubicBezTo>
                  <a:pt x="688" y="84"/>
                  <a:pt x="688" y="85"/>
                  <a:pt x="688" y="87"/>
                </a:cubicBezTo>
                <a:cubicBezTo>
                  <a:pt x="688" y="87"/>
                  <a:pt x="688" y="87"/>
                  <a:pt x="688" y="87"/>
                </a:cubicBezTo>
                <a:cubicBezTo>
                  <a:pt x="688" y="87"/>
                  <a:pt x="688" y="88"/>
                  <a:pt x="688" y="88"/>
                </a:cubicBezTo>
                <a:cubicBezTo>
                  <a:pt x="688" y="88"/>
                  <a:pt x="688" y="88"/>
                  <a:pt x="688" y="88"/>
                </a:cubicBezTo>
                <a:cubicBezTo>
                  <a:pt x="688" y="88"/>
                  <a:pt x="688" y="88"/>
                  <a:pt x="688" y="88"/>
                </a:cubicBezTo>
                <a:cubicBezTo>
                  <a:pt x="688" y="88"/>
                  <a:pt x="688" y="89"/>
                  <a:pt x="687" y="89"/>
                </a:cubicBezTo>
                <a:cubicBezTo>
                  <a:pt x="687" y="89"/>
                  <a:pt x="687" y="89"/>
                  <a:pt x="687" y="89"/>
                </a:cubicBezTo>
                <a:cubicBezTo>
                  <a:pt x="687" y="89"/>
                  <a:pt x="687" y="89"/>
                  <a:pt x="687" y="89"/>
                </a:cubicBezTo>
                <a:cubicBezTo>
                  <a:pt x="687" y="89"/>
                  <a:pt x="687" y="89"/>
                  <a:pt x="687" y="89"/>
                </a:cubicBezTo>
                <a:cubicBezTo>
                  <a:pt x="687" y="89"/>
                  <a:pt x="687" y="90"/>
                  <a:pt x="687" y="90"/>
                </a:cubicBezTo>
                <a:cubicBezTo>
                  <a:pt x="687" y="90"/>
                  <a:pt x="687" y="90"/>
                  <a:pt x="687" y="90"/>
                </a:cubicBezTo>
                <a:cubicBezTo>
                  <a:pt x="687" y="90"/>
                  <a:pt x="687" y="90"/>
                  <a:pt x="686" y="90"/>
                </a:cubicBezTo>
                <a:cubicBezTo>
                  <a:pt x="686" y="90"/>
                  <a:pt x="686" y="90"/>
                  <a:pt x="686" y="90"/>
                </a:cubicBezTo>
                <a:cubicBezTo>
                  <a:pt x="686" y="90"/>
                  <a:pt x="686" y="91"/>
                  <a:pt x="686" y="91"/>
                </a:cubicBezTo>
                <a:cubicBezTo>
                  <a:pt x="686" y="91"/>
                  <a:pt x="686" y="91"/>
                  <a:pt x="686" y="91"/>
                </a:cubicBezTo>
                <a:cubicBezTo>
                  <a:pt x="686" y="91"/>
                  <a:pt x="686" y="91"/>
                  <a:pt x="686" y="91"/>
                </a:cubicBezTo>
                <a:cubicBezTo>
                  <a:pt x="686" y="91"/>
                  <a:pt x="686" y="91"/>
                  <a:pt x="686" y="91"/>
                </a:cubicBezTo>
                <a:cubicBezTo>
                  <a:pt x="686" y="91"/>
                  <a:pt x="685" y="91"/>
                  <a:pt x="685" y="91"/>
                </a:cubicBezTo>
                <a:cubicBezTo>
                  <a:pt x="685" y="91"/>
                  <a:pt x="685" y="91"/>
                  <a:pt x="685" y="91"/>
                </a:cubicBezTo>
                <a:cubicBezTo>
                  <a:pt x="685" y="92"/>
                  <a:pt x="685" y="92"/>
                  <a:pt x="685" y="92"/>
                </a:cubicBezTo>
                <a:cubicBezTo>
                  <a:pt x="685" y="92"/>
                  <a:pt x="685" y="92"/>
                  <a:pt x="685" y="92"/>
                </a:cubicBezTo>
                <a:cubicBezTo>
                  <a:pt x="685" y="92"/>
                  <a:pt x="684" y="92"/>
                  <a:pt x="684" y="92"/>
                </a:cubicBezTo>
                <a:cubicBezTo>
                  <a:pt x="684" y="92"/>
                  <a:pt x="684" y="92"/>
                  <a:pt x="684" y="92"/>
                </a:cubicBezTo>
                <a:cubicBezTo>
                  <a:pt x="684" y="92"/>
                  <a:pt x="684" y="92"/>
                  <a:pt x="684" y="92"/>
                </a:cubicBezTo>
                <a:cubicBezTo>
                  <a:pt x="684" y="93"/>
                  <a:pt x="684" y="93"/>
                  <a:pt x="684" y="93"/>
                </a:cubicBezTo>
                <a:cubicBezTo>
                  <a:pt x="683" y="93"/>
                  <a:pt x="683" y="93"/>
                  <a:pt x="683" y="93"/>
                </a:cubicBezTo>
                <a:cubicBezTo>
                  <a:pt x="683" y="93"/>
                  <a:pt x="683" y="93"/>
                  <a:pt x="683" y="93"/>
                </a:cubicBezTo>
                <a:cubicBezTo>
                  <a:pt x="683" y="93"/>
                  <a:pt x="683" y="93"/>
                  <a:pt x="683" y="93"/>
                </a:cubicBezTo>
                <a:cubicBezTo>
                  <a:pt x="682" y="93"/>
                  <a:pt x="682" y="93"/>
                  <a:pt x="682" y="93"/>
                </a:cubicBezTo>
                <a:cubicBezTo>
                  <a:pt x="681" y="93"/>
                  <a:pt x="681" y="93"/>
                  <a:pt x="681" y="93"/>
                </a:cubicBezTo>
                <a:cubicBezTo>
                  <a:pt x="681" y="93"/>
                  <a:pt x="681" y="93"/>
                  <a:pt x="681" y="93"/>
                </a:cubicBezTo>
                <a:cubicBezTo>
                  <a:pt x="681" y="93"/>
                  <a:pt x="680" y="93"/>
                  <a:pt x="680" y="94"/>
                </a:cubicBezTo>
                <a:cubicBezTo>
                  <a:pt x="680" y="94"/>
                  <a:pt x="680" y="94"/>
                  <a:pt x="680" y="94"/>
                </a:cubicBezTo>
                <a:cubicBezTo>
                  <a:pt x="677" y="94"/>
                  <a:pt x="675" y="94"/>
                  <a:pt x="672" y="94"/>
                </a:cubicBezTo>
                <a:cubicBezTo>
                  <a:pt x="672" y="94"/>
                  <a:pt x="672" y="94"/>
                  <a:pt x="672" y="93"/>
                </a:cubicBezTo>
                <a:cubicBezTo>
                  <a:pt x="671" y="93"/>
                  <a:pt x="671" y="93"/>
                  <a:pt x="670" y="93"/>
                </a:cubicBezTo>
                <a:cubicBezTo>
                  <a:pt x="670" y="93"/>
                  <a:pt x="670" y="93"/>
                  <a:pt x="670" y="93"/>
                </a:cubicBezTo>
                <a:cubicBezTo>
                  <a:pt x="670" y="93"/>
                  <a:pt x="670" y="93"/>
                  <a:pt x="670" y="93"/>
                </a:cubicBezTo>
                <a:cubicBezTo>
                  <a:pt x="670" y="93"/>
                  <a:pt x="669" y="93"/>
                  <a:pt x="669" y="93"/>
                </a:cubicBezTo>
                <a:cubicBezTo>
                  <a:pt x="669" y="93"/>
                  <a:pt x="669" y="93"/>
                  <a:pt x="669" y="93"/>
                </a:cubicBezTo>
                <a:cubicBezTo>
                  <a:pt x="669" y="93"/>
                  <a:pt x="669" y="93"/>
                  <a:pt x="669" y="93"/>
                </a:cubicBezTo>
                <a:cubicBezTo>
                  <a:pt x="668" y="93"/>
                  <a:pt x="668" y="93"/>
                  <a:pt x="668" y="92"/>
                </a:cubicBezTo>
                <a:cubicBezTo>
                  <a:pt x="668" y="92"/>
                  <a:pt x="668" y="92"/>
                  <a:pt x="668" y="92"/>
                </a:cubicBezTo>
                <a:cubicBezTo>
                  <a:pt x="667" y="92"/>
                  <a:pt x="667" y="92"/>
                  <a:pt x="667" y="92"/>
                </a:cubicBezTo>
                <a:cubicBezTo>
                  <a:pt x="667" y="92"/>
                  <a:pt x="667" y="92"/>
                  <a:pt x="667" y="92"/>
                </a:cubicBezTo>
                <a:cubicBezTo>
                  <a:pt x="666" y="92"/>
                  <a:pt x="666" y="92"/>
                  <a:pt x="666" y="92"/>
                </a:cubicBezTo>
                <a:cubicBezTo>
                  <a:pt x="666" y="92"/>
                  <a:pt x="666" y="92"/>
                  <a:pt x="666" y="92"/>
                </a:cubicBezTo>
                <a:cubicBezTo>
                  <a:pt x="665" y="92"/>
                  <a:pt x="665" y="92"/>
                  <a:pt x="665" y="91"/>
                </a:cubicBezTo>
                <a:cubicBezTo>
                  <a:pt x="665" y="91"/>
                  <a:pt x="665" y="91"/>
                  <a:pt x="665" y="91"/>
                </a:cubicBezTo>
                <a:cubicBezTo>
                  <a:pt x="665" y="91"/>
                  <a:pt x="664" y="91"/>
                  <a:pt x="664" y="91"/>
                </a:cubicBezTo>
                <a:cubicBezTo>
                  <a:pt x="664" y="91"/>
                  <a:pt x="664" y="91"/>
                  <a:pt x="664" y="91"/>
                </a:cubicBezTo>
                <a:cubicBezTo>
                  <a:pt x="664" y="91"/>
                  <a:pt x="664" y="91"/>
                  <a:pt x="663" y="91"/>
                </a:cubicBezTo>
                <a:cubicBezTo>
                  <a:pt x="663" y="91"/>
                  <a:pt x="663" y="91"/>
                  <a:pt x="663" y="91"/>
                </a:cubicBezTo>
                <a:cubicBezTo>
                  <a:pt x="663" y="91"/>
                  <a:pt x="663" y="91"/>
                  <a:pt x="663" y="90"/>
                </a:cubicBezTo>
                <a:cubicBezTo>
                  <a:pt x="663" y="90"/>
                  <a:pt x="663" y="90"/>
                  <a:pt x="663" y="90"/>
                </a:cubicBezTo>
                <a:cubicBezTo>
                  <a:pt x="663" y="90"/>
                  <a:pt x="662" y="90"/>
                  <a:pt x="662" y="90"/>
                </a:cubicBezTo>
                <a:cubicBezTo>
                  <a:pt x="662" y="90"/>
                  <a:pt x="662" y="90"/>
                  <a:pt x="662" y="90"/>
                </a:cubicBezTo>
                <a:cubicBezTo>
                  <a:pt x="662" y="90"/>
                  <a:pt x="662" y="90"/>
                  <a:pt x="662" y="90"/>
                </a:cubicBezTo>
                <a:cubicBezTo>
                  <a:pt x="662" y="90"/>
                  <a:pt x="662" y="90"/>
                  <a:pt x="662" y="90"/>
                </a:cubicBezTo>
                <a:cubicBezTo>
                  <a:pt x="662" y="89"/>
                  <a:pt x="661" y="90"/>
                  <a:pt x="661" y="89"/>
                </a:cubicBezTo>
                <a:cubicBezTo>
                  <a:pt x="661" y="89"/>
                  <a:pt x="661" y="89"/>
                  <a:pt x="661" y="89"/>
                </a:cubicBezTo>
                <a:cubicBezTo>
                  <a:pt x="661" y="89"/>
                  <a:pt x="661" y="89"/>
                  <a:pt x="661" y="89"/>
                </a:cubicBezTo>
                <a:cubicBezTo>
                  <a:pt x="661" y="89"/>
                  <a:pt x="661" y="89"/>
                  <a:pt x="661" y="89"/>
                </a:cubicBezTo>
                <a:cubicBezTo>
                  <a:pt x="660" y="89"/>
                  <a:pt x="660" y="89"/>
                  <a:pt x="660" y="88"/>
                </a:cubicBezTo>
                <a:cubicBezTo>
                  <a:pt x="660" y="88"/>
                  <a:pt x="660" y="88"/>
                  <a:pt x="660" y="88"/>
                </a:cubicBezTo>
                <a:cubicBezTo>
                  <a:pt x="659" y="88"/>
                  <a:pt x="659" y="88"/>
                  <a:pt x="659" y="88"/>
                </a:cubicBezTo>
                <a:cubicBezTo>
                  <a:pt x="659" y="88"/>
                  <a:pt x="659" y="88"/>
                  <a:pt x="659" y="88"/>
                </a:cubicBezTo>
                <a:cubicBezTo>
                  <a:pt x="659" y="88"/>
                  <a:pt x="659" y="87"/>
                  <a:pt x="658" y="88"/>
                </a:cubicBezTo>
                <a:cubicBezTo>
                  <a:pt x="658" y="91"/>
                  <a:pt x="658" y="95"/>
                  <a:pt x="658" y="99"/>
                </a:cubicBezTo>
                <a:cubicBezTo>
                  <a:pt x="658" y="99"/>
                  <a:pt x="658" y="99"/>
                  <a:pt x="659" y="99"/>
                </a:cubicBezTo>
                <a:cubicBezTo>
                  <a:pt x="659" y="99"/>
                  <a:pt x="659" y="99"/>
                  <a:pt x="659" y="99"/>
                </a:cubicBezTo>
                <a:cubicBezTo>
                  <a:pt x="659" y="100"/>
                  <a:pt x="659" y="100"/>
                  <a:pt x="659" y="100"/>
                </a:cubicBezTo>
                <a:cubicBezTo>
                  <a:pt x="659" y="100"/>
                  <a:pt x="659" y="100"/>
                  <a:pt x="659" y="100"/>
                </a:cubicBezTo>
                <a:cubicBezTo>
                  <a:pt x="659" y="100"/>
                  <a:pt x="660" y="100"/>
                  <a:pt x="660" y="100"/>
                </a:cubicBezTo>
                <a:cubicBezTo>
                  <a:pt x="660" y="100"/>
                  <a:pt x="660" y="100"/>
                  <a:pt x="660" y="100"/>
                </a:cubicBezTo>
                <a:cubicBezTo>
                  <a:pt x="660" y="100"/>
                  <a:pt x="661" y="100"/>
                  <a:pt x="661" y="100"/>
                </a:cubicBezTo>
                <a:cubicBezTo>
                  <a:pt x="661" y="100"/>
                  <a:pt x="661" y="100"/>
                  <a:pt x="661" y="100"/>
                </a:cubicBezTo>
                <a:cubicBezTo>
                  <a:pt x="661" y="101"/>
                  <a:pt x="661" y="101"/>
                  <a:pt x="661" y="101"/>
                </a:cubicBezTo>
                <a:cubicBezTo>
                  <a:pt x="661" y="101"/>
                  <a:pt x="662" y="101"/>
                  <a:pt x="662" y="101"/>
                </a:cubicBezTo>
                <a:cubicBezTo>
                  <a:pt x="662" y="101"/>
                  <a:pt x="662" y="101"/>
                  <a:pt x="662" y="101"/>
                </a:cubicBezTo>
                <a:cubicBezTo>
                  <a:pt x="662" y="101"/>
                  <a:pt x="662" y="101"/>
                  <a:pt x="662" y="101"/>
                </a:cubicBezTo>
                <a:cubicBezTo>
                  <a:pt x="663" y="101"/>
                  <a:pt x="663" y="101"/>
                  <a:pt x="663" y="101"/>
                </a:cubicBezTo>
                <a:cubicBezTo>
                  <a:pt x="663" y="101"/>
                  <a:pt x="663" y="101"/>
                  <a:pt x="663" y="101"/>
                </a:cubicBezTo>
                <a:cubicBezTo>
                  <a:pt x="663" y="101"/>
                  <a:pt x="663" y="101"/>
                  <a:pt x="663" y="101"/>
                </a:cubicBezTo>
                <a:cubicBezTo>
                  <a:pt x="663" y="101"/>
                  <a:pt x="663" y="101"/>
                  <a:pt x="663" y="101"/>
                </a:cubicBezTo>
                <a:cubicBezTo>
                  <a:pt x="664" y="102"/>
                  <a:pt x="664" y="102"/>
                  <a:pt x="665" y="102"/>
                </a:cubicBezTo>
                <a:cubicBezTo>
                  <a:pt x="665" y="102"/>
                  <a:pt x="665" y="102"/>
                  <a:pt x="665" y="102"/>
                </a:cubicBezTo>
                <a:cubicBezTo>
                  <a:pt x="665" y="102"/>
                  <a:pt x="665" y="102"/>
                  <a:pt x="665" y="102"/>
                </a:cubicBezTo>
                <a:cubicBezTo>
                  <a:pt x="665" y="102"/>
                  <a:pt x="666" y="102"/>
                  <a:pt x="666" y="102"/>
                </a:cubicBezTo>
                <a:cubicBezTo>
                  <a:pt x="666" y="102"/>
                  <a:pt x="666" y="102"/>
                  <a:pt x="666" y="102"/>
                </a:cubicBezTo>
                <a:cubicBezTo>
                  <a:pt x="666" y="102"/>
                  <a:pt x="666" y="102"/>
                  <a:pt x="666" y="102"/>
                </a:cubicBezTo>
                <a:cubicBezTo>
                  <a:pt x="667" y="102"/>
                  <a:pt x="667" y="102"/>
                  <a:pt x="667" y="103"/>
                </a:cubicBezTo>
                <a:cubicBezTo>
                  <a:pt x="668" y="102"/>
                  <a:pt x="668" y="102"/>
                  <a:pt x="668" y="102"/>
                </a:cubicBezTo>
                <a:cubicBezTo>
                  <a:pt x="668" y="103"/>
                  <a:pt x="668" y="103"/>
                  <a:pt x="668" y="103"/>
                </a:cubicBezTo>
                <a:cubicBezTo>
                  <a:pt x="668" y="103"/>
                  <a:pt x="669" y="103"/>
                  <a:pt x="669" y="103"/>
                </a:cubicBezTo>
                <a:cubicBezTo>
                  <a:pt x="670" y="103"/>
                  <a:pt x="670" y="103"/>
                  <a:pt x="670" y="103"/>
                </a:cubicBezTo>
                <a:cubicBezTo>
                  <a:pt x="671" y="103"/>
                  <a:pt x="672" y="103"/>
                  <a:pt x="673" y="103"/>
                </a:cubicBezTo>
                <a:cubicBezTo>
                  <a:pt x="674" y="103"/>
                  <a:pt x="675" y="103"/>
                  <a:pt x="676" y="103"/>
                </a:cubicBezTo>
                <a:cubicBezTo>
                  <a:pt x="678" y="103"/>
                  <a:pt x="679" y="103"/>
                  <a:pt x="680" y="103"/>
                </a:cubicBezTo>
                <a:cubicBezTo>
                  <a:pt x="680" y="103"/>
                  <a:pt x="680" y="103"/>
                  <a:pt x="681" y="103"/>
                </a:cubicBezTo>
                <a:cubicBezTo>
                  <a:pt x="681" y="103"/>
                  <a:pt x="682" y="103"/>
                  <a:pt x="682" y="103"/>
                </a:cubicBezTo>
                <a:cubicBezTo>
                  <a:pt x="682" y="102"/>
                  <a:pt x="682" y="102"/>
                  <a:pt x="682" y="102"/>
                </a:cubicBezTo>
                <a:cubicBezTo>
                  <a:pt x="683" y="103"/>
                  <a:pt x="683" y="103"/>
                  <a:pt x="683" y="103"/>
                </a:cubicBezTo>
                <a:cubicBezTo>
                  <a:pt x="683" y="102"/>
                  <a:pt x="684" y="103"/>
                  <a:pt x="684" y="102"/>
                </a:cubicBezTo>
                <a:cubicBezTo>
                  <a:pt x="684" y="102"/>
                  <a:pt x="684" y="102"/>
                  <a:pt x="684" y="102"/>
                </a:cubicBezTo>
                <a:cubicBezTo>
                  <a:pt x="684" y="102"/>
                  <a:pt x="685" y="102"/>
                  <a:pt x="685" y="102"/>
                </a:cubicBezTo>
                <a:cubicBezTo>
                  <a:pt x="685" y="102"/>
                  <a:pt x="685" y="102"/>
                  <a:pt x="685" y="102"/>
                </a:cubicBezTo>
                <a:cubicBezTo>
                  <a:pt x="685" y="102"/>
                  <a:pt x="685" y="102"/>
                  <a:pt x="685" y="102"/>
                </a:cubicBezTo>
                <a:cubicBezTo>
                  <a:pt x="686" y="102"/>
                  <a:pt x="686" y="102"/>
                  <a:pt x="686" y="102"/>
                </a:cubicBezTo>
                <a:cubicBezTo>
                  <a:pt x="686" y="101"/>
                  <a:pt x="686" y="101"/>
                  <a:pt x="686" y="101"/>
                </a:cubicBezTo>
                <a:cubicBezTo>
                  <a:pt x="686" y="101"/>
                  <a:pt x="686" y="101"/>
                  <a:pt x="686" y="101"/>
                </a:cubicBezTo>
                <a:cubicBezTo>
                  <a:pt x="687" y="101"/>
                  <a:pt x="687" y="101"/>
                  <a:pt x="687" y="101"/>
                </a:cubicBezTo>
                <a:cubicBezTo>
                  <a:pt x="687" y="101"/>
                  <a:pt x="687" y="101"/>
                  <a:pt x="687" y="101"/>
                </a:cubicBezTo>
                <a:cubicBezTo>
                  <a:pt x="687" y="101"/>
                  <a:pt x="688" y="101"/>
                  <a:pt x="688" y="101"/>
                </a:cubicBezTo>
                <a:cubicBezTo>
                  <a:pt x="688" y="101"/>
                  <a:pt x="688" y="101"/>
                  <a:pt x="688" y="101"/>
                </a:cubicBezTo>
                <a:cubicBezTo>
                  <a:pt x="688" y="101"/>
                  <a:pt x="688" y="101"/>
                  <a:pt x="688" y="101"/>
                </a:cubicBezTo>
                <a:cubicBezTo>
                  <a:pt x="688" y="101"/>
                  <a:pt x="689" y="101"/>
                  <a:pt x="689" y="100"/>
                </a:cubicBezTo>
                <a:cubicBezTo>
                  <a:pt x="689" y="100"/>
                  <a:pt x="689" y="100"/>
                  <a:pt x="689" y="100"/>
                </a:cubicBezTo>
                <a:cubicBezTo>
                  <a:pt x="689" y="100"/>
                  <a:pt x="689" y="100"/>
                  <a:pt x="690" y="100"/>
                </a:cubicBezTo>
                <a:cubicBezTo>
                  <a:pt x="689" y="100"/>
                  <a:pt x="689" y="100"/>
                  <a:pt x="689" y="100"/>
                </a:cubicBezTo>
                <a:cubicBezTo>
                  <a:pt x="690" y="100"/>
                  <a:pt x="690" y="100"/>
                  <a:pt x="690" y="100"/>
                </a:cubicBezTo>
                <a:cubicBezTo>
                  <a:pt x="690" y="100"/>
                  <a:pt x="690" y="100"/>
                  <a:pt x="690" y="100"/>
                </a:cubicBezTo>
                <a:cubicBezTo>
                  <a:pt x="690" y="100"/>
                  <a:pt x="690" y="100"/>
                  <a:pt x="690" y="100"/>
                </a:cubicBezTo>
                <a:cubicBezTo>
                  <a:pt x="690" y="100"/>
                  <a:pt x="690" y="100"/>
                  <a:pt x="691" y="99"/>
                </a:cubicBezTo>
                <a:cubicBezTo>
                  <a:pt x="691" y="99"/>
                  <a:pt x="691" y="99"/>
                  <a:pt x="691" y="99"/>
                </a:cubicBezTo>
                <a:cubicBezTo>
                  <a:pt x="691" y="99"/>
                  <a:pt x="691" y="99"/>
                  <a:pt x="691" y="99"/>
                </a:cubicBezTo>
                <a:cubicBezTo>
                  <a:pt x="691" y="99"/>
                  <a:pt x="691" y="99"/>
                  <a:pt x="691" y="99"/>
                </a:cubicBezTo>
                <a:cubicBezTo>
                  <a:pt x="691" y="99"/>
                  <a:pt x="692" y="99"/>
                  <a:pt x="692" y="99"/>
                </a:cubicBezTo>
                <a:cubicBezTo>
                  <a:pt x="692" y="99"/>
                  <a:pt x="692" y="99"/>
                  <a:pt x="692" y="99"/>
                </a:cubicBezTo>
                <a:cubicBezTo>
                  <a:pt x="692" y="99"/>
                  <a:pt x="692" y="99"/>
                  <a:pt x="692" y="98"/>
                </a:cubicBezTo>
                <a:cubicBezTo>
                  <a:pt x="692" y="98"/>
                  <a:pt x="692" y="98"/>
                  <a:pt x="692" y="98"/>
                </a:cubicBezTo>
                <a:cubicBezTo>
                  <a:pt x="692" y="98"/>
                  <a:pt x="693" y="98"/>
                  <a:pt x="693" y="98"/>
                </a:cubicBezTo>
                <a:cubicBezTo>
                  <a:pt x="693" y="98"/>
                  <a:pt x="693" y="98"/>
                  <a:pt x="693" y="98"/>
                </a:cubicBezTo>
                <a:cubicBezTo>
                  <a:pt x="693" y="98"/>
                  <a:pt x="693" y="98"/>
                  <a:pt x="693" y="98"/>
                </a:cubicBezTo>
                <a:cubicBezTo>
                  <a:pt x="693" y="98"/>
                  <a:pt x="693" y="98"/>
                  <a:pt x="693" y="98"/>
                </a:cubicBezTo>
                <a:cubicBezTo>
                  <a:pt x="693" y="97"/>
                  <a:pt x="694" y="97"/>
                  <a:pt x="694" y="97"/>
                </a:cubicBezTo>
                <a:cubicBezTo>
                  <a:pt x="694" y="97"/>
                  <a:pt x="694" y="97"/>
                  <a:pt x="694" y="97"/>
                </a:cubicBezTo>
                <a:cubicBezTo>
                  <a:pt x="695" y="97"/>
                  <a:pt x="695" y="96"/>
                  <a:pt x="695" y="96"/>
                </a:cubicBezTo>
                <a:cubicBezTo>
                  <a:pt x="695" y="96"/>
                  <a:pt x="695" y="96"/>
                  <a:pt x="695" y="96"/>
                </a:cubicBezTo>
                <a:cubicBezTo>
                  <a:pt x="695" y="96"/>
                  <a:pt x="695" y="96"/>
                  <a:pt x="695" y="96"/>
                </a:cubicBezTo>
                <a:cubicBezTo>
                  <a:pt x="695" y="96"/>
                  <a:pt x="695" y="96"/>
                  <a:pt x="695" y="96"/>
                </a:cubicBezTo>
                <a:cubicBezTo>
                  <a:pt x="695" y="96"/>
                  <a:pt x="695" y="95"/>
                  <a:pt x="696" y="95"/>
                </a:cubicBezTo>
                <a:cubicBezTo>
                  <a:pt x="696" y="95"/>
                  <a:pt x="696" y="95"/>
                  <a:pt x="696" y="95"/>
                </a:cubicBezTo>
                <a:cubicBezTo>
                  <a:pt x="696" y="95"/>
                  <a:pt x="696" y="95"/>
                  <a:pt x="696" y="95"/>
                </a:cubicBezTo>
                <a:cubicBezTo>
                  <a:pt x="696" y="95"/>
                  <a:pt x="696" y="95"/>
                  <a:pt x="696" y="95"/>
                </a:cubicBezTo>
                <a:cubicBezTo>
                  <a:pt x="696" y="94"/>
                  <a:pt x="696" y="94"/>
                  <a:pt x="696" y="94"/>
                </a:cubicBezTo>
                <a:cubicBezTo>
                  <a:pt x="696" y="94"/>
                  <a:pt x="696" y="94"/>
                  <a:pt x="696" y="94"/>
                </a:cubicBezTo>
                <a:cubicBezTo>
                  <a:pt x="697" y="94"/>
                  <a:pt x="697" y="94"/>
                  <a:pt x="697" y="94"/>
                </a:cubicBezTo>
                <a:cubicBezTo>
                  <a:pt x="697" y="94"/>
                  <a:pt x="697" y="94"/>
                  <a:pt x="697" y="94"/>
                </a:cubicBezTo>
                <a:cubicBezTo>
                  <a:pt x="697" y="93"/>
                  <a:pt x="697" y="93"/>
                  <a:pt x="697" y="93"/>
                </a:cubicBezTo>
                <a:cubicBezTo>
                  <a:pt x="697" y="93"/>
                  <a:pt x="697" y="93"/>
                  <a:pt x="697" y="93"/>
                </a:cubicBezTo>
                <a:cubicBezTo>
                  <a:pt x="697" y="93"/>
                  <a:pt x="697" y="93"/>
                  <a:pt x="698" y="92"/>
                </a:cubicBezTo>
                <a:cubicBezTo>
                  <a:pt x="698" y="92"/>
                  <a:pt x="698" y="92"/>
                  <a:pt x="698" y="92"/>
                </a:cubicBezTo>
                <a:cubicBezTo>
                  <a:pt x="698" y="92"/>
                  <a:pt x="698" y="92"/>
                  <a:pt x="698" y="92"/>
                </a:cubicBezTo>
                <a:cubicBezTo>
                  <a:pt x="698" y="92"/>
                  <a:pt x="698" y="92"/>
                  <a:pt x="698" y="92"/>
                </a:cubicBezTo>
                <a:cubicBezTo>
                  <a:pt x="698" y="92"/>
                  <a:pt x="698" y="91"/>
                  <a:pt x="698" y="91"/>
                </a:cubicBezTo>
                <a:cubicBezTo>
                  <a:pt x="698" y="91"/>
                  <a:pt x="698" y="91"/>
                  <a:pt x="698" y="91"/>
                </a:cubicBezTo>
                <a:cubicBezTo>
                  <a:pt x="698" y="91"/>
                  <a:pt x="698" y="91"/>
                  <a:pt x="699" y="90"/>
                </a:cubicBezTo>
                <a:cubicBezTo>
                  <a:pt x="699" y="90"/>
                  <a:pt x="699" y="90"/>
                  <a:pt x="699" y="90"/>
                </a:cubicBezTo>
                <a:cubicBezTo>
                  <a:pt x="699" y="90"/>
                  <a:pt x="699" y="90"/>
                  <a:pt x="699" y="90"/>
                </a:cubicBezTo>
                <a:cubicBezTo>
                  <a:pt x="699" y="90"/>
                  <a:pt x="699" y="89"/>
                  <a:pt x="699" y="89"/>
                </a:cubicBezTo>
                <a:cubicBezTo>
                  <a:pt x="699" y="89"/>
                  <a:pt x="699" y="89"/>
                  <a:pt x="699" y="89"/>
                </a:cubicBezTo>
                <a:cubicBezTo>
                  <a:pt x="699" y="89"/>
                  <a:pt x="699" y="88"/>
                  <a:pt x="699" y="88"/>
                </a:cubicBezTo>
                <a:cubicBezTo>
                  <a:pt x="699" y="88"/>
                  <a:pt x="699" y="88"/>
                  <a:pt x="699" y="88"/>
                </a:cubicBezTo>
                <a:cubicBezTo>
                  <a:pt x="700" y="87"/>
                  <a:pt x="699" y="86"/>
                  <a:pt x="700" y="86"/>
                </a:cubicBezTo>
                <a:cubicBezTo>
                  <a:pt x="700" y="85"/>
                  <a:pt x="700" y="85"/>
                  <a:pt x="700" y="85"/>
                </a:cubicBezTo>
                <a:cubicBezTo>
                  <a:pt x="700" y="84"/>
                  <a:pt x="700" y="83"/>
                  <a:pt x="700" y="82"/>
                </a:cubicBezTo>
                <a:cubicBezTo>
                  <a:pt x="700" y="82"/>
                  <a:pt x="699" y="81"/>
                  <a:pt x="700" y="81"/>
                </a:cubicBezTo>
                <a:cubicBezTo>
                  <a:pt x="699" y="81"/>
                  <a:pt x="700" y="80"/>
                  <a:pt x="699" y="79"/>
                </a:cubicBezTo>
                <a:cubicBezTo>
                  <a:pt x="699" y="79"/>
                  <a:pt x="699" y="79"/>
                  <a:pt x="699" y="79"/>
                </a:cubicBezTo>
                <a:cubicBezTo>
                  <a:pt x="699" y="79"/>
                  <a:pt x="699" y="79"/>
                  <a:pt x="699" y="79"/>
                </a:cubicBezTo>
                <a:cubicBezTo>
                  <a:pt x="699" y="79"/>
                  <a:pt x="699" y="78"/>
                  <a:pt x="699" y="78"/>
                </a:cubicBezTo>
                <a:cubicBezTo>
                  <a:pt x="699" y="78"/>
                  <a:pt x="699" y="78"/>
                  <a:pt x="699" y="78"/>
                </a:cubicBezTo>
                <a:cubicBezTo>
                  <a:pt x="699" y="78"/>
                  <a:pt x="699" y="77"/>
                  <a:pt x="699" y="77"/>
                </a:cubicBezTo>
                <a:cubicBezTo>
                  <a:pt x="699" y="77"/>
                  <a:pt x="699" y="77"/>
                  <a:pt x="699" y="77"/>
                </a:cubicBezTo>
                <a:cubicBezTo>
                  <a:pt x="698" y="77"/>
                  <a:pt x="698" y="76"/>
                  <a:pt x="698" y="76"/>
                </a:cubicBezTo>
                <a:cubicBezTo>
                  <a:pt x="698" y="76"/>
                  <a:pt x="698" y="76"/>
                  <a:pt x="698" y="76"/>
                </a:cubicBezTo>
                <a:cubicBezTo>
                  <a:pt x="698" y="76"/>
                  <a:pt x="698" y="76"/>
                  <a:pt x="698" y="76"/>
                </a:cubicBezTo>
                <a:cubicBezTo>
                  <a:pt x="698" y="76"/>
                  <a:pt x="698" y="76"/>
                  <a:pt x="698" y="75"/>
                </a:cubicBezTo>
                <a:cubicBezTo>
                  <a:pt x="698" y="75"/>
                  <a:pt x="698" y="75"/>
                  <a:pt x="698" y="75"/>
                </a:cubicBezTo>
                <a:cubicBezTo>
                  <a:pt x="698" y="75"/>
                  <a:pt x="698" y="75"/>
                  <a:pt x="698" y="75"/>
                </a:cubicBezTo>
                <a:cubicBezTo>
                  <a:pt x="698" y="75"/>
                  <a:pt x="698" y="75"/>
                  <a:pt x="698" y="75"/>
                </a:cubicBezTo>
                <a:cubicBezTo>
                  <a:pt x="698" y="75"/>
                  <a:pt x="698" y="75"/>
                  <a:pt x="698" y="75"/>
                </a:cubicBezTo>
                <a:cubicBezTo>
                  <a:pt x="697" y="75"/>
                  <a:pt x="697" y="74"/>
                  <a:pt x="697" y="74"/>
                </a:cubicBezTo>
                <a:cubicBezTo>
                  <a:pt x="697" y="74"/>
                  <a:pt x="697" y="74"/>
                  <a:pt x="697" y="74"/>
                </a:cubicBezTo>
                <a:cubicBezTo>
                  <a:pt x="697" y="74"/>
                  <a:pt x="697" y="73"/>
                  <a:pt x="697" y="73"/>
                </a:cubicBezTo>
                <a:cubicBezTo>
                  <a:pt x="697" y="73"/>
                  <a:pt x="697" y="73"/>
                  <a:pt x="697" y="73"/>
                </a:cubicBezTo>
                <a:cubicBezTo>
                  <a:pt x="697" y="73"/>
                  <a:pt x="697" y="73"/>
                  <a:pt x="696" y="73"/>
                </a:cubicBezTo>
                <a:cubicBezTo>
                  <a:pt x="696" y="73"/>
                  <a:pt x="696" y="73"/>
                  <a:pt x="696" y="73"/>
                </a:cubicBezTo>
                <a:cubicBezTo>
                  <a:pt x="696" y="73"/>
                  <a:pt x="696" y="73"/>
                  <a:pt x="696" y="73"/>
                </a:cubicBezTo>
                <a:cubicBezTo>
                  <a:pt x="696" y="73"/>
                  <a:pt x="696" y="73"/>
                  <a:pt x="696" y="73"/>
                </a:cubicBezTo>
                <a:cubicBezTo>
                  <a:pt x="695" y="72"/>
                  <a:pt x="695" y="71"/>
                  <a:pt x="694" y="70"/>
                </a:cubicBezTo>
                <a:cubicBezTo>
                  <a:pt x="694" y="70"/>
                  <a:pt x="694" y="70"/>
                  <a:pt x="694" y="70"/>
                </a:cubicBezTo>
                <a:cubicBezTo>
                  <a:pt x="694" y="70"/>
                  <a:pt x="693" y="70"/>
                  <a:pt x="693" y="70"/>
                </a:cubicBezTo>
                <a:cubicBezTo>
                  <a:pt x="693" y="70"/>
                  <a:pt x="693" y="70"/>
                  <a:pt x="693" y="70"/>
                </a:cubicBezTo>
                <a:cubicBezTo>
                  <a:pt x="693" y="70"/>
                  <a:pt x="693" y="70"/>
                  <a:pt x="693" y="70"/>
                </a:cubicBezTo>
                <a:cubicBezTo>
                  <a:pt x="693" y="70"/>
                  <a:pt x="693" y="70"/>
                  <a:pt x="693" y="70"/>
                </a:cubicBezTo>
                <a:cubicBezTo>
                  <a:pt x="693" y="69"/>
                  <a:pt x="692" y="69"/>
                  <a:pt x="692" y="69"/>
                </a:cubicBezTo>
                <a:cubicBezTo>
                  <a:pt x="692" y="69"/>
                  <a:pt x="692" y="69"/>
                  <a:pt x="692" y="69"/>
                </a:cubicBezTo>
                <a:cubicBezTo>
                  <a:pt x="692" y="69"/>
                  <a:pt x="692" y="69"/>
                  <a:pt x="692" y="69"/>
                </a:cubicBezTo>
                <a:cubicBezTo>
                  <a:pt x="692" y="69"/>
                  <a:pt x="692" y="69"/>
                  <a:pt x="692" y="69"/>
                </a:cubicBezTo>
                <a:cubicBezTo>
                  <a:pt x="691" y="68"/>
                  <a:pt x="691" y="68"/>
                  <a:pt x="691" y="68"/>
                </a:cubicBezTo>
                <a:cubicBezTo>
                  <a:pt x="691" y="68"/>
                  <a:pt x="691" y="68"/>
                  <a:pt x="691" y="68"/>
                </a:cubicBezTo>
                <a:cubicBezTo>
                  <a:pt x="691" y="68"/>
                  <a:pt x="691" y="68"/>
                  <a:pt x="690" y="68"/>
                </a:cubicBezTo>
                <a:cubicBezTo>
                  <a:pt x="691" y="68"/>
                  <a:pt x="691" y="68"/>
                  <a:pt x="691" y="68"/>
                </a:cubicBezTo>
                <a:cubicBezTo>
                  <a:pt x="690" y="68"/>
                  <a:pt x="690" y="68"/>
                  <a:pt x="690" y="67"/>
                </a:cubicBezTo>
                <a:cubicBezTo>
                  <a:pt x="690" y="67"/>
                  <a:pt x="690" y="67"/>
                  <a:pt x="690" y="67"/>
                </a:cubicBezTo>
                <a:cubicBezTo>
                  <a:pt x="690" y="67"/>
                  <a:pt x="689" y="67"/>
                  <a:pt x="689" y="67"/>
                </a:cubicBezTo>
                <a:cubicBezTo>
                  <a:pt x="689" y="67"/>
                  <a:pt x="689" y="67"/>
                  <a:pt x="689" y="67"/>
                </a:cubicBezTo>
                <a:cubicBezTo>
                  <a:pt x="689" y="67"/>
                  <a:pt x="689" y="67"/>
                  <a:pt x="689" y="67"/>
                </a:cubicBezTo>
                <a:cubicBezTo>
                  <a:pt x="689" y="67"/>
                  <a:pt x="689" y="67"/>
                  <a:pt x="689" y="67"/>
                </a:cubicBezTo>
                <a:cubicBezTo>
                  <a:pt x="689" y="66"/>
                  <a:pt x="688" y="67"/>
                  <a:pt x="688" y="66"/>
                </a:cubicBezTo>
                <a:cubicBezTo>
                  <a:pt x="688" y="66"/>
                  <a:pt x="688" y="66"/>
                  <a:pt x="688" y="66"/>
                </a:cubicBezTo>
                <a:cubicBezTo>
                  <a:pt x="688" y="66"/>
                  <a:pt x="688" y="66"/>
                  <a:pt x="687" y="66"/>
                </a:cubicBezTo>
                <a:cubicBezTo>
                  <a:pt x="687" y="66"/>
                  <a:pt x="687" y="66"/>
                  <a:pt x="687" y="66"/>
                </a:cubicBezTo>
                <a:cubicBezTo>
                  <a:pt x="687" y="66"/>
                  <a:pt x="687" y="66"/>
                  <a:pt x="687" y="66"/>
                </a:cubicBezTo>
                <a:cubicBezTo>
                  <a:pt x="687" y="66"/>
                  <a:pt x="687" y="66"/>
                  <a:pt x="687" y="66"/>
                </a:cubicBezTo>
                <a:cubicBezTo>
                  <a:pt x="687" y="65"/>
                  <a:pt x="686" y="66"/>
                  <a:pt x="686" y="65"/>
                </a:cubicBezTo>
                <a:cubicBezTo>
                  <a:pt x="686" y="65"/>
                  <a:pt x="686" y="65"/>
                  <a:pt x="686" y="65"/>
                </a:cubicBezTo>
                <a:cubicBezTo>
                  <a:pt x="686" y="65"/>
                  <a:pt x="686" y="65"/>
                  <a:pt x="685" y="65"/>
                </a:cubicBezTo>
                <a:cubicBezTo>
                  <a:pt x="685" y="65"/>
                  <a:pt x="685" y="65"/>
                  <a:pt x="685" y="65"/>
                </a:cubicBezTo>
                <a:cubicBezTo>
                  <a:pt x="685" y="65"/>
                  <a:pt x="685" y="65"/>
                  <a:pt x="685" y="65"/>
                </a:cubicBezTo>
                <a:cubicBezTo>
                  <a:pt x="685" y="65"/>
                  <a:pt x="685" y="65"/>
                  <a:pt x="685" y="65"/>
                </a:cubicBezTo>
                <a:cubicBezTo>
                  <a:pt x="684" y="64"/>
                  <a:pt x="684" y="64"/>
                  <a:pt x="684" y="64"/>
                </a:cubicBezTo>
                <a:cubicBezTo>
                  <a:pt x="684" y="64"/>
                  <a:pt x="684" y="64"/>
                  <a:pt x="684" y="64"/>
                </a:cubicBezTo>
                <a:cubicBezTo>
                  <a:pt x="684" y="64"/>
                  <a:pt x="683" y="64"/>
                  <a:pt x="683" y="64"/>
                </a:cubicBezTo>
                <a:cubicBezTo>
                  <a:pt x="683" y="64"/>
                  <a:pt x="683" y="64"/>
                  <a:pt x="683" y="64"/>
                </a:cubicBezTo>
                <a:cubicBezTo>
                  <a:pt x="683" y="64"/>
                  <a:pt x="683" y="64"/>
                  <a:pt x="683" y="64"/>
                </a:cubicBezTo>
                <a:cubicBezTo>
                  <a:pt x="683" y="64"/>
                  <a:pt x="682" y="64"/>
                  <a:pt x="682" y="64"/>
                </a:cubicBezTo>
                <a:cubicBezTo>
                  <a:pt x="682" y="64"/>
                  <a:pt x="682" y="64"/>
                  <a:pt x="682" y="64"/>
                </a:cubicBezTo>
                <a:cubicBezTo>
                  <a:pt x="682" y="63"/>
                  <a:pt x="682" y="63"/>
                  <a:pt x="681" y="63"/>
                </a:cubicBezTo>
                <a:cubicBezTo>
                  <a:pt x="682" y="63"/>
                  <a:pt x="682" y="63"/>
                  <a:pt x="682" y="63"/>
                </a:cubicBezTo>
                <a:cubicBezTo>
                  <a:pt x="681" y="63"/>
                  <a:pt x="681" y="63"/>
                  <a:pt x="681" y="63"/>
                </a:cubicBezTo>
                <a:cubicBezTo>
                  <a:pt x="681" y="63"/>
                  <a:pt x="681" y="63"/>
                  <a:pt x="681" y="63"/>
                </a:cubicBezTo>
                <a:cubicBezTo>
                  <a:pt x="680" y="63"/>
                  <a:pt x="680" y="63"/>
                  <a:pt x="680" y="63"/>
                </a:cubicBezTo>
                <a:cubicBezTo>
                  <a:pt x="680" y="63"/>
                  <a:pt x="680" y="63"/>
                  <a:pt x="680" y="63"/>
                </a:cubicBezTo>
                <a:close/>
                <a:moveTo>
                  <a:pt x="310" y="98"/>
                </a:moveTo>
                <a:cubicBezTo>
                  <a:pt x="310" y="99"/>
                  <a:pt x="311" y="99"/>
                  <a:pt x="312" y="100"/>
                </a:cubicBezTo>
                <a:cubicBezTo>
                  <a:pt x="316" y="102"/>
                  <a:pt x="321" y="103"/>
                  <a:pt x="326" y="103"/>
                </a:cubicBezTo>
                <a:cubicBezTo>
                  <a:pt x="330" y="103"/>
                  <a:pt x="335" y="103"/>
                  <a:pt x="339" y="101"/>
                </a:cubicBezTo>
                <a:cubicBezTo>
                  <a:pt x="346" y="98"/>
                  <a:pt x="351" y="93"/>
                  <a:pt x="351" y="84"/>
                </a:cubicBezTo>
                <a:cubicBezTo>
                  <a:pt x="352" y="78"/>
                  <a:pt x="350" y="73"/>
                  <a:pt x="345" y="69"/>
                </a:cubicBezTo>
                <a:cubicBezTo>
                  <a:pt x="342" y="68"/>
                  <a:pt x="339" y="66"/>
                  <a:pt x="337" y="65"/>
                </a:cubicBezTo>
                <a:cubicBezTo>
                  <a:pt x="335" y="64"/>
                  <a:pt x="333" y="63"/>
                  <a:pt x="331" y="62"/>
                </a:cubicBezTo>
                <a:cubicBezTo>
                  <a:pt x="328" y="61"/>
                  <a:pt x="326" y="60"/>
                  <a:pt x="325" y="59"/>
                </a:cubicBezTo>
                <a:cubicBezTo>
                  <a:pt x="321" y="56"/>
                  <a:pt x="320" y="49"/>
                  <a:pt x="324" y="45"/>
                </a:cubicBezTo>
                <a:cubicBezTo>
                  <a:pt x="326" y="43"/>
                  <a:pt x="328" y="42"/>
                  <a:pt x="331" y="42"/>
                </a:cubicBezTo>
                <a:cubicBezTo>
                  <a:pt x="337" y="42"/>
                  <a:pt x="342" y="43"/>
                  <a:pt x="347" y="46"/>
                </a:cubicBezTo>
                <a:cubicBezTo>
                  <a:pt x="347" y="46"/>
                  <a:pt x="348" y="46"/>
                  <a:pt x="348" y="46"/>
                </a:cubicBezTo>
                <a:cubicBezTo>
                  <a:pt x="348" y="43"/>
                  <a:pt x="348" y="41"/>
                  <a:pt x="348" y="38"/>
                </a:cubicBezTo>
                <a:cubicBezTo>
                  <a:pt x="348" y="36"/>
                  <a:pt x="348" y="36"/>
                  <a:pt x="347" y="35"/>
                </a:cubicBezTo>
                <a:cubicBezTo>
                  <a:pt x="341" y="33"/>
                  <a:pt x="335" y="32"/>
                  <a:pt x="329" y="33"/>
                </a:cubicBezTo>
                <a:cubicBezTo>
                  <a:pt x="324" y="34"/>
                  <a:pt x="319" y="36"/>
                  <a:pt x="316" y="39"/>
                </a:cubicBezTo>
                <a:cubicBezTo>
                  <a:pt x="312" y="43"/>
                  <a:pt x="310" y="48"/>
                  <a:pt x="310" y="53"/>
                </a:cubicBezTo>
                <a:cubicBezTo>
                  <a:pt x="310" y="60"/>
                  <a:pt x="313" y="64"/>
                  <a:pt x="319" y="68"/>
                </a:cubicBezTo>
                <a:cubicBezTo>
                  <a:pt x="320" y="69"/>
                  <a:pt x="322" y="70"/>
                  <a:pt x="324" y="71"/>
                </a:cubicBezTo>
                <a:cubicBezTo>
                  <a:pt x="326" y="72"/>
                  <a:pt x="329" y="73"/>
                  <a:pt x="332" y="74"/>
                </a:cubicBezTo>
                <a:cubicBezTo>
                  <a:pt x="333" y="75"/>
                  <a:pt x="335" y="76"/>
                  <a:pt x="337" y="78"/>
                </a:cubicBezTo>
                <a:cubicBezTo>
                  <a:pt x="338" y="79"/>
                  <a:pt x="340" y="80"/>
                  <a:pt x="340" y="82"/>
                </a:cubicBezTo>
                <a:cubicBezTo>
                  <a:pt x="341" y="87"/>
                  <a:pt x="340" y="92"/>
                  <a:pt x="334" y="93"/>
                </a:cubicBezTo>
                <a:cubicBezTo>
                  <a:pt x="329" y="94"/>
                  <a:pt x="324" y="94"/>
                  <a:pt x="319" y="93"/>
                </a:cubicBezTo>
                <a:cubicBezTo>
                  <a:pt x="316" y="92"/>
                  <a:pt x="313" y="90"/>
                  <a:pt x="310" y="87"/>
                </a:cubicBezTo>
                <a:cubicBezTo>
                  <a:pt x="310" y="91"/>
                  <a:pt x="310" y="94"/>
                  <a:pt x="310" y="98"/>
                </a:cubicBezTo>
                <a:close/>
                <a:moveTo>
                  <a:pt x="1177" y="95"/>
                </a:moveTo>
                <a:cubicBezTo>
                  <a:pt x="1177" y="95"/>
                  <a:pt x="1177" y="95"/>
                  <a:pt x="1177" y="95"/>
                </a:cubicBezTo>
                <a:cubicBezTo>
                  <a:pt x="1177" y="95"/>
                  <a:pt x="1177" y="95"/>
                  <a:pt x="1177" y="96"/>
                </a:cubicBezTo>
                <a:cubicBezTo>
                  <a:pt x="1177" y="96"/>
                  <a:pt x="1177" y="96"/>
                  <a:pt x="1177" y="96"/>
                </a:cubicBezTo>
                <a:cubicBezTo>
                  <a:pt x="1177" y="96"/>
                  <a:pt x="1177" y="96"/>
                  <a:pt x="1177" y="96"/>
                </a:cubicBezTo>
                <a:cubicBezTo>
                  <a:pt x="1177" y="96"/>
                  <a:pt x="1177" y="96"/>
                  <a:pt x="1177" y="96"/>
                </a:cubicBezTo>
                <a:cubicBezTo>
                  <a:pt x="1177" y="96"/>
                  <a:pt x="1177" y="96"/>
                  <a:pt x="1178" y="97"/>
                </a:cubicBezTo>
                <a:cubicBezTo>
                  <a:pt x="1178" y="97"/>
                  <a:pt x="1178" y="97"/>
                  <a:pt x="1178" y="97"/>
                </a:cubicBezTo>
                <a:cubicBezTo>
                  <a:pt x="1178" y="97"/>
                  <a:pt x="1178" y="97"/>
                  <a:pt x="1178" y="97"/>
                </a:cubicBezTo>
                <a:cubicBezTo>
                  <a:pt x="1178" y="97"/>
                  <a:pt x="1178" y="97"/>
                  <a:pt x="1178" y="97"/>
                </a:cubicBezTo>
                <a:cubicBezTo>
                  <a:pt x="1178" y="97"/>
                  <a:pt x="1178" y="98"/>
                  <a:pt x="1178" y="98"/>
                </a:cubicBezTo>
                <a:cubicBezTo>
                  <a:pt x="1178" y="98"/>
                  <a:pt x="1178" y="98"/>
                  <a:pt x="1178" y="98"/>
                </a:cubicBezTo>
                <a:cubicBezTo>
                  <a:pt x="1178" y="98"/>
                  <a:pt x="1178" y="98"/>
                  <a:pt x="1179" y="98"/>
                </a:cubicBezTo>
                <a:cubicBezTo>
                  <a:pt x="1179" y="98"/>
                  <a:pt x="1179" y="98"/>
                  <a:pt x="1179" y="98"/>
                </a:cubicBezTo>
                <a:cubicBezTo>
                  <a:pt x="1179" y="98"/>
                  <a:pt x="1179" y="98"/>
                  <a:pt x="1179" y="98"/>
                </a:cubicBezTo>
                <a:cubicBezTo>
                  <a:pt x="1179" y="98"/>
                  <a:pt x="1179" y="98"/>
                  <a:pt x="1179" y="98"/>
                </a:cubicBezTo>
                <a:cubicBezTo>
                  <a:pt x="1179" y="98"/>
                  <a:pt x="1179" y="99"/>
                  <a:pt x="1179" y="99"/>
                </a:cubicBezTo>
                <a:cubicBezTo>
                  <a:pt x="1179" y="99"/>
                  <a:pt x="1179" y="99"/>
                  <a:pt x="1179" y="99"/>
                </a:cubicBezTo>
                <a:cubicBezTo>
                  <a:pt x="1179" y="99"/>
                  <a:pt x="1180" y="99"/>
                  <a:pt x="1180" y="99"/>
                </a:cubicBezTo>
                <a:cubicBezTo>
                  <a:pt x="1180" y="99"/>
                  <a:pt x="1180" y="99"/>
                  <a:pt x="1180" y="99"/>
                </a:cubicBezTo>
                <a:cubicBezTo>
                  <a:pt x="1180" y="99"/>
                  <a:pt x="1180" y="99"/>
                  <a:pt x="1180" y="99"/>
                </a:cubicBezTo>
                <a:cubicBezTo>
                  <a:pt x="1180" y="99"/>
                  <a:pt x="1180" y="99"/>
                  <a:pt x="1180" y="99"/>
                </a:cubicBezTo>
                <a:cubicBezTo>
                  <a:pt x="1180" y="100"/>
                  <a:pt x="1180" y="100"/>
                  <a:pt x="1180" y="100"/>
                </a:cubicBezTo>
                <a:cubicBezTo>
                  <a:pt x="1180" y="100"/>
                  <a:pt x="1180" y="100"/>
                  <a:pt x="1180" y="100"/>
                </a:cubicBezTo>
                <a:cubicBezTo>
                  <a:pt x="1180" y="100"/>
                  <a:pt x="1181" y="100"/>
                  <a:pt x="1181" y="100"/>
                </a:cubicBezTo>
                <a:cubicBezTo>
                  <a:pt x="1181" y="100"/>
                  <a:pt x="1181" y="100"/>
                  <a:pt x="1181" y="100"/>
                </a:cubicBezTo>
                <a:cubicBezTo>
                  <a:pt x="1181" y="100"/>
                  <a:pt x="1181" y="100"/>
                  <a:pt x="1181" y="100"/>
                </a:cubicBezTo>
                <a:cubicBezTo>
                  <a:pt x="1181" y="100"/>
                  <a:pt x="1181" y="100"/>
                  <a:pt x="1181" y="100"/>
                </a:cubicBezTo>
                <a:cubicBezTo>
                  <a:pt x="1182" y="101"/>
                  <a:pt x="1182" y="101"/>
                  <a:pt x="1182" y="101"/>
                </a:cubicBezTo>
                <a:cubicBezTo>
                  <a:pt x="1182" y="101"/>
                  <a:pt x="1182" y="101"/>
                  <a:pt x="1182" y="101"/>
                </a:cubicBezTo>
                <a:cubicBezTo>
                  <a:pt x="1182" y="101"/>
                  <a:pt x="1183" y="101"/>
                  <a:pt x="1183" y="101"/>
                </a:cubicBezTo>
                <a:cubicBezTo>
                  <a:pt x="1183" y="101"/>
                  <a:pt x="1183" y="101"/>
                  <a:pt x="1183" y="101"/>
                </a:cubicBezTo>
                <a:cubicBezTo>
                  <a:pt x="1183" y="101"/>
                  <a:pt x="1183" y="101"/>
                  <a:pt x="1183" y="102"/>
                </a:cubicBezTo>
                <a:cubicBezTo>
                  <a:pt x="1183" y="102"/>
                  <a:pt x="1183" y="102"/>
                  <a:pt x="1183" y="102"/>
                </a:cubicBezTo>
                <a:cubicBezTo>
                  <a:pt x="1184" y="102"/>
                  <a:pt x="1184" y="102"/>
                  <a:pt x="1184" y="102"/>
                </a:cubicBezTo>
                <a:cubicBezTo>
                  <a:pt x="1184" y="102"/>
                  <a:pt x="1184" y="102"/>
                  <a:pt x="1184" y="102"/>
                </a:cubicBezTo>
                <a:cubicBezTo>
                  <a:pt x="1184" y="102"/>
                  <a:pt x="1185" y="102"/>
                  <a:pt x="1185" y="102"/>
                </a:cubicBezTo>
                <a:cubicBezTo>
                  <a:pt x="1185" y="102"/>
                  <a:pt x="1185" y="102"/>
                  <a:pt x="1185" y="102"/>
                </a:cubicBezTo>
                <a:cubicBezTo>
                  <a:pt x="1186" y="103"/>
                  <a:pt x="1186" y="102"/>
                  <a:pt x="1186" y="103"/>
                </a:cubicBezTo>
                <a:cubicBezTo>
                  <a:pt x="1187" y="102"/>
                  <a:pt x="1187" y="102"/>
                  <a:pt x="1187" y="102"/>
                </a:cubicBezTo>
                <a:cubicBezTo>
                  <a:pt x="1187" y="103"/>
                  <a:pt x="1187" y="103"/>
                  <a:pt x="1187" y="103"/>
                </a:cubicBezTo>
                <a:cubicBezTo>
                  <a:pt x="1187" y="103"/>
                  <a:pt x="1188" y="103"/>
                  <a:pt x="1188" y="103"/>
                </a:cubicBezTo>
                <a:cubicBezTo>
                  <a:pt x="1189" y="103"/>
                  <a:pt x="1189" y="103"/>
                  <a:pt x="1189" y="103"/>
                </a:cubicBezTo>
                <a:cubicBezTo>
                  <a:pt x="1191" y="103"/>
                  <a:pt x="1193" y="103"/>
                  <a:pt x="1195" y="103"/>
                </a:cubicBezTo>
                <a:cubicBezTo>
                  <a:pt x="1196" y="103"/>
                  <a:pt x="1196" y="103"/>
                  <a:pt x="1196" y="103"/>
                </a:cubicBezTo>
                <a:cubicBezTo>
                  <a:pt x="1196" y="103"/>
                  <a:pt x="1197" y="103"/>
                  <a:pt x="1198" y="103"/>
                </a:cubicBezTo>
                <a:cubicBezTo>
                  <a:pt x="1198" y="102"/>
                  <a:pt x="1198" y="102"/>
                  <a:pt x="1198" y="102"/>
                </a:cubicBezTo>
                <a:cubicBezTo>
                  <a:pt x="1198" y="103"/>
                  <a:pt x="1198" y="103"/>
                  <a:pt x="1198" y="103"/>
                </a:cubicBezTo>
                <a:cubicBezTo>
                  <a:pt x="1198" y="102"/>
                  <a:pt x="1199" y="102"/>
                  <a:pt x="1199" y="102"/>
                </a:cubicBezTo>
                <a:cubicBezTo>
                  <a:pt x="1199" y="102"/>
                  <a:pt x="1199" y="102"/>
                  <a:pt x="1199" y="102"/>
                </a:cubicBezTo>
                <a:cubicBezTo>
                  <a:pt x="1199" y="102"/>
                  <a:pt x="1200" y="102"/>
                  <a:pt x="1200" y="102"/>
                </a:cubicBezTo>
                <a:cubicBezTo>
                  <a:pt x="1200" y="102"/>
                  <a:pt x="1200" y="102"/>
                  <a:pt x="1200" y="102"/>
                </a:cubicBezTo>
                <a:cubicBezTo>
                  <a:pt x="1200" y="102"/>
                  <a:pt x="1201" y="102"/>
                  <a:pt x="1201" y="102"/>
                </a:cubicBezTo>
                <a:cubicBezTo>
                  <a:pt x="1201" y="101"/>
                  <a:pt x="1201" y="101"/>
                  <a:pt x="1201" y="101"/>
                </a:cubicBezTo>
                <a:cubicBezTo>
                  <a:pt x="1201" y="101"/>
                  <a:pt x="1201" y="101"/>
                  <a:pt x="1201" y="101"/>
                </a:cubicBezTo>
                <a:cubicBezTo>
                  <a:pt x="1201" y="101"/>
                  <a:pt x="1202" y="101"/>
                  <a:pt x="1202" y="101"/>
                </a:cubicBezTo>
                <a:cubicBezTo>
                  <a:pt x="1202" y="101"/>
                  <a:pt x="1202" y="101"/>
                  <a:pt x="1202" y="101"/>
                </a:cubicBezTo>
                <a:cubicBezTo>
                  <a:pt x="1202" y="101"/>
                  <a:pt x="1202" y="101"/>
                  <a:pt x="1202" y="101"/>
                </a:cubicBezTo>
                <a:cubicBezTo>
                  <a:pt x="1202" y="98"/>
                  <a:pt x="1202" y="95"/>
                  <a:pt x="1202" y="92"/>
                </a:cubicBezTo>
                <a:cubicBezTo>
                  <a:pt x="1202" y="92"/>
                  <a:pt x="1202" y="92"/>
                  <a:pt x="1202" y="92"/>
                </a:cubicBezTo>
                <a:cubicBezTo>
                  <a:pt x="1202" y="92"/>
                  <a:pt x="1202" y="92"/>
                  <a:pt x="1202" y="92"/>
                </a:cubicBezTo>
                <a:cubicBezTo>
                  <a:pt x="1201" y="92"/>
                  <a:pt x="1201" y="92"/>
                  <a:pt x="1201" y="92"/>
                </a:cubicBezTo>
                <a:cubicBezTo>
                  <a:pt x="1201" y="92"/>
                  <a:pt x="1201" y="92"/>
                  <a:pt x="1201" y="92"/>
                </a:cubicBezTo>
                <a:cubicBezTo>
                  <a:pt x="1201" y="92"/>
                  <a:pt x="1201" y="92"/>
                  <a:pt x="1201" y="92"/>
                </a:cubicBezTo>
                <a:cubicBezTo>
                  <a:pt x="1201" y="92"/>
                  <a:pt x="1201" y="92"/>
                  <a:pt x="1201" y="92"/>
                </a:cubicBezTo>
                <a:cubicBezTo>
                  <a:pt x="1200" y="93"/>
                  <a:pt x="1200" y="93"/>
                  <a:pt x="1200" y="93"/>
                </a:cubicBezTo>
                <a:cubicBezTo>
                  <a:pt x="1200" y="93"/>
                  <a:pt x="1200" y="93"/>
                  <a:pt x="1200" y="93"/>
                </a:cubicBezTo>
                <a:cubicBezTo>
                  <a:pt x="1200" y="93"/>
                  <a:pt x="1200" y="93"/>
                  <a:pt x="1200" y="93"/>
                </a:cubicBezTo>
                <a:cubicBezTo>
                  <a:pt x="1199" y="93"/>
                  <a:pt x="1199" y="93"/>
                  <a:pt x="1199" y="93"/>
                </a:cubicBezTo>
                <a:cubicBezTo>
                  <a:pt x="1199" y="93"/>
                  <a:pt x="1199" y="93"/>
                  <a:pt x="1199" y="93"/>
                </a:cubicBezTo>
                <a:cubicBezTo>
                  <a:pt x="1199" y="93"/>
                  <a:pt x="1199" y="93"/>
                  <a:pt x="1199" y="93"/>
                </a:cubicBezTo>
                <a:cubicBezTo>
                  <a:pt x="1198" y="93"/>
                  <a:pt x="1198" y="93"/>
                  <a:pt x="1197" y="93"/>
                </a:cubicBezTo>
                <a:cubicBezTo>
                  <a:pt x="1197" y="94"/>
                  <a:pt x="1197" y="94"/>
                  <a:pt x="1197" y="94"/>
                </a:cubicBezTo>
                <a:cubicBezTo>
                  <a:pt x="1196" y="94"/>
                  <a:pt x="1195" y="94"/>
                  <a:pt x="1193" y="94"/>
                </a:cubicBezTo>
                <a:cubicBezTo>
                  <a:pt x="1193" y="94"/>
                  <a:pt x="1193" y="94"/>
                  <a:pt x="1193" y="94"/>
                </a:cubicBezTo>
                <a:cubicBezTo>
                  <a:pt x="1192" y="93"/>
                  <a:pt x="1192" y="93"/>
                  <a:pt x="1191" y="93"/>
                </a:cubicBezTo>
                <a:cubicBezTo>
                  <a:pt x="1191" y="93"/>
                  <a:pt x="1191" y="93"/>
                  <a:pt x="1191" y="93"/>
                </a:cubicBezTo>
                <a:cubicBezTo>
                  <a:pt x="1191" y="93"/>
                  <a:pt x="1191" y="93"/>
                  <a:pt x="1190" y="93"/>
                </a:cubicBezTo>
                <a:cubicBezTo>
                  <a:pt x="1190" y="93"/>
                  <a:pt x="1190" y="93"/>
                  <a:pt x="1190" y="93"/>
                </a:cubicBezTo>
                <a:cubicBezTo>
                  <a:pt x="1190" y="93"/>
                  <a:pt x="1190" y="93"/>
                  <a:pt x="1190" y="93"/>
                </a:cubicBezTo>
                <a:cubicBezTo>
                  <a:pt x="1190" y="93"/>
                  <a:pt x="1190" y="93"/>
                  <a:pt x="1190" y="93"/>
                </a:cubicBezTo>
                <a:cubicBezTo>
                  <a:pt x="1190" y="92"/>
                  <a:pt x="1189" y="92"/>
                  <a:pt x="1189" y="92"/>
                </a:cubicBezTo>
                <a:cubicBezTo>
                  <a:pt x="1189" y="92"/>
                  <a:pt x="1189" y="92"/>
                  <a:pt x="1189" y="92"/>
                </a:cubicBezTo>
                <a:cubicBezTo>
                  <a:pt x="1189" y="92"/>
                  <a:pt x="1189" y="92"/>
                  <a:pt x="1189" y="92"/>
                </a:cubicBezTo>
                <a:cubicBezTo>
                  <a:pt x="1189" y="92"/>
                  <a:pt x="1189" y="92"/>
                  <a:pt x="1189" y="92"/>
                </a:cubicBezTo>
                <a:cubicBezTo>
                  <a:pt x="1188" y="91"/>
                  <a:pt x="1188" y="91"/>
                  <a:pt x="1188" y="91"/>
                </a:cubicBezTo>
                <a:cubicBezTo>
                  <a:pt x="1188" y="91"/>
                  <a:pt x="1188" y="91"/>
                  <a:pt x="1188" y="91"/>
                </a:cubicBezTo>
                <a:cubicBezTo>
                  <a:pt x="1188" y="91"/>
                  <a:pt x="1187" y="90"/>
                  <a:pt x="1187" y="90"/>
                </a:cubicBezTo>
                <a:cubicBezTo>
                  <a:pt x="1187" y="90"/>
                  <a:pt x="1187" y="90"/>
                  <a:pt x="1187" y="90"/>
                </a:cubicBezTo>
                <a:cubicBezTo>
                  <a:pt x="1187" y="90"/>
                  <a:pt x="1187" y="90"/>
                  <a:pt x="1187" y="90"/>
                </a:cubicBezTo>
                <a:cubicBezTo>
                  <a:pt x="1187" y="90"/>
                  <a:pt x="1187" y="90"/>
                  <a:pt x="1187" y="90"/>
                </a:cubicBezTo>
                <a:cubicBezTo>
                  <a:pt x="1187" y="90"/>
                  <a:pt x="1187" y="89"/>
                  <a:pt x="1187" y="89"/>
                </a:cubicBezTo>
                <a:cubicBezTo>
                  <a:pt x="1187" y="89"/>
                  <a:pt x="1187" y="89"/>
                  <a:pt x="1187" y="89"/>
                </a:cubicBezTo>
                <a:cubicBezTo>
                  <a:pt x="1186" y="89"/>
                  <a:pt x="1186" y="89"/>
                  <a:pt x="1186" y="88"/>
                </a:cubicBezTo>
                <a:cubicBezTo>
                  <a:pt x="1186" y="88"/>
                  <a:pt x="1186" y="88"/>
                  <a:pt x="1186" y="88"/>
                </a:cubicBezTo>
                <a:cubicBezTo>
                  <a:pt x="1186" y="88"/>
                  <a:pt x="1186" y="88"/>
                  <a:pt x="1186" y="88"/>
                </a:cubicBezTo>
                <a:cubicBezTo>
                  <a:pt x="1186" y="88"/>
                  <a:pt x="1186" y="88"/>
                  <a:pt x="1186" y="87"/>
                </a:cubicBezTo>
                <a:cubicBezTo>
                  <a:pt x="1186" y="87"/>
                  <a:pt x="1186" y="87"/>
                  <a:pt x="1186" y="87"/>
                </a:cubicBezTo>
                <a:cubicBezTo>
                  <a:pt x="1186" y="86"/>
                  <a:pt x="1186" y="86"/>
                  <a:pt x="1186" y="85"/>
                </a:cubicBezTo>
                <a:cubicBezTo>
                  <a:pt x="1185" y="85"/>
                  <a:pt x="1185" y="85"/>
                  <a:pt x="1186" y="85"/>
                </a:cubicBezTo>
                <a:cubicBezTo>
                  <a:pt x="1185" y="84"/>
                  <a:pt x="1185" y="84"/>
                  <a:pt x="1185" y="84"/>
                </a:cubicBezTo>
                <a:cubicBezTo>
                  <a:pt x="1185" y="71"/>
                  <a:pt x="1185" y="58"/>
                  <a:pt x="1185" y="45"/>
                </a:cubicBezTo>
                <a:cubicBezTo>
                  <a:pt x="1185" y="44"/>
                  <a:pt x="1186" y="44"/>
                  <a:pt x="1187" y="44"/>
                </a:cubicBezTo>
                <a:cubicBezTo>
                  <a:pt x="1191" y="44"/>
                  <a:pt x="1196" y="44"/>
                  <a:pt x="1201" y="44"/>
                </a:cubicBezTo>
                <a:cubicBezTo>
                  <a:pt x="1201" y="44"/>
                  <a:pt x="1202" y="44"/>
                  <a:pt x="1202" y="43"/>
                </a:cubicBezTo>
                <a:cubicBezTo>
                  <a:pt x="1202" y="40"/>
                  <a:pt x="1202" y="37"/>
                  <a:pt x="1202" y="34"/>
                </a:cubicBezTo>
                <a:cubicBezTo>
                  <a:pt x="1202" y="34"/>
                  <a:pt x="1201" y="34"/>
                  <a:pt x="1201" y="34"/>
                </a:cubicBezTo>
                <a:cubicBezTo>
                  <a:pt x="1196" y="34"/>
                  <a:pt x="1191" y="34"/>
                  <a:pt x="1187" y="34"/>
                </a:cubicBezTo>
                <a:cubicBezTo>
                  <a:pt x="1186" y="34"/>
                  <a:pt x="1185" y="34"/>
                  <a:pt x="1185" y="33"/>
                </a:cubicBezTo>
                <a:cubicBezTo>
                  <a:pt x="1185" y="29"/>
                  <a:pt x="1185" y="24"/>
                  <a:pt x="1185" y="20"/>
                </a:cubicBezTo>
                <a:cubicBezTo>
                  <a:pt x="1185" y="19"/>
                  <a:pt x="1185" y="17"/>
                  <a:pt x="1185" y="15"/>
                </a:cubicBezTo>
                <a:cubicBezTo>
                  <a:pt x="1185" y="15"/>
                  <a:pt x="1186" y="14"/>
                  <a:pt x="1185" y="15"/>
                </a:cubicBezTo>
                <a:cubicBezTo>
                  <a:pt x="1185" y="15"/>
                  <a:pt x="1185" y="15"/>
                  <a:pt x="1185" y="15"/>
                </a:cubicBezTo>
                <a:cubicBezTo>
                  <a:pt x="1184" y="15"/>
                  <a:pt x="1184" y="15"/>
                  <a:pt x="1183" y="15"/>
                </a:cubicBezTo>
                <a:cubicBezTo>
                  <a:pt x="1184" y="15"/>
                  <a:pt x="1184" y="15"/>
                  <a:pt x="1184" y="15"/>
                </a:cubicBezTo>
                <a:cubicBezTo>
                  <a:pt x="1183" y="15"/>
                  <a:pt x="1183" y="15"/>
                  <a:pt x="1182" y="15"/>
                </a:cubicBezTo>
                <a:cubicBezTo>
                  <a:pt x="1182" y="15"/>
                  <a:pt x="1182" y="15"/>
                  <a:pt x="1182" y="15"/>
                </a:cubicBezTo>
                <a:cubicBezTo>
                  <a:pt x="1182" y="15"/>
                  <a:pt x="1182" y="15"/>
                  <a:pt x="1181" y="16"/>
                </a:cubicBezTo>
                <a:cubicBezTo>
                  <a:pt x="1181" y="16"/>
                  <a:pt x="1181" y="16"/>
                  <a:pt x="1181" y="16"/>
                </a:cubicBezTo>
                <a:cubicBezTo>
                  <a:pt x="1181" y="16"/>
                  <a:pt x="1181" y="16"/>
                  <a:pt x="1180" y="16"/>
                </a:cubicBezTo>
                <a:cubicBezTo>
                  <a:pt x="1180" y="16"/>
                  <a:pt x="1180" y="16"/>
                  <a:pt x="1180" y="16"/>
                </a:cubicBezTo>
                <a:cubicBezTo>
                  <a:pt x="1180" y="16"/>
                  <a:pt x="1180" y="16"/>
                  <a:pt x="1180" y="16"/>
                </a:cubicBezTo>
                <a:cubicBezTo>
                  <a:pt x="1180" y="16"/>
                  <a:pt x="1180" y="16"/>
                  <a:pt x="1179" y="16"/>
                </a:cubicBezTo>
                <a:cubicBezTo>
                  <a:pt x="1179" y="16"/>
                  <a:pt x="1179" y="16"/>
                  <a:pt x="1179" y="16"/>
                </a:cubicBezTo>
                <a:cubicBezTo>
                  <a:pt x="1179" y="16"/>
                  <a:pt x="1179" y="16"/>
                  <a:pt x="1179" y="16"/>
                </a:cubicBezTo>
                <a:cubicBezTo>
                  <a:pt x="1179" y="16"/>
                  <a:pt x="1179" y="16"/>
                  <a:pt x="1178" y="17"/>
                </a:cubicBezTo>
                <a:cubicBezTo>
                  <a:pt x="1178" y="17"/>
                  <a:pt x="1178" y="17"/>
                  <a:pt x="1178" y="17"/>
                </a:cubicBezTo>
                <a:cubicBezTo>
                  <a:pt x="1178" y="17"/>
                  <a:pt x="1178" y="17"/>
                  <a:pt x="1178" y="17"/>
                </a:cubicBezTo>
                <a:cubicBezTo>
                  <a:pt x="1178" y="17"/>
                  <a:pt x="1177" y="17"/>
                  <a:pt x="1177" y="17"/>
                </a:cubicBezTo>
                <a:cubicBezTo>
                  <a:pt x="1177" y="17"/>
                  <a:pt x="1177" y="17"/>
                  <a:pt x="1177" y="17"/>
                </a:cubicBezTo>
                <a:cubicBezTo>
                  <a:pt x="1177" y="17"/>
                  <a:pt x="1176" y="17"/>
                  <a:pt x="1176" y="17"/>
                </a:cubicBezTo>
                <a:cubicBezTo>
                  <a:pt x="1176" y="17"/>
                  <a:pt x="1176" y="17"/>
                  <a:pt x="1176" y="17"/>
                </a:cubicBezTo>
                <a:cubicBezTo>
                  <a:pt x="1176" y="17"/>
                  <a:pt x="1175" y="17"/>
                  <a:pt x="1175" y="18"/>
                </a:cubicBezTo>
                <a:cubicBezTo>
                  <a:pt x="1175" y="18"/>
                  <a:pt x="1175" y="18"/>
                  <a:pt x="1175" y="18"/>
                </a:cubicBezTo>
                <a:cubicBezTo>
                  <a:pt x="1174" y="18"/>
                  <a:pt x="1174" y="19"/>
                  <a:pt x="1174" y="19"/>
                </a:cubicBezTo>
                <a:cubicBezTo>
                  <a:pt x="1174" y="24"/>
                  <a:pt x="1174" y="28"/>
                  <a:pt x="1174" y="32"/>
                </a:cubicBezTo>
                <a:cubicBezTo>
                  <a:pt x="1174" y="34"/>
                  <a:pt x="1174" y="34"/>
                  <a:pt x="1173" y="34"/>
                </a:cubicBezTo>
                <a:cubicBezTo>
                  <a:pt x="1170" y="34"/>
                  <a:pt x="1167" y="34"/>
                  <a:pt x="1164" y="34"/>
                </a:cubicBezTo>
                <a:cubicBezTo>
                  <a:pt x="1163" y="34"/>
                  <a:pt x="1163" y="35"/>
                  <a:pt x="1163" y="36"/>
                </a:cubicBezTo>
                <a:cubicBezTo>
                  <a:pt x="1163" y="38"/>
                  <a:pt x="1163" y="40"/>
                  <a:pt x="1163" y="42"/>
                </a:cubicBezTo>
                <a:cubicBezTo>
                  <a:pt x="1163" y="43"/>
                  <a:pt x="1163" y="44"/>
                  <a:pt x="1164" y="44"/>
                </a:cubicBezTo>
                <a:cubicBezTo>
                  <a:pt x="1167" y="43"/>
                  <a:pt x="1170" y="44"/>
                  <a:pt x="1173" y="44"/>
                </a:cubicBezTo>
                <a:cubicBezTo>
                  <a:pt x="1174" y="43"/>
                  <a:pt x="1174" y="44"/>
                  <a:pt x="1174" y="45"/>
                </a:cubicBezTo>
                <a:cubicBezTo>
                  <a:pt x="1174" y="58"/>
                  <a:pt x="1174" y="71"/>
                  <a:pt x="1174" y="84"/>
                </a:cubicBezTo>
                <a:cubicBezTo>
                  <a:pt x="1174" y="84"/>
                  <a:pt x="1174" y="85"/>
                  <a:pt x="1174" y="85"/>
                </a:cubicBezTo>
                <a:cubicBezTo>
                  <a:pt x="1175" y="86"/>
                  <a:pt x="1175" y="86"/>
                  <a:pt x="1174" y="87"/>
                </a:cubicBezTo>
                <a:cubicBezTo>
                  <a:pt x="1175" y="87"/>
                  <a:pt x="1174" y="88"/>
                  <a:pt x="1175" y="89"/>
                </a:cubicBezTo>
                <a:cubicBezTo>
                  <a:pt x="1175" y="89"/>
                  <a:pt x="1175" y="89"/>
                  <a:pt x="1175" y="89"/>
                </a:cubicBezTo>
                <a:cubicBezTo>
                  <a:pt x="1175" y="90"/>
                  <a:pt x="1175" y="90"/>
                  <a:pt x="1175" y="91"/>
                </a:cubicBezTo>
                <a:cubicBezTo>
                  <a:pt x="1175" y="91"/>
                  <a:pt x="1175" y="91"/>
                  <a:pt x="1175" y="91"/>
                </a:cubicBezTo>
                <a:cubicBezTo>
                  <a:pt x="1175" y="91"/>
                  <a:pt x="1175" y="91"/>
                  <a:pt x="1175" y="91"/>
                </a:cubicBezTo>
                <a:cubicBezTo>
                  <a:pt x="1175" y="91"/>
                  <a:pt x="1175" y="92"/>
                  <a:pt x="1176" y="92"/>
                </a:cubicBezTo>
                <a:cubicBezTo>
                  <a:pt x="1175" y="92"/>
                  <a:pt x="1175" y="92"/>
                  <a:pt x="1175" y="92"/>
                </a:cubicBezTo>
                <a:cubicBezTo>
                  <a:pt x="1176" y="92"/>
                  <a:pt x="1176" y="93"/>
                  <a:pt x="1176" y="93"/>
                </a:cubicBezTo>
                <a:cubicBezTo>
                  <a:pt x="1176" y="93"/>
                  <a:pt x="1176" y="93"/>
                  <a:pt x="1176" y="93"/>
                </a:cubicBezTo>
                <a:cubicBezTo>
                  <a:pt x="1176" y="93"/>
                  <a:pt x="1176" y="94"/>
                  <a:pt x="1176" y="94"/>
                </a:cubicBezTo>
                <a:cubicBezTo>
                  <a:pt x="1176" y="94"/>
                  <a:pt x="1176" y="94"/>
                  <a:pt x="1176" y="94"/>
                </a:cubicBezTo>
                <a:cubicBezTo>
                  <a:pt x="1176" y="94"/>
                  <a:pt x="1176" y="94"/>
                  <a:pt x="1176" y="94"/>
                </a:cubicBezTo>
                <a:cubicBezTo>
                  <a:pt x="1176" y="94"/>
                  <a:pt x="1176" y="95"/>
                  <a:pt x="1177" y="95"/>
                </a:cubicBezTo>
                <a:close/>
                <a:moveTo>
                  <a:pt x="715" y="91"/>
                </a:moveTo>
                <a:cubicBezTo>
                  <a:pt x="715" y="91"/>
                  <a:pt x="715" y="91"/>
                  <a:pt x="715" y="91"/>
                </a:cubicBezTo>
                <a:cubicBezTo>
                  <a:pt x="716" y="92"/>
                  <a:pt x="715" y="92"/>
                  <a:pt x="716" y="92"/>
                </a:cubicBezTo>
                <a:cubicBezTo>
                  <a:pt x="716" y="92"/>
                  <a:pt x="716" y="92"/>
                  <a:pt x="716" y="92"/>
                </a:cubicBezTo>
                <a:cubicBezTo>
                  <a:pt x="716" y="93"/>
                  <a:pt x="716" y="93"/>
                  <a:pt x="716" y="93"/>
                </a:cubicBezTo>
                <a:cubicBezTo>
                  <a:pt x="716" y="93"/>
                  <a:pt x="716" y="93"/>
                  <a:pt x="716" y="93"/>
                </a:cubicBezTo>
                <a:cubicBezTo>
                  <a:pt x="716" y="94"/>
                  <a:pt x="716" y="94"/>
                  <a:pt x="716" y="94"/>
                </a:cubicBezTo>
                <a:cubicBezTo>
                  <a:pt x="716" y="94"/>
                  <a:pt x="716" y="94"/>
                  <a:pt x="716" y="94"/>
                </a:cubicBezTo>
                <a:cubicBezTo>
                  <a:pt x="717" y="94"/>
                  <a:pt x="717" y="95"/>
                  <a:pt x="717" y="95"/>
                </a:cubicBezTo>
                <a:cubicBezTo>
                  <a:pt x="717" y="95"/>
                  <a:pt x="717" y="95"/>
                  <a:pt x="717" y="95"/>
                </a:cubicBezTo>
                <a:cubicBezTo>
                  <a:pt x="717" y="95"/>
                  <a:pt x="717" y="95"/>
                  <a:pt x="717" y="96"/>
                </a:cubicBezTo>
                <a:cubicBezTo>
                  <a:pt x="717" y="96"/>
                  <a:pt x="717" y="96"/>
                  <a:pt x="717" y="96"/>
                </a:cubicBezTo>
                <a:cubicBezTo>
                  <a:pt x="717" y="96"/>
                  <a:pt x="717" y="96"/>
                  <a:pt x="717" y="96"/>
                </a:cubicBezTo>
                <a:cubicBezTo>
                  <a:pt x="717" y="96"/>
                  <a:pt x="717" y="96"/>
                  <a:pt x="717" y="96"/>
                </a:cubicBezTo>
                <a:cubicBezTo>
                  <a:pt x="718" y="97"/>
                  <a:pt x="718" y="97"/>
                  <a:pt x="718" y="97"/>
                </a:cubicBezTo>
                <a:cubicBezTo>
                  <a:pt x="718" y="97"/>
                  <a:pt x="718" y="97"/>
                  <a:pt x="718" y="97"/>
                </a:cubicBezTo>
                <a:cubicBezTo>
                  <a:pt x="718" y="97"/>
                  <a:pt x="718" y="98"/>
                  <a:pt x="718" y="98"/>
                </a:cubicBezTo>
                <a:cubicBezTo>
                  <a:pt x="718" y="98"/>
                  <a:pt x="718" y="98"/>
                  <a:pt x="718" y="98"/>
                </a:cubicBezTo>
                <a:cubicBezTo>
                  <a:pt x="719" y="98"/>
                  <a:pt x="719" y="98"/>
                  <a:pt x="719" y="98"/>
                </a:cubicBezTo>
                <a:cubicBezTo>
                  <a:pt x="719" y="98"/>
                  <a:pt x="719" y="98"/>
                  <a:pt x="719" y="98"/>
                </a:cubicBezTo>
                <a:cubicBezTo>
                  <a:pt x="719" y="99"/>
                  <a:pt x="720" y="99"/>
                  <a:pt x="720" y="99"/>
                </a:cubicBezTo>
                <a:cubicBezTo>
                  <a:pt x="720" y="99"/>
                  <a:pt x="720" y="99"/>
                  <a:pt x="720" y="99"/>
                </a:cubicBezTo>
                <a:cubicBezTo>
                  <a:pt x="720" y="100"/>
                  <a:pt x="720" y="100"/>
                  <a:pt x="721" y="100"/>
                </a:cubicBezTo>
                <a:cubicBezTo>
                  <a:pt x="721" y="100"/>
                  <a:pt x="721" y="100"/>
                  <a:pt x="721" y="100"/>
                </a:cubicBezTo>
                <a:cubicBezTo>
                  <a:pt x="721" y="100"/>
                  <a:pt x="721" y="100"/>
                  <a:pt x="721" y="100"/>
                </a:cubicBezTo>
                <a:cubicBezTo>
                  <a:pt x="721" y="100"/>
                  <a:pt x="721" y="100"/>
                  <a:pt x="721" y="100"/>
                </a:cubicBezTo>
                <a:cubicBezTo>
                  <a:pt x="721" y="100"/>
                  <a:pt x="721" y="100"/>
                  <a:pt x="722" y="100"/>
                </a:cubicBezTo>
                <a:cubicBezTo>
                  <a:pt x="722" y="100"/>
                  <a:pt x="722" y="100"/>
                  <a:pt x="722" y="100"/>
                </a:cubicBezTo>
                <a:cubicBezTo>
                  <a:pt x="722" y="101"/>
                  <a:pt x="722" y="101"/>
                  <a:pt x="722" y="101"/>
                </a:cubicBezTo>
                <a:cubicBezTo>
                  <a:pt x="722" y="101"/>
                  <a:pt x="722" y="101"/>
                  <a:pt x="722" y="101"/>
                </a:cubicBezTo>
                <a:cubicBezTo>
                  <a:pt x="722" y="101"/>
                  <a:pt x="722" y="101"/>
                  <a:pt x="723" y="101"/>
                </a:cubicBezTo>
                <a:cubicBezTo>
                  <a:pt x="723" y="101"/>
                  <a:pt x="723" y="101"/>
                  <a:pt x="723" y="101"/>
                </a:cubicBezTo>
                <a:cubicBezTo>
                  <a:pt x="723" y="101"/>
                  <a:pt x="723" y="101"/>
                  <a:pt x="723" y="101"/>
                </a:cubicBezTo>
                <a:cubicBezTo>
                  <a:pt x="723" y="101"/>
                  <a:pt x="723" y="101"/>
                  <a:pt x="723" y="101"/>
                </a:cubicBezTo>
                <a:cubicBezTo>
                  <a:pt x="724" y="102"/>
                  <a:pt x="724" y="102"/>
                  <a:pt x="724" y="102"/>
                </a:cubicBezTo>
                <a:cubicBezTo>
                  <a:pt x="724" y="102"/>
                  <a:pt x="724" y="102"/>
                  <a:pt x="724" y="102"/>
                </a:cubicBezTo>
                <a:cubicBezTo>
                  <a:pt x="725" y="102"/>
                  <a:pt x="725" y="102"/>
                  <a:pt x="725" y="102"/>
                </a:cubicBezTo>
                <a:cubicBezTo>
                  <a:pt x="725" y="102"/>
                  <a:pt x="725" y="102"/>
                  <a:pt x="725" y="102"/>
                </a:cubicBezTo>
                <a:cubicBezTo>
                  <a:pt x="725" y="102"/>
                  <a:pt x="725" y="102"/>
                  <a:pt x="725" y="102"/>
                </a:cubicBezTo>
                <a:cubicBezTo>
                  <a:pt x="726" y="103"/>
                  <a:pt x="726" y="102"/>
                  <a:pt x="727" y="103"/>
                </a:cubicBezTo>
                <a:cubicBezTo>
                  <a:pt x="727" y="102"/>
                  <a:pt x="727" y="102"/>
                  <a:pt x="727" y="102"/>
                </a:cubicBezTo>
                <a:cubicBezTo>
                  <a:pt x="727" y="103"/>
                  <a:pt x="727" y="103"/>
                  <a:pt x="727" y="103"/>
                </a:cubicBezTo>
                <a:cubicBezTo>
                  <a:pt x="727" y="103"/>
                  <a:pt x="728" y="103"/>
                  <a:pt x="728" y="103"/>
                </a:cubicBezTo>
                <a:cubicBezTo>
                  <a:pt x="729" y="103"/>
                  <a:pt x="729" y="103"/>
                  <a:pt x="729" y="103"/>
                </a:cubicBezTo>
                <a:cubicBezTo>
                  <a:pt x="731" y="103"/>
                  <a:pt x="733" y="103"/>
                  <a:pt x="735" y="103"/>
                </a:cubicBezTo>
                <a:cubicBezTo>
                  <a:pt x="736" y="103"/>
                  <a:pt x="736" y="103"/>
                  <a:pt x="736" y="103"/>
                </a:cubicBezTo>
                <a:cubicBezTo>
                  <a:pt x="737" y="103"/>
                  <a:pt x="737" y="103"/>
                  <a:pt x="738" y="103"/>
                </a:cubicBezTo>
                <a:cubicBezTo>
                  <a:pt x="738" y="102"/>
                  <a:pt x="738" y="102"/>
                  <a:pt x="738" y="102"/>
                </a:cubicBezTo>
                <a:cubicBezTo>
                  <a:pt x="738" y="103"/>
                  <a:pt x="738" y="103"/>
                  <a:pt x="738" y="103"/>
                </a:cubicBezTo>
                <a:cubicBezTo>
                  <a:pt x="738" y="102"/>
                  <a:pt x="739" y="102"/>
                  <a:pt x="739" y="102"/>
                </a:cubicBezTo>
                <a:cubicBezTo>
                  <a:pt x="739" y="102"/>
                  <a:pt x="739" y="102"/>
                  <a:pt x="739" y="102"/>
                </a:cubicBezTo>
                <a:cubicBezTo>
                  <a:pt x="739" y="102"/>
                  <a:pt x="739" y="102"/>
                  <a:pt x="739" y="102"/>
                </a:cubicBezTo>
                <a:cubicBezTo>
                  <a:pt x="740" y="102"/>
                  <a:pt x="740" y="102"/>
                  <a:pt x="740" y="102"/>
                </a:cubicBezTo>
                <a:cubicBezTo>
                  <a:pt x="740" y="102"/>
                  <a:pt x="740" y="102"/>
                  <a:pt x="740" y="102"/>
                </a:cubicBezTo>
                <a:cubicBezTo>
                  <a:pt x="741" y="102"/>
                  <a:pt x="741" y="102"/>
                  <a:pt x="741" y="102"/>
                </a:cubicBezTo>
                <a:cubicBezTo>
                  <a:pt x="741" y="102"/>
                  <a:pt x="741" y="102"/>
                  <a:pt x="741" y="102"/>
                </a:cubicBezTo>
                <a:cubicBezTo>
                  <a:pt x="741" y="101"/>
                  <a:pt x="742" y="101"/>
                  <a:pt x="742" y="101"/>
                </a:cubicBezTo>
                <a:cubicBezTo>
                  <a:pt x="742" y="101"/>
                  <a:pt x="742" y="101"/>
                  <a:pt x="742" y="101"/>
                </a:cubicBezTo>
                <a:cubicBezTo>
                  <a:pt x="742" y="101"/>
                  <a:pt x="742" y="101"/>
                  <a:pt x="742" y="100"/>
                </a:cubicBezTo>
                <a:cubicBezTo>
                  <a:pt x="742" y="98"/>
                  <a:pt x="742" y="95"/>
                  <a:pt x="742" y="92"/>
                </a:cubicBezTo>
                <a:cubicBezTo>
                  <a:pt x="742" y="92"/>
                  <a:pt x="742" y="92"/>
                  <a:pt x="742" y="92"/>
                </a:cubicBezTo>
                <a:cubicBezTo>
                  <a:pt x="742" y="92"/>
                  <a:pt x="742" y="92"/>
                  <a:pt x="742" y="92"/>
                </a:cubicBezTo>
                <a:cubicBezTo>
                  <a:pt x="742" y="92"/>
                  <a:pt x="741" y="92"/>
                  <a:pt x="741" y="92"/>
                </a:cubicBezTo>
                <a:cubicBezTo>
                  <a:pt x="741" y="92"/>
                  <a:pt x="741" y="92"/>
                  <a:pt x="741" y="92"/>
                </a:cubicBezTo>
                <a:cubicBezTo>
                  <a:pt x="741" y="92"/>
                  <a:pt x="741" y="92"/>
                  <a:pt x="740" y="93"/>
                </a:cubicBezTo>
                <a:cubicBezTo>
                  <a:pt x="740" y="93"/>
                  <a:pt x="740" y="93"/>
                  <a:pt x="740" y="93"/>
                </a:cubicBezTo>
                <a:cubicBezTo>
                  <a:pt x="740" y="93"/>
                  <a:pt x="740" y="93"/>
                  <a:pt x="740" y="93"/>
                </a:cubicBezTo>
                <a:cubicBezTo>
                  <a:pt x="740" y="93"/>
                  <a:pt x="740" y="93"/>
                  <a:pt x="740" y="93"/>
                </a:cubicBezTo>
                <a:cubicBezTo>
                  <a:pt x="739" y="93"/>
                  <a:pt x="739" y="93"/>
                  <a:pt x="739" y="93"/>
                </a:cubicBezTo>
                <a:cubicBezTo>
                  <a:pt x="739" y="93"/>
                  <a:pt x="739" y="93"/>
                  <a:pt x="739" y="93"/>
                </a:cubicBezTo>
                <a:cubicBezTo>
                  <a:pt x="738" y="94"/>
                  <a:pt x="738" y="93"/>
                  <a:pt x="737" y="94"/>
                </a:cubicBezTo>
                <a:cubicBezTo>
                  <a:pt x="737" y="94"/>
                  <a:pt x="737" y="94"/>
                  <a:pt x="737" y="94"/>
                </a:cubicBezTo>
                <a:cubicBezTo>
                  <a:pt x="736" y="94"/>
                  <a:pt x="735" y="94"/>
                  <a:pt x="733" y="94"/>
                </a:cubicBezTo>
                <a:cubicBezTo>
                  <a:pt x="733" y="94"/>
                  <a:pt x="733" y="94"/>
                  <a:pt x="733" y="93"/>
                </a:cubicBezTo>
                <a:cubicBezTo>
                  <a:pt x="732" y="93"/>
                  <a:pt x="732" y="93"/>
                  <a:pt x="731" y="93"/>
                </a:cubicBezTo>
                <a:cubicBezTo>
                  <a:pt x="731" y="93"/>
                  <a:pt x="731" y="93"/>
                  <a:pt x="731" y="93"/>
                </a:cubicBezTo>
                <a:cubicBezTo>
                  <a:pt x="731" y="93"/>
                  <a:pt x="731" y="93"/>
                  <a:pt x="731" y="93"/>
                </a:cubicBezTo>
                <a:cubicBezTo>
                  <a:pt x="731" y="93"/>
                  <a:pt x="731" y="93"/>
                  <a:pt x="730" y="93"/>
                </a:cubicBezTo>
                <a:cubicBezTo>
                  <a:pt x="730" y="93"/>
                  <a:pt x="730" y="93"/>
                  <a:pt x="730" y="93"/>
                </a:cubicBezTo>
                <a:cubicBezTo>
                  <a:pt x="730" y="93"/>
                  <a:pt x="730" y="93"/>
                  <a:pt x="730" y="93"/>
                </a:cubicBezTo>
                <a:cubicBezTo>
                  <a:pt x="730" y="93"/>
                  <a:pt x="730" y="93"/>
                  <a:pt x="730" y="92"/>
                </a:cubicBezTo>
                <a:cubicBezTo>
                  <a:pt x="730" y="92"/>
                  <a:pt x="730" y="92"/>
                  <a:pt x="730" y="92"/>
                </a:cubicBezTo>
                <a:cubicBezTo>
                  <a:pt x="729" y="92"/>
                  <a:pt x="729" y="92"/>
                  <a:pt x="729" y="92"/>
                </a:cubicBezTo>
                <a:cubicBezTo>
                  <a:pt x="729" y="92"/>
                  <a:pt x="729" y="92"/>
                  <a:pt x="729" y="92"/>
                </a:cubicBezTo>
                <a:cubicBezTo>
                  <a:pt x="729" y="92"/>
                  <a:pt x="729" y="92"/>
                  <a:pt x="729" y="92"/>
                </a:cubicBezTo>
                <a:cubicBezTo>
                  <a:pt x="729" y="92"/>
                  <a:pt x="729" y="92"/>
                  <a:pt x="729" y="92"/>
                </a:cubicBezTo>
                <a:cubicBezTo>
                  <a:pt x="728" y="92"/>
                  <a:pt x="728" y="92"/>
                  <a:pt x="728" y="91"/>
                </a:cubicBezTo>
                <a:cubicBezTo>
                  <a:pt x="728" y="91"/>
                  <a:pt x="728" y="91"/>
                  <a:pt x="728" y="91"/>
                </a:cubicBezTo>
                <a:cubicBezTo>
                  <a:pt x="728" y="91"/>
                  <a:pt x="728" y="91"/>
                  <a:pt x="728" y="91"/>
                </a:cubicBezTo>
                <a:cubicBezTo>
                  <a:pt x="728" y="91"/>
                  <a:pt x="728" y="91"/>
                  <a:pt x="728" y="91"/>
                </a:cubicBezTo>
                <a:cubicBezTo>
                  <a:pt x="728" y="91"/>
                  <a:pt x="727" y="90"/>
                  <a:pt x="727" y="90"/>
                </a:cubicBezTo>
                <a:cubicBezTo>
                  <a:pt x="727" y="90"/>
                  <a:pt x="727" y="90"/>
                  <a:pt x="727" y="90"/>
                </a:cubicBezTo>
                <a:cubicBezTo>
                  <a:pt x="727" y="90"/>
                  <a:pt x="727" y="90"/>
                  <a:pt x="727" y="89"/>
                </a:cubicBezTo>
                <a:cubicBezTo>
                  <a:pt x="727" y="89"/>
                  <a:pt x="727" y="89"/>
                  <a:pt x="727" y="89"/>
                </a:cubicBezTo>
                <a:cubicBezTo>
                  <a:pt x="727" y="89"/>
                  <a:pt x="727" y="89"/>
                  <a:pt x="726" y="89"/>
                </a:cubicBezTo>
                <a:cubicBezTo>
                  <a:pt x="726" y="89"/>
                  <a:pt x="726" y="89"/>
                  <a:pt x="726" y="89"/>
                </a:cubicBezTo>
                <a:cubicBezTo>
                  <a:pt x="726" y="88"/>
                  <a:pt x="726" y="88"/>
                  <a:pt x="726" y="88"/>
                </a:cubicBezTo>
                <a:cubicBezTo>
                  <a:pt x="726" y="88"/>
                  <a:pt x="726" y="88"/>
                  <a:pt x="726" y="88"/>
                </a:cubicBezTo>
                <a:cubicBezTo>
                  <a:pt x="726" y="87"/>
                  <a:pt x="726" y="87"/>
                  <a:pt x="726" y="87"/>
                </a:cubicBezTo>
                <a:cubicBezTo>
                  <a:pt x="726" y="87"/>
                  <a:pt x="726" y="87"/>
                  <a:pt x="726" y="86"/>
                </a:cubicBezTo>
                <a:cubicBezTo>
                  <a:pt x="726" y="86"/>
                  <a:pt x="726" y="86"/>
                  <a:pt x="726" y="86"/>
                </a:cubicBezTo>
                <a:cubicBezTo>
                  <a:pt x="725" y="85"/>
                  <a:pt x="726" y="84"/>
                  <a:pt x="725" y="83"/>
                </a:cubicBezTo>
                <a:cubicBezTo>
                  <a:pt x="725" y="82"/>
                  <a:pt x="725" y="81"/>
                  <a:pt x="725" y="80"/>
                </a:cubicBezTo>
                <a:cubicBezTo>
                  <a:pt x="725" y="68"/>
                  <a:pt x="725" y="57"/>
                  <a:pt x="725" y="45"/>
                </a:cubicBezTo>
                <a:cubicBezTo>
                  <a:pt x="725" y="45"/>
                  <a:pt x="725" y="44"/>
                  <a:pt x="725" y="44"/>
                </a:cubicBezTo>
                <a:cubicBezTo>
                  <a:pt x="726" y="43"/>
                  <a:pt x="727" y="44"/>
                  <a:pt x="727" y="44"/>
                </a:cubicBezTo>
                <a:cubicBezTo>
                  <a:pt x="732" y="44"/>
                  <a:pt x="736" y="44"/>
                  <a:pt x="741" y="44"/>
                </a:cubicBezTo>
                <a:cubicBezTo>
                  <a:pt x="742" y="44"/>
                  <a:pt x="742" y="43"/>
                  <a:pt x="742" y="42"/>
                </a:cubicBezTo>
                <a:cubicBezTo>
                  <a:pt x="742" y="40"/>
                  <a:pt x="742" y="38"/>
                  <a:pt x="742" y="36"/>
                </a:cubicBezTo>
                <a:cubicBezTo>
                  <a:pt x="742" y="35"/>
                  <a:pt x="742" y="34"/>
                  <a:pt x="741" y="34"/>
                </a:cubicBezTo>
                <a:cubicBezTo>
                  <a:pt x="736" y="34"/>
                  <a:pt x="732" y="34"/>
                  <a:pt x="728" y="34"/>
                </a:cubicBezTo>
                <a:cubicBezTo>
                  <a:pt x="727" y="34"/>
                  <a:pt x="726" y="34"/>
                  <a:pt x="725" y="34"/>
                </a:cubicBezTo>
                <a:cubicBezTo>
                  <a:pt x="725" y="34"/>
                  <a:pt x="725" y="34"/>
                  <a:pt x="725" y="34"/>
                </a:cubicBezTo>
                <a:cubicBezTo>
                  <a:pt x="725" y="27"/>
                  <a:pt x="725" y="21"/>
                  <a:pt x="725" y="15"/>
                </a:cubicBezTo>
                <a:cubicBezTo>
                  <a:pt x="725" y="14"/>
                  <a:pt x="725" y="14"/>
                  <a:pt x="725" y="14"/>
                </a:cubicBezTo>
                <a:cubicBezTo>
                  <a:pt x="725" y="15"/>
                  <a:pt x="725" y="15"/>
                  <a:pt x="725" y="15"/>
                </a:cubicBezTo>
                <a:cubicBezTo>
                  <a:pt x="725" y="15"/>
                  <a:pt x="725" y="15"/>
                  <a:pt x="725" y="15"/>
                </a:cubicBezTo>
                <a:cubicBezTo>
                  <a:pt x="724" y="15"/>
                  <a:pt x="724" y="15"/>
                  <a:pt x="724" y="15"/>
                </a:cubicBezTo>
                <a:cubicBezTo>
                  <a:pt x="724" y="15"/>
                  <a:pt x="724" y="15"/>
                  <a:pt x="724" y="15"/>
                </a:cubicBezTo>
                <a:cubicBezTo>
                  <a:pt x="723" y="15"/>
                  <a:pt x="723" y="15"/>
                  <a:pt x="723" y="15"/>
                </a:cubicBezTo>
                <a:cubicBezTo>
                  <a:pt x="723" y="15"/>
                  <a:pt x="723" y="15"/>
                  <a:pt x="723" y="15"/>
                </a:cubicBezTo>
                <a:cubicBezTo>
                  <a:pt x="723" y="15"/>
                  <a:pt x="723" y="15"/>
                  <a:pt x="723" y="15"/>
                </a:cubicBezTo>
                <a:cubicBezTo>
                  <a:pt x="722" y="15"/>
                  <a:pt x="722" y="15"/>
                  <a:pt x="722" y="15"/>
                </a:cubicBezTo>
                <a:cubicBezTo>
                  <a:pt x="722" y="15"/>
                  <a:pt x="722" y="15"/>
                  <a:pt x="722" y="16"/>
                </a:cubicBezTo>
                <a:cubicBezTo>
                  <a:pt x="722" y="16"/>
                  <a:pt x="721" y="16"/>
                  <a:pt x="721" y="16"/>
                </a:cubicBezTo>
                <a:cubicBezTo>
                  <a:pt x="721" y="16"/>
                  <a:pt x="721" y="16"/>
                  <a:pt x="721" y="16"/>
                </a:cubicBezTo>
                <a:cubicBezTo>
                  <a:pt x="720" y="16"/>
                  <a:pt x="720" y="16"/>
                  <a:pt x="720" y="16"/>
                </a:cubicBezTo>
                <a:cubicBezTo>
                  <a:pt x="720" y="16"/>
                  <a:pt x="720" y="16"/>
                  <a:pt x="719" y="16"/>
                </a:cubicBezTo>
                <a:cubicBezTo>
                  <a:pt x="719" y="16"/>
                  <a:pt x="719" y="16"/>
                  <a:pt x="719" y="16"/>
                </a:cubicBezTo>
                <a:cubicBezTo>
                  <a:pt x="719" y="17"/>
                  <a:pt x="718" y="16"/>
                  <a:pt x="718" y="17"/>
                </a:cubicBezTo>
                <a:cubicBezTo>
                  <a:pt x="718" y="17"/>
                  <a:pt x="718" y="17"/>
                  <a:pt x="718" y="17"/>
                </a:cubicBezTo>
                <a:cubicBezTo>
                  <a:pt x="718" y="17"/>
                  <a:pt x="717" y="17"/>
                  <a:pt x="717" y="17"/>
                </a:cubicBezTo>
                <a:cubicBezTo>
                  <a:pt x="717" y="17"/>
                  <a:pt x="717" y="17"/>
                  <a:pt x="717" y="17"/>
                </a:cubicBezTo>
                <a:cubicBezTo>
                  <a:pt x="717" y="17"/>
                  <a:pt x="716" y="17"/>
                  <a:pt x="716" y="17"/>
                </a:cubicBezTo>
                <a:cubicBezTo>
                  <a:pt x="716" y="17"/>
                  <a:pt x="716" y="17"/>
                  <a:pt x="716" y="17"/>
                </a:cubicBezTo>
                <a:cubicBezTo>
                  <a:pt x="716" y="18"/>
                  <a:pt x="715" y="17"/>
                  <a:pt x="715" y="18"/>
                </a:cubicBezTo>
                <a:cubicBezTo>
                  <a:pt x="715" y="18"/>
                  <a:pt x="715" y="18"/>
                  <a:pt x="715" y="18"/>
                </a:cubicBezTo>
                <a:cubicBezTo>
                  <a:pt x="714" y="18"/>
                  <a:pt x="714" y="19"/>
                  <a:pt x="714" y="20"/>
                </a:cubicBezTo>
                <a:cubicBezTo>
                  <a:pt x="714" y="24"/>
                  <a:pt x="714" y="28"/>
                  <a:pt x="714" y="33"/>
                </a:cubicBezTo>
                <a:cubicBezTo>
                  <a:pt x="714" y="34"/>
                  <a:pt x="714" y="34"/>
                  <a:pt x="713" y="34"/>
                </a:cubicBezTo>
                <a:cubicBezTo>
                  <a:pt x="710" y="34"/>
                  <a:pt x="707" y="34"/>
                  <a:pt x="704" y="34"/>
                </a:cubicBezTo>
                <a:cubicBezTo>
                  <a:pt x="703" y="34"/>
                  <a:pt x="703" y="34"/>
                  <a:pt x="703" y="36"/>
                </a:cubicBezTo>
                <a:cubicBezTo>
                  <a:pt x="703" y="38"/>
                  <a:pt x="703" y="40"/>
                  <a:pt x="703" y="42"/>
                </a:cubicBezTo>
                <a:cubicBezTo>
                  <a:pt x="703" y="43"/>
                  <a:pt x="703" y="44"/>
                  <a:pt x="705" y="44"/>
                </a:cubicBezTo>
                <a:cubicBezTo>
                  <a:pt x="708" y="44"/>
                  <a:pt x="711" y="43"/>
                  <a:pt x="714" y="44"/>
                </a:cubicBezTo>
                <a:cubicBezTo>
                  <a:pt x="714" y="44"/>
                  <a:pt x="714" y="44"/>
                  <a:pt x="714" y="44"/>
                </a:cubicBezTo>
                <a:cubicBezTo>
                  <a:pt x="715" y="44"/>
                  <a:pt x="714" y="45"/>
                  <a:pt x="714" y="46"/>
                </a:cubicBezTo>
                <a:cubicBezTo>
                  <a:pt x="714" y="59"/>
                  <a:pt x="714" y="72"/>
                  <a:pt x="714" y="85"/>
                </a:cubicBezTo>
                <a:cubicBezTo>
                  <a:pt x="714" y="86"/>
                  <a:pt x="714" y="87"/>
                  <a:pt x="715" y="87"/>
                </a:cubicBezTo>
                <a:cubicBezTo>
                  <a:pt x="715" y="87"/>
                  <a:pt x="715" y="88"/>
                  <a:pt x="715" y="88"/>
                </a:cubicBezTo>
                <a:cubicBezTo>
                  <a:pt x="715" y="88"/>
                  <a:pt x="715" y="89"/>
                  <a:pt x="715" y="90"/>
                </a:cubicBezTo>
                <a:cubicBezTo>
                  <a:pt x="715" y="90"/>
                  <a:pt x="715" y="90"/>
                  <a:pt x="715" y="90"/>
                </a:cubicBezTo>
                <a:cubicBezTo>
                  <a:pt x="715" y="90"/>
                  <a:pt x="715" y="91"/>
                  <a:pt x="715" y="91"/>
                </a:cubicBezTo>
                <a:close/>
                <a:moveTo>
                  <a:pt x="189" y="46"/>
                </a:moveTo>
                <a:cubicBezTo>
                  <a:pt x="189" y="44"/>
                  <a:pt x="189" y="42"/>
                  <a:pt x="189" y="39"/>
                </a:cubicBezTo>
                <a:cubicBezTo>
                  <a:pt x="189" y="36"/>
                  <a:pt x="189" y="36"/>
                  <a:pt x="186" y="35"/>
                </a:cubicBezTo>
                <a:cubicBezTo>
                  <a:pt x="179" y="32"/>
                  <a:pt x="173" y="32"/>
                  <a:pt x="166" y="33"/>
                </a:cubicBezTo>
                <a:cubicBezTo>
                  <a:pt x="155" y="35"/>
                  <a:pt x="146" y="42"/>
                  <a:pt x="142" y="52"/>
                </a:cubicBezTo>
                <a:cubicBezTo>
                  <a:pt x="137" y="62"/>
                  <a:pt x="137" y="72"/>
                  <a:pt x="140" y="82"/>
                </a:cubicBezTo>
                <a:cubicBezTo>
                  <a:pt x="143" y="91"/>
                  <a:pt x="150" y="98"/>
                  <a:pt x="159" y="101"/>
                </a:cubicBezTo>
                <a:cubicBezTo>
                  <a:pt x="165" y="103"/>
                  <a:pt x="170" y="104"/>
                  <a:pt x="176" y="103"/>
                </a:cubicBezTo>
                <a:cubicBezTo>
                  <a:pt x="180" y="102"/>
                  <a:pt x="184" y="101"/>
                  <a:pt x="187" y="99"/>
                </a:cubicBezTo>
                <a:cubicBezTo>
                  <a:pt x="188" y="99"/>
                  <a:pt x="189" y="98"/>
                  <a:pt x="189" y="97"/>
                </a:cubicBezTo>
                <a:cubicBezTo>
                  <a:pt x="189" y="94"/>
                  <a:pt x="189" y="92"/>
                  <a:pt x="189" y="90"/>
                </a:cubicBezTo>
                <a:cubicBezTo>
                  <a:pt x="189" y="89"/>
                  <a:pt x="189" y="89"/>
                  <a:pt x="188" y="88"/>
                </a:cubicBezTo>
                <a:cubicBezTo>
                  <a:pt x="188" y="89"/>
                  <a:pt x="188" y="89"/>
                  <a:pt x="187" y="89"/>
                </a:cubicBezTo>
                <a:cubicBezTo>
                  <a:pt x="182" y="93"/>
                  <a:pt x="176" y="94"/>
                  <a:pt x="170" y="94"/>
                </a:cubicBezTo>
                <a:cubicBezTo>
                  <a:pt x="162" y="93"/>
                  <a:pt x="156" y="89"/>
                  <a:pt x="152" y="82"/>
                </a:cubicBezTo>
                <a:cubicBezTo>
                  <a:pt x="148" y="72"/>
                  <a:pt x="148" y="63"/>
                  <a:pt x="153" y="54"/>
                </a:cubicBezTo>
                <a:cubicBezTo>
                  <a:pt x="156" y="47"/>
                  <a:pt x="162" y="43"/>
                  <a:pt x="169" y="42"/>
                </a:cubicBezTo>
                <a:cubicBezTo>
                  <a:pt x="176" y="41"/>
                  <a:pt x="182" y="43"/>
                  <a:pt x="187" y="46"/>
                </a:cubicBezTo>
                <a:cubicBezTo>
                  <a:pt x="187" y="46"/>
                  <a:pt x="188" y="47"/>
                  <a:pt x="189" y="47"/>
                </a:cubicBezTo>
                <a:cubicBezTo>
                  <a:pt x="189" y="47"/>
                  <a:pt x="189" y="47"/>
                  <a:pt x="189" y="46"/>
                </a:cubicBezTo>
                <a:close/>
                <a:moveTo>
                  <a:pt x="1487" y="28"/>
                </a:moveTo>
                <a:cubicBezTo>
                  <a:pt x="1487" y="28"/>
                  <a:pt x="1487" y="28"/>
                  <a:pt x="1487" y="28"/>
                </a:cubicBezTo>
                <a:cubicBezTo>
                  <a:pt x="1487" y="28"/>
                  <a:pt x="1487" y="28"/>
                  <a:pt x="1487" y="28"/>
                </a:cubicBezTo>
                <a:cubicBezTo>
                  <a:pt x="1487" y="28"/>
                  <a:pt x="1488" y="28"/>
                  <a:pt x="1488" y="28"/>
                </a:cubicBezTo>
                <a:cubicBezTo>
                  <a:pt x="1488" y="28"/>
                  <a:pt x="1488" y="28"/>
                  <a:pt x="1488" y="28"/>
                </a:cubicBezTo>
                <a:cubicBezTo>
                  <a:pt x="1488" y="28"/>
                  <a:pt x="1488" y="28"/>
                  <a:pt x="1488" y="27"/>
                </a:cubicBezTo>
                <a:cubicBezTo>
                  <a:pt x="1488" y="27"/>
                  <a:pt x="1488" y="27"/>
                  <a:pt x="1488" y="27"/>
                </a:cubicBezTo>
                <a:cubicBezTo>
                  <a:pt x="1489" y="27"/>
                  <a:pt x="1489" y="27"/>
                  <a:pt x="1489" y="27"/>
                </a:cubicBezTo>
                <a:cubicBezTo>
                  <a:pt x="1489" y="27"/>
                  <a:pt x="1489" y="27"/>
                  <a:pt x="1489" y="27"/>
                </a:cubicBezTo>
                <a:cubicBezTo>
                  <a:pt x="1489" y="27"/>
                  <a:pt x="1490" y="27"/>
                  <a:pt x="1490" y="27"/>
                </a:cubicBezTo>
                <a:cubicBezTo>
                  <a:pt x="1490" y="27"/>
                  <a:pt x="1490" y="27"/>
                  <a:pt x="1490" y="27"/>
                </a:cubicBezTo>
                <a:cubicBezTo>
                  <a:pt x="1490" y="26"/>
                  <a:pt x="1490" y="27"/>
                  <a:pt x="1490" y="26"/>
                </a:cubicBezTo>
                <a:cubicBezTo>
                  <a:pt x="1490" y="26"/>
                  <a:pt x="1490" y="26"/>
                  <a:pt x="1490" y="26"/>
                </a:cubicBezTo>
                <a:cubicBezTo>
                  <a:pt x="1491" y="26"/>
                  <a:pt x="1491" y="26"/>
                  <a:pt x="1491" y="26"/>
                </a:cubicBezTo>
                <a:cubicBezTo>
                  <a:pt x="1491" y="26"/>
                  <a:pt x="1491" y="26"/>
                  <a:pt x="1491" y="26"/>
                </a:cubicBezTo>
                <a:cubicBezTo>
                  <a:pt x="1491" y="26"/>
                  <a:pt x="1491" y="26"/>
                  <a:pt x="1491" y="26"/>
                </a:cubicBezTo>
                <a:cubicBezTo>
                  <a:pt x="1491" y="26"/>
                  <a:pt x="1491" y="26"/>
                  <a:pt x="1492" y="26"/>
                </a:cubicBezTo>
                <a:cubicBezTo>
                  <a:pt x="1492" y="26"/>
                  <a:pt x="1492" y="26"/>
                  <a:pt x="1492" y="26"/>
                </a:cubicBezTo>
                <a:cubicBezTo>
                  <a:pt x="1492" y="25"/>
                  <a:pt x="1492" y="25"/>
                  <a:pt x="1492" y="25"/>
                </a:cubicBezTo>
                <a:cubicBezTo>
                  <a:pt x="1492" y="25"/>
                  <a:pt x="1492" y="25"/>
                  <a:pt x="1492" y="25"/>
                </a:cubicBezTo>
                <a:cubicBezTo>
                  <a:pt x="1492" y="25"/>
                  <a:pt x="1493" y="25"/>
                  <a:pt x="1493" y="25"/>
                </a:cubicBezTo>
                <a:cubicBezTo>
                  <a:pt x="1493" y="25"/>
                  <a:pt x="1493" y="25"/>
                  <a:pt x="1493" y="25"/>
                </a:cubicBezTo>
                <a:cubicBezTo>
                  <a:pt x="1493" y="25"/>
                  <a:pt x="1493" y="25"/>
                  <a:pt x="1494" y="24"/>
                </a:cubicBezTo>
                <a:cubicBezTo>
                  <a:pt x="1494" y="25"/>
                  <a:pt x="1494" y="25"/>
                  <a:pt x="1494" y="25"/>
                </a:cubicBezTo>
                <a:cubicBezTo>
                  <a:pt x="1494" y="25"/>
                  <a:pt x="1494" y="24"/>
                  <a:pt x="1494" y="24"/>
                </a:cubicBezTo>
                <a:cubicBezTo>
                  <a:pt x="1494" y="24"/>
                  <a:pt x="1494" y="24"/>
                  <a:pt x="1494" y="24"/>
                </a:cubicBezTo>
                <a:cubicBezTo>
                  <a:pt x="1494" y="24"/>
                  <a:pt x="1495" y="24"/>
                  <a:pt x="1495" y="24"/>
                </a:cubicBezTo>
                <a:cubicBezTo>
                  <a:pt x="1495" y="24"/>
                  <a:pt x="1495" y="24"/>
                  <a:pt x="1495" y="24"/>
                </a:cubicBezTo>
                <a:cubicBezTo>
                  <a:pt x="1495" y="24"/>
                  <a:pt x="1495" y="24"/>
                  <a:pt x="1495" y="24"/>
                </a:cubicBezTo>
                <a:cubicBezTo>
                  <a:pt x="1495" y="24"/>
                  <a:pt x="1495" y="24"/>
                  <a:pt x="1495" y="24"/>
                </a:cubicBezTo>
                <a:cubicBezTo>
                  <a:pt x="1495" y="23"/>
                  <a:pt x="1496" y="23"/>
                  <a:pt x="1496" y="23"/>
                </a:cubicBezTo>
                <a:cubicBezTo>
                  <a:pt x="1496" y="23"/>
                  <a:pt x="1496" y="23"/>
                  <a:pt x="1496" y="23"/>
                </a:cubicBezTo>
                <a:cubicBezTo>
                  <a:pt x="1496" y="23"/>
                  <a:pt x="1496" y="23"/>
                  <a:pt x="1496" y="23"/>
                </a:cubicBezTo>
                <a:cubicBezTo>
                  <a:pt x="1496" y="23"/>
                  <a:pt x="1496" y="23"/>
                  <a:pt x="1496" y="23"/>
                </a:cubicBezTo>
                <a:cubicBezTo>
                  <a:pt x="1496" y="23"/>
                  <a:pt x="1497" y="23"/>
                  <a:pt x="1497" y="22"/>
                </a:cubicBezTo>
                <a:cubicBezTo>
                  <a:pt x="1497" y="22"/>
                  <a:pt x="1497" y="22"/>
                  <a:pt x="1497" y="22"/>
                </a:cubicBezTo>
                <a:cubicBezTo>
                  <a:pt x="1497" y="22"/>
                  <a:pt x="1497" y="22"/>
                  <a:pt x="1497" y="22"/>
                </a:cubicBezTo>
                <a:cubicBezTo>
                  <a:pt x="1497" y="22"/>
                  <a:pt x="1497" y="22"/>
                  <a:pt x="1497" y="22"/>
                </a:cubicBezTo>
                <a:cubicBezTo>
                  <a:pt x="1497" y="22"/>
                  <a:pt x="1498" y="22"/>
                  <a:pt x="1498" y="21"/>
                </a:cubicBezTo>
                <a:cubicBezTo>
                  <a:pt x="1498" y="21"/>
                  <a:pt x="1498" y="21"/>
                  <a:pt x="1498" y="21"/>
                </a:cubicBezTo>
                <a:cubicBezTo>
                  <a:pt x="1498" y="21"/>
                  <a:pt x="1498" y="21"/>
                  <a:pt x="1498" y="21"/>
                </a:cubicBezTo>
                <a:cubicBezTo>
                  <a:pt x="1498" y="21"/>
                  <a:pt x="1498" y="21"/>
                  <a:pt x="1498" y="21"/>
                </a:cubicBezTo>
                <a:cubicBezTo>
                  <a:pt x="1500" y="21"/>
                  <a:pt x="1499" y="22"/>
                  <a:pt x="1499" y="23"/>
                </a:cubicBezTo>
                <a:cubicBezTo>
                  <a:pt x="1499" y="48"/>
                  <a:pt x="1499" y="74"/>
                  <a:pt x="1499" y="99"/>
                </a:cubicBezTo>
                <a:cubicBezTo>
                  <a:pt x="1499" y="100"/>
                  <a:pt x="1499" y="100"/>
                  <a:pt x="1499" y="100"/>
                </a:cubicBezTo>
                <a:cubicBezTo>
                  <a:pt x="1499" y="101"/>
                  <a:pt x="1499" y="102"/>
                  <a:pt x="1500" y="102"/>
                </a:cubicBezTo>
                <a:cubicBezTo>
                  <a:pt x="1503" y="102"/>
                  <a:pt x="1505" y="102"/>
                  <a:pt x="1508" y="102"/>
                </a:cubicBezTo>
                <a:cubicBezTo>
                  <a:pt x="1508" y="102"/>
                  <a:pt x="1509" y="102"/>
                  <a:pt x="1510" y="101"/>
                </a:cubicBezTo>
                <a:cubicBezTo>
                  <a:pt x="1510" y="101"/>
                  <a:pt x="1510" y="101"/>
                  <a:pt x="1510" y="101"/>
                </a:cubicBezTo>
                <a:cubicBezTo>
                  <a:pt x="1510" y="101"/>
                  <a:pt x="1510" y="100"/>
                  <a:pt x="1510" y="100"/>
                </a:cubicBezTo>
                <a:cubicBezTo>
                  <a:pt x="1510" y="69"/>
                  <a:pt x="1510" y="38"/>
                  <a:pt x="1510" y="7"/>
                </a:cubicBezTo>
                <a:cubicBezTo>
                  <a:pt x="1510" y="7"/>
                  <a:pt x="1510" y="6"/>
                  <a:pt x="1510" y="6"/>
                </a:cubicBezTo>
                <a:cubicBezTo>
                  <a:pt x="1510" y="6"/>
                  <a:pt x="1510" y="5"/>
                  <a:pt x="1509" y="5"/>
                </a:cubicBezTo>
                <a:cubicBezTo>
                  <a:pt x="1508" y="5"/>
                  <a:pt x="1507" y="5"/>
                  <a:pt x="1505" y="5"/>
                </a:cubicBezTo>
                <a:cubicBezTo>
                  <a:pt x="1506" y="5"/>
                  <a:pt x="1506" y="5"/>
                  <a:pt x="1506" y="5"/>
                </a:cubicBezTo>
                <a:cubicBezTo>
                  <a:pt x="1505" y="6"/>
                  <a:pt x="1505" y="6"/>
                  <a:pt x="1505" y="6"/>
                </a:cubicBezTo>
                <a:cubicBezTo>
                  <a:pt x="1505" y="6"/>
                  <a:pt x="1505" y="6"/>
                  <a:pt x="1505" y="6"/>
                </a:cubicBezTo>
                <a:cubicBezTo>
                  <a:pt x="1505" y="6"/>
                  <a:pt x="1505" y="6"/>
                  <a:pt x="1505" y="6"/>
                </a:cubicBezTo>
                <a:cubicBezTo>
                  <a:pt x="1505" y="6"/>
                  <a:pt x="1505" y="6"/>
                  <a:pt x="1505" y="6"/>
                </a:cubicBezTo>
                <a:cubicBezTo>
                  <a:pt x="1505" y="6"/>
                  <a:pt x="1504" y="6"/>
                  <a:pt x="1504" y="7"/>
                </a:cubicBezTo>
                <a:cubicBezTo>
                  <a:pt x="1504" y="7"/>
                  <a:pt x="1504" y="7"/>
                  <a:pt x="1504" y="7"/>
                </a:cubicBezTo>
                <a:cubicBezTo>
                  <a:pt x="1504" y="7"/>
                  <a:pt x="1504" y="7"/>
                  <a:pt x="1504" y="7"/>
                </a:cubicBezTo>
                <a:cubicBezTo>
                  <a:pt x="1504" y="7"/>
                  <a:pt x="1504" y="7"/>
                  <a:pt x="1504" y="7"/>
                </a:cubicBezTo>
                <a:cubicBezTo>
                  <a:pt x="1504" y="7"/>
                  <a:pt x="1504" y="7"/>
                  <a:pt x="1503" y="7"/>
                </a:cubicBezTo>
                <a:cubicBezTo>
                  <a:pt x="1503" y="7"/>
                  <a:pt x="1503" y="7"/>
                  <a:pt x="1503" y="7"/>
                </a:cubicBezTo>
                <a:cubicBezTo>
                  <a:pt x="1503" y="7"/>
                  <a:pt x="1503" y="7"/>
                  <a:pt x="1503" y="7"/>
                </a:cubicBezTo>
                <a:cubicBezTo>
                  <a:pt x="1503" y="8"/>
                  <a:pt x="1503" y="8"/>
                  <a:pt x="1503" y="8"/>
                </a:cubicBezTo>
                <a:cubicBezTo>
                  <a:pt x="1503" y="8"/>
                  <a:pt x="1502" y="8"/>
                  <a:pt x="1502" y="8"/>
                </a:cubicBezTo>
                <a:cubicBezTo>
                  <a:pt x="1502" y="8"/>
                  <a:pt x="1502" y="8"/>
                  <a:pt x="1502" y="8"/>
                </a:cubicBezTo>
                <a:cubicBezTo>
                  <a:pt x="1502" y="8"/>
                  <a:pt x="1502" y="8"/>
                  <a:pt x="1502" y="8"/>
                </a:cubicBezTo>
                <a:cubicBezTo>
                  <a:pt x="1502" y="8"/>
                  <a:pt x="1502" y="8"/>
                  <a:pt x="1502" y="8"/>
                </a:cubicBezTo>
                <a:cubicBezTo>
                  <a:pt x="1502" y="8"/>
                  <a:pt x="1501" y="8"/>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0" y="10"/>
                  <a:pt x="1500" y="9"/>
                  <a:pt x="1500" y="10"/>
                </a:cubicBezTo>
                <a:cubicBezTo>
                  <a:pt x="1500" y="10"/>
                  <a:pt x="1500" y="10"/>
                  <a:pt x="1500" y="10"/>
                </a:cubicBezTo>
                <a:cubicBezTo>
                  <a:pt x="1500" y="10"/>
                  <a:pt x="1500" y="10"/>
                  <a:pt x="1500" y="10"/>
                </a:cubicBezTo>
                <a:cubicBezTo>
                  <a:pt x="1500" y="10"/>
                  <a:pt x="1500" y="10"/>
                  <a:pt x="1500" y="10"/>
                </a:cubicBezTo>
                <a:cubicBezTo>
                  <a:pt x="1499" y="10"/>
                  <a:pt x="1499" y="10"/>
                  <a:pt x="1499" y="10"/>
                </a:cubicBezTo>
                <a:cubicBezTo>
                  <a:pt x="1499" y="10"/>
                  <a:pt x="1499" y="10"/>
                  <a:pt x="1499" y="10"/>
                </a:cubicBezTo>
                <a:cubicBezTo>
                  <a:pt x="1499" y="11"/>
                  <a:pt x="1498" y="10"/>
                  <a:pt x="1498" y="11"/>
                </a:cubicBezTo>
                <a:cubicBezTo>
                  <a:pt x="1498" y="11"/>
                  <a:pt x="1498" y="11"/>
                  <a:pt x="1498" y="11"/>
                </a:cubicBezTo>
                <a:cubicBezTo>
                  <a:pt x="1498" y="11"/>
                  <a:pt x="1498" y="11"/>
                  <a:pt x="1498" y="11"/>
                </a:cubicBezTo>
                <a:cubicBezTo>
                  <a:pt x="1498" y="11"/>
                  <a:pt x="1498" y="11"/>
                  <a:pt x="1498" y="11"/>
                </a:cubicBezTo>
                <a:cubicBezTo>
                  <a:pt x="1498" y="11"/>
                  <a:pt x="1497" y="11"/>
                  <a:pt x="1497" y="11"/>
                </a:cubicBezTo>
                <a:cubicBezTo>
                  <a:pt x="1497" y="11"/>
                  <a:pt x="1497" y="11"/>
                  <a:pt x="1497" y="11"/>
                </a:cubicBezTo>
                <a:cubicBezTo>
                  <a:pt x="1497" y="11"/>
                  <a:pt x="1497" y="12"/>
                  <a:pt x="1497" y="12"/>
                </a:cubicBezTo>
                <a:cubicBezTo>
                  <a:pt x="1497" y="12"/>
                  <a:pt x="1497" y="12"/>
                  <a:pt x="1497" y="12"/>
                </a:cubicBezTo>
                <a:cubicBezTo>
                  <a:pt x="1497" y="12"/>
                  <a:pt x="1496" y="12"/>
                  <a:pt x="1496" y="12"/>
                </a:cubicBezTo>
                <a:cubicBezTo>
                  <a:pt x="1496" y="12"/>
                  <a:pt x="1496" y="12"/>
                  <a:pt x="1496" y="12"/>
                </a:cubicBezTo>
                <a:cubicBezTo>
                  <a:pt x="1496" y="12"/>
                  <a:pt x="1496" y="12"/>
                  <a:pt x="1495" y="12"/>
                </a:cubicBezTo>
                <a:cubicBezTo>
                  <a:pt x="1495" y="12"/>
                  <a:pt x="1495" y="12"/>
                  <a:pt x="1495" y="12"/>
                </a:cubicBezTo>
                <a:cubicBezTo>
                  <a:pt x="1495" y="13"/>
                  <a:pt x="1495" y="13"/>
                  <a:pt x="1495" y="13"/>
                </a:cubicBezTo>
                <a:cubicBezTo>
                  <a:pt x="1495" y="13"/>
                  <a:pt x="1495" y="13"/>
                  <a:pt x="1495" y="13"/>
                </a:cubicBezTo>
                <a:cubicBezTo>
                  <a:pt x="1495" y="13"/>
                  <a:pt x="1494" y="13"/>
                  <a:pt x="1494" y="13"/>
                </a:cubicBezTo>
                <a:cubicBezTo>
                  <a:pt x="1494" y="13"/>
                  <a:pt x="1494" y="13"/>
                  <a:pt x="1494" y="13"/>
                </a:cubicBezTo>
                <a:cubicBezTo>
                  <a:pt x="1494" y="13"/>
                  <a:pt x="1494" y="13"/>
                  <a:pt x="1494" y="13"/>
                </a:cubicBezTo>
                <a:cubicBezTo>
                  <a:pt x="1494" y="13"/>
                  <a:pt x="1494" y="13"/>
                  <a:pt x="1494" y="13"/>
                </a:cubicBezTo>
                <a:cubicBezTo>
                  <a:pt x="1493" y="14"/>
                  <a:pt x="1493" y="14"/>
                  <a:pt x="1493" y="14"/>
                </a:cubicBezTo>
                <a:cubicBezTo>
                  <a:pt x="1493" y="14"/>
                  <a:pt x="1493" y="14"/>
                  <a:pt x="1493" y="14"/>
                </a:cubicBezTo>
                <a:cubicBezTo>
                  <a:pt x="1493" y="14"/>
                  <a:pt x="1492" y="14"/>
                  <a:pt x="1492" y="14"/>
                </a:cubicBezTo>
                <a:cubicBezTo>
                  <a:pt x="1492" y="14"/>
                  <a:pt x="1492" y="14"/>
                  <a:pt x="1492" y="14"/>
                </a:cubicBezTo>
                <a:cubicBezTo>
                  <a:pt x="1492" y="14"/>
                  <a:pt x="1492" y="14"/>
                  <a:pt x="1492" y="15"/>
                </a:cubicBezTo>
                <a:cubicBezTo>
                  <a:pt x="1492" y="15"/>
                  <a:pt x="1492" y="15"/>
                  <a:pt x="1492" y="15"/>
                </a:cubicBezTo>
                <a:cubicBezTo>
                  <a:pt x="1491" y="15"/>
                  <a:pt x="1491" y="15"/>
                  <a:pt x="1491" y="15"/>
                </a:cubicBezTo>
                <a:cubicBezTo>
                  <a:pt x="1491" y="15"/>
                  <a:pt x="1491" y="15"/>
                  <a:pt x="1491" y="15"/>
                </a:cubicBezTo>
                <a:cubicBezTo>
                  <a:pt x="1491" y="15"/>
                  <a:pt x="1490" y="15"/>
                  <a:pt x="1490" y="15"/>
                </a:cubicBezTo>
                <a:cubicBezTo>
                  <a:pt x="1490" y="15"/>
                  <a:pt x="1490" y="15"/>
                  <a:pt x="1490" y="15"/>
                </a:cubicBezTo>
                <a:cubicBezTo>
                  <a:pt x="1490" y="15"/>
                  <a:pt x="1490" y="15"/>
                  <a:pt x="1489" y="16"/>
                </a:cubicBezTo>
                <a:cubicBezTo>
                  <a:pt x="1490" y="16"/>
                  <a:pt x="1490" y="16"/>
                  <a:pt x="1490" y="16"/>
                </a:cubicBezTo>
                <a:cubicBezTo>
                  <a:pt x="1489" y="16"/>
                  <a:pt x="1489" y="16"/>
                  <a:pt x="1489" y="16"/>
                </a:cubicBezTo>
                <a:cubicBezTo>
                  <a:pt x="1489" y="16"/>
                  <a:pt x="1489" y="16"/>
                  <a:pt x="1489" y="16"/>
                </a:cubicBezTo>
                <a:cubicBezTo>
                  <a:pt x="1489" y="16"/>
                  <a:pt x="1488" y="16"/>
                  <a:pt x="1488" y="16"/>
                </a:cubicBezTo>
                <a:cubicBezTo>
                  <a:pt x="1488" y="16"/>
                  <a:pt x="1488" y="16"/>
                  <a:pt x="1488" y="16"/>
                </a:cubicBezTo>
                <a:cubicBezTo>
                  <a:pt x="1488" y="16"/>
                  <a:pt x="1488" y="16"/>
                  <a:pt x="1487" y="17"/>
                </a:cubicBezTo>
                <a:cubicBezTo>
                  <a:pt x="1487" y="17"/>
                  <a:pt x="1487" y="17"/>
                  <a:pt x="1487" y="17"/>
                </a:cubicBezTo>
                <a:cubicBezTo>
                  <a:pt x="1487" y="17"/>
                  <a:pt x="1487" y="17"/>
                  <a:pt x="1487" y="17"/>
                </a:cubicBezTo>
                <a:cubicBezTo>
                  <a:pt x="1487" y="17"/>
                  <a:pt x="1487" y="17"/>
                  <a:pt x="1487" y="17"/>
                </a:cubicBezTo>
                <a:cubicBezTo>
                  <a:pt x="1486" y="17"/>
                  <a:pt x="1486" y="17"/>
                  <a:pt x="1486" y="17"/>
                </a:cubicBezTo>
                <a:cubicBezTo>
                  <a:pt x="1486" y="17"/>
                  <a:pt x="1486" y="17"/>
                  <a:pt x="1486" y="17"/>
                </a:cubicBezTo>
                <a:cubicBezTo>
                  <a:pt x="1486" y="17"/>
                  <a:pt x="1486" y="17"/>
                  <a:pt x="1486" y="17"/>
                </a:cubicBezTo>
                <a:cubicBezTo>
                  <a:pt x="1486" y="17"/>
                  <a:pt x="1485" y="17"/>
                  <a:pt x="1485" y="18"/>
                </a:cubicBezTo>
                <a:cubicBezTo>
                  <a:pt x="1485" y="18"/>
                  <a:pt x="1485" y="18"/>
                  <a:pt x="1485" y="18"/>
                </a:cubicBezTo>
                <a:cubicBezTo>
                  <a:pt x="1485" y="18"/>
                  <a:pt x="1484" y="18"/>
                  <a:pt x="1484" y="18"/>
                </a:cubicBezTo>
                <a:cubicBezTo>
                  <a:pt x="1484" y="18"/>
                  <a:pt x="1484" y="18"/>
                  <a:pt x="1484" y="18"/>
                </a:cubicBezTo>
                <a:cubicBezTo>
                  <a:pt x="1484" y="18"/>
                  <a:pt x="1484" y="18"/>
                  <a:pt x="1484" y="18"/>
                </a:cubicBezTo>
                <a:cubicBezTo>
                  <a:pt x="1483" y="18"/>
                  <a:pt x="1483" y="18"/>
                  <a:pt x="1483" y="18"/>
                </a:cubicBezTo>
                <a:cubicBezTo>
                  <a:pt x="1483" y="18"/>
                  <a:pt x="1483" y="18"/>
                  <a:pt x="1482" y="19"/>
                </a:cubicBezTo>
                <a:cubicBezTo>
                  <a:pt x="1482" y="19"/>
                  <a:pt x="1482" y="19"/>
                  <a:pt x="1482" y="19"/>
                </a:cubicBezTo>
                <a:cubicBezTo>
                  <a:pt x="1482" y="19"/>
                  <a:pt x="1482" y="19"/>
                  <a:pt x="1481" y="19"/>
                </a:cubicBezTo>
                <a:cubicBezTo>
                  <a:pt x="1481" y="19"/>
                  <a:pt x="1481" y="19"/>
                  <a:pt x="1481" y="19"/>
                </a:cubicBezTo>
                <a:cubicBezTo>
                  <a:pt x="1481" y="19"/>
                  <a:pt x="1481" y="19"/>
                  <a:pt x="1480" y="19"/>
                </a:cubicBezTo>
                <a:cubicBezTo>
                  <a:pt x="1480" y="19"/>
                  <a:pt x="1480" y="19"/>
                  <a:pt x="1480" y="19"/>
                </a:cubicBezTo>
                <a:cubicBezTo>
                  <a:pt x="1480" y="20"/>
                  <a:pt x="1480" y="19"/>
                  <a:pt x="1479" y="20"/>
                </a:cubicBezTo>
                <a:cubicBezTo>
                  <a:pt x="1479" y="20"/>
                  <a:pt x="1479" y="20"/>
                  <a:pt x="1479" y="20"/>
                </a:cubicBezTo>
                <a:cubicBezTo>
                  <a:pt x="1479" y="20"/>
                  <a:pt x="1479" y="20"/>
                  <a:pt x="1478" y="20"/>
                </a:cubicBezTo>
                <a:cubicBezTo>
                  <a:pt x="1478" y="20"/>
                  <a:pt x="1478" y="20"/>
                  <a:pt x="1478" y="20"/>
                </a:cubicBezTo>
                <a:cubicBezTo>
                  <a:pt x="1478" y="20"/>
                  <a:pt x="1477" y="20"/>
                  <a:pt x="1477" y="21"/>
                </a:cubicBezTo>
                <a:cubicBezTo>
                  <a:pt x="1477" y="24"/>
                  <a:pt x="1477" y="28"/>
                  <a:pt x="1477" y="31"/>
                </a:cubicBezTo>
                <a:cubicBezTo>
                  <a:pt x="1478" y="32"/>
                  <a:pt x="1478" y="31"/>
                  <a:pt x="1479" y="31"/>
                </a:cubicBezTo>
                <a:cubicBezTo>
                  <a:pt x="1479" y="31"/>
                  <a:pt x="1479" y="31"/>
                  <a:pt x="1479" y="31"/>
                </a:cubicBezTo>
                <a:cubicBezTo>
                  <a:pt x="1479" y="31"/>
                  <a:pt x="1479" y="31"/>
                  <a:pt x="1480" y="31"/>
                </a:cubicBezTo>
                <a:cubicBezTo>
                  <a:pt x="1480" y="31"/>
                  <a:pt x="1480" y="31"/>
                  <a:pt x="1480" y="31"/>
                </a:cubicBezTo>
                <a:cubicBezTo>
                  <a:pt x="1480" y="31"/>
                  <a:pt x="1480" y="31"/>
                  <a:pt x="1480" y="31"/>
                </a:cubicBezTo>
                <a:cubicBezTo>
                  <a:pt x="1480" y="31"/>
                  <a:pt x="1481" y="31"/>
                  <a:pt x="1481" y="31"/>
                </a:cubicBezTo>
                <a:cubicBezTo>
                  <a:pt x="1481" y="30"/>
                  <a:pt x="1481" y="30"/>
                  <a:pt x="1481" y="30"/>
                </a:cubicBezTo>
                <a:cubicBezTo>
                  <a:pt x="1481" y="30"/>
                  <a:pt x="1481" y="30"/>
                  <a:pt x="1481" y="30"/>
                </a:cubicBezTo>
                <a:cubicBezTo>
                  <a:pt x="1481" y="30"/>
                  <a:pt x="1482" y="30"/>
                  <a:pt x="1482" y="30"/>
                </a:cubicBezTo>
                <a:cubicBezTo>
                  <a:pt x="1482" y="30"/>
                  <a:pt x="1482" y="30"/>
                  <a:pt x="1482" y="30"/>
                </a:cubicBezTo>
                <a:cubicBezTo>
                  <a:pt x="1482" y="30"/>
                  <a:pt x="1483" y="30"/>
                  <a:pt x="1483" y="30"/>
                </a:cubicBezTo>
                <a:cubicBezTo>
                  <a:pt x="1483" y="30"/>
                  <a:pt x="1483" y="30"/>
                  <a:pt x="1483" y="30"/>
                </a:cubicBezTo>
                <a:cubicBezTo>
                  <a:pt x="1483" y="30"/>
                  <a:pt x="1483" y="30"/>
                  <a:pt x="1484" y="29"/>
                </a:cubicBezTo>
                <a:cubicBezTo>
                  <a:pt x="1484" y="29"/>
                  <a:pt x="1484" y="29"/>
                  <a:pt x="1484" y="29"/>
                </a:cubicBezTo>
                <a:cubicBezTo>
                  <a:pt x="1484" y="29"/>
                  <a:pt x="1484" y="29"/>
                  <a:pt x="1484" y="29"/>
                </a:cubicBezTo>
                <a:cubicBezTo>
                  <a:pt x="1484" y="29"/>
                  <a:pt x="1484" y="29"/>
                  <a:pt x="1485" y="29"/>
                </a:cubicBezTo>
                <a:cubicBezTo>
                  <a:pt x="1485" y="29"/>
                  <a:pt x="1485" y="29"/>
                  <a:pt x="1485" y="29"/>
                </a:cubicBezTo>
                <a:cubicBezTo>
                  <a:pt x="1485" y="29"/>
                  <a:pt x="1485" y="29"/>
                  <a:pt x="1485" y="29"/>
                </a:cubicBezTo>
                <a:cubicBezTo>
                  <a:pt x="1485" y="29"/>
                  <a:pt x="1485" y="29"/>
                  <a:pt x="1485" y="29"/>
                </a:cubicBezTo>
                <a:cubicBezTo>
                  <a:pt x="1485" y="29"/>
                  <a:pt x="1486" y="29"/>
                  <a:pt x="1486" y="28"/>
                </a:cubicBezTo>
                <a:cubicBezTo>
                  <a:pt x="1486" y="28"/>
                  <a:pt x="1486" y="28"/>
                  <a:pt x="1486" y="28"/>
                </a:cubicBezTo>
                <a:cubicBezTo>
                  <a:pt x="1486" y="28"/>
                  <a:pt x="1486" y="28"/>
                  <a:pt x="1486" y="28"/>
                </a:cubicBezTo>
                <a:cubicBezTo>
                  <a:pt x="1486" y="28"/>
                  <a:pt x="1487" y="28"/>
                  <a:pt x="1487" y="28"/>
                </a:cubicBezTo>
                <a:close/>
                <a:moveTo>
                  <a:pt x="211" y="46"/>
                </a:moveTo>
                <a:cubicBezTo>
                  <a:pt x="211" y="42"/>
                  <a:pt x="211" y="39"/>
                  <a:pt x="211" y="36"/>
                </a:cubicBezTo>
                <a:cubicBezTo>
                  <a:pt x="211" y="34"/>
                  <a:pt x="211" y="34"/>
                  <a:pt x="210" y="34"/>
                </a:cubicBezTo>
                <a:cubicBezTo>
                  <a:pt x="208" y="34"/>
                  <a:pt x="205" y="34"/>
                  <a:pt x="203" y="34"/>
                </a:cubicBezTo>
                <a:cubicBezTo>
                  <a:pt x="200" y="34"/>
                  <a:pt x="201" y="34"/>
                  <a:pt x="201" y="36"/>
                </a:cubicBezTo>
                <a:cubicBezTo>
                  <a:pt x="201" y="57"/>
                  <a:pt x="201" y="78"/>
                  <a:pt x="201" y="99"/>
                </a:cubicBezTo>
                <a:cubicBezTo>
                  <a:pt x="201" y="100"/>
                  <a:pt x="201" y="100"/>
                  <a:pt x="201" y="100"/>
                </a:cubicBezTo>
                <a:cubicBezTo>
                  <a:pt x="201" y="101"/>
                  <a:pt x="201" y="101"/>
                  <a:pt x="202" y="101"/>
                </a:cubicBezTo>
                <a:cubicBezTo>
                  <a:pt x="205" y="101"/>
                  <a:pt x="207" y="101"/>
                  <a:pt x="210" y="101"/>
                </a:cubicBezTo>
                <a:cubicBezTo>
                  <a:pt x="212" y="101"/>
                  <a:pt x="211" y="102"/>
                  <a:pt x="211" y="100"/>
                </a:cubicBezTo>
                <a:cubicBezTo>
                  <a:pt x="211" y="89"/>
                  <a:pt x="211" y="78"/>
                  <a:pt x="211" y="68"/>
                </a:cubicBezTo>
                <a:cubicBezTo>
                  <a:pt x="211" y="65"/>
                  <a:pt x="212" y="63"/>
                  <a:pt x="212" y="60"/>
                </a:cubicBezTo>
                <a:cubicBezTo>
                  <a:pt x="213" y="55"/>
                  <a:pt x="214" y="51"/>
                  <a:pt x="218" y="47"/>
                </a:cubicBezTo>
                <a:cubicBezTo>
                  <a:pt x="220" y="44"/>
                  <a:pt x="224" y="43"/>
                  <a:pt x="228" y="43"/>
                </a:cubicBezTo>
                <a:cubicBezTo>
                  <a:pt x="230" y="43"/>
                  <a:pt x="233" y="44"/>
                  <a:pt x="236" y="45"/>
                </a:cubicBezTo>
                <a:cubicBezTo>
                  <a:pt x="236" y="42"/>
                  <a:pt x="236" y="39"/>
                  <a:pt x="236" y="35"/>
                </a:cubicBezTo>
                <a:cubicBezTo>
                  <a:pt x="236" y="34"/>
                  <a:pt x="236" y="34"/>
                  <a:pt x="234" y="34"/>
                </a:cubicBezTo>
                <a:cubicBezTo>
                  <a:pt x="227" y="32"/>
                  <a:pt x="221" y="34"/>
                  <a:pt x="216" y="40"/>
                </a:cubicBezTo>
                <a:cubicBezTo>
                  <a:pt x="214" y="42"/>
                  <a:pt x="213" y="44"/>
                  <a:pt x="212" y="46"/>
                </a:cubicBezTo>
                <a:cubicBezTo>
                  <a:pt x="212" y="47"/>
                  <a:pt x="212" y="47"/>
                  <a:pt x="212" y="48"/>
                </a:cubicBezTo>
                <a:cubicBezTo>
                  <a:pt x="211" y="47"/>
                  <a:pt x="211" y="46"/>
                  <a:pt x="211" y="46"/>
                </a:cubicBezTo>
                <a:close/>
                <a:moveTo>
                  <a:pt x="1289" y="58"/>
                </a:moveTo>
                <a:cubicBezTo>
                  <a:pt x="1289" y="58"/>
                  <a:pt x="1289" y="58"/>
                  <a:pt x="1289" y="58"/>
                </a:cubicBezTo>
                <a:cubicBezTo>
                  <a:pt x="1289" y="58"/>
                  <a:pt x="1289" y="57"/>
                  <a:pt x="1289" y="57"/>
                </a:cubicBezTo>
                <a:cubicBezTo>
                  <a:pt x="1289" y="57"/>
                  <a:pt x="1289" y="57"/>
                  <a:pt x="1289" y="57"/>
                </a:cubicBezTo>
                <a:cubicBezTo>
                  <a:pt x="1290" y="56"/>
                  <a:pt x="1289" y="56"/>
                  <a:pt x="1290" y="56"/>
                </a:cubicBezTo>
                <a:cubicBezTo>
                  <a:pt x="1290" y="56"/>
                  <a:pt x="1290" y="56"/>
                  <a:pt x="1290" y="56"/>
                </a:cubicBezTo>
                <a:cubicBezTo>
                  <a:pt x="1290" y="55"/>
                  <a:pt x="1290" y="55"/>
                  <a:pt x="1290" y="55"/>
                </a:cubicBezTo>
                <a:cubicBezTo>
                  <a:pt x="1290" y="55"/>
                  <a:pt x="1290" y="55"/>
                  <a:pt x="1290" y="55"/>
                </a:cubicBezTo>
                <a:cubicBezTo>
                  <a:pt x="1290" y="54"/>
                  <a:pt x="1290" y="54"/>
                  <a:pt x="1290" y="54"/>
                </a:cubicBezTo>
                <a:cubicBezTo>
                  <a:pt x="1290" y="54"/>
                  <a:pt x="1290" y="54"/>
                  <a:pt x="1290" y="54"/>
                </a:cubicBezTo>
                <a:cubicBezTo>
                  <a:pt x="1291" y="54"/>
                  <a:pt x="1291" y="53"/>
                  <a:pt x="1291" y="53"/>
                </a:cubicBezTo>
                <a:cubicBezTo>
                  <a:pt x="1291" y="53"/>
                  <a:pt x="1291" y="53"/>
                  <a:pt x="1291" y="53"/>
                </a:cubicBezTo>
                <a:cubicBezTo>
                  <a:pt x="1291" y="53"/>
                  <a:pt x="1291" y="53"/>
                  <a:pt x="1291" y="52"/>
                </a:cubicBezTo>
                <a:cubicBezTo>
                  <a:pt x="1291" y="52"/>
                  <a:pt x="1291" y="52"/>
                  <a:pt x="1291" y="52"/>
                </a:cubicBezTo>
                <a:cubicBezTo>
                  <a:pt x="1291" y="52"/>
                  <a:pt x="1291" y="52"/>
                  <a:pt x="1291" y="52"/>
                </a:cubicBezTo>
                <a:cubicBezTo>
                  <a:pt x="1291" y="52"/>
                  <a:pt x="1291" y="52"/>
                  <a:pt x="1291" y="52"/>
                </a:cubicBezTo>
                <a:cubicBezTo>
                  <a:pt x="1292" y="52"/>
                  <a:pt x="1292" y="51"/>
                  <a:pt x="1292" y="51"/>
                </a:cubicBezTo>
                <a:cubicBezTo>
                  <a:pt x="1292" y="51"/>
                  <a:pt x="1292" y="51"/>
                  <a:pt x="1292" y="51"/>
                </a:cubicBezTo>
                <a:cubicBezTo>
                  <a:pt x="1292" y="51"/>
                  <a:pt x="1292" y="51"/>
                  <a:pt x="1292" y="50"/>
                </a:cubicBezTo>
                <a:cubicBezTo>
                  <a:pt x="1292" y="50"/>
                  <a:pt x="1292" y="50"/>
                  <a:pt x="1292" y="50"/>
                </a:cubicBezTo>
                <a:cubicBezTo>
                  <a:pt x="1292" y="50"/>
                  <a:pt x="1292" y="50"/>
                  <a:pt x="1292" y="50"/>
                </a:cubicBezTo>
                <a:cubicBezTo>
                  <a:pt x="1292" y="50"/>
                  <a:pt x="1292" y="50"/>
                  <a:pt x="1292" y="50"/>
                </a:cubicBezTo>
                <a:cubicBezTo>
                  <a:pt x="1293" y="50"/>
                  <a:pt x="1293" y="49"/>
                  <a:pt x="1293" y="49"/>
                </a:cubicBezTo>
                <a:cubicBezTo>
                  <a:pt x="1293" y="49"/>
                  <a:pt x="1293" y="49"/>
                  <a:pt x="1293" y="49"/>
                </a:cubicBezTo>
                <a:cubicBezTo>
                  <a:pt x="1293" y="49"/>
                  <a:pt x="1293" y="49"/>
                  <a:pt x="1293" y="49"/>
                </a:cubicBezTo>
                <a:cubicBezTo>
                  <a:pt x="1293" y="49"/>
                  <a:pt x="1293" y="49"/>
                  <a:pt x="1293" y="49"/>
                </a:cubicBezTo>
                <a:cubicBezTo>
                  <a:pt x="1293" y="49"/>
                  <a:pt x="1293" y="49"/>
                  <a:pt x="1293" y="48"/>
                </a:cubicBezTo>
                <a:cubicBezTo>
                  <a:pt x="1293" y="49"/>
                  <a:pt x="1293" y="49"/>
                  <a:pt x="1293" y="49"/>
                </a:cubicBezTo>
                <a:cubicBezTo>
                  <a:pt x="1294" y="48"/>
                  <a:pt x="1294" y="48"/>
                  <a:pt x="1294" y="48"/>
                </a:cubicBezTo>
                <a:cubicBezTo>
                  <a:pt x="1294" y="48"/>
                  <a:pt x="1294" y="48"/>
                  <a:pt x="1294" y="48"/>
                </a:cubicBezTo>
                <a:cubicBezTo>
                  <a:pt x="1294" y="48"/>
                  <a:pt x="1294" y="48"/>
                  <a:pt x="1294" y="48"/>
                </a:cubicBezTo>
                <a:cubicBezTo>
                  <a:pt x="1294" y="48"/>
                  <a:pt x="1294" y="48"/>
                  <a:pt x="1294" y="48"/>
                </a:cubicBezTo>
                <a:cubicBezTo>
                  <a:pt x="1294" y="47"/>
                  <a:pt x="1294"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6"/>
                  <a:pt x="1295" y="46"/>
                  <a:pt x="1296" y="46"/>
                </a:cubicBezTo>
                <a:cubicBezTo>
                  <a:pt x="1296" y="46"/>
                  <a:pt x="1296" y="46"/>
                  <a:pt x="1296" y="46"/>
                </a:cubicBezTo>
                <a:cubicBezTo>
                  <a:pt x="1296" y="46"/>
                  <a:pt x="1296" y="46"/>
                  <a:pt x="1296" y="46"/>
                </a:cubicBezTo>
                <a:cubicBezTo>
                  <a:pt x="1296" y="46"/>
                  <a:pt x="1296" y="46"/>
                  <a:pt x="1296" y="46"/>
                </a:cubicBezTo>
                <a:cubicBezTo>
                  <a:pt x="1296" y="46"/>
                  <a:pt x="1296" y="46"/>
                  <a:pt x="1297" y="45"/>
                </a:cubicBezTo>
                <a:cubicBezTo>
                  <a:pt x="1297" y="45"/>
                  <a:pt x="1297" y="45"/>
                  <a:pt x="1297" y="45"/>
                </a:cubicBezTo>
                <a:cubicBezTo>
                  <a:pt x="1297" y="45"/>
                  <a:pt x="1297" y="45"/>
                  <a:pt x="1297" y="45"/>
                </a:cubicBezTo>
                <a:cubicBezTo>
                  <a:pt x="1297" y="45"/>
                  <a:pt x="1297" y="45"/>
                  <a:pt x="1297" y="45"/>
                </a:cubicBezTo>
                <a:cubicBezTo>
                  <a:pt x="1297" y="45"/>
                  <a:pt x="1297" y="45"/>
                  <a:pt x="1298" y="45"/>
                </a:cubicBezTo>
                <a:cubicBezTo>
                  <a:pt x="1298" y="45"/>
                  <a:pt x="1298" y="45"/>
                  <a:pt x="1298" y="45"/>
                </a:cubicBezTo>
                <a:cubicBezTo>
                  <a:pt x="1298" y="45"/>
                  <a:pt x="1298" y="45"/>
                  <a:pt x="1298" y="44"/>
                </a:cubicBezTo>
                <a:cubicBezTo>
                  <a:pt x="1298" y="44"/>
                  <a:pt x="1298" y="44"/>
                  <a:pt x="1298" y="44"/>
                </a:cubicBezTo>
                <a:cubicBezTo>
                  <a:pt x="1299" y="44"/>
                  <a:pt x="1299" y="44"/>
                  <a:pt x="1299" y="44"/>
                </a:cubicBezTo>
                <a:cubicBezTo>
                  <a:pt x="1299" y="44"/>
                  <a:pt x="1299" y="44"/>
                  <a:pt x="1299" y="44"/>
                </a:cubicBezTo>
                <a:cubicBezTo>
                  <a:pt x="1299" y="44"/>
                  <a:pt x="1300" y="44"/>
                  <a:pt x="1300" y="44"/>
                </a:cubicBezTo>
                <a:cubicBezTo>
                  <a:pt x="1300" y="44"/>
                  <a:pt x="1300" y="44"/>
                  <a:pt x="1300" y="44"/>
                </a:cubicBezTo>
                <a:cubicBezTo>
                  <a:pt x="1300" y="44"/>
                  <a:pt x="1300" y="44"/>
                  <a:pt x="1300" y="44"/>
                </a:cubicBezTo>
                <a:cubicBezTo>
                  <a:pt x="1301" y="44"/>
                  <a:pt x="1301" y="44"/>
                  <a:pt x="1301" y="43"/>
                </a:cubicBezTo>
                <a:cubicBezTo>
                  <a:pt x="1302" y="43"/>
                  <a:pt x="1302" y="43"/>
                  <a:pt x="1302" y="43"/>
                </a:cubicBezTo>
                <a:cubicBezTo>
                  <a:pt x="1302" y="43"/>
                  <a:pt x="1302" y="43"/>
                  <a:pt x="1302" y="43"/>
                </a:cubicBezTo>
                <a:cubicBezTo>
                  <a:pt x="1303" y="43"/>
                  <a:pt x="1305" y="43"/>
                  <a:pt x="1307" y="43"/>
                </a:cubicBezTo>
                <a:cubicBezTo>
                  <a:pt x="1307" y="43"/>
                  <a:pt x="1307" y="43"/>
                  <a:pt x="1307" y="43"/>
                </a:cubicBezTo>
                <a:cubicBezTo>
                  <a:pt x="1308" y="44"/>
                  <a:pt x="1308" y="43"/>
                  <a:pt x="1309" y="44"/>
                </a:cubicBezTo>
                <a:cubicBezTo>
                  <a:pt x="1309" y="44"/>
                  <a:pt x="1309" y="44"/>
                  <a:pt x="1309" y="44"/>
                </a:cubicBezTo>
                <a:cubicBezTo>
                  <a:pt x="1309" y="44"/>
                  <a:pt x="1309" y="44"/>
                  <a:pt x="1309" y="44"/>
                </a:cubicBezTo>
                <a:cubicBezTo>
                  <a:pt x="1309" y="44"/>
                  <a:pt x="1309" y="44"/>
                  <a:pt x="1310" y="44"/>
                </a:cubicBezTo>
                <a:cubicBezTo>
                  <a:pt x="1310" y="44"/>
                  <a:pt x="1310" y="44"/>
                  <a:pt x="1310" y="44"/>
                </a:cubicBezTo>
                <a:cubicBezTo>
                  <a:pt x="1310" y="44"/>
                  <a:pt x="1310" y="44"/>
                  <a:pt x="1310" y="44"/>
                </a:cubicBezTo>
                <a:cubicBezTo>
                  <a:pt x="1310" y="44"/>
                  <a:pt x="1310" y="44"/>
                  <a:pt x="1311" y="44"/>
                </a:cubicBezTo>
                <a:cubicBezTo>
                  <a:pt x="1311" y="44"/>
                  <a:pt x="1311" y="44"/>
                  <a:pt x="1311" y="44"/>
                </a:cubicBezTo>
                <a:cubicBezTo>
                  <a:pt x="1311" y="45"/>
                  <a:pt x="1311" y="45"/>
                  <a:pt x="1311" y="45"/>
                </a:cubicBezTo>
                <a:cubicBezTo>
                  <a:pt x="1311" y="45"/>
                  <a:pt x="1311" y="45"/>
                  <a:pt x="1311" y="45"/>
                </a:cubicBezTo>
                <a:cubicBezTo>
                  <a:pt x="1311" y="45"/>
                  <a:pt x="1311" y="45"/>
                  <a:pt x="1312" y="45"/>
                </a:cubicBezTo>
                <a:cubicBezTo>
                  <a:pt x="1312" y="45"/>
                  <a:pt x="1312" y="45"/>
                  <a:pt x="1312" y="45"/>
                </a:cubicBezTo>
                <a:cubicBezTo>
                  <a:pt x="1312" y="45"/>
                  <a:pt x="1312" y="45"/>
                  <a:pt x="1312" y="45"/>
                </a:cubicBezTo>
                <a:cubicBezTo>
                  <a:pt x="1312" y="41"/>
                  <a:pt x="1312" y="38"/>
                  <a:pt x="1312" y="34"/>
                </a:cubicBezTo>
                <a:cubicBezTo>
                  <a:pt x="1312" y="34"/>
                  <a:pt x="1312" y="34"/>
                  <a:pt x="1311" y="34"/>
                </a:cubicBezTo>
                <a:cubicBezTo>
                  <a:pt x="1311" y="34"/>
                  <a:pt x="1311" y="34"/>
                  <a:pt x="1311" y="34"/>
                </a:cubicBezTo>
                <a:cubicBezTo>
                  <a:pt x="1311" y="33"/>
                  <a:pt x="1310" y="34"/>
                  <a:pt x="1310" y="33"/>
                </a:cubicBezTo>
                <a:cubicBezTo>
                  <a:pt x="1310" y="33"/>
                  <a:pt x="1310" y="33"/>
                  <a:pt x="1309" y="33"/>
                </a:cubicBezTo>
                <a:cubicBezTo>
                  <a:pt x="1307" y="33"/>
                  <a:pt x="1305" y="33"/>
                  <a:pt x="1303" y="33"/>
                </a:cubicBezTo>
                <a:cubicBezTo>
                  <a:pt x="1302" y="33"/>
                  <a:pt x="1302" y="33"/>
                  <a:pt x="1302" y="33"/>
                </a:cubicBezTo>
                <a:cubicBezTo>
                  <a:pt x="1302" y="33"/>
                  <a:pt x="1302" y="33"/>
                  <a:pt x="1302" y="33"/>
                </a:cubicBezTo>
                <a:cubicBezTo>
                  <a:pt x="1302" y="34"/>
                  <a:pt x="1301" y="33"/>
                  <a:pt x="1301" y="34"/>
                </a:cubicBezTo>
                <a:cubicBezTo>
                  <a:pt x="1301" y="34"/>
                  <a:pt x="1301" y="34"/>
                  <a:pt x="1301" y="34"/>
                </a:cubicBezTo>
                <a:cubicBezTo>
                  <a:pt x="1301" y="34"/>
                  <a:pt x="1301" y="34"/>
                  <a:pt x="1301" y="34"/>
                </a:cubicBezTo>
                <a:cubicBezTo>
                  <a:pt x="1301" y="34"/>
                  <a:pt x="1300" y="34"/>
                  <a:pt x="1300" y="34"/>
                </a:cubicBezTo>
                <a:cubicBezTo>
                  <a:pt x="1300" y="34"/>
                  <a:pt x="1300" y="34"/>
                  <a:pt x="1300" y="34"/>
                </a:cubicBezTo>
                <a:cubicBezTo>
                  <a:pt x="1300" y="34"/>
                  <a:pt x="1300" y="34"/>
                  <a:pt x="1300" y="34"/>
                </a:cubicBezTo>
                <a:cubicBezTo>
                  <a:pt x="1300" y="34"/>
                  <a:pt x="1299" y="34"/>
                  <a:pt x="1299" y="34"/>
                </a:cubicBezTo>
                <a:cubicBezTo>
                  <a:pt x="1299" y="34"/>
                  <a:pt x="1299" y="34"/>
                  <a:pt x="1299" y="34"/>
                </a:cubicBezTo>
                <a:cubicBezTo>
                  <a:pt x="1299" y="35"/>
                  <a:pt x="1299" y="34"/>
                  <a:pt x="1298" y="35"/>
                </a:cubicBezTo>
                <a:cubicBezTo>
                  <a:pt x="1298" y="35"/>
                  <a:pt x="1298" y="35"/>
                  <a:pt x="1298" y="35"/>
                </a:cubicBezTo>
                <a:cubicBezTo>
                  <a:pt x="1298" y="35"/>
                  <a:pt x="1298" y="35"/>
                  <a:pt x="1298" y="35"/>
                </a:cubicBezTo>
                <a:cubicBezTo>
                  <a:pt x="1298" y="35"/>
                  <a:pt x="1298" y="35"/>
                  <a:pt x="1298" y="35"/>
                </a:cubicBezTo>
                <a:cubicBezTo>
                  <a:pt x="1298" y="35"/>
                  <a:pt x="1297" y="35"/>
                  <a:pt x="1297" y="35"/>
                </a:cubicBezTo>
                <a:cubicBezTo>
                  <a:pt x="1297" y="35"/>
                  <a:pt x="1297" y="35"/>
                  <a:pt x="1297" y="35"/>
                </a:cubicBezTo>
                <a:cubicBezTo>
                  <a:pt x="1297" y="36"/>
                  <a:pt x="1297" y="36"/>
                  <a:pt x="1297" y="36"/>
                </a:cubicBezTo>
                <a:cubicBezTo>
                  <a:pt x="1297" y="36"/>
                  <a:pt x="1297" y="36"/>
                  <a:pt x="1297" y="36"/>
                </a:cubicBezTo>
                <a:cubicBezTo>
                  <a:pt x="1296" y="36"/>
                  <a:pt x="1296" y="36"/>
                  <a:pt x="1296" y="36"/>
                </a:cubicBezTo>
                <a:cubicBezTo>
                  <a:pt x="1296" y="36"/>
                  <a:pt x="1296" y="36"/>
                  <a:pt x="1296" y="36"/>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4" y="38"/>
                  <a:pt x="1293" y="38"/>
                  <a:pt x="1293" y="39"/>
                </a:cubicBezTo>
                <a:cubicBezTo>
                  <a:pt x="1293" y="39"/>
                  <a:pt x="1293" y="39"/>
                  <a:pt x="1293" y="39"/>
                </a:cubicBezTo>
                <a:cubicBezTo>
                  <a:pt x="1293" y="39"/>
                  <a:pt x="1293" y="39"/>
                  <a:pt x="1293" y="39"/>
                </a:cubicBezTo>
                <a:cubicBezTo>
                  <a:pt x="1293" y="39"/>
                  <a:pt x="1293" y="39"/>
                  <a:pt x="1293" y="39"/>
                </a:cubicBezTo>
                <a:cubicBezTo>
                  <a:pt x="1293" y="39"/>
                  <a:pt x="1293" y="39"/>
                  <a:pt x="1292" y="40"/>
                </a:cubicBezTo>
                <a:cubicBezTo>
                  <a:pt x="1292" y="40"/>
                  <a:pt x="1292" y="40"/>
                  <a:pt x="1292" y="40"/>
                </a:cubicBezTo>
                <a:cubicBezTo>
                  <a:pt x="1292" y="40"/>
                  <a:pt x="1292" y="40"/>
                  <a:pt x="1292" y="40"/>
                </a:cubicBezTo>
                <a:cubicBezTo>
                  <a:pt x="1292" y="40"/>
                  <a:pt x="1292" y="40"/>
                  <a:pt x="1292" y="40"/>
                </a:cubicBezTo>
                <a:cubicBezTo>
                  <a:pt x="1292" y="40"/>
                  <a:pt x="1292" y="40"/>
                  <a:pt x="1292" y="41"/>
                </a:cubicBezTo>
                <a:cubicBezTo>
                  <a:pt x="1292" y="41"/>
                  <a:pt x="1292" y="41"/>
                  <a:pt x="1292" y="41"/>
                </a:cubicBezTo>
                <a:cubicBezTo>
                  <a:pt x="1292" y="41"/>
                  <a:pt x="1291" y="41"/>
                  <a:pt x="1291" y="41"/>
                </a:cubicBezTo>
                <a:cubicBezTo>
                  <a:pt x="1291" y="41"/>
                  <a:pt x="1291" y="41"/>
                  <a:pt x="1291" y="41"/>
                </a:cubicBezTo>
                <a:cubicBezTo>
                  <a:pt x="1291" y="41"/>
                  <a:pt x="1291" y="41"/>
                  <a:pt x="1291" y="42"/>
                </a:cubicBezTo>
                <a:cubicBezTo>
                  <a:pt x="1291" y="42"/>
                  <a:pt x="1291" y="42"/>
                  <a:pt x="1291" y="42"/>
                </a:cubicBezTo>
                <a:cubicBezTo>
                  <a:pt x="1291" y="42"/>
                  <a:pt x="1291" y="42"/>
                  <a:pt x="1291" y="42"/>
                </a:cubicBezTo>
                <a:cubicBezTo>
                  <a:pt x="1291" y="42"/>
                  <a:pt x="1291" y="42"/>
                  <a:pt x="1291" y="42"/>
                </a:cubicBezTo>
                <a:cubicBezTo>
                  <a:pt x="1290" y="42"/>
                  <a:pt x="1291" y="43"/>
                  <a:pt x="1290" y="43"/>
                </a:cubicBezTo>
                <a:cubicBezTo>
                  <a:pt x="1290" y="43"/>
                  <a:pt x="1290" y="43"/>
                  <a:pt x="1290" y="43"/>
                </a:cubicBezTo>
                <a:cubicBezTo>
                  <a:pt x="1290" y="43"/>
                  <a:pt x="1290" y="43"/>
                  <a:pt x="1290" y="43"/>
                </a:cubicBezTo>
                <a:cubicBezTo>
                  <a:pt x="1290" y="43"/>
                  <a:pt x="1290" y="43"/>
                  <a:pt x="1290" y="43"/>
                </a:cubicBezTo>
                <a:cubicBezTo>
                  <a:pt x="1290" y="44"/>
                  <a:pt x="1290" y="44"/>
                  <a:pt x="1290" y="44"/>
                </a:cubicBezTo>
                <a:cubicBezTo>
                  <a:pt x="1290" y="44"/>
                  <a:pt x="1290" y="44"/>
                  <a:pt x="1290" y="44"/>
                </a:cubicBezTo>
                <a:cubicBezTo>
                  <a:pt x="1289" y="44"/>
                  <a:pt x="1290" y="45"/>
                  <a:pt x="1289" y="45"/>
                </a:cubicBezTo>
                <a:cubicBezTo>
                  <a:pt x="1289" y="45"/>
                  <a:pt x="1289" y="45"/>
                  <a:pt x="1289" y="45"/>
                </a:cubicBezTo>
                <a:cubicBezTo>
                  <a:pt x="1289" y="45"/>
                  <a:pt x="1289" y="45"/>
                  <a:pt x="1289" y="45"/>
                </a:cubicBezTo>
                <a:cubicBezTo>
                  <a:pt x="1289" y="45"/>
                  <a:pt x="1289" y="45"/>
                  <a:pt x="1289" y="45"/>
                </a:cubicBezTo>
                <a:cubicBezTo>
                  <a:pt x="1289" y="46"/>
                  <a:pt x="1289" y="46"/>
                  <a:pt x="1289" y="46"/>
                </a:cubicBezTo>
                <a:cubicBezTo>
                  <a:pt x="1289" y="46"/>
                  <a:pt x="1289" y="46"/>
                  <a:pt x="1289" y="46"/>
                </a:cubicBezTo>
                <a:cubicBezTo>
                  <a:pt x="1288" y="46"/>
                  <a:pt x="1288" y="45"/>
                  <a:pt x="1288" y="45"/>
                </a:cubicBez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9"/>
                  <a:pt x="1277" y="100"/>
                </a:cubicBezTo>
                <a:cubicBezTo>
                  <a:pt x="1277" y="100"/>
                  <a:pt x="1277" y="100"/>
                  <a:pt x="1277" y="100"/>
                </a:cubicBezTo>
                <a:cubicBezTo>
                  <a:pt x="1277" y="101"/>
                  <a:pt x="1277" y="102"/>
                  <a:pt x="1278" y="102"/>
                </a:cubicBezTo>
                <a:cubicBezTo>
                  <a:pt x="1281" y="102"/>
                  <a:pt x="1283" y="102"/>
                  <a:pt x="1285" y="102"/>
                </a:cubicBezTo>
                <a:cubicBezTo>
                  <a:pt x="1286" y="102"/>
                  <a:pt x="1287" y="102"/>
                  <a:pt x="1288" y="101"/>
                </a:cubicBezTo>
                <a:cubicBezTo>
                  <a:pt x="1288" y="101"/>
                  <a:pt x="1288" y="101"/>
                  <a:pt x="1288" y="101"/>
                </a:cubicBezTo>
                <a:cubicBezTo>
                  <a:pt x="1288" y="101"/>
                  <a:pt x="1288" y="100"/>
                  <a:pt x="1288" y="100"/>
                </a:cubicBezTo>
                <a:cubicBezTo>
                  <a:pt x="1288" y="88"/>
                  <a:pt x="1288" y="76"/>
                  <a:pt x="1288" y="65"/>
                </a:cubicBezTo>
                <a:cubicBezTo>
                  <a:pt x="1288" y="64"/>
                  <a:pt x="1288" y="63"/>
                  <a:pt x="1288" y="63"/>
                </a:cubicBezTo>
                <a:cubicBezTo>
                  <a:pt x="1288" y="62"/>
                  <a:pt x="1288" y="62"/>
                  <a:pt x="1288" y="62"/>
                </a:cubicBezTo>
                <a:cubicBezTo>
                  <a:pt x="1289" y="61"/>
                  <a:pt x="1288" y="61"/>
                  <a:pt x="1289" y="60"/>
                </a:cubicBezTo>
                <a:cubicBezTo>
                  <a:pt x="1289" y="60"/>
                  <a:pt x="1289" y="60"/>
                  <a:pt x="1289" y="60"/>
                </a:cubicBezTo>
                <a:cubicBezTo>
                  <a:pt x="1289" y="59"/>
                  <a:pt x="1289" y="59"/>
                  <a:pt x="1289" y="58"/>
                </a:cubicBezTo>
                <a:close/>
                <a:moveTo>
                  <a:pt x="126" y="60"/>
                </a:moveTo>
                <a:cubicBezTo>
                  <a:pt x="126" y="52"/>
                  <a:pt x="126" y="44"/>
                  <a:pt x="126" y="36"/>
                </a:cubicBezTo>
                <a:cubicBezTo>
                  <a:pt x="126" y="34"/>
                  <a:pt x="126" y="34"/>
                  <a:pt x="124" y="34"/>
                </a:cubicBezTo>
                <a:cubicBezTo>
                  <a:pt x="122" y="34"/>
                  <a:pt x="120" y="34"/>
                  <a:pt x="117" y="34"/>
                </a:cubicBezTo>
                <a:cubicBezTo>
                  <a:pt x="115" y="34"/>
                  <a:pt x="115" y="34"/>
                  <a:pt x="115" y="36"/>
                </a:cubicBezTo>
                <a:cubicBezTo>
                  <a:pt x="115" y="57"/>
                  <a:pt x="115" y="78"/>
                  <a:pt x="115" y="100"/>
                </a:cubicBezTo>
                <a:cubicBezTo>
                  <a:pt x="115" y="100"/>
                  <a:pt x="115" y="100"/>
                  <a:pt x="115" y="101"/>
                </a:cubicBezTo>
                <a:cubicBezTo>
                  <a:pt x="115" y="101"/>
                  <a:pt x="115" y="101"/>
                  <a:pt x="116" y="101"/>
                </a:cubicBezTo>
                <a:cubicBezTo>
                  <a:pt x="119" y="101"/>
                  <a:pt x="122" y="101"/>
                  <a:pt x="125" y="101"/>
                </a:cubicBezTo>
                <a:cubicBezTo>
                  <a:pt x="126" y="101"/>
                  <a:pt x="126" y="101"/>
                  <a:pt x="126" y="101"/>
                </a:cubicBezTo>
                <a:cubicBezTo>
                  <a:pt x="126" y="100"/>
                  <a:pt x="126" y="100"/>
                  <a:pt x="126" y="99"/>
                </a:cubicBezTo>
                <a:cubicBezTo>
                  <a:pt x="126" y="89"/>
                  <a:pt x="126" y="78"/>
                  <a:pt x="126" y="68"/>
                </a:cubicBezTo>
                <a:cubicBezTo>
                  <a:pt x="126" y="65"/>
                  <a:pt x="126" y="63"/>
                  <a:pt x="126" y="60"/>
                </a:cubicBezTo>
                <a:close/>
                <a:moveTo>
                  <a:pt x="114" y="10"/>
                </a:moveTo>
                <a:cubicBezTo>
                  <a:pt x="114" y="14"/>
                  <a:pt x="117" y="17"/>
                  <a:pt x="121" y="17"/>
                </a:cubicBezTo>
                <a:cubicBezTo>
                  <a:pt x="125" y="17"/>
                  <a:pt x="128" y="14"/>
                  <a:pt x="128" y="10"/>
                </a:cubicBezTo>
                <a:cubicBezTo>
                  <a:pt x="128" y="6"/>
                  <a:pt x="125" y="3"/>
                  <a:pt x="121" y="3"/>
                </a:cubicBezTo>
                <a:cubicBezTo>
                  <a:pt x="117" y="3"/>
                  <a:pt x="114" y="6"/>
                  <a:pt x="114" y="10"/>
                </a:cubicBezTo>
                <a:close/>
                <a:moveTo>
                  <a:pt x="1658" y="7"/>
                </a:moveTo>
                <a:cubicBezTo>
                  <a:pt x="1649" y="7"/>
                  <a:pt x="1639" y="7"/>
                  <a:pt x="1630" y="7"/>
                </a:cubicBezTo>
                <a:cubicBezTo>
                  <a:pt x="1627" y="7"/>
                  <a:pt x="1627" y="7"/>
                  <a:pt x="1627" y="10"/>
                </a:cubicBezTo>
                <a:cubicBezTo>
                  <a:pt x="1627" y="39"/>
                  <a:pt x="1627" y="69"/>
                  <a:pt x="1627" y="99"/>
                </a:cubicBezTo>
                <a:cubicBezTo>
                  <a:pt x="1627" y="100"/>
                  <a:pt x="1627" y="100"/>
                  <a:pt x="1627" y="100"/>
                </a:cubicBezTo>
                <a:cubicBezTo>
                  <a:pt x="1627" y="102"/>
                  <a:pt x="1627" y="102"/>
                  <a:pt x="1629" y="102"/>
                </a:cubicBezTo>
                <a:cubicBezTo>
                  <a:pt x="1632" y="102"/>
                  <a:pt x="1634" y="102"/>
                  <a:pt x="1637" y="102"/>
                </a:cubicBezTo>
                <a:cubicBezTo>
                  <a:pt x="1639" y="102"/>
                  <a:pt x="1639" y="102"/>
                  <a:pt x="1639" y="101"/>
                </a:cubicBezTo>
                <a:cubicBezTo>
                  <a:pt x="1639" y="100"/>
                  <a:pt x="1639" y="100"/>
                  <a:pt x="1639" y="99"/>
                </a:cubicBezTo>
                <a:cubicBezTo>
                  <a:pt x="1639" y="87"/>
                  <a:pt x="1639" y="76"/>
                  <a:pt x="1639" y="64"/>
                </a:cubicBezTo>
                <a:cubicBezTo>
                  <a:pt x="1639" y="62"/>
                  <a:pt x="1639" y="62"/>
                  <a:pt x="1641" y="62"/>
                </a:cubicBezTo>
                <a:cubicBezTo>
                  <a:pt x="1644" y="62"/>
                  <a:pt x="1647" y="62"/>
                  <a:pt x="1650" y="62"/>
                </a:cubicBezTo>
                <a:cubicBezTo>
                  <a:pt x="1650" y="62"/>
                  <a:pt x="1650" y="62"/>
                  <a:pt x="1650" y="62"/>
                </a:cubicBezTo>
                <a:cubicBezTo>
                  <a:pt x="1647" y="61"/>
                  <a:pt x="1643" y="62"/>
                  <a:pt x="1639" y="61"/>
                </a:cubicBezTo>
                <a:cubicBezTo>
                  <a:pt x="1639" y="61"/>
                  <a:pt x="1638" y="62"/>
                  <a:pt x="1639" y="62"/>
                </a:cubicBezTo>
                <a:cubicBezTo>
                  <a:pt x="1639" y="63"/>
                  <a:pt x="1638" y="63"/>
                  <a:pt x="1638" y="63"/>
                </a:cubicBezTo>
                <a:cubicBezTo>
                  <a:pt x="1638" y="72"/>
                  <a:pt x="1638" y="81"/>
                  <a:pt x="1638" y="90"/>
                </a:cubicBezTo>
                <a:cubicBezTo>
                  <a:pt x="1638" y="94"/>
                  <a:pt x="1638" y="97"/>
                  <a:pt x="1639" y="100"/>
                </a:cubicBezTo>
                <a:cubicBezTo>
                  <a:pt x="1639" y="101"/>
                  <a:pt x="1638" y="102"/>
                  <a:pt x="1637" y="102"/>
                </a:cubicBezTo>
                <a:cubicBezTo>
                  <a:pt x="1635" y="101"/>
                  <a:pt x="1632" y="101"/>
                  <a:pt x="1629" y="101"/>
                </a:cubicBezTo>
                <a:cubicBezTo>
                  <a:pt x="1627" y="101"/>
                  <a:pt x="1627" y="102"/>
                  <a:pt x="1627" y="100"/>
                </a:cubicBezTo>
                <a:cubicBezTo>
                  <a:pt x="1627" y="69"/>
                  <a:pt x="1627" y="39"/>
                  <a:pt x="1627" y="9"/>
                </a:cubicBezTo>
                <a:cubicBezTo>
                  <a:pt x="1627" y="7"/>
                  <a:pt x="1627" y="7"/>
                  <a:pt x="1629" y="7"/>
                </a:cubicBezTo>
                <a:cubicBezTo>
                  <a:pt x="1640" y="7"/>
                  <a:pt x="1650" y="7"/>
                  <a:pt x="1660" y="8"/>
                </a:cubicBezTo>
                <a:cubicBezTo>
                  <a:pt x="1659" y="7"/>
                  <a:pt x="1659" y="7"/>
                  <a:pt x="1658" y="7"/>
                </a:cubicBezTo>
                <a:close/>
                <a:moveTo>
                  <a:pt x="828" y="43"/>
                </a:moveTo>
                <a:cubicBezTo>
                  <a:pt x="828" y="40"/>
                  <a:pt x="828" y="38"/>
                  <a:pt x="828" y="36"/>
                </a:cubicBezTo>
                <a:cubicBezTo>
                  <a:pt x="828" y="34"/>
                  <a:pt x="828" y="34"/>
                  <a:pt x="826" y="34"/>
                </a:cubicBezTo>
                <a:cubicBezTo>
                  <a:pt x="824" y="34"/>
                  <a:pt x="822" y="34"/>
                  <a:pt x="819" y="34"/>
                </a:cubicBezTo>
                <a:cubicBezTo>
                  <a:pt x="817" y="34"/>
                  <a:pt x="817" y="34"/>
                  <a:pt x="817" y="36"/>
                </a:cubicBezTo>
                <a:cubicBezTo>
                  <a:pt x="817" y="57"/>
                  <a:pt x="817" y="78"/>
                  <a:pt x="817" y="100"/>
                </a:cubicBezTo>
                <a:cubicBezTo>
                  <a:pt x="817" y="100"/>
                  <a:pt x="817" y="100"/>
                  <a:pt x="817" y="101"/>
                </a:cubicBezTo>
                <a:cubicBezTo>
                  <a:pt x="817" y="102"/>
                  <a:pt x="817" y="102"/>
                  <a:pt x="818" y="102"/>
                </a:cubicBezTo>
                <a:cubicBezTo>
                  <a:pt x="821" y="102"/>
                  <a:pt x="824" y="102"/>
                  <a:pt x="827" y="102"/>
                </a:cubicBezTo>
                <a:cubicBezTo>
                  <a:pt x="828" y="102"/>
                  <a:pt x="828" y="102"/>
                  <a:pt x="828" y="100"/>
                </a:cubicBezTo>
                <a:cubicBezTo>
                  <a:pt x="828" y="97"/>
                  <a:pt x="828" y="94"/>
                  <a:pt x="828" y="91"/>
                </a:cubicBezTo>
                <a:cubicBezTo>
                  <a:pt x="828" y="82"/>
                  <a:pt x="828" y="72"/>
                  <a:pt x="828" y="63"/>
                </a:cubicBezTo>
                <a:cubicBezTo>
                  <a:pt x="828" y="63"/>
                  <a:pt x="828" y="64"/>
                  <a:pt x="828" y="64"/>
                </a:cubicBezTo>
                <a:cubicBezTo>
                  <a:pt x="828" y="67"/>
                  <a:pt x="828" y="70"/>
                  <a:pt x="828" y="73"/>
                </a:cubicBezTo>
                <a:cubicBezTo>
                  <a:pt x="828" y="82"/>
                  <a:pt x="828" y="91"/>
                  <a:pt x="828" y="100"/>
                </a:cubicBezTo>
                <a:cubicBezTo>
                  <a:pt x="828" y="102"/>
                  <a:pt x="828" y="101"/>
                  <a:pt x="826" y="101"/>
                </a:cubicBezTo>
                <a:cubicBezTo>
                  <a:pt x="824" y="101"/>
                  <a:pt x="821" y="101"/>
                  <a:pt x="819" y="101"/>
                </a:cubicBezTo>
                <a:cubicBezTo>
                  <a:pt x="817" y="101"/>
                  <a:pt x="817" y="102"/>
                  <a:pt x="817" y="99"/>
                </a:cubicBezTo>
                <a:cubicBezTo>
                  <a:pt x="817" y="78"/>
                  <a:pt x="817" y="57"/>
                  <a:pt x="817" y="36"/>
                </a:cubicBezTo>
                <a:cubicBezTo>
                  <a:pt x="817" y="36"/>
                  <a:pt x="817" y="36"/>
                  <a:pt x="817" y="35"/>
                </a:cubicBezTo>
                <a:cubicBezTo>
                  <a:pt x="817" y="34"/>
                  <a:pt x="817" y="34"/>
                  <a:pt x="818" y="34"/>
                </a:cubicBezTo>
                <a:cubicBezTo>
                  <a:pt x="821" y="34"/>
                  <a:pt x="824" y="34"/>
                  <a:pt x="827" y="34"/>
                </a:cubicBezTo>
                <a:cubicBezTo>
                  <a:pt x="828" y="34"/>
                  <a:pt x="828" y="35"/>
                  <a:pt x="828" y="36"/>
                </a:cubicBezTo>
                <a:cubicBezTo>
                  <a:pt x="828" y="38"/>
                  <a:pt x="828" y="41"/>
                  <a:pt x="828" y="43"/>
                </a:cubicBezTo>
                <a:cubicBezTo>
                  <a:pt x="828" y="44"/>
                  <a:pt x="828" y="44"/>
                  <a:pt x="828" y="44"/>
                </a:cubicBezTo>
                <a:cubicBezTo>
                  <a:pt x="828" y="45"/>
                  <a:pt x="828" y="45"/>
                  <a:pt x="828" y="45"/>
                </a:cubicBezTo>
                <a:cubicBezTo>
                  <a:pt x="828" y="45"/>
                  <a:pt x="828" y="44"/>
                  <a:pt x="828" y="44"/>
                </a:cubicBezTo>
                <a:cubicBezTo>
                  <a:pt x="828" y="44"/>
                  <a:pt x="828" y="43"/>
                  <a:pt x="828" y="43"/>
                </a:cubicBezTo>
                <a:close/>
                <a:moveTo>
                  <a:pt x="1288" y="44"/>
                </a:move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8"/>
                  <a:pt x="1277" y="100"/>
                </a:cubicBezTo>
                <a:cubicBezTo>
                  <a:pt x="1277" y="100"/>
                  <a:pt x="1277" y="100"/>
                  <a:pt x="1277" y="101"/>
                </a:cubicBezTo>
                <a:cubicBezTo>
                  <a:pt x="1277" y="102"/>
                  <a:pt x="1277" y="102"/>
                  <a:pt x="1278" y="102"/>
                </a:cubicBezTo>
                <a:cubicBezTo>
                  <a:pt x="1281" y="102"/>
                  <a:pt x="1284" y="102"/>
                  <a:pt x="1287" y="102"/>
                </a:cubicBezTo>
                <a:cubicBezTo>
                  <a:pt x="1287" y="102"/>
                  <a:pt x="1288" y="102"/>
                  <a:pt x="1288" y="101"/>
                </a:cubicBezTo>
                <a:cubicBezTo>
                  <a:pt x="1285" y="101"/>
                  <a:pt x="1282" y="101"/>
                  <a:pt x="1279" y="101"/>
                </a:cubicBezTo>
                <a:cubicBezTo>
                  <a:pt x="1277" y="101"/>
                  <a:pt x="1277" y="102"/>
                  <a:pt x="1277" y="100"/>
                </a:cubicBezTo>
                <a:cubicBezTo>
                  <a:pt x="1277" y="78"/>
                  <a:pt x="1277" y="57"/>
                  <a:pt x="1277" y="36"/>
                </a:cubicBezTo>
                <a:cubicBezTo>
                  <a:pt x="1277" y="36"/>
                  <a:pt x="1277" y="36"/>
                  <a:pt x="1277" y="35"/>
                </a:cubicBezTo>
                <a:cubicBezTo>
                  <a:pt x="1277" y="35"/>
                  <a:pt x="1277" y="34"/>
                  <a:pt x="1278" y="34"/>
                </a:cubicBezTo>
                <a:cubicBezTo>
                  <a:pt x="1281" y="34"/>
                  <a:pt x="1284" y="34"/>
                  <a:pt x="1287" y="34"/>
                </a:cubicBezTo>
                <a:cubicBezTo>
                  <a:pt x="1288" y="34"/>
                  <a:pt x="1288" y="34"/>
                  <a:pt x="1288" y="36"/>
                </a:cubicBezTo>
                <a:cubicBezTo>
                  <a:pt x="1288" y="39"/>
                  <a:pt x="1288" y="43"/>
                  <a:pt x="1288" y="46"/>
                </a:cubicBezTo>
                <a:cubicBezTo>
                  <a:pt x="1288" y="47"/>
                  <a:pt x="1288" y="47"/>
                  <a:pt x="1288" y="48"/>
                </a:cubicBezTo>
                <a:cubicBezTo>
                  <a:pt x="1288" y="47"/>
                  <a:pt x="1289" y="47"/>
                  <a:pt x="1289" y="46"/>
                </a:cubicBezTo>
                <a:cubicBezTo>
                  <a:pt x="1288" y="46"/>
                  <a:pt x="1288" y="45"/>
                  <a:pt x="1288" y="44"/>
                </a:cubicBezTo>
                <a:close/>
                <a:moveTo>
                  <a:pt x="1510" y="100"/>
                </a:moveTo>
                <a:cubicBezTo>
                  <a:pt x="1510" y="69"/>
                  <a:pt x="1510" y="38"/>
                  <a:pt x="1510" y="7"/>
                </a:cubicBezTo>
                <a:cubicBezTo>
                  <a:pt x="1510" y="7"/>
                  <a:pt x="1510" y="6"/>
                  <a:pt x="1510" y="6"/>
                </a:cubicBezTo>
                <a:cubicBezTo>
                  <a:pt x="1510" y="6"/>
                  <a:pt x="1510" y="5"/>
                  <a:pt x="1510" y="5"/>
                </a:cubicBezTo>
                <a:cubicBezTo>
                  <a:pt x="1508" y="5"/>
                  <a:pt x="1507" y="5"/>
                  <a:pt x="1505" y="5"/>
                </a:cubicBezTo>
                <a:cubicBezTo>
                  <a:pt x="1507" y="5"/>
                  <a:pt x="1508" y="5"/>
                  <a:pt x="1509" y="5"/>
                </a:cubicBezTo>
                <a:cubicBezTo>
                  <a:pt x="1510" y="5"/>
                  <a:pt x="1510" y="5"/>
                  <a:pt x="1510" y="6"/>
                </a:cubicBezTo>
                <a:cubicBezTo>
                  <a:pt x="1510" y="7"/>
                  <a:pt x="1510" y="7"/>
                  <a:pt x="1510" y="7"/>
                </a:cubicBezTo>
                <a:cubicBezTo>
                  <a:pt x="1510" y="38"/>
                  <a:pt x="1510" y="69"/>
                  <a:pt x="1510" y="100"/>
                </a:cubicBezTo>
                <a:cubicBezTo>
                  <a:pt x="1510" y="100"/>
                  <a:pt x="1510" y="101"/>
                  <a:pt x="1510" y="101"/>
                </a:cubicBezTo>
                <a:cubicBezTo>
                  <a:pt x="1511" y="101"/>
                  <a:pt x="1510" y="100"/>
                  <a:pt x="1510" y="100"/>
                </a:cubicBezTo>
                <a:close/>
                <a:moveTo>
                  <a:pt x="902" y="100"/>
                </a:moveTo>
                <a:cubicBezTo>
                  <a:pt x="902" y="100"/>
                  <a:pt x="902" y="101"/>
                  <a:pt x="902" y="101"/>
                </a:cubicBezTo>
                <a:cubicBezTo>
                  <a:pt x="902" y="102"/>
                  <a:pt x="902" y="102"/>
                  <a:pt x="902" y="102"/>
                </a:cubicBezTo>
                <a:cubicBezTo>
                  <a:pt x="906" y="102"/>
                  <a:pt x="909" y="102"/>
                  <a:pt x="912" y="102"/>
                </a:cubicBezTo>
                <a:cubicBezTo>
                  <a:pt x="912" y="102"/>
                  <a:pt x="913" y="102"/>
                  <a:pt x="913" y="101"/>
                </a:cubicBezTo>
                <a:cubicBezTo>
                  <a:pt x="913" y="101"/>
                  <a:pt x="913" y="100"/>
                  <a:pt x="913" y="100"/>
                </a:cubicBezTo>
                <a:cubicBezTo>
                  <a:pt x="913" y="85"/>
                  <a:pt x="913" y="71"/>
                  <a:pt x="913" y="56"/>
                </a:cubicBezTo>
                <a:cubicBezTo>
                  <a:pt x="913" y="56"/>
                  <a:pt x="913" y="55"/>
                  <a:pt x="912" y="55"/>
                </a:cubicBezTo>
                <a:cubicBezTo>
                  <a:pt x="912" y="56"/>
                  <a:pt x="912" y="58"/>
                  <a:pt x="912" y="60"/>
                </a:cubicBezTo>
                <a:cubicBezTo>
                  <a:pt x="912" y="73"/>
                  <a:pt x="912" y="86"/>
                  <a:pt x="912" y="99"/>
                </a:cubicBezTo>
                <a:cubicBezTo>
                  <a:pt x="912" y="100"/>
                  <a:pt x="912" y="100"/>
                  <a:pt x="912" y="100"/>
                </a:cubicBezTo>
                <a:cubicBezTo>
                  <a:pt x="913" y="101"/>
                  <a:pt x="912" y="102"/>
                  <a:pt x="911" y="102"/>
                </a:cubicBezTo>
                <a:cubicBezTo>
                  <a:pt x="909" y="101"/>
                  <a:pt x="906" y="101"/>
                  <a:pt x="903" y="101"/>
                </a:cubicBezTo>
                <a:cubicBezTo>
                  <a:pt x="902" y="102"/>
                  <a:pt x="902" y="101"/>
                  <a:pt x="902" y="101"/>
                </a:cubicBezTo>
                <a:cubicBezTo>
                  <a:pt x="902" y="100"/>
                  <a:pt x="902" y="100"/>
                  <a:pt x="902" y="99"/>
                </a:cubicBezTo>
                <a:cubicBezTo>
                  <a:pt x="902" y="87"/>
                  <a:pt x="902" y="75"/>
                  <a:pt x="902" y="63"/>
                </a:cubicBezTo>
                <a:cubicBezTo>
                  <a:pt x="902" y="62"/>
                  <a:pt x="902" y="62"/>
                  <a:pt x="902" y="61"/>
                </a:cubicBezTo>
                <a:cubicBezTo>
                  <a:pt x="902" y="74"/>
                  <a:pt x="902" y="87"/>
                  <a:pt x="902" y="100"/>
                </a:cubicBezTo>
                <a:close/>
                <a:moveTo>
                  <a:pt x="1499" y="23"/>
                </a:moveTo>
                <a:cubicBezTo>
                  <a:pt x="1499" y="49"/>
                  <a:pt x="1499" y="74"/>
                  <a:pt x="1499" y="99"/>
                </a:cubicBezTo>
                <a:cubicBezTo>
                  <a:pt x="1499" y="100"/>
                  <a:pt x="1499" y="100"/>
                  <a:pt x="1499" y="100"/>
                </a:cubicBezTo>
                <a:cubicBezTo>
                  <a:pt x="1499" y="102"/>
                  <a:pt x="1499" y="102"/>
                  <a:pt x="1500" y="102"/>
                </a:cubicBezTo>
                <a:cubicBezTo>
                  <a:pt x="1503" y="102"/>
                  <a:pt x="1506" y="102"/>
                  <a:pt x="1509" y="102"/>
                </a:cubicBezTo>
                <a:cubicBezTo>
                  <a:pt x="1509" y="102"/>
                  <a:pt x="1510" y="102"/>
                  <a:pt x="1510" y="101"/>
                </a:cubicBezTo>
                <a:cubicBezTo>
                  <a:pt x="1507" y="101"/>
                  <a:pt x="1504" y="101"/>
                  <a:pt x="1501" y="101"/>
                </a:cubicBezTo>
                <a:cubicBezTo>
                  <a:pt x="1499" y="101"/>
                  <a:pt x="1499" y="101"/>
                  <a:pt x="1499" y="99"/>
                </a:cubicBezTo>
                <a:cubicBezTo>
                  <a:pt x="1499" y="74"/>
                  <a:pt x="1499" y="48"/>
                  <a:pt x="1499" y="22"/>
                </a:cubicBezTo>
                <a:cubicBezTo>
                  <a:pt x="1499" y="22"/>
                  <a:pt x="1499" y="21"/>
                  <a:pt x="1499" y="21"/>
                </a:cubicBezTo>
                <a:cubicBezTo>
                  <a:pt x="1499" y="20"/>
                  <a:pt x="1499" y="21"/>
                  <a:pt x="1498" y="21"/>
                </a:cubicBezTo>
                <a:cubicBezTo>
                  <a:pt x="1499" y="22"/>
                  <a:pt x="1499" y="22"/>
                  <a:pt x="1499" y="23"/>
                </a:cubicBezTo>
                <a:close/>
                <a:moveTo>
                  <a:pt x="1174" y="19"/>
                </a:moveTo>
                <a:cubicBezTo>
                  <a:pt x="1174" y="23"/>
                  <a:pt x="1174" y="28"/>
                  <a:pt x="1174" y="32"/>
                </a:cubicBezTo>
                <a:cubicBezTo>
                  <a:pt x="1174" y="34"/>
                  <a:pt x="1174" y="34"/>
                  <a:pt x="1172" y="34"/>
                </a:cubicBezTo>
                <a:cubicBezTo>
                  <a:pt x="1169" y="34"/>
                  <a:pt x="1167" y="34"/>
                  <a:pt x="1164" y="34"/>
                </a:cubicBezTo>
                <a:cubicBezTo>
                  <a:pt x="1163" y="34"/>
                  <a:pt x="1163" y="34"/>
                  <a:pt x="1163" y="35"/>
                </a:cubicBezTo>
                <a:cubicBezTo>
                  <a:pt x="1163" y="38"/>
                  <a:pt x="1163" y="40"/>
                  <a:pt x="1163" y="42"/>
                </a:cubicBezTo>
                <a:cubicBezTo>
                  <a:pt x="1163" y="44"/>
                  <a:pt x="1163" y="44"/>
                  <a:pt x="1164" y="44"/>
                </a:cubicBezTo>
                <a:cubicBezTo>
                  <a:pt x="1167" y="44"/>
                  <a:pt x="1170" y="44"/>
                  <a:pt x="1173" y="44"/>
                </a:cubicBezTo>
                <a:cubicBezTo>
                  <a:pt x="1174" y="44"/>
                  <a:pt x="1174" y="44"/>
                  <a:pt x="1174" y="45"/>
                </a:cubicBezTo>
                <a:cubicBezTo>
                  <a:pt x="1174" y="45"/>
                  <a:pt x="1174" y="46"/>
                  <a:pt x="1174" y="46"/>
                </a:cubicBezTo>
                <a:cubicBezTo>
                  <a:pt x="1174" y="59"/>
                  <a:pt x="1174" y="71"/>
                  <a:pt x="1174" y="84"/>
                </a:cubicBezTo>
                <a:cubicBezTo>
                  <a:pt x="1174" y="84"/>
                  <a:pt x="1174" y="85"/>
                  <a:pt x="1174" y="85"/>
                </a:cubicBezTo>
                <a:cubicBezTo>
                  <a:pt x="1174" y="84"/>
                  <a:pt x="1174" y="83"/>
                  <a:pt x="1174" y="82"/>
                </a:cubicBezTo>
                <a:cubicBezTo>
                  <a:pt x="1174" y="70"/>
                  <a:pt x="1174" y="57"/>
                  <a:pt x="1174" y="45"/>
                </a:cubicBezTo>
                <a:cubicBezTo>
                  <a:pt x="1174" y="43"/>
                  <a:pt x="1174" y="43"/>
                  <a:pt x="1173" y="43"/>
                </a:cubicBezTo>
                <a:cubicBezTo>
                  <a:pt x="1170" y="43"/>
                  <a:pt x="1167" y="43"/>
                  <a:pt x="1164" y="43"/>
                </a:cubicBezTo>
                <a:cubicBezTo>
                  <a:pt x="1163" y="43"/>
                  <a:pt x="1163" y="43"/>
                  <a:pt x="1163" y="42"/>
                </a:cubicBezTo>
                <a:cubicBezTo>
                  <a:pt x="1163" y="40"/>
                  <a:pt x="1163" y="38"/>
                  <a:pt x="1163" y="35"/>
                </a:cubicBezTo>
                <a:cubicBezTo>
                  <a:pt x="1163" y="34"/>
                  <a:pt x="1163" y="34"/>
                  <a:pt x="1164" y="34"/>
                </a:cubicBezTo>
                <a:cubicBezTo>
                  <a:pt x="1167" y="34"/>
                  <a:pt x="1170" y="34"/>
                  <a:pt x="1173" y="34"/>
                </a:cubicBezTo>
                <a:cubicBezTo>
                  <a:pt x="1174" y="34"/>
                  <a:pt x="1174" y="34"/>
                  <a:pt x="1174" y="33"/>
                </a:cubicBezTo>
                <a:cubicBezTo>
                  <a:pt x="1174" y="28"/>
                  <a:pt x="1174" y="24"/>
                  <a:pt x="1174" y="19"/>
                </a:cubicBezTo>
                <a:cubicBezTo>
                  <a:pt x="1174" y="19"/>
                  <a:pt x="1174" y="18"/>
                  <a:pt x="1175" y="18"/>
                </a:cubicBezTo>
                <a:cubicBezTo>
                  <a:pt x="1174" y="18"/>
                  <a:pt x="1174" y="18"/>
                  <a:pt x="1174" y="19"/>
                </a:cubicBezTo>
                <a:close/>
                <a:moveTo>
                  <a:pt x="1110" y="43"/>
                </a:moveTo>
                <a:cubicBezTo>
                  <a:pt x="1110" y="40"/>
                  <a:pt x="1110" y="38"/>
                  <a:pt x="1110" y="36"/>
                </a:cubicBezTo>
                <a:cubicBezTo>
                  <a:pt x="1110" y="34"/>
                  <a:pt x="1110" y="34"/>
                  <a:pt x="1109" y="34"/>
                </a:cubicBezTo>
                <a:cubicBezTo>
                  <a:pt x="1106" y="34"/>
                  <a:pt x="1103" y="34"/>
                  <a:pt x="1101" y="34"/>
                </a:cubicBezTo>
                <a:cubicBezTo>
                  <a:pt x="1099" y="34"/>
                  <a:pt x="1099" y="34"/>
                  <a:pt x="1099" y="36"/>
                </a:cubicBezTo>
                <a:cubicBezTo>
                  <a:pt x="1099" y="36"/>
                  <a:pt x="1099" y="36"/>
                  <a:pt x="1099" y="37"/>
                </a:cubicBezTo>
                <a:cubicBezTo>
                  <a:pt x="1099" y="57"/>
                  <a:pt x="1099" y="78"/>
                  <a:pt x="1099" y="99"/>
                </a:cubicBezTo>
                <a:cubicBezTo>
                  <a:pt x="1099" y="100"/>
                  <a:pt x="1099" y="100"/>
                  <a:pt x="1099" y="101"/>
                </a:cubicBezTo>
                <a:cubicBezTo>
                  <a:pt x="1099" y="101"/>
                  <a:pt x="1099" y="101"/>
                  <a:pt x="1099" y="101"/>
                </a:cubicBezTo>
                <a:cubicBezTo>
                  <a:pt x="1099" y="101"/>
                  <a:pt x="1099" y="100"/>
                  <a:pt x="1099" y="100"/>
                </a:cubicBezTo>
                <a:cubicBezTo>
                  <a:pt x="1099" y="78"/>
                  <a:pt x="1099" y="57"/>
                  <a:pt x="1099" y="36"/>
                </a:cubicBezTo>
                <a:cubicBezTo>
                  <a:pt x="1099" y="36"/>
                  <a:pt x="1099" y="36"/>
                  <a:pt x="1099" y="35"/>
                </a:cubicBezTo>
                <a:cubicBezTo>
                  <a:pt x="1099" y="35"/>
                  <a:pt x="1099" y="34"/>
                  <a:pt x="1100" y="34"/>
                </a:cubicBezTo>
                <a:cubicBezTo>
                  <a:pt x="1103" y="34"/>
                  <a:pt x="1106" y="34"/>
                  <a:pt x="1109" y="34"/>
                </a:cubicBezTo>
                <a:cubicBezTo>
                  <a:pt x="1110" y="34"/>
                  <a:pt x="1110" y="35"/>
                  <a:pt x="1110" y="35"/>
                </a:cubicBezTo>
                <a:cubicBezTo>
                  <a:pt x="1110" y="38"/>
                  <a:pt x="1110" y="41"/>
                  <a:pt x="1110" y="44"/>
                </a:cubicBezTo>
                <a:cubicBezTo>
                  <a:pt x="1110" y="45"/>
                  <a:pt x="1110" y="45"/>
                  <a:pt x="1110" y="45"/>
                </a:cubicBezTo>
                <a:cubicBezTo>
                  <a:pt x="1111" y="45"/>
                  <a:pt x="1111" y="45"/>
                  <a:pt x="1111" y="44"/>
                </a:cubicBezTo>
                <a:cubicBezTo>
                  <a:pt x="1110" y="44"/>
                  <a:pt x="1110" y="43"/>
                  <a:pt x="1110" y="43"/>
                </a:cubicBezTo>
                <a:close/>
                <a:moveTo>
                  <a:pt x="1343" y="95"/>
                </a:moveTo>
                <a:cubicBezTo>
                  <a:pt x="1343" y="97"/>
                  <a:pt x="1343" y="98"/>
                  <a:pt x="1343" y="100"/>
                </a:cubicBezTo>
                <a:cubicBezTo>
                  <a:pt x="1343" y="102"/>
                  <a:pt x="1342" y="102"/>
                  <a:pt x="1345" y="102"/>
                </a:cubicBezTo>
                <a:cubicBezTo>
                  <a:pt x="1363" y="102"/>
                  <a:pt x="1381" y="102"/>
                  <a:pt x="1399" y="102"/>
                </a:cubicBezTo>
                <a:cubicBezTo>
                  <a:pt x="1399" y="102"/>
                  <a:pt x="1400" y="102"/>
                  <a:pt x="1400" y="102"/>
                </a:cubicBezTo>
                <a:cubicBezTo>
                  <a:pt x="1401" y="102"/>
                  <a:pt x="1401" y="102"/>
                  <a:pt x="1401" y="101"/>
                </a:cubicBezTo>
                <a:cubicBezTo>
                  <a:pt x="1400" y="101"/>
                  <a:pt x="1400" y="101"/>
                  <a:pt x="1399" y="101"/>
                </a:cubicBezTo>
                <a:cubicBezTo>
                  <a:pt x="1381" y="101"/>
                  <a:pt x="1363" y="101"/>
                  <a:pt x="1345" y="101"/>
                </a:cubicBezTo>
                <a:cubicBezTo>
                  <a:pt x="1343" y="101"/>
                  <a:pt x="1343" y="101"/>
                  <a:pt x="1343" y="99"/>
                </a:cubicBezTo>
                <a:cubicBezTo>
                  <a:pt x="1343" y="97"/>
                  <a:pt x="1343" y="95"/>
                  <a:pt x="1343" y="94"/>
                </a:cubicBezTo>
                <a:cubicBezTo>
                  <a:pt x="1342" y="94"/>
                  <a:pt x="1343" y="94"/>
                  <a:pt x="1343" y="95"/>
                </a:cubicBezTo>
                <a:close/>
                <a:moveTo>
                  <a:pt x="1041" y="72"/>
                </a:moveTo>
                <a:cubicBezTo>
                  <a:pt x="1041" y="71"/>
                  <a:pt x="1041" y="71"/>
                  <a:pt x="1042" y="71"/>
                </a:cubicBezTo>
                <a:cubicBezTo>
                  <a:pt x="1043" y="71"/>
                  <a:pt x="1043" y="71"/>
                  <a:pt x="1044" y="71"/>
                </a:cubicBezTo>
                <a:cubicBezTo>
                  <a:pt x="1058" y="71"/>
                  <a:pt x="1072" y="71"/>
                  <a:pt x="1086" y="71"/>
                </a:cubicBezTo>
                <a:cubicBezTo>
                  <a:pt x="1086" y="71"/>
                  <a:pt x="1086" y="71"/>
                  <a:pt x="1087" y="71"/>
                </a:cubicBezTo>
                <a:cubicBezTo>
                  <a:pt x="1088" y="71"/>
                  <a:pt x="1088" y="71"/>
                  <a:pt x="1088" y="70"/>
                </a:cubicBezTo>
                <a:cubicBezTo>
                  <a:pt x="1088" y="67"/>
                  <a:pt x="1088" y="64"/>
                  <a:pt x="1088" y="62"/>
                </a:cubicBezTo>
                <a:cubicBezTo>
                  <a:pt x="1088" y="61"/>
                  <a:pt x="1088" y="61"/>
                  <a:pt x="1088" y="60"/>
                </a:cubicBezTo>
                <a:cubicBezTo>
                  <a:pt x="1088" y="63"/>
                  <a:pt x="1088" y="66"/>
                  <a:pt x="1088" y="69"/>
                </a:cubicBezTo>
                <a:cubicBezTo>
                  <a:pt x="1088" y="71"/>
                  <a:pt x="1088" y="71"/>
                  <a:pt x="1086" y="71"/>
                </a:cubicBezTo>
                <a:cubicBezTo>
                  <a:pt x="1086" y="71"/>
                  <a:pt x="1086" y="71"/>
                  <a:pt x="1085" y="71"/>
                </a:cubicBezTo>
                <a:cubicBezTo>
                  <a:pt x="1071" y="71"/>
                  <a:pt x="1057" y="71"/>
                  <a:pt x="1043" y="71"/>
                </a:cubicBezTo>
                <a:cubicBezTo>
                  <a:pt x="1040" y="71"/>
                  <a:pt x="1040" y="71"/>
                  <a:pt x="1041" y="73"/>
                </a:cubicBezTo>
                <a:cubicBezTo>
                  <a:pt x="1041" y="73"/>
                  <a:pt x="1041" y="73"/>
                  <a:pt x="1041" y="72"/>
                </a:cubicBezTo>
                <a:close/>
                <a:moveTo>
                  <a:pt x="1219" y="72"/>
                </a:moveTo>
                <a:cubicBezTo>
                  <a:pt x="1219" y="71"/>
                  <a:pt x="1219" y="71"/>
                  <a:pt x="1220" y="71"/>
                </a:cubicBezTo>
                <a:cubicBezTo>
                  <a:pt x="1220" y="71"/>
                  <a:pt x="1221" y="71"/>
                  <a:pt x="1221" y="71"/>
                </a:cubicBezTo>
                <a:cubicBezTo>
                  <a:pt x="1235" y="71"/>
                  <a:pt x="1249" y="71"/>
                  <a:pt x="1263" y="71"/>
                </a:cubicBezTo>
                <a:cubicBezTo>
                  <a:pt x="1264" y="71"/>
                  <a:pt x="1264" y="71"/>
                  <a:pt x="1265" y="71"/>
                </a:cubicBezTo>
                <a:cubicBezTo>
                  <a:pt x="1266" y="71"/>
                  <a:pt x="1266" y="71"/>
                  <a:pt x="1266" y="70"/>
                </a:cubicBezTo>
                <a:cubicBezTo>
                  <a:pt x="1266" y="67"/>
                  <a:pt x="1266" y="65"/>
                  <a:pt x="1266" y="62"/>
                </a:cubicBezTo>
                <a:cubicBezTo>
                  <a:pt x="1266" y="62"/>
                  <a:pt x="1266" y="61"/>
                  <a:pt x="1266" y="61"/>
                </a:cubicBezTo>
                <a:cubicBezTo>
                  <a:pt x="1266" y="64"/>
                  <a:pt x="1266" y="66"/>
                  <a:pt x="1266" y="69"/>
                </a:cubicBezTo>
                <a:cubicBezTo>
                  <a:pt x="1266" y="71"/>
                  <a:pt x="1266" y="71"/>
                  <a:pt x="1264" y="71"/>
                </a:cubicBezTo>
                <a:cubicBezTo>
                  <a:pt x="1250" y="71"/>
                  <a:pt x="1235" y="71"/>
                  <a:pt x="1221" y="71"/>
                </a:cubicBezTo>
                <a:cubicBezTo>
                  <a:pt x="1218" y="71"/>
                  <a:pt x="1218" y="71"/>
                  <a:pt x="1218" y="74"/>
                </a:cubicBezTo>
                <a:cubicBezTo>
                  <a:pt x="1218" y="74"/>
                  <a:pt x="1219" y="74"/>
                  <a:pt x="1219" y="74"/>
                </a:cubicBezTo>
                <a:cubicBezTo>
                  <a:pt x="1219" y="73"/>
                  <a:pt x="1219" y="73"/>
                  <a:pt x="1219" y="72"/>
                </a:cubicBezTo>
                <a:close/>
                <a:moveTo>
                  <a:pt x="1529" y="102"/>
                </a:moveTo>
                <a:cubicBezTo>
                  <a:pt x="1547" y="102"/>
                  <a:pt x="1565" y="102"/>
                  <a:pt x="1583" y="102"/>
                </a:cubicBezTo>
                <a:cubicBezTo>
                  <a:pt x="1584" y="102"/>
                  <a:pt x="1584" y="102"/>
                  <a:pt x="1584" y="102"/>
                </a:cubicBezTo>
                <a:cubicBezTo>
                  <a:pt x="1585" y="102"/>
                  <a:pt x="1585" y="102"/>
                  <a:pt x="1585" y="101"/>
                </a:cubicBezTo>
                <a:cubicBezTo>
                  <a:pt x="1585" y="101"/>
                  <a:pt x="1584" y="101"/>
                  <a:pt x="1584" y="101"/>
                </a:cubicBezTo>
                <a:cubicBezTo>
                  <a:pt x="1566" y="101"/>
                  <a:pt x="1547" y="101"/>
                  <a:pt x="1529" y="101"/>
                </a:cubicBezTo>
                <a:cubicBezTo>
                  <a:pt x="1528" y="101"/>
                  <a:pt x="1528" y="101"/>
                  <a:pt x="1527" y="101"/>
                </a:cubicBezTo>
                <a:cubicBezTo>
                  <a:pt x="1528" y="102"/>
                  <a:pt x="1528" y="102"/>
                  <a:pt x="1529" y="102"/>
                </a:cubicBezTo>
                <a:close/>
                <a:moveTo>
                  <a:pt x="1697" y="102"/>
                </a:moveTo>
                <a:cubicBezTo>
                  <a:pt x="1715" y="102"/>
                  <a:pt x="1733" y="102"/>
                  <a:pt x="1751" y="102"/>
                </a:cubicBezTo>
                <a:cubicBezTo>
                  <a:pt x="1752" y="102"/>
                  <a:pt x="1752" y="102"/>
                  <a:pt x="1753" y="102"/>
                </a:cubicBezTo>
                <a:cubicBezTo>
                  <a:pt x="1753" y="102"/>
                  <a:pt x="1753" y="102"/>
                  <a:pt x="1753" y="101"/>
                </a:cubicBezTo>
                <a:cubicBezTo>
                  <a:pt x="1753" y="101"/>
                  <a:pt x="1752" y="101"/>
                  <a:pt x="1752" y="101"/>
                </a:cubicBezTo>
                <a:cubicBezTo>
                  <a:pt x="1734" y="101"/>
                  <a:pt x="1715" y="101"/>
                  <a:pt x="1697" y="101"/>
                </a:cubicBezTo>
                <a:cubicBezTo>
                  <a:pt x="1696" y="101"/>
                  <a:pt x="1696" y="101"/>
                  <a:pt x="1695" y="101"/>
                </a:cubicBezTo>
                <a:cubicBezTo>
                  <a:pt x="1696" y="102"/>
                  <a:pt x="1697" y="102"/>
                  <a:pt x="1697" y="102"/>
                </a:cubicBezTo>
                <a:close/>
                <a:moveTo>
                  <a:pt x="1186" y="82"/>
                </a:moveTo>
                <a:cubicBezTo>
                  <a:pt x="1186" y="70"/>
                  <a:pt x="1186" y="58"/>
                  <a:pt x="1186" y="46"/>
                </a:cubicBezTo>
                <a:cubicBezTo>
                  <a:pt x="1186" y="46"/>
                  <a:pt x="1186" y="46"/>
                  <a:pt x="1186" y="45"/>
                </a:cubicBezTo>
                <a:cubicBezTo>
                  <a:pt x="1186" y="44"/>
                  <a:pt x="1186" y="44"/>
                  <a:pt x="1187" y="44"/>
                </a:cubicBezTo>
                <a:cubicBezTo>
                  <a:pt x="1188" y="44"/>
                  <a:pt x="1188" y="44"/>
                  <a:pt x="1188" y="44"/>
                </a:cubicBezTo>
                <a:cubicBezTo>
                  <a:pt x="1192" y="44"/>
                  <a:pt x="1196" y="44"/>
                  <a:pt x="1201" y="44"/>
                </a:cubicBezTo>
                <a:cubicBezTo>
                  <a:pt x="1201" y="44"/>
                  <a:pt x="1202" y="44"/>
                  <a:pt x="1202" y="43"/>
                </a:cubicBezTo>
                <a:cubicBezTo>
                  <a:pt x="1202" y="44"/>
                  <a:pt x="1201" y="43"/>
                  <a:pt x="1200" y="43"/>
                </a:cubicBezTo>
                <a:cubicBezTo>
                  <a:pt x="1196" y="43"/>
                  <a:pt x="1191" y="43"/>
                  <a:pt x="1187" y="43"/>
                </a:cubicBezTo>
                <a:cubicBezTo>
                  <a:pt x="1185" y="43"/>
                  <a:pt x="1185" y="43"/>
                  <a:pt x="1185" y="45"/>
                </a:cubicBezTo>
                <a:cubicBezTo>
                  <a:pt x="1185" y="57"/>
                  <a:pt x="1185" y="70"/>
                  <a:pt x="1185" y="83"/>
                </a:cubicBezTo>
                <a:cubicBezTo>
                  <a:pt x="1185" y="83"/>
                  <a:pt x="1185" y="84"/>
                  <a:pt x="1186" y="85"/>
                </a:cubicBezTo>
                <a:cubicBezTo>
                  <a:pt x="1186" y="84"/>
                  <a:pt x="1186" y="83"/>
                  <a:pt x="1186" y="82"/>
                </a:cubicBezTo>
                <a:close/>
                <a:moveTo>
                  <a:pt x="1145" y="102"/>
                </a:moveTo>
                <a:cubicBezTo>
                  <a:pt x="1145" y="102"/>
                  <a:pt x="1146" y="102"/>
                  <a:pt x="1146" y="102"/>
                </a:cubicBezTo>
                <a:cubicBezTo>
                  <a:pt x="1149" y="102"/>
                  <a:pt x="1152" y="102"/>
                  <a:pt x="1154" y="102"/>
                </a:cubicBezTo>
                <a:cubicBezTo>
                  <a:pt x="1155" y="102"/>
                  <a:pt x="1155" y="102"/>
                  <a:pt x="1155" y="101"/>
                </a:cubicBezTo>
                <a:cubicBezTo>
                  <a:pt x="1155" y="100"/>
                  <a:pt x="1155" y="100"/>
                  <a:pt x="1155" y="100"/>
                </a:cubicBezTo>
                <a:cubicBezTo>
                  <a:pt x="1155" y="86"/>
                  <a:pt x="1155" y="72"/>
                  <a:pt x="1155" y="58"/>
                </a:cubicBezTo>
                <a:cubicBezTo>
                  <a:pt x="1155" y="57"/>
                  <a:pt x="1155" y="56"/>
                  <a:pt x="1155" y="56"/>
                </a:cubicBezTo>
                <a:cubicBezTo>
                  <a:pt x="1155" y="57"/>
                  <a:pt x="1155" y="59"/>
                  <a:pt x="1155" y="60"/>
                </a:cubicBezTo>
                <a:cubicBezTo>
                  <a:pt x="1155" y="73"/>
                  <a:pt x="1155" y="86"/>
                  <a:pt x="1155" y="100"/>
                </a:cubicBezTo>
                <a:cubicBezTo>
                  <a:pt x="1155" y="100"/>
                  <a:pt x="1155" y="100"/>
                  <a:pt x="1155" y="101"/>
                </a:cubicBezTo>
                <a:cubicBezTo>
                  <a:pt x="1155" y="101"/>
                  <a:pt x="1155" y="101"/>
                  <a:pt x="1154" y="101"/>
                </a:cubicBezTo>
                <a:cubicBezTo>
                  <a:pt x="1151" y="101"/>
                  <a:pt x="1148" y="102"/>
                  <a:pt x="1144" y="101"/>
                </a:cubicBezTo>
                <a:cubicBezTo>
                  <a:pt x="1144" y="102"/>
                  <a:pt x="1145" y="102"/>
                  <a:pt x="1145" y="102"/>
                </a:cubicBezTo>
                <a:close/>
                <a:moveTo>
                  <a:pt x="714" y="19"/>
                </a:moveTo>
                <a:cubicBezTo>
                  <a:pt x="714" y="24"/>
                  <a:pt x="714" y="28"/>
                  <a:pt x="714" y="33"/>
                </a:cubicBezTo>
                <a:cubicBezTo>
                  <a:pt x="714" y="34"/>
                  <a:pt x="714" y="34"/>
                  <a:pt x="713" y="34"/>
                </a:cubicBezTo>
                <a:cubicBezTo>
                  <a:pt x="710" y="34"/>
                  <a:pt x="707" y="34"/>
                  <a:pt x="704" y="34"/>
                </a:cubicBezTo>
                <a:cubicBezTo>
                  <a:pt x="703" y="34"/>
                  <a:pt x="703" y="34"/>
                  <a:pt x="703" y="35"/>
                </a:cubicBezTo>
                <a:cubicBezTo>
                  <a:pt x="703" y="38"/>
                  <a:pt x="703" y="40"/>
                  <a:pt x="703" y="42"/>
                </a:cubicBezTo>
                <a:cubicBezTo>
                  <a:pt x="703" y="44"/>
                  <a:pt x="703" y="44"/>
                  <a:pt x="704" y="44"/>
                </a:cubicBezTo>
                <a:cubicBezTo>
                  <a:pt x="708" y="44"/>
                  <a:pt x="711" y="44"/>
                  <a:pt x="714" y="44"/>
                </a:cubicBezTo>
                <a:cubicBezTo>
                  <a:pt x="714" y="43"/>
                  <a:pt x="713" y="43"/>
                  <a:pt x="713" y="43"/>
                </a:cubicBezTo>
                <a:cubicBezTo>
                  <a:pt x="710" y="43"/>
                  <a:pt x="707" y="43"/>
                  <a:pt x="704" y="43"/>
                </a:cubicBezTo>
                <a:cubicBezTo>
                  <a:pt x="703" y="43"/>
                  <a:pt x="703" y="43"/>
                  <a:pt x="703" y="42"/>
                </a:cubicBezTo>
                <a:cubicBezTo>
                  <a:pt x="703" y="40"/>
                  <a:pt x="703" y="38"/>
                  <a:pt x="703" y="36"/>
                </a:cubicBezTo>
                <a:cubicBezTo>
                  <a:pt x="703" y="34"/>
                  <a:pt x="703" y="34"/>
                  <a:pt x="704" y="34"/>
                </a:cubicBezTo>
                <a:cubicBezTo>
                  <a:pt x="707" y="34"/>
                  <a:pt x="710" y="34"/>
                  <a:pt x="713" y="34"/>
                </a:cubicBezTo>
                <a:cubicBezTo>
                  <a:pt x="714" y="34"/>
                  <a:pt x="714" y="34"/>
                  <a:pt x="715" y="33"/>
                </a:cubicBezTo>
                <a:cubicBezTo>
                  <a:pt x="715" y="28"/>
                  <a:pt x="714" y="24"/>
                  <a:pt x="715" y="19"/>
                </a:cubicBezTo>
                <a:cubicBezTo>
                  <a:pt x="715" y="19"/>
                  <a:pt x="714" y="18"/>
                  <a:pt x="715" y="18"/>
                </a:cubicBezTo>
                <a:cubicBezTo>
                  <a:pt x="714" y="18"/>
                  <a:pt x="714" y="19"/>
                  <a:pt x="714" y="19"/>
                </a:cubicBezTo>
                <a:close/>
                <a:moveTo>
                  <a:pt x="1399" y="91"/>
                </a:moveTo>
                <a:cubicBezTo>
                  <a:pt x="1385" y="91"/>
                  <a:pt x="1371" y="91"/>
                  <a:pt x="1357" y="91"/>
                </a:cubicBezTo>
                <a:cubicBezTo>
                  <a:pt x="1356" y="91"/>
                  <a:pt x="1356" y="91"/>
                  <a:pt x="1355" y="91"/>
                </a:cubicBezTo>
                <a:cubicBezTo>
                  <a:pt x="1355" y="91"/>
                  <a:pt x="1354" y="91"/>
                  <a:pt x="1354" y="91"/>
                </a:cubicBezTo>
                <a:cubicBezTo>
                  <a:pt x="1354" y="90"/>
                  <a:pt x="1354" y="90"/>
                  <a:pt x="1354" y="89"/>
                </a:cubicBezTo>
                <a:cubicBezTo>
                  <a:pt x="1354" y="92"/>
                  <a:pt x="1354" y="92"/>
                  <a:pt x="1356" y="92"/>
                </a:cubicBezTo>
                <a:cubicBezTo>
                  <a:pt x="1370" y="92"/>
                  <a:pt x="1385" y="92"/>
                  <a:pt x="1399" y="92"/>
                </a:cubicBezTo>
                <a:cubicBezTo>
                  <a:pt x="1400" y="92"/>
                  <a:pt x="1400" y="92"/>
                  <a:pt x="1401" y="92"/>
                </a:cubicBezTo>
                <a:cubicBezTo>
                  <a:pt x="1401" y="91"/>
                  <a:pt x="1400" y="91"/>
                  <a:pt x="1399" y="91"/>
                </a:cubicBezTo>
                <a:close/>
                <a:moveTo>
                  <a:pt x="792" y="71"/>
                </a:moveTo>
                <a:cubicBezTo>
                  <a:pt x="796" y="71"/>
                  <a:pt x="800" y="71"/>
                  <a:pt x="804" y="71"/>
                </a:cubicBezTo>
                <a:cubicBezTo>
                  <a:pt x="805" y="71"/>
                  <a:pt x="805" y="71"/>
                  <a:pt x="806" y="70"/>
                </a:cubicBezTo>
                <a:cubicBezTo>
                  <a:pt x="805" y="71"/>
                  <a:pt x="804" y="71"/>
                  <a:pt x="804" y="71"/>
                </a:cubicBezTo>
                <a:cubicBezTo>
                  <a:pt x="789" y="71"/>
                  <a:pt x="775" y="71"/>
                  <a:pt x="760" y="71"/>
                </a:cubicBezTo>
                <a:cubicBezTo>
                  <a:pt x="760" y="71"/>
                  <a:pt x="759" y="70"/>
                  <a:pt x="759" y="71"/>
                </a:cubicBezTo>
                <a:cubicBezTo>
                  <a:pt x="770" y="71"/>
                  <a:pt x="781" y="71"/>
                  <a:pt x="792" y="71"/>
                </a:cubicBezTo>
                <a:close/>
                <a:moveTo>
                  <a:pt x="1751" y="91"/>
                </a:moveTo>
                <a:cubicBezTo>
                  <a:pt x="1736" y="91"/>
                  <a:pt x="1722" y="91"/>
                  <a:pt x="1707" y="91"/>
                </a:cubicBezTo>
                <a:cubicBezTo>
                  <a:pt x="1707" y="92"/>
                  <a:pt x="1708" y="92"/>
                  <a:pt x="1708" y="92"/>
                </a:cubicBezTo>
                <a:cubicBezTo>
                  <a:pt x="1722" y="92"/>
                  <a:pt x="1735" y="92"/>
                  <a:pt x="1748" y="92"/>
                </a:cubicBezTo>
                <a:cubicBezTo>
                  <a:pt x="1750" y="92"/>
                  <a:pt x="1752" y="92"/>
                  <a:pt x="1753" y="92"/>
                </a:cubicBezTo>
                <a:cubicBezTo>
                  <a:pt x="1753" y="91"/>
                  <a:pt x="1752" y="91"/>
                  <a:pt x="1751" y="91"/>
                </a:cubicBezTo>
                <a:close/>
                <a:moveTo>
                  <a:pt x="1583" y="91"/>
                </a:moveTo>
                <a:cubicBezTo>
                  <a:pt x="1568" y="91"/>
                  <a:pt x="1553" y="91"/>
                  <a:pt x="1539" y="91"/>
                </a:cubicBezTo>
                <a:cubicBezTo>
                  <a:pt x="1539" y="92"/>
                  <a:pt x="1540" y="92"/>
                  <a:pt x="1540" y="92"/>
                </a:cubicBezTo>
                <a:cubicBezTo>
                  <a:pt x="1554" y="92"/>
                  <a:pt x="1567" y="92"/>
                  <a:pt x="1580" y="92"/>
                </a:cubicBezTo>
                <a:cubicBezTo>
                  <a:pt x="1582" y="92"/>
                  <a:pt x="1583" y="92"/>
                  <a:pt x="1585" y="92"/>
                </a:cubicBezTo>
                <a:cubicBezTo>
                  <a:pt x="1585" y="91"/>
                  <a:pt x="1584" y="91"/>
                  <a:pt x="1583" y="91"/>
                </a:cubicBezTo>
                <a:close/>
                <a:moveTo>
                  <a:pt x="859" y="81"/>
                </a:moveTo>
                <a:cubicBezTo>
                  <a:pt x="859" y="87"/>
                  <a:pt x="859" y="94"/>
                  <a:pt x="859" y="100"/>
                </a:cubicBezTo>
                <a:cubicBezTo>
                  <a:pt x="859" y="100"/>
                  <a:pt x="859" y="101"/>
                  <a:pt x="859" y="101"/>
                </a:cubicBezTo>
                <a:cubicBezTo>
                  <a:pt x="859" y="101"/>
                  <a:pt x="859" y="100"/>
                  <a:pt x="859" y="99"/>
                </a:cubicBezTo>
                <a:cubicBezTo>
                  <a:pt x="859" y="87"/>
                  <a:pt x="859" y="74"/>
                  <a:pt x="859" y="61"/>
                </a:cubicBezTo>
                <a:cubicBezTo>
                  <a:pt x="859" y="60"/>
                  <a:pt x="860" y="59"/>
                  <a:pt x="859" y="57"/>
                </a:cubicBezTo>
                <a:cubicBezTo>
                  <a:pt x="859" y="65"/>
                  <a:pt x="859" y="73"/>
                  <a:pt x="859" y="81"/>
                </a:cubicBezTo>
                <a:close/>
                <a:moveTo>
                  <a:pt x="714" y="86"/>
                </a:moveTo>
                <a:cubicBezTo>
                  <a:pt x="714" y="86"/>
                  <a:pt x="714" y="87"/>
                  <a:pt x="715" y="87"/>
                </a:cubicBezTo>
                <a:cubicBezTo>
                  <a:pt x="715" y="85"/>
                  <a:pt x="715" y="83"/>
                  <a:pt x="715" y="81"/>
                </a:cubicBezTo>
                <a:cubicBezTo>
                  <a:pt x="714" y="69"/>
                  <a:pt x="715" y="57"/>
                  <a:pt x="714" y="46"/>
                </a:cubicBezTo>
                <a:cubicBezTo>
                  <a:pt x="714" y="45"/>
                  <a:pt x="715" y="44"/>
                  <a:pt x="714" y="44"/>
                </a:cubicBezTo>
                <a:cubicBezTo>
                  <a:pt x="714" y="58"/>
                  <a:pt x="714" y="72"/>
                  <a:pt x="714" y="86"/>
                </a:cubicBezTo>
                <a:close/>
                <a:moveTo>
                  <a:pt x="741" y="44"/>
                </a:moveTo>
                <a:cubicBezTo>
                  <a:pt x="742" y="44"/>
                  <a:pt x="742" y="44"/>
                  <a:pt x="742" y="42"/>
                </a:cubicBezTo>
                <a:cubicBezTo>
                  <a:pt x="742" y="40"/>
                  <a:pt x="742" y="38"/>
                  <a:pt x="742" y="36"/>
                </a:cubicBezTo>
                <a:cubicBezTo>
                  <a:pt x="742" y="34"/>
                  <a:pt x="742" y="34"/>
                  <a:pt x="741" y="34"/>
                </a:cubicBezTo>
                <a:cubicBezTo>
                  <a:pt x="736" y="34"/>
                  <a:pt x="731" y="34"/>
                  <a:pt x="725" y="34"/>
                </a:cubicBezTo>
                <a:cubicBezTo>
                  <a:pt x="726" y="35"/>
                  <a:pt x="726" y="34"/>
                  <a:pt x="727" y="34"/>
                </a:cubicBezTo>
                <a:cubicBezTo>
                  <a:pt x="732" y="34"/>
                  <a:pt x="736" y="34"/>
                  <a:pt x="741" y="34"/>
                </a:cubicBezTo>
                <a:cubicBezTo>
                  <a:pt x="742" y="34"/>
                  <a:pt x="742" y="34"/>
                  <a:pt x="742" y="36"/>
                </a:cubicBezTo>
                <a:cubicBezTo>
                  <a:pt x="742" y="38"/>
                  <a:pt x="742" y="40"/>
                  <a:pt x="742" y="42"/>
                </a:cubicBezTo>
                <a:cubicBezTo>
                  <a:pt x="742" y="44"/>
                  <a:pt x="742" y="43"/>
                  <a:pt x="741" y="43"/>
                </a:cubicBezTo>
                <a:cubicBezTo>
                  <a:pt x="736" y="43"/>
                  <a:pt x="732" y="43"/>
                  <a:pt x="727" y="43"/>
                </a:cubicBezTo>
                <a:cubicBezTo>
                  <a:pt x="726" y="43"/>
                  <a:pt x="726" y="43"/>
                  <a:pt x="725" y="44"/>
                </a:cubicBezTo>
                <a:cubicBezTo>
                  <a:pt x="731" y="44"/>
                  <a:pt x="736" y="44"/>
                  <a:pt x="741" y="44"/>
                </a:cubicBezTo>
                <a:close/>
                <a:moveTo>
                  <a:pt x="871" y="100"/>
                </a:moveTo>
                <a:cubicBezTo>
                  <a:pt x="871" y="93"/>
                  <a:pt x="871" y="87"/>
                  <a:pt x="871" y="80"/>
                </a:cubicBezTo>
                <a:cubicBezTo>
                  <a:pt x="871" y="73"/>
                  <a:pt x="871" y="67"/>
                  <a:pt x="871" y="60"/>
                </a:cubicBezTo>
                <a:cubicBezTo>
                  <a:pt x="870" y="61"/>
                  <a:pt x="870" y="63"/>
                  <a:pt x="870" y="64"/>
                </a:cubicBezTo>
                <a:cubicBezTo>
                  <a:pt x="870" y="76"/>
                  <a:pt x="870" y="88"/>
                  <a:pt x="870" y="99"/>
                </a:cubicBezTo>
                <a:cubicBezTo>
                  <a:pt x="870" y="100"/>
                  <a:pt x="870" y="101"/>
                  <a:pt x="870" y="101"/>
                </a:cubicBezTo>
                <a:cubicBezTo>
                  <a:pt x="871" y="101"/>
                  <a:pt x="871" y="100"/>
                  <a:pt x="871" y="100"/>
                </a:cubicBezTo>
                <a:close/>
                <a:moveTo>
                  <a:pt x="1110" y="100"/>
                </a:moveTo>
                <a:cubicBezTo>
                  <a:pt x="1110" y="93"/>
                  <a:pt x="1110" y="86"/>
                  <a:pt x="1110" y="79"/>
                </a:cubicBezTo>
                <a:cubicBezTo>
                  <a:pt x="1110" y="73"/>
                  <a:pt x="1110" y="66"/>
                  <a:pt x="1110" y="60"/>
                </a:cubicBezTo>
                <a:cubicBezTo>
                  <a:pt x="1110" y="61"/>
                  <a:pt x="1110" y="63"/>
                  <a:pt x="1110" y="64"/>
                </a:cubicBezTo>
                <a:cubicBezTo>
                  <a:pt x="1110" y="76"/>
                  <a:pt x="1110" y="88"/>
                  <a:pt x="1110" y="99"/>
                </a:cubicBezTo>
                <a:cubicBezTo>
                  <a:pt x="1110" y="100"/>
                  <a:pt x="1110" y="101"/>
                  <a:pt x="1110" y="101"/>
                </a:cubicBezTo>
                <a:cubicBezTo>
                  <a:pt x="1111" y="101"/>
                  <a:pt x="1110" y="100"/>
                  <a:pt x="1110" y="100"/>
                </a:cubicBezTo>
                <a:close/>
                <a:moveTo>
                  <a:pt x="1288" y="100"/>
                </a:moveTo>
                <a:cubicBezTo>
                  <a:pt x="1288" y="88"/>
                  <a:pt x="1288" y="75"/>
                  <a:pt x="1288" y="63"/>
                </a:cubicBezTo>
                <a:cubicBezTo>
                  <a:pt x="1288" y="64"/>
                  <a:pt x="1288" y="65"/>
                  <a:pt x="1288" y="66"/>
                </a:cubicBezTo>
                <a:cubicBezTo>
                  <a:pt x="1288" y="77"/>
                  <a:pt x="1288" y="88"/>
                  <a:pt x="1288" y="99"/>
                </a:cubicBezTo>
                <a:cubicBezTo>
                  <a:pt x="1288" y="100"/>
                  <a:pt x="1288" y="101"/>
                  <a:pt x="1288" y="101"/>
                </a:cubicBezTo>
                <a:cubicBezTo>
                  <a:pt x="1288" y="101"/>
                  <a:pt x="1288" y="101"/>
                  <a:pt x="1288" y="100"/>
                </a:cubicBezTo>
                <a:close/>
                <a:moveTo>
                  <a:pt x="1201" y="34"/>
                </a:moveTo>
                <a:cubicBezTo>
                  <a:pt x="1196" y="34"/>
                  <a:pt x="1192" y="34"/>
                  <a:pt x="1187" y="34"/>
                </a:cubicBezTo>
                <a:cubicBezTo>
                  <a:pt x="1186" y="34"/>
                  <a:pt x="1186" y="34"/>
                  <a:pt x="1186" y="32"/>
                </a:cubicBezTo>
                <a:cubicBezTo>
                  <a:pt x="1186" y="27"/>
                  <a:pt x="1186" y="21"/>
                  <a:pt x="1186" y="16"/>
                </a:cubicBezTo>
                <a:cubicBezTo>
                  <a:pt x="1186" y="16"/>
                  <a:pt x="1186" y="15"/>
                  <a:pt x="1186" y="15"/>
                </a:cubicBezTo>
                <a:cubicBezTo>
                  <a:pt x="1185" y="14"/>
                  <a:pt x="1185" y="14"/>
                  <a:pt x="1185" y="15"/>
                </a:cubicBezTo>
                <a:cubicBezTo>
                  <a:pt x="1185" y="15"/>
                  <a:pt x="1185" y="14"/>
                  <a:pt x="1185" y="15"/>
                </a:cubicBezTo>
                <a:cubicBezTo>
                  <a:pt x="1185" y="15"/>
                  <a:pt x="1185" y="16"/>
                  <a:pt x="1185" y="16"/>
                </a:cubicBezTo>
                <a:cubicBezTo>
                  <a:pt x="1185" y="22"/>
                  <a:pt x="1185" y="27"/>
                  <a:pt x="1185" y="33"/>
                </a:cubicBezTo>
                <a:cubicBezTo>
                  <a:pt x="1185" y="34"/>
                  <a:pt x="1185" y="34"/>
                  <a:pt x="1187" y="34"/>
                </a:cubicBezTo>
                <a:cubicBezTo>
                  <a:pt x="1191" y="34"/>
                  <a:pt x="1196" y="34"/>
                  <a:pt x="1200" y="34"/>
                </a:cubicBezTo>
                <a:cubicBezTo>
                  <a:pt x="1201" y="34"/>
                  <a:pt x="1202" y="34"/>
                  <a:pt x="1202" y="34"/>
                </a:cubicBezTo>
                <a:cubicBezTo>
                  <a:pt x="1202" y="34"/>
                  <a:pt x="1201" y="34"/>
                  <a:pt x="1201" y="34"/>
                </a:cubicBezTo>
                <a:close/>
                <a:moveTo>
                  <a:pt x="1346" y="16"/>
                </a:moveTo>
                <a:cubicBezTo>
                  <a:pt x="1346" y="19"/>
                  <a:pt x="1346" y="22"/>
                  <a:pt x="1346" y="26"/>
                </a:cubicBezTo>
                <a:cubicBezTo>
                  <a:pt x="1346" y="26"/>
                  <a:pt x="1346" y="26"/>
                  <a:pt x="1347" y="27"/>
                </a:cubicBezTo>
                <a:cubicBezTo>
                  <a:pt x="1348" y="26"/>
                  <a:pt x="1349" y="25"/>
                  <a:pt x="1350" y="23"/>
                </a:cubicBezTo>
                <a:cubicBezTo>
                  <a:pt x="1349" y="24"/>
                  <a:pt x="1348" y="25"/>
                  <a:pt x="1347" y="26"/>
                </a:cubicBezTo>
                <a:cubicBezTo>
                  <a:pt x="1347" y="22"/>
                  <a:pt x="1347" y="19"/>
                  <a:pt x="1347" y="15"/>
                </a:cubicBezTo>
                <a:cubicBezTo>
                  <a:pt x="1347" y="15"/>
                  <a:pt x="1347" y="15"/>
                  <a:pt x="1347" y="15"/>
                </a:cubicBezTo>
                <a:cubicBezTo>
                  <a:pt x="1346" y="15"/>
                  <a:pt x="1346" y="15"/>
                  <a:pt x="1346" y="16"/>
                </a:cubicBezTo>
                <a:close/>
                <a:moveTo>
                  <a:pt x="1676" y="102"/>
                </a:moveTo>
                <a:cubicBezTo>
                  <a:pt x="1680" y="102"/>
                  <a:pt x="1683" y="102"/>
                  <a:pt x="1687" y="102"/>
                </a:cubicBezTo>
                <a:cubicBezTo>
                  <a:pt x="1687" y="102"/>
                  <a:pt x="1687" y="102"/>
                  <a:pt x="1688" y="102"/>
                </a:cubicBezTo>
                <a:cubicBezTo>
                  <a:pt x="1688" y="102"/>
                  <a:pt x="1688" y="101"/>
                  <a:pt x="1688" y="101"/>
                </a:cubicBezTo>
                <a:cubicBezTo>
                  <a:pt x="1688" y="101"/>
                  <a:pt x="1688" y="101"/>
                  <a:pt x="1687" y="101"/>
                </a:cubicBezTo>
                <a:cubicBezTo>
                  <a:pt x="1683" y="101"/>
                  <a:pt x="1679" y="101"/>
                  <a:pt x="1675" y="101"/>
                </a:cubicBezTo>
                <a:cubicBezTo>
                  <a:pt x="1675" y="102"/>
                  <a:pt x="1676" y="102"/>
                  <a:pt x="1676" y="102"/>
                </a:cubicBezTo>
                <a:close/>
                <a:moveTo>
                  <a:pt x="603" y="34"/>
                </a:moveTo>
                <a:cubicBezTo>
                  <a:pt x="600" y="34"/>
                  <a:pt x="597" y="34"/>
                  <a:pt x="593" y="34"/>
                </a:cubicBezTo>
                <a:cubicBezTo>
                  <a:pt x="593" y="34"/>
                  <a:pt x="593" y="34"/>
                  <a:pt x="592" y="34"/>
                </a:cubicBezTo>
                <a:cubicBezTo>
                  <a:pt x="592" y="34"/>
                  <a:pt x="592" y="35"/>
                  <a:pt x="592" y="35"/>
                </a:cubicBezTo>
                <a:cubicBezTo>
                  <a:pt x="592" y="34"/>
                  <a:pt x="593" y="34"/>
                  <a:pt x="593" y="34"/>
                </a:cubicBezTo>
                <a:cubicBezTo>
                  <a:pt x="597" y="34"/>
                  <a:pt x="600" y="34"/>
                  <a:pt x="603" y="34"/>
                </a:cubicBezTo>
                <a:cubicBezTo>
                  <a:pt x="604" y="34"/>
                  <a:pt x="604" y="34"/>
                  <a:pt x="605" y="35"/>
                </a:cubicBezTo>
                <a:cubicBezTo>
                  <a:pt x="605" y="34"/>
                  <a:pt x="604" y="34"/>
                  <a:pt x="603" y="34"/>
                </a:cubicBezTo>
                <a:close/>
                <a:moveTo>
                  <a:pt x="1471" y="59"/>
                </a:moveTo>
                <a:cubicBezTo>
                  <a:pt x="1471" y="56"/>
                  <a:pt x="1471" y="52"/>
                  <a:pt x="1471" y="48"/>
                </a:cubicBezTo>
                <a:cubicBezTo>
                  <a:pt x="1471" y="48"/>
                  <a:pt x="1471" y="47"/>
                  <a:pt x="1471" y="47"/>
                </a:cubicBezTo>
                <a:cubicBezTo>
                  <a:pt x="1471" y="51"/>
                  <a:pt x="1471" y="56"/>
                  <a:pt x="1471" y="60"/>
                </a:cubicBezTo>
                <a:cubicBezTo>
                  <a:pt x="1471" y="60"/>
                  <a:pt x="1471" y="60"/>
                  <a:pt x="1471" y="59"/>
                </a:cubicBezTo>
                <a:close/>
                <a:moveTo>
                  <a:pt x="585" y="22"/>
                </a:moveTo>
                <a:cubicBezTo>
                  <a:pt x="585" y="21"/>
                  <a:pt x="585" y="21"/>
                  <a:pt x="585" y="21"/>
                </a:cubicBezTo>
                <a:cubicBezTo>
                  <a:pt x="585" y="17"/>
                  <a:pt x="585" y="14"/>
                  <a:pt x="585" y="10"/>
                </a:cubicBezTo>
                <a:cubicBezTo>
                  <a:pt x="585" y="10"/>
                  <a:pt x="585" y="9"/>
                  <a:pt x="585" y="9"/>
                </a:cubicBezTo>
                <a:cubicBezTo>
                  <a:pt x="585" y="9"/>
                  <a:pt x="585" y="9"/>
                  <a:pt x="585" y="10"/>
                </a:cubicBezTo>
                <a:cubicBezTo>
                  <a:pt x="585" y="13"/>
                  <a:pt x="585" y="17"/>
                  <a:pt x="585" y="21"/>
                </a:cubicBezTo>
                <a:cubicBezTo>
                  <a:pt x="585" y="21"/>
                  <a:pt x="585" y="21"/>
                  <a:pt x="585" y="21"/>
                </a:cubicBezTo>
                <a:cubicBezTo>
                  <a:pt x="585" y="22"/>
                  <a:pt x="585" y="22"/>
                  <a:pt x="585" y="22"/>
                </a:cubicBezTo>
                <a:close/>
                <a:moveTo>
                  <a:pt x="1699" y="15"/>
                </a:moveTo>
                <a:cubicBezTo>
                  <a:pt x="1699" y="19"/>
                  <a:pt x="1699" y="22"/>
                  <a:pt x="1699" y="26"/>
                </a:cubicBezTo>
                <a:cubicBezTo>
                  <a:pt x="1699" y="26"/>
                  <a:pt x="1699" y="26"/>
                  <a:pt x="1699" y="26"/>
                </a:cubicBezTo>
                <a:cubicBezTo>
                  <a:pt x="1699" y="27"/>
                  <a:pt x="1699" y="26"/>
                  <a:pt x="1699" y="26"/>
                </a:cubicBezTo>
                <a:cubicBezTo>
                  <a:pt x="1699" y="26"/>
                  <a:pt x="1699" y="25"/>
                  <a:pt x="1699" y="25"/>
                </a:cubicBezTo>
                <a:cubicBezTo>
                  <a:pt x="1699" y="22"/>
                  <a:pt x="1699" y="19"/>
                  <a:pt x="1699" y="17"/>
                </a:cubicBezTo>
                <a:cubicBezTo>
                  <a:pt x="1699" y="16"/>
                  <a:pt x="1699" y="15"/>
                  <a:pt x="1699" y="15"/>
                </a:cubicBezTo>
                <a:cubicBezTo>
                  <a:pt x="1699" y="15"/>
                  <a:pt x="1699" y="15"/>
                  <a:pt x="1699" y="15"/>
                </a:cubicBezTo>
                <a:close/>
                <a:moveTo>
                  <a:pt x="1531" y="15"/>
                </a:moveTo>
                <a:cubicBezTo>
                  <a:pt x="1531" y="19"/>
                  <a:pt x="1531" y="22"/>
                  <a:pt x="1531" y="26"/>
                </a:cubicBezTo>
                <a:cubicBezTo>
                  <a:pt x="1531" y="26"/>
                  <a:pt x="1531" y="26"/>
                  <a:pt x="1531" y="26"/>
                </a:cubicBezTo>
                <a:cubicBezTo>
                  <a:pt x="1531" y="27"/>
                  <a:pt x="1531" y="26"/>
                  <a:pt x="1531" y="26"/>
                </a:cubicBezTo>
                <a:cubicBezTo>
                  <a:pt x="1531" y="26"/>
                  <a:pt x="1531" y="25"/>
                  <a:pt x="1531" y="25"/>
                </a:cubicBezTo>
                <a:cubicBezTo>
                  <a:pt x="1531" y="22"/>
                  <a:pt x="1531" y="19"/>
                  <a:pt x="1531" y="17"/>
                </a:cubicBezTo>
                <a:cubicBezTo>
                  <a:pt x="1531" y="16"/>
                  <a:pt x="1531" y="15"/>
                  <a:pt x="1531" y="15"/>
                </a:cubicBezTo>
                <a:cubicBezTo>
                  <a:pt x="1531" y="15"/>
                  <a:pt x="1531" y="15"/>
                  <a:pt x="1531" y="15"/>
                </a:cubicBezTo>
                <a:close/>
                <a:moveTo>
                  <a:pt x="1261" y="95"/>
                </a:moveTo>
                <a:cubicBezTo>
                  <a:pt x="1261" y="93"/>
                  <a:pt x="1261" y="91"/>
                  <a:pt x="1261" y="89"/>
                </a:cubicBezTo>
                <a:cubicBezTo>
                  <a:pt x="1261" y="88"/>
                  <a:pt x="1261" y="87"/>
                  <a:pt x="1261" y="86"/>
                </a:cubicBezTo>
                <a:cubicBezTo>
                  <a:pt x="1260" y="86"/>
                  <a:pt x="1260" y="87"/>
                  <a:pt x="1260" y="87"/>
                </a:cubicBezTo>
                <a:cubicBezTo>
                  <a:pt x="1260" y="87"/>
                  <a:pt x="1260" y="87"/>
                  <a:pt x="1261" y="87"/>
                </a:cubicBezTo>
                <a:cubicBezTo>
                  <a:pt x="1261" y="90"/>
                  <a:pt x="1261" y="93"/>
                  <a:pt x="1261" y="96"/>
                </a:cubicBezTo>
                <a:cubicBezTo>
                  <a:pt x="1261" y="96"/>
                  <a:pt x="1261" y="97"/>
                  <a:pt x="1261" y="97"/>
                </a:cubicBezTo>
                <a:cubicBezTo>
                  <a:pt x="1261" y="97"/>
                  <a:pt x="1261" y="96"/>
                  <a:pt x="1261" y="95"/>
                </a:cubicBezTo>
                <a:close/>
                <a:moveTo>
                  <a:pt x="801" y="96"/>
                </a:moveTo>
                <a:cubicBezTo>
                  <a:pt x="801" y="93"/>
                  <a:pt x="801" y="90"/>
                  <a:pt x="801" y="87"/>
                </a:cubicBezTo>
                <a:cubicBezTo>
                  <a:pt x="801" y="87"/>
                  <a:pt x="801" y="87"/>
                  <a:pt x="801" y="86"/>
                </a:cubicBezTo>
                <a:cubicBezTo>
                  <a:pt x="801" y="86"/>
                  <a:pt x="801" y="86"/>
                  <a:pt x="801" y="87"/>
                </a:cubicBezTo>
                <a:cubicBezTo>
                  <a:pt x="801" y="87"/>
                  <a:pt x="801" y="87"/>
                  <a:pt x="801" y="87"/>
                </a:cubicBezTo>
                <a:cubicBezTo>
                  <a:pt x="801" y="90"/>
                  <a:pt x="801" y="93"/>
                  <a:pt x="801" y="96"/>
                </a:cubicBezTo>
                <a:cubicBezTo>
                  <a:pt x="801" y="97"/>
                  <a:pt x="801" y="97"/>
                  <a:pt x="800" y="97"/>
                </a:cubicBezTo>
                <a:cubicBezTo>
                  <a:pt x="801" y="97"/>
                  <a:pt x="801" y="97"/>
                  <a:pt x="801" y="96"/>
                </a:cubicBezTo>
                <a:close/>
                <a:moveTo>
                  <a:pt x="1021" y="20"/>
                </a:moveTo>
                <a:cubicBezTo>
                  <a:pt x="1021" y="17"/>
                  <a:pt x="1021" y="14"/>
                  <a:pt x="1021" y="11"/>
                </a:cubicBezTo>
                <a:cubicBezTo>
                  <a:pt x="1021" y="10"/>
                  <a:pt x="1021" y="10"/>
                  <a:pt x="1021" y="10"/>
                </a:cubicBezTo>
                <a:cubicBezTo>
                  <a:pt x="1021" y="14"/>
                  <a:pt x="1021" y="17"/>
                  <a:pt x="1021" y="21"/>
                </a:cubicBezTo>
                <a:cubicBezTo>
                  <a:pt x="1021" y="21"/>
                  <a:pt x="1021" y="21"/>
                  <a:pt x="1021" y="20"/>
                </a:cubicBezTo>
                <a:close/>
                <a:moveTo>
                  <a:pt x="951" y="51"/>
                </a:moveTo>
                <a:cubicBezTo>
                  <a:pt x="951" y="55"/>
                  <a:pt x="951" y="58"/>
                  <a:pt x="951" y="61"/>
                </a:cubicBezTo>
                <a:cubicBezTo>
                  <a:pt x="951" y="61"/>
                  <a:pt x="951" y="62"/>
                  <a:pt x="951" y="62"/>
                </a:cubicBezTo>
                <a:cubicBezTo>
                  <a:pt x="951" y="58"/>
                  <a:pt x="951" y="54"/>
                  <a:pt x="951" y="50"/>
                </a:cubicBezTo>
                <a:cubicBezTo>
                  <a:pt x="951" y="51"/>
                  <a:pt x="951" y="51"/>
                  <a:pt x="951" y="51"/>
                </a:cubicBezTo>
                <a:close/>
                <a:moveTo>
                  <a:pt x="1021" y="97"/>
                </a:moveTo>
                <a:cubicBezTo>
                  <a:pt x="1021" y="94"/>
                  <a:pt x="1021" y="91"/>
                  <a:pt x="1021" y="88"/>
                </a:cubicBezTo>
                <a:cubicBezTo>
                  <a:pt x="1021" y="87"/>
                  <a:pt x="1021" y="87"/>
                  <a:pt x="1021" y="87"/>
                </a:cubicBezTo>
                <a:cubicBezTo>
                  <a:pt x="1021" y="87"/>
                  <a:pt x="1021" y="87"/>
                  <a:pt x="1021" y="87"/>
                </a:cubicBezTo>
                <a:cubicBezTo>
                  <a:pt x="1021" y="87"/>
                  <a:pt x="1021" y="87"/>
                  <a:pt x="1021" y="88"/>
                </a:cubicBezTo>
                <a:cubicBezTo>
                  <a:pt x="1021" y="91"/>
                  <a:pt x="1021" y="94"/>
                  <a:pt x="1021" y="98"/>
                </a:cubicBezTo>
                <a:cubicBezTo>
                  <a:pt x="1021" y="97"/>
                  <a:pt x="1021" y="97"/>
                  <a:pt x="1021" y="97"/>
                </a:cubicBezTo>
                <a:close/>
                <a:moveTo>
                  <a:pt x="594" y="123"/>
                </a:moveTo>
                <a:cubicBezTo>
                  <a:pt x="594" y="126"/>
                  <a:pt x="594" y="129"/>
                  <a:pt x="594" y="132"/>
                </a:cubicBezTo>
                <a:cubicBezTo>
                  <a:pt x="594" y="132"/>
                  <a:pt x="594" y="132"/>
                  <a:pt x="595" y="132"/>
                </a:cubicBezTo>
                <a:cubicBezTo>
                  <a:pt x="595" y="132"/>
                  <a:pt x="595" y="132"/>
                  <a:pt x="595" y="132"/>
                </a:cubicBezTo>
                <a:cubicBezTo>
                  <a:pt x="595" y="129"/>
                  <a:pt x="595" y="126"/>
                  <a:pt x="595" y="123"/>
                </a:cubicBezTo>
                <a:cubicBezTo>
                  <a:pt x="595" y="123"/>
                  <a:pt x="595" y="123"/>
                  <a:pt x="596" y="123"/>
                </a:cubicBezTo>
                <a:cubicBezTo>
                  <a:pt x="594" y="122"/>
                  <a:pt x="594" y="122"/>
                  <a:pt x="594" y="123"/>
                </a:cubicBezTo>
                <a:close/>
                <a:moveTo>
                  <a:pt x="697" y="46"/>
                </a:moveTo>
                <a:cubicBezTo>
                  <a:pt x="697" y="43"/>
                  <a:pt x="697" y="40"/>
                  <a:pt x="697" y="37"/>
                </a:cubicBezTo>
                <a:cubicBezTo>
                  <a:pt x="697" y="36"/>
                  <a:pt x="697" y="36"/>
                  <a:pt x="696" y="36"/>
                </a:cubicBezTo>
                <a:cubicBezTo>
                  <a:pt x="696" y="39"/>
                  <a:pt x="696" y="42"/>
                  <a:pt x="696" y="46"/>
                </a:cubicBezTo>
                <a:cubicBezTo>
                  <a:pt x="696" y="46"/>
                  <a:pt x="697" y="46"/>
                  <a:pt x="696" y="47"/>
                </a:cubicBezTo>
                <a:cubicBezTo>
                  <a:pt x="697" y="47"/>
                  <a:pt x="697" y="46"/>
                  <a:pt x="697" y="46"/>
                </a:cubicBezTo>
                <a:close/>
                <a:moveTo>
                  <a:pt x="655" y="34"/>
                </a:moveTo>
                <a:cubicBezTo>
                  <a:pt x="652" y="34"/>
                  <a:pt x="648" y="34"/>
                  <a:pt x="645" y="34"/>
                </a:cubicBezTo>
                <a:cubicBezTo>
                  <a:pt x="645" y="34"/>
                  <a:pt x="645" y="34"/>
                  <a:pt x="644" y="34"/>
                </a:cubicBezTo>
                <a:cubicBezTo>
                  <a:pt x="645" y="34"/>
                  <a:pt x="645" y="34"/>
                  <a:pt x="645" y="34"/>
                </a:cubicBezTo>
                <a:cubicBezTo>
                  <a:pt x="648" y="34"/>
                  <a:pt x="652" y="34"/>
                  <a:pt x="655" y="34"/>
                </a:cubicBezTo>
                <a:cubicBezTo>
                  <a:pt x="655" y="34"/>
                  <a:pt x="655" y="34"/>
                  <a:pt x="656" y="35"/>
                </a:cubicBezTo>
                <a:cubicBezTo>
                  <a:pt x="656" y="34"/>
                  <a:pt x="655" y="34"/>
                  <a:pt x="655" y="34"/>
                </a:cubicBezTo>
                <a:close/>
                <a:moveTo>
                  <a:pt x="1100" y="102"/>
                </a:moveTo>
                <a:cubicBezTo>
                  <a:pt x="1103" y="102"/>
                  <a:pt x="1106" y="102"/>
                  <a:pt x="1109" y="102"/>
                </a:cubicBezTo>
                <a:cubicBezTo>
                  <a:pt x="1109" y="102"/>
                  <a:pt x="1110" y="102"/>
                  <a:pt x="1110" y="101"/>
                </a:cubicBezTo>
                <a:cubicBezTo>
                  <a:pt x="1106" y="101"/>
                  <a:pt x="1103" y="101"/>
                  <a:pt x="1099" y="101"/>
                </a:cubicBezTo>
                <a:cubicBezTo>
                  <a:pt x="1099" y="102"/>
                  <a:pt x="1100" y="102"/>
                  <a:pt x="1100" y="102"/>
                </a:cubicBezTo>
                <a:close/>
                <a:moveTo>
                  <a:pt x="860" y="102"/>
                </a:moveTo>
                <a:cubicBezTo>
                  <a:pt x="863" y="102"/>
                  <a:pt x="866" y="102"/>
                  <a:pt x="869" y="102"/>
                </a:cubicBezTo>
                <a:cubicBezTo>
                  <a:pt x="870" y="102"/>
                  <a:pt x="870" y="102"/>
                  <a:pt x="870" y="101"/>
                </a:cubicBezTo>
                <a:cubicBezTo>
                  <a:pt x="867" y="101"/>
                  <a:pt x="863" y="101"/>
                  <a:pt x="859" y="101"/>
                </a:cubicBezTo>
                <a:cubicBezTo>
                  <a:pt x="860" y="102"/>
                  <a:pt x="860" y="102"/>
                  <a:pt x="860" y="102"/>
                </a:cubicBezTo>
                <a:close/>
                <a:moveTo>
                  <a:pt x="742" y="100"/>
                </a:moveTo>
                <a:cubicBezTo>
                  <a:pt x="742" y="97"/>
                  <a:pt x="742" y="95"/>
                  <a:pt x="742" y="93"/>
                </a:cubicBezTo>
                <a:cubicBezTo>
                  <a:pt x="742" y="92"/>
                  <a:pt x="742" y="92"/>
                  <a:pt x="742" y="92"/>
                </a:cubicBezTo>
                <a:cubicBezTo>
                  <a:pt x="742" y="91"/>
                  <a:pt x="742" y="92"/>
                  <a:pt x="742" y="92"/>
                </a:cubicBezTo>
                <a:cubicBezTo>
                  <a:pt x="742" y="92"/>
                  <a:pt x="742" y="92"/>
                  <a:pt x="742" y="93"/>
                </a:cubicBezTo>
                <a:cubicBezTo>
                  <a:pt x="742" y="95"/>
                  <a:pt x="742" y="98"/>
                  <a:pt x="742" y="100"/>
                </a:cubicBezTo>
                <a:cubicBezTo>
                  <a:pt x="742" y="101"/>
                  <a:pt x="742" y="101"/>
                  <a:pt x="742" y="101"/>
                </a:cubicBezTo>
                <a:cubicBezTo>
                  <a:pt x="743" y="101"/>
                  <a:pt x="742" y="100"/>
                  <a:pt x="742" y="100"/>
                </a:cubicBezTo>
                <a:close/>
                <a:moveTo>
                  <a:pt x="1586" y="101"/>
                </a:moveTo>
                <a:cubicBezTo>
                  <a:pt x="1586" y="98"/>
                  <a:pt x="1586" y="95"/>
                  <a:pt x="1586" y="93"/>
                </a:cubicBezTo>
                <a:cubicBezTo>
                  <a:pt x="1586" y="92"/>
                  <a:pt x="1585" y="92"/>
                  <a:pt x="1585" y="92"/>
                </a:cubicBezTo>
                <a:cubicBezTo>
                  <a:pt x="1585" y="95"/>
                  <a:pt x="1585" y="98"/>
                  <a:pt x="1585" y="101"/>
                </a:cubicBezTo>
                <a:cubicBezTo>
                  <a:pt x="1585" y="101"/>
                  <a:pt x="1586" y="101"/>
                  <a:pt x="1586" y="101"/>
                </a:cubicBezTo>
                <a:close/>
                <a:moveTo>
                  <a:pt x="1754" y="101"/>
                </a:moveTo>
                <a:cubicBezTo>
                  <a:pt x="1754" y="98"/>
                  <a:pt x="1754" y="95"/>
                  <a:pt x="1754" y="93"/>
                </a:cubicBezTo>
                <a:cubicBezTo>
                  <a:pt x="1754" y="92"/>
                  <a:pt x="1754" y="92"/>
                  <a:pt x="1753" y="92"/>
                </a:cubicBezTo>
                <a:cubicBezTo>
                  <a:pt x="1753" y="95"/>
                  <a:pt x="1753" y="98"/>
                  <a:pt x="1753" y="101"/>
                </a:cubicBezTo>
                <a:cubicBezTo>
                  <a:pt x="1754" y="101"/>
                  <a:pt x="1754" y="101"/>
                  <a:pt x="1754" y="101"/>
                </a:cubicBezTo>
                <a:close/>
                <a:moveTo>
                  <a:pt x="1684" y="36"/>
                </a:moveTo>
                <a:cubicBezTo>
                  <a:pt x="1684" y="34"/>
                  <a:pt x="1684" y="31"/>
                  <a:pt x="1684" y="29"/>
                </a:cubicBezTo>
                <a:cubicBezTo>
                  <a:pt x="1684" y="29"/>
                  <a:pt x="1684" y="28"/>
                  <a:pt x="1684" y="28"/>
                </a:cubicBezTo>
                <a:cubicBezTo>
                  <a:pt x="1684" y="31"/>
                  <a:pt x="1684" y="34"/>
                  <a:pt x="1684" y="37"/>
                </a:cubicBezTo>
                <a:cubicBezTo>
                  <a:pt x="1684" y="37"/>
                  <a:pt x="1684" y="36"/>
                  <a:pt x="1684" y="36"/>
                </a:cubicBezTo>
                <a:close/>
                <a:moveTo>
                  <a:pt x="1207" y="73"/>
                </a:moveTo>
                <a:cubicBezTo>
                  <a:pt x="1207" y="70"/>
                  <a:pt x="1207" y="67"/>
                  <a:pt x="1207" y="64"/>
                </a:cubicBezTo>
                <a:cubicBezTo>
                  <a:pt x="1207" y="66"/>
                  <a:pt x="1207" y="71"/>
                  <a:pt x="1207" y="73"/>
                </a:cubicBezTo>
                <a:close/>
                <a:moveTo>
                  <a:pt x="1398" y="35"/>
                </a:moveTo>
                <a:cubicBezTo>
                  <a:pt x="1398" y="33"/>
                  <a:pt x="1398" y="30"/>
                  <a:pt x="1398" y="28"/>
                </a:cubicBezTo>
                <a:cubicBezTo>
                  <a:pt x="1398" y="28"/>
                  <a:pt x="1397" y="28"/>
                  <a:pt x="1397" y="27"/>
                </a:cubicBezTo>
                <a:cubicBezTo>
                  <a:pt x="1397" y="30"/>
                  <a:pt x="1397" y="33"/>
                  <a:pt x="1397" y="35"/>
                </a:cubicBezTo>
                <a:cubicBezTo>
                  <a:pt x="1397" y="35"/>
                  <a:pt x="1398" y="35"/>
                  <a:pt x="1398" y="35"/>
                </a:cubicBezTo>
                <a:close/>
                <a:moveTo>
                  <a:pt x="1058" y="94"/>
                </a:moveTo>
                <a:cubicBezTo>
                  <a:pt x="1061" y="94"/>
                  <a:pt x="1064" y="94"/>
                  <a:pt x="1066" y="94"/>
                </a:cubicBezTo>
                <a:cubicBezTo>
                  <a:pt x="1064" y="94"/>
                  <a:pt x="1061" y="94"/>
                  <a:pt x="1058" y="94"/>
                </a:cubicBezTo>
                <a:close/>
                <a:moveTo>
                  <a:pt x="1236" y="94"/>
                </a:moveTo>
                <a:cubicBezTo>
                  <a:pt x="1239" y="94"/>
                  <a:pt x="1242" y="94"/>
                  <a:pt x="1244" y="94"/>
                </a:cubicBezTo>
                <a:cubicBezTo>
                  <a:pt x="1242" y="94"/>
                  <a:pt x="1239" y="94"/>
                  <a:pt x="1236" y="94"/>
                </a:cubicBezTo>
                <a:close/>
                <a:moveTo>
                  <a:pt x="598" y="133"/>
                </a:moveTo>
                <a:cubicBezTo>
                  <a:pt x="600" y="133"/>
                  <a:pt x="602" y="133"/>
                  <a:pt x="604" y="133"/>
                </a:cubicBezTo>
                <a:cubicBezTo>
                  <a:pt x="605" y="133"/>
                  <a:pt x="605" y="133"/>
                  <a:pt x="605" y="133"/>
                </a:cubicBezTo>
                <a:cubicBezTo>
                  <a:pt x="602" y="133"/>
                  <a:pt x="600" y="133"/>
                  <a:pt x="597" y="133"/>
                </a:cubicBezTo>
                <a:cubicBezTo>
                  <a:pt x="597" y="133"/>
                  <a:pt x="598" y="133"/>
                  <a:pt x="598" y="133"/>
                </a:cubicBezTo>
                <a:close/>
                <a:moveTo>
                  <a:pt x="993" y="93"/>
                </a:moveTo>
                <a:cubicBezTo>
                  <a:pt x="996" y="93"/>
                  <a:pt x="998" y="93"/>
                  <a:pt x="1001" y="93"/>
                </a:cubicBezTo>
                <a:cubicBezTo>
                  <a:pt x="998" y="93"/>
                  <a:pt x="996" y="93"/>
                  <a:pt x="993" y="93"/>
                </a:cubicBezTo>
                <a:close/>
                <a:moveTo>
                  <a:pt x="1559" y="54"/>
                </a:moveTo>
                <a:cubicBezTo>
                  <a:pt x="1561" y="53"/>
                  <a:pt x="1562" y="52"/>
                  <a:pt x="1563" y="50"/>
                </a:cubicBezTo>
                <a:cubicBezTo>
                  <a:pt x="1562" y="51"/>
                  <a:pt x="1561" y="53"/>
                  <a:pt x="1559" y="54"/>
                </a:cubicBezTo>
                <a:close/>
                <a:moveTo>
                  <a:pt x="1728" y="54"/>
                </a:moveTo>
                <a:cubicBezTo>
                  <a:pt x="1729" y="53"/>
                  <a:pt x="1730" y="52"/>
                  <a:pt x="1731" y="50"/>
                </a:cubicBezTo>
                <a:cubicBezTo>
                  <a:pt x="1730" y="51"/>
                  <a:pt x="1729" y="53"/>
                  <a:pt x="1728" y="54"/>
                </a:cubicBezTo>
                <a:close/>
                <a:moveTo>
                  <a:pt x="776" y="94"/>
                </a:moveTo>
                <a:cubicBezTo>
                  <a:pt x="779" y="94"/>
                  <a:pt x="782" y="94"/>
                  <a:pt x="784" y="94"/>
                </a:cubicBezTo>
                <a:cubicBezTo>
                  <a:pt x="782" y="94"/>
                  <a:pt x="779" y="94"/>
                  <a:pt x="776" y="94"/>
                </a:cubicBezTo>
                <a:close/>
                <a:moveTo>
                  <a:pt x="672" y="94"/>
                </a:moveTo>
                <a:cubicBezTo>
                  <a:pt x="675" y="94"/>
                  <a:pt x="677" y="94"/>
                  <a:pt x="680" y="94"/>
                </a:cubicBezTo>
                <a:cubicBezTo>
                  <a:pt x="677" y="94"/>
                  <a:pt x="675" y="94"/>
                  <a:pt x="672" y="94"/>
                </a:cubicBezTo>
                <a:close/>
                <a:moveTo>
                  <a:pt x="1570" y="36"/>
                </a:moveTo>
                <a:cubicBezTo>
                  <a:pt x="1571" y="33"/>
                  <a:pt x="1571" y="31"/>
                  <a:pt x="1570" y="29"/>
                </a:cubicBezTo>
                <a:cubicBezTo>
                  <a:pt x="1570" y="31"/>
                  <a:pt x="1570" y="33"/>
                  <a:pt x="1570" y="36"/>
                </a:cubicBezTo>
                <a:close/>
                <a:moveTo>
                  <a:pt x="1738" y="36"/>
                </a:moveTo>
                <a:cubicBezTo>
                  <a:pt x="1739" y="33"/>
                  <a:pt x="1739" y="31"/>
                  <a:pt x="1738" y="29"/>
                </a:cubicBezTo>
                <a:cubicBezTo>
                  <a:pt x="1738" y="31"/>
                  <a:pt x="1738" y="33"/>
                  <a:pt x="1738" y="36"/>
                </a:cubicBezTo>
                <a:close/>
                <a:moveTo>
                  <a:pt x="1309" y="33"/>
                </a:moveTo>
                <a:cubicBezTo>
                  <a:pt x="1307" y="33"/>
                  <a:pt x="1305" y="33"/>
                  <a:pt x="1303" y="33"/>
                </a:cubicBezTo>
                <a:cubicBezTo>
                  <a:pt x="1303" y="33"/>
                  <a:pt x="1303" y="33"/>
                  <a:pt x="1303" y="33"/>
                </a:cubicBezTo>
                <a:cubicBezTo>
                  <a:pt x="1305" y="33"/>
                  <a:pt x="1307" y="33"/>
                  <a:pt x="1309" y="33"/>
                </a:cubicBezTo>
                <a:cubicBezTo>
                  <a:pt x="1309" y="33"/>
                  <a:pt x="1309" y="33"/>
                  <a:pt x="1309" y="33"/>
                </a:cubicBezTo>
                <a:close/>
                <a:moveTo>
                  <a:pt x="1029" y="66"/>
                </a:moveTo>
                <a:cubicBezTo>
                  <a:pt x="1029" y="68"/>
                  <a:pt x="1029" y="69"/>
                  <a:pt x="1029" y="71"/>
                </a:cubicBezTo>
                <a:cubicBezTo>
                  <a:pt x="1029" y="71"/>
                  <a:pt x="1029" y="72"/>
                  <a:pt x="1029" y="72"/>
                </a:cubicBezTo>
                <a:cubicBezTo>
                  <a:pt x="1029" y="70"/>
                  <a:pt x="1029" y="67"/>
                  <a:pt x="1029" y="65"/>
                </a:cubicBezTo>
                <a:cubicBezTo>
                  <a:pt x="1029" y="65"/>
                  <a:pt x="1029" y="66"/>
                  <a:pt x="1029" y="66"/>
                </a:cubicBezTo>
                <a:close/>
                <a:moveTo>
                  <a:pt x="1351" y="74"/>
                </a:moveTo>
                <a:cubicBezTo>
                  <a:pt x="1352" y="73"/>
                  <a:pt x="1353" y="72"/>
                  <a:pt x="1354" y="71"/>
                </a:cubicBezTo>
                <a:cubicBezTo>
                  <a:pt x="1353" y="72"/>
                  <a:pt x="1352" y="73"/>
                  <a:pt x="1351" y="74"/>
                </a:cubicBezTo>
                <a:close/>
                <a:moveTo>
                  <a:pt x="730" y="103"/>
                </a:moveTo>
                <a:cubicBezTo>
                  <a:pt x="731" y="103"/>
                  <a:pt x="733" y="103"/>
                  <a:pt x="735" y="103"/>
                </a:cubicBezTo>
                <a:cubicBezTo>
                  <a:pt x="735" y="103"/>
                  <a:pt x="735" y="103"/>
                  <a:pt x="735" y="103"/>
                </a:cubicBezTo>
                <a:cubicBezTo>
                  <a:pt x="733" y="103"/>
                  <a:pt x="731" y="103"/>
                  <a:pt x="729" y="103"/>
                </a:cubicBezTo>
                <a:cubicBezTo>
                  <a:pt x="729" y="103"/>
                  <a:pt x="729" y="103"/>
                  <a:pt x="730" y="103"/>
                </a:cubicBezTo>
                <a:close/>
                <a:moveTo>
                  <a:pt x="1195" y="103"/>
                </a:moveTo>
                <a:cubicBezTo>
                  <a:pt x="1195" y="103"/>
                  <a:pt x="1195" y="103"/>
                  <a:pt x="1195" y="103"/>
                </a:cubicBezTo>
                <a:cubicBezTo>
                  <a:pt x="1193" y="103"/>
                  <a:pt x="1191" y="103"/>
                  <a:pt x="1189" y="103"/>
                </a:cubicBezTo>
                <a:cubicBezTo>
                  <a:pt x="1191" y="104"/>
                  <a:pt x="1193" y="103"/>
                  <a:pt x="1195" y="103"/>
                </a:cubicBezTo>
                <a:close/>
                <a:moveTo>
                  <a:pt x="549" y="27"/>
                </a:moveTo>
                <a:cubicBezTo>
                  <a:pt x="548" y="29"/>
                  <a:pt x="548" y="31"/>
                  <a:pt x="549" y="33"/>
                </a:cubicBezTo>
                <a:cubicBezTo>
                  <a:pt x="549" y="31"/>
                  <a:pt x="549" y="29"/>
                  <a:pt x="549" y="27"/>
                </a:cubicBezTo>
                <a:close/>
                <a:moveTo>
                  <a:pt x="658" y="51"/>
                </a:moveTo>
                <a:cubicBezTo>
                  <a:pt x="658" y="52"/>
                  <a:pt x="658" y="54"/>
                  <a:pt x="659" y="55"/>
                </a:cubicBezTo>
                <a:cubicBezTo>
                  <a:pt x="659" y="53"/>
                  <a:pt x="659" y="51"/>
                  <a:pt x="659" y="49"/>
                </a:cubicBezTo>
                <a:cubicBezTo>
                  <a:pt x="658" y="50"/>
                  <a:pt x="658" y="50"/>
                  <a:pt x="658" y="51"/>
                </a:cubicBezTo>
                <a:close/>
                <a:moveTo>
                  <a:pt x="1409" y="48"/>
                </a:moveTo>
                <a:cubicBezTo>
                  <a:pt x="1409" y="49"/>
                  <a:pt x="1409" y="50"/>
                  <a:pt x="1409" y="52"/>
                </a:cubicBezTo>
                <a:cubicBezTo>
                  <a:pt x="1410" y="50"/>
                  <a:pt x="1410" y="48"/>
                  <a:pt x="1410" y="47"/>
                </a:cubicBezTo>
                <a:cubicBezTo>
                  <a:pt x="1409" y="47"/>
                  <a:pt x="1409" y="47"/>
                  <a:pt x="1409" y="48"/>
                </a:cubicBezTo>
                <a:close/>
                <a:moveTo>
                  <a:pt x="1386" y="35"/>
                </a:moveTo>
                <a:cubicBezTo>
                  <a:pt x="1387" y="33"/>
                  <a:pt x="1387" y="31"/>
                  <a:pt x="1386" y="30"/>
                </a:cubicBezTo>
                <a:cubicBezTo>
                  <a:pt x="1386" y="31"/>
                  <a:pt x="1386" y="33"/>
                  <a:pt x="1386" y="35"/>
                </a:cubicBezTo>
                <a:close/>
                <a:moveTo>
                  <a:pt x="694" y="70"/>
                </a:moveTo>
                <a:cubicBezTo>
                  <a:pt x="695" y="71"/>
                  <a:pt x="695" y="72"/>
                  <a:pt x="696" y="73"/>
                </a:cubicBezTo>
                <a:cubicBezTo>
                  <a:pt x="696" y="71"/>
                  <a:pt x="695" y="71"/>
                  <a:pt x="694" y="70"/>
                </a:cubicBezTo>
                <a:close/>
                <a:moveTo>
                  <a:pt x="1676" y="14"/>
                </a:moveTo>
                <a:cubicBezTo>
                  <a:pt x="1677" y="15"/>
                  <a:pt x="1678" y="15"/>
                  <a:pt x="1679" y="16"/>
                </a:cubicBezTo>
                <a:cubicBezTo>
                  <a:pt x="1678" y="15"/>
                  <a:pt x="1678" y="14"/>
                  <a:pt x="1676" y="14"/>
                </a:cubicBezTo>
                <a:close/>
                <a:moveTo>
                  <a:pt x="999" y="103"/>
                </a:moveTo>
                <a:cubicBezTo>
                  <a:pt x="1000" y="103"/>
                  <a:pt x="1001" y="104"/>
                  <a:pt x="1002" y="103"/>
                </a:cubicBezTo>
                <a:cubicBezTo>
                  <a:pt x="1000" y="103"/>
                  <a:pt x="999" y="103"/>
                  <a:pt x="997" y="103"/>
                </a:cubicBezTo>
                <a:cubicBezTo>
                  <a:pt x="998" y="103"/>
                  <a:pt x="998" y="103"/>
                  <a:pt x="999" y="103"/>
                </a:cubicBezTo>
                <a:close/>
                <a:moveTo>
                  <a:pt x="1678" y="50"/>
                </a:moveTo>
                <a:cubicBezTo>
                  <a:pt x="1677" y="51"/>
                  <a:pt x="1677" y="52"/>
                  <a:pt x="1676" y="52"/>
                </a:cubicBezTo>
                <a:cubicBezTo>
                  <a:pt x="1677" y="52"/>
                  <a:pt x="1678" y="51"/>
                  <a:pt x="1678" y="50"/>
                </a:cubicBezTo>
                <a:close/>
                <a:moveTo>
                  <a:pt x="747" y="72"/>
                </a:moveTo>
                <a:cubicBezTo>
                  <a:pt x="747" y="72"/>
                  <a:pt x="747" y="73"/>
                  <a:pt x="747" y="74"/>
                </a:cubicBezTo>
                <a:cubicBezTo>
                  <a:pt x="747" y="72"/>
                  <a:pt x="747" y="71"/>
                  <a:pt x="747" y="69"/>
                </a:cubicBezTo>
                <a:cubicBezTo>
                  <a:pt x="747" y="70"/>
                  <a:pt x="747" y="71"/>
                  <a:pt x="747" y="72"/>
                </a:cubicBezTo>
                <a:close/>
                <a:moveTo>
                  <a:pt x="1078" y="39"/>
                </a:moveTo>
                <a:cubicBezTo>
                  <a:pt x="1079" y="39"/>
                  <a:pt x="1080" y="40"/>
                  <a:pt x="1080" y="41"/>
                </a:cubicBezTo>
                <a:cubicBezTo>
                  <a:pt x="1080" y="40"/>
                  <a:pt x="1079" y="39"/>
                  <a:pt x="1078" y="39"/>
                </a:cubicBezTo>
                <a:close/>
                <a:moveTo>
                  <a:pt x="1307" y="43"/>
                </a:moveTo>
                <a:cubicBezTo>
                  <a:pt x="1305" y="43"/>
                  <a:pt x="1303" y="43"/>
                  <a:pt x="1302" y="43"/>
                </a:cubicBezTo>
                <a:cubicBezTo>
                  <a:pt x="1303" y="43"/>
                  <a:pt x="1305" y="43"/>
                  <a:pt x="1307" y="43"/>
                </a:cubicBezTo>
                <a:close/>
                <a:moveTo>
                  <a:pt x="688" y="87"/>
                </a:moveTo>
                <a:cubicBezTo>
                  <a:pt x="689" y="85"/>
                  <a:pt x="689" y="84"/>
                  <a:pt x="688" y="82"/>
                </a:cubicBezTo>
                <a:cubicBezTo>
                  <a:pt x="688" y="84"/>
                  <a:pt x="688" y="85"/>
                  <a:pt x="688" y="87"/>
                </a:cubicBezTo>
                <a:close/>
                <a:moveTo>
                  <a:pt x="1409" y="63"/>
                </a:moveTo>
                <a:cubicBezTo>
                  <a:pt x="1409" y="64"/>
                  <a:pt x="1409" y="65"/>
                  <a:pt x="1410" y="65"/>
                </a:cubicBezTo>
                <a:cubicBezTo>
                  <a:pt x="1410" y="64"/>
                  <a:pt x="1410" y="62"/>
                  <a:pt x="1409" y="61"/>
                </a:cubicBezTo>
                <a:cubicBezTo>
                  <a:pt x="1409" y="61"/>
                  <a:pt x="1409" y="62"/>
                  <a:pt x="1409" y="63"/>
                </a:cubicBezTo>
                <a:close/>
                <a:moveTo>
                  <a:pt x="1241" y="103"/>
                </a:moveTo>
                <a:cubicBezTo>
                  <a:pt x="1242" y="103"/>
                  <a:pt x="1243" y="104"/>
                  <a:pt x="1244" y="103"/>
                </a:cubicBezTo>
                <a:cubicBezTo>
                  <a:pt x="1242" y="103"/>
                  <a:pt x="1241" y="103"/>
                  <a:pt x="1239" y="103"/>
                </a:cubicBezTo>
                <a:cubicBezTo>
                  <a:pt x="1240" y="103"/>
                  <a:pt x="1241" y="103"/>
                  <a:pt x="1241" y="103"/>
                </a:cubicBezTo>
                <a:close/>
                <a:moveTo>
                  <a:pt x="1063" y="103"/>
                </a:moveTo>
                <a:cubicBezTo>
                  <a:pt x="1064" y="103"/>
                  <a:pt x="1065" y="104"/>
                  <a:pt x="1066" y="103"/>
                </a:cubicBezTo>
                <a:cubicBezTo>
                  <a:pt x="1064" y="103"/>
                  <a:pt x="1063" y="103"/>
                  <a:pt x="1062" y="103"/>
                </a:cubicBezTo>
                <a:cubicBezTo>
                  <a:pt x="1062" y="103"/>
                  <a:pt x="1063" y="103"/>
                  <a:pt x="1063" y="103"/>
                </a:cubicBezTo>
                <a:close/>
                <a:moveTo>
                  <a:pt x="561" y="103"/>
                </a:moveTo>
                <a:cubicBezTo>
                  <a:pt x="562" y="103"/>
                  <a:pt x="563" y="104"/>
                  <a:pt x="564" y="103"/>
                </a:cubicBezTo>
                <a:cubicBezTo>
                  <a:pt x="562" y="103"/>
                  <a:pt x="561" y="103"/>
                  <a:pt x="560" y="103"/>
                </a:cubicBezTo>
                <a:cubicBezTo>
                  <a:pt x="560" y="103"/>
                  <a:pt x="561" y="103"/>
                  <a:pt x="561" y="103"/>
                </a:cubicBezTo>
                <a:close/>
                <a:moveTo>
                  <a:pt x="747" y="64"/>
                </a:moveTo>
                <a:cubicBezTo>
                  <a:pt x="747" y="65"/>
                  <a:pt x="747" y="66"/>
                  <a:pt x="747" y="67"/>
                </a:cubicBezTo>
                <a:cubicBezTo>
                  <a:pt x="747" y="66"/>
                  <a:pt x="747" y="64"/>
                  <a:pt x="747" y="63"/>
                </a:cubicBezTo>
                <a:cubicBezTo>
                  <a:pt x="747" y="63"/>
                  <a:pt x="747" y="64"/>
                  <a:pt x="747" y="64"/>
                </a:cubicBezTo>
                <a:close/>
                <a:moveTo>
                  <a:pt x="963" y="50"/>
                </a:moveTo>
                <a:cubicBezTo>
                  <a:pt x="962" y="52"/>
                  <a:pt x="962" y="53"/>
                  <a:pt x="962" y="55"/>
                </a:cubicBezTo>
                <a:cubicBezTo>
                  <a:pt x="963" y="53"/>
                  <a:pt x="963" y="52"/>
                  <a:pt x="963" y="50"/>
                </a:cubicBezTo>
                <a:close/>
                <a:moveTo>
                  <a:pt x="962" y="57"/>
                </a:moveTo>
                <a:cubicBezTo>
                  <a:pt x="962" y="58"/>
                  <a:pt x="962" y="60"/>
                  <a:pt x="963" y="61"/>
                </a:cubicBezTo>
                <a:cubicBezTo>
                  <a:pt x="963" y="59"/>
                  <a:pt x="963" y="58"/>
                  <a:pt x="962" y="57"/>
                </a:cubicBezTo>
                <a:close/>
                <a:moveTo>
                  <a:pt x="993" y="103"/>
                </a:moveTo>
                <a:cubicBezTo>
                  <a:pt x="992" y="103"/>
                  <a:pt x="991" y="103"/>
                  <a:pt x="989" y="103"/>
                </a:cubicBezTo>
                <a:cubicBezTo>
                  <a:pt x="991" y="104"/>
                  <a:pt x="992" y="103"/>
                  <a:pt x="993" y="103"/>
                </a:cubicBezTo>
                <a:close/>
                <a:moveTo>
                  <a:pt x="784" y="103"/>
                </a:moveTo>
                <a:cubicBezTo>
                  <a:pt x="782" y="103"/>
                  <a:pt x="781" y="103"/>
                  <a:pt x="779" y="103"/>
                </a:cubicBezTo>
                <a:cubicBezTo>
                  <a:pt x="781" y="103"/>
                  <a:pt x="782" y="104"/>
                  <a:pt x="784" y="103"/>
                </a:cubicBezTo>
                <a:close/>
                <a:moveTo>
                  <a:pt x="1658" y="67"/>
                </a:moveTo>
                <a:cubicBezTo>
                  <a:pt x="1658" y="66"/>
                  <a:pt x="1657" y="65"/>
                  <a:pt x="1656" y="65"/>
                </a:cubicBezTo>
                <a:cubicBezTo>
                  <a:pt x="1657" y="65"/>
                  <a:pt x="1657" y="66"/>
                  <a:pt x="1658" y="67"/>
                </a:cubicBezTo>
                <a:close/>
                <a:moveTo>
                  <a:pt x="1144" y="62"/>
                </a:moveTo>
                <a:cubicBezTo>
                  <a:pt x="1144" y="60"/>
                  <a:pt x="1144" y="59"/>
                  <a:pt x="1144" y="58"/>
                </a:cubicBezTo>
                <a:cubicBezTo>
                  <a:pt x="1144" y="59"/>
                  <a:pt x="1143" y="61"/>
                  <a:pt x="1144" y="62"/>
                </a:cubicBezTo>
                <a:close/>
                <a:moveTo>
                  <a:pt x="599" y="123"/>
                </a:moveTo>
                <a:cubicBezTo>
                  <a:pt x="600" y="124"/>
                  <a:pt x="601" y="124"/>
                  <a:pt x="603" y="123"/>
                </a:cubicBezTo>
                <a:cubicBezTo>
                  <a:pt x="601" y="123"/>
                  <a:pt x="600" y="123"/>
                  <a:pt x="599" y="123"/>
                </a:cubicBezTo>
                <a:close/>
                <a:moveTo>
                  <a:pt x="571" y="16"/>
                </a:moveTo>
                <a:cubicBezTo>
                  <a:pt x="570" y="16"/>
                  <a:pt x="569" y="16"/>
                  <a:pt x="568" y="16"/>
                </a:cubicBezTo>
                <a:cubicBezTo>
                  <a:pt x="569" y="17"/>
                  <a:pt x="570" y="16"/>
                  <a:pt x="571" y="16"/>
                </a:cubicBezTo>
                <a:close/>
                <a:moveTo>
                  <a:pt x="1004" y="16"/>
                </a:moveTo>
                <a:cubicBezTo>
                  <a:pt x="1003" y="16"/>
                  <a:pt x="1002" y="16"/>
                  <a:pt x="1000" y="16"/>
                </a:cubicBezTo>
                <a:cubicBezTo>
                  <a:pt x="1002" y="17"/>
                  <a:pt x="1003" y="16"/>
                  <a:pt x="1004" y="16"/>
                </a:cubicBezTo>
                <a:close/>
                <a:moveTo>
                  <a:pt x="997" y="16"/>
                </a:moveTo>
                <a:cubicBezTo>
                  <a:pt x="996" y="16"/>
                  <a:pt x="995" y="16"/>
                  <a:pt x="994" y="16"/>
                </a:cubicBezTo>
                <a:cubicBezTo>
                  <a:pt x="995" y="16"/>
                  <a:pt x="996" y="17"/>
                  <a:pt x="997" y="16"/>
                </a:cubicBezTo>
                <a:close/>
                <a:moveTo>
                  <a:pt x="1003" y="6"/>
                </a:moveTo>
                <a:cubicBezTo>
                  <a:pt x="1004" y="6"/>
                  <a:pt x="1005" y="6"/>
                  <a:pt x="1007" y="6"/>
                </a:cubicBezTo>
                <a:cubicBezTo>
                  <a:pt x="1005" y="5"/>
                  <a:pt x="1004" y="6"/>
                  <a:pt x="1003" y="6"/>
                </a:cubicBezTo>
                <a:close/>
                <a:moveTo>
                  <a:pt x="571" y="6"/>
                </a:moveTo>
                <a:cubicBezTo>
                  <a:pt x="572" y="6"/>
                  <a:pt x="573" y="6"/>
                  <a:pt x="575" y="6"/>
                </a:cubicBezTo>
                <a:cubicBezTo>
                  <a:pt x="574" y="5"/>
                  <a:pt x="572" y="6"/>
                  <a:pt x="571" y="6"/>
                </a:cubicBezTo>
                <a:close/>
                <a:moveTo>
                  <a:pt x="680" y="103"/>
                </a:moveTo>
                <a:cubicBezTo>
                  <a:pt x="679" y="103"/>
                  <a:pt x="678" y="103"/>
                  <a:pt x="676" y="103"/>
                </a:cubicBezTo>
                <a:cubicBezTo>
                  <a:pt x="678" y="103"/>
                  <a:pt x="679" y="104"/>
                  <a:pt x="680" y="103"/>
                </a:cubicBezTo>
                <a:close/>
                <a:moveTo>
                  <a:pt x="1236" y="103"/>
                </a:moveTo>
                <a:cubicBezTo>
                  <a:pt x="1235" y="103"/>
                  <a:pt x="1234" y="103"/>
                  <a:pt x="1233" y="103"/>
                </a:cubicBezTo>
                <a:cubicBezTo>
                  <a:pt x="1234" y="104"/>
                  <a:pt x="1235" y="103"/>
                  <a:pt x="1236" y="103"/>
                </a:cubicBezTo>
                <a:close/>
                <a:moveTo>
                  <a:pt x="1058" y="103"/>
                </a:moveTo>
                <a:cubicBezTo>
                  <a:pt x="1057" y="103"/>
                  <a:pt x="1056" y="103"/>
                  <a:pt x="1055" y="103"/>
                </a:cubicBezTo>
                <a:cubicBezTo>
                  <a:pt x="1056" y="104"/>
                  <a:pt x="1057" y="103"/>
                  <a:pt x="1058" y="103"/>
                </a:cubicBezTo>
                <a:close/>
                <a:moveTo>
                  <a:pt x="1470" y="42"/>
                </a:moveTo>
                <a:cubicBezTo>
                  <a:pt x="1470" y="43"/>
                  <a:pt x="1470" y="44"/>
                  <a:pt x="1471" y="46"/>
                </a:cubicBezTo>
                <a:cubicBezTo>
                  <a:pt x="1471" y="44"/>
                  <a:pt x="1471" y="43"/>
                  <a:pt x="1470" y="42"/>
                </a:cubicBezTo>
                <a:close/>
                <a:moveTo>
                  <a:pt x="733" y="94"/>
                </a:moveTo>
                <a:cubicBezTo>
                  <a:pt x="735" y="94"/>
                  <a:pt x="736" y="94"/>
                  <a:pt x="737" y="94"/>
                </a:cubicBezTo>
                <a:cubicBezTo>
                  <a:pt x="736" y="94"/>
                  <a:pt x="735" y="94"/>
                  <a:pt x="733" y="94"/>
                </a:cubicBezTo>
                <a:close/>
                <a:moveTo>
                  <a:pt x="1444" y="103"/>
                </a:moveTo>
                <a:cubicBezTo>
                  <a:pt x="1443" y="103"/>
                  <a:pt x="1442" y="103"/>
                  <a:pt x="1441" y="103"/>
                </a:cubicBezTo>
                <a:cubicBezTo>
                  <a:pt x="1442" y="103"/>
                  <a:pt x="1443" y="104"/>
                  <a:pt x="1444" y="103"/>
                </a:cubicBezTo>
                <a:close/>
                <a:moveTo>
                  <a:pt x="878" y="45"/>
                </a:moveTo>
                <a:cubicBezTo>
                  <a:pt x="877" y="46"/>
                  <a:pt x="876" y="46"/>
                  <a:pt x="876" y="47"/>
                </a:cubicBezTo>
                <a:cubicBezTo>
                  <a:pt x="877" y="47"/>
                  <a:pt x="877" y="46"/>
                  <a:pt x="878" y="45"/>
                </a:cubicBezTo>
                <a:close/>
                <a:moveTo>
                  <a:pt x="1567" y="21"/>
                </a:moveTo>
                <a:cubicBezTo>
                  <a:pt x="1566" y="20"/>
                  <a:pt x="1566" y="19"/>
                  <a:pt x="1565" y="19"/>
                </a:cubicBezTo>
                <a:cubicBezTo>
                  <a:pt x="1565" y="20"/>
                  <a:pt x="1566" y="20"/>
                  <a:pt x="1567" y="21"/>
                </a:cubicBezTo>
                <a:close/>
                <a:moveTo>
                  <a:pt x="1750" y="33"/>
                </a:moveTo>
                <a:cubicBezTo>
                  <a:pt x="1749" y="34"/>
                  <a:pt x="1749" y="35"/>
                  <a:pt x="1749" y="36"/>
                </a:cubicBezTo>
                <a:cubicBezTo>
                  <a:pt x="1750" y="35"/>
                  <a:pt x="1750" y="34"/>
                  <a:pt x="1750" y="33"/>
                </a:cubicBezTo>
                <a:close/>
                <a:moveTo>
                  <a:pt x="673" y="44"/>
                </a:moveTo>
                <a:cubicBezTo>
                  <a:pt x="672" y="45"/>
                  <a:pt x="672" y="45"/>
                  <a:pt x="671" y="46"/>
                </a:cubicBezTo>
                <a:cubicBezTo>
                  <a:pt x="672" y="46"/>
                  <a:pt x="673" y="45"/>
                  <a:pt x="673" y="44"/>
                </a:cubicBezTo>
                <a:close/>
                <a:moveTo>
                  <a:pt x="1193" y="94"/>
                </a:moveTo>
                <a:cubicBezTo>
                  <a:pt x="1195" y="94"/>
                  <a:pt x="1196" y="94"/>
                  <a:pt x="1197" y="94"/>
                </a:cubicBezTo>
                <a:cubicBezTo>
                  <a:pt x="1196" y="94"/>
                  <a:pt x="1195" y="94"/>
                  <a:pt x="1193" y="94"/>
                </a:cubicBezTo>
                <a:close/>
                <a:moveTo>
                  <a:pt x="776" y="103"/>
                </a:moveTo>
                <a:cubicBezTo>
                  <a:pt x="775" y="103"/>
                  <a:pt x="774" y="103"/>
                  <a:pt x="773" y="103"/>
                </a:cubicBezTo>
                <a:cubicBezTo>
                  <a:pt x="774" y="104"/>
                  <a:pt x="775" y="103"/>
                  <a:pt x="776" y="103"/>
                </a:cubicBezTo>
                <a:close/>
                <a:moveTo>
                  <a:pt x="1582" y="33"/>
                </a:moveTo>
                <a:cubicBezTo>
                  <a:pt x="1581" y="34"/>
                  <a:pt x="1581" y="35"/>
                  <a:pt x="1581" y="36"/>
                </a:cubicBezTo>
                <a:cubicBezTo>
                  <a:pt x="1582" y="35"/>
                  <a:pt x="1582" y="34"/>
                  <a:pt x="1582" y="33"/>
                </a:cubicBezTo>
                <a:close/>
                <a:moveTo>
                  <a:pt x="1695" y="94"/>
                </a:moveTo>
                <a:cubicBezTo>
                  <a:pt x="1696" y="93"/>
                  <a:pt x="1696" y="92"/>
                  <a:pt x="1696" y="91"/>
                </a:cubicBezTo>
                <a:cubicBezTo>
                  <a:pt x="1695" y="92"/>
                  <a:pt x="1695" y="93"/>
                  <a:pt x="1695" y="94"/>
                </a:cubicBezTo>
                <a:close/>
                <a:moveTo>
                  <a:pt x="1471" y="62"/>
                </a:moveTo>
                <a:cubicBezTo>
                  <a:pt x="1470" y="63"/>
                  <a:pt x="1470" y="64"/>
                  <a:pt x="1470" y="65"/>
                </a:cubicBezTo>
                <a:cubicBezTo>
                  <a:pt x="1471" y="64"/>
                  <a:pt x="1471" y="63"/>
                  <a:pt x="1471" y="62"/>
                </a:cubicBezTo>
                <a:close/>
                <a:moveTo>
                  <a:pt x="764" y="87"/>
                </a:moveTo>
                <a:cubicBezTo>
                  <a:pt x="764" y="88"/>
                  <a:pt x="765" y="89"/>
                  <a:pt x="766" y="89"/>
                </a:cubicBezTo>
                <a:cubicBezTo>
                  <a:pt x="765" y="88"/>
                  <a:pt x="765" y="88"/>
                  <a:pt x="764" y="87"/>
                </a:cubicBezTo>
                <a:close/>
                <a:moveTo>
                  <a:pt x="805" y="59"/>
                </a:moveTo>
                <a:cubicBezTo>
                  <a:pt x="805" y="60"/>
                  <a:pt x="805" y="61"/>
                  <a:pt x="806" y="62"/>
                </a:cubicBezTo>
                <a:cubicBezTo>
                  <a:pt x="806" y="61"/>
                  <a:pt x="806" y="60"/>
                  <a:pt x="805" y="59"/>
                </a:cubicBezTo>
                <a:close/>
                <a:moveTo>
                  <a:pt x="673" y="103"/>
                </a:moveTo>
                <a:cubicBezTo>
                  <a:pt x="672" y="103"/>
                  <a:pt x="671" y="103"/>
                  <a:pt x="670" y="103"/>
                </a:cubicBezTo>
                <a:cubicBezTo>
                  <a:pt x="671" y="104"/>
                  <a:pt x="672" y="103"/>
                  <a:pt x="673" y="103"/>
                </a:cubicBezTo>
                <a:close/>
                <a:moveTo>
                  <a:pt x="557" y="103"/>
                </a:moveTo>
                <a:cubicBezTo>
                  <a:pt x="556" y="103"/>
                  <a:pt x="555" y="103"/>
                  <a:pt x="553" y="103"/>
                </a:cubicBezTo>
                <a:cubicBezTo>
                  <a:pt x="554" y="104"/>
                  <a:pt x="556" y="103"/>
                  <a:pt x="557" y="103"/>
                </a:cubicBezTo>
                <a:close/>
                <a:moveTo>
                  <a:pt x="1256" y="39"/>
                </a:moveTo>
                <a:cubicBezTo>
                  <a:pt x="1257" y="40"/>
                  <a:pt x="1257" y="40"/>
                  <a:pt x="1258" y="41"/>
                </a:cubicBezTo>
                <a:cubicBezTo>
                  <a:pt x="1258" y="40"/>
                  <a:pt x="1257" y="39"/>
                  <a:pt x="1256" y="39"/>
                </a:cubicBezTo>
                <a:close/>
                <a:moveTo>
                  <a:pt x="1735" y="21"/>
                </a:moveTo>
                <a:cubicBezTo>
                  <a:pt x="1735" y="20"/>
                  <a:pt x="1734" y="19"/>
                  <a:pt x="1733" y="19"/>
                </a:cubicBezTo>
                <a:cubicBezTo>
                  <a:pt x="1734" y="20"/>
                  <a:pt x="1734" y="20"/>
                  <a:pt x="1735" y="21"/>
                </a:cubicBezTo>
                <a:close/>
                <a:moveTo>
                  <a:pt x="835" y="45"/>
                </a:moveTo>
                <a:cubicBezTo>
                  <a:pt x="834" y="46"/>
                  <a:pt x="834" y="46"/>
                  <a:pt x="833" y="47"/>
                </a:cubicBezTo>
                <a:cubicBezTo>
                  <a:pt x="834" y="47"/>
                  <a:pt x="835" y="46"/>
                  <a:pt x="835" y="45"/>
                </a:cubicBezTo>
                <a:close/>
                <a:moveTo>
                  <a:pt x="685" y="42"/>
                </a:moveTo>
                <a:cubicBezTo>
                  <a:pt x="685" y="42"/>
                  <a:pt x="684" y="42"/>
                  <a:pt x="683" y="42"/>
                </a:cubicBezTo>
                <a:cubicBezTo>
                  <a:pt x="683" y="43"/>
                  <a:pt x="685" y="42"/>
                  <a:pt x="685" y="42"/>
                </a:cubicBezTo>
                <a:close/>
                <a:moveTo>
                  <a:pt x="1438" y="103"/>
                </a:moveTo>
                <a:cubicBezTo>
                  <a:pt x="1437" y="103"/>
                  <a:pt x="1436" y="103"/>
                  <a:pt x="1435" y="103"/>
                </a:cubicBezTo>
                <a:cubicBezTo>
                  <a:pt x="1436" y="104"/>
                  <a:pt x="1437" y="103"/>
                  <a:pt x="1438" y="103"/>
                </a:cubicBezTo>
                <a:close/>
                <a:moveTo>
                  <a:pt x="902" y="59"/>
                </a:moveTo>
                <a:cubicBezTo>
                  <a:pt x="902" y="58"/>
                  <a:pt x="902" y="57"/>
                  <a:pt x="901" y="56"/>
                </a:cubicBezTo>
                <a:cubicBezTo>
                  <a:pt x="901" y="57"/>
                  <a:pt x="901" y="58"/>
                  <a:pt x="902" y="59"/>
                </a:cubicBezTo>
                <a:close/>
                <a:moveTo>
                  <a:pt x="566" y="6"/>
                </a:moveTo>
                <a:cubicBezTo>
                  <a:pt x="567" y="6"/>
                  <a:pt x="567" y="6"/>
                  <a:pt x="568" y="6"/>
                </a:cubicBezTo>
                <a:cubicBezTo>
                  <a:pt x="567" y="5"/>
                  <a:pt x="567" y="5"/>
                  <a:pt x="566" y="6"/>
                </a:cubicBezTo>
                <a:close/>
                <a:moveTo>
                  <a:pt x="700" y="82"/>
                </a:moveTo>
                <a:cubicBezTo>
                  <a:pt x="700" y="83"/>
                  <a:pt x="700" y="84"/>
                  <a:pt x="700" y="85"/>
                </a:cubicBezTo>
                <a:cubicBezTo>
                  <a:pt x="700" y="84"/>
                  <a:pt x="700" y="83"/>
                  <a:pt x="700" y="82"/>
                </a:cubicBezTo>
                <a:close/>
                <a:moveTo>
                  <a:pt x="758" y="72"/>
                </a:moveTo>
                <a:cubicBezTo>
                  <a:pt x="758" y="73"/>
                  <a:pt x="758" y="74"/>
                  <a:pt x="759" y="75"/>
                </a:cubicBezTo>
                <a:cubicBezTo>
                  <a:pt x="759" y="74"/>
                  <a:pt x="759" y="73"/>
                  <a:pt x="758" y="72"/>
                </a:cubicBezTo>
                <a:close/>
                <a:moveTo>
                  <a:pt x="1527" y="94"/>
                </a:moveTo>
                <a:cubicBezTo>
                  <a:pt x="1527" y="93"/>
                  <a:pt x="1527" y="92"/>
                  <a:pt x="1527" y="91"/>
                </a:cubicBezTo>
                <a:cubicBezTo>
                  <a:pt x="1527" y="92"/>
                  <a:pt x="1527" y="93"/>
                  <a:pt x="1527" y="94"/>
                </a:cubicBezTo>
                <a:close/>
                <a:moveTo>
                  <a:pt x="1364" y="6"/>
                </a:moveTo>
                <a:cubicBezTo>
                  <a:pt x="1365" y="6"/>
                  <a:pt x="1366" y="6"/>
                  <a:pt x="1367" y="6"/>
                </a:cubicBezTo>
                <a:cubicBezTo>
                  <a:pt x="1366" y="6"/>
                  <a:pt x="1365" y="5"/>
                  <a:pt x="1364" y="6"/>
                </a:cubicBezTo>
                <a:close/>
                <a:moveTo>
                  <a:pt x="992" y="6"/>
                </a:moveTo>
                <a:cubicBezTo>
                  <a:pt x="993" y="6"/>
                  <a:pt x="994" y="6"/>
                  <a:pt x="995" y="6"/>
                </a:cubicBezTo>
                <a:cubicBezTo>
                  <a:pt x="994" y="6"/>
                  <a:pt x="993" y="5"/>
                  <a:pt x="992" y="6"/>
                </a:cubicBezTo>
                <a:close/>
                <a:moveTo>
                  <a:pt x="561" y="6"/>
                </a:moveTo>
                <a:cubicBezTo>
                  <a:pt x="562" y="6"/>
                  <a:pt x="563" y="6"/>
                  <a:pt x="564" y="6"/>
                </a:cubicBezTo>
                <a:cubicBezTo>
                  <a:pt x="563" y="6"/>
                  <a:pt x="562" y="5"/>
                  <a:pt x="561" y="6"/>
                </a:cubicBezTo>
                <a:close/>
                <a:moveTo>
                  <a:pt x="565" y="16"/>
                </a:moveTo>
                <a:cubicBezTo>
                  <a:pt x="564" y="16"/>
                  <a:pt x="563" y="16"/>
                  <a:pt x="562" y="16"/>
                </a:cubicBezTo>
                <a:cubicBezTo>
                  <a:pt x="563" y="16"/>
                  <a:pt x="564" y="17"/>
                  <a:pt x="565" y="16"/>
                </a:cubicBezTo>
                <a:close/>
                <a:moveTo>
                  <a:pt x="1581" y="26"/>
                </a:moveTo>
                <a:cubicBezTo>
                  <a:pt x="1581" y="27"/>
                  <a:pt x="1581" y="28"/>
                  <a:pt x="1582" y="29"/>
                </a:cubicBezTo>
                <a:cubicBezTo>
                  <a:pt x="1582" y="28"/>
                  <a:pt x="1582" y="27"/>
                  <a:pt x="1581" y="26"/>
                </a:cubicBezTo>
                <a:close/>
                <a:moveTo>
                  <a:pt x="998" y="6"/>
                </a:moveTo>
                <a:cubicBezTo>
                  <a:pt x="999" y="6"/>
                  <a:pt x="999" y="6"/>
                  <a:pt x="1000" y="6"/>
                </a:cubicBezTo>
                <a:cubicBezTo>
                  <a:pt x="999" y="5"/>
                  <a:pt x="999" y="5"/>
                  <a:pt x="998" y="6"/>
                </a:cubicBezTo>
                <a:close/>
                <a:moveTo>
                  <a:pt x="1410" y="69"/>
                </a:moveTo>
                <a:cubicBezTo>
                  <a:pt x="1410" y="68"/>
                  <a:pt x="1410" y="67"/>
                  <a:pt x="1410" y="66"/>
                </a:cubicBezTo>
                <a:cubicBezTo>
                  <a:pt x="1410" y="67"/>
                  <a:pt x="1409" y="68"/>
                  <a:pt x="1410" y="69"/>
                </a:cubicBezTo>
                <a:close/>
                <a:moveTo>
                  <a:pt x="886" y="33"/>
                </a:moveTo>
                <a:cubicBezTo>
                  <a:pt x="886" y="33"/>
                  <a:pt x="887" y="33"/>
                  <a:pt x="888" y="33"/>
                </a:cubicBezTo>
                <a:cubicBezTo>
                  <a:pt x="887" y="33"/>
                  <a:pt x="886" y="32"/>
                  <a:pt x="886" y="33"/>
                </a:cubicBezTo>
                <a:close/>
                <a:moveTo>
                  <a:pt x="1726" y="6"/>
                </a:moveTo>
                <a:cubicBezTo>
                  <a:pt x="1726" y="6"/>
                  <a:pt x="1727" y="6"/>
                  <a:pt x="1728" y="6"/>
                </a:cubicBezTo>
                <a:cubicBezTo>
                  <a:pt x="1727" y="5"/>
                  <a:pt x="1727" y="6"/>
                  <a:pt x="1726" y="6"/>
                </a:cubicBezTo>
                <a:close/>
                <a:moveTo>
                  <a:pt x="725" y="83"/>
                </a:moveTo>
                <a:cubicBezTo>
                  <a:pt x="725" y="84"/>
                  <a:pt x="725" y="85"/>
                  <a:pt x="726" y="86"/>
                </a:cubicBezTo>
                <a:cubicBezTo>
                  <a:pt x="726" y="85"/>
                  <a:pt x="726" y="84"/>
                  <a:pt x="725" y="83"/>
                </a:cubicBezTo>
                <a:close/>
                <a:moveTo>
                  <a:pt x="1717" y="6"/>
                </a:moveTo>
                <a:cubicBezTo>
                  <a:pt x="1718" y="6"/>
                  <a:pt x="1719" y="6"/>
                  <a:pt x="1719" y="6"/>
                </a:cubicBezTo>
                <a:cubicBezTo>
                  <a:pt x="1719" y="6"/>
                  <a:pt x="1718" y="5"/>
                  <a:pt x="1717" y="6"/>
                </a:cubicBezTo>
                <a:close/>
                <a:moveTo>
                  <a:pt x="1410" y="46"/>
                </a:moveTo>
                <a:cubicBezTo>
                  <a:pt x="1410" y="45"/>
                  <a:pt x="1410" y="44"/>
                  <a:pt x="1410" y="43"/>
                </a:cubicBezTo>
                <a:cubicBezTo>
                  <a:pt x="1409" y="44"/>
                  <a:pt x="1410" y="45"/>
                  <a:pt x="1410" y="46"/>
                </a:cubicBezTo>
                <a:close/>
                <a:moveTo>
                  <a:pt x="1063" y="33"/>
                </a:moveTo>
                <a:cubicBezTo>
                  <a:pt x="1064" y="33"/>
                  <a:pt x="1065" y="33"/>
                  <a:pt x="1065" y="33"/>
                </a:cubicBezTo>
                <a:cubicBezTo>
                  <a:pt x="1065" y="32"/>
                  <a:pt x="1064" y="33"/>
                  <a:pt x="1063" y="33"/>
                </a:cubicBezTo>
                <a:close/>
                <a:moveTo>
                  <a:pt x="1029" y="64"/>
                </a:moveTo>
                <a:cubicBezTo>
                  <a:pt x="1030" y="63"/>
                  <a:pt x="1030" y="62"/>
                  <a:pt x="1030" y="61"/>
                </a:cubicBezTo>
                <a:cubicBezTo>
                  <a:pt x="1029" y="62"/>
                  <a:pt x="1029" y="63"/>
                  <a:pt x="1029" y="64"/>
                </a:cubicBezTo>
                <a:close/>
                <a:moveTo>
                  <a:pt x="1558" y="6"/>
                </a:moveTo>
                <a:cubicBezTo>
                  <a:pt x="1558" y="6"/>
                  <a:pt x="1559" y="6"/>
                  <a:pt x="1560" y="6"/>
                </a:cubicBezTo>
                <a:cubicBezTo>
                  <a:pt x="1559" y="5"/>
                  <a:pt x="1558" y="6"/>
                  <a:pt x="1558" y="6"/>
                </a:cubicBezTo>
                <a:close/>
                <a:moveTo>
                  <a:pt x="1549" y="6"/>
                </a:moveTo>
                <a:cubicBezTo>
                  <a:pt x="1550" y="6"/>
                  <a:pt x="1550" y="6"/>
                  <a:pt x="1551" y="6"/>
                </a:cubicBezTo>
                <a:cubicBezTo>
                  <a:pt x="1550" y="6"/>
                  <a:pt x="1549" y="5"/>
                  <a:pt x="1549" y="6"/>
                </a:cubicBezTo>
                <a:close/>
                <a:moveTo>
                  <a:pt x="1444" y="6"/>
                </a:moveTo>
                <a:cubicBezTo>
                  <a:pt x="1445" y="6"/>
                  <a:pt x="1445" y="6"/>
                  <a:pt x="1446" y="6"/>
                </a:cubicBezTo>
                <a:cubicBezTo>
                  <a:pt x="1446" y="5"/>
                  <a:pt x="1445" y="6"/>
                  <a:pt x="1444" y="6"/>
                </a:cubicBezTo>
                <a:close/>
                <a:moveTo>
                  <a:pt x="1750" y="27"/>
                </a:moveTo>
                <a:cubicBezTo>
                  <a:pt x="1749" y="28"/>
                  <a:pt x="1749" y="28"/>
                  <a:pt x="1750" y="29"/>
                </a:cubicBezTo>
                <a:cubicBezTo>
                  <a:pt x="1750" y="28"/>
                  <a:pt x="1750" y="27"/>
                  <a:pt x="1750" y="27"/>
                </a:cubicBezTo>
                <a:close/>
                <a:moveTo>
                  <a:pt x="1373" y="6"/>
                </a:moveTo>
                <a:cubicBezTo>
                  <a:pt x="1374" y="6"/>
                  <a:pt x="1375" y="6"/>
                  <a:pt x="1376" y="6"/>
                </a:cubicBezTo>
                <a:cubicBezTo>
                  <a:pt x="1375" y="5"/>
                  <a:pt x="1374" y="6"/>
                  <a:pt x="1373" y="6"/>
                </a:cubicBezTo>
                <a:close/>
                <a:moveTo>
                  <a:pt x="1135" y="33"/>
                </a:moveTo>
                <a:cubicBezTo>
                  <a:pt x="1135" y="33"/>
                  <a:pt x="1136" y="33"/>
                  <a:pt x="1137" y="33"/>
                </a:cubicBezTo>
                <a:cubicBezTo>
                  <a:pt x="1136" y="32"/>
                  <a:pt x="1136" y="33"/>
                  <a:pt x="1135" y="33"/>
                </a:cubicBezTo>
                <a:close/>
                <a:moveTo>
                  <a:pt x="720" y="99"/>
                </a:moveTo>
                <a:cubicBezTo>
                  <a:pt x="720" y="99"/>
                  <a:pt x="719" y="98"/>
                  <a:pt x="719" y="98"/>
                </a:cubicBezTo>
                <a:cubicBezTo>
                  <a:pt x="719" y="99"/>
                  <a:pt x="719" y="99"/>
                  <a:pt x="720" y="99"/>
                </a:cubicBezTo>
                <a:close/>
                <a:moveTo>
                  <a:pt x="1030" y="76"/>
                </a:moveTo>
                <a:cubicBezTo>
                  <a:pt x="1030" y="75"/>
                  <a:pt x="1030" y="74"/>
                  <a:pt x="1029" y="73"/>
                </a:cubicBezTo>
                <a:cubicBezTo>
                  <a:pt x="1029" y="74"/>
                  <a:pt x="1029" y="75"/>
                  <a:pt x="1030" y="76"/>
                </a:cubicBezTo>
                <a:close/>
                <a:moveTo>
                  <a:pt x="685" y="33"/>
                </a:moveTo>
                <a:cubicBezTo>
                  <a:pt x="686" y="33"/>
                  <a:pt x="687" y="33"/>
                  <a:pt x="687" y="33"/>
                </a:cubicBezTo>
                <a:cubicBezTo>
                  <a:pt x="687" y="32"/>
                  <a:pt x="686" y="33"/>
                  <a:pt x="685" y="33"/>
                </a:cubicBezTo>
                <a:close/>
                <a:moveTo>
                  <a:pt x="890" y="42"/>
                </a:moveTo>
                <a:cubicBezTo>
                  <a:pt x="890" y="42"/>
                  <a:pt x="889" y="42"/>
                  <a:pt x="888" y="42"/>
                </a:cubicBezTo>
                <a:cubicBezTo>
                  <a:pt x="889" y="43"/>
                  <a:pt x="890" y="42"/>
                  <a:pt x="890" y="42"/>
                </a:cubicBezTo>
                <a:close/>
                <a:moveTo>
                  <a:pt x="893" y="33"/>
                </a:moveTo>
                <a:cubicBezTo>
                  <a:pt x="894" y="33"/>
                  <a:pt x="894" y="33"/>
                  <a:pt x="895" y="33"/>
                </a:cubicBezTo>
                <a:cubicBezTo>
                  <a:pt x="894" y="32"/>
                  <a:pt x="894" y="33"/>
                  <a:pt x="893" y="33"/>
                </a:cubicBezTo>
                <a:close/>
                <a:moveTo>
                  <a:pt x="1293" y="39"/>
                </a:moveTo>
                <a:cubicBezTo>
                  <a:pt x="1294" y="38"/>
                  <a:pt x="1294" y="38"/>
                  <a:pt x="1295" y="37"/>
                </a:cubicBezTo>
                <a:cubicBezTo>
                  <a:pt x="1294" y="38"/>
                  <a:pt x="1293" y="38"/>
                  <a:pt x="1293" y="39"/>
                </a:cubicBezTo>
                <a:close/>
                <a:moveTo>
                  <a:pt x="773" y="33"/>
                </a:moveTo>
                <a:cubicBezTo>
                  <a:pt x="774" y="33"/>
                  <a:pt x="775" y="33"/>
                  <a:pt x="776" y="33"/>
                </a:cubicBezTo>
                <a:cubicBezTo>
                  <a:pt x="775" y="33"/>
                  <a:pt x="774" y="32"/>
                  <a:pt x="773" y="33"/>
                </a:cubicBezTo>
                <a:close/>
                <a:moveTo>
                  <a:pt x="828" y="58"/>
                </a:moveTo>
                <a:cubicBezTo>
                  <a:pt x="828" y="59"/>
                  <a:pt x="828" y="60"/>
                  <a:pt x="828" y="61"/>
                </a:cubicBezTo>
                <a:cubicBezTo>
                  <a:pt x="829" y="60"/>
                  <a:pt x="828" y="59"/>
                  <a:pt x="828" y="58"/>
                </a:cubicBezTo>
                <a:close/>
                <a:moveTo>
                  <a:pt x="677" y="33"/>
                </a:moveTo>
                <a:cubicBezTo>
                  <a:pt x="678" y="33"/>
                  <a:pt x="679" y="33"/>
                  <a:pt x="680" y="33"/>
                </a:cubicBezTo>
                <a:cubicBezTo>
                  <a:pt x="679" y="33"/>
                  <a:pt x="678" y="32"/>
                  <a:pt x="677" y="33"/>
                </a:cubicBezTo>
                <a:close/>
                <a:moveTo>
                  <a:pt x="1369" y="6"/>
                </a:moveTo>
                <a:cubicBezTo>
                  <a:pt x="1370" y="6"/>
                  <a:pt x="1371" y="6"/>
                  <a:pt x="1371" y="6"/>
                </a:cubicBezTo>
                <a:cubicBezTo>
                  <a:pt x="1371" y="5"/>
                  <a:pt x="1370" y="5"/>
                  <a:pt x="1369" y="6"/>
                </a:cubicBezTo>
                <a:close/>
                <a:moveTo>
                  <a:pt x="781" y="33"/>
                </a:moveTo>
                <a:cubicBezTo>
                  <a:pt x="781" y="33"/>
                  <a:pt x="782" y="33"/>
                  <a:pt x="783" y="33"/>
                </a:cubicBezTo>
                <a:cubicBezTo>
                  <a:pt x="782" y="32"/>
                  <a:pt x="781" y="33"/>
                  <a:pt x="781" y="33"/>
                </a:cubicBezTo>
                <a:close/>
                <a:moveTo>
                  <a:pt x="1005" y="103"/>
                </a:moveTo>
                <a:cubicBezTo>
                  <a:pt x="1004" y="103"/>
                  <a:pt x="1004" y="103"/>
                  <a:pt x="1003" y="103"/>
                </a:cubicBezTo>
                <a:cubicBezTo>
                  <a:pt x="1004" y="103"/>
                  <a:pt x="1004" y="103"/>
                  <a:pt x="1005" y="103"/>
                </a:cubicBezTo>
                <a:close/>
                <a:moveTo>
                  <a:pt x="1207" y="76"/>
                </a:moveTo>
                <a:cubicBezTo>
                  <a:pt x="1208" y="75"/>
                  <a:pt x="1208" y="74"/>
                  <a:pt x="1207" y="74"/>
                </a:cubicBezTo>
                <a:cubicBezTo>
                  <a:pt x="1207" y="74"/>
                  <a:pt x="1207" y="75"/>
                  <a:pt x="1207" y="76"/>
                </a:cubicBezTo>
                <a:close/>
                <a:moveTo>
                  <a:pt x="1127" y="33"/>
                </a:moveTo>
                <a:cubicBezTo>
                  <a:pt x="1128" y="33"/>
                  <a:pt x="1129" y="33"/>
                  <a:pt x="1130" y="33"/>
                </a:cubicBezTo>
                <a:cubicBezTo>
                  <a:pt x="1129" y="33"/>
                  <a:pt x="1128" y="32"/>
                  <a:pt x="1127" y="33"/>
                </a:cubicBezTo>
                <a:close/>
                <a:moveTo>
                  <a:pt x="1531" y="15"/>
                </a:moveTo>
                <a:cubicBezTo>
                  <a:pt x="1531" y="14"/>
                  <a:pt x="1532" y="14"/>
                  <a:pt x="1532" y="13"/>
                </a:cubicBezTo>
                <a:cubicBezTo>
                  <a:pt x="1532" y="14"/>
                  <a:pt x="1531" y="14"/>
                  <a:pt x="1531" y="15"/>
                </a:cubicBezTo>
                <a:close/>
                <a:moveTo>
                  <a:pt x="1548" y="75"/>
                </a:moveTo>
                <a:cubicBezTo>
                  <a:pt x="1547" y="75"/>
                  <a:pt x="1547" y="76"/>
                  <a:pt x="1546" y="76"/>
                </a:cubicBezTo>
                <a:cubicBezTo>
                  <a:pt x="1547" y="76"/>
                  <a:pt x="1547" y="76"/>
                  <a:pt x="1548" y="75"/>
                </a:cubicBezTo>
                <a:close/>
                <a:moveTo>
                  <a:pt x="1699" y="15"/>
                </a:moveTo>
                <a:cubicBezTo>
                  <a:pt x="1700" y="14"/>
                  <a:pt x="1700" y="14"/>
                  <a:pt x="1700" y="13"/>
                </a:cubicBezTo>
                <a:cubicBezTo>
                  <a:pt x="1700" y="14"/>
                  <a:pt x="1699" y="14"/>
                  <a:pt x="1699" y="15"/>
                </a:cubicBezTo>
                <a:close/>
                <a:moveTo>
                  <a:pt x="844" y="33"/>
                </a:moveTo>
                <a:cubicBezTo>
                  <a:pt x="845" y="33"/>
                  <a:pt x="846" y="33"/>
                  <a:pt x="847" y="33"/>
                </a:cubicBezTo>
                <a:cubicBezTo>
                  <a:pt x="846" y="33"/>
                  <a:pt x="845" y="32"/>
                  <a:pt x="844" y="33"/>
                </a:cubicBezTo>
                <a:close/>
                <a:moveTo>
                  <a:pt x="851" y="33"/>
                </a:moveTo>
                <a:cubicBezTo>
                  <a:pt x="852" y="33"/>
                  <a:pt x="852" y="33"/>
                  <a:pt x="853" y="33"/>
                </a:cubicBezTo>
                <a:cubicBezTo>
                  <a:pt x="852" y="32"/>
                  <a:pt x="852" y="33"/>
                  <a:pt x="851" y="33"/>
                </a:cubicBezTo>
                <a:close/>
                <a:moveTo>
                  <a:pt x="1055" y="33"/>
                </a:moveTo>
                <a:cubicBezTo>
                  <a:pt x="1056" y="33"/>
                  <a:pt x="1057" y="33"/>
                  <a:pt x="1058" y="33"/>
                </a:cubicBezTo>
                <a:cubicBezTo>
                  <a:pt x="1057" y="33"/>
                  <a:pt x="1056" y="32"/>
                  <a:pt x="1055" y="33"/>
                </a:cubicBezTo>
                <a:close/>
                <a:moveTo>
                  <a:pt x="1661" y="8"/>
                </a:moveTo>
                <a:cubicBezTo>
                  <a:pt x="1661" y="8"/>
                  <a:pt x="1662" y="8"/>
                  <a:pt x="1663" y="8"/>
                </a:cubicBezTo>
                <a:cubicBezTo>
                  <a:pt x="1662" y="7"/>
                  <a:pt x="1661" y="8"/>
                  <a:pt x="1661" y="8"/>
                </a:cubicBezTo>
                <a:close/>
                <a:moveTo>
                  <a:pt x="1233" y="33"/>
                </a:moveTo>
                <a:cubicBezTo>
                  <a:pt x="1234" y="33"/>
                  <a:pt x="1235" y="33"/>
                  <a:pt x="1236" y="33"/>
                </a:cubicBezTo>
                <a:cubicBezTo>
                  <a:pt x="1235" y="33"/>
                  <a:pt x="1234" y="32"/>
                  <a:pt x="1233" y="33"/>
                </a:cubicBezTo>
                <a:close/>
                <a:moveTo>
                  <a:pt x="1241" y="33"/>
                </a:moveTo>
                <a:cubicBezTo>
                  <a:pt x="1241" y="33"/>
                  <a:pt x="1242" y="33"/>
                  <a:pt x="1243" y="33"/>
                </a:cubicBezTo>
                <a:cubicBezTo>
                  <a:pt x="1242" y="32"/>
                  <a:pt x="1241" y="33"/>
                  <a:pt x="1241" y="33"/>
                </a:cubicBezTo>
                <a:close/>
                <a:moveTo>
                  <a:pt x="589" y="73"/>
                </a:moveTo>
                <a:cubicBezTo>
                  <a:pt x="589" y="74"/>
                  <a:pt x="589" y="75"/>
                  <a:pt x="589" y="76"/>
                </a:cubicBezTo>
                <a:cubicBezTo>
                  <a:pt x="589" y="75"/>
                  <a:pt x="590" y="74"/>
                  <a:pt x="589" y="73"/>
                </a:cubicBezTo>
                <a:close/>
                <a:moveTo>
                  <a:pt x="1410" y="72"/>
                </a:moveTo>
                <a:cubicBezTo>
                  <a:pt x="1410" y="71"/>
                  <a:pt x="1410" y="70"/>
                  <a:pt x="1410" y="69"/>
                </a:cubicBezTo>
                <a:cubicBezTo>
                  <a:pt x="1410" y="70"/>
                  <a:pt x="1410" y="71"/>
                  <a:pt x="1410" y="72"/>
                </a:cubicBezTo>
                <a:close/>
                <a:moveTo>
                  <a:pt x="1370" y="15"/>
                </a:moveTo>
                <a:cubicBezTo>
                  <a:pt x="1369" y="15"/>
                  <a:pt x="1369" y="15"/>
                  <a:pt x="1368" y="15"/>
                </a:cubicBezTo>
                <a:cubicBezTo>
                  <a:pt x="1369" y="15"/>
                  <a:pt x="1369" y="15"/>
                  <a:pt x="1370" y="15"/>
                </a:cubicBezTo>
                <a:close/>
                <a:moveTo>
                  <a:pt x="1555" y="15"/>
                </a:moveTo>
                <a:cubicBezTo>
                  <a:pt x="1554" y="15"/>
                  <a:pt x="1553" y="15"/>
                  <a:pt x="1552" y="15"/>
                </a:cubicBezTo>
                <a:cubicBezTo>
                  <a:pt x="1553" y="15"/>
                  <a:pt x="1554" y="15"/>
                  <a:pt x="1555" y="15"/>
                </a:cubicBezTo>
                <a:close/>
                <a:moveTo>
                  <a:pt x="1470" y="66"/>
                </a:moveTo>
                <a:cubicBezTo>
                  <a:pt x="1470" y="67"/>
                  <a:pt x="1470" y="67"/>
                  <a:pt x="1470" y="68"/>
                </a:cubicBezTo>
                <a:cubicBezTo>
                  <a:pt x="1471" y="67"/>
                  <a:pt x="1470" y="67"/>
                  <a:pt x="1470" y="66"/>
                </a:cubicBezTo>
                <a:close/>
                <a:moveTo>
                  <a:pt x="1723" y="15"/>
                </a:moveTo>
                <a:cubicBezTo>
                  <a:pt x="1722" y="15"/>
                  <a:pt x="1721" y="15"/>
                  <a:pt x="1720" y="15"/>
                </a:cubicBezTo>
                <a:cubicBezTo>
                  <a:pt x="1721" y="15"/>
                  <a:pt x="1722" y="15"/>
                  <a:pt x="1723" y="15"/>
                </a:cubicBezTo>
                <a:close/>
                <a:moveTo>
                  <a:pt x="951" y="65"/>
                </a:moveTo>
                <a:cubicBezTo>
                  <a:pt x="951" y="64"/>
                  <a:pt x="951" y="63"/>
                  <a:pt x="951" y="63"/>
                </a:cubicBezTo>
                <a:cubicBezTo>
                  <a:pt x="951" y="64"/>
                  <a:pt x="951" y="64"/>
                  <a:pt x="951" y="65"/>
                </a:cubicBezTo>
                <a:close/>
                <a:moveTo>
                  <a:pt x="1558" y="16"/>
                </a:moveTo>
                <a:cubicBezTo>
                  <a:pt x="1557" y="15"/>
                  <a:pt x="1556" y="15"/>
                  <a:pt x="1556" y="15"/>
                </a:cubicBezTo>
                <a:cubicBezTo>
                  <a:pt x="1556" y="16"/>
                  <a:pt x="1557" y="15"/>
                  <a:pt x="1558" y="16"/>
                </a:cubicBezTo>
                <a:close/>
                <a:moveTo>
                  <a:pt x="1726" y="16"/>
                </a:moveTo>
                <a:cubicBezTo>
                  <a:pt x="1725" y="15"/>
                  <a:pt x="1724" y="15"/>
                  <a:pt x="1724" y="15"/>
                </a:cubicBezTo>
                <a:cubicBezTo>
                  <a:pt x="1724" y="16"/>
                  <a:pt x="1725" y="15"/>
                  <a:pt x="1726" y="16"/>
                </a:cubicBezTo>
                <a:close/>
                <a:moveTo>
                  <a:pt x="1207" y="63"/>
                </a:moveTo>
                <a:cubicBezTo>
                  <a:pt x="1208" y="63"/>
                  <a:pt x="1208" y="62"/>
                  <a:pt x="1207" y="61"/>
                </a:cubicBezTo>
                <a:cubicBezTo>
                  <a:pt x="1207" y="62"/>
                  <a:pt x="1207" y="63"/>
                  <a:pt x="1207" y="63"/>
                </a:cubicBezTo>
                <a:close/>
                <a:moveTo>
                  <a:pt x="1155" y="53"/>
                </a:moveTo>
                <a:cubicBezTo>
                  <a:pt x="1155" y="54"/>
                  <a:pt x="1155" y="54"/>
                  <a:pt x="1155" y="55"/>
                </a:cubicBezTo>
                <a:cubicBezTo>
                  <a:pt x="1155" y="54"/>
                  <a:pt x="1155" y="53"/>
                  <a:pt x="1155" y="53"/>
                </a:cubicBezTo>
                <a:close/>
                <a:moveTo>
                  <a:pt x="680" y="42"/>
                </a:moveTo>
                <a:cubicBezTo>
                  <a:pt x="679" y="42"/>
                  <a:pt x="679" y="42"/>
                  <a:pt x="678" y="42"/>
                </a:cubicBezTo>
                <a:cubicBezTo>
                  <a:pt x="679" y="42"/>
                  <a:pt x="679" y="43"/>
                  <a:pt x="680" y="42"/>
                </a:cubicBezTo>
                <a:close/>
                <a:moveTo>
                  <a:pt x="1568" y="59"/>
                </a:moveTo>
                <a:cubicBezTo>
                  <a:pt x="1568" y="59"/>
                  <a:pt x="1567" y="60"/>
                  <a:pt x="1567" y="60"/>
                </a:cubicBezTo>
                <a:cubicBezTo>
                  <a:pt x="1568" y="60"/>
                  <a:pt x="1568" y="60"/>
                  <a:pt x="1568" y="59"/>
                </a:cubicBezTo>
                <a:close/>
                <a:moveTo>
                  <a:pt x="848" y="42"/>
                </a:moveTo>
                <a:cubicBezTo>
                  <a:pt x="847" y="42"/>
                  <a:pt x="846" y="42"/>
                  <a:pt x="845" y="42"/>
                </a:cubicBezTo>
                <a:cubicBezTo>
                  <a:pt x="846" y="43"/>
                  <a:pt x="847" y="42"/>
                  <a:pt x="848" y="42"/>
                </a:cubicBezTo>
                <a:close/>
                <a:moveTo>
                  <a:pt x="1440" y="6"/>
                </a:moveTo>
                <a:cubicBezTo>
                  <a:pt x="1441" y="6"/>
                  <a:pt x="1441" y="6"/>
                  <a:pt x="1442" y="6"/>
                </a:cubicBezTo>
                <a:cubicBezTo>
                  <a:pt x="1441" y="5"/>
                  <a:pt x="1441" y="5"/>
                  <a:pt x="1440" y="6"/>
                </a:cubicBezTo>
                <a:close/>
                <a:moveTo>
                  <a:pt x="1554" y="6"/>
                </a:moveTo>
                <a:cubicBezTo>
                  <a:pt x="1554" y="6"/>
                  <a:pt x="1555" y="6"/>
                  <a:pt x="1556" y="6"/>
                </a:cubicBezTo>
                <a:cubicBezTo>
                  <a:pt x="1555" y="5"/>
                  <a:pt x="1554" y="5"/>
                  <a:pt x="1554" y="6"/>
                </a:cubicBezTo>
                <a:close/>
                <a:moveTo>
                  <a:pt x="1722" y="6"/>
                </a:moveTo>
                <a:cubicBezTo>
                  <a:pt x="1722" y="6"/>
                  <a:pt x="1723" y="6"/>
                  <a:pt x="1724" y="6"/>
                </a:cubicBezTo>
                <a:cubicBezTo>
                  <a:pt x="1723" y="5"/>
                  <a:pt x="1722" y="5"/>
                  <a:pt x="1722" y="6"/>
                </a:cubicBezTo>
                <a:close/>
                <a:moveTo>
                  <a:pt x="1436" y="6"/>
                </a:moveTo>
                <a:cubicBezTo>
                  <a:pt x="1437" y="6"/>
                  <a:pt x="1438" y="6"/>
                  <a:pt x="1438" y="6"/>
                </a:cubicBezTo>
                <a:cubicBezTo>
                  <a:pt x="1438" y="6"/>
                  <a:pt x="1437" y="6"/>
                  <a:pt x="1436" y="6"/>
                </a:cubicBezTo>
                <a:close/>
                <a:moveTo>
                  <a:pt x="990" y="6"/>
                </a:moveTo>
                <a:cubicBezTo>
                  <a:pt x="990" y="7"/>
                  <a:pt x="991" y="7"/>
                  <a:pt x="992" y="6"/>
                </a:cubicBezTo>
                <a:cubicBezTo>
                  <a:pt x="991" y="6"/>
                  <a:pt x="990" y="6"/>
                  <a:pt x="990" y="6"/>
                </a:cubicBezTo>
                <a:close/>
                <a:moveTo>
                  <a:pt x="1007" y="6"/>
                </a:moveTo>
                <a:cubicBezTo>
                  <a:pt x="1008" y="7"/>
                  <a:pt x="1009" y="6"/>
                  <a:pt x="1009" y="6"/>
                </a:cubicBezTo>
                <a:cubicBezTo>
                  <a:pt x="1009" y="6"/>
                  <a:pt x="1008" y="6"/>
                  <a:pt x="1007" y="6"/>
                </a:cubicBezTo>
                <a:close/>
                <a:moveTo>
                  <a:pt x="886" y="42"/>
                </a:moveTo>
                <a:cubicBezTo>
                  <a:pt x="885" y="42"/>
                  <a:pt x="884" y="42"/>
                  <a:pt x="884" y="42"/>
                </a:cubicBezTo>
                <a:cubicBezTo>
                  <a:pt x="884" y="42"/>
                  <a:pt x="885" y="43"/>
                  <a:pt x="886" y="42"/>
                </a:cubicBezTo>
                <a:close/>
                <a:moveTo>
                  <a:pt x="990" y="92"/>
                </a:moveTo>
                <a:cubicBezTo>
                  <a:pt x="991" y="93"/>
                  <a:pt x="992" y="93"/>
                  <a:pt x="992" y="93"/>
                </a:cubicBezTo>
                <a:cubicBezTo>
                  <a:pt x="992" y="92"/>
                  <a:pt x="991" y="93"/>
                  <a:pt x="990" y="92"/>
                </a:cubicBezTo>
                <a:close/>
                <a:moveTo>
                  <a:pt x="1040" y="40"/>
                </a:moveTo>
                <a:cubicBezTo>
                  <a:pt x="1041" y="40"/>
                  <a:pt x="1041" y="40"/>
                  <a:pt x="1041" y="39"/>
                </a:cubicBezTo>
                <a:cubicBezTo>
                  <a:pt x="1041" y="39"/>
                  <a:pt x="1040" y="40"/>
                  <a:pt x="1040" y="40"/>
                </a:cubicBezTo>
                <a:close/>
                <a:moveTo>
                  <a:pt x="951" y="50"/>
                </a:moveTo>
                <a:cubicBezTo>
                  <a:pt x="951" y="49"/>
                  <a:pt x="951" y="48"/>
                  <a:pt x="951" y="48"/>
                </a:cubicBezTo>
                <a:cubicBezTo>
                  <a:pt x="951" y="48"/>
                  <a:pt x="951" y="49"/>
                  <a:pt x="951" y="50"/>
                </a:cubicBezTo>
                <a:close/>
                <a:moveTo>
                  <a:pt x="1265" y="58"/>
                </a:moveTo>
                <a:cubicBezTo>
                  <a:pt x="1265" y="58"/>
                  <a:pt x="1265" y="59"/>
                  <a:pt x="1266" y="60"/>
                </a:cubicBezTo>
                <a:cubicBezTo>
                  <a:pt x="1266" y="59"/>
                  <a:pt x="1266" y="58"/>
                  <a:pt x="1265" y="58"/>
                </a:cubicBezTo>
                <a:close/>
                <a:moveTo>
                  <a:pt x="694" y="97"/>
                </a:moveTo>
                <a:cubicBezTo>
                  <a:pt x="694" y="97"/>
                  <a:pt x="693" y="97"/>
                  <a:pt x="693" y="98"/>
                </a:cubicBezTo>
                <a:cubicBezTo>
                  <a:pt x="694" y="98"/>
                  <a:pt x="694" y="97"/>
                  <a:pt x="694" y="97"/>
                </a:cubicBezTo>
                <a:close/>
                <a:moveTo>
                  <a:pt x="1002" y="93"/>
                </a:moveTo>
                <a:cubicBezTo>
                  <a:pt x="1003" y="93"/>
                  <a:pt x="1003" y="93"/>
                  <a:pt x="1004" y="92"/>
                </a:cubicBezTo>
                <a:cubicBezTo>
                  <a:pt x="1003" y="93"/>
                  <a:pt x="1002" y="92"/>
                  <a:pt x="1002" y="93"/>
                </a:cubicBezTo>
                <a:close/>
                <a:moveTo>
                  <a:pt x="1373" y="56"/>
                </a:moveTo>
                <a:cubicBezTo>
                  <a:pt x="1374" y="56"/>
                  <a:pt x="1374" y="55"/>
                  <a:pt x="1375" y="55"/>
                </a:cubicBezTo>
                <a:cubicBezTo>
                  <a:pt x="1374" y="55"/>
                  <a:pt x="1373" y="55"/>
                  <a:pt x="1373" y="56"/>
                </a:cubicBezTo>
                <a:close/>
                <a:moveTo>
                  <a:pt x="1127" y="42"/>
                </a:moveTo>
                <a:cubicBezTo>
                  <a:pt x="1127" y="42"/>
                  <a:pt x="1126" y="42"/>
                  <a:pt x="1125" y="42"/>
                </a:cubicBezTo>
                <a:cubicBezTo>
                  <a:pt x="1126" y="42"/>
                  <a:pt x="1127" y="43"/>
                  <a:pt x="1127" y="42"/>
                </a:cubicBezTo>
                <a:close/>
                <a:moveTo>
                  <a:pt x="1132" y="42"/>
                </a:moveTo>
                <a:cubicBezTo>
                  <a:pt x="1131" y="42"/>
                  <a:pt x="1131" y="42"/>
                  <a:pt x="1130" y="42"/>
                </a:cubicBezTo>
                <a:cubicBezTo>
                  <a:pt x="1131" y="43"/>
                  <a:pt x="1131" y="42"/>
                  <a:pt x="1132" y="42"/>
                </a:cubicBezTo>
                <a:close/>
                <a:moveTo>
                  <a:pt x="1343" y="92"/>
                </a:moveTo>
                <a:cubicBezTo>
                  <a:pt x="1343" y="92"/>
                  <a:pt x="1343" y="91"/>
                  <a:pt x="1343" y="90"/>
                </a:cubicBezTo>
                <a:cubicBezTo>
                  <a:pt x="1343" y="91"/>
                  <a:pt x="1343" y="92"/>
                  <a:pt x="1343" y="92"/>
                </a:cubicBezTo>
                <a:close/>
                <a:moveTo>
                  <a:pt x="1707" y="88"/>
                </a:moveTo>
                <a:cubicBezTo>
                  <a:pt x="1707" y="88"/>
                  <a:pt x="1707" y="89"/>
                  <a:pt x="1707" y="90"/>
                </a:cubicBezTo>
                <a:cubicBezTo>
                  <a:pt x="1707" y="89"/>
                  <a:pt x="1707" y="88"/>
                  <a:pt x="1707" y="88"/>
                </a:cubicBezTo>
                <a:close/>
                <a:moveTo>
                  <a:pt x="1069" y="103"/>
                </a:moveTo>
                <a:cubicBezTo>
                  <a:pt x="1068" y="103"/>
                  <a:pt x="1067" y="103"/>
                  <a:pt x="1066" y="103"/>
                </a:cubicBezTo>
                <a:cubicBezTo>
                  <a:pt x="1067" y="103"/>
                  <a:pt x="1068" y="103"/>
                  <a:pt x="1069" y="103"/>
                </a:cubicBezTo>
                <a:close/>
                <a:moveTo>
                  <a:pt x="1470" y="39"/>
                </a:moveTo>
                <a:cubicBezTo>
                  <a:pt x="1470" y="40"/>
                  <a:pt x="1470" y="40"/>
                  <a:pt x="1470" y="41"/>
                </a:cubicBezTo>
                <a:cubicBezTo>
                  <a:pt x="1470" y="40"/>
                  <a:pt x="1471" y="40"/>
                  <a:pt x="1470" y="39"/>
                </a:cubicBezTo>
                <a:close/>
                <a:moveTo>
                  <a:pt x="1385" y="58"/>
                </a:moveTo>
                <a:cubicBezTo>
                  <a:pt x="1385" y="58"/>
                  <a:pt x="1384" y="59"/>
                  <a:pt x="1384" y="59"/>
                </a:cubicBezTo>
                <a:cubicBezTo>
                  <a:pt x="1385" y="59"/>
                  <a:pt x="1385" y="59"/>
                  <a:pt x="1385" y="58"/>
                </a:cubicBezTo>
                <a:close/>
                <a:moveTo>
                  <a:pt x="1175" y="89"/>
                </a:moveTo>
                <a:cubicBezTo>
                  <a:pt x="1175" y="88"/>
                  <a:pt x="1175" y="87"/>
                  <a:pt x="1174" y="87"/>
                </a:cubicBezTo>
                <a:cubicBezTo>
                  <a:pt x="1175" y="87"/>
                  <a:pt x="1174" y="88"/>
                  <a:pt x="1175" y="89"/>
                </a:cubicBezTo>
                <a:close/>
                <a:moveTo>
                  <a:pt x="551" y="39"/>
                </a:moveTo>
                <a:cubicBezTo>
                  <a:pt x="552" y="40"/>
                  <a:pt x="552" y="40"/>
                  <a:pt x="552" y="41"/>
                </a:cubicBezTo>
                <a:cubicBezTo>
                  <a:pt x="552" y="40"/>
                  <a:pt x="552" y="39"/>
                  <a:pt x="551" y="39"/>
                </a:cubicBezTo>
                <a:close/>
                <a:moveTo>
                  <a:pt x="1389" y="54"/>
                </a:moveTo>
                <a:cubicBezTo>
                  <a:pt x="1389" y="54"/>
                  <a:pt x="1388" y="55"/>
                  <a:pt x="1388" y="55"/>
                </a:cubicBezTo>
                <a:cubicBezTo>
                  <a:pt x="1389" y="55"/>
                  <a:pt x="1389" y="55"/>
                  <a:pt x="1389" y="54"/>
                </a:cubicBezTo>
                <a:close/>
                <a:moveTo>
                  <a:pt x="1087" y="57"/>
                </a:moveTo>
                <a:cubicBezTo>
                  <a:pt x="1087" y="58"/>
                  <a:pt x="1087" y="59"/>
                  <a:pt x="1088" y="60"/>
                </a:cubicBezTo>
                <a:cubicBezTo>
                  <a:pt x="1088" y="59"/>
                  <a:pt x="1088" y="58"/>
                  <a:pt x="1087" y="57"/>
                </a:cubicBezTo>
                <a:close/>
                <a:moveTo>
                  <a:pt x="989" y="103"/>
                </a:moveTo>
                <a:cubicBezTo>
                  <a:pt x="988" y="103"/>
                  <a:pt x="987" y="103"/>
                  <a:pt x="986" y="103"/>
                </a:cubicBezTo>
                <a:cubicBezTo>
                  <a:pt x="987" y="103"/>
                  <a:pt x="988" y="103"/>
                  <a:pt x="989" y="103"/>
                </a:cubicBezTo>
                <a:close/>
                <a:moveTo>
                  <a:pt x="589" y="80"/>
                </a:moveTo>
                <a:cubicBezTo>
                  <a:pt x="589" y="81"/>
                  <a:pt x="589" y="82"/>
                  <a:pt x="589" y="82"/>
                </a:cubicBezTo>
                <a:cubicBezTo>
                  <a:pt x="590" y="82"/>
                  <a:pt x="589" y="81"/>
                  <a:pt x="589" y="80"/>
                </a:cubicBezTo>
                <a:close/>
                <a:moveTo>
                  <a:pt x="1716" y="75"/>
                </a:moveTo>
                <a:cubicBezTo>
                  <a:pt x="1715" y="75"/>
                  <a:pt x="1715" y="76"/>
                  <a:pt x="1714" y="76"/>
                </a:cubicBezTo>
                <a:cubicBezTo>
                  <a:pt x="1715" y="76"/>
                  <a:pt x="1715" y="76"/>
                  <a:pt x="1716" y="75"/>
                </a:cubicBezTo>
                <a:close/>
                <a:moveTo>
                  <a:pt x="1005" y="92"/>
                </a:moveTo>
                <a:cubicBezTo>
                  <a:pt x="1005" y="92"/>
                  <a:pt x="1006" y="93"/>
                  <a:pt x="1006" y="92"/>
                </a:cubicBezTo>
                <a:cubicBezTo>
                  <a:pt x="1006" y="92"/>
                  <a:pt x="1005" y="92"/>
                  <a:pt x="1005" y="92"/>
                </a:cubicBezTo>
                <a:close/>
                <a:moveTo>
                  <a:pt x="1289" y="60"/>
                </a:moveTo>
                <a:cubicBezTo>
                  <a:pt x="1288" y="61"/>
                  <a:pt x="1288" y="61"/>
                  <a:pt x="1288" y="62"/>
                </a:cubicBezTo>
                <a:cubicBezTo>
                  <a:pt x="1289" y="61"/>
                  <a:pt x="1289" y="61"/>
                  <a:pt x="1289" y="60"/>
                </a:cubicBezTo>
                <a:close/>
                <a:moveTo>
                  <a:pt x="1030" y="61"/>
                </a:moveTo>
                <a:cubicBezTo>
                  <a:pt x="1030" y="61"/>
                  <a:pt x="1030" y="60"/>
                  <a:pt x="1030" y="59"/>
                </a:cubicBezTo>
                <a:cubicBezTo>
                  <a:pt x="1029" y="60"/>
                  <a:pt x="1030" y="61"/>
                  <a:pt x="1030" y="61"/>
                </a:cubicBezTo>
                <a:close/>
                <a:moveTo>
                  <a:pt x="1219" y="75"/>
                </a:moveTo>
                <a:cubicBezTo>
                  <a:pt x="1219" y="75"/>
                  <a:pt x="1219" y="76"/>
                  <a:pt x="1219" y="77"/>
                </a:cubicBezTo>
                <a:cubicBezTo>
                  <a:pt x="1219" y="76"/>
                  <a:pt x="1219" y="75"/>
                  <a:pt x="1219" y="75"/>
                </a:cubicBezTo>
                <a:close/>
                <a:moveTo>
                  <a:pt x="1386" y="29"/>
                </a:moveTo>
                <a:cubicBezTo>
                  <a:pt x="1386" y="28"/>
                  <a:pt x="1386" y="28"/>
                  <a:pt x="1386" y="27"/>
                </a:cubicBezTo>
                <a:cubicBezTo>
                  <a:pt x="1386" y="28"/>
                  <a:pt x="1385" y="29"/>
                  <a:pt x="1386" y="29"/>
                </a:cubicBezTo>
                <a:close/>
                <a:moveTo>
                  <a:pt x="669" y="103"/>
                </a:moveTo>
                <a:cubicBezTo>
                  <a:pt x="669" y="103"/>
                  <a:pt x="668" y="103"/>
                  <a:pt x="668" y="103"/>
                </a:cubicBezTo>
                <a:cubicBezTo>
                  <a:pt x="668" y="103"/>
                  <a:pt x="669" y="103"/>
                  <a:pt x="669" y="103"/>
                </a:cubicBezTo>
                <a:close/>
                <a:moveTo>
                  <a:pt x="1208" y="78"/>
                </a:moveTo>
                <a:cubicBezTo>
                  <a:pt x="1208" y="78"/>
                  <a:pt x="1208" y="77"/>
                  <a:pt x="1208" y="76"/>
                </a:cubicBezTo>
                <a:cubicBezTo>
                  <a:pt x="1208" y="77"/>
                  <a:pt x="1207" y="78"/>
                  <a:pt x="1208" y="78"/>
                </a:cubicBezTo>
                <a:close/>
                <a:moveTo>
                  <a:pt x="1067" y="93"/>
                </a:moveTo>
                <a:cubicBezTo>
                  <a:pt x="1068" y="94"/>
                  <a:pt x="1068" y="94"/>
                  <a:pt x="1069" y="93"/>
                </a:cubicBezTo>
                <a:cubicBezTo>
                  <a:pt x="1068" y="93"/>
                  <a:pt x="1067" y="93"/>
                  <a:pt x="1067" y="93"/>
                </a:cubicBezTo>
                <a:close/>
                <a:moveTo>
                  <a:pt x="912" y="52"/>
                </a:moveTo>
                <a:cubicBezTo>
                  <a:pt x="912" y="52"/>
                  <a:pt x="912" y="53"/>
                  <a:pt x="912" y="54"/>
                </a:cubicBezTo>
                <a:cubicBezTo>
                  <a:pt x="912" y="53"/>
                  <a:pt x="913" y="52"/>
                  <a:pt x="912" y="52"/>
                </a:cubicBezTo>
                <a:close/>
                <a:moveTo>
                  <a:pt x="788" y="102"/>
                </a:moveTo>
                <a:cubicBezTo>
                  <a:pt x="788" y="102"/>
                  <a:pt x="787" y="102"/>
                  <a:pt x="787" y="103"/>
                </a:cubicBezTo>
                <a:cubicBezTo>
                  <a:pt x="787" y="102"/>
                  <a:pt x="788" y="103"/>
                  <a:pt x="788" y="102"/>
                </a:cubicBezTo>
                <a:close/>
                <a:moveTo>
                  <a:pt x="1684" y="26"/>
                </a:moveTo>
                <a:cubicBezTo>
                  <a:pt x="1684" y="27"/>
                  <a:pt x="1684" y="27"/>
                  <a:pt x="1684" y="28"/>
                </a:cubicBezTo>
                <a:cubicBezTo>
                  <a:pt x="1684" y="27"/>
                  <a:pt x="1684" y="26"/>
                  <a:pt x="1684" y="26"/>
                </a:cubicBezTo>
                <a:close/>
                <a:moveTo>
                  <a:pt x="1007" y="102"/>
                </a:moveTo>
                <a:cubicBezTo>
                  <a:pt x="1007" y="102"/>
                  <a:pt x="1006" y="102"/>
                  <a:pt x="1006" y="103"/>
                </a:cubicBezTo>
                <a:cubicBezTo>
                  <a:pt x="1006" y="102"/>
                  <a:pt x="1007" y="103"/>
                  <a:pt x="1007" y="102"/>
                </a:cubicBezTo>
                <a:close/>
                <a:moveTo>
                  <a:pt x="1729" y="6"/>
                </a:moveTo>
                <a:cubicBezTo>
                  <a:pt x="1729" y="6"/>
                  <a:pt x="1730" y="7"/>
                  <a:pt x="1730" y="6"/>
                </a:cubicBezTo>
                <a:cubicBezTo>
                  <a:pt x="1730" y="6"/>
                  <a:pt x="1729" y="6"/>
                  <a:pt x="1729" y="6"/>
                </a:cubicBezTo>
                <a:close/>
                <a:moveTo>
                  <a:pt x="1714" y="6"/>
                </a:moveTo>
                <a:cubicBezTo>
                  <a:pt x="1715" y="7"/>
                  <a:pt x="1716" y="7"/>
                  <a:pt x="1716" y="6"/>
                </a:cubicBezTo>
                <a:cubicBezTo>
                  <a:pt x="1716" y="6"/>
                  <a:pt x="1715" y="6"/>
                  <a:pt x="1714" y="6"/>
                </a:cubicBezTo>
                <a:close/>
                <a:moveTo>
                  <a:pt x="1560" y="6"/>
                </a:moveTo>
                <a:cubicBezTo>
                  <a:pt x="1561" y="6"/>
                  <a:pt x="1562" y="7"/>
                  <a:pt x="1562" y="6"/>
                </a:cubicBezTo>
                <a:cubicBezTo>
                  <a:pt x="1562" y="6"/>
                  <a:pt x="1561" y="6"/>
                  <a:pt x="1560" y="6"/>
                </a:cubicBezTo>
                <a:close/>
                <a:moveTo>
                  <a:pt x="1546" y="6"/>
                </a:moveTo>
                <a:cubicBezTo>
                  <a:pt x="1547" y="7"/>
                  <a:pt x="1547" y="7"/>
                  <a:pt x="1548" y="6"/>
                </a:cubicBezTo>
                <a:cubicBezTo>
                  <a:pt x="1547" y="6"/>
                  <a:pt x="1547" y="6"/>
                  <a:pt x="1546" y="6"/>
                </a:cubicBezTo>
                <a:close/>
                <a:moveTo>
                  <a:pt x="566" y="103"/>
                </a:moveTo>
                <a:cubicBezTo>
                  <a:pt x="566" y="103"/>
                  <a:pt x="565" y="103"/>
                  <a:pt x="564" y="103"/>
                </a:cubicBezTo>
                <a:cubicBezTo>
                  <a:pt x="565" y="103"/>
                  <a:pt x="566" y="103"/>
                  <a:pt x="566" y="103"/>
                </a:cubicBezTo>
                <a:close/>
                <a:moveTo>
                  <a:pt x="772" y="103"/>
                </a:moveTo>
                <a:cubicBezTo>
                  <a:pt x="772" y="103"/>
                  <a:pt x="771" y="103"/>
                  <a:pt x="770" y="103"/>
                </a:cubicBezTo>
                <a:cubicBezTo>
                  <a:pt x="771" y="103"/>
                  <a:pt x="772" y="103"/>
                  <a:pt x="772" y="103"/>
                </a:cubicBezTo>
                <a:close/>
                <a:moveTo>
                  <a:pt x="699" y="79"/>
                </a:moveTo>
                <a:cubicBezTo>
                  <a:pt x="699" y="80"/>
                  <a:pt x="699" y="81"/>
                  <a:pt x="700" y="81"/>
                </a:cubicBezTo>
                <a:cubicBezTo>
                  <a:pt x="700" y="80"/>
                  <a:pt x="700" y="80"/>
                  <a:pt x="699" y="79"/>
                </a:cubicBezTo>
                <a:close/>
                <a:moveTo>
                  <a:pt x="1362" y="6"/>
                </a:moveTo>
                <a:cubicBezTo>
                  <a:pt x="1363" y="7"/>
                  <a:pt x="1363" y="6"/>
                  <a:pt x="1364" y="6"/>
                </a:cubicBezTo>
                <a:cubicBezTo>
                  <a:pt x="1363" y="6"/>
                  <a:pt x="1363" y="6"/>
                  <a:pt x="1362" y="6"/>
                </a:cubicBezTo>
                <a:close/>
                <a:moveTo>
                  <a:pt x="575" y="6"/>
                </a:moveTo>
                <a:cubicBezTo>
                  <a:pt x="576" y="7"/>
                  <a:pt x="576" y="6"/>
                  <a:pt x="577" y="6"/>
                </a:cubicBezTo>
                <a:cubicBezTo>
                  <a:pt x="577" y="6"/>
                  <a:pt x="576" y="6"/>
                  <a:pt x="575" y="6"/>
                </a:cubicBezTo>
                <a:close/>
                <a:moveTo>
                  <a:pt x="843" y="42"/>
                </a:moveTo>
                <a:cubicBezTo>
                  <a:pt x="842" y="42"/>
                  <a:pt x="842" y="42"/>
                  <a:pt x="841" y="42"/>
                </a:cubicBezTo>
                <a:cubicBezTo>
                  <a:pt x="842" y="42"/>
                  <a:pt x="842" y="43"/>
                  <a:pt x="843" y="42"/>
                </a:cubicBezTo>
                <a:close/>
                <a:moveTo>
                  <a:pt x="951" y="47"/>
                </a:moveTo>
                <a:cubicBezTo>
                  <a:pt x="952" y="46"/>
                  <a:pt x="952" y="46"/>
                  <a:pt x="952" y="45"/>
                </a:cubicBezTo>
                <a:cubicBezTo>
                  <a:pt x="951" y="46"/>
                  <a:pt x="951" y="46"/>
                  <a:pt x="951" y="47"/>
                </a:cubicBezTo>
                <a:close/>
                <a:moveTo>
                  <a:pt x="559" y="6"/>
                </a:moveTo>
                <a:cubicBezTo>
                  <a:pt x="559" y="7"/>
                  <a:pt x="560" y="6"/>
                  <a:pt x="560" y="6"/>
                </a:cubicBezTo>
                <a:cubicBezTo>
                  <a:pt x="560" y="6"/>
                  <a:pt x="559" y="6"/>
                  <a:pt x="559" y="6"/>
                </a:cubicBezTo>
                <a:close/>
                <a:moveTo>
                  <a:pt x="805" y="56"/>
                </a:moveTo>
                <a:cubicBezTo>
                  <a:pt x="805" y="57"/>
                  <a:pt x="805" y="58"/>
                  <a:pt x="805" y="58"/>
                </a:cubicBezTo>
                <a:cubicBezTo>
                  <a:pt x="805" y="57"/>
                  <a:pt x="806" y="57"/>
                  <a:pt x="805" y="56"/>
                </a:cubicBezTo>
                <a:close/>
                <a:moveTo>
                  <a:pt x="963" y="47"/>
                </a:moveTo>
                <a:cubicBezTo>
                  <a:pt x="963" y="48"/>
                  <a:pt x="963" y="49"/>
                  <a:pt x="963" y="49"/>
                </a:cubicBezTo>
                <a:cubicBezTo>
                  <a:pt x="963" y="49"/>
                  <a:pt x="963" y="48"/>
                  <a:pt x="963" y="47"/>
                </a:cubicBezTo>
                <a:close/>
                <a:moveTo>
                  <a:pt x="1410" y="40"/>
                </a:moveTo>
                <a:cubicBezTo>
                  <a:pt x="1411" y="39"/>
                  <a:pt x="1411" y="38"/>
                  <a:pt x="1411" y="38"/>
                </a:cubicBezTo>
                <a:cubicBezTo>
                  <a:pt x="1410" y="38"/>
                  <a:pt x="1411" y="39"/>
                  <a:pt x="1410" y="40"/>
                </a:cubicBezTo>
                <a:close/>
                <a:moveTo>
                  <a:pt x="859" y="57"/>
                </a:moveTo>
                <a:cubicBezTo>
                  <a:pt x="859" y="56"/>
                  <a:pt x="859" y="55"/>
                  <a:pt x="859" y="55"/>
                </a:cubicBezTo>
                <a:cubicBezTo>
                  <a:pt x="859" y="55"/>
                  <a:pt x="858" y="56"/>
                  <a:pt x="859" y="57"/>
                </a:cubicBezTo>
                <a:close/>
                <a:moveTo>
                  <a:pt x="1410" y="42"/>
                </a:moveTo>
                <a:cubicBezTo>
                  <a:pt x="1410" y="42"/>
                  <a:pt x="1410" y="41"/>
                  <a:pt x="1410" y="40"/>
                </a:cubicBezTo>
                <a:cubicBezTo>
                  <a:pt x="1410" y="41"/>
                  <a:pt x="1410" y="42"/>
                  <a:pt x="1410" y="42"/>
                </a:cubicBezTo>
                <a:close/>
                <a:moveTo>
                  <a:pt x="1470" y="69"/>
                </a:moveTo>
                <a:cubicBezTo>
                  <a:pt x="1470" y="69"/>
                  <a:pt x="1470" y="70"/>
                  <a:pt x="1470" y="71"/>
                </a:cubicBezTo>
                <a:cubicBezTo>
                  <a:pt x="1470" y="70"/>
                  <a:pt x="1470" y="69"/>
                  <a:pt x="1470" y="69"/>
                </a:cubicBezTo>
                <a:close/>
                <a:moveTo>
                  <a:pt x="1186" y="85"/>
                </a:moveTo>
                <a:cubicBezTo>
                  <a:pt x="1186" y="86"/>
                  <a:pt x="1186" y="86"/>
                  <a:pt x="1186" y="87"/>
                </a:cubicBezTo>
                <a:cubicBezTo>
                  <a:pt x="1186" y="86"/>
                  <a:pt x="1186" y="86"/>
                  <a:pt x="1186" y="85"/>
                </a:cubicBezTo>
                <a:close/>
                <a:moveTo>
                  <a:pt x="1041" y="74"/>
                </a:moveTo>
                <a:cubicBezTo>
                  <a:pt x="1041" y="75"/>
                  <a:pt x="1041" y="76"/>
                  <a:pt x="1041" y="76"/>
                </a:cubicBezTo>
                <a:cubicBezTo>
                  <a:pt x="1041" y="76"/>
                  <a:pt x="1041" y="75"/>
                  <a:pt x="1041" y="74"/>
                </a:cubicBezTo>
                <a:close/>
                <a:moveTo>
                  <a:pt x="688" y="33"/>
                </a:moveTo>
                <a:cubicBezTo>
                  <a:pt x="688" y="33"/>
                  <a:pt x="689" y="33"/>
                  <a:pt x="690" y="33"/>
                </a:cubicBezTo>
                <a:cubicBezTo>
                  <a:pt x="689" y="33"/>
                  <a:pt x="688" y="33"/>
                  <a:pt x="688" y="33"/>
                </a:cubicBezTo>
                <a:close/>
                <a:moveTo>
                  <a:pt x="748" y="77"/>
                </a:moveTo>
                <a:cubicBezTo>
                  <a:pt x="748" y="76"/>
                  <a:pt x="748" y="75"/>
                  <a:pt x="747" y="75"/>
                </a:cubicBezTo>
                <a:cubicBezTo>
                  <a:pt x="747" y="76"/>
                  <a:pt x="747" y="76"/>
                  <a:pt x="748" y="77"/>
                </a:cubicBezTo>
                <a:close/>
                <a:moveTo>
                  <a:pt x="952" y="67"/>
                </a:moveTo>
                <a:cubicBezTo>
                  <a:pt x="952" y="67"/>
                  <a:pt x="952" y="66"/>
                  <a:pt x="951" y="66"/>
                </a:cubicBezTo>
                <a:cubicBezTo>
                  <a:pt x="951" y="66"/>
                  <a:pt x="951" y="67"/>
                  <a:pt x="952" y="67"/>
                </a:cubicBezTo>
                <a:close/>
                <a:moveTo>
                  <a:pt x="993" y="16"/>
                </a:moveTo>
                <a:cubicBezTo>
                  <a:pt x="992" y="16"/>
                  <a:pt x="992" y="16"/>
                  <a:pt x="991" y="17"/>
                </a:cubicBezTo>
                <a:cubicBezTo>
                  <a:pt x="992" y="17"/>
                  <a:pt x="993" y="17"/>
                  <a:pt x="993" y="16"/>
                </a:cubicBezTo>
                <a:close/>
                <a:moveTo>
                  <a:pt x="700" y="86"/>
                </a:moveTo>
                <a:cubicBezTo>
                  <a:pt x="699" y="86"/>
                  <a:pt x="699" y="87"/>
                  <a:pt x="699" y="88"/>
                </a:cubicBezTo>
                <a:cubicBezTo>
                  <a:pt x="700" y="87"/>
                  <a:pt x="700" y="86"/>
                  <a:pt x="700" y="86"/>
                </a:cubicBezTo>
                <a:close/>
                <a:moveTo>
                  <a:pt x="1006" y="17"/>
                </a:moveTo>
                <a:cubicBezTo>
                  <a:pt x="1006" y="16"/>
                  <a:pt x="1005" y="16"/>
                  <a:pt x="1005" y="16"/>
                </a:cubicBezTo>
                <a:cubicBezTo>
                  <a:pt x="1005" y="17"/>
                  <a:pt x="1006" y="16"/>
                  <a:pt x="1006" y="17"/>
                </a:cubicBezTo>
                <a:close/>
                <a:moveTo>
                  <a:pt x="871" y="58"/>
                </a:moveTo>
                <a:cubicBezTo>
                  <a:pt x="871" y="58"/>
                  <a:pt x="871" y="59"/>
                  <a:pt x="871" y="59"/>
                </a:cubicBezTo>
                <a:cubicBezTo>
                  <a:pt x="871" y="59"/>
                  <a:pt x="871" y="58"/>
                  <a:pt x="871" y="58"/>
                </a:cubicBezTo>
                <a:close/>
                <a:moveTo>
                  <a:pt x="1386" y="37"/>
                </a:moveTo>
                <a:cubicBezTo>
                  <a:pt x="1386" y="37"/>
                  <a:pt x="1386" y="36"/>
                  <a:pt x="1386" y="35"/>
                </a:cubicBezTo>
                <a:cubicBezTo>
                  <a:pt x="1385" y="36"/>
                  <a:pt x="1386" y="37"/>
                  <a:pt x="1386" y="37"/>
                </a:cubicBezTo>
                <a:close/>
                <a:moveTo>
                  <a:pt x="715" y="90"/>
                </a:moveTo>
                <a:cubicBezTo>
                  <a:pt x="715" y="89"/>
                  <a:pt x="715" y="88"/>
                  <a:pt x="715" y="88"/>
                </a:cubicBezTo>
                <a:cubicBezTo>
                  <a:pt x="715" y="88"/>
                  <a:pt x="714" y="89"/>
                  <a:pt x="715" y="90"/>
                </a:cubicBezTo>
                <a:close/>
                <a:moveTo>
                  <a:pt x="1397" y="25"/>
                </a:moveTo>
                <a:cubicBezTo>
                  <a:pt x="1397" y="26"/>
                  <a:pt x="1397" y="26"/>
                  <a:pt x="1397" y="27"/>
                </a:cubicBezTo>
                <a:cubicBezTo>
                  <a:pt x="1397" y="26"/>
                  <a:pt x="1397" y="25"/>
                  <a:pt x="1397" y="25"/>
                </a:cubicBezTo>
                <a:close/>
                <a:moveTo>
                  <a:pt x="1367" y="15"/>
                </a:moveTo>
                <a:cubicBezTo>
                  <a:pt x="1366" y="15"/>
                  <a:pt x="1366" y="15"/>
                  <a:pt x="1365" y="15"/>
                </a:cubicBezTo>
                <a:cubicBezTo>
                  <a:pt x="1366" y="15"/>
                  <a:pt x="1366" y="16"/>
                  <a:pt x="1367" y="15"/>
                </a:cubicBezTo>
                <a:close/>
                <a:moveTo>
                  <a:pt x="1373" y="15"/>
                </a:moveTo>
                <a:cubicBezTo>
                  <a:pt x="1373" y="15"/>
                  <a:pt x="1372" y="15"/>
                  <a:pt x="1371" y="15"/>
                </a:cubicBezTo>
                <a:cubicBezTo>
                  <a:pt x="1372" y="16"/>
                  <a:pt x="1373" y="15"/>
                  <a:pt x="1373" y="15"/>
                </a:cubicBezTo>
                <a:close/>
                <a:moveTo>
                  <a:pt x="963" y="64"/>
                </a:moveTo>
                <a:cubicBezTo>
                  <a:pt x="963" y="65"/>
                  <a:pt x="963" y="65"/>
                  <a:pt x="963" y="66"/>
                </a:cubicBezTo>
                <a:cubicBezTo>
                  <a:pt x="963" y="65"/>
                  <a:pt x="964" y="64"/>
                  <a:pt x="963" y="64"/>
                </a:cubicBezTo>
                <a:close/>
                <a:moveTo>
                  <a:pt x="1665" y="58"/>
                </a:moveTo>
                <a:cubicBezTo>
                  <a:pt x="1664" y="58"/>
                  <a:pt x="1664" y="58"/>
                  <a:pt x="1664" y="59"/>
                </a:cubicBezTo>
                <a:cubicBezTo>
                  <a:pt x="1664" y="59"/>
                  <a:pt x="1664" y="59"/>
                  <a:pt x="1664" y="59"/>
                </a:cubicBezTo>
                <a:cubicBezTo>
                  <a:pt x="1664" y="59"/>
                  <a:pt x="1664" y="59"/>
                  <a:pt x="1665" y="58"/>
                </a:cubicBezTo>
                <a:close/>
                <a:moveTo>
                  <a:pt x="1246" y="103"/>
                </a:moveTo>
                <a:cubicBezTo>
                  <a:pt x="1245" y="103"/>
                  <a:pt x="1245" y="103"/>
                  <a:pt x="1244" y="103"/>
                </a:cubicBezTo>
                <a:cubicBezTo>
                  <a:pt x="1245" y="103"/>
                  <a:pt x="1246" y="103"/>
                  <a:pt x="1246" y="103"/>
                </a:cubicBezTo>
                <a:close/>
                <a:moveTo>
                  <a:pt x="1411" y="74"/>
                </a:moveTo>
                <a:cubicBezTo>
                  <a:pt x="1411" y="73"/>
                  <a:pt x="1411" y="72"/>
                  <a:pt x="1410" y="72"/>
                </a:cubicBezTo>
                <a:cubicBezTo>
                  <a:pt x="1411" y="72"/>
                  <a:pt x="1410" y="73"/>
                  <a:pt x="1411" y="74"/>
                </a:cubicBezTo>
                <a:close/>
                <a:moveTo>
                  <a:pt x="1198" y="103"/>
                </a:moveTo>
                <a:cubicBezTo>
                  <a:pt x="1197" y="103"/>
                  <a:pt x="1196" y="103"/>
                  <a:pt x="1196" y="103"/>
                </a:cubicBezTo>
                <a:cubicBezTo>
                  <a:pt x="1197" y="103"/>
                  <a:pt x="1197" y="103"/>
                  <a:pt x="1198" y="103"/>
                </a:cubicBezTo>
                <a:close/>
                <a:moveTo>
                  <a:pt x="1539" y="88"/>
                </a:moveTo>
                <a:cubicBezTo>
                  <a:pt x="1538" y="88"/>
                  <a:pt x="1539" y="89"/>
                  <a:pt x="1539" y="90"/>
                </a:cubicBezTo>
                <a:cubicBezTo>
                  <a:pt x="1539" y="89"/>
                  <a:pt x="1539" y="88"/>
                  <a:pt x="1539" y="88"/>
                </a:cubicBezTo>
                <a:close/>
                <a:moveTo>
                  <a:pt x="1188" y="103"/>
                </a:moveTo>
                <a:cubicBezTo>
                  <a:pt x="1188" y="103"/>
                  <a:pt x="1187" y="103"/>
                  <a:pt x="1187" y="103"/>
                </a:cubicBezTo>
                <a:cubicBezTo>
                  <a:pt x="1187" y="103"/>
                  <a:pt x="1188" y="103"/>
                  <a:pt x="1188" y="103"/>
                </a:cubicBezTo>
                <a:close/>
                <a:moveTo>
                  <a:pt x="1551" y="15"/>
                </a:moveTo>
                <a:cubicBezTo>
                  <a:pt x="1550" y="15"/>
                  <a:pt x="1550" y="15"/>
                  <a:pt x="1549" y="15"/>
                </a:cubicBezTo>
                <a:cubicBezTo>
                  <a:pt x="1550" y="15"/>
                  <a:pt x="1551" y="16"/>
                  <a:pt x="1551" y="15"/>
                </a:cubicBezTo>
                <a:close/>
                <a:moveTo>
                  <a:pt x="1470" y="71"/>
                </a:moveTo>
                <a:cubicBezTo>
                  <a:pt x="1469" y="71"/>
                  <a:pt x="1469" y="72"/>
                  <a:pt x="1469" y="73"/>
                </a:cubicBezTo>
                <a:cubicBezTo>
                  <a:pt x="1470" y="72"/>
                  <a:pt x="1470" y="71"/>
                  <a:pt x="1470" y="71"/>
                </a:cubicBezTo>
                <a:close/>
                <a:moveTo>
                  <a:pt x="1719" y="15"/>
                </a:moveTo>
                <a:cubicBezTo>
                  <a:pt x="1719" y="15"/>
                  <a:pt x="1718" y="15"/>
                  <a:pt x="1717" y="15"/>
                </a:cubicBezTo>
                <a:cubicBezTo>
                  <a:pt x="1718" y="15"/>
                  <a:pt x="1719" y="16"/>
                  <a:pt x="1719" y="15"/>
                </a:cubicBezTo>
                <a:close/>
                <a:moveTo>
                  <a:pt x="759" y="75"/>
                </a:moveTo>
                <a:cubicBezTo>
                  <a:pt x="759" y="76"/>
                  <a:pt x="759" y="77"/>
                  <a:pt x="759" y="77"/>
                </a:cubicBezTo>
                <a:cubicBezTo>
                  <a:pt x="759" y="77"/>
                  <a:pt x="759" y="76"/>
                  <a:pt x="759" y="75"/>
                </a:cubicBezTo>
                <a:close/>
                <a:moveTo>
                  <a:pt x="1527" y="90"/>
                </a:moveTo>
                <a:cubicBezTo>
                  <a:pt x="1528" y="90"/>
                  <a:pt x="1528" y="89"/>
                  <a:pt x="1528" y="89"/>
                </a:cubicBezTo>
                <a:cubicBezTo>
                  <a:pt x="1527" y="89"/>
                  <a:pt x="1527" y="90"/>
                  <a:pt x="1527" y="90"/>
                </a:cubicBezTo>
                <a:close/>
                <a:moveTo>
                  <a:pt x="963" y="62"/>
                </a:moveTo>
                <a:cubicBezTo>
                  <a:pt x="963" y="62"/>
                  <a:pt x="963" y="63"/>
                  <a:pt x="963" y="64"/>
                </a:cubicBezTo>
                <a:cubicBezTo>
                  <a:pt x="963" y="63"/>
                  <a:pt x="963" y="62"/>
                  <a:pt x="963" y="62"/>
                </a:cubicBezTo>
                <a:close/>
                <a:moveTo>
                  <a:pt x="1696" y="90"/>
                </a:moveTo>
                <a:cubicBezTo>
                  <a:pt x="1696" y="90"/>
                  <a:pt x="1696" y="89"/>
                  <a:pt x="1696" y="89"/>
                </a:cubicBezTo>
                <a:cubicBezTo>
                  <a:pt x="1695" y="89"/>
                  <a:pt x="1696" y="90"/>
                  <a:pt x="1696" y="90"/>
                </a:cubicBezTo>
                <a:close/>
                <a:moveTo>
                  <a:pt x="1030" y="78"/>
                </a:moveTo>
                <a:cubicBezTo>
                  <a:pt x="1030" y="77"/>
                  <a:pt x="1030" y="77"/>
                  <a:pt x="1030" y="76"/>
                </a:cubicBezTo>
                <a:cubicBezTo>
                  <a:pt x="1030" y="77"/>
                  <a:pt x="1029" y="77"/>
                  <a:pt x="1030" y="78"/>
                </a:cubicBezTo>
                <a:close/>
                <a:moveTo>
                  <a:pt x="1144" y="57"/>
                </a:moveTo>
                <a:cubicBezTo>
                  <a:pt x="1144" y="57"/>
                  <a:pt x="1144" y="56"/>
                  <a:pt x="1143" y="55"/>
                </a:cubicBezTo>
                <a:cubicBezTo>
                  <a:pt x="1144" y="56"/>
                  <a:pt x="1143" y="57"/>
                  <a:pt x="1144" y="57"/>
                </a:cubicBezTo>
                <a:close/>
                <a:moveTo>
                  <a:pt x="1111" y="58"/>
                </a:moveTo>
                <a:cubicBezTo>
                  <a:pt x="1110" y="58"/>
                  <a:pt x="1110" y="59"/>
                  <a:pt x="1110" y="59"/>
                </a:cubicBezTo>
                <a:cubicBezTo>
                  <a:pt x="1111" y="59"/>
                  <a:pt x="1111" y="58"/>
                  <a:pt x="1111" y="58"/>
                </a:cubicBezTo>
                <a:close/>
                <a:moveTo>
                  <a:pt x="747" y="62"/>
                </a:moveTo>
                <a:cubicBezTo>
                  <a:pt x="748" y="62"/>
                  <a:pt x="748" y="61"/>
                  <a:pt x="748" y="60"/>
                </a:cubicBezTo>
                <a:cubicBezTo>
                  <a:pt x="747" y="61"/>
                  <a:pt x="747" y="62"/>
                  <a:pt x="747" y="62"/>
                </a:cubicBezTo>
                <a:close/>
                <a:moveTo>
                  <a:pt x="786" y="103"/>
                </a:moveTo>
                <a:cubicBezTo>
                  <a:pt x="786" y="103"/>
                  <a:pt x="785" y="103"/>
                  <a:pt x="784" y="103"/>
                </a:cubicBezTo>
                <a:cubicBezTo>
                  <a:pt x="785" y="103"/>
                  <a:pt x="786" y="103"/>
                  <a:pt x="786" y="103"/>
                </a:cubicBezTo>
                <a:close/>
                <a:moveTo>
                  <a:pt x="1470" y="36"/>
                </a:moveTo>
                <a:cubicBezTo>
                  <a:pt x="1470" y="37"/>
                  <a:pt x="1470" y="38"/>
                  <a:pt x="1470" y="38"/>
                </a:cubicBezTo>
                <a:cubicBezTo>
                  <a:pt x="1470" y="38"/>
                  <a:pt x="1470" y="37"/>
                  <a:pt x="1470" y="36"/>
                </a:cubicBezTo>
                <a:close/>
                <a:moveTo>
                  <a:pt x="1188" y="91"/>
                </a:moveTo>
                <a:cubicBezTo>
                  <a:pt x="1188" y="91"/>
                  <a:pt x="1188" y="92"/>
                  <a:pt x="1189" y="92"/>
                </a:cubicBezTo>
                <a:cubicBezTo>
                  <a:pt x="1189" y="91"/>
                  <a:pt x="1188" y="91"/>
                  <a:pt x="1188" y="91"/>
                </a:cubicBezTo>
                <a:close/>
                <a:moveTo>
                  <a:pt x="1397" y="36"/>
                </a:moveTo>
                <a:cubicBezTo>
                  <a:pt x="1397" y="37"/>
                  <a:pt x="1397" y="37"/>
                  <a:pt x="1397" y="38"/>
                </a:cubicBezTo>
                <a:cubicBezTo>
                  <a:pt x="1397" y="37"/>
                  <a:pt x="1397" y="37"/>
                  <a:pt x="1397" y="36"/>
                </a:cubicBezTo>
                <a:close/>
                <a:moveTo>
                  <a:pt x="1745" y="15"/>
                </a:moveTo>
                <a:cubicBezTo>
                  <a:pt x="1745" y="15"/>
                  <a:pt x="1745" y="16"/>
                  <a:pt x="1745" y="16"/>
                </a:cubicBezTo>
                <a:cubicBezTo>
                  <a:pt x="1745" y="15"/>
                  <a:pt x="1745" y="15"/>
                  <a:pt x="1745" y="15"/>
                </a:cubicBezTo>
                <a:close/>
                <a:moveTo>
                  <a:pt x="856" y="48"/>
                </a:moveTo>
                <a:cubicBezTo>
                  <a:pt x="856" y="47"/>
                  <a:pt x="856" y="47"/>
                  <a:pt x="855" y="47"/>
                </a:cubicBezTo>
                <a:cubicBezTo>
                  <a:pt x="855" y="47"/>
                  <a:pt x="855" y="47"/>
                  <a:pt x="856" y="48"/>
                </a:cubicBezTo>
                <a:close/>
                <a:moveTo>
                  <a:pt x="1376" y="6"/>
                </a:moveTo>
                <a:cubicBezTo>
                  <a:pt x="1377" y="6"/>
                  <a:pt x="1377" y="6"/>
                  <a:pt x="1378" y="6"/>
                </a:cubicBezTo>
                <a:cubicBezTo>
                  <a:pt x="1377" y="6"/>
                  <a:pt x="1377" y="6"/>
                  <a:pt x="1376" y="6"/>
                </a:cubicBezTo>
                <a:close/>
                <a:moveTo>
                  <a:pt x="1434" y="6"/>
                </a:moveTo>
                <a:cubicBezTo>
                  <a:pt x="1435" y="7"/>
                  <a:pt x="1435" y="7"/>
                  <a:pt x="1436" y="6"/>
                </a:cubicBezTo>
                <a:cubicBezTo>
                  <a:pt x="1435" y="6"/>
                  <a:pt x="1435" y="6"/>
                  <a:pt x="1434" y="6"/>
                </a:cubicBezTo>
                <a:close/>
                <a:moveTo>
                  <a:pt x="1447" y="6"/>
                </a:moveTo>
                <a:cubicBezTo>
                  <a:pt x="1447" y="6"/>
                  <a:pt x="1448" y="7"/>
                  <a:pt x="1448" y="6"/>
                </a:cubicBezTo>
                <a:cubicBezTo>
                  <a:pt x="1448" y="6"/>
                  <a:pt x="1447" y="6"/>
                  <a:pt x="1447" y="6"/>
                </a:cubicBezTo>
                <a:close/>
                <a:moveTo>
                  <a:pt x="1537" y="21"/>
                </a:moveTo>
                <a:cubicBezTo>
                  <a:pt x="1537" y="21"/>
                  <a:pt x="1537" y="21"/>
                  <a:pt x="1536" y="21"/>
                </a:cubicBezTo>
                <a:cubicBezTo>
                  <a:pt x="1537" y="21"/>
                  <a:pt x="1537" y="21"/>
                  <a:pt x="1537" y="21"/>
                </a:cubicBezTo>
                <a:close/>
                <a:moveTo>
                  <a:pt x="557" y="7"/>
                </a:moveTo>
                <a:cubicBezTo>
                  <a:pt x="557" y="7"/>
                  <a:pt x="558" y="7"/>
                  <a:pt x="558" y="7"/>
                </a:cubicBezTo>
                <a:cubicBezTo>
                  <a:pt x="558" y="7"/>
                  <a:pt x="557" y="6"/>
                  <a:pt x="557" y="7"/>
                </a:cubicBezTo>
                <a:close/>
                <a:moveTo>
                  <a:pt x="577" y="7"/>
                </a:moveTo>
                <a:cubicBezTo>
                  <a:pt x="578" y="7"/>
                  <a:pt x="578" y="7"/>
                  <a:pt x="579" y="7"/>
                </a:cubicBezTo>
                <a:cubicBezTo>
                  <a:pt x="578" y="6"/>
                  <a:pt x="578" y="7"/>
                  <a:pt x="577" y="7"/>
                </a:cubicBezTo>
                <a:close/>
                <a:moveTo>
                  <a:pt x="988" y="7"/>
                </a:moveTo>
                <a:cubicBezTo>
                  <a:pt x="988" y="7"/>
                  <a:pt x="989" y="7"/>
                  <a:pt x="989" y="7"/>
                </a:cubicBezTo>
                <a:cubicBezTo>
                  <a:pt x="989" y="7"/>
                  <a:pt x="988" y="6"/>
                  <a:pt x="988" y="7"/>
                </a:cubicBezTo>
                <a:close/>
                <a:moveTo>
                  <a:pt x="1010" y="7"/>
                </a:moveTo>
                <a:cubicBezTo>
                  <a:pt x="1010" y="7"/>
                  <a:pt x="1011" y="7"/>
                  <a:pt x="1012" y="7"/>
                </a:cubicBezTo>
                <a:cubicBezTo>
                  <a:pt x="1011" y="6"/>
                  <a:pt x="1011" y="7"/>
                  <a:pt x="1010" y="7"/>
                </a:cubicBezTo>
                <a:close/>
                <a:moveTo>
                  <a:pt x="1360" y="7"/>
                </a:moveTo>
                <a:cubicBezTo>
                  <a:pt x="1361" y="7"/>
                  <a:pt x="1361" y="7"/>
                  <a:pt x="1362" y="7"/>
                </a:cubicBezTo>
                <a:cubicBezTo>
                  <a:pt x="1361" y="7"/>
                  <a:pt x="1361" y="6"/>
                  <a:pt x="1360" y="7"/>
                </a:cubicBezTo>
                <a:close/>
                <a:moveTo>
                  <a:pt x="1378" y="7"/>
                </a:moveTo>
                <a:cubicBezTo>
                  <a:pt x="1378" y="7"/>
                  <a:pt x="1379" y="7"/>
                  <a:pt x="1379" y="7"/>
                </a:cubicBezTo>
                <a:cubicBezTo>
                  <a:pt x="1379" y="6"/>
                  <a:pt x="1379" y="7"/>
                  <a:pt x="1378" y="7"/>
                </a:cubicBezTo>
                <a:close/>
                <a:moveTo>
                  <a:pt x="968" y="16"/>
                </a:moveTo>
                <a:cubicBezTo>
                  <a:pt x="969" y="16"/>
                  <a:pt x="969" y="16"/>
                  <a:pt x="969" y="15"/>
                </a:cubicBezTo>
                <a:cubicBezTo>
                  <a:pt x="969" y="15"/>
                  <a:pt x="969" y="15"/>
                  <a:pt x="968" y="16"/>
                </a:cubicBezTo>
                <a:close/>
                <a:moveTo>
                  <a:pt x="680" y="94"/>
                </a:moveTo>
                <a:cubicBezTo>
                  <a:pt x="680" y="94"/>
                  <a:pt x="681" y="94"/>
                  <a:pt x="681" y="93"/>
                </a:cubicBezTo>
                <a:cubicBezTo>
                  <a:pt x="681" y="93"/>
                  <a:pt x="680" y="93"/>
                  <a:pt x="680" y="94"/>
                </a:cubicBezTo>
                <a:close/>
                <a:moveTo>
                  <a:pt x="952" y="45"/>
                </a:moveTo>
                <a:cubicBezTo>
                  <a:pt x="952" y="44"/>
                  <a:pt x="952" y="44"/>
                  <a:pt x="952" y="43"/>
                </a:cubicBezTo>
                <a:cubicBezTo>
                  <a:pt x="951" y="44"/>
                  <a:pt x="952" y="44"/>
                  <a:pt x="952" y="45"/>
                </a:cubicBezTo>
                <a:close/>
                <a:moveTo>
                  <a:pt x="737" y="94"/>
                </a:moveTo>
                <a:cubicBezTo>
                  <a:pt x="738" y="94"/>
                  <a:pt x="738" y="94"/>
                  <a:pt x="739" y="93"/>
                </a:cubicBezTo>
                <a:cubicBezTo>
                  <a:pt x="738" y="93"/>
                  <a:pt x="738" y="93"/>
                  <a:pt x="737" y="94"/>
                </a:cubicBezTo>
                <a:close/>
                <a:moveTo>
                  <a:pt x="1706" y="21"/>
                </a:moveTo>
                <a:cubicBezTo>
                  <a:pt x="1705" y="21"/>
                  <a:pt x="1705" y="21"/>
                  <a:pt x="1705" y="21"/>
                </a:cubicBezTo>
                <a:cubicBezTo>
                  <a:pt x="1705" y="21"/>
                  <a:pt x="1705" y="21"/>
                  <a:pt x="1706" y="21"/>
                </a:cubicBezTo>
                <a:close/>
                <a:moveTo>
                  <a:pt x="774" y="93"/>
                </a:moveTo>
                <a:cubicBezTo>
                  <a:pt x="775" y="94"/>
                  <a:pt x="775" y="94"/>
                  <a:pt x="776" y="93"/>
                </a:cubicBezTo>
                <a:cubicBezTo>
                  <a:pt x="775" y="93"/>
                  <a:pt x="775" y="93"/>
                  <a:pt x="774" y="93"/>
                </a:cubicBezTo>
                <a:close/>
                <a:moveTo>
                  <a:pt x="1076" y="37"/>
                </a:moveTo>
                <a:cubicBezTo>
                  <a:pt x="1077" y="38"/>
                  <a:pt x="1077" y="38"/>
                  <a:pt x="1077" y="38"/>
                </a:cubicBezTo>
                <a:cubicBezTo>
                  <a:pt x="1077" y="37"/>
                  <a:pt x="1077" y="37"/>
                  <a:pt x="1076" y="37"/>
                </a:cubicBezTo>
                <a:close/>
                <a:moveTo>
                  <a:pt x="785" y="93"/>
                </a:moveTo>
                <a:cubicBezTo>
                  <a:pt x="785" y="94"/>
                  <a:pt x="786" y="94"/>
                  <a:pt x="786" y="93"/>
                </a:cubicBezTo>
                <a:cubicBezTo>
                  <a:pt x="786" y="93"/>
                  <a:pt x="785" y="93"/>
                  <a:pt x="785" y="93"/>
                </a:cubicBezTo>
                <a:close/>
                <a:moveTo>
                  <a:pt x="579" y="7"/>
                </a:moveTo>
                <a:cubicBezTo>
                  <a:pt x="580" y="7"/>
                  <a:pt x="580" y="7"/>
                  <a:pt x="581" y="7"/>
                </a:cubicBezTo>
                <a:cubicBezTo>
                  <a:pt x="580" y="7"/>
                  <a:pt x="580" y="7"/>
                  <a:pt x="579" y="7"/>
                </a:cubicBezTo>
                <a:close/>
                <a:moveTo>
                  <a:pt x="1056" y="93"/>
                </a:moveTo>
                <a:cubicBezTo>
                  <a:pt x="1057" y="94"/>
                  <a:pt x="1057" y="94"/>
                  <a:pt x="1058" y="93"/>
                </a:cubicBezTo>
                <a:cubicBezTo>
                  <a:pt x="1057" y="93"/>
                  <a:pt x="1057" y="93"/>
                  <a:pt x="1056" y="93"/>
                </a:cubicBezTo>
                <a:close/>
                <a:moveTo>
                  <a:pt x="1012" y="7"/>
                </a:moveTo>
                <a:cubicBezTo>
                  <a:pt x="1012" y="7"/>
                  <a:pt x="1013" y="7"/>
                  <a:pt x="1013" y="7"/>
                </a:cubicBezTo>
                <a:cubicBezTo>
                  <a:pt x="1013" y="7"/>
                  <a:pt x="1012" y="7"/>
                  <a:pt x="1012" y="7"/>
                </a:cubicBezTo>
                <a:close/>
                <a:moveTo>
                  <a:pt x="1375" y="16"/>
                </a:moveTo>
                <a:cubicBezTo>
                  <a:pt x="1375" y="16"/>
                  <a:pt x="1374" y="15"/>
                  <a:pt x="1374" y="16"/>
                </a:cubicBezTo>
                <a:cubicBezTo>
                  <a:pt x="1374" y="16"/>
                  <a:pt x="1374" y="16"/>
                  <a:pt x="1375" y="16"/>
                </a:cubicBezTo>
                <a:close/>
                <a:moveTo>
                  <a:pt x="1191" y="93"/>
                </a:moveTo>
                <a:cubicBezTo>
                  <a:pt x="1192" y="94"/>
                  <a:pt x="1192" y="94"/>
                  <a:pt x="1193" y="94"/>
                </a:cubicBezTo>
                <a:cubicBezTo>
                  <a:pt x="1192" y="93"/>
                  <a:pt x="1192" y="93"/>
                  <a:pt x="1191" y="93"/>
                </a:cubicBezTo>
                <a:close/>
                <a:moveTo>
                  <a:pt x="1215" y="94"/>
                </a:moveTo>
                <a:cubicBezTo>
                  <a:pt x="1215" y="94"/>
                  <a:pt x="1215" y="93"/>
                  <a:pt x="1214" y="93"/>
                </a:cubicBezTo>
                <a:cubicBezTo>
                  <a:pt x="1214" y="94"/>
                  <a:pt x="1215" y="94"/>
                  <a:pt x="1215" y="94"/>
                </a:cubicBezTo>
                <a:close/>
                <a:moveTo>
                  <a:pt x="1581" y="37"/>
                </a:moveTo>
                <a:cubicBezTo>
                  <a:pt x="1581" y="37"/>
                  <a:pt x="1581" y="38"/>
                  <a:pt x="1581" y="39"/>
                </a:cubicBezTo>
                <a:cubicBezTo>
                  <a:pt x="1582" y="38"/>
                  <a:pt x="1581" y="37"/>
                  <a:pt x="1581" y="37"/>
                </a:cubicBezTo>
                <a:close/>
                <a:moveTo>
                  <a:pt x="1549" y="16"/>
                </a:moveTo>
                <a:cubicBezTo>
                  <a:pt x="1548" y="15"/>
                  <a:pt x="1548" y="16"/>
                  <a:pt x="1548" y="16"/>
                </a:cubicBezTo>
                <a:cubicBezTo>
                  <a:pt x="1548" y="16"/>
                  <a:pt x="1549" y="16"/>
                  <a:pt x="1549" y="16"/>
                </a:cubicBezTo>
                <a:close/>
                <a:moveTo>
                  <a:pt x="1749" y="37"/>
                </a:moveTo>
                <a:cubicBezTo>
                  <a:pt x="1749" y="37"/>
                  <a:pt x="1749" y="38"/>
                  <a:pt x="1749" y="39"/>
                </a:cubicBezTo>
                <a:cubicBezTo>
                  <a:pt x="1750" y="38"/>
                  <a:pt x="1749" y="37"/>
                  <a:pt x="1749" y="37"/>
                </a:cubicBezTo>
                <a:close/>
                <a:moveTo>
                  <a:pt x="1717" y="16"/>
                </a:moveTo>
                <a:cubicBezTo>
                  <a:pt x="1717" y="15"/>
                  <a:pt x="1716" y="16"/>
                  <a:pt x="1716" y="16"/>
                </a:cubicBezTo>
                <a:cubicBezTo>
                  <a:pt x="1716" y="16"/>
                  <a:pt x="1717" y="16"/>
                  <a:pt x="1717" y="16"/>
                </a:cubicBezTo>
                <a:close/>
                <a:moveTo>
                  <a:pt x="1234" y="93"/>
                </a:moveTo>
                <a:cubicBezTo>
                  <a:pt x="1235" y="94"/>
                  <a:pt x="1235" y="94"/>
                  <a:pt x="1236" y="93"/>
                </a:cubicBezTo>
                <a:cubicBezTo>
                  <a:pt x="1235" y="93"/>
                  <a:pt x="1235" y="93"/>
                  <a:pt x="1234" y="93"/>
                </a:cubicBezTo>
                <a:close/>
                <a:moveTo>
                  <a:pt x="1245" y="93"/>
                </a:moveTo>
                <a:cubicBezTo>
                  <a:pt x="1245" y="94"/>
                  <a:pt x="1246" y="94"/>
                  <a:pt x="1246" y="93"/>
                </a:cubicBezTo>
                <a:cubicBezTo>
                  <a:pt x="1246" y="93"/>
                  <a:pt x="1245" y="93"/>
                  <a:pt x="1245" y="93"/>
                </a:cubicBezTo>
                <a:close/>
                <a:moveTo>
                  <a:pt x="761" y="38"/>
                </a:moveTo>
                <a:cubicBezTo>
                  <a:pt x="761" y="38"/>
                  <a:pt x="761" y="38"/>
                  <a:pt x="762" y="37"/>
                </a:cubicBezTo>
                <a:cubicBezTo>
                  <a:pt x="761" y="37"/>
                  <a:pt x="761" y="38"/>
                  <a:pt x="761" y="38"/>
                </a:cubicBezTo>
                <a:close/>
                <a:moveTo>
                  <a:pt x="1154" y="51"/>
                </a:moveTo>
                <a:cubicBezTo>
                  <a:pt x="1154" y="52"/>
                  <a:pt x="1154" y="52"/>
                  <a:pt x="1155" y="53"/>
                </a:cubicBezTo>
                <a:cubicBezTo>
                  <a:pt x="1155" y="52"/>
                  <a:pt x="1155" y="51"/>
                  <a:pt x="1154" y="51"/>
                </a:cubicBezTo>
                <a:close/>
                <a:moveTo>
                  <a:pt x="1038" y="94"/>
                </a:moveTo>
                <a:cubicBezTo>
                  <a:pt x="1038" y="94"/>
                  <a:pt x="1037" y="94"/>
                  <a:pt x="1037" y="94"/>
                </a:cubicBezTo>
                <a:cubicBezTo>
                  <a:pt x="1037" y="94"/>
                  <a:pt x="1037" y="94"/>
                  <a:pt x="1038" y="94"/>
                </a:cubicBezTo>
                <a:close/>
                <a:moveTo>
                  <a:pt x="1742" y="53"/>
                </a:moveTo>
                <a:cubicBezTo>
                  <a:pt x="1742" y="53"/>
                  <a:pt x="1742" y="54"/>
                  <a:pt x="1741" y="54"/>
                </a:cubicBezTo>
                <a:cubicBezTo>
                  <a:pt x="1742" y="54"/>
                  <a:pt x="1742" y="54"/>
                  <a:pt x="1742" y="53"/>
                </a:cubicBezTo>
                <a:close/>
                <a:moveTo>
                  <a:pt x="1420" y="95"/>
                </a:moveTo>
                <a:cubicBezTo>
                  <a:pt x="1420" y="95"/>
                  <a:pt x="1420" y="94"/>
                  <a:pt x="1419" y="94"/>
                </a:cubicBezTo>
                <a:cubicBezTo>
                  <a:pt x="1420" y="95"/>
                  <a:pt x="1420" y="95"/>
                  <a:pt x="1420" y="95"/>
                </a:cubicBezTo>
                <a:close/>
                <a:moveTo>
                  <a:pt x="552" y="21"/>
                </a:moveTo>
                <a:cubicBezTo>
                  <a:pt x="551" y="22"/>
                  <a:pt x="551" y="22"/>
                  <a:pt x="551" y="22"/>
                </a:cubicBezTo>
                <a:cubicBezTo>
                  <a:pt x="551" y="22"/>
                  <a:pt x="552" y="22"/>
                  <a:pt x="552" y="21"/>
                </a:cubicBezTo>
                <a:close/>
                <a:moveTo>
                  <a:pt x="696" y="95"/>
                </a:moveTo>
                <a:cubicBezTo>
                  <a:pt x="695" y="95"/>
                  <a:pt x="695" y="95"/>
                  <a:pt x="695" y="96"/>
                </a:cubicBezTo>
                <a:cubicBezTo>
                  <a:pt x="696" y="96"/>
                  <a:pt x="696" y="95"/>
                  <a:pt x="696" y="95"/>
                </a:cubicBezTo>
                <a:close/>
                <a:moveTo>
                  <a:pt x="1116" y="38"/>
                </a:moveTo>
                <a:cubicBezTo>
                  <a:pt x="1116" y="38"/>
                  <a:pt x="1117" y="38"/>
                  <a:pt x="1117" y="37"/>
                </a:cubicBezTo>
                <a:cubicBezTo>
                  <a:pt x="1116" y="37"/>
                  <a:pt x="1116" y="38"/>
                  <a:pt x="1116" y="38"/>
                </a:cubicBezTo>
                <a:close/>
                <a:moveTo>
                  <a:pt x="969" y="96"/>
                </a:moveTo>
                <a:cubicBezTo>
                  <a:pt x="969" y="96"/>
                  <a:pt x="969" y="95"/>
                  <a:pt x="968" y="95"/>
                </a:cubicBezTo>
                <a:cubicBezTo>
                  <a:pt x="969" y="96"/>
                  <a:pt x="969" y="96"/>
                  <a:pt x="969" y="96"/>
                </a:cubicBezTo>
                <a:close/>
                <a:moveTo>
                  <a:pt x="971" y="97"/>
                </a:moveTo>
                <a:cubicBezTo>
                  <a:pt x="970" y="96"/>
                  <a:pt x="970" y="96"/>
                  <a:pt x="969" y="96"/>
                </a:cubicBezTo>
                <a:cubicBezTo>
                  <a:pt x="970" y="96"/>
                  <a:pt x="970" y="97"/>
                  <a:pt x="971" y="97"/>
                </a:cubicBezTo>
                <a:close/>
                <a:moveTo>
                  <a:pt x="1040" y="97"/>
                </a:moveTo>
                <a:cubicBezTo>
                  <a:pt x="1040" y="97"/>
                  <a:pt x="1040" y="96"/>
                  <a:pt x="1039" y="96"/>
                </a:cubicBezTo>
                <a:cubicBezTo>
                  <a:pt x="1040" y="97"/>
                  <a:pt x="1040" y="97"/>
                  <a:pt x="1040" y="97"/>
                </a:cubicBezTo>
                <a:close/>
                <a:moveTo>
                  <a:pt x="1309" y="44"/>
                </a:moveTo>
                <a:cubicBezTo>
                  <a:pt x="1308" y="43"/>
                  <a:pt x="1308" y="43"/>
                  <a:pt x="1307" y="43"/>
                </a:cubicBezTo>
                <a:cubicBezTo>
                  <a:pt x="1307" y="44"/>
                  <a:pt x="1308" y="44"/>
                  <a:pt x="1309" y="44"/>
                </a:cubicBezTo>
                <a:close/>
                <a:moveTo>
                  <a:pt x="1498" y="21"/>
                </a:moveTo>
                <a:cubicBezTo>
                  <a:pt x="1498" y="22"/>
                  <a:pt x="1497" y="22"/>
                  <a:pt x="1497" y="22"/>
                </a:cubicBezTo>
                <a:cubicBezTo>
                  <a:pt x="1498" y="22"/>
                  <a:pt x="1498" y="22"/>
                  <a:pt x="1498" y="21"/>
                </a:cubicBezTo>
                <a:close/>
                <a:moveTo>
                  <a:pt x="1684" y="37"/>
                </a:moveTo>
                <a:cubicBezTo>
                  <a:pt x="1684" y="38"/>
                  <a:pt x="1684" y="38"/>
                  <a:pt x="1684" y="39"/>
                </a:cubicBezTo>
                <a:cubicBezTo>
                  <a:pt x="1684" y="38"/>
                  <a:pt x="1684" y="38"/>
                  <a:pt x="1684" y="37"/>
                </a:cubicBezTo>
                <a:close/>
                <a:moveTo>
                  <a:pt x="1219" y="97"/>
                </a:moveTo>
                <a:cubicBezTo>
                  <a:pt x="1218" y="97"/>
                  <a:pt x="1218" y="97"/>
                  <a:pt x="1218" y="97"/>
                </a:cubicBezTo>
                <a:cubicBezTo>
                  <a:pt x="1218" y="97"/>
                  <a:pt x="1218" y="97"/>
                  <a:pt x="1219" y="97"/>
                </a:cubicBezTo>
                <a:close/>
                <a:moveTo>
                  <a:pt x="759" y="98"/>
                </a:moveTo>
                <a:cubicBezTo>
                  <a:pt x="759" y="97"/>
                  <a:pt x="759" y="97"/>
                  <a:pt x="758" y="97"/>
                </a:cubicBezTo>
                <a:cubicBezTo>
                  <a:pt x="758" y="97"/>
                  <a:pt x="759" y="98"/>
                  <a:pt x="759" y="98"/>
                </a:cubicBezTo>
                <a:close/>
                <a:moveTo>
                  <a:pt x="562" y="16"/>
                </a:moveTo>
                <a:cubicBezTo>
                  <a:pt x="561" y="16"/>
                  <a:pt x="561" y="16"/>
                  <a:pt x="560" y="17"/>
                </a:cubicBezTo>
                <a:cubicBezTo>
                  <a:pt x="561" y="17"/>
                  <a:pt x="561" y="17"/>
                  <a:pt x="562" y="16"/>
                </a:cubicBezTo>
                <a:close/>
                <a:moveTo>
                  <a:pt x="573" y="17"/>
                </a:moveTo>
                <a:cubicBezTo>
                  <a:pt x="573" y="16"/>
                  <a:pt x="572" y="16"/>
                  <a:pt x="572" y="16"/>
                </a:cubicBezTo>
                <a:cubicBezTo>
                  <a:pt x="572" y="17"/>
                  <a:pt x="573" y="17"/>
                  <a:pt x="573" y="17"/>
                </a:cubicBezTo>
                <a:close/>
                <a:moveTo>
                  <a:pt x="1423" y="98"/>
                </a:moveTo>
                <a:cubicBezTo>
                  <a:pt x="1423" y="97"/>
                  <a:pt x="1422" y="97"/>
                  <a:pt x="1422" y="97"/>
                </a:cubicBezTo>
                <a:cubicBezTo>
                  <a:pt x="1422" y="97"/>
                  <a:pt x="1422" y="98"/>
                  <a:pt x="1423" y="98"/>
                </a:cubicBezTo>
                <a:close/>
                <a:moveTo>
                  <a:pt x="665" y="39"/>
                </a:moveTo>
                <a:cubicBezTo>
                  <a:pt x="665" y="38"/>
                  <a:pt x="665" y="38"/>
                  <a:pt x="666" y="38"/>
                </a:cubicBezTo>
                <a:cubicBezTo>
                  <a:pt x="665" y="38"/>
                  <a:pt x="665" y="38"/>
                  <a:pt x="665" y="39"/>
                </a:cubicBezTo>
                <a:close/>
                <a:moveTo>
                  <a:pt x="1457" y="97"/>
                </a:moveTo>
                <a:cubicBezTo>
                  <a:pt x="1456" y="97"/>
                  <a:pt x="1456" y="98"/>
                  <a:pt x="1456" y="98"/>
                </a:cubicBezTo>
                <a:cubicBezTo>
                  <a:pt x="1456" y="98"/>
                  <a:pt x="1457" y="98"/>
                  <a:pt x="1457" y="97"/>
                </a:cubicBezTo>
                <a:close/>
                <a:moveTo>
                  <a:pt x="761" y="99"/>
                </a:moveTo>
                <a:cubicBezTo>
                  <a:pt x="760" y="98"/>
                  <a:pt x="760" y="98"/>
                  <a:pt x="760" y="98"/>
                </a:cubicBezTo>
                <a:cubicBezTo>
                  <a:pt x="760" y="99"/>
                  <a:pt x="760" y="99"/>
                  <a:pt x="761" y="99"/>
                </a:cubicBezTo>
                <a:close/>
                <a:moveTo>
                  <a:pt x="1425" y="99"/>
                </a:moveTo>
                <a:cubicBezTo>
                  <a:pt x="1424" y="99"/>
                  <a:pt x="1424" y="98"/>
                  <a:pt x="1424" y="98"/>
                </a:cubicBezTo>
                <a:cubicBezTo>
                  <a:pt x="1424" y="99"/>
                  <a:pt x="1424" y="99"/>
                  <a:pt x="1425" y="99"/>
                </a:cubicBezTo>
                <a:close/>
                <a:moveTo>
                  <a:pt x="1574" y="53"/>
                </a:moveTo>
                <a:cubicBezTo>
                  <a:pt x="1574" y="53"/>
                  <a:pt x="1573" y="54"/>
                  <a:pt x="1573" y="54"/>
                </a:cubicBezTo>
                <a:cubicBezTo>
                  <a:pt x="1574" y="54"/>
                  <a:pt x="1574" y="54"/>
                  <a:pt x="1574" y="53"/>
                </a:cubicBezTo>
                <a:close/>
                <a:moveTo>
                  <a:pt x="1011" y="102"/>
                </a:moveTo>
                <a:cubicBezTo>
                  <a:pt x="1010" y="101"/>
                  <a:pt x="1010" y="102"/>
                  <a:pt x="1009" y="102"/>
                </a:cubicBezTo>
                <a:cubicBezTo>
                  <a:pt x="1010" y="102"/>
                  <a:pt x="1010" y="102"/>
                  <a:pt x="1011" y="102"/>
                </a:cubicBezTo>
                <a:close/>
                <a:moveTo>
                  <a:pt x="984" y="102"/>
                </a:moveTo>
                <a:cubicBezTo>
                  <a:pt x="984" y="102"/>
                  <a:pt x="983" y="102"/>
                  <a:pt x="983" y="102"/>
                </a:cubicBezTo>
                <a:cubicBezTo>
                  <a:pt x="983" y="102"/>
                  <a:pt x="984" y="102"/>
                  <a:pt x="984" y="102"/>
                </a:cubicBezTo>
                <a:close/>
                <a:moveTo>
                  <a:pt x="1009" y="102"/>
                </a:moveTo>
                <a:cubicBezTo>
                  <a:pt x="1009" y="102"/>
                  <a:pt x="1008" y="102"/>
                  <a:pt x="1008" y="102"/>
                </a:cubicBezTo>
                <a:cubicBezTo>
                  <a:pt x="1008" y="102"/>
                  <a:pt x="1009" y="102"/>
                  <a:pt x="1009" y="102"/>
                </a:cubicBezTo>
                <a:close/>
                <a:moveTo>
                  <a:pt x="568" y="102"/>
                </a:moveTo>
                <a:cubicBezTo>
                  <a:pt x="568" y="102"/>
                  <a:pt x="567" y="102"/>
                  <a:pt x="567" y="103"/>
                </a:cubicBezTo>
                <a:cubicBezTo>
                  <a:pt x="567" y="103"/>
                  <a:pt x="568" y="103"/>
                  <a:pt x="568" y="102"/>
                </a:cubicBezTo>
                <a:close/>
                <a:moveTo>
                  <a:pt x="1220" y="39"/>
                </a:moveTo>
                <a:cubicBezTo>
                  <a:pt x="1220" y="38"/>
                  <a:pt x="1221" y="38"/>
                  <a:pt x="1221" y="38"/>
                </a:cubicBezTo>
                <a:cubicBezTo>
                  <a:pt x="1221" y="38"/>
                  <a:pt x="1220" y="38"/>
                  <a:pt x="1220" y="39"/>
                </a:cubicBezTo>
                <a:close/>
                <a:moveTo>
                  <a:pt x="684" y="102"/>
                </a:moveTo>
                <a:cubicBezTo>
                  <a:pt x="683" y="102"/>
                  <a:pt x="683" y="102"/>
                  <a:pt x="683" y="103"/>
                </a:cubicBezTo>
                <a:cubicBezTo>
                  <a:pt x="683" y="103"/>
                  <a:pt x="684" y="103"/>
                  <a:pt x="684" y="102"/>
                </a:cubicBezTo>
                <a:close/>
                <a:moveTo>
                  <a:pt x="986" y="103"/>
                </a:moveTo>
                <a:cubicBezTo>
                  <a:pt x="986" y="102"/>
                  <a:pt x="985" y="102"/>
                  <a:pt x="985" y="102"/>
                </a:cubicBezTo>
                <a:cubicBezTo>
                  <a:pt x="985" y="103"/>
                  <a:pt x="986" y="103"/>
                  <a:pt x="986" y="103"/>
                </a:cubicBezTo>
                <a:close/>
                <a:moveTo>
                  <a:pt x="1052" y="103"/>
                </a:moveTo>
                <a:cubicBezTo>
                  <a:pt x="1052" y="102"/>
                  <a:pt x="1051" y="102"/>
                  <a:pt x="1051" y="102"/>
                </a:cubicBezTo>
                <a:cubicBezTo>
                  <a:pt x="1051" y="103"/>
                  <a:pt x="1052" y="103"/>
                  <a:pt x="1052" y="103"/>
                </a:cubicBezTo>
                <a:close/>
                <a:moveTo>
                  <a:pt x="1070" y="102"/>
                </a:moveTo>
                <a:cubicBezTo>
                  <a:pt x="1070" y="102"/>
                  <a:pt x="1069" y="102"/>
                  <a:pt x="1069" y="103"/>
                </a:cubicBezTo>
                <a:cubicBezTo>
                  <a:pt x="1069" y="103"/>
                  <a:pt x="1070" y="103"/>
                  <a:pt x="1070" y="102"/>
                </a:cubicBezTo>
                <a:close/>
                <a:moveTo>
                  <a:pt x="575" y="17"/>
                </a:moveTo>
                <a:cubicBezTo>
                  <a:pt x="575" y="17"/>
                  <a:pt x="574" y="17"/>
                  <a:pt x="574" y="17"/>
                </a:cubicBezTo>
                <a:cubicBezTo>
                  <a:pt x="574" y="17"/>
                  <a:pt x="575" y="17"/>
                  <a:pt x="575" y="17"/>
                </a:cubicBezTo>
                <a:close/>
                <a:moveTo>
                  <a:pt x="1259" y="42"/>
                </a:moveTo>
                <a:cubicBezTo>
                  <a:pt x="1259" y="42"/>
                  <a:pt x="1259" y="42"/>
                  <a:pt x="1260" y="43"/>
                </a:cubicBezTo>
                <a:cubicBezTo>
                  <a:pt x="1260" y="42"/>
                  <a:pt x="1259" y="42"/>
                  <a:pt x="1259" y="42"/>
                </a:cubicBezTo>
                <a:close/>
                <a:moveTo>
                  <a:pt x="1230" y="103"/>
                </a:moveTo>
                <a:cubicBezTo>
                  <a:pt x="1230" y="102"/>
                  <a:pt x="1229" y="102"/>
                  <a:pt x="1229" y="102"/>
                </a:cubicBezTo>
                <a:cubicBezTo>
                  <a:pt x="1229" y="103"/>
                  <a:pt x="1230" y="103"/>
                  <a:pt x="1230" y="103"/>
                </a:cubicBezTo>
                <a:close/>
                <a:moveTo>
                  <a:pt x="1248" y="102"/>
                </a:moveTo>
                <a:cubicBezTo>
                  <a:pt x="1248" y="102"/>
                  <a:pt x="1247" y="102"/>
                  <a:pt x="1247" y="103"/>
                </a:cubicBezTo>
                <a:cubicBezTo>
                  <a:pt x="1247" y="103"/>
                  <a:pt x="1248" y="103"/>
                  <a:pt x="1248" y="102"/>
                </a:cubicBezTo>
                <a:close/>
                <a:moveTo>
                  <a:pt x="1663" y="8"/>
                </a:moveTo>
                <a:cubicBezTo>
                  <a:pt x="1664" y="8"/>
                  <a:pt x="1664" y="8"/>
                  <a:pt x="1665" y="8"/>
                </a:cubicBezTo>
                <a:cubicBezTo>
                  <a:pt x="1664" y="8"/>
                  <a:pt x="1664" y="8"/>
                  <a:pt x="1663" y="8"/>
                </a:cubicBezTo>
                <a:close/>
                <a:moveTo>
                  <a:pt x="991" y="17"/>
                </a:moveTo>
                <a:cubicBezTo>
                  <a:pt x="990" y="17"/>
                  <a:pt x="990" y="17"/>
                  <a:pt x="990" y="17"/>
                </a:cubicBezTo>
                <a:cubicBezTo>
                  <a:pt x="990" y="17"/>
                  <a:pt x="991" y="17"/>
                  <a:pt x="991" y="17"/>
                </a:cubicBezTo>
                <a:close/>
                <a:moveTo>
                  <a:pt x="1008" y="17"/>
                </a:moveTo>
                <a:cubicBezTo>
                  <a:pt x="1008" y="17"/>
                  <a:pt x="1008" y="17"/>
                  <a:pt x="1007" y="17"/>
                </a:cubicBezTo>
                <a:cubicBezTo>
                  <a:pt x="1007" y="17"/>
                  <a:pt x="1008" y="17"/>
                  <a:pt x="1008" y="17"/>
                </a:cubicBezTo>
                <a:close/>
                <a:moveTo>
                  <a:pt x="1433" y="103"/>
                </a:moveTo>
                <a:cubicBezTo>
                  <a:pt x="1432" y="102"/>
                  <a:pt x="1432" y="102"/>
                  <a:pt x="1431" y="102"/>
                </a:cubicBezTo>
                <a:cubicBezTo>
                  <a:pt x="1432" y="103"/>
                  <a:pt x="1432" y="103"/>
                  <a:pt x="1433" y="103"/>
                </a:cubicBezTo>
                <a:close/>
                <a:moveTo>
                  <a:pt x="1447" y="102"/>
                </a:moveTo>
                <a:cubicBezTo>
                  <a:pt x="1447" y="102"/>
                  <a:pt x="1446" y="102"/>
                  <a:pt x="1446" y="103"/>
                </a:cubicBezTo>
                <a:cubicBezTo>
                  <a:pt x="1446" y="103"/>
                  <a:pt x="1447" y="103"/>
                  <a:pt x="1447" y="102"/>
                </a:cubicBezTo>
                <a:close/>
                <a:moveTo>
                  <a:pt x="682" y="103"/>
                </a:moveTo>
                <a:cubicBezTo>
                  <a:pt x="682" y="103"/>
                  <a:pt x="681" y="103"/>
                  <a:pt x="681" y="103"/>
                </a:cubicBezTo>
                <a:cubicBezTo>
                  <a:pt x="681" y="103"/>
                  <a:pt x="682" y="103"/>
                  <a:pt x="682" y="103"/>
                </a:cubicBezTo>
                <a:close/>
                <a:moveTo>
                  <a:pt x="728" y="103"/>
                </a:moveTo>
                <a:cubicBezTo>
                  <a:pt x="728" y="103"/>
                  <a:pt x="727" y="103"/>
                  <a:pt x="727" y="103"/>
                </a:cubicBezTo>
                <a:cubicBezTo>
                  <a:pt x="727" y="103"/>
                  <a:pt x="728" y="103"/>
                  <a:pt x="728" y="103"/>
                </a:cubicBezTo>
                <a:close/>
                <a:moveTo>
                  <a:pt x="738" y="103"/>
                </a:moveTo>
                <a:cubicBezTo>
                  <a:pt x="737" y="103"/>
                  <a:pt x="737" y="103"/>
                  <a:pt x="736" y="103"/>
                </a:cubicBezTo>
                <a:cubicBezTo>
                  <a:pt x="737" y="103"/>
                  <a:pt x="737" y="103"/>
                  <a:pt x="738" y="103"/>
                </a:cubicBezTo>
                <a:close/>
                <a:moveTo>
                  <a:pt x="1054" y="103"/>
                </a:moveTo>
                <a:cubicBezTo>
                  <a:pt x="1054" y="103"/>
                  <a:pt x="1053" y="103"/>
                  <a:pt x="1053" y="103"/>
                </a:cubicBezTo>
                <a:cubicBezTo>
                  <a:pt x="1053" y="103"/>
                  <a:pt x="1054" y="103"/>
                  <a:pt x="1054" y="103"/>
                </a:cubicBezTo>
                <a:close/>
                <a:moveTo>
                  <a:pt x="961" y="24"/>
                </a:moveTo>
                <a:cubicBezTo>
                  <a:pt x="961" y="23"/>
                  <a:pt x="962" y="23"/>
                  <a:pt x="962" y="23"/>
                </a:cubicBezTo>
                <a:cubicBezTo>
                  <a:pt x="961" y="23"/>
                  <a:pt x="961" y="23"/>
                  <a:pt x="961" y="24"/>
                </a:cubicBezTo>
                <a:close/>
                <a:moveTo>
                  <a:pt x="1232" y="103"/>
                </a:moveTo>
                <a:cubicBezTo>
                  <a:pt x="1232" y="103"/>
                  <a:pt x="1231" y="103"/>
                  <a:pt x="1230" y="103"/>
                </a:cubicBezTo>
                <a:cubicBezTo>
                  <a:pt x="1231" y="103"/>
                  <a:pt x="1231" y="103"/>
                  <a:pt x="1232" y="103"/>
                </a:cubicBezTo>
                <a:close/>
                <a:moveTo>
                  <a:pt x="1435" y="103"/>
                </a:moveTo>
                <a:cubicBezTo>
                  <a:pt x="1434" y="103"/>
                  <a:pt x="1434" y="103"/>
                  <a:pt x="1433" y="103"/>
                </a:cubicBezTo>
                <a:cubicBezTo>
                  <a:pt x="1433" y="103"/>
                  <a:pt x="1434" y="103"/>
                  <a:pt x="1435" y="103"/>
                </a:cubicBezTo>
                <a:close/>
                <a:moveTo>
                  <a:pt x="1446" y="103"/>
                </a:moveTo>
                <a:cubicBezTo>
                  <a:pt x="1445" y="103"/>
                  <a:pt x="1445" y="103"/>
                  <a:pt x="1444" y="103"/>
                </a:cubicBezTo>
                <a:cubicBezTo>
                  <a:pt x="1445" y="103"/>
                  <a:pt x="1445" y="103"/>
                  <a:pt x="1446" y="103"/>
                </a:cubicBezTo>
                <a:close/>
                <a:moveTo>
                  <a:pt x="607" y="122"/>
                </a:moveTo>
                <a:cubicBezTo>
                  <a:pt x="607" y="122"/>
                  <a:pt x="608" y="122"/>
                  <a:pt x="608" y="121"/>
                </a:cubicBezTo>
                <a:cubicBezTo>
                  <a:pt x="607" y="121"/>
                  <a:pt x="607" y="122"/>
                  <a:pt x="607" y="122"/>
                </a:cubicBezTo>
                <a:close/>
                <a:moveTo>
                  <a:pt x="1665" y="8"/>
                </a:moveTo>
                <a:cubicBezTo>
                  <a:pt x="1665" y="9"/>
                  <a:pt x="1666" y="9"/>
                  <a:pt x="1666" y="9"/>
                </a:cubicBezTo>
                <a:cubicBezTo>
                  <a:pt x="1666" y="8"/>
                  <a:pt x="1665" y="8"/>
                  <a:pt x="1665" y="8"/>
                </a:cubicBezTo>
                <a:close/>
                <a:moveTo>
                  <a:pt x="597" y="123"/>
                </a:moveTo>
                <a:cubicBezTo>
                  <a:pt x="597" y="123"/>
                  <a:pt x="598" y="123"/>
                  <a:pt x="598" y="123"/>
                </a:cubicBezTo>
                <a:cubicBezTo>
                  <a:pt x="598" y="123"/>
                  <a:pt x="597" y="123"/>
                  <a:pt x="597" y="123"/>
                </a:cubicBezTo>
                <a:close/>
                <a:moveTo>
                  <a:pt x="1411" y="36"/>
                </a:moveTo>
                <a:cubicBezTo>
                  <a:pt x="1411" y="35"/>
                  <a:pt x="1412" y="35"/>
                  <a:pt x="1411" y="34"/>
                </a:cubicBezTo>
                <a:cubicBezTo>
                  <a:pt x="1411" y="35"/>
                  <a:pt x="1411" y="35"/>
                  <a:pt x="1411" y="36"/>
                </a:cubicBezTo>
                <a:close/>
                <a:moveTo>
                  <a:pt x="1469" y="34"/>
                </a:moveTo>
                <a:cubicBezTo>
                  <a:pt x="1469" y="35"/>
                  <a:pt x="1469" y="35"/>
                  <a:pt x="1470" y="36"/>
                </a:cubicBezTo>
                <a:cubicBezTo>
                  <a:pt x="1470" y="35"/>
                  <a:pt x="1470" y="35"/>
                  <a:pt x="1469" y="34"/>
                </a:cubicBezTo>
                <a:close/>
                <a:moveTo>
                  <a:pt x="619" y="123"/>
                </a:moveTo>
                <a:cubicBezTo>
                  <a:pt x="619" y="123"/>
                  <a:pt x="619" y="124"/>
                  <a:pt x="618" y="124"/>
                </a:cubicBezTo>
                <a:cubicBezTo>
                  <a:pt x="619" y="124"/>
                  <a:pt x="619" y="124"/>
                  <a:pt x="619" y="123"/>
                </a:cubicBezTo>
                <a:close/>
                <a:moveTo>
                  <a:pt x="618" y="125"/>
                </a:moveTo>
                <a:cubicBezTo>
                  <a:pt x="617" y="125"/>
                  <a:pt x="617" y="125"/>
                  <a:pt x="617" y="126"/>
                </a:cubicBezTo>
                <a:cubicBezTo>
                  <a:pt x="618" y="126"/>
                  <a:pt x="618" y="125"/>
                  <a:pt x="618" y="125"/>
                </a:cubicBezTo>
                <a:close/>
                <a:moveTo>
                  <a:pt x="966" y="18"/>
                </a:moveTo>
                <a:cubicBezTo>
                  <a:pt x="967" y="18"/>
                  <a:pt x="967" y="17"/>
                  <a:pt x="967" y="17"/>
                </a:cubicBezTo>
                <a:cubicBezTo>
                  <a:pt x="967" y="17"/>
                  <a:pt x="966" y="17"/>
                  <a:pt x="966" y="18"/>
                </a:cubicBezTo>
                <a:close/>
                <a:moveTo>
                  <a:pt x="615" y="128"/>
                </a:moveTo>
                <a:cubicBezTo>
                  <a:pt x="615" y="128"/>
                  <a:pt x="614" y="128"/>
                  <a:pt x="614" y="129"/>
                </a:cubicBezTo>
                <a:cubicBezTo>
                  <a:pt x="615" y="129"/>
                  <a:pt x="615" y="128"/>
                  <a:pt x="615" y="128"/>
                </a:cubicBezTo>
                <a:close/>
                <a:moveTo>
                  <a:pt x="597" y="133"/>
                </a:moveTo>
                <a:cubicBezTo>
                  <a:pt x="596" y="132"/>
                  <a:pt x="596" y="132"/>
                  <a:pt x="595" y="133"/>
                </a:cubicBezTo>
                <a:cubicBezTo>
                  <a:pt x="596" y="133"/>
                  <a:pt x="596" y="133"/>
                  <a:pt x="597" y="133"/>
                </a:cubicBezTo>
                <a:close/>
                <a:moveTo>
                  <a:pt x="759" y="39"/>
                </a:moveTo>
                <a:cubicBezTo>
                  <a:pt x="760" y="39"/>
                  <a:pt x="760" y="39"/>
                  <a:pt x="760" y="39"/>
                </a:cubicBezTo>
                <a:cubicBezTo>
                  <a:pt x="760" y="39"/>
                  <a:pt x="759" y="39"/>
                  <a:pt x="759" y="39"/>
                </a:cubicBezTo>
                <a:close/>
                <a:moveTo>
                  <a:pt x="906" y="39"/>
                </a:moveTo>
                <a:cubicBezTo>
                  <a:pt x="906" y="39"/>
                  <a:pt x="907" y="39"/>
                  <a:pt x="907" y="40"/>
                </a:cubicBezTo>
                <a:cubicBezTo>
                  <a:pt x="907" y="39"/>
                  <a:pt x="907" y="39"/>
                  <a:pt x="906" y="39"/>
                </a:cubicBezTo>
                <a:close/>
                <a:moveTo>
                  <a:pt x="1397" y="38"/>
                </a:moveTo>
                <a:cubicBezTo>
                  <a:pt x="1396" y="39"/>
                  <a:pt x="1396" y="39"/>
                  <a:pt x="1397" y="40"/>
                </a:cubicBezTo>
                <a:cubicBezTo>
                  <a:pt x="1397" y="39"/>
                  <a:pt x="1397" y="39"/>
                  <a:pt x="1397" y="38"/>
                </a:cubicBezTo>
                <a:close/>
                <a:moveTo>
                  <a:pt x="659" y="49"/>
                </a:moveTo>
                <a:cubicBezTo>
                  <a:pt x="659" y="49"/>
                  <a:pt x="659" y="48"/>
                  <a:pt x="659" y="48"/>
                </a:cubicBezTo>
                <a:cubicBezTo>
                  <a:pt x="658" y="48"/>
                  <a:pt x="659" y="49"/>
                  <a:pt x="659" y="49"/>
                </a:cubicBezTo>
                <a:close/>
                <a:moveTo>
                  <a:pt x="1149" y="39"/>
                </a:moveTo>
                <a:cubicBezTo>
                  <a:pt x="1149" y="39"/>
                  <a:pt x="1149" y="40"/>
                  <a:pt x="1149" y="40"/>
                </a:cubicBezTo>
                <a:cubicBezTo>
                  <a:pt x="1149" y="39"/>
                  <a:pt x="1149" y="39"/>
                  <a:pt x="1149" y="39"/>
                </a:cubicBezTo>
                <a:close/>
                <a:moveTo>
                  <a:pt x="1581" y="39"/>
                </a:moveTo>
                <a:cubicBezTo>
                  <a:pt x="1581" y="39"/>
                  <a:pt x="1581" y="40"/>
                  <a:pt x="1581" y="40"/>
                </a:cubicBezTo>
                <a:cubicBezTo>
                  <a:pt x="1581" y="40"/>
                  <a:pt x="1581" y="39"/>
                  <a:pt x="1581" y="39"/>
                </a:cubicBezTo>
                <a:close/>
                <a:moveTo>
                  <a:pt x="1749" y="39"/>
                </a:moveTo>
                <a:cubicBezTo>
                  <a:pt x="1749" y="39"/>
                  <a:pt x="1749" y="40"/>
                  <a:pt x="1749" y="40"/>
                </a:cubicBezTo>
                <a:cubicBezTo>
                  <a:pt x="1749" y="40"/>
                  <a:pt x="1749" y="39"/>
                  <a:pt x="1749" y="39"/>
                </a:cubicBezTo>
                <a:close/>
                <a:moveTo>
                  <a:pt x="864" y="39"/>
                </a:moveTo>
                <a:cubicBezTo>
                  <a:pt x="864" y="40"/>
                  <a:pt x="865" y="40"/>
                  <a:pt x="865" y="40"/>
                </a:cubicBezTo>
                <a:cubicBezTo>
                  <a:pt x="865" y="40"/>
                  <a:pt x="865" y="39"/>
                  <a:pt x="864" y="39"/>
                </a:cubicBezTo>
                <a:close/>
                <a:moveTo>
                  <a:pt x="1218" y="40"/>
                </a:moveTo>
                <a:cubicBezTo>
                  <a:pt x="1219" y="40"/>
                  <a:pt x="1219" y="40"/>
                  <a:pt x="1219" y="39"/>
                </a:cubicBezTo>
                <a:cubicBezTo>
                  <a:pt x="1219" y="39"/>
                  <a:pt x="1218" y="39"/>
                  <a:pt x="1218" y="40"/>
                </a:cubicBezTo>
                <a:close/>
                <a:moveTo>
                  <a:pt x="1391" y="52"/>
                </a:moveTo>
                <a:cubicBezTo>
                  <a:pt x="1391" y="52"/>
                  <a:pt x="1390" y="52"/>
                  <a:pt x="1390" y="53"/>
                </a:cubicBezTo>
                <a:cubicBezTo>
                  <a:pt x="1391" y="53"/>
                  <a:pt x="1391" y="52"/>
                  <a:pt x="1391" y="52"/>
                </a:cubicBezTo>
                <a:close/>
                <a:moveTo>
                  <a:pt x="1397" y="40"/>
                </a:moveTo>
                <a:cubicBezTo>
                  <a:pt x="1396" y="40"/>
                  <a:pt x="1396" y="41"/>
                  <a:pt x="1396" y="41"/>
                </a:cubicBezTo>
                <a:cubicBezTo>
                  <a:pt x="1397" y="41"/>
                  <a:pt x="1396" y="40"/>
                  <a:pt x="1397" y="40"/>
                </a:cubicBezTo>
                <a:close/>
                <a:moveTo>
                  <a:pt x="831" y="41"/>
                </a:moveTo>
                <a:cubicBezTo>
                  <a:pt x="831" y="41"/>
                  <a:pt x="831" y="41"/>
                  <a:pt x="831" y="40"/>
                </a:cubicBezTo>
                <a:cubicBezTo>
                  <a:pt x="831" y="40"/>
                  <a:pt x="831" y="41"/>
                  <a:pt x="831" y="41"/>
                </a:cubicBezTo>
                <a:close/>
                <a:moveTo>
                  <a:pt x="1112" y="42"/>
                </a:moveTo>
                <a:cubicBezTo>
                  <a:pt x="1113" y="42"/>
                  <a:pt x="1113" y="41"/>
                  <a:pt x="1113" y="41"/>
                </a:cubicBezTo>
                <a:cubicBezTo>
                  <a:pt x="1113" y="41"/>
                  <a:pt x="1112" y="41"/>
                  <a:pt x="1112" y="42"/>
                </a:cubicBezTo>
                <a:close/>
                <a:moveTo>
                  <a:pt x="670" y="49"/>
                </a:moveTo>
                <a:cubicBezTo>
                  <a:pt x="670" y="49"/>
                  <a:pt x="670" y="49"/>
                  <a:pt x="670" y="50"/>
                </a:cubicBezTo>
                <a:cubicBezTo>
                  <a:pt x="670" y="50"/>
                  <a:pt x="670" y="49"/>
                  <a:pt x="670" y="49"/>
                </a:cubicBezTo>
                <a:close/>
                <a:moveTo>
                  <a:pt x="1115" y="49"/>
                </a:moveTo>
                <a:cubicBezTo>
                  <a:pt x="1115" y="49"/>
                  <a:pt x="1114" y="49"/>
                  <a:pt x="1114" y="50"/>
                </a:cubicBezTo>
                <a:cubicBezTo>
                  <a:pt x="1115" y="49"/>
                  <a:pt x="1115" y="49"/>
                  <a:pt x="1115" y="49"/>
                </a:cubicBezTo>
                <a:close/>
                <a:moveTo>
                  <a:pt x="1380" y="50"/>
                </a:moveTo>
                <a:cubicBezTo>
                  <a:pt x="1380" y="49"/>
                  <a:pt x="1380" y="49"/>
                  <a:pt x="1381" y="49"/>
                </a:cubicBezTo>
                <a:cubicBezTo>
                  <a:pt x="1380" y="49"/>
                  <a:pt x="1380" y="49"/>
                  <a:pt x="1380" y="50"/>
                </a:cubicBezTo>
                <a:close/>
                <a:moveTo>
                  <a:pt x="607" y="132"/>
                </a:moveTo>
                <a:cubicBezTo>
                  <a:pt x="606" y="132"/>
                  <a:pt x="606" y="132"/>
                  <a:pt x="605" y="133"/>
                </a:cubicBezTo>
                <a:cubicBezTo>
                  <a:pt x="606" y="133"/>
                  <a:pt x="606" y="133"/>
                  <a:pt x="607" y="132"/>
                </a:cubicBezTo>
                <a:close/>
                <a:moveTo>
                  <a:pt x="976" y="23"/>
                </a:moveTo>
                <a:cubicBezTo>
                  <a:pt x="976" y="24"/>
                  <a:pt x="975" y="24"/>
                  <a:pt x="975" y="24"/>
                </a:cubicBezTo>
                <a:cubicBezTo>
                  <a:pt x="976" y="24"/>
                  <a:pt x="976" y="24"/>
                  <a:pt x="976" y="23"/>
                </a:cubicBezTo>
                <a:close/>
                <a:moveTo>
                  <a:pt x="553" y="42"/>
                </a:moveTo>
                <a:cubicBezTo>
                  <a:pt x="554" y="42"/>
                  <a:pt x="554" y="42"/>
                  <a:pt x="554" y="42"/>
                </a:cubicBezTo>
                <a:cubicBezTo>
                  <a:pt x="554" y="42"/>
                  <a:pt x="554" y="42"/>
                  <a:pt x="553" y="42"/>
                </a:cubicBezTo>
                <a:close/>
                <a:moveTo>
                  <a:pt x="1725" y="56"/>
                </a:moveTo>
                <a:cubicBezTo>
                  <a:pt x="1726" y="56"/>
                  <a:pt x="1726" y="56"/>
                  <a:pt x="1726" y="56"/>
                </a:cubicBezTo>
                <a:cubicBezTo>
                  <a:pt x="1726" y="56"/>
                  <a:pt x="1725" y="56"/>
                  <a:pt x="1725" y="56"/>
                </a:cubicBezTo>
                <a:close/>
                <a:moveTo>
                  <a:pt x="659" y="57"/>
                </a:moveTo>
                <a:cubicBezTo>
                  <a:pt x="659" y="57"/>
                  <a:pt x="659" y="56"/>
                  <a:pt x="659" y="56"/>
                </a:cubicBezTo>
                <a:cubicBezTo>
                  <a:pt x="659" y="56"/>
                  <a:pt x="658" y="57"/>
                  <a:pt x="659" y="57"/>
                </a:cubicBezTo>
                <a:close/>
                <a:moveTo>
                  <a:pt x="829" y="56"/>
                </a:moveTo>
                <a:cubicBezTo>
                  <a:pt x="828" y="57"/>
                  <a:pt x="828" y="57"/>
                  <a:pt x="828" y="58"/>
                </a:cubicBezTo>
                <a:cubicBezTo>
                  <a:pt x="829" y="58"/>
                  <a:pt x="829" y="57"/>
                  <a:pt x="829" y="56"/>
                </a:cubicBezTo>
                <a:close/>
                <a:moveTo>
                  <a:pt x="859" y="55"/>
                </a:moveTo>
                <a:cubicBezTo>
                  <a:pt x="859" y="54"/>
                  <a:pt x="859" y="54"/>
                  <a:pt x="858" y="53"/>
                </a:cubicBezTo>
                <a:cubicBezTo>
                  <a:pt x="858" y="54"/>
                  <a:pt x="858" y="54"/>
                  <a:pt x="859" y="55"/>
                </a:cubicBezTo>
                <a:close/>
                <a:moveTo>
                  <a:pt x="1372" y="57"/>
                </a:moveTo>
                <a:cubicBezTo>
                  <a:pt x="1372" y="57"/>
                  <a:pt x="1372" y="57"/>
                  <a:pt x="1373" y="57"/>
                </a:cubicBezTo>
                <a:cubicBezTo>
                  <a:pt x="1372" y="57"/>
                  <a:pt x="1372" y="57"/>
                  <a:pt x="1372" y="57"/>
                </a:cubicBezTo>
                <a:close/>
                <a:moveTo>
                  <a:pt x="578" y="58"/>
                </a:moveTo>
                <a:cubicBezTo>
                  <a:pt x="578" y="58"/>
                  <a:pt x="579" y="58"/>
                  <a:pt x="579" y="58"/>
                </a:cubicBezTo>
                <a:cubicBezTo>
                  <a:pt x="579" y="58"/>
                  <a:pt x="579" y="58"/>
                  <a:pt x="578" y="58"/>
                </a:cubicBezTo>
                <a:close/>
                <a:moveTo>
                  <a:pt x="1208" y="59"/>
                </a:moveTo>
                <a:cubicBezTo>
                  <a:pt x="1208" y="59"/>
                  <a:pt x="1208" y="58"/>
                  <a:pt x="1208" y="58"/>
                </a:cubicBezTo>
                <a:cubicBezTo>
                  <a:pt x="1208" y="58"/>
                  <a:pt x="1208" y="59"/>
                  <a:pt x="1208" y="59"/>
                </a:cubicBezTo>
                <a:close/>
                <a:moveTo>
                  <a:pt x="1289" y="58"/>
                </a:moveTo>
                <a:cubicBezTo>
                  <a:pt x="1289" y="59"/>
                  <a:pt x="1289" y="59"/>
                  <a:pt x="1289" y="60"/>
                </a:cubicBezTo>
                <a:cubicBezTo>
                  <a:pt x="1289" y="59"/>
                  <a:pt x="1289" y="59"/>
                  <a:pt x="1289" y="58"/>
                </a:cubicBezTo>
                <a:close/>
                <a:moveTo>
                  <a:pt x="748" y="60"/>
                </a:moveTo>
                <a:cubicBezTo>
                  <a:pt x="748" y="60"/>
                  <a:pt x="748" y="59"/>
                  <a:pt x="748" y="59"/>
                </a:cubicBezTo>
                <a:cubicBezTo>
                  <a:pt x="748" y="59"/>
                  <a:pt x="748" y="60"/>
                  <a:pt x="748" y="60"/>
                </a:cubicBezTo>
                <a:close/>
                <a:moveTo>
                  <a:pt x="670" y="50"/>
                </a:moveTo>
                <a:cubicBezTo>
                  <a:pt x="669" y="51"/>
                  <a:pt x="669" y="52"/>
                  <a:pt x="670" y="52"/>
                </a:cubicBezTo>
                <a:cubicBezTo>
                  <a:pt x="670" y="52"/>
                  <a:pt x="670" y="51"/>
                  <a:pt x="670" y="50"/>
                </a:cubicBezTo>
                <a:close/>
                <a:moveTo>
                  <a:pt x="1737" y="59"/>
                </a:moveTo>
                <a:cubicBezTo>
                  <a:pt x="1736" y="59"/>
                  <a:pt x="1736" y="59"/>
                  <a:pt x="1736" y="60"/>
                </a:cubicBezTo>
                <a:cubicBezTo>
                  <a:pt x="1736" y="60"/>
                  <a:pt x="1736" y="60"/>
                  <a:pt x="1737" y="59"/>
                </a:cubicBezTo>
                <a:close/>
                <a:moveTo>
                  <a:pt x="580" y="59"/>
                </a:moveTo>
                <a:cubicBezTo>
                  <a:pt x="580" y="60"/>
                  <a:pt x="581" y="60"/>
                  <a:pt x="581" y="60"/>
                </a:cubicBezTo>
                <a:cubicBezTo>
                  <a:pt x="581" y="60"/>
                  <a:pt x="581" y="59"/>
                  <a:pt x="580" y="59"/>
                </a:cubicBezTo>
                <a:close/>
                <a:moveTo>
                  <a:pt x="1208" y="61"/>
                </a:moveTo>
                <a:cubicBezTo>
                  <a:pt x="1208" y="60"/>
                  <a:pt x="1208" y="60"/>
                  <a:pt x="1208" y="59"/>
                </a:cubicBezTo>
                <a:cubicBezTo>
                  <a:pt x="1207" y="60"/>
                  <a:pt x="1208" y="60"/>
                  <a:pt x="1208" y="61"/>
                </a:cubicBezTo>
                <a:close/>
                <a:moveTo>
                  <a:pt x="1666" y="60"/>
                </a:moveTo>
                <a:cubicBezTo>
                  <a:pt x="1666" y="60"/>
                  <a:pt x="1667" y="61"/>
                  <a:pt x="1667" y="61"/>
                </a:cubicBezTo>
                <a:cubicBezTo>
                  <a:pt x="1667" y="60"/>
                  <a:pt x="1666" y="60"/>
                  <a:pt x="1666" y="60"/>
                </a:cubicBezTo>
                <a:close/>
                <a:moveTo>
                  <a:pt x="1719" y="61"/>
                </a:moveTo>
                <a:cubicBezTo>
                  <a:pt x="1720" y="61"/>
                  <a:pt x="1720" y="60"/>
                  <a:pt x="1720" y="60"/>
                </a:cubicBezTo>
                <a:cubicBezTo>
                  <a:pt x="1720" y="60"/>
                  <a:pt x="1719" y="60"/>
                  <a:pt x="1719" y="61"/>
                </a:cubicBezTo>
                <a:close/>
                <a:moveTo>
                  <a:pt x="1383" y="60"/>
                </a:moveTo>
                <a:cubicBezTo>
                  <a:pt x="1382" y="60"/>
                  <a:pt x="1382" y="61"/>
                  <a:pt x="1382" y="61"/>
                </a:cubicBezTo>
                <a:cubicBezTo>
                  <a:pt x="1382" y="61"/>
                  <a:pt x="1382" y="61"/>
                  <a:pt x="1383" y="60"/>
                </a:cubicBezTo>
                <a:close/>
                <a:moveTo>
                  <a:pt x="1366" y="62"/>
                </a:moveTo>
                <a:cubicBezTo>
                  <a:pt x="1366" y="61"/>
                  <a:pt x="1367" y="61"/>
                  <a:pt x="1367" y="61"/>
                </a:cubicBezTo>
                <a:cubicBezTo>
                  <a:pt x="1366" y="61"/>
                  <a:pt x="1366" y="61"/>
                  <a:pt x="1366" y="62"/>
                </a:cubicBezTo>
                <a:close/>
                <a:moveTo>
                  <a:pt x="1550" y="62"/>
                </a:moveTo>
                <a:cubicBezTo>
                  <a:pt x="1550" y="62"/>
                  <a:pt x="1550" y="62"/>
                  <a:pt x="1551" y="61"/>
                </a:cubicBezTo>
                <a:cubicBezTo>
                  <a:pt x="1550" y="61"/>
                  <a:pt x="1550" y="61"/>
                  <a:pt x="1550" y="62"/>
                </a:cubicBezTo>
                <a:close/>
                <a:moveTo>
                  <a:pt x="1566" y="61"/>
                </a:moveTo>
                <a:cubicBezTo>
                  <a:pt x="1566" y="61"/>
                  <a:pt x="1565" y="61"/>
                  <a:pt x="1565" y="62"/>
                </a:cubicBezTo>
                <a:cubicBezTo>
                  <a:pt x="1566" y="62"/>
                  <a:pt x="1566" y="62"/>
                  <a:pt x="1566" y="61"/>
                </a:cubicBezTo>
                <a:close/>
                <a:moveTo>
                  <a:pt x="1718" y="62"/>
                </a:moveTo>
                <a:cubicBezTo>
                  <a:pt x="1718" y="62"/>
                  <a:pt x="1719" y="62"/>
                  <a:pt x="1719" y="61"/>
                </a:cubicBezTo>
                <a:cubicBezTo>
                  <a:pt x="1718" y="61"/>
                  <a:pt x="1718" y="61"/>
                  <a:pt x="1718" y="62"/>
                </a:cubicBezTo>
                <a:close/>
                <a:moveTo>
                  <a:pt x="1456" y="10"/>
                </a:moveTo>
                <a:cubicBezTo>
                  <a:pt x="1456" y="10"/>
                  <a:pt x="1456" y="10"/>
                  <a:pt x="1457" y="10"/>
                </a:cubicBezTo>
                <a:cubicBezTo>
                  <a:pt x="1457" y="10"/>
                  <a:pt x="1456" y="10"/>
                  <a:pt x="1456" y="10"/>
                </a:cubicBezTo>
                <a:close/>
                <a:moveTo>
                  <a:pt x="1734" y="61"/>
                </a:moveTo>
                <a:cubicBezTo>
                  <a:pt x="1734" y="61"/>
                  <a:pt x="1733" y="61"/>
                  <a:pt x="1733" y="62"/>
                </a:cubicBezTo>
                <a:cubicBezTo>
                  <a:pt x="1734" y="62"/>
                  <a:pt x="1734" y="62"/>
                  <a:pt x="1734" y="61"/>
                </a:cubicBezTo>
                <a:close/>
                <a:moveTo>
                  <a:pt x="1119" y="45"/>
                </a:moveTo>
                <a:cubicBezTo>
                  <a:pt x="1118" y="45"/>
                  <a:pt x="1118" y="45"/>
                  <a:pt x="1118" y="46"/>
                </a:cubicBezTo>
                <a:cubicBezTo>
                  <a:pt x="1118" y="46"/>
                  <a:pt x="1119" y="46"/>
                  <a:pt x="1119" y="45"/>
                </a:cubicBezTo>
                <a:close/>
                <a:moveTo>
                  <a:pt x="1365" y="63"/>
                </a:moveTo>
                <a:cubicBezTo>
                  <a:pt x="1365" y="62"/>
                  <a:pt x="1365" y="62"/>
                  <a:pt x="1366" y="62"/>
                </a:cubicBezTo>
                <a:cubicBezTo>
                  <a:pt x="1365" y="62"/>
                  <a:pt x="1365" y="62"/>
                  <a:pt x="1365" y="63"/>
                </a:cubicBezTo>
                <a:close/>
                <a:moveTo>
                  <a:pt x="583" y="62"/>
                </a:moveTo>
                <a:cubicBezTo>
                  <a:pt x="583" y="63"/>
                  <a:pt x="584" y="63"/>
                  <a:pt x="584" y="63"/>
                </a:cubicBezTo>
                <a:cubicBezTo>
                  <a:pt x="584" y="63"/>
                  <a:pt x="584" y="62"/>
                  <a:pt x="583" y="62"/>
                </a:cubicBezTo>
                <a:close/>
                <a:moveTo>
                  <a:pt x="1581" y="25"/>
                </a:moveTo>
                <a:cubicBezTo>
                  <a:pt x="1581" y="25"/>
                  <a:pt x="1581" y="26"/>
                  <a:pt x="1581" y="26"/>
                </a:cubicBezTo>
                <a:cubicBezTo>
                  <a:pt x="1581" y="26"/>
                  <a:pt x="1582" y="25"/>
                  <a:pt x="1581" y="25"/>
                </a:cubicBezTo>
                <a:close/>
                <a:moveTo>
                  <a:pt x="1548" y="63"/>
                </a:moveTo>
                <a:cubicBezTo>
                  <a:pt x="1549" y="63"/>
                  <a:pt x="1549" y="63"/>
                  <a:pt x="1549" y="62"/>
                </a:cubicBezTo>
                <a:cubicBezTo>
                  <a:pt x="1549" y="62"/>
                  <a:pt x="1548" y="62"/>
                  <a:pt x="1548" y="63"/>
                </a:cubicBezTo>
                <a:close/>
                <a:moveTo>
                  <a:pt x="1668" y="62"/>
                </a:moveTo>
                <a:cubicBezTo>
                  <a:pt x="1668" y="63"/>
                  <a:pt x="1669" y="63"/>
                  <a:pt x="1669" y="63"/>
                </a:cubicBezTo>
                <a:cubicBezTo>
                  <a:pt x="1669" y="63"/>
                  <a:pt x="1669" y="62"/>
                  <a:pt x="1668" y="62"/>
                </a:cubicBezTo>
                <a:close/>
                <a:moveTo>
                  <a:pt x="964" y="44"/>
                </a:moveTo>
                <a:cubicBezTo>
                  <a:pt x="963" y="44"/>
                  <a:pt x="963" y="45"/>
                  <a:pt x="963" y="45"/>
                </a:cubicBezTo>
                <a:cubicBezTo>
                  <a:pt x="964" y="45"/>
                  <a:pt x="964" y="44"/>
                  <a:pt x="964" y="44"/>
                </a:cubicBezTo>
                <a:close/>
                <a:moveTo>
                  <a:pt x="1749" y="25"/>
                </a:moveTo>
                <a:cubicBezTo>
                  <a:pt x="1749" y="25"/>
                  <a:pt x="1749" y="26"/>
                  <a:pt x="1749" y="26"/>
                </a:cubicBezTo>
                <a:cubicBezTo>
                  <a:pt x="1749" y="26"/>
                  <a:pt x="1750" y="25"/>
                  <a:pt x="1749" y="25"/>
                </a:cubicBezTo>
                <a:close/>
                <a:moveTo>
                  <a:pt x="1716" y="63"/>
                </a:moveTo>
                <a:cubicBezTo>
                  <a:pt x="1717" y="63"/>
                  <a:pt x="1717" y="63"/>
                  <a:pt x="1717" y="62"/>
                </a:cubicBezTo>
                <a:cubicBezTo>
                  <a:pt x="1717" y="62"/>
                  <a:pt x="1717" y="62"/>
                  <a:pt x="1716" y="63"/>
                </a:cubicBezTo>
                <a:close/>
                <a:moveTo>
                  <a:pt x="1036" y="45"/>
                </a:moveTo>
                <a:cubicBezTo>
                  <a:pt x="1037" y="45"/>
                  <a:pt x="1037" y="44"/>
                  <a:pt x="1037" y="44"/>
                </a:cubicBezTo>
                <a:cubicBezTo>
                  <a:pt x="1036" y="44"/>
                  <a:pt x="1036" y="44"/>
                  <a:pt x="1036" y="45"/>
                </a:cubicBezTo>
                <a:close/>
                <a:moveTo>
                  <a:pt x="1571" y="10"/>
                </a:moveTo>
                <a:cubicBezTo>
                  <a:pt x="1571" y="10"/>
                  <a:pt x="1571" y="11"/>
                  <a:pt x="1572" y="11"/>
                </a:cubicBezTo>
                <a:cubicBezTo>
                  <a:pt x="1572" y="10"/>
                  <a:pt x="1571" y="10"/>
                  <a:pt x="1571" y="10"/>
                </a:cubicBezTo>
                <a:close/>
                <a:moveTo>
                  <a:pt x="1213" y="46"/>
                </a:moveTo>
                <a:cubicBezTo>
                  <a:pt x="1213" y="46"/>
                  <a:pt x="1214" y="46"/>
                  <a:pt x="1214" y="45"/>
                </a:cubicBezTo>
                <a:cubicBezTo>
                  <a:pt x="1213" y="45"/>
                  <a:pt x="1213" y="46"/>
                  <a:pt x="1213" y="46"/>
                </a:cubicBezTo>
                <a:close/>
                <a:moveTo>
                  <a:pt x="901" y="56"/>
                </a:moveTo>
                <a:cubicBezTo>
                  <a:pt x="901" y="55"/>
                  <a:pt x="901" y="54"/>
                  <a:pt x="901" y="54"/>
                </a:cubicBezTo>
                <a:cubicBezTo>
                  <a:pt x="901" y="55"/>
                  <a:pt x="901" y="55"/>
                  <a:pt x="901" y="56"/>
                </a:cubicBezTo>
                <a:close/>
                <a:moveTo>
                  <a:pt x="1363" y="64"/>
                </a:moveTo>
                <a:cubicBezTo>
                  <a:pt x="1364" y="64"/>
                  <a:pt x="1364" y="63"/>
                  <a:pt x="1364" y="63"/>
                </a:cubicBezTo>
                <a:cubicBezTo>
                  <a:pt x="1364" y="63"/>
                  <a:pt x="1363" y="63"/>
                  <a:pt x="1363" y="64"/>
                </a:cubicBezTo>
                <a:close/>
                <a:moveTo>
                  <a:pt x="1381" y="19"/>
                </a:moveTo>
                <a:cubicBezTo>
                  <a:pt x="1380" y="18"/>
                  <a:pt x="1380" y="18"/>
                  <a:pt x="1379" y="18"/>
                </a:cubicBezTo>
                <a:cubicBezTo>
                  <a:pt x="1380" y="18"/>
                  <a:pt x="1380" y="19"/>
                  <a:pt x="1381" y="19"/>
                </a:cubicBezTo>
                <a:close/>
                <a:moveTo>
                  <a:pt x="1547" y="64"/>
                </a:moveTo>
                <a:cubicBezTo>
                  <a:pt x="1547" y="64"/>
                  <a:pt x="1548" y="64"/>
                  <a:pt x="1548" y="63"/>
                </a:cubicBezTo>
                <a:cubicBezTo>
                  <a:pt x="1547" y="63"/>
                  <a:pt x="1547" y="63"/>
                  <a:pt x="1547" y="64"/>
                </a:cubicBezTo>
                <a:close/>
                <a:moveTo>
                  <a:pt x="1715" y="64"/>
                </a:moveTo>
                <a:cubicBezTo>
                  <a:pt x="1715" y="64"/>
                  <a:pt x="1716" y="64"/>
                  <a:pt x="1716" y="63"/>
                </a:cubicBezTo>
                <a:cubicBezTo>
                  <a:pt x="1716" y="63"/>
                  <a:pt x="1715" y="63"/>
                  <a:pt x="1715" y="64"/>
                </a:cubicBezTo>
                <a:close/>
                <a:moveTo>
                  <a:pt x="585" y="64"/>
                </a:moveTo>
                <a:cubicBezTo>
                  <a:pt x="585" y="64"/>
                  <a:pt x="585" y="65"/>
                  <a:pt x="585" y="65"/>
                </a:cubicBezTo>
                <a:cubicBezTo>
                  <a:pt x="585" y="64"/>
                  <a:pt x="585" y="64"/>
                  <a:pt x="585" y="64"/>
                </a:cubicBezTo>
                <a:close/>
                <a:moveTo>
                  <a:pt x="805" y="54"/>
                </a:moveTo>
                <a:cubicBezTo>
                  <a:pt x="805" y="55"/>
                  <a:pt x="805" y="55"/>
                  <a:pt x="805" y="56"/>
                </a:cubicBezTo>
                <a:cubicBezTo>
                  <a:pt x="805" y="55"/>
                  <a:pt x="805" y="55"/>
                  <a:pt x="805" y="54"/>
                </a:cubicBezTo>
                <a:close/>
                <a:moveTo>
                  <a:pt x="1360" y="66"/>
                </a:moveTo>
                <a:cubicBezTo>
                  <a:pt x="1360" y="66"/>
                  <a:pt x="1361" y="66"/>
                  <a:pt x="1361" y="65"/>
                </a:cubicBezTo>
                <a:cubicBezTo>
                  <a:pt x="1360" y="65"/>
                  <a:pt x="1360" y="66"/>
                  <a:pt x="1360" y="66"/>
                </a:cubicBezTo>
                <a:close/>
                <a:moveTo>
                  <a:pt x="1729" y="65"/>
                </a:moveTo>
                <a:cubicBezTo>
                  <a:pt x="1728" y="65"/>
                  <a:pt x="1728" y="66"/>
                  <a:pt x="1728" y="66"/>
                </a:cubicBezTo>
                <a:cubicBezTo>
                  <a:pt x="1728" y="66"/>
                  <a:pt x="1728" y="66"/>
                  <a:pt x="1729" y="65"/>
                </a:cubicBezTo>
                <a:close/>
                <a:moveTo>
                  <a:pt x="1712" y="66"/>
                </a:moveTo>
                <a:cubicBezTo>
                  <a:pt x="1712" y="66"/>
                  <a:pt x="1713" y="66"/>
                  <a:pt x="1713" y="66"/>
                </a:cubicBezTo>
                <a:cubicBezTo>
                  <a:pt x="1712" y="66"/>
                  <a:pt x="1712" y="66"/>
                  <a:pt x="1712" y="66"/>
                </a:cubicBezTo>
                <a:close/>
                <a:moveTo>
                  <a:pt x="537" y="27"/>
                </a:moveTo>
                <a:cubicBezTo>
                  <a:pt x="537" y="26"/>
                  <a:pt x="537" y="26"/>
                  <a:pt x="537" y="25"/>
                </a:cubicBezTo>
                <a:cubicBezTo>
                  <a:pt x="537" y="26"/>
                  <a:pt x="537" y="26"/>
                  <a:pt x="537" y="27"/>
                </a:cubicBezTo>
                <a:close/>
                <a:moveTo>
                  <a:pt x="1358" y="68"/>
                </a:moveTo>
                <a:cubicBezTo>
                  <a:pt x="1359" y="67"/>
                  <a:pt x="1359" y="67"/>
                  <a:pt x="1359" y="67"/>
                </a:cubicBezTo>
                <a:cubicBezTo>
                  <a:pt x="1359" y="67"/>
                  <a:pt x="1358" y="67"/>
                  <a:pt x="1358" y="68"/>
                </a:cubicBezTo>
                <a:close/>
                <a:moveTo>
                  <a:pt x="1351" y="11"/>
                </a:moveTo>
                <a:cubicBezTo>
                  <a:pt x="1351" y="11"/>
                  <a:pt x="1351" y="11"/>
                  <a:pt x="1352" y="11"/>
                </a:cubicBezTo>
                <a:cubicBezTo>
                  <a:pt x="1351" y="11"/>
                  <a:pt x="1351" y="11"/>
                  <a:pt x="1351" y="11"/>
                </a:cubicBezTo>
                <a:close/>
                <a:moveTo>
                  <a:pt x="1542" y="68"/>
                </a:moveTo>
                <a:cubicBezTo>
                  <a:pt x="1542" y="68"/>
                  <a:pt x="1542" y="68"/>
                  <a:pt x="1543" y="67"/>
                </a:cubicBezTo>
                <a:cubicBezTo>
                  <a:pt x="1542" y="67"/>
                  <a:pt x="1542" y="68"/>
                  <a:pt x="1542" y="68"/>
                </a:cubicBezTo>
                <a:close/>
                <a:moveTo>
                  <a:pt x="1457" y="11"/>
                </a:moveTo>
                <a:cubicBezTo>
                  <a:pt x="1457" y="11"/>
                  <a:pt x="1458" y="11"/>
                  <a:pt x="1458" y="11"/>
                </a:cubicBezTo>
                <a:cubicBezTo>
                  <a:pt x="1458" y="11"/>
                  <a:pt x="1458" y="11"/>
                  <a:pt x="1457" y="11"/>
                </a:cubicBezTo>
                <a:close/>
                <a:moveTo>
                  <a:pt x="1660" y="68"/>
                </a:moveTo>
                <a:cubicBezTo>
                  <a:pt x="1660" y="68"/>
                  <a:pt x="1659" y="68"/>
                  <a:pt x="1659" y="67"/>
                </a:cubicBezTo>
                <a:cubicBezTo>
                  <a:pt x="1659" y="68"/>
                  <a:pt x="1659" y="68"/>
                  <a:pt x="1660" y="68"/>
                </a:cubicBezTo>
                <a:close/>
                <a:moveTo>
                  <a:pt x="1038" y="43"/>
                </a:moveTo>
                <a:cubicBezTo>
                  <a:pt x="1038" y="43"/>
                  <a:pt x="1038" y="42"/>
                  <a:pt x="1038" y="42"/>
                </a:cubicBezTo>
                <a:cubicBezTo>
                  <a:pt x="1038" y="42"/>
                  <a:pt x="1038" y="43"/>
                  <a:pt x="1038" y="43"/>
                </a:cubicBezTo>
                <a:close/>
                <a:moveTo>
                  <a:pt x="952" y="69"/>
                </a:moveTo>
                <a:cubicBezTo>
                  <a:pt x="952" y="69"/>
                  <a:pt x="952" y="68"/>
                  <a:pt x="952" y="68"/>
                </a:cubicBezTo>
                <a:cubicBezTo>
                  <a:pt x="952" y="68"/>
                  <a:pt x="951" y="69"/>
                  <a:pt x="952" y="69"/>
                </a:cubicBezTo>
                <a:close/>
                <a:moveTo>
                  <a:pt x="1373" y="68"/>
                </a:moveTo>
                <a:cubicBezTo>
                  <a:pt x="1372" y="68"/>
                  <a:pt x="1372" y="68"/>
                  <a:pt x="1372" y="68"/>
                </a:cubicBezTo>
                <a:cubicBezTo>
                  <a:pt x="1372" y="68"/>
                  <a:pt x="1373" y="68"/>
                  <a:pt x="1373" y="68"/>
                </a:cubicBezTo>
                <a:close/>
                <a:moveTo>
                  <a:pt x="1557" y="68"/>
                </a:moveTo>
                <a:cubicBezTo>
                  <a:pt x="1556" y="68"/>
                  <a:pt x="1556" y="68"/>
                  <a:pt x="1556" y="69"/>
                </a:cubicBezTo>
                <a:cubicBezTo>
                  <a:pt x="1556" y="69"/>
                  <a:pt x="1556" y="69"/>
                  <a:pt x="1557" y="68"/>
                </a:cubicBezTo>
                <a:close/>
                <a:moveTo>
                  <a:pt x="1356" y="69"/>
                </a:moveTo>
                <a:cubicBezTo>
                  <a:pt x="1357" y="69"/>
                  <a:pt x="1357" y="69"/>
                  <a:pt x="1357" y="68"/>
                </a:cubicBezTo>
                <a:cubicBezTo>
                  <a:pt x="1357" y="68"/>
                  <a:pt x="1356" y="69"/>
                  <a:pt x="1356" y="69"/>
                </a:cubicBezTo>
                <a:close/>
                <a:moveTo>
                  <a:pt x="1423" y="12"/>
                </a:moveTo>
                <a:cubicBezTo>
                  <a:pt x="1424" y="12"/>
                  <a:pt x="1424" y="11"/>
                  <a:pt x="1424" y="11"/>
                </a:cubicBezTo>
                <a:cubicBezTo>
                  <a:pt x="1424" y="11"/>
                  <a:pt x="1423" y="11"/>
                  <a:pt x="1423" y="12"/>
                </a:cubicBezTo>
                <a:close/>
                <a:moveTo>
                  <a:pt x="692" y="69"/>
                </a:moveTo>
                <a:cubicBezTo>
                  <a:pt x="692" y="69"/>
                  <a:pt x="693" y="69"/>
                  <a:pt x="693" y="70"/>
                </a:cubicBezTo>
                <a:cubicBezTo>
                  <a:pt x="693" y="69"/>
                  <a:pt x="692" y="69"/>
                  <a:pt x="692" y="69"/>
                </a:cubicBezTo>
                <a:close/>
                <a:moveTo>
                  <a:pt x="1540" y="70"/>
                </a:moveTo>
                <a:cubicBezTo>
                  <a:pt x="1540" y="70"/>
                  <a:pt x="1540" y="70"/>
                  <a:pt x="1541" y="69"/>
                </a:cubicBezTo>
                <a:cubicBezTo>
                  <a:pt x="1540" y="69"/>
                  <a:pt x="1540" y="69"/>
                  <a:pt x="1540" y="70"/>
                </a:cubicBezTo>
                <a:close/>
                <a:moveTo>
                  <a:pt x="1708" y="70"/>
                </a:moveTo>
                <a:cubicBezTo>
                  <a:pt x="1708" y="70"/>
                  <a:pt x="1709" y="70"/>
                  <a:pt x="1709" y="69"/>
                </a:cubicBezTo>
                <a:cubicBezTo>
                  <a:pt x="1708" y="69"/>
                  <a:pt x="1708" y="69"/>
                  <a:pt x="1708" y="70"/>
                </a:cubicBezTo>
                <a:close/>
                <a:moveTo>
                  <a:pt x="1367" y="72"/>
                </a:moveTo>
                <a:cubicBezTo>
                  <a:pt x="1367" y="72"/>
                  <a:pt x="1366" y="72"/>
                  <a:pt x="1366" y="73"/>
                </a:cubicBezTo>
                <a:cubicBezTo>
                  <a:pt x="1367" y="73"/>
                  <a:pt x="1367" y="72"/>
                  <a:pt x="1367" y="72"/>
                </a:cubicBezTo>
                <a:close/>
                <a:moveTo>
                  <a:pt x="868" y="45"/>
                </a:moveTo>
                <a:cubicBezTo>
                  <a:pt x="868" y="46"/>
                  <a:pt x="868" y="46"/>
                  <a:pt x="868" y="46"/>
                </a:cubicBezTo>
                <a:cubicBezTo>
                  <a:pt x="868" y="46"/>
                  <a:pt x="868" y="46"/>
                  <a:pt x="869" y="46"/>
                </a:cubicBezTo>
                <a:cubicBezTo>
                  <a:pt x="868" y="45"/>
                  <a:pt x="868" y="45"/>
                  <a:pt x="868" y="45"/>
                </a:cubicBezTo>
                <a:close/>
                <a:moveTo>
                  <a:pt x="1740" y="11"/>
                </a:moveTo>
                <a:cubicBezTo>
                  <a:pt x="1741" y="11"/>
                  <a:pt x="1741" y="12"/>
                  <a:pt x="1741" y="12"/>
                </a:cubicBezTo>
                <a:cubicBezTo>
                  <a:pt x="1741" y="11"/>
                  <a:pt x="1741" y="11"/>
                  <a:pt x="1740" y="11"/>
                </a:cubicBezTo>
                <a:close/>
                <a:moveTo>
                  <a:pt x="912" y="50"/>
                </a:moveTo>
                <a:cubicBezTo>
                  <a:pt x="912" y="50"/>
                  <a:pt x="912" y="51"/>
                  <a:pt x="912" y="51"/>
                </a:cubicBezTo>
                <a:cubicBezTo>
                  <a:pt x="912" y="51"/>
                  <a:pt x="912" y="50"/>
                  <a:pt x="912" y="50"/>
                </a:cubicBezTo>
                <a:close/>
                <a:moveTo>
                  <a:pt x="1551" y="72"/>
                </a:moveTo>
                <a:cubicBezTo>
                  <a:pt x="1551" y="72"/>
                  <a:pt x="1550" y="73"/>
                  <a:pt x="1550" y="73"/>
                </a:cubicBezTo>
                <a:cubicBezTo>
                  <a:pt x="1551" y="73"/>
                  <a:pt x="1551" y="73"/>
                  <a:pt x="1551" y="72"/>
                </a:cubicBezTo>
                <a:close/>
                <a:moveTo>
                  <a:pt x="1389" y="11"/>
                </a:moveTo>
                <a:cubicBezTo>
                  <a:pt x="1389" y="12"/>
                  <a:pt x="1389" y="12"/>
                  <a:pt x="1389" y="12"/>
                </a:cubicBezTo>
                <a:cubicBezTo>
                  <a:pt x="1389" y="12"/>
                  <a:pt x="1389" y="11"/>
                  <a:pt x="1389" y="11"/>
                </a:cubicBezTo>
                <a:close/>
                <a:moveTo>
                  <a:pt x="1719" y="72"/>
                </a:moveTo>
                <a:cubicBezTo>
                  <a:pt x="1719" y="72"/>
                  <a:pt x="1718" y="73"/>
                  <a:pt x="1718" y="73"/>
                </a:cubicBezTo>
                <a:cubicBezTo>
                  <a:pt x="1719" y="73"/>
                  <a:pt x="1719" y="73"/>
                  <a:pt x="1719" y="72"/>
                </a:cubicBezTo>
                <a:close/>
                <a:moveTo>
                  <a:pt x="1296" y="36"/>
                </a:moveTo>
                <a:cubicBezTo>
                  <a:pt x="1296" y="36"/>
                  <a:pt x="1296" y="36"/>
                  <a:pt x="1297" y="36"/>
                </a:cubicBezTo>
                <a:cubicBezTo>
                  <a:pt x="1296" y="36"/>
                  <a:pt x="1296" y="36"/>
                  <a:pt x="1296" y="36"/>
                </a:cubicBezTo>
                <a:close/>
                <a:moveTo>
                  <a:pt x="1469" y="73"/>
                </a:moveTo>
                <a:cubicBezTo>
                  <a:pt x="1469" y="73"/>
                  <a:pt x="1469" y="74"/>
                  <a:pt x="1469" y="74"/>
                </a:cubicBezTo>
                <a:cubicBezTo>
                  <a:pt x="1469" y="74"/>
                  <a:pt x="1469" y="73"/>
                  <a:pt x="1469" y="73"/>
                </a:cubicBezTo>
                <a:close/>
                <a:moveTo>
                  <a:pt x="963" y="45"/>
                </a:moveTo>
                <a:cubicBezTo>
                  <a:pt x="963" y="46"/>
                  <a:pt x="963" y="46"/>
                  <a:pt x="963" y="47"/>
                </a:cubicBezTo>
                <a:cubicBezTo>
                  <a:pt x="964" y="46"/>
                  <a:pt x="963" y="46"/>
                  <a:pt x="963" y="45"/>
                </a:cubicBezTo>
                <a:close/>
                <a:moveTo>
                  <a:pt x="687" y="43"/>
                </a:moveTo>
                <a:cubicBezTo>
                  <a:pt x="687" y="42"/>
                  <a:pt x="686" y="42"/>
                  <a:pt x="686" y="42"/>
                </a:cubicBezTo>
                <a:cubicBezTo>
                  <a:pt x="686" y="43"/>
                  <a:pt x="687" y="43"/>
                  <a:pt x="687" y="43"/>
                </a:cubicBezTo>
                <a:close/>
                <a:moveTo>
                  <a:pt x="545" y="12"/>
                </a:moveTo>
                <a:cubicBezTo>
                  <a:pt x="546" y="12"/>
                  <a:pt x="546" y="12"/>
                  <a:pt x="546" y="12"/>
                </a:cubicBezTo>
                <a:cubicBezTo>
                  <a:pt x="546" y="12"/>
                  <a:pt x="546" y="12"/>
                  <a:pt x="545" y="12"/>
                </a:cubicBezTo>
                <a:close/>
                <a:moveTo>
                  <a:pt x="1549" y="74"/>
                </a:moveTo>
                <a:cubicBezTo>
                  <a:pt x="1549" y="74"/>
                  <a:pt x="1549" y="74"/>
                  <a:pt x="1548" y="74"/>
                </a:cubicBezTo>
                <a:cubicBezTo>
                  <a:pt x="1549" y="74"/>
                  <a:pt x="1549" y="74"/>
                  <a:pt x="1549" y="74"/>
                </a:cubicBezTo>
                <a:close/>
                <a:moveTo>
                  <a:pt x="1411" y="75"/>
                </a:moveTo>
                <a:cubicBezTo>
                  <a:pt x="1411" y="75"/>
                  <a:pt x="1411" y="74"/>
                  <a:pt x="1411" y="74"/>
                </a:cubicBezTo>
                <a:cubicBezTo>
                  <a:pt x="1411" y="74"/>
                  <a:pt x="1411" y="75"/>
                  <a:pt x="1411" y="75"/>
                </a:cubicBezTo>
                <a:close/>
                <a:moveTo>
                  <a:pt x="1364" y="75"/>
                </a:moveTo>
                <a:cubicBezTo>
                  <a:pt x="1363" y="75"/>
                  <a:pt x="1363" y="75"/>
                  <a:pt x="1363" y="75"/>
                </a:cubicBezTo>
                <a:cubicBezTo>
                  <a:pt x="1363" y="75"/>
                  <a:pt x="1364" y="75"/>
                  <a:pt x="1364" y="75"/>
                </a:cubicBezTo>
                <a:close/>
                <a:moveTo>
                  <a:pt x="835" y="37"/>
                </a:moveTo>
                <a:cubicBezTo>
                  <a:pt x="836" y="37"/>
                  <a:pt x="836" y="36"/>
                  <a:pt x="836" y="36"/>
                </a:cubicBezTo>
                <a:cubicBezTo>
                  <a:pt x="836" y="36"/>
                  <a:pt x="835" y="36"/>
                  <a:pt x="835" y="37"/>
                </a:cubicBezTo>
                <a:close/>
                <a:moveTo>
                  <a:pt x="1534" y="76"/>
                </a:moveTo>
                <a:cubicBezTo>
                  <a:pt x="1534" y="76"/>
                  <a:pt x="1534" y="76"/>
                  <a:pt x="1534" y="75"/>
                </a:cubicBezTo>
                <a:cubicBezTo>
                  <a:pt x="1534" y="75"/>
                  <a:pt x="1534" y="76"/>
                  <a:pt x="1534" y="76"/>
                </a:cubicBezTo>
                <a:close/>
                <a:moveTo>
                  <a:pt x="972" y="27"/>
                </a:moveTo>
                <a:cubicBezTo>
                  <a:pt x="972" y="27"/>
                  <a:pt x="972" y="28"/>
                  <a:pt x="971" y="28"/>
                </a:cubicBezTo>
                <a:cubicBezTo>
                  <a:pt x="972" y="28"/>
                  <a:pt x="972" y="28"/>
                  <a:pt x="972" y="27"/>
                </a:cubicBezTo>
                <a:close/>
                <a:moveTo>
                  <a:pt x="876" y="37"/>
                </a:moveTo>
                <a:cubicBezTo>
                  <a:pt x="877" y="37"/>
                  <a:pt x="877" y="36"/>
                  <a:pt x="877" y="36"/>
                </a:cubicBezTo>
                <a:cubicBezTo>
                  <a:pt x="877" y="36"/>
                  <a:pt x="876" y="36"/>
                  <a:pt x="876" y="37"/>
                </a:cubicBezTo>
                <a:close/>
                <a:moveTo>
                  <a:pt x="1702" y="76"/>
                </a:moveTo>
                <a:cubicBezTo>
                  <a:pt x="1702" y="76"/>
                  <a:pt x="1702" y="76"/>
                  <a:pt x="1703" y="75"/>
                </a:cubicBezTo>
                <a:cubicBezTo>
                  <a:pt x="1702" y="75"/>
                  <a:pt x="1702" y="76"/>
                  <a:pt x="1702" y="76"/>
                </a:cubicBezTo>
                <a:close/>
                <a:moveTo>
                  <a:pt x="1411" y="77"/>
                </a:moveTo>
                <a:cubicBezTo>
                  <a:pt x="1412" y="77"/>
                  <a:pt x="1412" y="76"/>
                  <a:pt x="1411" y="76"/>
                </a:cubicBezTo>
                <a:cubicBezTo>
                  <a:pt x="1411" y="76"/>
                  <a:pt x="1411" y="77"/>
                  <a:pt x="1411" y="77"/>
                </a:cubicBezTo>
                <a:close/>
                <a:moveTo>
                  <a:pt x="1570" y="28"/>
                </a:moveTo>
                <a:cubicBezTo>
                  <a:pt x="1570" y="28"/>
                  <a:pt x="1570" y="27"/>
                  <a:pt x="1570" y="27"/>
                </a:cubicBezTo>
                <a:cubicBezTo>
                  <a:pt x="1570" y="27"/>
                  <a:pt x="1570" y="28"/>
                  <a:pt x="1570" y="28"/>
                </a:cubicBezTo>
                <a:close/>
                <a:moveTo>
                  <a:pt x="1738" y="28"/>
                </a:moveTo>
                <a:cubicBezTo>
                  <a:pt x="1738" y="28"/>
                  <a:pt x="1738" y="27"/>
                  <a:pt x="1738" y="27"/>
                </a:cubicBezTo>
                <a:cubicBezTo>
                  <a:pt x="1738" y="27"/>
                  <a:pt x="1738" y="28"/>
                  <a:pt x="1738" y="28"/>
                </a:cubicBezTo>
                <a:close/>
                <a:moveTo>
                  <a:pt x="1041" y="76"/>
                </a:moveTo>
                <a:cubicBezTo>
                  <a:pt x="1041" y="77"/>
                  <a:pt x="1041" y="77"/>
                  <a:pt x="1041" y="78"/>
                </a:cubicBezTo>
                <a:cubicBezTo>
                  <a:pt x="1041" y="77"/>
                  <a:pt x="1042" y="77"/>
                  <a:pt x="1041" y="76"/>
                </a:cubicBezTo>
                <a:close/>
                <a:moveTo>
                  <a:pt x="1111" y="43"/>
                </a:moveTo>
                <a:cubicBezTo>
                  <a:pt x="1112" y="43"/>
                  <a:pt x="1112" y="43"/>
                  <a:pt x="1112" y="42"/>
                </a:cubicBezTo>
                <a:cubicBezTo>
                  <a:pt x="1112" y="43"/>
                  <a:pt x="1111" y="43"/>
                  <a:pt x="1111" y="43"/>
                </a:cubicBezTo>
                <a:close/>
                <a:moveTo>
                  <a:pt x="1219" y="77"/>
                </a:moveTo>
                <a:cubicBezTo>
                  <a:pt x="1219" y="77"/>
                  <a:pt x="1219" y="78"/>
                  <a:pt x="1219" y="78"/>
                </a:cubicBezTo>
                <a:cubicBezTo>
                  <a:pt x="1219" y="78"/>
                  <a:pt x="1219" y="77"/>
                  <a:pt x="1219" y="77"/>
                </a:cubicBezTo>
                <a:close/>
                <a:moveTo>
                  <a:pt x="1412" y="79"/>
                </a:moveTo>
                <a:cubicBezTo>
                  <a:pt x="1412" y="78"/>
                  <a:pt x="1412" y="78"/>
                  <a:pt x="1411" y="77"/>
                </a:cubicBezTo>
                <a:cubicBezTo>
                  <a:pt x="1412" y="78"/>
                  <a:pt x="1411" y="78"/>
                  <a:pt x="1412" y="79"/>
                </a:cubicBezTo>
                <a:close/>
                <a:moveTo>
                  <a:pt x="686" y="78"/>
                </a:moveTo>
                <a:cubicBezTo>
                  <a:pt x="685" y="78"/>
                  <a:pt x="685" y="78"/>
                  <a:pt x="685" y="77"/>
                </a:cubicBezTo>
                <a:cubicBezTo>
                  <a:pt x="685" y="78"/>
                  <a:pt x="685" y="78"/>
                  <a:pt x="686" y="78"/>
                </a:cubicBezTo>
                <a:close/>
                <a:moveTo>
                  <a:pt x="1134" y="43"/>
                </a:moveTo>
                <a:cubicBezTo>
                  <a:pt x="1133" y="42"/>
                  <a:pt x="1133" y="42"/>
                  <a:pt x="1132" y="42"/>
                </a:cubicBezTo>
                <a:cubicBezTo>
                  <a:pt x="1133" y="43"/>
                  <a:pt x="1133" y="43"/>
                  <a:pt x="1134" y="43"/>
                </a:cubicBezTo>
                <a:close/>
                <a:moveTo>
                  <a:pt x="748" y="79"/>
                </a:moveTo>
                <a:cubicBezTo>
                  <a:pt x="748" y="78"/>
                  <a:pt x="748" y="78"/>
                  <a:pt x="748" y="77"/>
                </a:cubicBezTo>
                <a:cubicBezTo>
                  <a:pt x="748" y="78"/>
                  <a:pt x="747" y="78"/>
                  <a:pt x="748" y="79"/>
                </a:cubicBezTo>
                <a:close/>
                <a:moveTo>
                  <a:pt x="1030" y="80"/>
                </a:moveTo>
                <a:cubicBezTo>
                  <a:pt x="1030" y="79"/>
                  <a:pt x="1030" y="79"/>
                  <a:pt x="1030" y="78"/>
                </a:cubicBezTo>
                <a:cubicBezTo>
                  <a:pt x="1030" y="79"/>
                  <a:pt x="1030" y="79"/>
                  <a:pt x="1030" y="80"/>
                </a:cubicBezTo>
                <a:close/>
                <a:moveTo>
                  <a:pt x="1215" y="43"/>
                </a:moveTo>
                <a:cubicBezTo>
                  <a:pt x="1216" y="43"/>
                  <a:pt x="1216" y="43"/>
                  <a:pt x="1216" y="42"/>
                </a:cubicBezTo>
                <a:cubicBezTo>
                  <a:pt x="1215" y="42"/>
                  <a:pt x="1215" y="43"/>
                  <a:pt x="1215" y="43"/>
                </a:cubicBezTo>
                <a:close/>
                <a:moveTo>
                  <a:pt x="1411" y="38"/>
                </a:moveTo>
                <a:cubicBezTo>
                  <a:pt x="1411" y="37"/>
                  <a:pt x="1411" y="37"/>
                  <a:pt x="1411" y="36"/>
                </a:cubicBezTo>
                <a:cubicBezTo>
                  <a:pt x="1411" y="36"/>
                  <a:pt x="1411" y="37"/>
                  <a:pt x="1411" y="38"/>
                </a:cubicBezTo>
                <a:close/>
                <a:moveTo>
                  <a:pt x="1208" y="80"/>
                </a:moveTo>
                <a:cubicBezTo>
                  <a:pt x="1208" y="79"/>
                  <a:pt x="1208" y="79"/>
                  <a:pt x="1208" y="78"/>
                </a:cubicBezTo>
                <a:cubicBezTo>
                  <a:pt x="1208" y="79"/>
                  <a:pt x="1208" y="80"/>
                  <a:pt x="1208" y="80"/>
                </a:cubicBezTo>
                <a:close/>
                <a:moveTo>
                  <a:pt x="1543" y="79"/>
                </a:moveTo>
                <a:cubicBezTo>
                  <a:pt x="1543" y="79"/>
                  <a:pt x="1542" y="80"/>
                  <a:pt x="1542" y="80"/>
                </a:cubicBezTo>
                <a:cubicBezTo>
                  <a:pt x="1543" y="80"/>
                  <a:pt x="1543" y="80"/>
                  <a:pt x="1543" y="79"/>
                </a:cubicBezTo>
                <a:close/>
                <a:moveTo>
                  <a:pt x="1711" y="79"/>
                </a:moveTo>
                <a:cubicBezTo>
                  <a:pt x="1711" y="79"/>
                  <a:pt x="1711" y="80"/>
                  <a:pt x="1710" y="80"/>
                </a:cubicBezTo>
                <a:cubicBezTo>
                  <a:pt x="1711" y="80"/>
                  <a:pt x="1711" y="80"/>
                  <a:pt x="1711" y="79"/>
                </a:cubicBezTo>
                <a:close/>
                <a:moveTo>
                  <a:pt x="971" y="29"/>
                </a:moveTo>
                <a:cubicBezTo>
                  <a:pt x="970" y="29"/>
                  <a:pt x="970" y="29"/>
                  <a:pt x="970" y="30"/>
                </a:cubicBezTo>
                <a:cubicBezTo>
                  <a:pt x="971" y="30"/>
                  <a:pt x="971" y="29"/>
                  <a:pt x="971" y="29"/>
                </a:cubicBezTo>
                <a:close/>
                <a:moveTo>
                  <a:pt x="1087" y="55"/>
                </a:moveTo>
                <a:cubicBezTo>
                  <a:pt x="1087" y="56"/>
                  <a:pt x="1087" y="56"/>
                  <a:pt x="1087" y="57"/>
                </a:cubicBezTo>
                <a:cubicBezTo>
                  <a:pt x="1087" y="56"/>
                  <a:pt x="1088" y="56"/>
                  <a:pt x="1087" y="55"/>
                </a:cubicBezTo>
                <a:close/>
                <a:moveTo>
                  <a:pt x="970" y="81"/>
                </a:moveTo>
                <a:cubicBezTo>
                  <a:pt x="971" y="81"/>
                  <a:pt x="971" y="82"/>
                  <a:pt x="971" y="82"/>
                </a:cubicBezTo>
                <a:cubicBezTo>
                  <a:pt x="971" y="81"/>
                  <a:pt x="971" y="81"/>
                  <a:pt x="970" y="81"/>
                </a:cubicBezTo>
                <a:close/>
                <a:moveTo>
                  <a:pt x="589" y="83"/>
                </a:moveTo>
                <a:cubicBezTo>
                  <a:pt x="589" y="83"/>
                  <a:pt x="589" y="84"/>
                  <a:pt x="589" y="84"/>
                </a:cubicBezTo>
                <a:cubicBezTo>
                  <a:pt x="589" y="84"/>
                  <a:pt x="589" y="83"/>
                  <a:pt x="589" y="83"/>
                </a:cubicBezTo>
                <a:close/>
                <a:moveTo>
                  <a:pt x="975" y="85"/>
                </a:moveTo>
                <a:cubicBezTo>
                  <a:pt x="975" y="86"/>
                  <a:pt x="975" y="86"/>
                  <a:pt x="976" y="86"/>
                </a:cubicBezTo>
                <a:cubicBezTo>
                  <a:pt x="976" y="86"/>
                  <a:pt x="975" y="86"/>
                  <a:pt x="975" y="85"/>
                </a:cubicBezTo>
                <a:close/>
                <a:moveTo>
                  <a:pt x="1675" y="12"/>
                </a:moveTo>
                <a:cubicBezTo>
                  <a:pt x="1675" y="13"/>
                  <a:pt x="1675" y="13"/>
                  <a:pt x="1676" y="13"/>
                </a:cubicBezTo>
                <a:cubicBezTo>
                  <a:pt x="1676" y="13"/>
                  <a:pt x="1675" y="12"/>
                  <a:pt x="1675" y="12"/>
                </a:cubicBezTo>
                <a:close/>
                <a:moveTo>
                  <a:pt x="1223" y="86"/>
                </a:moveTo>
                <a:cubicBezTo>
                  <a:pt x="1223" y="86"/>
                  <a:pt x="1223" y="87"/>
                  <a:pt x="1224" y="87"/>
                </a:cubicBezTo>
                <a:cubicBezTo>
                  <a:pt x="1224" y="86"/>
                  <a:pt x="1223" y="86"/>
                  <a:pt x="1223" y="86"/>
                </a:cubicBezTo>
                <a:close/>
                <a:moveTo>
                  <a:pt x="718" y="97"/>
                </a:moveTo>
                <a:cubicBezTo>
                  <a:pt x="718" y="97"/>
                  <a:pt x="718" y="97"/>
                  <a:pt x="717" y="96"/>
                </a:cubicBezTo>
                <a:cubicBezTo>
                  <a:pt x="717" y="97"/>
                  <a:pt x="718" y="97"/>
                  <a:pt x="718" y="97"/>
                </a:cubicBezTo>
                <a:close/>
                <a:moveTo>
                  <a:pt x="1143" y="55"/>
                </a:moveTo>
                <a:cubicBezTo>
                  <a:pt x="1143" y="55"/>
                  <a:pt x="1143" y="54"/>
                  <a:pt x="1143" y="54"/>
                </a:cubicBezTo>
                <a:cubicBezTo>
                  <a:pt x="1143" y="54"/>
                  <a:pt x="1143" y="55"/>
                  <a:pt x="1143" y="55"/>
                </a:cubicBezTo>
                <a:close/>
                <a:moveTo>
                  <a:pt x="880" y="44"/>
                </a:moveTo>
                <a:cubicBezTo>
                  <a:pt x="879" y="44"/>
                  <a:pt x="879" y="44"/>
                  <a:pt x="879" y="45"/>
                </a:cubicBezTo>
                <a:cubicBezTo>
                  <a:pt x="879" y="45"/>
                  <a:pt x="879" y="45"/>
                  <a:pt x="880" y="44"/>
                </a:cubicBezTo>
                <a:close/>
                <a:moveTo>
                  <a:pt x="1348" y="14"/>
                </a:moveTo>
                <a:cubicBezTo>
                  <a:pt x="1348" y="13"/>
                  <a:pt x="1349" y="13"/>
                  <a:pt x="1349" y="13"/>
                </a:cubicBezTo>
                <a:cubicBezTo>
                  <a:pt x="1348" y="13"/>
                  <a:pt x="1348" y="13"/>
                  <a:pt x="1348" y="14"/>
                </a:cubicBezTo>
                <a:close/>
                <a:moveTo>
                  <a:pt x="1344" y="88"/>
                </a:moveTo>
                <a:cubicBezTo>
                  <a:pt x="1344" y="88"/>
                  <a:pt x="1344" y="87"/>
                  <a:pt x="1344" y="87"/>
                </a:cubicBezTo>
                <a:cubicBezTo>
                  <a:pt x="1343" y="87"/>
                  <a:pt x="1344" y="87"/>
                  <a:pt x="1344" y="88"/>
                </a:cubicBezTo>
                <a:close/>
                <a:moveTo>
                  <a:pt x="658" y="88"/>
                </a:moveTo>
                <a:cubicBezTo>
                  <a:pt x="659" y="88"/>
                  <a:pt x="659" y="88"/>
                  <a:pt x="659" y="88"/>
                </a:cubicBezTo>
                <a:cubicBezTo>
                  <a:pt x="659" y="88"/>
                  <a:pt x="659" y="87"/>
                  <a:pt x="658" y="88"/>
                </a:cubicBezTo>
                <a:close/>
                <a:moveTo>
                  <a:pt x="1355" y="87"/>
                </a:moveTo>
                <a:cubicBezTo>
                  <a:pt x="1354" y="88"/>
                  <a:pt x="1354" y="88"/>
                  <a:pt x="1354" y="89"/>
                </a:cubicBezTo>
                <a:cubicBezTo>
                  <a:pt x="1355" y="88"/>
                  <a:pt x="1355" y="88"/>
                  <a:pt x="1355" y="87"/>
                </a:cubicBezTo>
                <a:close/>
                <a:moveTo>
                  <a:pt x="1557" y="56"/>
                </a:moveTo>
                <a:cubicBezTo>
                  <a:pt x="1557" y="56"/>
                  <a:pt x="1558" y="56"/>
                  <a:pt x="1558" y="56"/>
                </a:cubicBezTo>
                <a:cubicBezTo>
                  <a:pt x="1558" y="56"/>
                  <a:pt x="1557" y="56"/>
                  <a:pt x="1557" y="56"/>
                </a:cubicBezTo>
                <a:close/>
                <a:moveTo>
                  <a:pt x="660" y="88"/>
                </a:moveTo>
                <a:cubicBezTo>
                  <a:pt x="660" y="89"/>
                  <a:pt x="660" y="89"/>
                  <a:pt x="661" y="89"/>
                </a:cubicBezTo>
                <a:cubicBezTo>
                  <a:pt x="660" y="89"/>
                  <a:pt x="660" y="88"/>
                  <a:pt x="660" y="88"/>
                </a:cubicBezTo>
                <a:close/>
                <a:moveTo>
                  <a:pt x="962" y="89"/>
                </a:moveTo>
                <a:cubicBezTo>
                  <a:pt x="962" y="89"/>
                  <a:pt x="961" y="89"/>
                  <a:pt x="961" y="88"/>
                </a:cubicBezTo>
                <a:cubicBezTo>
                  <a:pt x="961" y="89"/>
                  <a:pt x="961" y="89"/>
                  <a:pt x="962" y="89"/>
                </a:cubicBezTo>
                <a:close/>
                <a:moveTo>
                  <a:pt x="1343" y="90"/>
                </a:moveTo>
                <a:cubicBezTo>
                  <a:pt x="1344" y="89"/>
                  <a:pt x="1344" y="89"/>
                  <a:pt x="1344" y="88"/>
                </a:cubicBezTo>
                <a:cubicBezTo>
                  <a:pt x="1343" y="89"/>
                  <a:pt x="1343" y="89"/>
                  <a:pt x="1343" y="90"/>
                </a:cubicBezTo>
                <a:close/>
                <a:moveTo>
                  <a:pt x="1570" y="38"/>
                </a:moveTo>
                <a:cubicBezTo>
                  <a:pt x="1570" y="37"/>
                  <a:pt x="1570" y="37"/>
                  <a:pt x="1570" y="36"/>
                </a:cubicBezTo>
                <a:cubicBezTo>
                  <a:pt x="1570" y="37"/>
                  <a:pt x="1570" y="37"/>
                  <a:pt x="1570" y="38"/>
                </a:cubicBezTo>
                <a:close/>
                <a:moveTo>
                  <a:pt x="1265" y="56"/>
                </a:moveTo>
                <a:cubicBezTo>
                  <a:pt x="1265" y="56"/>
                  <a:pt x="1265" y="57"/>
                  <a:pt x="1265" y="57"/>
                </a:cubicBezTo>
                <a:cubicBezTo>
                  <a:pt x="1265" y="57"/>
                  <a:pt x="1265" y="56"/>
                  <a:pt x="1265" y="56"/>
                </a:cubicBezTo>
                <a:close/>
                <a:moveTo>
                  <a:pt x="1738" y="38"/>
                </a:moveTo>
                <a:cubicBezTo>
                  <a:pt x="1738" y="37"/>
                  <a:pt x="1738" y="37"/>
                  <a:pt x="1738" y="36"/>
                </a:cubicBezTo>
                <a:cubicBezTo>
                  <a:pt x="1738" y="37"/>
                  <a:pt x="1738" y="37"/>
                  <a:pt x="1738" y="38"/>
                </a:cubicBezTo>
                <a:close/>
                <a:moveTo>
                  <a:pt x="1469" y="31"/>
                </a:moveTo>
                <a:cubicBezTo>
                  <a:pt x="1469" y="31"/>
                  <a:pt x="1469" y="32"/>
                  <a:pt x="1469" y="32"/>
                </a:cubicBezTo>
                <a:cubicBezTo>
                  <a:pt x="1469" y="32"/>
                  <a:pt x="1469" y="31"/>
                  <a:pt x="1469" y="31"/>
                </a:cubicBezTo>
                <a:close/>
                <a:moveTo>
                  <a:pt x="623" y="89"/>
                </a:moveTo>
                <a:cubicBezTo>
                  <a:pt x="623" y="89"/>
                  <a:pt x="623" y="89"/>
                  <a:pt x="624" y="90"/>
                </a:cubicBezTo>
                <a:cubicBezTo>
                  <a:pt x="624" y="90"/>
                  <a:pt x="624" y="90"/>
                  <a:pt x="624" y="89"/>
                </a:cubicBezTo>
                <a:cubicBezTo>
                  <a:pt x="624" y="89"/>
                  <a:pt x="624" y="89"/>
                  <a:pt x="623" y="89"/>
                </a:cubicBezTo>
                <a:close/>
                <a:moveTo>
                  <a:pt x="554" y="20"/>
                </a:moveTo>
                <a:cubicBezTo>
                  <a:pt x="553" y="20"/>
                  <a:pt x="553" y="20"/>
                  <a:pt x="553" y="20"/>
                </a:cubicBezTo>
                <a:cubicBezTo>
                  <a:pt x="553" y="20"/>
                  <a:pt x="554" y="20"/>
                  <a:pt x="554" y="20"/>
                </a:cubicBezTo>
                <a:close/>
                <a:moveTo>
                  <a:pt x="1175" y="91"/>
                </a:moveTo>
                <a:cubicBezTo>
                  <a:pt x="1175" y="90"/>
                  <a:pt x="1175" y="90"/>
                  <a:pt x="1175" y="89"/>
                </a:cubicBezTo>
                <a:cubicBezTo>
                  <a:pt x="1175" y="90"/>
                  <a:pt x="1175" y="90"/>
                  <a:pt x="1175" y="91"/>
                </a:cubicBezTo>
                <a:close/>
                <a:moveTo>
                  <a:pt x="1226" y="89"/>
                </a:moveTo>
                <a:cubicBezTo>
                  <a:pt x="1226" y="90"/>
                  <a:pt x="1227" y="90"/>
                  <a:pt x="1227" y="90"/>
                </a:cubicBezTo>
                <a:cubicBezTo>
                  <a:pt x="1227" y="90"/>
                  <a:pt x="1226" y="89"/>
                  <a:pt x="1226" y="89"/>
                </a:cubicBezTo>
                <a:close/>
                <a:moveTo>
                  <a:pt x="1479" y="31"/>
                </a:moveTo>
                <a:cubicBezTo>
                  <a:pt x="1478" y="31"/>
                  <a:pt x="1478" y="31"/>
                  <a:pt x="1477" y="31"/>
                </a:cubicBezTo>
                <a:cubicBezTo>
                  <a:pt x="1478" y="32"/>
                  <a:pt x="1478" y="32"/>
                  <a:pt x="1479" y="31"/>
                </a:cubicBezTo>
                <a:close/>
                <a:moveTo>
                  <a:pt x="555" y="43"/>
                </a:moveTo>
                <a:cubicBezTo>
                  <a:pt x="555" y="43"/>
                  <a:pt x="556" y="44"/>
                  <a:pt x="556" y="44"/>
                </a:cubicBezTo>
                <a:cubicBezTo>
                  <a:pt x="556" y="43"/>
                  <a:pt x="556" y="43"/>
                  <a:pt x="555" y="43"/>
                </a:cubicBezTo>
                <a:close/>
                <a:moveTo>
                  <a:pt x="766" y="90"/>
                </a:moveTo>
                <a:cubicBezTo>
                  <a:pt x="767" y="90"/>
                  <a:pt x="767" y="90"/>
                  <a:pt x="767" y="90"/>
                </a:cubicBezTo>
                <a:cubicBezTo>
                  <a:pt x="767" y="90"/>
                  <a:pt x="767" y="90"/>
                  <a:pt x="766" y="90"/>
                </a:cubicBezTo>
                <a:close/>
                <a:moveTo>
                  <a:pt x="1355" y="20"/>
                </a:moveTo>
                <a:cubicBezTo>
                  <a:pt x="1354" y="20"/>
                  <a:pt x="1354" y="20"/>
                  <a:pt x="1354" y="20"/>
                </a:cubicBezTo>
                <a:cubicBezTo>
                  <a:pt x="1354" y="20"/>
                  <a:pt x="1355" y="20"/>
                  <a:pt x="1355" y="20"/>
                </a:cubicBezTo>
                <a:close/>
                <a:moveTo>
                  <a:pt x="575" y="56"/>
                </a:moveTo>
                <a:cubicBezTo>
                  <a:pt x="576" y="56"/>
                  <a:pt x="576" y="56"/>
                  <a:pt x="576" y="56"/>
                </a:cubicBezTo>
                <a:cubicBezTo>
                  <a:pt x="576" y="56"/>
                  <a:pt x="576" y="56"/>
                  <a:pt x="575" y="56"/>
                </a:cubicBezTo>
                <a:close/>
                <a:moveTo>
                  <a:pt x="727" y="90"/>
                </a:moveTo>
                <a:cubicBezTo>
                  <a:pt x="727" y="90"/>
                  <a:pt x="727" y="91"/>
                  <a:pt x="728" y="91"/>
                </a:cubicBezTo>
                <a:cubicBezTo>
                  <a:pt x="728" y="91"/>
                  <a:pt x="728" y="90"/>
                  <a:pt x="727" y="90"/>
                </a:cubicBezTo>
                <a:close/>
                <a:moveTo>
                  <a:pt x="753" y="91"/>
                </a:moveTo>
                <a:cubicBezTo>
                  <a:pt x="753" y="91"/>
                  <a:pt x="753" y="90"/>
                  <a:pt x="752" y="90"/>
                </a:cubicBezTo>
                <a:cubicBezTo>
                  <a:pt x="752" y="91"/>
                  <a:pt x="752" y="91"/>
                  <a:pt x="753" y="91"/>
                </a:cubicBezTo>
                <a:close/>
                <a:moveTo>
                  <a:pt x="755" y="44"/>
                </a:moveTo>
                <a:cubicBezTo>
                  <a:pt x="755" y="44"/>
                  <a:pt x="755" y="44"/>
                  <a:pt x="755" y="43"/>
                </a:cubicBezTo>
                <a:cubicBezTo>
                  <a:pt x="755" y="43"/>
                  <a:pt x="755" y="44"/>
                  <a:pt x="755" y="44"/>
                </a:cubicBezTo>
                <a:close/>
                <a:moveTo>
                  <a:pt x="1213" y="91"/>
                </a:moveTo>
                <a:cubicBezTo>
                  <a:pt x="1213" y="91"/>
                  <a:pt x="1213" y="91"/>
                  <a:pt x="1212" y="90"/>
                </a:cubicBezTo>
                <a:cubicBezTo>
                  <a:pt x="1212" y="91"/>
                  <a:pt x="1213" y="91"/>
                  <a:pt x="1213" y="91"/>
                </a:cubicBezTo>
                <a:close/>
                <a:moveTo>
                  <a:pt x="1412" y="34"/>
                </a:moveTo>
                <a:cubicBezTo>
                  <a:pt x="1412" y="34"/>
                  <a:pt x="1412" y="33"/>
                  <a:pt x="1412" y="33"/>
                </a:cubicBezTo>
                <a:cubicBezTo>
                  <a:pt x="1411" y="33"/>
                  <a:pt x="1412" y="34"/>
                  <a:pt x="1412" y="34"/>
                </a:cubicBezTo>
                <a:close/>
                <a:moveTo>
                  <a:pt x="1469" y="33"/>
                </a:moveTo>
                <a:cubicBezTo>
                  <a:pt x="1469" y="33"/>
                  <a:pt x="1469" y="34"/>
                  <a:pt x="1469" y="34"/>
                </a:cubicBezTo>
                <a:cubicBezTo>
                  <a:pt x="1469" y="34"/>
                  <a:pt x="1469" y="33"/>
                  <a:pt x="1469" y="33"/>
                </a:cubicBezTo>
                <a:close/>
                <a:moveTo>
                  <a:pt x="675" y="33"/>
                </a:moveTo>
                <a:cubicBezTo>
                  <a:pt x="676" y="33"/>
                  <a:pt x="676" y="33"/>
                  <a:pt x="677" y="33"/>
                </a:cubicBezTo>
                <a:cubicBezTo>
                  <a:pt x="676" y="33"/>
                  <a:pt x="676" y="33"/>
                  <a:pt x="675" y="33"/>
                </a:cubicBezTo>
                <a:close/>
                <a:moveTo>
                  <a:pt x="771" y="33"/>
                </a:moveTo>
                <a:cubicBezTo>
                  <a:pt x="772" y="33"/>
                  <a:pt x="772" y="33"/>
                  <a:pt x="773" y="33"/>
                </a:cubicBezTo>
                <a:cubicBezTo>
                  <a:pt x="772" y="33"/>
                  <a:pt x="772" y="33"/>
                  <a:pt x="771" y="33"/>
                </a:cubicBezTo>
                <a:close/>
                <a:moveTo>
                  <a:pt x="784" y="33"/>
                </a:moveTo>
                <a:cubicBezTo>
                  <a:pt x="784" y="33"/>
                  <a:pt x="785" y="33"/>
                  <a:pt x="785" y="33"/>
                </a:cubicBezTo>
                <a:cubicBezTo>
                  <a:pt x="785" y="33"/>
                  <a:pt x="784" y="33"/>
                  <a:pt x="784" y="33"/>
                </a:cubicBezTo>
                <a:close/>
                <a:moveTo>
                  <a:pt x="843" y="33"/>
                </a:moveTo>
                <a:cubicBezTo>
                  <a:pt x="843" y="33"/>
                  <a:pt x="844" y="33"/>
                  <a:pt x="844" y="33"/>
                </a:cubicBezTo>
                <a:cubicBezTo>
                  <a:pt x="844" y="33"/>
                  <a:pt x="843" y="33"/>
                  <a:pt x="843" y="33"/>
                </a:cubicBezTo>
                <a:close/>
                <a:moveTo>
                  <a:pt x="1154" y="49"/>
                </a:moveTo>
                <a:cubicBezTo>
                  <a:pt x="1154" y="50"/>
                  <a:pt x="1154" y="50"/>
                  <a:pt x="1154" y="51"/>
                </a:cubicBezTo>
                <a:cubicBezTo>
                  <a:pt x="1154" y="50"/>
                  <a:pt x="1154" y="50"/>
                  <a:pt x="1154" y="49"/>
                </a:cubicBezTo>
                <a:close/>
                <a:moveTo>
                  <a:pt x="1082" y="43"/>
                </a:moveTo>
                <a:cubicBezTo>
                  <a:pt x="1082" y="43"/>
                  <a:pt x="1082" y="44"/>
                  <a:pt x="1083" y="44"/>
                </a:cubicBezTo>
                <a:cubicBezTo>
                  <a:pt x="1083" y="44"/>
                  <a:pt x="1083" y="43"/>
                  <a:pt x="1082" y="43"/>
                </a:cubicBezTo>
                <a:close/>
                <a:moveTo>
                  <a:pt x="904" y="37"/>
                </a:moveTo>
                <a:cubicBezTo>
                  <a:pt x="905" y="37"/>
                  <a:pt x="905" y="37"/>
                  <a:pt x="905" y="38"/>
                </a:cubicBezTo>
                <a:cubicBezTo>
                  <a:pt x="905" y="37"/>
                  <a:pt x="905" y="37"/>
                  <a:pt x="904" y="37"/>
                </a:cubicBezTo>
                <a:close/>
                <a:moveTo>
                  <a:pt x="884" y="33"/>
                </a:moveTo>
                <a:cubicBezTo>
                  <a:pt x="884" y="33"/>
                  <a:pt x="885" y="33"/>
                  <a:pt x="885" y="33"/>
                </a:cubicBezTo>
                <a:cubicBezTo>
                  <a:pt x="885" y="33"/>
                  <a:pt x="884" y="33"/>
                  <a:pt x="884" y="33"/>
                </a:cubicBezTo>
                <a:close/>
                <a:moveTo>
                  <a:pt x="896" y="33"/>
                </a:moveTo>
                <a:cubicBezTo>
                  <a:pt x="896" y="33"/>
                  <a:pt x="896" y="33"/>
                  <a:pt x="897" y="33"/>
                </a:cubicBezTo>
                <a:cubicBezTo>
                  <a:pt x="897" y="33"/>
                  <a:pt x="896" y="33"/>
                  <a:pt x="896" y="33"/>
                </a:cubicBezTo>
                <a:close/>
                <a:moveTo>
                  <a:pt x="1463" y="90"/>
                </a:moveTo>
                <a:cubicBezTo>
                  <a:pt x="1462" y="91"/>
                  <a:pt x="1462" y="91"/>
                  <a:pt x="1462" y="91"/>
                </a:cubicBezTo>
                <a:cubicBezTo>
                  <a:pt x="1462" y="91"/>
                  <a:pt x="1463" y="91"/>
                  <a:pt x="1463" y="90"/>
                </a:cubicBezTo>
                <a:close/>
                <a:moveTo>
                  <a:pt x="754" y="92"/>
                </a:moveTo>
                <a:cubicBezTo>
                  <a:pt x="754" y="92"/>
                  <a:pt x="753" y="91"/>
                  <a:pt x="753" y="91"/>
                </a:cubicBezTo>
                <a:cubicBezTo>
                  <a:pt x="753" y="92"/>
                  <a:pt x="753" y="92"/>
                  <a:pt x="754" y="92"/>
                </a:cubicBezTo>
                <a:close/>
                <a:moveTo>
                  <a:pt x="1053" y="33"/>
                </a:moveTo>
                <a:cubicBezTo>
                  <a:pt x="1054" y="33"/>
                  <a:pt x="1054" y="33"/>
                  <a:pt x="1055" y="33"/>
                </a:cubicBezTo>
                <a:cubicBezTo>
                  <a:pt x="1054" y="33"/>
                  <a:pt x="1054" y="33"/>
                  <a:pt x="1053" y="33"/>
                </a:cubicBezTo>
                <a:close/>
                <a:moveTo>
                  <a:pt x="1066" y="33"/>
                </a:moveTo>
                <a:cubicBezTo>
                  <a:pt x="1066" y="33"/>
                  <a:pt x="1067" y="33"/>
                  <a:pt x="1067" y="33"/>
                </a:cubicBezTo>
                <a:cubicBezTo>
                  <a:pt x="1067" y="33"/>
                  <a:pt x="1066" y="33"/>
                  <a:pt x="1066" y="33"/>
                </a:cubicBezTo>
                <a:close/>
                <a:moveTo>
                  <a:pt x="1126" y="33"/>
                </a:moveTo>
                <a:cubicBezTo>
                  <a:pt x="1126" y="33"/>
                  <a:pt x="1127" y="33"/>
                  <a:pt x="1127" y="33"/>
                </a:cubicBezTo>
                <a:cubicBezTo>
                  <a:pt x="1127" y="33"/>
                  <a:pt x="1126" y="33"/>
                  <a:pt x="1126" y="33"/>
                </a:cubicBezTo>
                <a:close/>
                <a:moveTo>
                  <a:pt x="1137" y="33"/>
                </a:moveTo>
                <a:cubicBezTo>
                  <a:pt x="1138" y="33"/>
                  <a:pt x="1138" y="33"/>
                  <a:pt x="1139" y="33"/>
                </a:cubicBezTo>
                <a:cubicBezTo>
                  <a:pt x="1139" y="33"/>
                  <a:pt x="1138" y="33"/>
                  <a:pt x="1137" y="33"/>
                </a:cubicBezTo>
                <a:close/>
                <a:moveTo>
                  <a:pt x="979" y="21"/>
                </a:moveTo>
                <a:cubicBezTo>
                  <a:pt x="978" y="22"/>
                  <a:pt x="978" y="22"/>
                  <a:pt x="978" y="22"/>
                </a:cubicBezTo>
                <a:cubicBezTo>
                  <a:pt x="978" y="22"/>
                  <a:pt x="979" y="22"/>
                  <a:pt x="979" y="21"/>
                </a:cubicBezTo>
                <a:close/>
                <a:moveTo>
                  <a:pt x="1461" y="14"/>
                </a:moveTo>
                <a:cubicBezTo>
                  <a:pt x="1461" y="15"/>
                  <a:pt x="1461" y="15"/>
                  <a:pt x="1462" y="15"/>
                </a:cubicBezTo>
                <a:cubicBezTo>
                  <a:pt x="1462" y="15"/>
                  <a:pt x="1461" y="14"/>
                  <a:pt x="1461" y="14"/>
                </a:cubicBezTo>
                <a:close/>
                <a:moveTo>
                  <a:pt x="1231" y="33"/>
                </a:moveTo>
                <a:cubicBezTo>
                  <a:pt x="1232" y="33"/>
                  <a:pt x="1232" y="33"/>
                  <a:pt x="1233" y="33"/>
                </a:cubicBezTo>
                <a:cubicBezTo>
                  <a:pt x="1232" y="33"/>
                  <a:pt x="1232" y="33"/>
                  <a:pt x="1231" y="33"/>
                </a:cubicBezTo>
                <a:close/>
                <a:moveTo>
                  <a:pt x="1244" y="33"/>
                </a:moveTo>
                <a:cubicBezTo>
                  <a:pt x="1244" y="33"/>
                  <a:pt x="1245" y="33"/>
                  <a:pt x="1245" y="33"/>
                </a:cubicBezTo>
                <a:cubicBezTo>
                  <a:pt x="1245" y="33"/>
                  <a:pt x="1244" y="33"/>
                  <a:pt x="1244" y="33"/>
                </a:cubicBezTo>
                <a:close/>
                <a:moveTo>
                  <a:pt x="1675" y="53"/>
                </a:moveTo>
                <a:cubicBezTo>
                  <a:pt x="1674" y="54"/>
                  <a:pt x="1674" y="54"/>
                  <a:pt x="1674" y="54"/>
                </a:cubicBezTo>
                <a:cubicBezTo>
                  <a:pt x="1674" y="54"/>
                  <a:pt x="1674" y="54"/>
                  <a:pt x="1675" y="53"/>
                </a:cubicBezTo>
                <a:close/>
                <a:moveTo>
                  <a:pt x="963" y="21"/>
                </a:moveTo>
                <a:cubicBezTo>
                  <a:pt x="963" y="21"/>
                  <a:pt x="963" y="21"/>
                  <a:pt x="964" y="20"/>
                </a:cubicBezTo>
                <a:cubicBezTo>
                  <a:pt x="963" y="21"/>
                  <a:pt x="963" y="21"/>
                  <a:pt x="963" y="21"/>
                </a:cubicBezTo>
                <a:close/>
                <a:moveTo>
                  <a:pt x="1146" y="37"/>
                </a:moveTo>
                <a:cubicBezTo>
                  <a:pt x="1146" y="37"/>
                  <a:pt x="1147" y="37"/>
                  <a:pt x="1147" y="38"/>
                </a:cubicBezTo>
                <a:cubicBezTo>
                  <a:pt x="1147" y="37"/>
                  <a:pt x="1147" y="37"/>
                  <a:pt x="1146" y="37"/>
                </a:cubicBezTo>
                <a:close/>
                <a:moveTo>
                  <a:pt x="987" y="92"/>
                </a:moveTo>
                <a:cubicBezTo>
                  <a:pt x="987" y="92"/>
                  <a:pt x="988" y="92"/>
                  <a:pt x="988" y="92"/>
                </a:cubicBezTo>
                <a:cubicBezTo>
                  <a:pt x="988" y="92"/>
                  <a:pt x="987" y="92"/>
                  <a:pt x="987" y="92"/>
                </a:cubicBezTo>
                <a:close/>
                <a:moveTo>
                  <a:pt x="1007" y="92"/>
                </a:moveTo>
                <a:cubicBezTo>
                  <a:pt x="1007" y="92"/>
                  <a:pt x="1008" y="92"/>
                  <a:pt x="1008" y="92"/>
                </a:cubicBezTo>
                <a:cubicBezTo>
                  <a:pt x="1008" y="92"/>
                  <a:pt x="1007" y="92"/>
                  <a:pt x="1007" y="92"/>
                </a:cubicBezTo>
                <a:close/>
                <a:moveTo>
                  <a:pt x="1087" y="53"/>
                </a:moveTo>
                <a:cubicBezTo>
                  <a:pt x="1087" y="54"/>
                  <a:pt x="1087" y="54"/>
                  <a:pt x="1087" y="55"/>
                </a:cubicBezTo>
                <a:cubicBezTo>
                  <a:pt x="1087" y="54"/>
                  <a:pt x="1087" y="54"/>
                  <a:pt x="1087" y="53"/>
                </a:cubicBezTo>
                <a:close/>
                <a:moveTo>
                  <a:pt x="988" y="92"/>
                </a:moveTo>
                <a:cubicBezTo>
                  <a:pt x="989" y="93"/>
                  <a:pt x="989" y="92"/>
                  <a:pt x="990" y="92"/>
                </a:cubicBezTo>
                <a:cubicBezTo>
                  <a:pt x="990" y="92"/>
                  <a:pt x="989" y="92"/>
                  <a:pt x="988" y="92"/>
                </a:cubicBezTo>
                <a:close/>
                <a:moveTo>
                  <a:pt x="755" y="93"/>
                </a:moveTo>
                <a:cubicBezTo>
                  <a:pt x="755" y="93"/>
                  <a:pt x="754" y="93"/>
                  <a:pt x="754" y="92"/>
                </a:cubicBezTo>
                <a:cubicBezTo>
                  <a:pt x="754" y="93"/>
                  <a:pt x="754" y="93"/>
                  <a:pt x="755" y="93"/>
                </a:cubicBezTo>
                <a:close/>
                <a:moveTo>
                  <a:pt x="1419" y="93"/>
                </a:moveTo>
                <a:cubicBezTo>
                  <a:pt x="1419" y="93"/>
                  <a:pt x="1418" y="93"/>
                  <a:pt x="1418" y="92"/>
                </a:cubicBezTo>
                <a:cubicBezTo>
                  <a:pt x="1418" y="93"/>
                  <a:pt x="1418" y="93"/>
                  <a:pt x="1419" y="93"/>
                </a:cubicBezTo>
                <a:close/>
                <a:moveTo>
                  <a:pt x="1052" y="34"/>
                </a:moveTo>
                <a:cubicBezTo>
                  <a:pt x="1052" y="34"/>
                  <a:pt x="1053" y="34"/>
                  <a:pt x="1053" y="33"/>
                </a:cubicBezTo>
                <a:cubicBezTo>
                  <a:pt x="1053" y="33"/>
                  <a:pt x="1052" y="33"/>
                  <a:pt x="1052" y="34"/>
                </a:cubicBezTo>
                <a:close/>
                <a:moveTo>
                  <a:pt x="754" y="45"/>
                </a:moveTo>
                <a:cubicBezTo>
                  <a:pt x="754" y="45"/>
                  <a:pt x="754" y="45"/>
                  <a:pt x="754" y="44"/>
                </a:cubicBezTo>
                <a:cubicBezTo>
                  <a:pt x="754" y="45"/>
                  <a:pt x="754" y="45"/>
                  <a:pt x="754" y="45"/>
                </a:cubicBezTo>
                <a:close/>
                <a:moveTo>
                  <a:pt x="787" y="93"/>
                </a:moveTo>
                <a:cubicBezTo>
                  <a:pt x="787" y="93"/>
                  <a:pt x="788" y="93"/>
                  <a:pt x="788" y="93"/>
                </a:cubicBezTo>
                <a:cubicBezTo>
                  <a:pt x="788" y="93"/>
                  <a:pt x="787" y="93"/>
                  <a:pt x="787" y="93"/>
                </a:cubicBezTo>
                <a:close/>
                <a:moveTo>
                  <a:pt x="966" y="94"/>
                </a:moveTo>
                <a:cubicBezTo>
                  <a:pt x="966" y="93"/>
                  <a:pt x="966" y="93"/>
                  <a:pt x="965" y="93"/>
                </a:cubicBezTo>
                <a:cubicBezTo>
                  <a:pt x="965" y="93"/>
                  <a:pt x="966" y="93"/>
                  <a:pt x="966" y="94"/>
                </a:cubicBezTo>
                <a:close/>
                <a:moveTo>
                  <a:pt x="670" y="93"/>
                </a:moveTo>
                <a:cubicBezTo>
                  <a:pt x="671" y="94"/>
                  <a:pt x="671" y="94"/>
                  <a:pt x="672" y="93"/>
                </a:cubicBezTo>
                <a:cubicBezTo>
                  <a:pt x="671" y="93"/>
                  <a:pt x="671" y="93"/>
                  <a:pt x="670" y="93"/>
                </a:cubicBezTo>
                <a:close/>
                <a:moveTo>
                  <a:pt x="1419" y="16"/>
                </a:moveTo>
                <a:cubicBezTo>
                  <a:pt x="1420" y="16"/>
                  <a:pt x="1420" y="15"/>
                  <a:pt x="1420" y="15"/>
                </a:cubicBezTo>
                <a:cubicBezTo>
                  <a:pt x="1420" y="15"/>
                  <a:pt x="1420" y="15"/>
                  <a:pt x="1419" y="16"/>
                </a:cubicBezTo>
                <a:close/>
                <a:moveTo>
                  <a:pt x="834" y="38"/>
                </a:moveTo>
                <a:cubicBezTo>
                  <a:pt x="834" y="38"/>
                  <a:pt x="834" y="37"/>
                  <a:pt x="835" y="37"/>
                </a:cubicBezTo>
                <a:cubicBezTo>
                  <a:pt x="834" y="37"/>
                  <a:pt x="834" y="37"/>
                  <a:pt x="834" y="38"/>
                </a:cubicBezTo>
                <a:close/>
                <a:moveTo>
                  <a:pt x="1576" y="15"/>
                </a:moveTo>
                <a:cubicBezTo>
                  <a:pt x="1577" y="15"/>
                  <a:pt x="1577" y="16"/>
                  <a:pt x="1577" y="16"/>
                </a:cubicBezTo>
                <a:cubicBezTo>
                  <a:pt x="1577" y="15"/>
                  <a:pt x="1577" y="15"/>
                  <a:pt x="1576" y="15"/>
                </a:cubicBezTo>
                <a:close/>
                <a:moveTo>
                  <a:pt x="605" y="66"/>
                </a:moveTo>
                <a:cubicBezTo>
                  <a:pt x="605" y="66"/>
                  <a:pt x="605" y="66"/>
                  <a:pt x="604" y="65"/>
                </a:cubicBezTo>
                <a:cubicBezTo>
                  <a:pt x="604" y="66"/>
                  <a:pt x="604" y="66"/>
                  <a:pt x="605" y="66"/>
                </a:cubicBezTo>
                <a:close/>
                <a:moveTo>
                  <a:pt x="900" y="52"/>
                </a:moveTo>
                <a:cubicBezTo>
                  <a:pt x="901" y="52"/>
                  <a:pt x="900" y="51"/>
                  <a:pt x="900" y="51"/>
                </a:cubicBezTo>
                <a:cubicBezTo>
                  <a:pt x="900" y="51"/>
                  <a:pt x="900" y="52"/>
                  <a:pt x="900" y="52"/>
                </a:cubicBezTo>
                <a:close/>
                <a:moveTo>
                  <a:pt x="1086" y="51"/>
                </a:moveTo>
                <a:cubicBezTo>
                  <a:pt x="1086" y="51"/>
                  <a:pt x="1086" y="52"/>
                  <a:pt x="1086" y="52"/>
                </a:cubicBezTo>
                <a:cubicBezTo>
                  <a:pt x="1086" y="52"/>
                  <a:pt x="1086" y="51"/>
                  <a:pt x="1086" y="51"/>
                </a:cubicBezTo>
                <a:close/>
                <a:moveTo>
                  <a:pt x="1433" y="7"/>
                </a:moveTo>
                <a:cubicBezTo>
                  <a:pt x="1433" y="7"/>
                  <a:pt x="1434" y="7"/>
                  <a:pt x="1434" y="7"/>
                </a:cubicBezTo>
                <a:cubicBezTo>
                  <a:pt x="1433" y="6"/>
                  <a:pt x="1433" y="6"/>
                  <a:pt x="1433" y="7"/>
                </a:cubicBezTo>
                <a:close/>
                <a:moveTo>
                  <a:pt x="1448" y="7"/>
                </a:moveTo>
                <a:cubicBezTo>
                  <a:pt x="1449" y="7"/>
                  <a:pt x="1449" y="7"/>
                  <a:pt x="1449" y="7"/>
                </a:cubicBezTo>
                <a:cubicBezTo>
                  <a:pt x="1449" y="6"/>
                  <a:pt x="1449" y="6"/>
                  <a:pt x="1448" y="7"/>
                </a:cubicBezTo>
                <a:close/>
                <a:moveTo>
                  <a:pt x="1396" y="22"/>
                </a:moveTo>
                <a:cubicBezTo>
                  <a:pt x="1396" y="23"/>
                  <a:pt x="1396" y="23"/>
                  <a:pt x="1396" y="23"/>
                </a:cubicBezTo>
                <a:cubicBezTo>
                  <a:pt x="1396" y="23"/>
                  <a:pt x="1397" y="22"/>
                  <a:pt x="1396" y="22"/>
                </a:cubicBezTo>
                <a:close/>
                <a:moveTo>
                  <a:pt x="1545" y="7"/>
                </a:moveTo>
                <a:cubicBezTo>
                  <a:pt x="1545" y="7"/>
                  <a:pt x="1546" y="7"/>
                  <a:pt x="1546" y="7"/>
                </a:cubicBezTo>
                <a:cubicBezTo>
                  <a:pt x="1546" y="7"/>
                  <a:pt x="1545" y="6"/>
                  <a:pt x="1545" y="7"/>
                </a:cubicBezTo>
                <a:close/>
                <a:moveTo>
                  <a:pt x="1562" y="7"/>
                </a:moveTo>
                <a:cubicBezTo>
                  <a:pt x="1563" y="7"/>
                  <a:pt x="1563" y="7"/>
                  <a:pt x="1564" y="7"/>
                </a:cubicBezTo>
                <a:cubicBezTo>
                  <a:pt x="1563" y="6"/>
                  <a:pt x="1563" y="7"/>
                  <a:pt x="1562" y="7"/>
                </a:cubicBezTo>
                <a:close/>
                <a:moveTo>
                  <a:pt x="1713" y="7"/>
                </a:moveTo>
                <a:cubicBezTo>
                  <a:pt x="1713" y="7"/>
                  <a:pt x="1714" y="7"/>
                  <a:pt x="1714" y="7"/>
                </a:cubicBezTo>
                <a:cubicBezTo>
                  <a:pt x="1714" y="7"/>
                  <a:pt x="1713" y="6"/>
                  <a:pt x="1713" y="7"/>
                </a:cubicBezTo>
                <a:close/>
                <a:moveTo>
                  <a:pt x="1731" y="7"/>
                </a:moveTo>
                <a:cubicBezTo>
                  <a:pt x="1731" y="7"/>
                  <a:pt x="1731" y="7"/>
                  <a:pt x="1732" y="7"/>
                </a:cubicBezTo>
                <a:cubicBezTo>
                  <a:pt x="1731" y="6"/>
                  <a:pt x="1731" y="7"/>
                  <a:pt x="1731" y="7"/>
                </a:cubicBezTo>
                <a:close/>
                <a:moveTo>
                  <a:pt x="556" y="7"/>
                </a:moveTo>
                <a:cubicBezTo>
                  <a:pt x="556" y="7"/>
                  <a:pt x="557" y="7"/>
                  <a:pt x="557" y="7"/>
                </a:cubicBezTo>
                <a:cubicBezTo>
                  <a:pt x="557" y="7"/>
                  <a:pt x="556" y="7"/>
                  <a:pt x="556" y="7"/>
                </a:cubicBezTo>
                <a:close/>
                <a:moveTo>
                  <a:pt x="986" y="7"/>
                </a:moveTo>
                <a:cubicBezTo>
                  <a:pt x="987" y="7"/>
                  <a:pt x="987" y="7"/>
                  <a:pt x="988" y="7"/>
                </a:cubicBezTo>
                <a:cubicBezTo>
                  <a:pt x="987" y="7"/>
                  <a:pt x="987" y="7"/>
                  <a:pt x="986" y="7"/>
                </a:cubicBezTo>
                <a:close/>
                <a:moveTo>
                  <a:pt x="1359" y="7"/>
                </a:moveTo>
                <a:cubicBezTo>
                  <a:pt x="1360" y="7"/>
                  <a:pt x="1360" y="7"/>
                  <a:pt x="1360" y="7"/>
                </a:cubicBezTo>
                <a:cubicBezTo>
                  <a:pt x="1360" y="7"/>
                  <a:pt x="1360" y="7"/>
                  <a:pt x="1359" y="7"/>
                </a:cubicBezTo>
                <a:close/>
                <a:moveTo>
                  <a:pt x="1379" y="7"/>
                </a:moveTo>
                <a:cubicBezTo>
                  <a:pt x="1380" y="7"/>
                  <a:pt x="1380" y="7"/>
                  <a:pt x="1381" y="7"/>
                </a:cubicBezTo>
                <a:cubicBezTo>
                  <a:pt x="1380" y="7"/>
                  <a:pt x="1380" y="7"/>
                  <a:pt x="1379" y="7"/>
                </a:cubicBezTo>
                <a:close/>
                <a:moveTo>
                  <a:pt x="1466" y="22"/>
                </a:moveTo>
                <a:cubicBezTo>
                  <a:pt x="1466" y="23"/>
                  <a:pt x="1466" y="23"/>
                  <a:pt x="1466" y="23"/>
                </a:cubicBezTo>
                <a:cubicBezTo>
                  <a:pt x="1466" y="23"/>
                  <a:pt x="1466" y="22"/>
                  <a:pt x="1466" y="22"/>
                </a:cubicBezTo>
                <a:close/>
                <a:moveTo>
                  <a:pt x="1031" y="56"/>
                </a:moveTo>
                <a:cubicBezTo>
                  <a:pt x="1031" y="56"/>
                  <a:pt x="1031" y="56"/>
                  <a:pt x="1031" y="55"/>
                </a:cubicBezTo>
                <a:cubicBezTo>
                  <a:pt x="1031" y="56"/>
                  <a:pt x="1031" y="56"/>
                  <a:pt x="1031" y="56"/>
                </a:cubicBezTo>
                <a:close/>
                <a:moveTo>
                  <a:pt x="1468" y="29"/>
                </a:moveTo>
                <a:cubicBezTo>
                  <a:pt x="1468" y="30"/>
                  <a:pt x="1468" y="30"/>
                  <a:pt x="1469" y="31"/>
                </a:cubicBezTo>
                <a:cubicBezTo>
                  <a:pt x="1469" y="30"/>
                  <a:pt x="1469" y="30"/>
                  <a:pt x="1468" y="29"/>
                </a:cubicBezTo>
                <a:close/>
                <a:moveTo>
                  <a:pt x="1543" y="7"/>
                </a:moveTo>
                <a:cubicBezTo>
                  <a:pt x="1544" y="7"/>
                  <a:pt x="1544" y="7"/>
                  <a:pt x="1545" y="7"/>
                </a:cubicBezTo>
                <a:cubicBezTo>
                  <a:pt x="1544" y="7"/>
                  <a:pt x="1544" y="7"/>
                  <a:pt x="1543" y="7"/>
                </a:cubicBezTo>
                <a:close/>
                <a:moveTo>
                  <a:pt x="1300" y="44"/>
                </a:moveTo>
                <a:cubicBezTo>
                  <a:pt x="1300" y="44"/>
                  <a:pt x="1299" y="44"/>
                  <a:pt x="1299" y="44"/>
                </a:cubicBezTo>
                <a:cubicBezTo>
                  <a:pt x="1299" y="44"/>
                  <a:pt x="1300" y="44"/>
                  <a:pt x="1300" y="44"/>
                </a:cubicBezTo>
                <a:close/>
                <a:moveTo>
                  <a:pt x="1712" y="7"/>
                </a:moveTo>
                <a:cubicBezTo>
                  <a:pt x="1712" y="7"/>
                  <a:pt x="1712" y="7"/>
                  <a:pt x="1713" y="7"/>
                </a:cubicBezTo>
                <a:cubicBezTo>
                  <a:pt x="1712" y="7"/>
                  <a:pt x="1712" y="7"/>
                  <a:pt x="1712" y="7"/>
                </a:cubicBezTo>
                <a:close/>
                <a:moveTo>
                  <a:pt x="1264" y="50"/>
                </a:moveTo>
                <a:cubicBezTo>
                  <a:pt x="1264" y="50"/>
                  <a:pt x="1264" y="51"/>
                  <a:pt x="1264" y="51"/>
                </a:cubicBezTo>
                <a:cubicBezTo>
                  <a:pt x="1264" y="51"/>
                  <a:pt x="1264" y="50"/>
                  <a:pt x="1264" y="50"/>
                </a:cubicBezTo>
                <a:close/>
                <a:moveTo>
                  <a:pt x="555" y="8"/>
                </a:moveTo>
                <a:cubicBezTo>
                  <a:pt x="555" y="8"/>
                  <a:pt x="555" y="8"/>
                  <a:pt x="556" y="7"/>
                </a:cubicBezTo>
                <a:cubicBezTo>
                  <a:pt x="555" y="7"/>
                  <a:pt x="555" y="7"/>
                  <a:pt x="555" y="8"/>
                </a:cubicBezTo>
                <a:close/>
                <a:moveTo>
                  <a:pt x="581" y="7"/>
                </a:moveTo>
                <a:cubicBezTo>
                  <a:pt x="581" y="7"/>
                  <a:pt x="581" y="8"/>
                  <a:pt x="582" y="8"/>
                </a:cubicBezTo>
                <a:cubicBezTo>
                  <a:pt x="581" y="7"/>
                  <a:pt x="581" y="7"/>
                  <a:pt x="581" y="7"/>
                </a:cubicBezTo>
                <a:close/>
                <a:moveTo>
                  <a:pt x="985" y="8"/>
                </a:moveTo>
                <a:cubicBezTo>
                  <a:pt x="985" y="8"/>
                  <a:pt x="986" y="8"/>
                  <a:pt x="986" y="7"/>
                </a:cubicBezTo>
                <a:cubicBezTo>
                  <a:pt x="986" y="7"/>
                  <a:pt x="985" y="7"/>
                  <a:pt x="985" y="8"/>
                </a:cubicBezTo>
                <a:close/>
                <a:moveTo>
                  <a:pt x="1014" y="7"/>
                </a:moveTo>
                <a:cubicBezTo>
                  <a:pt x="1014" y="8"/>
                  <a:pt x="1014" y="8"/>
                  <a:pt x="1015" y="7"/>
                </a:cubicBezTo>
                <a:cubicBezTo>
                  <a:pt x="1014" y="7"/>
                  <a:pt x="1014" y="7"/>
                  <a:pt x="1014" y="7"/>
                </a:cubicBezTo>
                <a:close/>
                <a:moveTo>
                  <a:pt x="1227" y="35"/>
                </a:moveTo>
                <a:cubicBezTo>
                  <a:pt x="1227" y="35"/>
                  <a:pt x="1227" y="35"/>
                  <a:pt x="1228" y="34"/>
                </a:cubicBezTo>
                <a:cubicBezTo>
                  <a:pt x="1227" y="34"/>
                  <a:pt x="1227" y="34"/>
                  <a:pt x="1227" y="35"/>
                </a:cubicBezTo>
                <a:close/>
                <a:moveTo>
                  <a:pt x="1749" y="40"/>
                </a:moveTo>
                <a:cubicBezTo>
                  <a:pt x="1748" y="41"/>
                  <a:pt x="1748" y="41"/>
                  <a:pt x="1748" y="42"/>
                </a:cubicBezTo>
                <a:cubicBezTo>
                  <a:pt x="1749" y="41"/>
                  <a:pt x="1749" y="41"/>
                  <a:pt x="1749" y="40"/>
                </a:cubicBezTo>
                <a:close/>
                <a:moveTo>
                  <a:pt x="1483" y="30"/>
                </a:moveTo>
                <a:cubicBezTo>
                  <a:pt x="1482" y="30"/>
                  <a:pt x="1482" y="30"/>
                  <a:pt x="1482" y="30"/>
                </a:cubicBezTo>
                <a:cubicBezTo>
                  <a:pt x="1482" y="30"/>
                  <a:pt x="1483" y="30"/>
                  <a:pt x="1483" y="30"/>
                </a:cubicBezTo>
                <a:close/>
                <a:moveTo>
                  <a:pt x="613" y="58"/>
                </a:moveTo>
                <a:cubicBezTo>
                  <a:pt x="613" y="58"/>
                  <a:pt x="613" y="58"/>
                  <a:pt x="613" y="59"/>
                </a:cubicBezTo>
                <a:cubicBezTo>
                  <a:pt x="613" y="58"/>
                  <a:pt x="613" y="58"/>
                  <a:pt x="613" y="58"/>
                </a:cubicBezTo>
                <a:close/>
                <a:moveTo>
                  <a:pt x="1263" y="49"/>
                </a:moveTo>
                <a:cubicBezTo>
                  <a:pt x="1263" y="49"/>
                  <a:pt x="1263" y="50"/>
                  <a:pt x="1264" y="50"/>
                </a:cubicBezTo>
                <a:cubicBezTo>
                  <a:pt x="1264" y="50"/>
                  <a:pt x="1264" y="49"/>
                  <a:pt x="1263" y="49"/>
                </a:cubicBezTo>
                <a:close/>
                <a:moveTo>
                  <a:pt x="1264" y="51"/>
                </a:moveTo>
                <a:cubicBezTo>
                  <a:pt x="1264" y="51"/>
                  <a:pt x="1264" y="52"/>
                  <a:pt x="1264" y="52"/>
                </a:cubicBezTo>
                <a:cubicBezTo>
                  <a:pt x="1264" y="52"/>
                  <a:pt x="1264" y="51"/>
                  <a:pt x="1264" y="51"/>
                </a:cubicBezTo>
                <a:close/>
                <a:moveTo>
                  <a:pt x="691" y="44"/>
                </a:moveTo>
                <a:cubicBezTo>
                  <a:pt x="691" y="43"/>
                  <a:pt x="690" y="43"/>
                  <a:pt x="690" y="43"/>
                </a:cubicBezTo>
                <a:cubicBezTo>
                  <a:pt x="690" y="44"/>
                  <a:pt x="691" y="44"/>
                  <a:pt x="691" y="44"/>
                </a:cubicBezTo>
                <a:close/>
                <a:moveTo>
                  <a:pt x="1412" y="31"/>
                </a:moveTo>
                <a:cubicBezTo>
                  <a:pt x="1413" y="31"/>
                  <a:pt x="1413" y="31"/>
                  <a:pt x="1413" y="30"/>
                </a:cubicBezTo>
                <a:cubicBezTo>
                  <a:pt x="1412" y="30"/>
                  <a:pt x="1412" y="31"/>
                  <a:pt x="1412" y="31"/>
                </a:cubicBezTo>
                <a:close/>
                <a:moveTo>
                  <a:pt x="644" y="64"/>
                </a:moveTo>
                <a:cubicBezTo>
                  <a:pt x="644" y="65"/>
                  <a:pt x="644" y="65"/>
                  <a:pt x="644" y="65"/>
                </a:cubicBezTo>
                <a:cubicBezTo>
                  <a:pt x="644" y="65"/>
                  <a:pt x="644" y="65"/>
                  <a:pt x="644" y="64"/>
                </a:cubicBezTo>
                <a:close/>
                <a:moveTo>
                  <a:pt x="553" y="8"/>
                </a:moveTo>
                <a:cubicBezTo>
                  <a:pt x="554" y="8"/>
                  <a:pt x="554" y="8"/>
                  <a:pt x="555" y="8"/>
                </a:cubicBezTo>
                <a:cubicBezTo>
                  <a:pt x="554" y="8"/>
                  <a:pt x="554" y="7"/>
                  <a:pt x="553" y="8"/>
                </a:cubicBezTo>
                <a:close/>
                <a:moveTo>
                  <a:pt x="1569" y="42"/>
                </a:moveTo>
                <a:cubicBezTo>
                  <a:pt x="1569" y="41"/>
                  <a:pt x="1569" y="41"/>
                  <a:pt x="1569" y="41"/>
                </a:cubicBezTo>
                <a:cubicBezTo>
                  <a:pt x="1569" y="41"/>
                  <a:pt x="1569" y="41"/>
                  <a:pt x="1569" y="42"/>
                </a:cubicBezTo>
                <a:close/>
                <a:moveTo>
                  <a:pt x="984" y="8"/>
                </a:moveTo>
                <a:cubicBezTo>
                  <a:pt x="984" y="8"/>
                  <a:pt x="985" y="8"/>
                  <a:pt x="985" y="8"/>
                </a:cubicBezTo>
                <a:cubicBezTo>
                  <a:pt x="984" y="8"/>
                  <a:pt x="984" y="7"/>
                  <a:pt x="984" y="8"/>
                </a:cubicBezTo>
                <a:close/>
                <a:moveTo>
                  <a:pt x="1015" y="8"/>
                </a:moveTo>
                <a:cubicBezTo>
                  <a:pt x="1015" y="8"/>
                  <a:pt x="1016" y="8"/>
                  <a:pt x="1016" y="8"/>
                </a:cubicBezTo>
                <a:cubicBezTo>
                  <a:pt x="1016" y="7"/>
                  <a:pt x="1015" y="8"/>
                  <a:pt x="1015" y="8"/>
                </a:cubicBezTo>
                <a:close/>
                <a:moveTo>
                  <a:pt x="1183" y="15"/>
                </a:moveTo>
                <a:cubicBezTo>
                  <a:pt x="1184" y="15"/>
                  <a:pt x="1184" y="15"/>
                  <a:pt x="1185" y="15"/>
                </a:cubicBezTo>
                <a:cubicBezTo>
                  <a:pt x="1184" y="15"/>
                  <a:pt x="1184" y="14"/>
                  <a:pt x="1183" y="15"/>
                </a:cubicBezTo>
                <a:close/>
                <a:moveTo>
                  <a:pt x="1481" y="19"/>
                </a:moveTo>
                <a:cubicBezTo>
                  <a:pt x="1482" y="19"/>
                  <a:pt x="1482" y="19"/>
                  <a:pt x="1482" y="19"/>
                </a:cubicBezTo>
                <a:cubicBezTo>
                  <a:pt x="1482" y="19"/>
                  <a:pt x="1482" y="19"/>
                  <a:pt x="1481" y="19"/>
                </a:cubicBezTo>
                <a:close/>
                <a:moveTo>
                  <a:pt x="1430" y="8"/>
                </a:moveTo>
                <a:cubicBezTo>
                  <a:pt x="1430" y="8"/>
                  <a:pt x="1430" y="8"/>
                  <a:pt x="1431" y="8"/>
                </a:cubicBezTo>
                <a:cubicBezTo>
                  <a:pt x="1430" y="8"/>
                  <a:pt x="1430" y="7"/>
                  <a:pt x="1430" y="8"/>
                </a:cubicBezTo>
                <a:close/>
                <a:moveTo>
                  <a:pt x="1452" y="8"/>
                </a:moveTo>
                <a:cubicBezTo>
                  <a:pt x="1452" y="8"/>
                  <a:pt x="1452" y="8"/>
                  <a:pt x="1453" y="8"/>
                </a:cubicBezTo>
                <a:cubicBezTo>
                  <a:pt x="1452" y="7"/>
                  <a:pt x="1452" y="8"/>
                  <a:pt x="1452" y="8"/>
                </a:cubicBezTo>
                <a:close/>
                <a:moveTo>
                  <a:pt x="1580" y="44"/>
                </a:moveTo>
                <a:cubicBezTo>
                  <a:pt x="1579" y="44"/>
                  <a:pt x="1579" y="44"/>
                  <a:pt x="1579" y="45"/>
                </a:cubicBezTo>
                <a:cubicBezTo>
                  <a:pt x="1580" y="45"/>
                  <a:pt x="1580" y="44"/>
                  <a:pt x="1580" y="44"/>
                </a:cubicBezTo>
                <a:close/>
                <a:moveTo>
                  <a:pt x="1570" y="39"/>
                </a:moveTo>
                <a:cubicBezTo>
                  <a:pt x="1570" y="39"/>
                  <a:pt x="1570" y="39"/>
                  <a:pt x="1570" y="38"/>
                </a:cubicBezTo>
                <a:cubicBezTo>
                  <a:pt x="1569" y="38"/>
                  <a:pt x="1570" y="39"/>
                  <a:pt x="1570" y="39"/>
                </a:cubicBezTo>
                <a:close/>
                <a:moveTo>
                  <a:pt x="1738" y="39"/>
                </a:moveTo>
                <a:cubicBezTo>
                  <a:pt x="1738" y="39"/>
                  <a:pt x="1738" y="39"/>
                  <a:pt x="1738" y="38"/>
                </a:cubicBezTo>
                <a:cubicBezTo>
                  <a:pt x="1738" y="38"/>
                  <a:pt x="1738" y="39"/>
                  <a:pt x="1738" y="39"/>
                </a:cubicBezTo>
                <a:close/>
                <a:moveTo>
                  <a:pt x="1480" y="31"/>
                </a:moveTo>
                <a:cubicBezTo>
                  <a:pt x="1479" y="31"/>
                  <a:pt x="1479" y="31"/>
                  <a:pt x="1479" y="31"/>
                </a:cubicBezTo>
                <a:cubicBezTo>
                  <a:pt x="1479" y="31"/>
                  <a:pt x="1479" y="31"/>
                  <a:pt x="1480" y="31"/>
                </a:cubicBezTo>
                <a:close/>
                <a:moveTo>
                  <a:pt x="1289" y="57"/>
                </a:moveTo>
                <a:cubicBezTo>
                  <a:pt x="1289" y="57"/>
                  <a:pt x="1289" y="58"/>
                  <a:pt x="1289" y="58"/>
                </a:cubicBezTo>
                <a:cubicBezTo>
                  <a:pt x="1289" y="58"/>
                  <a:pt x="1289" y="57"/>
                  <a:pt x="1289" y="57"/>
                </a:cubicBezTo>
                <a:close/>
                <a:moveTo>
                  <a:pt x="605" y="36"/>
                </a:moveTo>
                <a:cubicBezTo>
                  <a:pt x="605" y="36"/>
                  <a:pt x="605" y="37"/>
                  <a:pt x="605" y="37"/>
                </a:cubicBezTo>
                <a:cubicBezTo>
                  <a:pt x="605" y="36"/>
                  <a:pt x="605" y="36"/>
                  <a:pt x="605" y="36"/>
                </a:cubicBezTo>
                <a:close/>
                <a:moveTo>
                  <a:pt x="1412" y="33"/>
                </a:moveTo>
                <a:cubicBezTo>
                  <a:pt x="1412" y="32"/>
                  <a:pt x="1412" y="32"/>
                  <a:pt x="1412" y="32"/>
                </a:cubicBezTo>
                <a:cubicBezTo>
                  <a:pt x="1412" y="32"/>
                  <a:pt x="1412" y="32"/>
                  <a:pt x="1412" y="33"/>
                </a:cubicBezTo>
                <a:close/>
                <a:moveTo>
                  <a:pt x="983" y="8"/>
                </a:moveTo>
                <a:cubicBezTo>
                  <a:pt x="983" y="8"/>
                  <a:pt x="983" y="8"/>
                  <a:pt x="984" y="8"/>
                </a:cubicBezTo>
                <a:cubicBezTo>
                  <a:pt x="983" y="8"/>
                  <a:pt x="983" y="8"/>
                  <a:pt x="983" y="8"/>
                </a:cubicBezTo>
                <a:close/>
                <a:moveTo>
                  <a:pt x="1182" y="15"/>
                </a:moveTo>
                <a:cubicBezTo>
                  <a:pt x="1183" y="15"/>
                  <a:pt x="1183" y="15"/>
                  <a:pt x="1184" y="15"/>
                </a:cubicBezTo>
                <a:cubicBezTo>
                  <a:pt x="1183" y="15"/>
                  <a:pt x="1183" y="15"/>
                  <a:pt x="1182" y="15"/>
                </a:cubicBezTo>
                <a:close/>
                <a:moveTo>
                  <a:pt x="652" y="44"/>
                </a:moveTo>
                <a:cubicBezTo>
                  <a:pt x="652" y="44"/>
                  <a:pt x="652" y="45"/>
                  <a:pt x="652" y="45"/>
                </a:cubicBezTo>
                <a:cubicBezTo>
                  <a:pt x="652" y="45"/>
                  <a:pt x="652" y="44"/>
                  <a:pt x="652" y="44"/>
                </a:cubicBezTo>
                <a:close/>
                <a:moveTo>
                  <a:pt x="616" y="67"/>
                </a:moveTo>
                <a:cubicBezTo>
                  <a:pt x="616" y="67"/>
                  <a:pt x="616" y="67"/>
                  <a:pt x="616" y="68"/>
                </a:cubicBezTo>
                <a:cubicBezTo>
                  <a:pt x="616" y="67"/>
                  <a:pt x="616" y="67"/>
                  <a:pt x="616" y="67"/>
                </a:cubicBezTo>
                <a:close/>
                <a:moveTo>
                  <a:pt x="1143" y="54"/>
                </a:moveTo>
                <a:cubicBezTo>
                  <a:pt x="1143" y="53"/>
                  <a:pt x="1143" y="53"/>
                  <a:pt x="1143" y="53"/>
                </a:cubicBezTo>
                <a:cubicBezTo>
                  <a:pt x="1143" y="53"/>
                  <a:pt x="1143" y="54"/>
                  <a:pt x="1143" y="54"/>
                </a:cubicBezTo>
                <a:close/>
                <a:moveTo>
                  <a:pt x="1181" y="16"/>
                </a:moveTo>
                <a:cubicBezTo>
                  <a:pt x="1182" y="16"/>
                  <a:pt x="1182" y="16"/>
                  <a:pt x="1182" y="15"/>
                </a:cubicBezTo>
                <a:cubicBezTo>
                  <a:pt x="1182" y="15"/>
                  <a:pt x="1182" y="15"/>
                  <a:pt x="1181" y="16"/>
                </a:cubicBezTo>
                <a:close/>
                <a:moveTo>
                  <a:pt x="804" y="53"/>
                </a:moveTo>
                <a:cubicBezTo>
                  <a:pt x="804" y="53"/>
                  <a:pt x="804" y="54"/>
                  <a:pt x="805" y="54"/>
                </a:cubicBezTo>
                <a:cubicBezTo>
                  <a:pt x="805" y="54"/>
                  <a:pt x="805" y="53"/>
                  <a:pt x="804" y="53"/>
                </a:cubicBezTo>
                <a:close/>
                <a:moveTo>
                  <a:pt x="1567" y="8"/>
                </a:moveTo>
                <a:cubicBezTo>
                  <a:pt x="1567" y="8"/>
                  <a:pt x="1567" y="8"/>
                  <a:pt x="1568" y="8"/>
                </a:cubicBezTo>
                <a:cubicBezTo>
                  <a:pt x="1568" y="8"/>
                  <a:pt x="1567" y="8"/>
                  <a:pt x="1567" y="8"/>
                </a:cubicBezTo>
                <a:close/>
                <a:moveTo>
                  <a:pt x="1669" y="57"/>
                </a:moveTo>
                <a:cubicBezTo>
                  <a:pt x="1668" y="57"/>
                  <a:pt x="1668" y="57"/>
                  <a:pt x="1668" y="57"/>
                </a:cubicBezTo>
                <a:cubicBezTo>
                  <a:pt x="1668" y="57"/>
                  <a:pt x="1669" y="57"/>
                  <a:pt x="1669" y="57"/>
                </a:cubicBezTo>
                <a:close/>
                <a:moveTo>
                  <a:pt x="1735" y="8"/>
                </a:moveTo>
                <a:cubicBezTo>
                  <a:pt x="1735" y="8"/>
                  <a:pt x="1735" y="8"/>
                  <a:pt x="1736" y="8"/>
                </a:cubicBezTo>
                <a:cubicBezTo>
                  <a:pt x="1736" y="8"/>
                  <a:pt x="1735" y="8"/>
                  <a:pt x="1735" y="8"/>
                </a:cubicBezTo>
                <a:close/>
                <a:moveTo>
                  <a:pt x="552" y="9"/>
                </a:moveTo>
                <a:cubicBezTo>
                  <a:pt x="552" y="9"/>
                  <a:pt x="552" y="9"/>
                  <a:pt x="553" y="8"/>
                </a:cubicBezTo>
                <a:cubicBezTo>
                  <a:pt x="552" y="8"/>
                  <a:pt x="552" y="8"/>
                  <a:pt x="552" y="9"/>
                </a:cubicBezTo>
                <a:close/>
                <a:moveTo>
                  <a:pt x="830" y="53"/>
                </a:moveTo>
                <a:cubicBezTo>
                  <a:pt x="830" y="53"/>
                  <a:pt x="829" y="53"/>
                  <a:pt x="829" y="54"/>
                </a:cubicBezTo>
                <a:cubicBezTo>
                  <a:pt x="830" y="54"/>
                  <a:pt x="830" y="53"/>
                  <a:pt x="830" y="53"/>
                </a:cubicBezTo>
                <a:close/>
                <a:moveTo>
                  <a:pt x="982" y="9"/>
                </a:moveTo>
                <a:cubicBezTo>
                  <a:pt x="982" y="9"/>
                  <a:pt x="982" y="9"/>
                  <a:pt x="983" y="8"/>
                </a:cubicBezTo>
                <a:cubicBezTo>
                  <a:pt x="982" y="8"/>
                  <a:pt x="982" y="8"/>
                  <a:pt x="982" y="9"/>
                </a:cubicBezTo>
                <a:close/>
                <a:moveTo>
                  <a:pt x="1017" y="8"/>
                </a:moveTo>
                <a:cubicBezTo>
                  <a:pt x="1018" y="9"/>
                  <a:pt x="1018" y="9"/>
                  <a:pt x="1018" y="9"/>
                </a:cubicBezTo>
                <a:cubicBezTo>
                  <a:pt x="1018" y="8"/>
                  <a:pt x="1018" y="8"/>
                  <a:pt x="1017" y="8"/>
                </a:cubicBezTo>
                <a:close/>
                <a:moveTo>
                  <a:pt x="1016" y="19"/>
                </a:moveTo>
                <a:cubicBezTo>
                  <a:pt x="1016" y="19"/>
                  <a:pt x="1016" y="19"/>
                  <a:pt x="1015" y="19"/>
                </a:cubicBezTo>
                <a:cubicBezTo>
                  <a:pt x="1016" y="19"/>
                  <a:pt x="1016" y="19"/>
                  <a:pt x="1016" y="19"/>
                </a:cubicBezTo>
                <a:close/>
                <a:moveTo>
                  <a:pt x="1180" y="16"/>
                </a:moveTo>
                <a:cubicBezTo>
                  <a:pt x="1181" y="16"/>
                  <a:pt x="1181" y="16"/>
                  <a:pt x="1181" y="16"/>
                </a:cubicBezTo>
                <a:cubicBezTo>
                  <a:pt x="1181" y="16"/>
                  <a:pt x="1181" y="15"/>
                  <a:pt x="1180" y="16"/>
                </a:cubicBezTo>
                <a:close/>
                <a:moveTo>
                  <a:pt x="1364" y="16"/>
                </a:moveTo>
                <a:cubicBezTo>
                  <a:pt x="1364" y="16"/>
                  <a:pt x="1364" y="16"/>
                  <a:pt x="1363" y="16"/>
                </a:cubicBezTo>
                <a:cubicBezTo>
                  <a:pt x="1364" y="16"/>
                  <a:pt x="1364" y="16"/>
                  <a:pt x="1364" y="16"/>
                </a:cubicBezTo>
                <a:close/>
                <a:moveTo>
                  <a:pt x="615" y="66"/>
                </a:moveTo>
                <a:cubicBezTo>
                  <a:pt x="615" y="66"/>
                  <a:pt x="615" y="66"/>
                  <a:pt x="616" y="67"/>
                </a:cubicBezTo>
                <a:cubicBezTo>
                  <a:pt x="616" y="66"/>
                  <a:pt x="616" y="66"/>
                  <a:pt x="615" y="66"/>
                </a:cubicBezTo>
                <a:close/>
                <a:moveTo>
                  <a:pt x="853" y="33"/>
                </a:moveTo>
                <a:cubicBezTo>
                  <a:pt x="854" y="33"/>
                  <a:pt x="854" y="33"/>
                  <a:pt x="855" y="33"/>
                </a:cubicBezTo>
                <a:cubicBezTo>
                  <a:pt x="854" y="33"/>
                  <a:pt x="854" y="33"/>
                  <a:pt x="853" y="33"/>
                </a:cubicBezTo>
                <a:close/>
                <a:moveTo>
                  <a:pt x="1480" y="19"/>
                </a:moveTo>
                <a:cubicBezTo>
                  <a:pt x="1481" y="19"/>
                  <a:pt x="1481" y="19"/>
                  <a:pt x="1481" y="19"/>
                </a:cubicBezTo>
                <a:cubicBezTo>
                  <a:pt x="1481" y="19"/>
                  <a:pt x="1481" y="19"/>
                  <a:pt x="1480" y="19"/>
                </a:cubicBezTo>
                <a:close/>
                <a:moveTo>
                  <a:pt x="1559" y="16"/>
                </a:moveTo>
                <a:cubicBezTo>
                  <a:pt x="1559" y="16"/>
                  <a:pt x="1558" y="16"/>
                  <a:pt x="1558" y="16"/>
                </a:cubicBezTo>
                <a:cubicBezTo>
                  <a:pt x="1558" y="16"/>
                  <a:pt x="1559" y="16"/>
                  <a:pt x="1559" y="16"/>
                </a:cubicBezTo>
                <a:close/>
                <a:moveTo>
                  <a:pt x="1727" y="16"/>
                </a:moveTo>
                <a:cubicBezTo>
                  <a:pt x="1727" y="16"/>
                  <a:pt x="1727" y="16"/>
                  <a:pt x="1726" y="16"/>
                </a:cubicBezTo>
                <a:cubicBezTo>
                  <a:pt x="1726" y="16"/>
                  <a:pt x="1727" y="16"/>
                  <a:pt x="1727" y="16"/>
                </a:cubicBezTo>
                <a:close/>
                <a:moveTo>
                  <a:pt x="605" y="37"/>
                </a:moveTo>
                <a:cubicBezTo>
                  <a:pt x="605" y="37"/>
                  <a:pt x="605" y="38"/>
                  <a:pt x="606" y="38"/>
                </a:cubicBezTo>
                <a:cubicBezTo>
                  <a:pt x="606" y="37"/>
                  <a:pt x="606" y="37"/>
                  <a:pt x="605" y="37"/>
                </a:cubicBezTo>
                <a:close/>
                <a:moveTo>
                  <a:pt x="606" y="38"/>
                </a:moveTo>
                <a:cubicBezTo>
                  <a:pt x="606" y="38"/>
                  <a:pt x="606" y="39"/>
                  <a:pt x="606" y="39"/>
                </a:cubicBezTo>
                <a:cubicBezTo>
                  <a:pt x="606" y="38"/>
                  <a:pt x="606" y="38"/>
                  <a:pt x="606" y="38"/>
                </a:cubicBezTo>
                <a:close/>
                <a:moveTo>
                  <a:pt x="670" y="53"/>
                </a:moveTo>
                <a:cubicBezTo>
                  <a:pt x="670" y="54"/>
                  <a:pt x="670" y="54"/>
                  <a:pt x="670" y="54"/>
                </a:cubicBezTo>
                <a:cubicBezTo>
                  <a:pt x="670" y="54"/>
                  <a:pt x="670" y="53"/>
                  <a:pt x="670" y="53"/>
                </a:cubicBezTo>
                <a:close/>
                <a:moveTo>
                  <a:pt x="981" y="9"/>
                </a:moveTo>
                <a:cubicBezTo>
                  <a:pt x="981" y="9"/>
                  <a:pt x="981" y="9"/>
                  <a:pt x="982" y="9"/>
                </a:cubicBezTo>
                <a:cubicBezTo>
                  <a:pt x="981" y="9"/>
                  <a:pt x="981" y="8"/>
                  <a:pt x="981" y="9"/>
                </a:cubicBezTo>
                <a:close/>
                <a:moveTo>
                  <a:pt x="674" y="34"/>
                </a:moveTo>
                <a:cubicBezTo>
                  <a:pt x="674" y="34"/>
                  <a:pt x="675" y="34"/>
                  <a:pt x="675" y="33"/>
                </a:cubicBezTo>
                <a:cubicBezTo>
                  <a:pt x="675" y="33"/>
                  <a:pt x="674" y="33"/>
                  <a:pt x="674" y="34"/>
                </a:cubicBezTo>
                <a:close/>
                <a:moveTo>
                  <a:pt x="1363" y="16"/>
                </a:moveTo>
                <a:cubicBezTo>
                  <a:pt x="1363" y="16"/>
                  <a:pt x="1362" y="16"/>
                  <a:pt x="1362" y="16"/>
                </a:cubicBezTo>
                <a:cubicBezTo>
                  <a:pt x="1362" y="16"/>
                  <a:pt x="1363" y="16"/>
                  <a:pt x="1363" y="16"/>
                </a:cubicBezTo>
                <a:close/>
                <a:moveTo>
                  <a:pt x="1376" y="16"/>
                </a:moveTo>
                <a:cubicBezTo>
                  <a:pt x="1376" y="16"/>
                  <a:pt x="1375" y="16"/>
                  <a:pt x="1375" y="16"/>
                </a:cubicBezTo>
                <a:cubicBezTo>
                  <a:pt x="1375" y="16"/>
                  <a:pt x="1376" y="16"/>
                  <a:pt x="1376" y="16"/>
                </a:cubicBezTo>
                <a:close/>
                <a:moveTo>
                  <a:pt x="690" y="33"/>
                </a:moveTo>
                <a:cubicBezTo>
                  <a:pt x="690" y="34"/>
                  <a:pt x="691" y="34"/>
                  <a:pt x="691" y="34"/>
                </a:cubicBezTo>
                <a:cubicBezTo>
                  <a:pt x="691" y="33"/>
                  <a:pt x="690" y="33"/>
                  <a:pt x="690" y="33"/>
                </a:cubicBezTo>
                <a:close/>
                <a:moveTo>
                  <a:pt x="1301" y="43"/>
                </a:moveTo>
                <a:cubicBezTo>
                  <a:pt x="1301" y="43"/>
                  <a:pt x="1301" y="43"/>
                  <a:pt x="1300" y="44"/>
                </a:cubicBezTo>
                <a:cubicBezTo>
                  <a:pt x="1301" y="44"/>
                  <a:pt x="1301" y="44"/>
                  <a:pt x="1301" y="43"/>
                </a:cubicBezTo>
                <a:close/>
                <a:moveTo>
                  <a:pt x="770" y="34"/>
                </a:moveTo>
                <a:cubicBezTo>
                  <a:pt x="770" y="34"/>
                  <a:pt x="771" y="34"/>
                  <a:pt x="771" y="33"/>
                </a:cubicBezTo>
                <a:cubicBezTo>
                  <a:pt x="771" y="33"/>
                  <a:pt x="770" y="33"/>
                  <a:pt x="770" y="34"/>
                </a:cubicBezTo>
                <a:close/>
                <a:moveTo>
                  <a:pt x="785" y="33"/>
                </a:moveTo>
                <a:cubicBezTo>
                  <a:pt x="786" y="34"/>
                  <a:pt x="786" y="34"/>
                  <a:pt x="787" y="34"/>
                </a:cubicBezTo>
                <a:cubicBezTo>
                  <a:pt x="786" y="33"/>
                  <a:pt x="786" y="33"/>
                  <a:pt x="785" y="33"/>
                </a:cubicBezTo>
                <a:close/>
                <a:moveTo>
                  <a:pt x="1548" y="16"/>
                </a:moveTo>
                <a:cubicBezTo>
                  <a:pt x="1547" y="16"/>
                  <a:pt x="1547" y="16"/>
                  <a:pt x="1546" y="16"/>
                </a:cubicBezTo>
                <a:cubicBezTo>
                  <a:pt x="1547" y="16"/>
                  <a:pt x="1547" y="16"/>
                  <a:pt x="1548" y="16"/>
                </a:cubicBezTo>
                <a:close/>
                <a:moveTo>
                  <a:pt x="1666" y="9"/>
                </a:moveTo>
                <a:cubicBezTo>
                  <a:pt x="1667" y="9"/>
                  <a:pt x="1667" y="9"/>
                  <a:pt x="1667" y="9"/>
                </a:cubicBezTo>
                <a:cubicBezTo>
                  <a:pt x="1667" y="9"/>
                  <a:pt x="1667" y="9"/>
                  <a:pt x="1666" y="9"/>
                </a:cubicBezTo>
                <a:close/>
                <a:moveTo>
                  <a:pt x="1581" y="23"/>
                </a:moveTo>
                <a:cubicBezTo>
                  <a:pt x="1581" y="24"/>
                  <a:pt x="1581" y="24"/>
                  <a:pt x="1581" y="24"/>
                </a:cubicBezTo>
                <a:cubicBezTo>
                  <a:pt x="1581" y="24"/>
                  <a:pt x="1581" y="23"/>
                  <a:pt x="1581" y="23"/>
                </a:cubicBezTo>
                <a:close/>
                <a:moveTo>
                  <a:pt x="1716" y="16"/>
                </a:moveTo>
                <a:cubicBezTo>
                  <a:pt x="1715" y="16"/>
                  <a:pt x="1715" y="16"/>
                  <a:pt x="1715" y="16"/>
                </a:cubicBezTo>
                <a:cubicBezTo>
                  <a:pt x="1715" y="16"/>
                  <a:pt x="1715" y="16"/>
                  <a:pt x="1716" y="16"/>
                </a:cubicBezTo>
                <a:close/>
                <a:moveTo>
                  <a:pt x="841" y="34"/>
                </a:moveTo>
                <a:cubicBezTo>
                  <a:pt x="842" y="34"/>
                  <a:pt x="842" y="34"/>
                  <a:pt x="842" y="33"/>
                </a:cubicBezTo>
                <a:cubicBezTo>
                  <a:pt x="842" y="33"/>
                  <a:pt x="842" y="33"/>
                  <a:pt x="841" y="34"/>
                </a:cubicBezTo>
                <a:close/>
                <a:moveTo>
                  <a:pt x="1395" y="43"/>
                </a:moveTo>
                <a:cubicBezTo>
                  <a:pt x="1395" y="44"/>
                  <a:pt x="1395" y="44"/>
                  <a:pt x="1395" y="44"/>
                </a:cubicBezTo>
                <a:cubicBezTo>
                  <a:pt x="1396" y="44"/>
                  <a:pt x="1395" y="44"/>
                  <a:pt x="1395" y="43"/>
                </a:cubicBezTo>
                <a:close/>
                <a:moveTo>
                  <a:pt x="615" y="65"/>
                </a:moveTo>
                <a:cubicBezTo>
                  <a:pt x="615" y="65"/>
                  <a:pt x="615" y="65"/>
                  <a:pt x="615" y="66"/>
                </a:cubicBezTo>
                <a:cubicBezTo>
                  <a:pt x="615" y="65"/>
                  <a:pt x="615" y="65"/>
                  <a:pt x="615" y="65"/>
                </a:cubicBezTo>
                <a:close/>
                <a:moveTo>
                  <a:pt x="718" y="17"/>
                </a:moveTo>
                <a:cubicBezTo>
                  <a:pt x="719" y="17"/>
                  <a:pt x="719" y="17"/>
                  <a:pt x="719" y="16"/>
                </a:cubicBezTo>
                <a:cubicBezTo>
                  <a:pt x="719" y="16"/>
                  <a:pt x="718" y="16"/>
                  <a:pt x="718" y="17"/>
                </a:cubicBezTo>
                <a:close/>
                <a:moveTo>
                  <a:pt x="1749" y="23"/>
                </a:moveTo>
                <a:cubicBezTo>
                  <a:pt x="1749" y="24"/>
                  <a:pt x="1749" y="24"/>
                  <a:pt x="1749" y="24"/>
                </a:cubicBezTo>
                <a:cubicBezTo>
                  <a:pt x="1749" y="24"/>
                  <a:pt x="1749" y="23"/>
                  <a:pt x="1749" y="23"/>
                </a:cubicBezTo>
                <a:close/>
                <a:moveTo>
                  <a:pt x="1479" y="20"/>
                </a:moveTo>
                <a:cubicBezTo>
                  <a:pt x="1480" y="20"/>
                  <a:pt x="1480" y="20"/>
                  <a:pt x="1480" y="19"/>
                </a:cubicBezTo>
                <a:cubicBezTo>
                  <a:pt x="1480" y="19"/>
                  <a:pt x="1480" y="19"/>
                  <a:pt x="1479" y="20"/>
                </a:cubicBezTo>
                <a:close/>
                <a:moveTo>
                  <a:pt x="1580" y="42"/>
                </a:moveTo>
                <a:cubicBezTo>
                  <a:pt x="1580" y="42"/>
                  <a:pt x="1580" y="42"/>
                  <a:pt x="1580" y="43"/>
                </a:cubicBezTo>
                <a:cubicBezTo>
                  <a:pt x="1580" y="42"/>
                  <a:pt x="1580" y="42"/>
                  <a:pt x="1580" y="42"/>
                </a:cubicBezTo>
                <a:close/>
                <a:moveTo>
                  <a:pt x="1362" y="16"/>
                </a:moveTo>
                <a:cubicBezTo>
                  <a:pt x="1362" y="16"/>
                  <a:pt x="1361" y="16"/>
                  <a:pt x="1361" y="17"/>
                </a:cubicBezTo>
                <a:cubicBezTo>
                  <a:pt x="1361" y="17"/>
                  <a:pt x="1362" y="17"/>
                  <a:pt x="1362" y="16"/>
                </a:cubicBezTo>
                <a:close/>
                <a:moveTo>
                  <a:pt x="1377" y="17"/>
                </a:moveTo>
                <a:cubicBezTo>
                  <a:pt x="1377" y="16"/>
                  <a:pt x="1376" y="16"/>
                  <a:pt x="1376" y="16"/>
                </a:cubicBezTo>
                <a:cubicBezTo>
                  <a:pt x="1376" y="17"/>
                  <a:pt x="1377" y="17"/>
                  <a:pt x="1377" y="17"/>
                </a:cubicBezTo>
                <a:close/>
                <a:moveTo>
                  <a:pt x="883" y="34"/>
                </a:moveTo>
                <a:cubicBezTo>
                  <a:pt x="883" y="34"/>
                  <a:pt x="883" y="34"/>
                  <a:pt x="884" y="33"/>
                </a:cubicBezTo>
                <a:cubicBezTo>
                  <a:pt x="883" y="33"/>
                  <a:pt x="883" y="33"/>
                  <a:pt x="883" y="34"/>
                </a:cubicBezTo>
                <a:close/>
                <a:moveTo>
                  <a:pt x="897" y="33"/>
                </a:moveTo>
                <a:cubicBezTo>
                  <a:pt x="898" y="34"/>
                  <a:pt x="898" y="34"/>
                  <a:pt x="898" y="34"/>
                </a:cubicBezTo>
                <a:cubicBezTo>
                  <a:pt x="898" y="33"/>
                  <a:pt x="898" y="33"/>
                  <a:pt x="897" y="33"/>
                </a:cubicBezTo>
                <a:close/>
                <a:moveTo>
                  <a:pt x="1068" y="33"/>
                </a:moveTo>
                <a:cubicBezTo>
                  <a:pt x="1068" y="34"/>
                  <a:pt x="1068" y="34"/>
                  <a:pt x="1069" y="34"/>
                </a:cubicBezTo>
                <a:cubicBezTo>
                  <a:pt x="1068" y="33"/>
                  <a:pt x="1068" y="33"/>
                  <a:pt x="1068" y="33"/>
                </a:cubicBezTo>
                <a:close/>
                <a:moveTo>
                  <a:pt x="1397" y="24"/>
                </a:moveTo>
                <a:cubicBezTo>
                  <a:pt x="1397" y="24"/>
                  <a:pt x="1397" y="24"/>
                  <a:pt x="1397" y="25"/>
                </a:cubicBezTo>
                <a:cubicBezTo>
                  <a:pt x="1397" y="24"/>
                  <a:pt x="1397" y="24"/>
                  <a:pt x="1397" y="24"/>
                </a:cubicBezTo>
                <a:close/>
                <a:moveTo>
                  <a:pt x="1124" y="34"/>
                </a:moveTo>
                <a:cubicBezTo>
                  <a:pt x="1125" y="34"/>
                  <a:pt x="1125" y="34"/>
                  <a:pt x="1126" y="33"/>
                </a:cubicBezTo>
                <a:cubicBezTo>
                  <a:pt x="1125" y="33"/>
                  <a:pt x="1125" y="33"/>
                  <a:pt x="1124" y="34"/>
                </a:cubicBezTo>
                <a:close/>
                <a:moveTo>
                  <a:pt x="1139" y="33"/>
                </a:moveTo>
                <a:cubicBezTo>
                  <a:pt x="1139" y="34"/>
                  <a:pt x="1140" y="34"/>
                  <a:pt x="1140" y="34"/>
                </a:cubicBezTo>
                <a:cubicBezTo>
                  <a:pt x="1140" y="33"/>
                  <a:pt x="1140" y="33"/>
                  <a:pt x="1139" y="33"/>
                </a:cubicBezTo>
                <a:close/>
                <a:moveTo>
                  <a:pt x="1683" y="24"/>
                </a:moveTo>
                <a:cubicBezTo>
                  <a:pt x="1683" y="24"/>
                  <a:pt x="1683" y="24"/>
                  <a:pt x="1683" y="25"/>
                </a:cubicBezTo>
                <a:cubicBezTo>
                  <a:pt x="1683" y="24"/>
                  <a:pt x="1683" y="24"/>
                  <a:pt x="1683" y="24"/>
                </a:cubicBezTo>
                <a:close/>
                <a:moveTo>
                  <a:pt x="1230" y="34"/>
                </a:moveTo>
                <a:cubicBezTo>
                  <a:pt x="1230" y="34"/>
                  <a:pt x="1231" y="34"/>
                  <a:pt x="1231" y="33"/>
                </a:cubicBezTo>
                <a:cubicBezTo>
                  <a:pt x="1231" y="33"/>
                  <a:pt x="1230" y="33"/>
                  <a:pt x="1230" y="34"/>
                </a:cubicBezTo>
                <a:close/>
                <a:moveTo>
                  <a:pt x="537" y="25"/>
                </a:moveTo>
                <a:cubicBezTo>
                  <a:pt x="538" y="25"/>
                  <a:pt x="538" y="24"/>
                  <a:pt x="538" y="24"/>
                </a:cubicBezTo>
                <a:cubicBezTo>
                  <a:pt x="537" y="24"/>
                  <a:pt x="537" y="25"/>
                  <a:pt x="537" y="25"/>
                </a:cubicBezTo>
                <a:close/>
                <a:moveTo>
                  <a:pt x="560" y="17"/>
                </a:moveTo>
                <a:cubicBezTo>
                  <a:pt x="560" y="17"/>
                  <a:pt x="559" y="17"/>
                  <a:pt x="559" y="17"/>
                </a:cubicBezTo>
                <a:cubicBezTo>
                  <a:pt x="559" y="17"/>
                  <a:pt x="560" y="17"/>
                  <a:pt x="560" y="17"/>
                </a:cubicBezTo>
                <a:close/>
                <a:moveTo>
                  <a:pt x="717" y="17"/>
                </a:moveTo>
                <a:cubicBezTo>
                  <a:pt x="717" y="17"/>
                  <a:pt x="718" y="17"/>
                  <a:pt x="718" y="17"/>
                </a:cubicBezTo>
                <a:cubicBezTo>
                  <a:pt x="718" y="17"/>
                  <a:pt x="717" y="16"/>
                  <a:pt x="717" y="17"/>
                </a:cubicBezTo>
                <a:close/>
                <a:moveTo>
                  <a:pt x="610" y="50"/>
                </a:moveTo>
                <a:cubicBezTo>
                  <a:pt x="610" y="50"/>
                  <a:pt x="610" y="50"/>
                  <a:pt x="610" y="51"/>
                </a:cubicBezTo>
                <a:cubicBezTo>
                  <a:pt x="610" y="50"/>
                  <a:pt x="610" y="50"/>
                  <a:pt x="610" y="50"/>
                </a:cubicBezTo>
                <a:close/>
                <a:moveTo>
                  <a:pt x="1478" y="20"/>
                </a:moveTo>
                <a:cubicBezTo>
                  <a:pt x="1479" y="20"/>
                  <a:pt x="1479" y="20"/>
                  <a:pt x="1479" y="20"/>
                </a:cubicBezTo>
                <a:cubicBezTo>
                  <a:pt x="1479" y="20"/>
                  <a:pt x="1479" y="20"/>
                  <a:pt x="1478" y="20"/>
                </a:cubicBezTo>
                <a:close/>
                <a:moveTo>
                  <a:pt x="1748" y="42"/>
                </a:moveTo>
                <a:cubicBezTo>
                  <a:pt x="1748" y="42"/>
                  <a:pt x="1748" y="42"/>
                  <a:pt x="1748" y="43"/>
                </a:cubicBezTo>
                <a:cubicBezTo>
                  <a:pt x="1749" y="42"/>
                  <a:pt x="1748" y="42"/>
                  <a:pt x="1748" y="42"/>
                </a:cubicBezTo>
                <a:close/>
                <a:moveTo>
                  <a:pt x="601" y="57"/>
                </a:moveTo>
                <a:cubicBezTo>
                  <a:pt x="601" y="56"/>
                  <a:pt x="601" y="56"/>
                  <a:pt x="600" y="56"/>
                </a:cubicBezTo>
                <a:cubicBezTo>
                  <a:pt x="600" y="56"/>
                  <a:pt x="600" y="56"/>
                  <a:pt x="601" y="57"/>
                </a:cubicBezTo>
                <a:close/>
                <a:moveTo>
                  <a:pt x="1245" y="33"/>
                </a:moveTo>
                <a:cubicBezTo>
                  <a:pt x="1246" y="34"/>
                  <a:pt x="1246" y="34"/>
                  <a:pt x="1246" y="34"/>
                </a:cubicBezTo>
                <a:cubicBezTo>
                  <a:pt x="1246" y="33"/>
                  <a:pt x="1246" y="33"/>
                  <a:pt x="1245" y="33"/>
                </a:cubicBezTo>
                <a:close/>
                <a:moveTo>
                  <a:pt x="608" y="44"/>
                </a:moveTo>
                <a:cubicBezTo>
                  <a:pt x="608" y="44"/>
                  <a:pt x="608" y="45"/>
                  <a:pt x="608" y="45"/>
                </a:cubicBezTo>
                <a:cubicBezTo>
                  <a:pt x="608" y="44"/>
                  <a:pt x="608" y="44"/>
                  <a:pt x="608" y="44"/>
                </a:cubicBezTo>
                <a:close/>
                <a:moveTo>
                  <a:pt x="641" y="43"/>
                </a:moveTo>
                <a:cubicBezTo>
                  <a:pt x="641" y="43"/>
                  <a:pt x="642" y="42"/>
                  <a:pt x="642" y="42"/>
                </a:cubicBezTo>
                <a:cubicBezTo>
                  <a:pt x="641" y="42"/>
                  <a:pt x="641" y="43"/>
                  <a:pt x="641" y="43"/>
                </a:cubicBezTo>
                <a:close/>
                <a:moveTo>
                  <a:pt x="1466" y="24"/>
                </a:moveTo>
                <a:cubicBezTo>
                  <a:pt x="1466" y="24"/>
                  <a:pt x="1466" y="25"/>
                  <a:pt x="1467" y="25"/>
                </a:cubicBezTo>
                <a:cubicBezTo>
                  <a:pt x="1467" y="25"/>
                  <a:pt x="1467" y="24"/>
                  <a:pt x="1466" y="24"/>
                </a:cubicBezTo>
                <a:close/>
                <a:moveTo>
                  <a:pt x="1301" y="34"/>
                </a:moveTo>
                <a:cubicBezTo>
                  <a:pt x="1302" y="34"/>
                  <a:pt x="1302" y="34"/>
                  <a:pt x="1302" y="33"/>
                </a:cubicBezTo>
                <a:cubicBezTo>
                  <a:pt x="1302" y="33"/>
                  <a:pt x="1301" y="33"/>
                  <a:pt x="1301" y="34"/>
                </a:cubicBezTo>
                <a:close/>
                <a:moveTo>
                  <a:pt x="1310" y="33"/>
                </a:moveTo>
                <a:cubicBezTo>
                  <a:pt x="1310" y="34"/>
                  <a:pt x="1311" y="34"/>
                  <a:pt x="1311" y="34"/>
                </a:cubicBezTo>
                <a:cubicBezTo>
                  <a:pt x="1311" y="33"/>
                  <a:pt x="1310" y="33"/>
                  <a:pt x="1310" y="33"/>
                </a:cubicBezTo>
                <a:close/>
                <a:moveTo>
                  <a:pt x="672" y="34"/>
                </a:moveTo>
                <a:cubicBezTo>
                  <a:pt x="673" y="34"/>
                  <a:pt x="673" y="34"/>
                  <a:pt x="674" y="34"/>
                </a:cubicBezTo>
                <a:cubicBezTo>
                  <a:pt x="673" y="34"/>
                  <a:pt x="673" y="34"/>
                  <a:pt x="672" y="34"/>
                </a:cubicBezTo>
                <a:close/>
                <a:moveTo>
                  <a:pt x="691" y="34"/>
                </a:moveTo>
                <a:cubicBezTo>
                  <a:pt x="691" y="34"/>
                  <a:pt x="692" y="34"/>
                  <a:pt x="692" y="34"/>
                </a:cubicBezTo>
                <a:cubicBezTo>
                  <a:pt x="692" y="34"/>
                  <a:pt x="692" y="34"/>
                  <a:pt x="691" y="34"/>
                </a:cubicBezTo>
                <a:close/>
                <a:moveTo>
                  <a:pt x="640" y="47"/>
                </a:moveTo>
                <a:cubicBezTo>
                  <a:pt x="640" y="47"/>
                  <a:pt x="640" y="46"/>
                  <a:pt x="640" y="46"/>
                </a:cubicBezTo>
                <a:cubicBezTo>
                  <a:pt x="640" y="46"/>
                  <a:pt x="640" y="46"/>
                  <a:pt x="640" y="47"/>
                </a:cubicBezTo>
                <a:close/>
                <a:moveTo>
                  <a:pt x="632" y="67"/>
                </a:moveTo>
                <a:cubicBezTo>
                  <a:pt x="633" y="66"/>
                  <a:pt x="633" y="66"/>
                  <a:pt x="633" y="66"/>
                </a:cubicBezTo>
                <a:cubicBezTo>
                  <a:pt x="632" y="66"/>
                  <a:pt x="632" y="66"/>
                  <a:pt x="632" y="67"/>
                </a:cubicBezTo>
                <a:close/>
                <a:moveTo>
                  <a:pt x="840" y="34"/>
                </a:moveTo>
                <a:cubicBezTo>
                  <a:pt x="841" y="34"/>
                  <a:pt x="841" y="34"/>
                  <a:pt x="841" y="34"/>
                </a:cubicBezTo>
                <a:cubicBezTo>
                  <a:pt x="841" y="34"/>
                  <a:pt x="841" y="34"/>
                  <a:pt x="840" y="34"/>
                </a:cubicBezTo>
                <a:close/>
                <a:moveTo>
                  <a:pt x="1264" y="52"/>
                </a:moveTo>
                <a:cubicBezTo>
                  <a:pt x="1264" y="53"/>
                  <a:pt x="1264" y="53"/>
                  <a:pt x="1265" y="54"/>
                </a:cubicBezTo>
                <a:cubicBezTo>
                  <a:pt x="1265" y="53"/>
                  <a:pt x="1265" y="53"/>
                  <a:pt x="1264" y="52"/>
                </a:cubicBezTo>
                <a:close/>
                <a:moveTo>
                  <a:pt x="632" y="68"/>
                </a:moveTo>
                <a:cubicBezTo>
                  <a:pt x="632" y="67"/>
                  <a:pt x="632" y="67"/>
                  <a:pt x="632" y="67"/>
                </a:cubicBezTo>
                <a:cubicBezTo>
                  <a:pt x="632" y="67"/>
                  <a:pt x="632" y="67"/>
                  <a:pt x="632" y="68"/>
                </a:cubicBezTo>
                <a:close/>
                <a:moveTo>
                  <a:pt x="559" y="17"/>
                </a:moveTo>
                <a:cubicBezTo>
                  <a:pt x="559" y="17"/>
                  <a:pt x="558" y="17"/>
                  <a:pt x="558" y="17"/>
                </a:cubicBezTo>
                <a:cubicBezTo>
                  <a:pt x="558" y="17"/>
                  <a:pt x="559" y="17"/>
                  <a:pt x="559" y="17"/>
                </a:cubicBezTo>
                <a:close/>
                <a:moveTo>
                  <a:pt x="576" y="17"/>
                </a:moveTo>
                <a:cubicBezTo>
                  <a:pt x="576" y="17"/>
                  <a:pt x="576" y="17"/>
                  <a:pt x="575" y="17"/>
                </a:cubicBezTo>
                <a:cubicBezTo>
                  <a:pt x="576" y="17"/>
                  <a:pt x="576" y="17"/>
                  <a:pt x="576" y="17"/>
                </a:cubicBezTo>
                <a:close/>
                <a:moveTo>
                  <a:pt x="716" y="17"/>
                </a:moveTo>
                <a:cubicBezTo>
                  <a:pt x="716" y="17"/>
                  <a:pt x="717" y="17"/>
                  <a:pt x="717" y="17"/>
                </a:cubicBezTo>
                <a:cubicBezTo>
                  <a:pt x="717" y="17"/>
                  <a:pt x="716" y="17"/>
                  <a:pt x="716" y="17"/>
                </a:cubicBezTo>
                <a:close/>
                <a:moveTo>
                  <a:pt x="989" y="17"/>
                </a:moveTo>
                <a:cubicBezTo>
                  <a:pt x="989" y="17"/>
                  <a:pt x="988" y="17"/>
                  <a:pt x="988" y="17"/>
                </a:cubicBezTo>
                <a:cubicBezTo>
                  <a:pt x="989" y="17"/>
                  <a:pt x="989" y="17"/>
                  <a:pt x="989" y="17"/>
                </a:cubicBezTo>
                <a:close/>
                <a:moveTo>
                  <a:pt x="1010" y="17"/>
                </a:moveTo>
                <a:cubicBezTo>
                  <a:pt x="1010" y="17"/>
                  <a:pt x="1009" y="17"/>
                  <a:pt x="1009" y="17"/>
                </a:cubicBezTo>
                <a:cubicBezTo>
                  <a:pt x="1009" y="17"/>
                  <a:pt x="1010" y="17"/>
                  <a:pt x="1010" y="17"/>
                </a:cubicBezTo>
                <a:close/>
                <a:moveTo>
                  <a:pt x="1477" y="21"/>
                </a:moveTo>
                <a:cubicBezTo>
                  <a:pt x="1478" y="20"/>
                  <a:pt x="1478" y="20"/>
                  <a:pt x="1478" y="20"/>
                </a:cubicBezTo>
                <a:cubicBezTo>
                  <a:pt x="1478" y="20"/>
                  <a:pt x="1477" y="20"/>
                  <a:pt x="1477" y="21"/>
                </a:cubicBezTo>
                <a:close/>
                <a:moveTo>
                  <a:pt x="1030" y="58"/>
                </a:moveTo>
                <a:cubicBezTo>
                  <a:pt x="1031" y="57"/>
                  <a:pt x="1031" y="57"/>
                  <a:pt x="1031" y="57"/>
                </a:cubicBezTo>
                <a:cubicBezTo>
                  <a:pt x="1030" y="57"/>
                  <a:pt x="1030" y="57"/>
                  <a:pt x="1030" y="58"/>
                </a:cubicBezTo>
                <a:close/>
                <a:moveTo>
                  <a:pt x="898" y="34"/>
                </a:moveTo>
                <a:cubicBezTo>
                  <a:pt x="899" y="34"/>
                  <a:pt x="899" y="34"/>
                  <a:pt x="899" y="34"/>
                </a:cubicBezTo>
                <a:cubicBezTo>
                  <a:pt x="899" y="34"/>
                  <a:pt x="899" y="34"/>
                  <a:pt x="898" y="34"/>
                </a:cubicBezTo>
                <a:close/>
                <a:moveTo>
                  <a:pt x="911" y="47"/>
                </a:moveTo>
                <a:cubicBezTo>
                  <a:pt x="911" y="47"/>
                  <a:pt x="911" y="48"/>
                  <a:pt x="911" y="48"/>
                </a:cubicBezTo>
                <a:cubicBezTo>
                  <a:pt x="911" y="48"/>
                  <a:pt x="911" y="47"/>
                  <a:pt x="911" y="47"/>
                </a:cubicBezTo>
                <a:close/>
                <a:moveTo>
                  <a:pt x="651" y="46"/>
                </a:moveTo>
                <a:cubicBezTo>
                  <a:pt x="651" y="46"/>
                  <a:pt x="651" y="46"/>
                  <a:pt x="651" y="47"/>
                </a:cubicBezTo>
                <a:cubicBezTo>
                  <a:pt x="651" y="47"/>
                  <a:pt x="651" y="46"/>
                  <a:pt x="651" y="46"/>
                </a:cubicBezTo>
                <a:close/>
                <a:moveTo>
                  <a:pt x="1051" y="34"/>
                </a:moveTo>
                <a:cubicBezTo>
                  <a:pt x="1051" y="34"/>
                  <a:pt x="1052" y="34"/>
                  <a:pt x="1052" y="34"/>
                </a:cubicBezTo>
                <a:cubicBezTo>
                  <a:pt x="1052" y="34"/>
                  <a:pt x="1051" y="34"/>
                  <a:pt x="1051" y="34"/>
                </a:cubicBezTo>
                <a:close/>
                <a:moveTo>
                  <a:pt x="804" y="50"/>
                </a:moveTo>
                <a:cubicBezTo>
                  <a:pt x="804" y="51"/>
                  <a:pt x="804" y="51"/>
                  <a:pt x="804" y="51"/>
                </a:cubicBezTo>
                <a:cubicBezTo>
                  <a:pt x="804" y="51"/>
                  <a:pt x="804" y="51"/>
                  <a:pt x="804" y="50"/>
                </a:cubicBezTo>
                <a:close/>
                <a:moveTo>
                  <a:pt x="1683" y="25"/>
                </a:moveTo>
                <a:cubicBezTo>
                  <a:pt x="1683" y="25"/>
                  <a:pt x="1683" y="25"/>
                  <a:pt x="1684" y="26"/>
                </a:cubicBezTo>
                <a:cubicBezTo>
                  <a:pt x="1684" y="25"/>
                  <a:pt x="1684" y="25"/>
                  <a:pt x="1683" y="25"/>
                </a:cubicBezTo>
                <a:close/>
                <a:moveTo>
                  <a:pt x="1069" y="34"/>
                </a:moveTo>
                <a:cubicBezTo>
                  <a:pt x="1069" y="34"/>
                  <a:pt x="1070" y="34"/>
                  <a:pt x="1070" y="34"/>
                </a:cubicBezTo>
                <a:cubicBezTo>
                  <a:pt x="1070" y="34"/>
                  <a:pt x="1069" y="34"/>
                  <a:pt x="1069" y="34"/>
                </a:cubicBezTo>
                <a:close/>
                <a:moveTo>
                  <a:pt x="638" y="51"/>
                </a:moveTo>
                <a:cubicBezTo>
                  <a:pt x="639" y="50"/>
                  <a:pt x="639" y="50"/>
                  <a:pt x="639" y="50"/>
                </a:cubicBezTo>
                <a:cubicBezTo>
                  <a:pt x="638" y="50"/>
                  <a:pt x="638" y="50"/>
                  <a:pt x="638" y="51"/>
                </a:cubicBezTo>
                <a:close/>
                <a:moveTo>
                  <a:pt x="1123" y="34"/>
                </a:moveTo>
                <a:cubicBezTo>
                  <a:pt x="1124" y="34"/>
                  <a:pt x="1124" y="34"/>
                  <a:pt x="1124" y="34"/>
                </a:cubicBezTo>
                <a:cubicBezTo>
                  <a:pt x="1124" y="34"/>
                  <a:pt x="1124" y="34"/>
                  <a:pt x="1123" y="34"/>
                </a:cubicBezTo>
                <a:close/>
                <a:moveTo>
                  <a:pt x="1140" y="34"/>
                </a:moveTo>
                <a:cubicBezTo>
                  <a:pt x="1141" y="34"/>
                  <a:pt x="1141" y="34"/>
                  <a:pt x="1141" y="34"/>
                </a:cubicBezTo>
                <a:cubicBezTo>
                  <a:pt x="1141" y="34"/>
                  <a:pt x="1141" y="34"/>
                  <a:pt x="1140" y="34"/>
                </a:cubicBezTo>
                <a:close/>
                <a:moveTo>
                  <a:pt x="1385" y="26"/>
                </a:moveTo>
                <a:cubicBezTo>
                  <a:pt x="1385" y="26"/>
                  <a:pt x="1385" y="25"/>
                  <a:pt x="1385" y="25"/>
                </a:cubicBezTo>
                <a:cubicBezTo>
                  <a:pt x="1385" y="25"/>
                  <a:pt x="1385" y="26"/>
                  <a:pt x="1385" y="26"/>
                </a:cubicBezTo>
                <a:close/>
                <a:moveTo>
                  <a:pt x="1414" y="26"/>
                </a:moveTo>
                <a:cubicBezTo>
                  <a:pt x="1414" y="26"/>
                  <a:pt x="1414" y="25"/>
                  <a:pt x="1414" y="25"/>
                </a:cubicBezTo>
                <a:cubicBezTo>
                  <a:pt x="1414" y="25"/>
                  <a:pt x="1414" y="26"/>
                  <a:pt x="1414" y="26"/>
                </a:cubicBezTo>
                <a:close/>
                <a:moveTo>
                  <a:pt x="952" y="43"/>
                </a:moveTo>
                <a:cubicBezTo>
                  <a:pt x="952" y="43"/>
                  <a:pt x="952" y="42"/>
                  <a:pt x="952" y="42"/>
                </a:cubicBezTo>
                <a:cubicBezTo>
                  <a:pt x="952" y="42"/>
                  <a:pt x="952" y="43"/>
                  <a:pt x="952" y="43"/>
                </a:cubicBezTo>
                <a:close/>
                <a:moveTo>
                  <a:pt x="1467" y="25"/>
                </a:moveTo>
                <a:cubicBezTo>
                  <a:pt x="1467" y="25"/>
                  <a:pt x="1467" y="26"/>
                  <a:pt x="1467" y="26"/>
                </a:cubicBezTo>
                <a:cubicBezTo>
                  <a:pt x="1467" y="26"/>
                  <a:pt x="1467" y="25"/>
                  <a:pt x="1467" y="25"/>
                </a:cubicBezTo>
                <a:close/>
                <a:moveTo>
                  <a:pt x="1229" y="34"/>
                </a:moveTo>
                <a:cubicBezTo>
                  <a:pt x="1229" y="34"/>
                  <a:pt x="1230" y="34"/>
                  <a:pt x="1230" y="34"/>
                </a:cubicBezTo>
                <a:cubicBezTo>
                  <a:pt x="1229" y="34"/>
                  <a:pt x="1229" y="34"/>
                  <a:pt x="1229" y="34"/>
                </a:cubicBezTo>
                <a:close/>
                <a:moveTo>
                  <a:pt x="715" y="18"/>
                </a:moveTo>
                <a:cubicBezTo>
                  <a:pt x="715" y="18"/>
                  <a:pt x="716" y="18"/>
                  <a:pt x="716" y="17"/>
                </a:cubicBezTo>
                <a:cubicBezTo>
                  <a:pt x="716" y="17"/>
                  <a:pt x="715" y="17"/>
                  <a:pt x="715" y="18"/>
                </a:cubicBezTo>
                <a:close/>
                <a:moveTo>
                  <a:pt x="988" y="17"/>
                </a:moveTo>
                <a:cubicBezTo>
                  <a:pt x="988" y="17"/>
                  <a:pt x="987" y="17"/>
                  <a:pt x="987" y="18"/>
                </a:cubicBezTo>
                <a:cubicBezTo>
                  <a:pt x="987" y="18"/>
                  <a:pt x="988" y="18"/>
                  <a:pt x="988" y="17"/>
                </a:cubicBezTo>
                <a:close/>
                <a:moveTo>
                  <a:pt x="1011" y="18"/>
                </a:moveTo>
                <a:cubicBezTo>
                  <a:pt x="1011" y="17"/>
                  <a:pt x="1011" y="17"/>
                  <a:pt x="1010" y="17"/>
                </a:cubicBezTo>
                <a:cubicBezTo>
                  <a:pt x="1010" y="18"/>
                  <a:pt x="1011" y="18"/>
                  <a:pt x="1011" y="18"/>
                </a:cubicBezTo>
                <a:close/>
                <a:moveTo>
                  <a:pt x="1247" y="34"/>
                </a:moveTo>
                <a:cubicBezTo>
                  <a:pt x="1247" y="34"/>
                  <a:pt x="1247" y="34"/>
                  <a:pt x="1248" y="34"/>
                </a:cubicBezTo>
                <a:cubicBezTo>
                  <a:pt x="1248" y="34"/>
                  <a:pt x="1247" y="34"/>
                  <a:pt x="1247" y="34"/>
                </a:cubicBezTo>
                <a:close/>
                <a:moveTo>
                  <a:pt x="1209" y="56"/>
                </a:moveTo>
                <a:cubicBezTo>
                  <a:pt x="1209" y="56"/>
                  <a:pt x="1209" y="56"/>
                  <a:pt x="1209" y="55"/>
                </a:cubicBezTo>
                <a:cubicBezTo>
                  <a:pt x="1208" y="55"/>
                  <a:pt x="1209" y="56"/>
                  <a:pt x="1209" y="56"/>
                </a:cubicBezTo>
                <a:close/>
                <a:moveTo>
                  <a:pt x="901" y="53"/>
                </a:moveTo>
                <a:cubicBezTo>
                  <a:pt x="901" y="53"/>
                  <a:pt x="901" y="53"/>
                  <a:pt x="901" y="52"/>
                </a:cubicBezTo>
                <a:cubicBezTo>
                  <a:pt x="901" y="53"/>
                  <a:pt x="900" y="53"/>
                  <a:pt x="901" y="53"/>
                </a:cubicBezTo>
                <a:close/>
                <a:moveTo>
                  <a:pt x="549" y="34"/>
                </a:moveTo>
                <a:cubicBezTo>
                  <a:pt x="549" y="34"/>
                  <a:pt x="549" y="35"/>
                  <a:pt x="549" y="35"/>
                </a:cubicBezTo>
                <a:cubicBezTo>
                  <a:pt x="549" y="35"/>
                  <a:pt x="549" y="34"/>
                  <a:pt x="549" y="34"/>
                </a:cubicBezTo>
                <a:close/>
                <a:moveTo>
                  <a:pt x="671" y="34"/>
                </a:moveTo>
                <a:cubicBezTo>
                  <a:pt x="672" y="34"/>
                  <a:pt x="672" y="34"/>
                  <a:pt x="673" y="34"/>
                </a:cubicBezTo>
                <a:cubicBezTo>
                  <a:pt x="672" y="34"/>
                  <a:pt x="672" y="34"/>
                  <a:pt x="671" y="34"/>
                </a:cubicBezTo>
                <a:close/>
                <a:moveTo>
                  <a:pt x="692" y="34"/>
                </a:moveTo>
                <a:cubicBezTo>
                  <a:pt x="693" y="34"/>
                  <a:pt x="693" y="34"/>
                  <a:pt x="693" y="34"/>
                </a:cubicBezTo>
                <a:cubicBezTo>
                  <a:pt x="693" y="34"/>
                  <a:pt x="693" y="34"/>
                  <a:pt x="692" y="34"/>
                </a:cubicBezTo>
                <a:close/>
                <a:moveTo>
                  <a:pt x="1581" y="40"/>
                </a:moveTo>
                <a:cubicBezTo>
                  <a:pt x="1580" y="41"/>
                  <a:pt x="1580" y="41"/>
                  <a:pt x="1580" y="42"/>
                </a:cubicBezTo>
                <a:cubicBezTo>
                  <a:pt x="1581" y="41"/>
                  <a:pt x="1581" y="41"/>
                  <a:pt x="1581" y="40"/>
                </a:cubicBezTo>
                <a:close/>
                <a:moveTo>
                  <a:pt x="653" y="42"/>
                </a:moveTo>
                <a:cubicBezTo>
                  <a:pt x="652" y="43"/>
                  <a:pt x="652" y="43"/>
                  <a:pt x="652" y="43"/>
                </a:cubicBezTo>
                <a:cubicBezTo>
                  <a:pt x="653" y="43"/>
                  <a:pt x="653" y="43"/>
                  <a:pt x="653" y="42"/>
                </a:cubicBezTo>
                <a:close/>
                <a:moveTo>
                  <a:pt x="678" y="42"/>
                </a:moveTo>
                <a:cubicBezTo>
                  <a:pt x="677" y="42"/>
                  <a:pt x="677" y="42"/>
                  <a:pt x="677" y="43"/>
                </a:cubicBezTo>
                <a:cubicBezTo>
                  <a:pt x="677" y="43"/>
                  <a:pt x="677" y="43"/>
                  <a:pt x="678" y="42"/>
                </a:cubicBezTo>
                <a:close/>
                <a:moveTo>
                  <a:pt x="604" y="65"/>
                </a:moveTo>
                <a:cubicBezTo>
                  <a:pt x="604" y="64"/>
                  <a:pt x="604" y="64"/>
                  <a:pt x="604" y="64"/>
                </a:cubicBezTo>
                <a:cubicBezTo>
                  <a:pt x="604" y="64"/>
                  <a:pt x="603" y="64"/>
                  <a:pt x="604" y="65"/>
                </a:cubicBezTo>
                <a:close/>
                <a:moveTo>
                  <a:pt x="610" y="51"/>
                </a:moveTo>
                <a:cubicBezTo>
                  <a:pt x="610" y="51"/>
                  <a:pt x="610" y="51"/>
                  <a:pt x="611" y="52"/>
                </a:cubicBezTo>
                <a:cubicBezTo>
                  <a:pt x="611" y="51"/>
                  <a:pt x="611" y="51"/>
                  <a:pt x="610" y="51"/>
                </a:cubicBezTo>
                <a:close/>
                <a:moveTo>
                  <a:pt x="1153" y="47"/>
                </a:moveTo>
                <a:cubicBezTo>
                  <a:pt x="1153" y="47"/>
                  <a:pt x="1153" y="48"/>
                  <a:pt x="1154" y="48"/>
                </a:cubicBezTo>
                <a:cubicBezTo>
                  <a:pt x="1154" y="48"/>
                  <a:pt x="1154" y="47"/>
                  <a:pt x="1153" y="47"/>
                </a:cubicBezTo>
                <a:close/>
                <a:moveTo>
                  <a:pt x="598" y="50"/>
                </a:moveTo>
                <a:cubicBezTo>
                  <a:pt x="598" y="50"/>
                  <a:pt x="598" y="50"/>
                  <a:pt x="598" y="49"/>
                </a:cubicBezTo>
                <a:cubicBezTo>
                  <a:pt x="598" y="50"/>
                  <a:pt x="598" y="50"/>
                  <a:pt x="598" y="50"/>
                </a:cubicBezTo>
                <a:close/>
                <a:moveTo>
                  <a:pt x="829" y="55"/>
                </a:moveTo>
                <a:cubicBezTo>
                  <a:pt x="829" y="55"/>
                  <a:pt x="829" y="56"/>
                  <a:pt x="829" y="56"/>
                </a:cubicBezTo>
                <a:cubicBezTo>
                  <a:pt x="829" y="56"/>
                  <a:pt x="829" y="55"/>
                  <a:pt x="829" y="55"/>
                </a:cubicBezTo>
                <a:close/>
                <a:moveTo>
                  <a:pt x="841" y="42"/>
                </a:moveTo>
                <a:cubicBezTo>
                  <a:pt x="841" y="42"/>
                  <a:pt x="840" y="42"/>
                  <a:pt x="840" y="43"/>
                </a:cubicBezTo>
                <a:cubicBezTo>
                  <a:pt x="840" y="43"/>
                  <a:pt x="841" y="43"/>
                  <a:pt x="841" y="42"/>
                </a:cubicBezTo>
                <a:close/>
                <a:moveTo>
                  <a:pt x="849" y="43"/>
                </a:moveTo>
                <a:cubicBezTo>
                  <a:pt x="849" y="42"/>
                  <a:pt x="848" y="42"/>
                  <a:pt x="848" y="42"/>
                </a:cubicBezTo>
                <a:cubicBezTo>
                  <a:pt x="848" y="43"/>
                  <a:pt x="849" y="43"/>
                  <a:pt x="849" y="43"/>
                </a:cubicBezTo>
                <a:close/>
                <a:moveTo>
                  <a:pt x="1385" y="39"/>
                </a:moveTo>
                <a:cubicBezTo>
                  <a:pt x="1386" y="39"/>
                  <a:pt x="1386" y="38"/>
                  <a:pt x="1386" y="38"/>
                </a:cubicBezTo>
                <a:cubicBezTo>
                  <a:pt x="1385" y="38"/>
                  <a:pt x="1385" y="39"/>
                  <a:pt x="1385" y="39"/>
                </a:cubicBezTo>
                <a:close/>
                <a:moveTo>
                  <a:pt x="1570" y="27"/>
                </a:moveTo>
                <a:cubicBezTo>
                  <a:pt x="1570" y="26"/>
                  <a:pt x="1570" y="26"/>
                  <a:pt x="1570" y="26"/>
                </a:cubicBezTo>
                <a:cubicBezTo>
                  <a:pt x="1570" y="26"/>
                  <a:pt x="1569" y="26"/>
                  <a:pt x="1570" y="27"/>
                </a:cubicBezTo>
                <a:close/>
                <a:moveTo>
                  <a:pt x="803" y="49"/>
                </a:moveTo>
                <a:cubicBezTo>
                  <a:pt x="803" y="50"/>
                  <a:pt x="803" y="50"/>
                  <a:pt x="804" y="50"/>
                </a:cubicBezTo>
                <a:cubicBezTo>
                  <a:pt x="804" y="50"/>
                  <a:pt x="804" y="50"/>
                  <a:pt x="803" y="49"/>
                </a:cubicBezTo>
                <a:close/>
                <a:moveTo>
                  <a:pt x="1738" y="27"/>
                </a:moveTo>
                <a:cubicBezTo>
                  <a:pt x="1738" y="26"/>
                  <a:pt x="1738" y="26"/>
                  <a:pt x="1738" y="26"/>
                </a:cubicBezTo>
                <a:cubicBezTo>
                  <a:pt x="1738" y="26"/>
                  <a:pt x="1738" y="26"/>
                  <a:pt x="1738" y="27"/>
                </a:cubicBezTo>
                <a:close/>
                <a:moveTo>
                  <a:pt x="892" y="43"/>
                </a:moveTo>
                <a:cubicBezTo>
                  <a:pt x="892" y="42"/>
                  <a:pt x="891" y="42"/>
                  <a:pt x="891" y="42"/>
                </a:cubicBezTo>
                <a:cubicBezTo>
                  <a:pt x="891" y="43"/>
                  <a:pt x="892" y="43"/>
                  <a:pt x="892" y="43"/>
                </a:cubicBezTo>
                <a:close/>
                <a:moveTo>
                  <a:pt x="964" y="42"/>
                </a:moveTo>
                <a:cubicBezTo>
                  <a:pt x="964" y="43"/>
                  <a:pt x="964" y="43"/>
                  <a:pt x="964" y="43"/>
                </a:cubicBezTo>
                <a:cubicBezTo>
                  <a:pt x="964" y="43"/>
                  <a:pt x="964" y="43"/>
                  <a:pt x="964" y="42"/>
                </a:cubicBezTo>
                <a:close/>
                <a:moveTo>
                  <a:pt x="1125" y="42"/>
                </a:moveTo>
                <a:cubicBezTo>
                  <a:pt x="1125" y="42"/>
                  <a:pt x="1124" y="42"/>
                  <a:pt x="1124" y="43"/>
                </a:cubicBezTo>
                <a:cubicBezTo>
                  <a:pt x="1124" y="43"/>
                  <a:pt x="1125" y="43"/>
                  <a:pt x="1125" y="42"/>
                </a:cubicBezTo>
                <a:close/>
                <a:moveTo>
                  <a:pt x="549" y="26"/>
                </a:moveTo>
                <a:cubicBezTo>
                  <a:pt x="549" y="26"/>
                  <a:pt x="549" y="27"/>
                  <a:pt x="549" y="27"/>
                </a:cubicBezTo>
                <a:cubicBezTo>
                  <a:pt x="549" y="27"/>
                  <a:pt x="549" y="26"/>
                  <a:pt x="549" y="26"/>
                </a:cubicBezTo>
                <a:close/>
                <a:moveTo>
                  <a:pt x="1737" y="42"/>
                </a:moveTo>
                <a:cubicBezTo>
                  <a:pt x="1737" y="41"/>
                  <a:pt x="1737" y="41"/>
                  <a:pt x="1737" y="41"/>
                </a:cubicBezTo>
                <a:cubicBezTo>
                  <a:pt x="1737" y="41"/>
                  <a:pt x="1737" y="41"/>
                  <a:pt x="1737" y="42"/>
                </a:cubicBezTo>
                <a:close/>
                <a:moveTo>
                  <a:pt x="1396" y="21"/>
                </a:moveTo>
                <a:cubicBezTo>
                  <a:pt x="1396" y="22"/>
                  <a:pt x="1396" y="22"/>
                  <a:pt x="1396" y="22"/>
                </a:cubicBezTo>
                <a:cubicBezTo>
                  <a:pt x="1396" y="22"/>
                  <a:pt x="1396" y="21"/>
                  <a:pt x="1396" y="21"/>
                </a:cubicBezTo>
                <a:close/>
                <a:moveTo>
                  <a:pt x="1013" y="18"/>
                </a:moveTo>
                <a:cubicBezTo>
                  <a:pt x="1012" y="18"/>
                  <a:pt x="1012" y="18"/>
                  <a:pt x="1012" y="18"/>
                </a:cubicBezTo>
                <a:cubicBezTo>
                  <a:pt x="1012" y="18"/>
                  <a:pt x="1012" y="18"/>
                  <a:pt x="1013" y="18"/>
                </a:cubicBezTo>
                <a:close/>
                <a:moveTo>
                  <a:pt x="1386" y="27"/>
                </a:moveTo>
                <a:cubicBezTo>
                  <a:pt x="1386" y="27"/>
                  <a:pt x="1386" y="26"/>
                  <a:pt x="1385" y="26"/>
                </a:cubicBezTo>
                <a:cubicBezTo>
                  <a:pt x="1385" y="26"/>
                  <a:pt x="1385" y="27"/>
                  <a:pt x="1386" y="27"/>
                </a:cubicBezTo>
                <a:close/>
                <a:moveTo>
                  <a:pt x="1050" y="34"/>
                </a:moveTo>
                <a:cubicBezTo>
                  <a:pt x="1050" y="34"/>
                  <a:pt x="1051" y="34"/>
                  <a:pt x="1051" y="34"/>
                </a:cubicBezTo>
                <a:cubicBezTo>
                  <a:pt x="1050" y="34"/>
                  <a:pt x="1050" y="34"/>
                  <a:pt x="1050" y="34"/>
                </a:cubicBezTo>
                <a:close/>
                <a:moveTo>
                  <a:pt x="1467" y="26"/>
                </a:moveTo>
                <a:cubicBezTo>
                  <a:pt x="1467" y="26"/>
                  <a:pt x="1467" y="27"/>
                  <a:pt x="1468" y="27"/>
                </a:cubicBezTo>
                <a:cubicBezTo>
                  <a:pt x="1468" y="27"/>
                  <a:pt x="1468" y="26"/>
                  <a:pt x="1467" y="26"/>
                </a:cubicBezTo>
                <a:close/>
                <a:moveTo>
                  <a:pt x="607" y="43"/>
                </a:moveTo>
                <a:cubicBezTo>
                  <a:pt x="607" y="43"/>
                  <a:pt x="607" y="43"/>
                  <a:pt x="608" y="44"/>
                </a:cubicBezTo>
                <a:cubicBezTo>
                  <a:pt x="608" y="43"/>
                  <a:pt x="608" y="43"/>
                  <a:pt x="607" y="43"/>
                </a:cubicBezTo>
                <a:close/>
                <a:moveTo>
                  <a:pt x="1070" y="34"/>
                </a:moveTo>
                <a:cubicBezTo>
                  <a:pt x="1070" y="34"/>
                  <a:pt x="1071" y="34"/>
                  <a:pt x="1071" y="34"/>
                </a:cubicBezTo>
                <a:cubicBezTo>
                  <a:pt x="1071" y="34"/>
                  <a:pt x="1070" y="34"/>
                  <a:pt x="1070" y="34"/>
                </a:cubicBezTo>
                <a:close/>
                <a:moveTo>
                  <a:pt x="643" y="68"/>
                </a:moveTo>
                <a:cubicBezTo>
                  <a:pt x="642" y="68"/>
                  <a:pt x="642" y="68"/>
                  <a:pt x="642" y="69"/>
                </a:cubicBezTo>
                <a:cubicBezTo>
                  <a:pt x="643" y="69"/>
                  <a:pt x="643" y="68"/>
                  <a:pt x="643" y="68"/>
                </a:cubicBezTo>
                <a:close/>
                <a:moveTo>
                  <a:pt x="1031" y="54"/>
                </a:moveTo>
                <a:cubicBezTo>
                  <a:pt x="1032" y="54"/>
                  <a:pt x="1032" y="54"/>
                  <a:pt x="1032" y="53"/>
                </a:cubicBezTo>
                <a:cubicBezTo>
                  <a:pt x="1031" y="53"/>
                  <a:pt x="1031" y="54"/>
                  <a:pt x="1031" y="54"/>
                </a:cubicBezTo>
                <a:close/>
                <a:moveTo>
                  <a:pt x="689" y="43"/>
                </a:moveTo>
                <a:cubicBezTo>
                  <a:pt x="688" y="43"/>
                  <a:pt x="688" y="43"/>
                  <a:pt x="687" y="43"/>
                </a:cubicBezTo>
                <a:cubicBezTo>
                  <a:pt x="688" y="43"/>
                  <a:pt x="688" y="43"/>
                  <a:pt x="689" y="43"/>
                </a:cubicBezTo>
                <a:close/>
                <a:moveTo>
                  <a:pt x="748" y="58"/>
                </a:moveTo>
                <a:cubicBezTo>
                  <a:pt x="748" y="58"/>
                  <a:pt x="748" y="58"/>
                  <a:pt x="748" y="57"/>
                </a:cubicBezTo>
                <a:cubicBezTo>
                  <a:pt x="748" y="58"/>
                  <a:pt x="748" y="58"/>
                  <a:pt x="748" y="58"/>
                </a:cubicBezTo>
                <a:close/>
                <a:moveTo>
                  <a:pt x="659" y="47"/>
                </a:moveTo>
                <a:cubicBezTo>
                  <a:pt x="659" y="47"/>
                  <a:pt x="659" y="47"/>
                  <a:pt x="659" y="46"/>
                </a:cubicBezTo>
                <a:cubicBezTo>
                  <a:pt x="659" y="46"/>
                  <a:pt x="659" y="47"/>
                  <a:pt x="659" y="47"/>
                </a:cubicBezTo>
                <a:close/>
                <a:moveTo>
                  <a:pt x="1248" y="34"/>
                </a:moveTo>
                <a:cubicBezTo>
                  <a:pt x="1248" y="34"/>
                  <a:pt x="1249" y="34"/>
                  <a:pt x="1249" y="34"/>
                </a:cubicBezTo>
                <a:cubicBezTo>
                  <a:pt x="1249" y="34"/>
                  <a:pt x="1248" y="34"/>
                  <a:pt x="1248" y="34"/>
                </a:cubicBezTo>
                <a:close/>
                <a:moveTo>
                  <a:pt x="602" y="58"/>
                </a:moveTo>
                <a:cubicBezTo>
                  <a:pt x="602" y="58"/>
                  <a:pt x="601" y="58"/>
                  <a:pt x="601" y="57"/>
                </a:cubicBezTo>
                <a:cubicBezTo>
                  <a:pt x="601" y="58"/>
                  <a:pt x="601" y="58"/>
                  <a:pt x="602" y="58"/>
                </a:cubicBezTo>
                <a:close/>
                <a:moveTo>
                  <a:pt x="580" y="18"/>
                </a:moveTo>
                <a:cubicBezTo>
                  <a:pt x="579" y="18"/>
                  <a:pt x="579" y="18"/>
                  <a:pt x="579" y="18"/>
                </a:cubicBezTo>
                <a:cubicBezTo>
                  <a:pt x="579" y="18"/>
                  <a:pt x="579" y="18"/>
                  <a:pt x="580" y="18"/>
                </a:cubicBezTo>
                <a:close/>
                <a:moveTo>
                  <a:pt x="850" y="43"/>
                </a:moveTo>
                <a:cubicBezTo>
                  <a:pt x="850" y="43"/>
                  <a:pt x="850" y="43"/>
                  <a:pt x="849" y="43"/>
                </a:cubicBezTo>
                <a:cubicBezTo>
                  <a:pt x="850" y="43"/>
                  <a:pt x="850" y="43"/>
                  <a:pt x="850" y="43"/>
                </a:cubicBezTo>
                <a:close/>
                <a:moveTo>
                  <a:pt x="1468" y="27"/>
                </a:moveTo>
                <a:cubicBezTo>
                  <a:pt x="1467" y="27"/>
                  <a:pt x="1468" y="28"/>
                  <a:pt x="1468" y="28"/>
                </a:cubicBezTo>
                <a:cubicBezTo>
                  <a:pt x="1468" y="28"/>
                  <a:pt x="1468" y="27"/>
                  <a:pt x="1468" y="27"/>
                </a:cubicBezTo>
                <a:close/>
                <a:moveTo>
                  <a:pt x="1014" y="18"/>
                </a:moveTo>
                <a:cubicBezTo>
                  <a:pt x="1013" y="18"/>
                  <a:pt x="1013" y="18"/>
                  <a:pt x="1013" y="18"/>
                </a:cubicBezTo>
                <a:cubicBezTo>
                  <a:pt x="1013" y="18"/>
                  <a:pt x="1013" y="18"/>
                  <a:pt x="1014" y="18"/>
                </a:cubicBezTo>
                <a:close/>
                <a:moveTo>
                  <a:pt x="893" y="43"/>
                </a:moveTo>
                <a:cubicBezTo>
                  <a:pt x="893" y="43"/>
                  <a:pt x="893" y="43"/>
                  <a:pt x="892" y="43"/>
                </a:cubicBezTo>
                <a:cubicBezTo>
                  <a:pt x="892" y="43"/>
                  <a:pt x="893" y="43"/>
                  <a:pt x="893" y="43"/>
                </a:cubicBezTo>
                <a:close/>
                <a:moveTo>
                  <a:pt x="954" y="37"/>
                </a:moveTo>
                <a:cubicBezTo>
                  <a:pt x="954" y="37"/>
                  <a:pt x="954" y="36"/>
                  <a:pt x="954" y="36"/>
                </a:cubicBezTo>
                <a:cubicBezTo>
                  <a:pt x="954" y="36"/>
                  <a:pt x="954" y="37"/>
                  <a:pt x="954" y="37"/>
                </a:cubicBezTo>
                <a:close/>
                <a:moveTo>
                  <a:pt x="911" y="46"/>
                </a:moveTo>
                <a:cubicBezTo>
                  <a:pt x="911" y="46"/>
                  <a:pt x="911" y="47"/>
                  <a:pt x="911" y="47"/>
                </a:cubicBezTo>
                <a:cubicBezTo>
                  <a:pt x="911" y="47"/>
                  <a:pt x="911" y="46"/>
                  <a:pt x="911" y="46"/>
                </a:cubicBezTo>
                <a:close/>
                <a:moveTo>
                  <a:pt x="1124" y="43"/>
                </a:moveTo>
                <a:cubicBezTo>
                  <a:pt x="1123" y="43"/>
                  <a:pt x="1123" y="43"/>
                  <a:pt x="1123" y="43"/>
                </a:cubicBezTo>
                <a:cubicBezTo>
                  <a:pt x="1123" y="43"/>
                  <a:pt x="1123" y="43"/>
                  <a:pt x="1124" y="43"/>
                </a:cubicBezTo>
                <a:close/>
                <a:moveTo>
                  <a:pt x="1135" y="43"/>
                </a:moveTo>
                <a:cubicBezTo>
                  <a:pt x="1134" y="43"/>
                  <a:pt x="1134" y="43"/>
                  <a:pt x="1134" y="43"/>
                </a:cubicBezTo>
                <a:cubicBezTo>
                  <a:pt x="1134" y="43"/>
                  <a:pt x="1134" y="43"/>
                  <a:pt x="1135" y="43"/>
                </a:cubicBezTo>
                <a:close/>
                <a:moveTo>
                  <a:pt x="608" y="45"/>
                </a:moveTo>
                <a:cubicBezTo>
                  <a:pt x="608" y="45"/>
                  <a:pt x="608" y="46"/>
                  <a:pt x="608" y="46"/>
                </a:cubicBezTo>
                <a:cubicBezTo>
                  <a:pt x="608" y="45"/>
                  <a:pt x="609" y="45"/>
                  <a:pt x="608" y="45"/>
                </a:cubicBezTo>
                <a:close/>
                <a:moveTo>
                  <a:pt x="964" y="41"/>
                </a:moveTo>
                <a:cubicBezTo>
                  <a:pt x="964" y="41"/>
                  <a:pt x="964" y="42"/>
                  <a:pt x="964" y="42"/>
                </a:cubicBezTo>
                <a:cubicBezTo>
                  <a:pt x="965" y="42"/>
                  <a:pt x="965" y="42"/>
                  <a:pt x="964" y="41"/>
                </a:cubicBezTo>
                <a:close/>
                <a:moveTo>
                  <a:pt x="804" y="51"/>
                </a:moveTo>
                <a:cubicBezTo>
                  <a:pt x="804" y="52"/>
                  <a:pt x="804" y="52"/>
                  <a:pt x="804" y="53"/>
                </a:cubicBezTo>
                <a:cubicBezTo>
                  <a:pt x="804" y="52"/>
                  <a:pt x="805" y="52"/>
                  <a:pt x="804" y="51"/>
                </a:cubicBezTo>
                <a:close/>
                <a:moveTo>
                  <a:pt x="644" y="36"/>
                </a:moveTo>
                <a:cubicBezTo>
                  <a:pt x="644" y="36"/>
                  <a:pt x="644" y="36"/>
                  <a:pt x="644" y="35"/>
                </a:cubicBezTo>
                <a:cubicBezTo>
                  <a:pt x="644" y="36"/>
                  <a:pt x="644" y="36"/>
                  <a:pt x="644" y="36"/>
                </a:cubicBezTo>
                <a:close/>
                <a:moveTo>
                  <a:pt x="643" y="66"/>
                </a:moveTo>
                <a:cubicBezTo>
                  <a:pt x="643" y="66"/>
                  <a:pt x="643" y="67"/>
                  <a:pt x="643" y="67"/>
                </a:cubicBezTo>
                <a:cubicBezTo>
                  <a:pt x="643" y="67"/>
                  <a:pt x="643" y="66"/>
                  <a:pt x="643" y="66"/>
                </a:cubicBezTo>
                <a:close/>
                <a:moveTo>
                  <a:pt x="900" y="51"/>
                </a:moveTo>
                <a:cubicBezTo>
                  <a:pt x="900" y="51"/>
                  <a:pt x="900" y="50"/>
                  <a:pt x="900" y="50"/>
                </a:cubicBezTo>
                <a:cubicBezTo>
                  <a:pt x="900" y="50"/>
                  <a:pt x="900" y="51"/>
                  <a:pt x="900" y="51"/>
                </a:cubicBezTo>
                <a:close/>
                <a:moveTo>
                  <a:pt x="1748" y="43"/>
                </a:moveTo>
                <a:cubicBezTo>
                  <a:pt x="1748" y="43"/>
                  <a:pt x="1748" y="43"/>
                  <a:pt x="1748" y="44"/>
                </a:cubicBezTo>
                <a:cubicBezTo>
                  <a:pt x="1748" y="43"/>
                  <a:pt x="1748" y="43"/>
                  <a:pt x="1748" y="43"/>
                </a:cubicBezTo>
                <a:close/>
                <a:moveTo>
                  <a:pt x="964" y="67"/>
                </a:moveTo>
                <a:cubicBezTo>
                  <a:pt x="964" y="68"/>
                  <a:pt x="964" y="68"/>
                  <a:pt x="964" y="69"/>
                </a:cubicBezTo>
                <a:cubicBezTo>
                  <a:pt x="964" y="68"/>
                  <a:pt x="964" y="68"/>
                  <a:pt x="964" y="67"/>
                </a:cubicBezTo>
                <a:close/>
                <a:moveTo>
                  <a:pt x="953" y="38"/>
                </a:moveTo>
                <a:cubicBezTo>
                  <a:pt x="954" y="38"/>
                  <a:pt x="954" y="38"/>
                  <a:pt x="954" y="37"/>
                </a:cubicBezTo>
                <a:cubicBezTo>
                  <a:pt x="953" y="37"/>
                  <a:pt x="953" y="38"/>
                  <a:pt x="953" y="38"/>
                </a:cubicBezTo>
                <a:close/>
                <a:moveTo>
                  <a:pt x="1580" y="22"/>
                </a:moveTo>
                <a:cubicBezTo>
                  <a:pt x="1580" y="22"/>
                  <a:pt x="1580" y="23"/>
                  <a:pt x="1581" y="23"/>
                </a:cubicBezTo>
                <a:cubicBezTo>
                  <a:pt x="1581" y="23"/>
                  <a:pt x="1581" y="22"/>
                  <a:pt x="1580" y="22"/>
                </a:cubicBezTo>
                <a:close/>
                <a:moveTo>
                  <a:pt x="1468" y="28"/>
                </a:moveTo>
                <a:cubicBezTo>
                  <a:pt x="1468" y="29"/>
                  <a:pt x="1468" y="29"/>
                  <a:pt x="1468" y="29"/>
                </a:cubicBezTo>
                <a:cubicBezTo>
                  <a:pt x="1468" y="29"/>
                  <a:pt x="1468" y="29"/>
                  <a:pt x="1468" y="28"/>
                </a:cubicBezTo>
                <a:close/>
                <a:moveTo>
                  <a:pt x="690" y="43"/>
                </a:moveTo>
                <a:cubicBezTo>
                  <a:pt x="690" y="43"/>
                  <a:pt x="689" y="43"/>
                  <a:pt x="689" y="43"/>
                </a:cubicBezTo>
                <a:cubicBezTo>
                  <a:pt x="689" y="43"/>
                  <a:pt x="690" y="43"/>
                  <a:pt x="690" y="43"/>
                </a:cubicBezTo>
                <a:close/>
                <a:moveTo>
                  <a:pt x="953" y="39"/>
                </a:moveTo>
                <a:cubicBezTo>
                  <a:pt x="953" y="39"/>
                  <a:pt x="953" y="39"/>
                  <a:pt x="953" y="38"/>
                </a:cubicBezTo>
                <a:cubicBezTo>
                  <a:pt x="953" y="38"/>
                  <a:pt x="953" y="39"/>
                  <a:pt x="953" y="39"/>
                </a:cubicBezTo>
                <a:close/>
                <a:moveTo>
                  <a:pt x="985" y="18"/>
                </a:moveTo>
                <a:cubicBezTo>
                  <a:pt x="985" y="18"/>
                  <a:pt x="984" y="18"/>
                  <a:pt x="984" y="19"/>
                </a:cubicBezTo>
                <a:cubicBezTo>
                  <a:pt x="984" y="19"/>
                  <a:pt x="985" y="19"/>
                  <a:pt x="985" y="18"/>
                </a:cubicBezTo>
                <a:close/>
                <a:moveTo>
                  <a:pt x="1748" y="22"/>
                </a:moveTo>
                <a:cubicBezTo>
                  <a:pt x="1748" y="22"/>
                  <a:pt x="1748" y="23"/>
                  <a:pt x="1749" y="23"/>
                </a:cubicBezTo>
                <a:cubicBezTo>
                  <a:pt x="1749" y="23"/>
                  <a:pt x="1749" y="22"/>
                  <a:pt x="1748" y="22"/>
                </a:cubicBezTo>
                <a:close/>
                <a:moveTo>
                  <a:pt x="964" y="66"/>
                </a:moveTo>
                <a:cubicBezTo>
                  <a:pt x="963" y="66"/>
                  <a:pt x="963" y="67"/>
                  <a:pt x="964" y="67"/>
                </a:cubicBezTo>
                <a:cubicBezTo>
                  <a:pt x="964" y="67"/>
                  <a:pt x="964" y="66"/>
                  <a:pt x="964" y="66"/>
                </a:cubicBezTo>
                <a:close/>
                <a:moveTo>
                  <a:pt x="659" y="59"/>
                </a:moveTo>
                <a:cubicBezTo>
                  <a:pt x="659" y="58"/>
                  <a:pt x="659" y="58"/>
                  <a:pt x="659" y="58"/>
                </a:cubicBezTo>
                <a:cubicBezTo>
                  <a:pt x="659" y="58"/>
                  <a:pt x="659" y="58"/>
                  <a:pt x="659" y="59"/>
                </a:cubicBezTo>
                <a:close/>
                <a:moveTo>
                  <a:pt x="588" y="70"/>
                </a:moveTo>
                <a:cubicBezTo>
                  <a:pt x="588" y="70"/>
                  <a:pt x="588" y="70"/>
                  <a:pt x="588" y="71"/>
                </a:cubicBezTo>
                <a:cubicBezTo>
                  <a:pt x="588" y="70"/>
                  <a:pt x="588" y="70"/>
                  <a:pt x="588" y="70"/>
                </a:cubicBezTo>
                <a:close/>
                <a:moveTo>
                  <a:pt x="631" y="71"/>
                </a:moveTo>
                <a:cubicBezTo>
                  <a:pt x="631" y="70"/>
                  <a:pt x="631" y="70"/>
                  <a:pt x="631" y="70"/>
                </a:cubicBezTo>
                <a:cubicBezTo>
                  <a:pt x="631" y="70"/>
                  <a:pt x="631" y="70"/>
                  <a:pt x="631" y="71"/>
                </a:cubicBezTo>
                <a:close/>
                <a:moveTo>
                  <a:pt x="952" y="71"/>
                </a:moveTo>
                <a:cubicBezTo>
                  <a:pt x="952" y="70"/>
                  <a:pt x="952" y="70"/>
                  <a:pt x="952" y="69"/>
                </a:cubicBezTo>
                <a:cubicBezTo>
                  <a:pt x="952" y="70"/>
                  <a:pt x="952" y="70"/>
                  <a:pt x="952" y="71"/>
                </a:cubicBezTo>
                <a:close/>
                <a:moveTo>
                  <a:pt x="588" y="71"/>
                </a:moveTo>
                <a:cubicBezTo>
                  <a:pt x="588" y="71"/>
                  <a:pt x="588" y="71"/>
                  <a:pt x="589" y="72"/>
                </a:cubicBezTo>
                <a:cubicBezTo>
                  <a:pt x="589" y="71"/>
                  <a:pt x="589" y="71"/>
                  <a:pt x="588" y="71"/>
                </a:cubicBezTo>
                <a:close/>
                <a:moveTo>
                  <a:pt x="953" y="72"/>
                </a:moveTo>
                <a:cubicBezTo>
                  <a:pt x="953" y="71"/>
                  <a:pt x="953" y="71"/>
                  <a:pt x="952" y="71"/>
                </a:cubicBezTo>
                <a:cubicBezTo>
                  <a:pt x="952" y="71"/>
                  <a:pt x="952" y="72"/>
                  <a:pt x="953" y="72"/>
                </a:cubicBezTo>
                <a:close/>
                <a:moveTo>
                  <a:pt x="952" y="42"/>
                </a:moveTo>
                <a:cubicBezTo>
                  <a:pt x="953" y="41"/>
                  <a:pt x="953" y="41"/>
                  <a:pt x="953" y="41"/>
                </a:cubicBezTo>
                <a:cubicBezTo>
                  <a:pt x="952" y="41"/>
                  <a:pt x="952" y="41"/>
                  <a:pt x="952" y="42"/>
                </a:cubicBezTo>
                <a:close/>
                <a:moveTo>
                  <a:pt x="607" y="73"/>
                </a:moveTo>
                <a:cubicBezTo>
                  <a:pt x="607" y="72"/>
                  <a:pt x="607" y="72"/>
                  <a:pt x="607" y="72"/>
                </a:cubicBezTo>
                <a:cubicBezTo>
                  <a:pt x="607" y="72"/>
                  <a:pt x="607" y="72"/>
                  <a:pt x="607" y="73"/>
                </a:cubicBezTo>
                <a:close/>
                <a:moveTo>
                  <a:pt x="617" y="72"/>
                </a:moveTo>
                <a:cubicBezTo>
                  <a:pt x="617" y="72"/>
                  <a:pt x="617" y="72"/>
                  <a:pt x="618" y="73"/>
                </a:cubicBezTo>
                <a:cubicBezTo>
                  <a:pt x="618" y="72"/>
                  <a:pt x="618" y="72"/>
                  <a:pt x="617" y="72"/>
                </a:cubicBezTo>
                <a:close/>
                <a:moveTo>
                  <a:pt x="589" y="72"/>
                </a:moveTo>
                <a:cubicBezTo>
                  <a:pt x="589" y="72"/>
                  <a:pt x="589" y="73"/>
                  <a:pt x="589" y="73"/>
                </a:cubicBezTo>
                <a:cubicBezTo>
                  <a:pt x="589" y="73"/>
                  <a:pt x="589" y="72"/>
                  <a:pt x="589" y="72"/>
                </a:cubicBezTo>
                <a:close/>
                <a:moveTo>
                  <a:pt x="953" y="73"/>
                </a:moveTo>
                <a:cubicBezTo>
                  <a:pt x="953" y="73"/>
                  <a:pt x="953" y="72"/>
                  <a:pt x="953" y="72"/>
                </a:cubicBezTo>
                <a:cubicBezTo>
                  <a:pt x="953" y="72"/>
                  <a:pt x="953" y="73"/>
                  <a:pt x="953" y="73"/>
                </a:cubicBezTo>
                <a:close/>
                <a:moveTo>
                  <a:pt x="618" y="73"/>
                </a:moveTo>
                <a:cubicBezTo>
                  <a:pt x="618" y="73"/>
                  <a:pt x="618" y="73"/>
                  <a:pt x="618" y="74"/>
                </a:cubicBezTo>
                <a:cubicBezTo>
                  <a:pt x="618" y="73"/>
                  <a:pt x="618" y="73"/>
                  <a:pt x="618" y="73"/>
                </a:cubicBezTo>
                <a:close/>
                <a:moveTo>
                  <a:pt x="637" y="53"/>
                </a:moveTo>
                <a:cubicBezTo>
                  <a:pt x="638" y="53"/>
                  <a:pt x="638" y="53"/>
                  <a:pt x="638" y="52"/>
                </a:cubicBezTo>
                <a:cubicBezTo>
                  <a:pt x="637" y="53"/>
                  <a:pt x="637" y="53"/>
                  <a:pt x="637" y="53"/>
                </a:cubicBezTo>
                <a:close/>
                <a:moveTo>
                  <a:pt x="608" y="74"/>
                </a:moveTo>
                <a:cubicBezTo>
                  <a:pt x="608" y="74"/>
                  <a:pt x="608" y="74"/>
                  <a:pt x="607" y="73"/>
                </a:cubicBezTo>
                <a:cubicBezTo>
                  <a:pt x="607" y="74"/>
                  <a:pt x="607" y="74"/>
                  <a:pt x="608" y="74"/>
                </a:cubicBezTo>
                <a:close/>
                <a:moveTo>
                  <a:pt x="630" y="74"/>
                </a:moveTo>
                <a:cubicBezTo>
                  <a:pt x="630" y="74"/>
                  <a:pt x="630" y="74"/>
                  <a:pt x="630" y="73"/>
                </a:cubicBezTo>
                <a:cubicBezTo>
                  <a:pt x="630" y="74"/>
                  <a:pt x="630" y="74"/>
                  <a:pt x="630" y="74"/>
                </a:cubicBezTo>
                <a:close/>
                <a:moveTo>
                  <a:pt x="618" y="74"/>
                </a:moveTo>
                <a:cubicBezTo>
                  <a:pt x="618" y="74"/>
                  <a:pt x="618" y="74"/>
                  <a:pt x="619" y="75"/>
                </a:cubicBezTo>
                <a:cubicBezTo>
                  <a:pt x="619" y="74"/>
                  <a:pt x="619" y="74"/>
                  <a:pt x="618" y="74"/>
                </a:cubicBezTo>
                <a:close/>
                <a:moveTo>
                  <a:pt x="653" y="41"/>
                </a:moveTo>
                <a:cubicBezTo>
                  <a:pt x="653" y="41"/>
                  <a:pt x="653" y="41"/>
                  <a:pt x="653" y="42"/>
                </a:cubicBezTo>
                <a:cubicBezTo>
                  <a:pt x="653" y="41"/>
                  <a:pt x="653" y="41"/>
                  <a:pt x="653" y="41"/>
                </a:cubicBezTo>
                <a:close/>
                <a:moveTo>
                  <a:pt x="1030" y="59"/>
                </a:moveTo>
                <a:cubicBezTo>
                  <a:pt x="1030" y="59"/>
                  <a:pt x="1030" y="58"/>
                  <a:pt x="1030" y="58"/>
                </a:cubicBezTo>
                <a:cubicBezTo>
                  <a:pt x="1030" y="58"/>
                  <a:pt x="1030" y="59"/>
                  <a:pt x="1030" y="59"/>
                </a:cubicBezTo>
                <a:close/>
                <a:moveTo>
                  <a:pt x="911" y="48"/>
                </a:moveTo>
                <a:cubicBezTo>
                  <a:pt x="911" y="49"/>
                  <a:pt x="911" y="49"/>
                  <a:pt x="912" y="49"/>
                </a:cubicBezTo>
                <a:cubicBezTo>
                  <a:pt x="912" y="49"/>
                  <a:pt x="912" y="49"/>
                  <a:pt x="911" y="48"/>
                </a:cubicBezTo>
                <a:close/>
                <a:moveTo>
                  <a:pt x="1469" y="75"/>
                </a:moveTo>
                <a:cubicBezTo>
                  <a:pt x="1469" y="75"/>
                  <a:pt x="1469" y="75"/>
                  <a:pt x="1469" y="76"/>
                </a:cubicBezTo>
                <a:cubicBezTo>
                  <a:pt x="1469" y="75"/>
                  <a:pt x="1469" y="75"/>
                  <a:pt x="1469" y="75"/>
                </a:cubicBezTo>
                <a:close/>
                <a:moveTo>
                  <a:pt x="1385" y="41"/>
                </a:moveTo>
                <a:cubicBezTo>
                  <a:pt x="1385" y="41"/>
                  <a:pt x="1385" y="41"/>
                  <a:pt x="1385" y="40"/>
                </a:cubicBezTo>
                <a:cubicBezTo>
                  <a:pt x="1385" y="41"/>
                  <a:pt x="1385" y="41"/>
                  <a:pt x="1385" y="41"/>
                </a:cubicBezTo>
                <a:close/>
                <a:moveTo>
                  <a:pt x="1666" y="58"/>
                </a:moveTo>
                <a:cubicBezTo>
                  <a:pt x="1665" y="58"/>
                  <a:pt x="1665" y="58"/>
                  <a:pt x="1665" y="58"/>
                </a:cubicBezTo>
                <a:cubicBezTo>
                  <a:pt x="1665" y="58"/>
                  <a:pt x="1665" y="58"/>
                  <a:pt x="1666" y="58"/>
                </a:cubicBezTo>
                <a:close/>
                <a:moveTo>
                  <a:pt x="629" y="77"/>
                </a:moveTo>
                <a:cubicBezTo>
                  <a:pt x="629" y="77"/>
                  <a:pt x="629" y="77"/>
                  <a:pt x="629" y="76"/>
                </a:cubicBezTo>
                <a:cubicBezTo>
                  <a:pt x="629" y="76"/>
                  <a:pt x="629" y="77"/>
                  <a:pt x="629" y="77"/>
                </a:cubicBezTo>
                <a:close/>
                <a:moveTo>
                  <a:pt x="954" y="77"/>
                </a:moveTo>
                <a:cubicBezTo>
                  <a:pt x="954" y="77"/>
                  <a:pt x="954" y="76"/>
                  <a:pt x="954" y="76"/>
                </a:cubicBezTo>
                <a:cubicBezTo>
                  <a:pt x="954" y="76"/>
                  <a:pt x="954" y="77"/>
                  <a:pt x="954" y="77"/>
                </a:cubicBezTo>
                <a:close/>
                <a:moveTo>
                  <a:pt x="1469" y="76"/>
                </a:moveTo>
                <a:cubicBezTo>
                  <a:pt x="1468" y="76"/>
                  <a:pt x="1468" y="77"/>
                  <a:pt x="1468" y="77"/>
                </a:cubicBezTo>
                <a:cubicBezTo>
                  <a:pt x="1469" y="77"/>
                  <a:pt x="1469" y="76"/>
                  <a:pt x="1469" y="76"/>
                </a:cubicBezTo>
                <a:close/>
                <a:moveTo>
                  <a:pt x="699" y="77"/>
                </a:moveTo>
                <a:cubicBezTo>
                  <a:pt x="699" y="77"/>
                  <a:pt x="699" y="78"/>
                  <a:pt x="699" y="78"/>
                </a:cubicBezTo>
                <a:cubicBezTo>
                  <a:pt x="699" y="77"/>
                  <a:pt x="699" y="77"/>
                  <a:pt x="699" y="77"/>
                </a:cubicBezTo>
                <a:close/>
                <a:moveTo>
                  <a:pt x="759" y="77"/>
                </a:moveTo>
                <a:cubicBezTo>
                  <a:pt x="759" y="78"/>
                  <a:pt x="759" y="78"/>
                  <a:pt x="759" y="79"/>
                </a:cubicBezTo>
                <a:cubicBezTo>
                  <a:pt x="759" y="78"/>
                  <a:pt x="760" y="78"/>
                  <a:pt x="759" y="77"/>
                </a:cubicBezTo>
                <a:close/>
                <a:moveTo>
                  <a:pt x="1468" y="77"/>
                </a:moveTo>
                <a:cubicBezTo>
                  <a:pt x="1468" y="78"/>
                  <a:pt x="1468" y="78"/>
                  <a:pt x="1468" y="79"/>
                </a:cubicBezTo>
                <a:cubicBezTo>
                  <a:pt x="1468" y="78"/>
                  <a:pt x="1468" y="78"/>
                  <a:pt x="1468" y="77"/>
                </a:cubicBezTo>
                <a:close/>
                <a:moveTo>
                  <a:pt x="699" y="78"/>
                </a:moveTo>
                <a:cubicBezTo>
                  <a:pt x="699" y="78"/>
                  <a:pt x="699" y="79"/>
                  <a:pt x="699" y="79"/>
                </a:cubicBezTo>
                <a:cubicBezTo>
                  <a:pt x="699" y="79"/>
                  <a:pt x="699" y="78"/>
                  <a:pt x="699" y="78"/>
                </a:cubicBezTo>
                <a:close/>
                <a:moveTo>
                  <a:pt x="1041" y="78"/>
                </a:moveTo>
                <a:cubicBezTo>
                  <a:pt x="1041" y="79"/>
                  <a:pt x="1041" y="79"/>
                  <a:pt x="1042" y="79"/>
                </a:cubicBezTo>
                <a:cubicBezTo>
                  <a:pt x="1042" y="79"/>
                  <a:pt x="1042" y="78"/>
                  <a:pt x="1041" y="78"/>
                </a:cubicBezTo>
                <a:close/>
                <a:moveTo>
                  <a:pt x="1219" y="78"/>
                </a:moveTo>
                <a:cubicBezTo>
                  <a:pt x="1219" y="79"/>
                  <a:pt x="1219" y="79"/>
                  <a:pt x="1220" y="79"/>
                </a:cubicBezTo>
                <a:cubicBezTo>
                  <a:pt x="1220" y="79"/>
                  <a:pt x="1220" y="78"/>
                  <a:pt x="1219" y="78"/>
                </a:cubicBezTo>
                <a:close/>
                <a:moveTo>
                  <a:pt x="620" y="79"/>
                </a:moveTo>
                <a:cubicBezTo>
                  <a:pt x="620" y="79"/>
                  <a:pt x="620" y="79"/>
                  <a:pt x="620" y="80"/>
                </a:cubicBezTo>
                <a:cubicBezTo>
                  <a:pt x="620" y="79"/>
                  <a:pt x="620" y="79"/>
                  <a:pt x="620" y="79"/>
                </a:cubicBezTo>
                <a:close/>
                <a:moveTo>
                  <a:pt x="1412" y="80"/>
                </a:moveTo>
                <a:cubicBezTo>
                  <a:pt x="1412" y="79"/>
                  <a:pt x="1412" y="79"/>
                  <a:pt x="1412" y="79"/>
                </a:cubicBezTo>
                <a:cubicBezTo>
                  <a:pt x="1412" y="79"/>
                  <a:pt x="1412" y="79"/>
                  <a:pt x="1412" y="80"/>
                </a:cubicBezTo>
                <a:close/>
                <a:moveTo>
                  <a:pt x="1468" y="79"/>
                </a:moveTo>
                <a:cubicBezTo>
                  <a:pt x="1468" y="79"/>
                  <a:pt x="1468" y="79"/>
                  <a:pt x="1468" y="80"/>
                </a:cubicBezTo>
                <a:cubicBezTo>
                  <a:pt x="1468" y="79"/>
                  <a:pt x="1468" y="79"/>
                  <a:pt x="1468" y="79"/>
                </a:cubicBezTo>
                <a:close/>
                <a:moveTo>
                  <a:pt x="760" y="79"/>
                </a:moveTo>
                <a:cubicBezTo>
                  <a:pt x="759" y="79"/>
                  <a:pt x="760" y="80"/>
                  <a:pt x="760" y="80"/>
                </a:cubicBezTo>
                <a:cubicBezTo>
                  <a:pt x="760" y="80"/>
                  <a:pt x="760" y="79"/>
                  <a:pt x="760" y="79"/>
                </a:cubicBezTo>
                <a:close/>
                <a:moveTo>
                  <a:pt x="748" y="80"/>
                </a:moveTo>
                <a:cubicBezTo>
                  <a:pt x="748" y="80"/>
                  <a:pt x="748" y="79"/>
                  <a:pt x="748" y="79"/>
                </a:cubicBezTo>
                <a:cubicBezTo>
                  <a:pt x="748" y="80"/>
                  <a:pt x="748" y="80"/>
                  <a:pt x="748" y="80"/>
                </a:cubicBezTo>
                <a:close/>
                <a:moveTo>
                  <a:pt x="1042" y="79"/>
                </a:moveTo>
                <a:cubicBezTo>
                  <a:pt x="1042" y="80"/>
                  <a:pt x="1042" y="80"/>
                  <a:pt x="1042" y="80"/>
                </a:cubicBezTo>
                <a:cubicBezTo>
                  <a:pt x="1042" y="80"/>
                  <a:pt x="1042" y="80"/>
                  <a:pt x="1042" y="79"/>
                </a:cubicBezTo>
                <a:close/>
                <a:moveTo>
                  <a:pt x="613" y="59"/>
                </a:moveTo>
                <a:cubicBezTo>
                  <a:pt x="613" y="59"/>
                  <a:pt x="613" y="59"/>
                  <a:pt x="613" y="60"/>
                </a:cubicBezTo>
                <a:cubicBezTo>
                  <a:pt x="613" y="59"/>
                  <a:pt x="613" y="59"/>
                  <a:pt x="613" y="59"/>
                </a:cubicBezTo>
                <a:close/>
                <a:moveTo>
                  <a:pt x="610" y="81"/>
                </a:moveTo>
                <a:cubicBezTo>
                  <a:pt x="610" y="80"/>
                  <a:pt x="610" y="80"/>
                  <a:pt x="610" y="80"/>
                </a:cubicBezTo>
                <a:cubicBezTo>
                  <a:pt x="610" y="80"/>
                  <a:pt x="610" y="80"/>
                  <a:pt x="610" y="81"/>
                </a:cubicBezTo>
                <a:close/>
                <a:moveTo>
                  <a:pt x="620" y="80"/>
                </a:moveTo>
                <a:cubicBezTo>
                  <a:pt x="620" y="80"/>
                  <a:pt x="620" y="80"/>
                  <a:pt x="621" y="81"/>
                </a:cubicBezTo>
                <a:cubicBezTo>
                  <a:pt x="621" y="80"/>
                  <a:pt x="621" y="80"/>
                  <a:pt x="620" y="80"/>
                </a:cubicBezTo>
                <a:close/>
                <a:moveTo>
                  <a:pt x="627" y="81"/>
                </a:moveTo>
                <a:cubicBezTo>
                  <a:pt x="628" y="81"/>
                  <a:pt x="628" y="80"/>
                  <a:pt x="628" y="80"/>
                </a:cubicBezTo>
                <a:cubicBezTo>
                  <a:pt x="627" y="80"/>
                  <a:pt x="627" y="81"/>
                  <a:pt x="627" y="81"/>
                </a:cubicBezTo>
                <a:close/>
                <a:moveTo>
                  <a:pt x="760" y="80"/>
                </a:moveTo>
                <a:cubicBezTo>
                  <a:pt x="760" y="80"/>
                  <a:pt x="760" y="81"/>
                  <a:pt x="760" y="81"/>
                </a:cubicBezTo>
                <a:cubicBezTo>
                  <a:pt x="760" y="81"/>
                  <a:pt x="760" y="80"/>
                  <a:pt x="760" y="80"/>
                </a:cubicBezTo>
                <a:close/>
                <a:moveTo>
                  <a:pt x="1031" y="81"/>
                </a:moveTo>
                <a:cubicBezTo>
                  <a:pt x="1031" y="81"/>
                  <a:pt x="1031" y="80"/>
                  <a:pt x="1030" y="80"/>
                </a:cubicBezTo>
                <a:cubicBezTo>
                  <a:pt x="1030" y="80"/>
                  <a:pt x="1030" y="81"/>
                  <a:pt x="1031" y="81"/>
                </a:cubicBezTo>
                <a:close/>
                <a:moveTo>
                  <a:pt x="1413" y="81"/>
                </a:moveTo>
                <a:cubicBezTo>
                  <a:pt x="1413" y="81"/>
                  <a:pt x="1413" y="80"/>
                  <a:pt x="1412" y="80"/>
                </a:cubicBezTo>
                <a:cubicBezTo>
                  <a:pt x="1412" y="80"/>
                  <a:pt x="1412" y="81"/>
                  <a:pt x="1413" y="81"/>
                </a:cubicBezTo>
                <a:close/>
                <a:moveTo>
                  <a:pt x="1086" y="52"/>
                </a:moveTo>
                <a:cubicBezTo>
                  <a:pt x="1086" y="53"/>
                  <a:pt x="1086" y="53"/>
                  <a:pt x="1087" y="53"/>
                </a:cubicBezTo>
                <a:cubicBezTo>
                  <a:pt x="1087" y="53"/>
                  <a:pt x="1087" y="52"/>
                  <a:pt x="1086" y="52"/>
                </a:cubicBezTo>
                <a:close/>
                <a:moveTo>
                  <a:pt x="1209" y="81"/>
                </a:moveTo>
                <a:cubicBezTo>
                  <a:pt x="1209" y="81"/>
                  <a:pt x="1209" y="80"/>
                  <a:pt x="1208" y="80"/>
                </a:cubicBezTo>
                <a:cubicBezTo>
                  <a:pt x="1208" y="81"/>
                  <a:pt x="1208" y="81"/>
                  <a:pt x="1209" y="81"/>
                </a:cubicBezTo>
                <a:close/>
                <a:moveTo>
                  <a:pt x="621" y="81"/>
                </a:moveTo>
                <a:cubicBezTo>
                  <a:pt x="621" y="81"/>
                  <a:pt x="621" y="81"/>
                  <a:pt x="621" y="82"/>
                </a:cubicBezTo>
                <a:cubicBezTo>
                  <a:pt x="621" y="81"/>
                  <a:pt x="621" y="81"/>
                  <a:pt x="621" y="81"/>
                </a:cubicBezTo>
                <a:close/>
                <a:moveTo>
                  <a:pt x="749" y="82"/>
                </a:moveTo>
                <a:cubicBezTo>
                  <a:pt x="749" y="81"/>
                  <a:pt x="749" y="81"/>
                  <a:pt x="748" y="81"/>
                </a:cubicBezTo>
                <a:cubicBezTo>
                  <a:pt x="748" y="81"/>
                  <a:pt x="748" y="81"/>
                  <a:pt x="749" y="82"/>
                </a:cubicBezTo>
                <a:close/>
                <a:moveTo>
                  <a:pt x="637" y="81"/>
                </a:moveTo>
                <a:cubicBezTo>
                  <a:pt x="637" y="81"/>
                  <a:pt x="637" y="82"/>
                  <a:pt x="637" y="82"/>
                </a:cubicBezTo>
                <a:cubicBezTo>
                  <a:pt x="637" y="82"/>
                  <a:pt x="637" y="81"/>
                  <a:pt x="637" y="81"/>
                </a:cubicBezTo>
                <a:close/>
                <a:moveTo>
                  <a:pt x="1413" y="82"/>
                </a:moveTo>
                <a:cubicBezTo>
                  <a:pt x="1413" y="82"/>
                  <a:pt x="1413" y="81"/>
                  <a:pt x="1413" y="81"/>
                </a:cubicBezTo>
                <a:cubicBezTo>
                  <a:pt x="1413" y="81"/>
                  <a:pt x="1412" y="82"/>
                  <a:pt x="1413" y="82"/>
                </a:cubicBezTo>
                <a:close/>
                <a:moveTo>
                  <a:pt x="611" y="82"/>
                </a:moveTo>
                <a:cubicBezTo>
                  <a:pt x="611" y="82"/>
                  <a:pt x="611" y="82"/>
                  <a:pt x="611" y="81"/>
                </a:cubicBezTo>
                <a:cubicBezTo>
                  <a:pt x="611" y="82"/>
                  <a:pt x="610" y="82"/>
                  <a:pt x="611" y="82"/>
                </a:cubicBezTo>
                <a:close/>
                <a:moveTo>
                  <a:pt x="1031" y="82"/>
                </a:moveTo>
                <a:cubicBezTo>
                  <a:pt x="1031" y="82"/>
                  <a:pt x="1031" y="82"/>
                  <a:pt x="1031" y="81"/>
                </a:cubicBezTo>
                <a:cubicBezTo>
                  <a:pt x="1031" y="82"/>
                  <a:pt x="1031" y="82"/>
                  <a:pt x="1031" y="82"/>
                </a:cubicBezTo>
                <a:close/>
                <a:moveTo>
                  <a:pt x="1467" y="82"/>
                </a:moveTo>
                <a:cubicBezTo>
                  <a:pt x="1467" y="82"/>
                  <a:pt x="1466" y="82"/>
                  <a:pt x="1466" y="83"/>
                </a:cubicBezTo>
                <a:cubicBezTo>
                  <a:pt x="1467" y="82"/>
                  <a:pt x="1467" y="82"/>
                  <a:pt x="1467" y="82"/>
                </a:cubicBezTo>
                <a:close/>
                <a:moveTo>
                  <a:pt x="858" y="53"/>
                </a:moveTo>
                <a:cubicBezTo>
                  <a:pt x="858" y="53"/>
                  <a:pt x="858" y="52"/>
                  <a:pt x="858" y="52"/>
                </a:cubicBezTo>
                <a:cubicBezTo>
                  <a:pt x="858" y="52"/>
                  <a:pt x="858" y="53"/>
                  <a:pt x="858" y="53"/>
                </a:cubicBezTo>
                <a:close/>
                <a:moveTo>
                  <a:pt x="749" y="83"/>
                </a:moveTo>
                <a:cubicBezTo>
                  <a:pt x="749" y="83"/>
                  <a:pt x="749" y="82"/>
                  <a:pt x="749" y="82"/>
                </a:cubicBezTo>
                <a:cubicBezTo>
                  <a:pt x="749" y="82"/>
                  <a:pt x="749" y="83"/>
                  <a:pt x="749" y="83"/>
                </a:cubicBezTo>
                <a:close/>
                <a:moveTo>
                  <a:pt x="1413" y="83"/>
                </a:moveTo>
                <a:cubicBezTo>
                  <a:pt x="1413" y="83"/>
                  <a:pt x="1413" y="82"/>
                  <a:pt x="1413" y="82"/>
                </a:cubicBezTo>
                <a:cubicBezTo>
                  <a:pt x="1413" y="82"/>
                  <a:pt x="1413" y="83"/>
                  <a:pt x="1413" y="83"/>
                </a:cubicBezTo>
                <a:close/>
                <a:moveTo>
                  <a:pt x="637" y="83"/>
                </a:moveTo>
                <a:cubicBezTo>
                  <a:pt x="636" y="83"/>
                  <a:pt x="636" y="83"/>
                  <a:pt x="636" y="84"/>
                </a:cubicBezTo>
                <a:cubicBezTo>
                  <a:pt x="637" y="84"/>
                  <a:pt x="637" y="83"/>
                  <a:pt x="637" y="83"/>
                </a:cubicBezTo>
                <a:close/>
                <a:moveTo>
                  <a:pt x="1209" y="84"/>
                </a:moveTo>
                <a:cubicBezTo>
                  <a:pt x="1209" y="83"/>
                  <a:pt x="1209" y="83"/>
                  <a:pt x="1209" y="83"/>
                </a:cubicBezTo>
                <a:cubicBezTo>
                  <a:pt x="1209" y="83"/>
                  <a:pt x="1209" y="83"/>
                  <a:pt x="1209" y="84"/>
                </a:cubicBezTo>
                <a:close/>
                <a:moveTo>
                  <a:pt x="1396" y="41"/>
                </a:moveTo>
                <a:cubicBezTo>
                  <a:pt x="1396" y="42"/>
                  <a:pt x="1396" y="42"/>
                  <a:pt x="1396" y="42"/>
                </a:cubicBezTo>
                <a:cubicBezTo>
                  <a:pt x="1396" y="42"/>
                  <a:pt x="1396" y="42"/>
                  <a:pt x="1396" y="41"/>
                </a:cubicBezTo>
                <a:close/>
                <a:moveTo>
                  <a:pt x="749" y="84"/>
                </a:moveTo>
                <a:cubicBezTo>
                  <a:pt x="749" y="84"/>
                  <a:pt x="749" y="83"/>
                  <a:pt x="749" y="83"/>
                </a:cubicBezTo>
                <a:cubicBezTo>
                  <a:pt x="749" y="83"/>
                  <a:pt x="749" y="84"/>
                  <a:pt x="749" y="84"/>
                </a:cubicBezTo>
                <a:close/>
                <a:moveTo>
                  <a:pt x="1667" y="84"/>
                </a:moveTo>
                <a:cubicBezTo>
                  <a:pt x="1667" y="84"/>
                  <a:pt x="1667" y="83"/>
                  <a:pt x="1667" y="83"/>
                </a:cubicBezTo>
                <a:cubicBezTo>
                  <a:pt x="1667" y="83"/>
                  <a:pt x="1667" y="84"/>
                  <a:pt x="1667" y="84"/>
                </a:cubicBezTo>
                <a:close/>
                <a:moveTo>
                  <a:pt x="626" y="85"/>
                </a:moveTo>
                <a:cubicBezTo>
                  <a:pt x="626" y="85"/>
                  <a:pt x="626" y="84"/>
                  <a:pt x="626" y="84"/>
                </a:cubicBezTo>
                <a:cubicBezTo>
                  <a:pt x="626" y="84"/>
                  <a:pt x="626" y="84"/>
                  <a:pt x="626" y="85"/>
                </a:cubicBezTo>
                <a:close/>
                <a:moveTo>
                  <a:pt x="589" y="84"/>
                </a:moveTo>
                <a:cubicBezTo>
                  <a:pt x="588" y="85"/>
                  <a:pt x="588" y="85"/>
                  <a:pt x="588" y="85"/>
                </a:cubicBezTo>
                <a:cubicBezTo>
                  <a:pt x="589" y="85"/>
                  <a:pt x="589" y="85"/>
                  <a:pt x="589" y="84"/>
                </a:cubicBezTo>
                <a:close/>
                <a:moveTo>
                  <a:pt x="636" y="84"/>
                </a:moveTo>
                <a:cubicBezTo>
                  <a:pt x="636" y="85"/>
                  <a:pt x="636" y="85"/>
                  <a:pt x="636" y="85"/>
                </a:cubicBezTo>
                <a:cubicBezTo>
                  <a:pt x="636" y="85"/>
                  <a:pt x="636" y="85"/>
                  <a:pt x="636" y="84"/>
                </a:cubicBezTo>
                <a:close/>
                <a:moveTo>
                  <a:pt x="1032" y="85"/>
                </a:moveTo>
                <a:cubicBezTo>
                  <a:pt x="1032" y="85"/>
                  <a:pt x="1032" y="85"/>
                  <a:pt x="1032" y="84"/>
                </a:cubicBezTo>
                <a:cubicBezTo>
                  <a:pt x="1032" y="85"/>
                  <a:pt x="1032" y="85"/>
                  <a:pt x="1032" y="85"/>
                </a:cubicBezTo>
                <a:close/>
                <a:moveTo>
                  <a:pt x="595" y="42"/>
                </a:moveTo>
                <a:cubicBezTo>
                  <a:pt x="595" y="42"/>
                  <a:pt x="595" y="42"/>
                  <a:pt x="595" y="41"/>
                </a:cubicBezTo>
                <a:cubicBezTo>
                  <a:pt x="595" y="42"/>
                  <a:pt x="595" y="42"/>
                  <a:pt x="595" y="42"/>
                </a:cubicBezTo>
                <a:close/>
                <a:moveTo>
                  <a:pt x="1344" y="87"/>
                </a:moveTo>
                <a:cubicBezTo>
                  <a:pt x="1344" y="86"/>
                  <a:pt x="1344" y="86"/>
                  <a:pt x="1344" y="86"/>
                </a:cubicBezTo>
                <a:cubicBezTo>
                  <a:pt x="1344" y="86"/>
                  <a:pt x="1344" y="86"/>
                  <a:pt x="1344" y="87"/>
                </a:cubicBezTo>
                <a:close/>
                <a:moveTo>
                  <a:pt x="635" y="60"/>
                </a:moveTo>
                <a:cubicBezTo>
                  <a:pt x="635" y="60"/>
                  <a:pt x="635" y="59"/>
                  <a:pt x="635" y="59"/>
                </a:cubicBezTo>
                <a:cubicBezTo>
                  <a:pt x="635" y="59"/>
                  <a:pt x="635" y="60"/>
                  <a:pt x="635" y="60"/>
                </a:cubicBezTo>
                <a:close/>
                <a:moveTo>
                  <a:pt x="1355" y="86"/>
                </a:moveTo>
                <a:cubicBezTo>
                  <a:pt x="1355" y="86"/>
                  <a:pt x="1355" y="86"/>
                  <a:pt x="1355" y="87"/>
                </a:cubicBezTo>
                <a:cubicBezTo>
                  <a:pt x="1355" y="87"/>
                  <a:pt x="1355" y="86"/>
                  <a:pt x="1355" y="86"/>
                </a:cubicBezTo>
                <a:close/>
                <a:moveTo>
                  <a:pt x="1528" y="87"/>
                </a:moveTo>
                <a:cubicBezTo>
                  <a:pt x="1528" y="87"/>
                  <a:pt x="1528" y="86"/>
                  <a:pt x="1528" y="86"/>
                </a:cubicBezTo>
                <a:cubicBezTo>
                  <a:pt x="1528" y="86"/>
                  <a:pt x="1528" y="87"/>
                  <a:pt x="1528" y="87"/>
                </a:cubicBezTo>
                <a:close/>
                <a:moveTo>
                  <a:pt x="1696" y="87"/>
                </a:moveTo>
                <a:cubicBezTo>
                  <a:pt x="1697" y="87"/>
                  <a:pt x="1697" y="86"/>
                  <a:pt x="1697" y="86"/>
                </a:cubicBezTo>
                <a:cubicBezTo>
                  <a:pt x="1696" y="86"/>
                  <a:pt x="1696" y="87"/>
                  <a:pt x="1696" y="87"/>
                </a:cubicBezTo>
                <a:close/>
                <a:moveTo>
                  <a:pt x="635" y="86"/>
                </a:moveTo>
                <a:cubicBezTo>
                  <a:pt x="635" y="86"/>
                  <a:pt x="635" y="87"/>
                  <a:pt x="635" y="87"/>
                </a:cubicBezTo>
                <a:cubicBezTo>
                  <a:pt x="635" y="87"/>
                  <a:pt x="635" y="87"/>
                  <a:pt x="635" y="86"/>
                </a:cubicBezTo>
                <a:close/>
                <a:moveTo>
                  <a:pt x="726" y="86"/>
                </a:moveTo>
                <a:cubicBezTo>
                  <a:pt x="726" y="87"/>
                  <a:pt x="726" y="87"/>
                  <a:pt x="726" y="87"/>
                </a:cubicBezTo>
                <a:cubicBezTo>
                  <a:pt x="726" y="87"/>
                  <a:pt x="726" y="87"/>
                  <a:pt x="726" y="86"/>
                </a:cubicBezTo>
                <a:close/>
                <a:moveTo>
                  <a:pt x="1539" y="86"/>
                </a:moveTo>
                <a:cubicBezTo>
                  <a:pt x="1539" y="86"/>
                  <a:pt x="1539" y="87"/>
                  <a:pt x="1539" y="87"/>
                </a:cubicBezTo>
                <a:cubicBezTo>
                  <a:pt x="1539" y="87"/>
                  <a:pt x="1539" y="87"/>
                  <a:pt x="1539" y="86"/>
                </a:cubicBezTo>
                <a:close/>
                <a:moveTo>
                  <a:pt x="1707" y="86"/>
                </a:moveTo>
                <a:cubicBezTo>
                  <a:pt x="1707" y="86"/>
                  <a:pt x="1707" y="87"/>
                  <a:pt x="1707" y="87"/>
                </a:cubicBezTo>
                <a:cubicBezTo>
                  <a:pt x="1707" y="87"/>
                  <a:pt x="1707" y="87"/>
                  <a:pt x="1707" y="86"/>
                </a:cubicBezTo>
                <a:close/>
                <a:moveTo>
                  <a:pt x="623" y="87"/>
                </a:moveTo>
                <a:cubicBezTo>
                  <a:pt x="623" y="87"/>
                  <a:pt x="623" y="87"/>
                  <a:pt x="623" y="88"/>
                </a:cubicBezTo>
                <a:cubicBezTo>
                  <a:pt x="623" y="87"/>
                  <a:pt x="623" y="87"/>
                  <a:pt x="623" y="87"/>
                </a:cubicBezTo>
                <a:close/>
                <a:moveTo>
                  <a:pt x="625" y="88"/>
                </a:moveTo>
                <a:cubicBezTo>
                  <a:pt x="625" y="87"/>
                  <a:pt x="625" y="87"/>
                  <a:pt x="625" y="87"/>
                </a:cubicBezTo>
                <a:cubicBezTo>
                  <a:pt x="625" y="87"/>
                  <a:pt x="625" y="87"/>
                  <a:pt x="625" y="88"/>
                </a:cubicBezTo>
                <a:close/>
                <a:moveTo>
                  <a:pt x="1265" y="54"/>
                </a:moveTo>
                <a:cubicBezTo>
                  <a:pt x="1265" y="54"/>
                  <a:pt x="1265" y="55"/>
                  <a:pt x="1265" y="55"/>
                </a:cubicBezTo>
                <a:cubicBezTo>
                  <a:pt x="1265" y="55"/>
                  <a:pt x="1265" y="54"/>
                  <a:pt x="1265" y="54"/>
                </a:cubicBezTo>
                <a:close/>
                <a:moveTo>
                  <a:pt x="829" y="54"/>
                </a:moveTo>
                <a:cubicBezTo>
                  <a:pt x="829" y="54"/>
                  <a:pt x="829" y="54"/>
                  <a:pt x="829" y="55"/>
                </a:cubicBezTo>
                <a:cubicBezTo>
                  <a:pt x="830" y="55"/>
                  <a:pt x="829" y="54"/>
                  <a:pt x="829" y="54"/>
                </a:cubicBezTo>
                <a:close/>
                <a:moveTo>
                  <a:pt x="1528" y="88"/>
                </a:moveTo>
                <a:cubicBezTo>
                  <a:pt x="1528" y="88"/>
                  <a:pt x="1528" y="88"/>
                  <a:pt x="1528" y="87"/>
                </a:cubicBezTo>
                <a:cubicBezTo>
                  <a:pt x="1528" y="88"/>
                  <a:pt x="1528" y="88"/>
                  <a:pt x="1528" y="88"/>
                </a:cubicBezTo>
                <a:close/>
                <a:moveTo>
                  <a:pt x="1696" y="88"/>
                </a:moveTo>
                <a:cubicBezTo>
                  <a:pt x="1696" y="88"/>
                  <a:pt x="1696" y="88"/>
                  <a:pt x="1696" y="87"/>
                </a:cubicBezTo>
                <a:cubicBezTo>
                  <a:pt x="1696" y="88"/>
                  <a:pt x="1696" y="88"/>
                  <a:pt x="1696" y="88"/>
                </a:cubicBezTo>
                <a:close/>
                <a:moveTo>
                  <a:pt x="588" y="88"/>
                </a:moveTo>
                <a:cubicBezTo>
                  <a:pt x="587" y="88"/>
                  <a:pt x="587" y="88"/>
                  <a:pt x="587" y="89"/>
                </a:cubicBezTo>
                <a:cubicBezTo>
                  <a:pt x="588" y="88"/>
                  <a:pt x="588" y="88"/>
                  <a:pt x="588" y="88"/>
                </a:cubicBezTo>
                <a:close/>
                <a:moveTo>
                  <a:pt x="613" y="89"/>
                </a:moveTo>
                <a:cubicBezTo>
                  <a:pt x="613" y="88"/>
                  <a:pt x="613" y="88"/>
                  <a:pt x="613" y="88"/>
                </a:cubicBezTo>
                <a:cubicBezTo>
                  <a:pt x="613" y="88"/>
                  <a:pt x="613" y="88"/>
                  <a:pt x="613" y="89"/>
                </a:cubicBezTo>
                <a:close/>
                <a:moveTo>
                  <a:pt x="623" y="88"/>
                </a:moveTo>
                <a:cubicBezTo>
                  <a:pt x="623" y="88"/>
                  <a:pt x="623" y="88"/>
                  <a:pt x="623" y="89"/>
                </a:cubicBezTo>
                <a:cubicBezTo>
                  <a:pt x="623" y="88"/>
                  <a:pt x="623" y="88"/>
                  <a:pt x="623" y="88"/>
                </a:cubicBezTo>
                <a:close/>
                <a:moveTo>
                  <a:pt x="726" y="88"/>
                </a:moveTo>
                <a:cubicBezTo>
                  <a:pt x="726" y="88"/>
                  <a:pt x="726" y="88"/>
                  <a:pt x="726" y="89"/>
                </a:cubicBezTo>
                <a:cubicBezTo>
                  <a:pt x="726" y="88"/>
                  <a:pt x="727" y="88"/>
                  <a:pt x="726" y="88"/>
                </a:cubicBezTo>
                <a:close/>
                <a:moveTo>
                  <a:pt x="699" y="88"/>
                </a:moveTo>
                <a:cubicBezTo>
                  <a:pt x="699" y="88"/>
                  <a:pt x="699" y="89"/>
                  <a:pt x="699" y="89"/>
                </a:cubicBezTo>
                <a:cubicBezTo>
                  <a:pt x="699" y="89"/>
                  <a:pt x="699" y="88"/>
                  <a:pt x="699" y="88"/>
                </a:cubicBezTo>
                <a:close/>
                <a:moveTo>
                  <a:pt x="1384" y="42"/>
                </a:moveTo>
                <a:cubicBezTo>
                  <a:pt x="1385" y="42"/>
                  <a:pt x="1385" y="42"/>
                  <a:pt x="1385" y="41"/>
                </a:cubicBezTo>
                <a:cubicBezTo>
                  <a:pt x="1384" y="42"/>
                  <a:pt x="1384" y="42"/>
                  <a:pt x="1384" y="42"/>
                </a:cubicBezTo>
                <a:close/>
                <a:moveTo>
                  <a:pt x="614" y="90"/>
                </a:moveTo>
                <a:cubicBezTo>
                  <a:pt x="614" y="90"/>
                  <a:pt x="614" y="90"/>
                  <a:pt x="614" y="89"/>
                </a:cubicBezTo>
                <a:cubicBezTo>
                  <a:pt x="614" y="90"/>
                  <a:pt x="614" y="90"/>
                  <a:pt x="614" y="90"/>
                </a:cubicBezTo>
                <a:close/>
                <a:moveTo>
                  <a:pt x="748" y="57"/>
                </a:moveTo>
                <a:cubicBezTo>
                  <a:pt x="749" y="57"/>
                  <a:pt x="749" y="56"/>
                  <a:pt x="749" y="56"/>
                </a:cubicBezTo>
                <a:cubicBezTo>
                  <a:pt x="748" y="56"/>
                  <a:pt x="748" y="57"/>
                  <a:pt x="748" y="57"/>
                </a:cubicBezTo>
                <a:close/>
                <a:moveTo>
                  <a:pt x="1014" y="90"/>
                </a:moveTo>
                <a:cubicBezTo>
                  <a:pt x="1014" y="90"/>
                  <a:pt x="1015" y="90"/>
                  <a:pt x="1015" y="90"/>
                </a:cubicBezTo>
                <a:cubicBezTo>
                  <a:pt x="1015" y="90"/>
                  <a:pt x="1014" y="90"/>
                  <a:pt x="1014" y="90"/>
                </a:cubicBezTo>
                <a:close/>
                <a:moveTo>
                  <a:pt x="715" y="91"/>
                </a:moveTo>
                <a:cubicBezTo>
                  <a:pt x="715" y="91"/>
                  <a:pt x="715" y="90"/>
                  <a:pt x="715" y="90"/>
                </a:cubicBezTo>
                <a:cubicBezTo>
                  <a:pt x="715" y="90"/>
                  <a:pt x="715" y="91"/>
                  <a:pt x="715" y="91"/>
                </a:cubicBezTo>
                <a:close/>
                <a:moveTo>
                  <a:pt x="613" y="60"/>
                </a:moveTo>
                <a:cubicBezTo>
                  <a:pt x="613" y="60"/>
                  <a:pt x="613" y="61"/>
                  <a:pt x="614" y="61"/>
                </a:cubicBezTo>
                <a:cubicBezTo>
                  <a:pt x="614" y="60"/>
                  <a:pt x="614" y="60"/>
                  <a:pt x="613" y="60"/>
                </a:cubicBezTo>
                <a:close/>
                <a:moveTo>
                  <a:pt x="1011" y="91"/>
                </a:moveTo>
                <a:cubicBezTo>
                  <a:pt x="1011" y="91"/>
                  <a:pt x="1012" y="91"/>
                  <a:pt x="1012" y="91"/>
                </a:cubicBezTo>
                <a:cubicBezTo>
                  <a:pt x="1012" y="91"/>
                  <a:pt x="1011" y="91"/>
                  <a:pt x="1011" y="91"/>
                </a:cubicBezTo>
                <a:close/>
                <a:moveTo>
                  <a:pt x="1010" y="91"/>
                </a:moveTo>
                <a:cubicBezTo>
                  <a:pt x="1010" y="91"/>
                  <a:pt x="1011" y="91"/>
                  <a:pt x="1011" y="91"/>
                </a:cubicBezTo>
                <a:cubicBezTo>
                  <a:pt x="1010" y="91"/>
                  <a:pt x="1010" y="91"/>
                  <a:pt x="1010" y="91"/>
                </a:cubicBezTo>
                <a:close/>
                <a:moveTo>
                  <a:pt x="1176" y="92"/>
                </a:moveTo>
                <a:cubicBezTo>
                  <a:pt x="1176" y="92"/>
                  <a:pt x="1175" y="91"/>
                  <a:pt x="1175" y="91"/>
                </a:cubicBezTo>
                <a:cubicBezTo>
                  <a:pt x="1175" y="91"/>
                  <a:pt x="1175" y="92"/>
                  <a:pt x="1176" y="92"/>
                </a:cubicBezTo>
                <a:close/>
                <a:moveTo>
                  <a:pt x="1737" y="41"/>
                </a:moveTo>
                <a:cubicBezTo>
                  <a:pt x="1738" y="40"/>
                  <a:pt x="1738" y="40"/>
                  <a:pt x="1738" y="40"/>
                </a:cubicBezTo>
                <a:cubicBezTo>
                  <a:pt x="1737" y="40"/>
                  <a:pt x="1737" y="40"/>
                  <a:pt x="1737" y="41"/>
                </a:cubicBezTo>
                <a:close/>
                <a:moveTo>
                  <a:pt x="716" y="92"/>
                </a:moveTo>
                <a:cubicBezTo>
                  <a:pt x="716" y="92"/>
                  <a:pt x="716" y="92"/>
                  <a:pt x="715" y="91"/>
                </a:cubicBezTo>
                <a:cubicBezTo>
                  <a:pt x="715" y="92"/>
                  <a:pt x="715" y="92"/>
                  <a:pt x="716" y="92"/>
                </a:cubicBezTo>
                <a:close/>
                <a:moveTo>
                  <a:pt x="986" y="91"/>
                </a:moveTo>
                <a:cubicBezTo>
                  <a:pt x="986" y="92"/>
                  <a:pt x="986" y="92"/>
                  <a:pt x="987" y="92"/>
                </a:cubicBezTo>
                <a:cubicBezTo>
                  <a:pt x="987" y="91"/>
                  <a:pt x="986" y="91"/>
                  <a:pt x="986" y="91"/>
                </a:cubicBezTo>
                <a:close/>
                <a:moveTo>
                  <a:pt x="1008" y="92"/>
                </a:moveTo>
                <a:cubicBezTo>
                  <a:pt x="1009" y="92"/>
                  <a:pt x="1009" y="92"/>
                  <a:pt x="1010" y="91"/>
                </a:cubicBezTo>
                <a:cubicBezTo>
                  <a:pt x="1009" y="91"/>
                  <a:pt x="1009" y="91"/>
                  <a:pt x="1008" y="92"/>
                </a:cubicBezTo>
                <a:close/>
                <a:moveTo>
                  <a:pt x="1251" y="92"/>
                </a:moveTo>
                <a:cubicBezTo>
                  <a:pt x="1252" y="92"/>
                  <a:pt x="1252" y="92"/>
                  <a:pt x="1252" y="91"/>
                </a:cubicBezTo>
                <a:cubicBezTo>
                  <a:pt x="1252" y="91"/>
                  <a:pt x="1252" y="91"/>
                  <a:pt x="1251" y="92"/>
                </a:cubicBezTo>
                <a:close/>
                <a:moveTo>
                  <a:pt x="791" y="92"/>
                </a:moveTo>
                <a:cubicBezTo>
                  <a:pt x="791" y="92"/>
                  <a:pt x="791" y="92"/>
                  <a:pt x="792" y="92"/>
                </a:cubicBezTo>
                <a:cubicBezTo>
                  <a:pt x="791" y="92"/>
                  <a:pt x="791" y="92"/>
                  <a:pt x="791" y="92"/>
                </a:cubicBezTo>
                <a:close/>
                <a:moveTo>
                  <a:pt x="667" y="92"/>
                </a:moveTo>
                <a:cubicBezTo>
                  <a:pt x="667" y="92"/>
                  <a:pt x="667" y="93"/>
                  <a:pt x="668" y="92"/>
                </a:cubicBezTo>
                <a:cubicBezTo>
                  <a:pt x="667" y="92"/>
                  <a:pt x="667" y="92"/>
                  <a:pt x="667" y="92"/>
                </a:cubicBezTo>
                <a:close/>
                <a:moveTo>
                  <a:pt x="789" y="92"/>
                </a:moveTo>
                <a:cubicBezTo>
                  <a:pt x="790" y="92"/>
                  <a:pt x="790" y="92"/>
                  <a:pt x="791" y="92"/>
                </a:cubicBezTo>
                <a:cubicBezTo>
                  <a:pt x="790" y="92"/>
                  <a:pt x="790" y="92"/>
                  <a:pt x="789" y="92"/>
                </a:cubicBezTo>
                <a:close/>
                <a:moveTo>
                  <a:pt x="1569" y="41"/>
                </a:moveTo>
                <a:cubicBezTo>
                  <a:pt x="1570" y="40"/>
                  <a:pt x="1570" y="40"/>
                  <a:pt x="1570" y="40"/>
                </a:cubicBezTo>
                <a:cubicBezTo>
                  <a:pt x="1569" y="40"/>
                  <a:pt x="1569" y="40"/>
                  <a:pt x="1569" y="41"/>
                </a:cubicBezTo>
                <a:close/>
                <a:moveTo>
                  <a:pt x="1176" y="93"/>
                </a:moveTo>
                <a:cubicBezTo>
                  <a:pt x="1176" y="93"/>
                  <a:pt x="1176" y="92"/>
                  <a:pt x="1175" y="92"/>
                </a:cubicBezTo>
                <a:cubicBezTo>
                  <a:pt x="1175" y="92"/>
                  <a:pt x="1175" y="93"/>
                  <a:pt x="1176" y="93"/>
                </a:cubicBezTo>
                <a:close/>
                <a:moveTo>
                  <a:pt x="668" y="92"/>
                </a:moveTo>
                <a:cubicBezTo>
                  <a:pt x="668" y="93"/>
                  <a:pt x="668" y="93"/>
                  <a:pt x="669" y="93"/>
                </a:cubicBezTo>
                <a:cubicBezTo>
                  <a:pt x="668" y="92"/>
                  <a:pt x="668" y="92"/>
                  <a:pt x="668" y="92"/>
                </a:cubicBezTo>
                <a:close/>
                <a:moveTo>
                  <a:pt x="716" y="93"/>
                </a:moveTo>
                <a:cubicBezTo>
                  <a:pt x="716" y="93"/>
                  <a:pt x="716" y="93"/>
                  <a:pt x="716" y="92"/>
                </a:cubicBezTo>
                <a:cubicBezTo>
                  <a:pt x="716" y="93"/>
                  <a:pt x="716" y="93"/>
                  <a:pt x="716" y="93"/>
                </a:cubicBezTo>
                <a:close/>
                <a:moveTo>
                  <a:pt x="772" y="92"/>
                </a:moveTo>
                <a:cubicBezTo>
                  <a:pt x="772" y="93"/>
                  <a:pt x="772" y="93"/>
                  <a:pt x="773" y="93"/>
                </a:cubicBezTo>
                <a:cubicBezTo>
                  <a:pt x="772" y="92"/>
                  <a:pt x="772" y="92"/>
                  <a:pt x="772" y="92"/>
                </a:cubicBezTo>
                <a:close/>
                <a:moveTo>
                  <a:pt x="788" y="93"/>
                </a:moveTo>
                <a:cubicBezTo>
                  <a:pt x="789" y="93"/>
                  <a:pt x="789" y="93"/>
                  <a:pt x="789" y="92"/>
                </a:cubicBezTo>
                <a:cubicBezTo>
                  <a:pt x="789" y="92"/>
                  <a:pt x="789" y="92"/>
                  <a:pt x="788" y="93"/>
                </a:cubicBezTo>
                <a:close/>
                <a:moveTo>
                  <a:pt x="1070" y="93"/>
                </a:moveTo>
                <a:cubicBezTo>
                  <a:pt x="1071" y="93"/>
                  <a:pt x="1071" y="93"/>
                  <a:pt x="1071" y="92"/>
                </a:cubicBezTo>
                <a:cubicBezTo>
                  <a:pt x="1071" y="92"/>
                  <a:pt x="1071" y="92"/>
                  <a:pt x="1070" y="93"/>
                </a:cubicBezTo>
                <a:close/>
                <a:moveTo>
                  <a:pt x="1248" y="93"/>
                </a:moveTo>
                <a:cubicBezTo>
                  <a:pt x="1249" y="93"/>
                  <a:pt x="1249" y="93"/>
                  <a:pt x="1249" y="92"/>
                </a:cubicBezTo>
                <a:cubicBezTo>
                  <a:pt x="1249" y="92"/>
                  <a:pt x="1249" y="92"/>
                  <a:pt x="1248" y="93"/>
                </a:cubicBezTo>
                <a:close/>
                <a:moveTo>
                  <a:pt x="669" y="93"/>
                </a:moveTo>
                <a:cubicBezTo>
                  <a:pt x="669" y="93"/>
                  <a:pt x="670" y="93"/>
                  <a:pt x="670" y="93"/>
                </a:cubicBezTo>
                <a:cubicBezTo>
                  <a:pt x="670" y="93"/>
                  <a:pt x="669" y="93"/>
                  <a:pt x="669" y="93"/>
                </a:cubicBezTo>
                <a:close/>
                <a:moveTo>
                  <a:pt x="682" y="93"/>
                </a:moveTo>
                <a:cubicBezTo>
                  <a:pt x="682" y="93"/>
                  <a:pt x="682" y="93"/>
                  <a:pt x="683" y="93"/>
                </a:cubicBezTo>
                <a:cubicBezTo>
                  <a:pt x="682" y="93"/>
                  <a:pt x="682" y="93"/>
                  <a:pt x="682" y="93"/>
                </a:cubicBezTo>
                <a:close/>
                <a:moveTo>
                  <a:pt x="773" y="93"/>
                </a:moveTo>
                <a:cubicBezTo>
                  <a:pt x="773" y="93"/>
                  <a:pt x="774" y="93"/>
                  <a:pt x="774" y="93"/>
                </a:cubicBezTo>
                <a:cubicBezTo>
                  <a:pt x="774" y="93"/>
                  <a:pt x="773" y="93"/>
                  <a:pt x="773" y="93"/>
                </a:cubicBezTo>
                <a:close/>
                <a:moveTo>
                  <a:pt x="1055" y="93"/>
                </a:moveTo>
                <a:cubicBezTo>
                  <a:pt x="1055" y="93"/>
                  <a:pt x="1056" y="93"/>
                  <a:pt x="1056" y="93"/>
                </a:cubicBezTo>
                <a:cubicBezTo>
                  <a:pt x="1056" y="93"/>
                  <a:pt x="1055" y="93"/>
                  <a:pt x="1055" y="93"/>
                </a:cubicBezTo>
                <a:close/>
                <a:moveTo>
                  <a:pt x="1069" y="93"/>
                </a:moveTo>
                <a:cubicBezTo>
                  <a:pt x="1069" y="93"/>
                  <a:pt x="1070" y="93"/>
                  <a:pt x="1070" y="93"/>
                </a:cubicBezTo>
                <a:cubicBezTo>
                  <a:pt x="1070" y="93"/>
                  <a:pt x="1069" y="93"/>
                  <a:pt x="1069" y="93"/>
                </a:cubicBezTo>
                <a:close/>
                <a:moveTo>
                  <a:pt x="1233" y="93"/>
                </a:moveTo>
                <a:cubicBezTo>
                  <a:pt x="1233" y="93"/>
                  <a:pt x="1234" y="93"/>
                  <a:pt x="1234" y="93"/>
                </a:cubicBezTo>
                <a:cubicBezTo>
                  <a:pt x="1234" y="93"/>
                  <a:pt x="1233" y="93"/>
                  <a:pt x="1233" y="93"/>
                </a:cubicBezTo>
                <a:close/>
                <a:moveTo>
                  <a:pt x="1247" y="93"/>
                </a:moveTo>
                <a:cubicBezTo>
                  <a:pt x="1247" y="93"/>
                  <a:pt x="1248" y="93"/>
                  <a:pt x="1248" y="93"/>
                </a:cubicBezTo>
                <a:cubicBezTo>
                  <a:pt x="1248" y="93"/>
                  <a:pt x="1247" y="93"/>
                  <a:pt x="1247" y="93"/>
                </a:cubicBezTo>
                <a:close/>
                <a:moveTo>
                  <a:pt x="636" y="57"/>
                </a:moveTo>
                <a:cubicBezTo>
                  <a:pt x="636" y="57"/>
                  <a:pt x="636" y="57"/>
                  <a:pt x="636" y="56"/>
                </a:cubicBezTo>
                <a:cubicBezTo>
                  <a:pt x="636" y="57"/>
                  <a:pt x="636" y="57"/>
                  <a:pt x="636" y="57"/>
                </a:cubicBezTo>
                <a:close/>
                <a:moveTo>
                  <a:pt x="731" y="93"/>
                </a:moveTo>
                <a:cubicBezTo>
                  <a:pt x="732" y="94"/>
                  <a:pt x="732" y="94"/>
                  <a:pt x="733" y="93"/>
                </a:cubicBezTo>
                <a:cubicBezTo>
                  <a:pt x="732" y="93"/>
                  <a:pt x="732" y="93"/>
                  <a:pt x="731" y="93"/>
                </a:cubicBezTo>
                <a:close/>
                <a:moveTo>
                  <a:pt x="645" y="61"/>
                </a:moveTo>
                <a:cubicBezTo>
                  <a:pt x="645" y="61"/>
                  <a:pt x="645" y="61"/>
                  <a:pt x="645" y="62"/>
                </a:cubicBezTo>
                <a:cubicBezTo>
                  <a:pt x="645" y="62"/>
                  <a:pt x="645" y="61"/>
                  <a:pt x="645" y="61"/>
                </a:cubicBezTo>
                <a:close/>
                <a:moveTo>
                  <a:pt x="639" y="50"/>
                </a:moveTo>
                <a:cubicBezTo>
                  <a:pt x="639" y="49"/>
                  <a:pt x="639" y="49"/>
                  <a:pt x="639" y="49"/>
                </a:cubicBezTo>
                <a:cubicBezTo>
                  <a:pt x="639" y="49"/>
                  <a:pt x="639" y="49"/>
                  <a:pt x="639" y="50"/>
                </a:cubicBezTo>
                <a:close/>
                <a:moveTo>
                  <a:pt x="1197" y="93"/>
                </a:moveTo>
                <a:cubicBezTo>
                  <a:pt x="1198" y="94"/>
                  <a:pt x="1198" y="94"/>
                  <a:pt x="1199" y="93"/>
                </a:cubicBezTo>
                <a:cubicBezTo>
                  <a:pt x="1198" y="93"/>
                  <a:pt x="1198" y="93"/>
                  <a:pt x="1197" y="93"/>
                </a:cubicBezTo>
                <a:close/>
                <a:moveTo>
                  <a:pt x="595" y="41"/>
                </a:moveTo>
                <a:cubicBezTo>
                  <a:pt x="595" y="40"/>
                  <a:pt x="594" y="40"/>
                  <a:pt x="594" y="40"/>
                </a:cubicBezTo>
                <a:cubicBezTo>
                  <a:pt x="594" y="40"/>
                  <a:pt x="594" y="40"/>
                  <a:pt x="595" y="41"/>
                </a:cubicBezTo>
                <a:close/>
                <a:moveTo>
                  <a:pt x="670" y="55"/>
                </a:moveTo>
                <a:cubicBezTo>
                  <a:pt x="670" y="55"/>
                  <a:pt x="670" y="55"/>
                  <a:pt x="670" y="56"/>
                </a:cubicBezTo>
                <a:cubicBezTo>
                  <a:pt x="670" y="55"/>
                  <a:pt x="670" y="55"/>
                  <a:pt x="670" y="55"/>
                </a:cubicBezTo>
                <a:close/>
                <a:moveTo>
                  <a:pt x="871" y="56"/>
                </a:moveTo>
                <a:cubicBezTo>
                  <a:pt x="871" y="56"/>
                  <a:pt x="871" y="57"/>
                  <a:pt x="871" y="57"/>
                </a:cubicBezTo>
                <a:cubicBezTo>
                  <a:pt x="871" y="57"/>
                  <a:pt x="871" y="57"/>
                  <a:pt x="871" y="56"/>
                </a:cubicBezTo>
                <a:close/>
                <a:moveTo>
                  <a:pt x="1111" y="56"/>
                </a:moveTo>
                <a:cubicBezTo>
                  <a:pt x="1111" y="56"/>
                  <a:pt x="1111" y="57"/>
                  <a:pt x="1111" y="57"/>
                </a:cubicBezTo>
                <a:cubicBezTo>
                  <a:pt x="1111" y="57"/>
                  <a:pt x="1111" y="57"/>
                  <a:pt x="1111" y="56"/>
                </a:cubicBezTo>
                <a:close/>
                <a:moveTo>
                  <a:pt x="617" y="97"/>
                </a:moveTo>
                <a:cubicBezTo>
                  <a:pt x="616" y="96"/>
                  <a:pt x="616" y="96"/>
                  <a:pt x="616" y="96"/>
                </a:cubicBezTo>
                <a:cubicBezTo>
                  <a:pt x="616" y="96"/>
                  <a:pt x="616" y="96"/>
                  <a:pt x="617" y="97"/>
                </a:cubicBezTo>
                <a:close/>
                <a:moveTo>
                  <a:pt x="1208" y="57"/>
                </a:moveTo>
                <a:cubicBezTo>
                  <a:pt x="1209" y="57"/>
                  <a:pt x="1209" y="57"/>
                  <a:pt x="1209" y="56"/>
                </a:cubicBezTo>
                <a:cubicBezTo>
                  <a:pt x="1208" y="57"/>
                  <a:pt x="1208" y="57"/>
                  <a:pt x="1208" y="57"/>
                </a:cubicBezTo>
                <a:close/>
                <a:moveTo>
                  <a:pt x="1684" y="39"/>
                </a:moveTo>
                <a:cubicBezTo>
                  <a:pt x="1683" y="39"/>
                  <a:pt x="1683" y="40"/>
                  <a:pt x="1683" y="40"/>
                </a:cubicBezTo>
                <a:cubicBezTo>
                  <a:pt x="1684" y="40"/>
                  <a:pt x="1684" y="40"/>
                  <a:pt x="1684" y="39"/>
                </a:cubicBezTo>
                <a:close/>
                <a:moveTo>
                  <a:pt x="617" y="98"/>
                </a:moveTo>
                <a:cubicBezTo>
                  <a:pt x="617" y="98"/>
                  <a:pt x="617" y="98"/>
                  <a:pt x="617" y="97"/>
                </a:cubicBezTo>
                <a:cubicBezTo>
                  <a:pt x="617" y="98"/>
                  <a:pt x="617" y="98"/>
                  <a:pt x="617" y="98"/>
                </a:cubicBezTo>
                <a:close/>
                <a:moveTo>
                  <a:pt x="1385" y="40"/>
                </a:moveTo>
                <a:cubicBezTo>
                  <a:pt x="1385" y="40"/>
                  <a:pt x="1385" y="40"/>
                  <a:pt x="1385" y="39"/>
                </a:cubicBezTo>
                <a:cubicBezTo>
                  <a:pt x="1385" y="39"/>
                  <a:pt x="1385" y="40"/>
                  <a:pt x="1385" y="40"/>
                </a:cubicBezTo>
                <a:close/>
                <a:moveTo>
                  <a:pt x="1017" y="99"/>
                </a:moveTo>
                <a:cubicBezTo>
                  <a:pt x="1017" y="99"/>
                  <a:pt x="1017" y="99"/>
                  <a:pt x="1016" y="100"/>
                </a:cubicBezTo>
                <a:cubicBezTo>
                  <a:pt x="1017" y="100"/>
                  <a:pt x="1017" y="100"/>
                  <a:pt x="1017" y="99"/>
                </a:cubicBezTo>
                <a:close/>
                <a:moveTo>
                  <a:pt x="1255" y="100"/>
                </a:moveTo>
                <a:cubicBezTo>
                  <a:pt x="1255" y="100"/>
                  <a:pt x="1254" y="100"/>
                  <a:pt x="1254" y="100"/>
                </a:cubicBezTo>
                <a:cubicBezTo>
                  <a:pt x="1255" y="100"/>
                  <a:pt x="1255" y="101"/>
                  <a:pt x="1255" y="100"/>
                </a:cubicBezTo>
                <a:close/>
                <a:moveTo>
                  <a:pt x="794" y="100"/>
                </a:moveTo>
                <a:cubicBezTo>
                  <a:pt x="794" y="100"/>
                  <a:pt x="794" y="101"/>
                  <a:pt x="793" y="101"/>
                </a:cubicBezTo>
                <a:cubicBezTo>
                  <a:pt x="794" y="101"/>
                  <a:pt x="794" y="101"/>
                  <a:pt x="794" y="100"/>
                </a:cubicBezTo>
                <a:close/>
                <a:moveTo>
                  <a:pt x="573" y="101"/>
                </a:moveTo>
                <a:cubicBezTo>
                  <a:pt x="573" y="101"/>
                  <a:pt x="572" y="101"/>
                  <a:pt x="572" y="101"/>
                </a:cubicBezTo>
                <a:cubicBezTo>
                  <a:pt x="573" y="101"/>
                  <a:pt x="573" y="101"/>
                  <a:pt x="573" y="101"/>
                </a:cubicBezTo>
                <a:close/>
                <a:moveTo>
                  <a:pt x="765" y="101"/>
                </a:moveTo>
                <a:cubicBezTo>
                  <a:pt x="765" y="101"/>
                  <a:pt x="765" y="101"/>
                  <a:pt x="764" y="101"/>
                </a:cubicBezTo>
                <a:cubicBezTo>
                  <a:pt x="765" y="101"/>
                  <a:pt x="765" y="101"/>
                  <a:pt x="765" y="101"/>
                </a:cubicBezTo>
                <a:close/>
                <a:moveTo>
                  <a:pt x="1013" y="101"/>
                </a:moveTo>
                <a:cubicBezTo>
                  <a:pt x="1013" y="101"/>
                  <a:pt x="1012" y="101"/>
                  <a:pt x="1012" y="101"/>
                </a:cubicBezTo>
                <a:cubicBezTo>
                  <a:pt x="1013" y="101"/>
                  <a:pt x="1013" y="101"/>
                  <a:pt x="1013" y="101"/>
                </a:cubicBezTo>
                <a:close/>
                <a:moveTo>
                  <a:pt x="1076" y="101"/>
                </a:moveTo>
                <a:cubicBezTo>
                  <a:pt x="1075" y="101"/>
                  <a:pt x="1075" y="101"/>
                  <a:pt x="1074" y="101"/>
                </a:cubicBezTo>
                <a:cubicBezTo>
                  <a:pt x="1075" y="101"/>
                  <a:pt x="1075" y="101"/>
                  <a:pt x="1076" y="101"/>
                </a:cubicBezTo>
                <a:close/>
                <a:moveTo>
                  <a:pt x="572" y="101"/>
                </a:moveTo>
                <a:cubicBezTo>
                  <a:pt x="572" y="101"/>
                  <a:pt x="571" y="101"/>
                  <a:pt x="571" y="101"/>
                </a:cubicBezTo>
                <a:cubicBezTo>
                  <a:pt x="572" y="102"/>
                  <a:pt x="572" y="102"/>
                  <a:pt x="572" y="101"/>
                </a:cubicBezTo>
                <a:close/>
                <a:moveTo>
                  <a:pt x="629" y="101"/>
                </a:moveTo>
                <a:cubicBezTo>
                  <a:pt x="629" y="101"/>
                  <a:pt x="629" y="102"/>
                  <a:pt x="629" y="102"/>
                </a:cubicBezTo>
                <a:cubicBezTo>
                  <a:pt x="629" y="102"/>
                  <a:pt x="629" y="102"/>
                  <a:pt x="629" y="101"/>
                </a:cubicBezTo>
                <a:close/>
                <a:moveTo>
                  <a:pt x="792" y="101"/>
                </a:moveTo>
                <a:cubicBezTo>
                  <a:pt x="792" y="101"/>
                  <a:pt x="791" y="101"/>
                  <a:pt x="791" y="102"/>
                </a:cubicBezTo>
                <a:cubicBezTo>
                  <a:pt x="792" y="102"/>
                  <a:pt x="792" y="102"/>
                  <a:pt x="792" y="101"/>
                </a:cubicBezTo>
                <a:close/>
                <a:moveTo>
                  <a:pt x="982" y="102"/>
                </a:moveTo>
                <a:cubicBezTo>
                  <a:pt x="981" y="101"/>
                  <a:pt x="981" y="101"/>
                  <a:pt x="981" y="101"/>
                </a:cubicBezTo>
                <a:cubicBezTo>
                  <a:pt x="981" y="102"/>
                  <a:pt x="981" y="102"/>
                  <a:pt x="982" y="102"/>
                </a:cubicBezTo>
                <a:close/>
                <a:moveTo>
                  <a:pt x="1012" y="101"/>
                </a:moveTo>
                <a:cubicBezTo>
                  <a:pt x="1012" y="101"/>
                  <a:pt x="1011" y="101"/>
                  <a:pt x="1011" y="101"/>
                </a:cubicBezTo>
                <a:cubicBezTo>
                  <a:pt x="1011" y="101"/>
                  <a:pt x="1012" y="102"/>
                  <a:pt x="1012" y="101"/>
                </a:cubicBezTo>
                <a:close/>
                <a:moveTo>
                  <a:pt x="1048" y="101"/>
                </a:moveTo>
                <a:cubicBezTo>
                  <a:pt x="1048" y="101"/>
                  <a:pt x="1048" y="101"/>
                  <a:pt x="1047" y="101"/>
                </a:cubicBezTo>
                <a:cubicBezTo>
                  <a:pt x="1048" y="102"/>
                  <a:pt x="1048" y="101"/>
                  <a:pt x="1048" y="101"/>
                </a:cubicBezTo>
                <a:close/>
                <a:moveTo>
                  <a:pt x="1075" y="101"/>
                </a:moveTo>
                <a:cubicBezTo>
                  <a:pt x="1074" y="101"/>
                  <a:pt x="1074" y="101"/>
                  <a:pt x="1073" y="101"/>
                </a:cubicBezTo>
                <a:cubicBezTo>
                  <a:pt x="1074" y="101"/>
                  <a:pt x="1074" y="102"/>
                  <a:pt x="1075" y="101"/>
                </a:cubicBezTo>
                <a:close/>
                <a:moveTo>
                  <a:pt x="1226" y="101"/>
                </a:moveTo>
                <a:cubicBezTo>
                  <a:pt x="1226" y="101"/>
                  <a:pt x="1226" y="101"/>
                  <a:pt x="1225" y="101"/>
                </a:cubicBezTo>
                <a:cubicBezTo>
                  <a:pt x="1225" y="102"/>
                  <a:pt x="1226" y="102"/>
                  <a:pt x="1226" y="101"/>
                </a:cubicBezTo>
                <a:close/>
                <a:moveTo>
                  <a:pt x="571" y="101"/>
                </a:moveTo>
                <a:cubicBezTo>
                  <a:pt x="571" y="101"/>
                  <a:pt x="570" y="101"/>
                  <a:pt x="570" y="102"/>
                </a:cubicBezTo>
                <a:cubicBezTo>
                  <a:pt x="570" y="102"/>
                  <a:pt x="571" y="102"/>
                  <a:pt x="571" y="101"/>
                </a:cubicBezTo>
                <a:close/>
                <a:moveTo>
                  <a:pt x="618" y="103"/>
                </a:moveTo>
                <a:cubicBezTo>
                  <a:pt x="618" y="102"/>
                  <a:pt x="618" y="102"/>
                  <a:pt x="618" y="102"/>
                </a:cubicBezTo>
                <a:cubicBezTo>
                  <a:pt x="618" y="102"/>
                  <a:pt x="618" y="102"/>
                  <a:pt x="618" y="103"/>
                </a:cubicBezTo>
                <a:close/>
                <a:moveTo>
                  <a:pt x="665" y="102"/>
                </a:moveTo>
                <a:cubicBezTo>
                  <a:pt x="664" y="101"/>
                  <a:pt x="664" y="101"/>
                  <a:pt x="663" y="101"/>
                </a:cubicBezTo>
                <a:cubicBezTo>
                  <a:pt x="664" y="102"/>
                  <a:pt x="664" y="102"/>
                  <a:pt x="665" y="102"/>
                </a:cubicBezTo>
                <a:close/>
                <a:moveTo>
                  <a:pt x="724" y="102"/>
                </a:moveTo>
                <a:cubicBezTo>
                  <a:pt x="724" y="102"/>
                  <a:pt x="724" y="101"/>
                  <a:pt x="723" y="101"/>
                </a:cubicBezTo>
                <a:cubicBezTo>
                  <a:pt x="724" y="102"/>
                  <a:pt x="724" y="102"/>
                  <a:pt x="724" y="102"/>
                </a:cubicBezTo>
                <a:close/>
                <a:moveTo>
                  <a:pt x="791" y="101"/>
                </a:moveTo>
                <a:cubicBezTo>
                  <a:pt x="791" y="101"/>
                  <a:pt x="790" y="101"/>
                  <a:pt x="790" y="102"/>
                </a:cubicBezTo>
                <a:cubicBezTo>
                  <a:pt x="790" y="102"/>
                  <a:pt x="791" y="102"/>
                  <a:pt x="791" y="101"/>
                </a:cubicBezTo>
                <a:close/>
                <a:moveTo>
                  <a:pt x="983" y="102"/>
                </a:moveTo>
                <a:cubicBezTo>
                  <a:pt x="982" y="101"/>
                  <a:pt x="982" y="101"/>
                  <a:pt x="982" y="101"/>
                </a:cubicBezTo>
                <a:cubicBezTo>
                  <a:pt x="982" y="102"/>
                  <a:pt x="982" y="102"/>
                  <a:pt x="983" y="102"/>
                </a:cubicBezTo>
                <a:close/>
                <a:moveTo>
                  <a:pt x="1050" y="102"/>
                </a:moveTo>
                <a:cubicBezTo>
                  <a:pt x="1049" y="102"/>
                  <a:pt x="1049" y="101"/>
                  <a:pt x="1048" y="101"/>
                </a:cubicBezTo>
                <a:cubicBezTo>
                  <a:pt x="1049" y="102"/>
                  <a:pt x="1049" y="102"/>
                  <a:pt x="1050" y="102"/>
                </a:cubicBezTo>
                <a:close/>
                <a:moveTo>
                  <a:pt x="1073" y="102"/>
                </a:moveTo>
                <a:cubicBezTo>
                  <a:pt x="1073" y="102"/>
                  <a:pt x="1072" y="102"/>
                  <a:pt x="1072" y="102"/>
                </a:cubicBezTo>
                <a:cubicBezTo>
                  <a:pt x="1072" y="102"/>
                  <a:pt x="1073" y="102"/>
                  <a:pt x="1073" y="102"/>
                </a:cubicBezTo>
                <a:close/>
                <a:moveTo>
                  <a:pt x="1227" y="102"/>
                </a:moveTo>
                <a:cubicBezTo>
                  <a:pt x="1227" y="102"/>
                  <a:pt x="1227" y="101"/>
                  <a:pt x="1226" y="101"/>
                </a:cubicBezTo>
                <a:cubicBezTo>
                  <a:pt x="1227" y="102"/>
                  <a:pt x="1227" y="102"/>
                  <a:pt x="1227" y="102"/>
                </a:cubicBezTo>
                <a:close/>
                <a:moveTo>
                  <a:pt x="1251" y="102"/>
                </a:moveTo>
                <a:cubicBezTo>
                  <a:pt x="1251" y="101"/>
                  <a:pt x="1250" y="102"/>
                  <a:pt x="1250" y="102"/>
                </a:cubicBezTo>
                <a:cubicBezTo>
                  <a:pt x="1250" y="102"/>
                  <a:pt x="1251" y="102"/>
                  <a:pt x="1251" y="102"/>
                </a:cubicBezTo>
                <a:close/>
                <a:moveTo>
                  <a:pt x="1430" y="102"/>
                </a:moveTo>
                <a:cubicBezTo>
                  <a:pt x="1430" y="102"/>
                  <a:pt x="1430" y="101"/>
                  <a:pt x="1429" y="101"/>
                </a:cubicBezTo>
                <a:cubicBezTo>
                  <a:pt x="1429" y="102"/>
                  <a:pt x="1430" y="102"/>
                  <a:pt x="1430" y="102"/>
                </a:cubicBezTo>
                <a:close/>
                <a:moveTo>
                  <a:pt x="570" y="102"/>
                </a:moveTo>
                <a:cubicBezTo>
                  <a:pt x="569" y="102"/>
                  <a:pt x="569" y="102"/>
                  <a:pt x="569" y="102"/>
                </a:cubicBezTo>
                <a:cubicBezTo>
                  <a:pt x="569" y="102"/>
                  <a:pt x="569" y="102"/>
                  <a:pt x="570" y="102"/>
                </a:cubicBezTo>
                <a:close/>
                <a:moveTo>
                  <a:pt x="666" y="102"/>
                </a:moveTo>
                <a:cubicBezTo>
                  <a:pt x="666" y="102"/>
                  <a:pt x="665" y="102"/>
                  <a:pt x="665" y="102"/>
                </a:cubicBezTo>
                <a:cubicBezTo>
                  <a:pt x="665" y="102"/>
                  <a:pt x="666" y="102"/>
                  <a:pt x="666" y="102"/>
                </a:cubicBezTo>
                <a:close/>
                <a:moveTo>
                  <a:pt x="685" y="102"/>
                </a:moveTo>
                <a:cubicBezTo>
                  <a:pt x="685" y="102"/>
                  <a:pt x="684" y="102"/>
                  <a:pt x="684" y="102"/>
                </a:cubicBezTo>
                <a:cubicBezTo>
                  <a:pt x="684" y="102"/>
                  <a:pt x="685" y="102"/>
                  <a:pt x="685" y="102"/>
                </a:cubicBezTo>
                <a:close/>
                <a:moveTo>
                  <a:pt x="740" y="102"/>
                </a:moveTo>
                <a:cubicBezTo>
                  <a:pt x="740" y="102"/>
                  <a:pt x="740" y="102"/>
                  <a:pt x="739" y="102"/>
                </a:cubicBezTo>
                <a:cubicBezTo>
                  <a:pt x="740" y="102"/>
                  <a:pt x="740" y="102"/>
                  <a:pt x="740" y="102"/>
                </a:cubicBezTo>
                <a:close/>
                <a:moveTo>
                  <a:pt x="769" y="102"/>
                </a:moveTo>
                <a:cubicBezTo>
                  <a:pt x="768" y="102"/>
                  <a:pt x="768" y="102"/>
                  <a:pt x="768" y="102"/>
                </a:cubicBezTo>
                <a:cubicBezTo>
                  <a:pt x="768" y="102"/>
                  <a:pt x="768" y="102"/>
                  <a:pt x="769" y="102"/>
                </a:cubicBezTo>
                <a:close/>
                <a:moveTo>
                  <a:pt x="790" y="102"/>
                </a:moveTo>
                <a:cubicBezTo>
                  <a:pt x="789" y="102"/>
                  <a:pt x="789" y="102"/>
                  <a:pt x="789" y="102"/>
                </a:cubicBezTo>
                <a:cubicBezTo>
                  <a:pt x="789" y="102"/>
                  <a:pt x="789" y="102"/>
                  <a:pt x="790" y="102"/>
                </a:cubicBezTo>
                <a:close/>
                <a:moveTo>
                  <a:pt x="1031" y="55"/>
                </a:moveTo>
                <a:cubicBezTo>
                  <a:pt x="1031" y="55"/>
                  <a:pt x="1031" y="55"/>
                  <a:pt x="1031" y="54"/>
                </a:cubicBezTo>
                <a:cubicBezTo>
                  <a:pt x="1031" y="54"/>
                  <a:pt x="1031" y="55"/>
                  <a:pt x="1031" y="55"/>
                </a:cubicBezTo>
                <a:close/>
                <a:moveTo>
                  <a:pt x="1051" y="102"/>
                </a:moveTo>
                <a:cubicBezTo>
                  <a:pt x="1050" y="102"/>
                  <a:pt x="1050" y="102"/>
                  <a:pt x="1049" y="102"/>
                </a:cubicBezTo>
                <a:cubicBezTo>
                  <a:pt x="1050" y="102"/>
                  <a:pt x="1050" y="102"/>
                  <a:pt x="1051" y="102"/>
                </a:cubicBezTo>
                <a:close/>
                <a:moveTo>
                  <a:pt x="1072" y="102"/>
                </a:moveTo>
                <a:cubicBezTo>
                  <a:pt x="1071" y="102"/>
                  <a:pt x="1071" y="102"/>
                  <a:pt x="1071" y="102"/>
                </a:cubicBezTo>
                <a:cubicBezTo>
                  <a:pt x="1071" y="102"/>
                  <a:pt x="1071" y="102"/>
                  <a:pt x="1072" y="102"/>
                </a:cubicBezTo>
                <a:close/>
                <a:moveTo>
                  <a:pt x="1185" y="102"/>
                </a:moveTo>
                <a:cubicBezTo>
                  <a:pt x="1185" y="102"/>
                  <a:pt x="1185" y="102"/>
                  <a:pt x="1184" y="102"/>
                </a:cubicBezTo>
                <a:cubicBezTo>
                  <a:pt x="1184" y="102"/>
                  <a:pt x="1185" y="102"/>
                  <a:pt x="1185" y="102"/>
                </a:cubicBezTo>
                <a:close/>
                <a:moveTo>
                  <a:pt x="1200" y="102"/>
                </a:moveTo>
                <a:cubicBezTo>
                  <a:pt x="1200" y="102"/>
                  <a:pt x="1199" y="102"/>
                  <a:pt x="1199" y="102"/>
                </a:cubicBezTo>
                <a:cubicBezTo>
                  <a:pt x="1200" y="102"/>
                  <a:pt x="1200" y="102"/>
                  <a:pt x="1200" y="102"/>
                </a:cubicBezTo>
                <a:close/>
                <a:moveTo>
                  <a:pt x="1229" y="102"/>
                </a:moveTo>
                <a:cubicBezTo>
                  <a:pt x="1228" y="102"/>
                  <a:pt x="1228" y="102"/>
                  <a:pt x="1227" y="102"/>
                </a:cubicBezTo>
                <a:cubicBezTo>
                  <a:pt x="1228" y="102"/>
                  <a:pt x="1228" y="102"/>
                  <a:pt x="1229" y="102"/>
                </a:cubicBezTo>
                <a:close/>
                <a:moveTo>
                  <a:pt x="1250" y="102"/>
                </a:moveTo>
                <a:cubicBezTo>
                  <a:pt x="1249" y="102"/>
                  <a:pt x="1249" y="102"/>
                  <a:pt x="1248" y="102"/>
                </a:cubicBezTo>
                <a:cubicBezTo>
                  <a:pt x="1249" y="102"/>
                  <a:pt x="1249" y="102"/>
                  <a:pt x="1250" y="102"/>
                </a:cubicBezTo>
                <a:close/>
                <a:moveTo>
                  <a:pt x="1431" y="102"/>
                </a:moveTo>
                <a:cubicBezTo>
                  <a:pt x="1431" y="102"/>
                  <a:pt x="1431" y="102"/>
                  <a:pt x="1430" y="102"/>
                </a:cubicBezTo>
                <a:cubicBezTo>
                  <a:pt x="1431" y="102"/>
                  <a:pt x="1431" y="102"/>
                  <a:pt x="1431" y="102"/>
                </a:cubicBezTo>
                <a:close/>
                <a:moveTo>
                  <a:pt x="1448" y="102"/>
                </a:moveTo>
                <a:cubicBezTo>
                  <a:pt x="1448" y="102"/>
                  <a:pt x="1448" y="102"/>
                  <a:pt x="1447" y="102"/>
                </a:cubicBezTo>
                <a:cubicBezTo>
                  <a:pt x="1448" y="102"/>
                  <a:pt x="1448" y="102"/>
                  <a:pt x="1448" y="102"/>
                </a:cubicBezTo>
                <a:close/>
                <a:moveTo>
                  <a:pt x="1652" y="62"/>
                </a:moveTo>
                <a:cubicBezTo>
                  <a:pt x="1651" y="62"/>
                  <a:pt x="1651" y="62"/>
                  <a:pt x="1651" y="62"/>
                </a:cubicBezTo>
                <a:cubicBezTo>
                  <a:pt x="1651" y="62"/>
                  <a:pt x="1651" y="62"/>
                  <a:pt x="1652" y="62"/>
                </a:cubicBezTo>
                <a:close/>
                <a:moveTo>
                  <a:pt x="667" y="103"/>
                </a:moveTo>
                <a:cubicBezTo>
                  <a:pt x="667" y="102"/>
                  <a:pt x="667" y="102"/>
                  <a:pt x="666" y="102"/>
                </a:cubicBezTo>
                <a:cubicBezTo>
                  <a:pt x="667" y="103"/>
                  <a:pt x="667" y="103"/>
                  <a:pt x="667" y="103"/>
                </a:cubicBezTo>
                <a:close/>
                <a:moveTo>
                  <a:pt x="727" y="103"/>
                </a:moveTo>
                <a:cubicBezTo>
                  <a:pt x="726" y="102"/>
                  <a:pt x="726" y="102"/>
                  <a:pt x="725" y="102"/>
                </a:cubicBezTo>
                <a:cubicBezTo>
                  <a:pt x="726" y="103"/>
                  <a:pt x="726" y="103"/>
                  <a:pt x="727" y="103"/>
                </a:cubicBezTo>
                <a:close/>
                <a:moveTo>
                  <a:pt x="739" y="102"/>
                </a:moveTo>
                <a:cubicBezTo>
                  <a:pt x="739" y="102"/>
                  <a:pt x="738" y="102"/>
                  <a:pt x="738" y="103"/>
                </a:cubicBezTo>
                <a:cubicBezTo>
                  <a:pt x="738" y="103"/>
                  <a:pt x="739" y="103"/>
                  <a:pt x="739" y="102"/>
                </a:cubicBezTo>
                <a:close/>
                <a:moveTo>
                  <a:pt x="770" y="103"/>
                </a:moveTo>
                <a:cubicBezTo>
                  <a:pt x="770" y="102"/>
                  <a:pt x="769" y="102"/>
                  <a:pt x="769" y="102"/>
                </a:cubicBezTo>
                <a:cubicBezTo>
                  <a:pt x="769" y="103"/>
                  <a:pt x="770" y="103"/>
                  <a:pt x="770" y="103"/>
                </a:cubicBezTo>
                <a:close/>
                <a:moveTo>
                  <a:pt x="1186" y="103"/>
                </a:moveTo>
                <a:cubicBezTo>
                  <a:pt x="1186" y="102"/>
                  <a:pt x="1186" y="102"/>
                  <a:pt x="1185" y="102"/>
                </a:cubicBezTo>
                <a:cubicBezTo>
                  <a:pt x="1186" y="103"/>
                  <a:pt x="1186" y="103"/>
                  <a:pt x="1186" y="103"/>
                </a:cubicBezTo>
                <a:close/>
                <a:moveTo>
                  <a:pt x="1199" y="102"/>
                </a:moveTo>
                <a:cubicBezTo>
                  <a:pt x="1199" y="102"/>
                  <a:pt x="1198" y="102"/>
                  <a:pt x="1198" y="103"/>
                </a:cubicBezTo>
                <a:cubicBezTo>
                  <a:pt x="1198" y="103"/>
                  <a:pt x="1199" y="103"/>
                  <a:pt x="1199" y="102"/>
                </a:cubicBezTo>
                <a:close/>
                <a:moveTo>
                  <a:pt x="953" y="40"/>
                </a:moveTo>
                <a:cubicBezTo>
                  <a:pt x="953" y="40"/>
                  <a:pt x="953" y="40"/>
                  <a:pt x="953" y="39"/>
                </a:cubicBezTo>
                <a:cubicBezTo>
                  <a:pt x="953" y="39"/>
                  <a:pt x="953" y="40"/>
                  <a:pt x="953" y="40"/>
                </a:cubicBezTo>
                <a:close/>
                <a:moveTo>
                  <a:pt x="645" y="63"/>
                </a:moveTo>
                <a:cubicBezTo>
                  <a:pt x="644" y="63"/>
                  <a:pt x="644" y="63"/>
                  <a:pt x="644" y="64"/>
                </a:cubicBezTo>
                <a:cubicBezTo>
                  <a:pt x="645" y="63"/>
                  <a:pt x="645" y="63"/>
                  <a:pt x="645" y="63"/>
                </a:cubicBezTo>
                <a:close/>
                <a:moveTo>
                  <a:pt x="611" y="52"/>
                </a:moveTo>
                <a:cubicBezTo>
                  <a:pt x="610" y="52"/>
                  <a:pt x="611" y="53"/>
                  <a:pt x="611" y="53"/>
                </a:cubicBezTo>
                <a:cubicBezTo>
                  <a:pt x="611" y="52"/>
                  <a:pt x="611" y="52"/>
                  <a:pt x="611" y="52"/>
                </a:cubicBezTo>
                <a:close/>
                <a:moveTo>
                  <a:pt x="642" y="40"/>
                </a:moveTo>
                <a:cubicBezTo>
                  <a:pt x="643" y="40"/>
                  <a:pt x="643" y="40"/>
                  <a:pt x="643" y="39"/>
                </a:cubicBezTo>
                <a:cubicBezTo>
                  <a:pt x="642" y="39"/>
                  <a:pt x="642" y="40"/>
                  <a:pt x="642" y="40"/>
                </a:cubicBezTo>
                <a:close/>
                <a:moveTo>
                  <a:pt x="803" y="48"/>
                </a:moveTo>
                <a:cubicBezTo>
                  <a:pt x="803" y="48"/>
                  <a:pt x="803" y="48"/>
                  <a:pt x="803" y="49"/>
                </a:cubicBezTo>
                <a:cubicBezTo>
                  <a:pt x="803" y="48"/>
                  <a:pt x="803" y="48"/>
                  <a:pt x="803" y="48"/>
                </a:cubicBezTo>
                <a:close/>
                <a:moveTo>
                  <a:pt x="670" y="48"/>
                </a:moveTo>
                <a:cubicBezTo>
                  <a:pt x="670" y="48"/>
                  <a:pt x="670" y="48"/>
                  <a:pt x="670" y="49"/>
                </a:cubicBezTo>
                <a:cubicBezTo>
                  <a:pt x="670" y="48"/>
                  <a:pt x="670" y="48"/>
                  <a:pt x="670" y="48"/>
                </a:cubicBezTo>
                <a:close/>
                <a:moveTo>
                  <a:pt x="651" y="48"/>
                </a:moveTo>
                <a:cubicBezTo>
                  <a:pt x="650" y="48"/>
                  <a:pt x="650" y="48"/>
                  <a:pt x="650" y="49"/>
                </a:cubicBezTo>
                <a:cubicBezTo>
                  <a:pt x="651" y="48"/>
                  <a:pt x="651" y="48"/>
                  <a:pt x="651" y="48"/>
                </a:cubicBezTo>
                <a:close/>
                <a:moveTo>
                  <a:pt x="598" y="49"/>
                </a:moveTo>
                <a:cubicBezTo>
                  <a:pt x="598" y="48"/>
                  <a:pt x="598" y="48"/>
                  <a:pt x="597" y="48"/>
                </a:cubicBezTo>
                <a:cubicBezTo>
                  <a:pt x="597" y="48"/>
                  <a:pt x="597" y="48"/>
                  <a:pt x="598" y="49"/>
                </a:cubicBezTo>
                <a:close/>
                <a:moveTo>
                  <a:pt x="629" y="103"/>
                </a:moveTo>
                <a:cubicBezTo>
                  <a:pt x="628" y="103"/>
                  <a:pt x="628" y="104"/>
                  <a:pt x="628" y="104"/>
                </a:cubicBezTo>
                <a:cubicBezTo>
                  <a:pt x="629" y="104"/>
                  <a:pt x="629" y="103"/>
                  <a:pt x="629" y="103"/>
                </a:cubicBezTo>
                <a:close/>
                <a:moveTo>
                  <a:pt x="628" y="105"/>
                </a:moveTo>
                <a:cubicBezTo>
                  <a:pt x="628" y="105"/>
                  <a:pt x="628" y="105"/>
                  <a:pt x="628" y="106"/>
                </a:cubicBezTo>
                <a:cubicBezTo>
                  <a:pt x="628" y="105"/>
                  <a:pt x="628" y="105"/>
                  <a:pt x="628" y="105"/>
                </a:cubicBezTo>
                <a:close/>
                <a:moveTo>
                  <a:pt x="627" y="106"/>
                </a:moveTo>
                <a:cubicBezTo>
                  <a:pt x="627" y="107"/>
                  <a:pt x="627" y="107"/>
                  <a:pt x="627" y="107"/>
                </a:cubicBezTo>
                <a:cubicBezTo>
                  <a:pt x="627" y="107"/>
                  <a:pt x="627" y="107"/>
                  <a:pt x="627" y="106"/>
                </a:cubicBezTo>
                <a:close/>
                <a:moveTo>
                  <a:pt x="596" y="123"/>
                </a:moveTo>
                <a:cubicBezTo>
                  <a:pt x="596" y="123"/>
                  <a:pt x="596" y="123"/>
                  <a:pt x="597" y="123"/>
                </a:cubicBezTo>
                <a:cubicBezTo>
                  <a:pt x="596" y="123"/>
                  <a:pt x="596" y="123"/>
                  <a:pt x="596" y="123"/>
                </a:cubicBezTo>
                <a:close/>
                <a:moveTo>
                  <a:pt x="634" y="64"/>
                </a:moveTo>
                <a:cubicBezTo>
                  <a:pt x="634" y="64"/>
                  <a:pt x="634" y="63"/>
                  <a:pt x="634" y="63"/>
                </a:cubicBezTo>
                <a:cubicBezTo>
                  <a:pt x="633" y="63"/>
                  <a:pt x="634" y="64"/>
                  <a:pt x="634" y="64"/>
                </a:cubicBezTo>
                <a:close/>
                <a:moveTo>
                  <a:pt x="603" y="123"/>
                </a:moveTo>
                <a:cubicBezTo>
                  <a:pt x="604" y="123"/>
                  <a:pt x="604" y="123"/>
                  <a:pt x="604" y="123"/>
                </a:cubicBezTo>
                <a:cubicBezTo>
                  <a:pt x="604" y="123"/>
                  <a:pt x="604" y="123"/>
                  <a:pt x="603" y="123"/>
                </a:cubicBezTo>
                <a:close/>
                <a:moveTo>
                  <a:pt x="1032" y="52"/>
                </a:moveTo>
                <a:cubicBezTo>
                  <a:pt x="1032" y="52"/>
                  <a:pt x="1032" y="52"/>
                  <a:pt x="1032" y="51"/>
                </a:cubicBezTo>
                <a:cubicBezTo>
                  <a:pt x="1032" y="52"/>
                  <a:pt x="1032" y="52"/>
                  <a:pt x="1032" y="52"/>
                </a:cubicBezTo>
                <a:close/>
                <a:moveTo>
                  <a:pt x="608" y="132"/>
                </a:moveTo>
                <a:cubicBezTo>
                  <a:pt x="607" y="132"/>
                  <a:pt x="607" y="132"/>
                  <a:pt x="607" y="132"/>
                </a:cubicBezTo>
                <a:cubicBezTo>
                  <a:pt x="607" y="132"/>
                  <a:pt x="607" y="133"/>
                  <a:pt x="608" y="132"/>
                </a:cubicBezTo>
                <a:close/>
                <a:moveTo>
                  <a:pt x="1179" y="16"/>
                </a:moveTo>
                <a:cubicBezTo>
                  <a:pt x="1180" y="16"/>
                  <a:pt x="1180" y="16"/>
                  <a:pt x="1180" y="16"/>
                </a:cubicBezTo>
                <a:cubicBezTo>
                  <a:pt x="1180" y="16"/>
                  <a:pt x="1180" y="16"/>
                  <a:pt x="1179" y="16"/>
                </a:cubicBezTo>
                <a:close/>
                <a:moveTo>
                  <a:pt x="1393" y="16"/>
                </a:moveTo>
                <a:cubicBezTo>
                  <a:pt x="1393" y="16"/>
                  <a:pt x="1393" y="16"/>
                  <a:pt x="1393" y="17"/>
                </a:cubicBezTo>
                <a:cubicBezTo>
                  <a:pt x="1393" y="16"/>
                  <a:pt x="1393" y="16"/>
                  <a:pt x="1393" y="16"/>
                </a:cubicBezTo>
                <a:close/>
                <a:moveTo>
                  <a:pt x="1462" y="16"/>
                </a:moveTo>
                <a:cubicBezTo>
                  <a:pt x="1462" y="16"/>
                  <a:pt x="1462" y="16"/>
                  <a:pt x="1463" y="17"/>
                </a:cubicBezTo>
                <a:cubicBezTo>
                  <a:pt x="1463" y="16"/>
                  <a:pt x="1463" y="16"/>
                  <a:pt x="1462" y="16"/>
                </a:cubicBezTo>
                <a:close/>
                <a:moveTo>
                  <a:pt x="1488" y="16"/>
                </a:moveTo>
                <a:cubicBezTo>
                  <a:pt x="1488" y="16"/>
                  <a:pt x="1489" y="16"/>
                  <a:pt x="1489" y="16"/>
                </a:cubicBezTo>
                <a:cubicBezTo>
                  <a:pt x="1489" y="16"/>
                  <a:pt x="1488" y="16"/>
                  <a:pt x="1488" y="16"/>
                </a:cubicBezTo>
                <a:close/>
                <a:moveTo>
                  <a:pt x="1560" y="16"/>
                </a:moveTo>
                <a:cubicBezTo>
                  <a:pt x="1560" y="16"/>
                  <a:pt x="1560" y="16"/>
                  <a:pt x="1559" y="16"/>
                </a:cubicBezTo>
                <a:cubicBezTo>
                  <a:pt x="1560" y="16"/>
                  <a:pt x="1560" y="16"/>
                  <a:pt x="1560" y="16"/>
                </a:cubicBezTo>
                <a:close/>
                <a:moveTo>
                  <a:pt x="1728" y="16"/>
                </a:moveTo>
                <a:cubicBezTo>
                  <a:pt x="1728" y="16"/>
                  <a:pt x="1728" y="16"/>
                  <a:pt x="1728" y="16"/>
                </a:cubicBezTo>
                <a:cubicBezTo>
                  <a:pt x="1728" y="16"/>
                  <a:pt x="1728" y="16"/>
                  <a:pt x="1728" y="16"/>
                </a:cubicBezTo>
                <a:close/>
                <a:moveTo>
                  <a:pt x="541" y="17"/>
                </a:moveTo>
                <a:cubicBezTo>
                  <a:pt x="542" y="17"/>
                  <a:pt x="542" y="17"/>
                  <a:pt x="542" y="16"/>
                </a:cubicBezTo>
                <a:cubicBezTo>
                  <a:pt x="541" y="16"/>
                  <a:pt x="541" y="17"/>
                  <a:pt x="541" y="17"/>
                </a:cubicBezTo>
                <a:close/>
                <a:moveTo>
                  <a:pt x="1568" y="44"/>
                </a:moveTo>
                <a:cubicBezTo>
                  <a:pt x="1568" y="44"/>
                  <a:pt x="1568" y="44"/>
                  <a:pt x="1568" y="43"/>
                </a:cubicBezTo>
                <a:cubicBezTo>
                  <a:pt x="1568" y="44"/>
                  <a:pt x="1568" y="44"/>
                  <a:pt x="1568" y="44"/>
                </a:cubicBezTo>
                <a:close/>
                <a:moveTo>
                  <a:pt x="1178" y="17"/>
                </a:moveTo>
                <a:cubicBezTo>
                  <a:pt x="1179" y="17"/>
                  <a:pt x="1179" y="17"/>
                  <a:pt x="1179" y="16"/>
                </a:cubicBezTo>
                <a:cubicBezTo>
                  <a:pt x="1179" y="16"/>
                  <a:pt x="1178" y="16"/>
                  <a:pt x="1178" y="17"/>
                </a:cubicBezTo>
                <a:close/>
                <a:moveTo>
                  <a:pt x="1682" y="43"/>
                </a:moveTo>
                <a:cubicBezTo>
                  <a:pt x="1682" y="44"/>
                  <a:pt x="1682" y="44"/>
                  <a:pt x="1682" y="44"/>
                </a:cubicBezTo>
                <a:cubicBezTo>
                  <a:pt x="1682" y="44"/>
                  <a:pt x="1682" y="44"/>
                  <a:pt x="1682" y="43"/>
                </a:cubicBezTo>
                <a:close/>
                <a:moveTo>
                  <a:pt x="1487" y="17"/>
                </a:moveTo>
                <a:cubicBezTo>
                  <a:pt x="1488" y="17"/>
                  <a:pt x="1488" y="17"/>
                  <a:pt x="1488" y="16"/>
                </a:cubicBezTo>
                <a:cubicBezTo>
                  <a:pt x="1488" y="16"/>
                  <a:pt x="1488" y="16"/>
                  <a:pt x="1487" y="17"/>
                </a:cubicBezTo>
                <a:close/>
                <a:moveTo>
                  <a:pt x="1546" y="16"/>
                </a:moveTo>
                <a:cubicBezTo>
                  <a:pt x="1546" y="16"/>
                  <a:pt x="1546" y="16"/>
                  <a:pt x="1545" y="17"/>
                </a:cubicBezTo>
                <a:cubicBezTo>
                  <a:pt x="1546" y="17"/>
                  <a:pt x="1546" y="17"/>
                  <a:pt x="1546" y="16"/>
                </a:cubicBezTo>
                <a:close/>
                <a:moveTo>
                  <a:pt x="1561" y="17"/>
                </a:moveTo>
                <a:cubicBezTo>
                  <a:pt x="1561" y="16"/>
                  <a:pt x="1561" y="16"/>
                  <a:pt x="1560" y="16"/>
                </a:cubicBezTo>
                <a:cubicBezTo>
                  <a:pt x="1561" y="17"/>
                  <a:pt x="1561" y="17"/>
                  <a:pt x="1561" y="17"/>
                </a:cubicBezTo>
                <a:close/>
                <a:moveTo>
                  <a:pt x="1577" y="16"/>
                </a:moveTo>
                <a:cubicBezTo>
                  <a:pt x="1577" y="17"/>
                  <a:pt x="1578" y="17"/>
                  <a:pt x="1578" y="17"/>
                </a:cubicBezTo>
                <a:cubicBezTo>
                  <a:pt x="1578" y="17"/>
                  <a:pt x="1578" y="16"/>
                  <a:pt x="1577" y="16"/>
                </a:cubicBezTo>
                <a:close/>
                <a:moveTo>
                  <a:pt x="1736" y="44"/>
                </a:moveTo>
                <a:cubicBezTo>
                  <a:pt x="1736" y="44"/>
                  <a:pt x="1736" y="44"/>
                  <a:pt x="1736" y="43"/>
                </a:cubicBezTo>
                <a:cubicBezTo>
                  <a:pt x="1736" y="44"/>
                  <a:pt x="1736" y="44"/>
                  <a:pt x="1736" y="44"/>
                </a:cubicBezTo>
                <a:close/>
                <a:moveTo>
                  <a:pt x="1714" y="16"/>
                </a:moveTo>
                <a:cubicBezTo>
                  <a:pt x="1714" y="16"/>
                  <a:pt x="1714" y="16"/>
                  <a:pt x="1713" y="17"/>
                </a:cubicBezTo>
                <a:cubicBezTo>
                  <a:pt x="1714" y="17"/>
                  <a:pt x="1714" y="17"/>
                  <a:pt x="1714" y="16"/>
                </a:cubicBezTo>
                <a:close/>
                <a:moveTo>
                  <a:pt x="1729" y="17"/>
                </a:moveTo>
                <a:cubicBezTo>
                  <a:pt x="1729" y="16"/>
                  <a:pt x="1729" y="16"/>
                  <a:pt x="1729" y="16"/>
                </a:cubicBezTo>
                <a:cubicBezTo>
                  <a:pt x="1729" y="17"/>
                  <a:pt x="1729" y="17"/>
                  <a:pt x="1729" y="17"/>
                </a:cubicBezTo>
                <a:close/>
                <a:moveTo>
                  <a:pt x="1746" y="16"/>
                </a:moveTo>
                <a:cubicBezTo>
                  <a:pt x="1746" y="17"/>
                  <a:pt x="1746" y="17"/>
                  <a:pt x="1746" y="17"/>
                </a:cubicBezTo>
                <a:cubicBezTo>
                  <a:pt x="1746" y="17"/>
                  <a:pt x="1746" y="16"/>
                  <a:pt x="1746" y="16"/>
                </a:cubicBezTo>
                <a:close/>
                <a:moveTo>
                  <a:pt x="1177" y="17"/>
                </a:moveTo>
                <a:cubicBezTo>
                  <a:pt x="1178" y="17"/>
                  <a:pt x="1178" y="17"/>
                  <a:pt x="1178" y="17"/>
                </a:cubicBezTo>
                <a:cubicBezTo>
                  <a:pt x="1178" y="17"/>
                  <a:pt x="1177" y="17"/>
                  <a:pt x="1177" y="17"/>
                </a:cubicBezTo>
                <a:close/>
                <a:moveTo>
                  <a:pt x="1361" y="17"/>
                </a:moveTo>
                <a:cubicBezTo>
                  <a:pt x="1361" y="17"/>
                  <a:pt x="1360" y="17"/>
                  <a:pt x="1360" y="17"/>
                </a:cubicBezTo>
                <a:cubicBezTo>
                  <a:pt x="1361" y="17"/>
                  <a:pt x="1361" y="17"/>
                  <a:pt x="1361" y="17"/>
                </a:cubicBezTo>
                <a:close/>
                <a:moveTo>
                  <a:pt x="1378" y="17"/>
                </a:moveTo>
                <a:cubicBezTo>
                  <a:pt x="1378" y="17"/>
                  <a:pt x="1377" y="17"/>
                  <a:pt x="1377" y="17"/>
                </a:cubicBezTo>
                <a:cubicBezTo>
                  <a:pt x="1377" y="17"/>
                  <a:pt x="1377" y="17"/>
                  <a:pt x="1378" y="17"/>
                </a:cubicBezTo>
                <a:close/>
                <a:moveTo>
                  <a:pt x="1418" y="17"/>
                </a:moveTo>
                <a:cubicBezTo>
                  <a:pt x="1419" y="17"/>
                  <a:pt x="1419" y="17"/>
                  <a:pt x="1419" y="17"/>
                </a:cubicBezTo>
                <a:cubicBezTo>
                  <a:pt x="1419" y="17"/>
                  <a:pt x="1418" y="17"/>
                  <a:pt x="1418" y="17"/>
                </a:cubicBezTo>
                <a:close/>
                <a:moveTo>
                  <a:pt x="660" y="44"/>
                </a:moveTo>
                <a:cubicBezTo>
                  <a:pt x="660" y="44"/>
                  <a:pt x="660" y="44"/>
                  <a:pt x="660" y="44"/>
                </a:cubicBezTo>
                <a:cubicBezTo>
                  <a:pt x="660" y="44"/>
                  <a:pt x="660" y="44"/>
                  <a:pt x="660" y="44"/>
                </a:cubicBezTo>
                <a:close/>
                <a:moveTo>
                  <a:pt x="1487" y="17"/>
                </a:moveTo>
                <a:cubicBezTo>
                  <a:pt x="1487" y="17"/>
                  <a:pt x="1487" y="17"/>
                  <a:pt x="1487" y="17"/>
                </a:cubicBezTo>
                <a:cubicBezTo>
                  <a:pt x="1487" y="17"/>
                  <a:pt x="1487" y="17"/>
                  <a:pt x="1487" y="17"/>
                </a:cubicBezTo>
                <a:close/>
                <a:moveTo>
                  <a:pt x="1545" y="17"/>
                </a:moveTo>
                <a:cubicBezTo>
                  <a:pt x="1545" y="17"/>
                  <a:pt x="1545" y="17"/>
                  <a:pt x="1544" y="17"/>
                </a:cubicBezTo>
                <a:cubicBezTo>
                  <a:pt x="1545" y="17"/>
                  <a:pt x="1545" y="17"/>
                  <a:pt x="1545" y="17"/>
                </a:cubicBezTo>
                <a:close/>
                <a:moveTo>
                  <a:pt x="1562" y="17"/>
                </a:moveTo>
                <a:cubicBezTo>
                  <a:pt x="1562" y="17"/>
                  <a:pt x="1561" y="17"/>
                  <a:pt x="1561" y="17"/>
                </a:cubicBezTo>
                <a:cubicBezTo>
                  <a:pt x="1561" y="17"/>
                  <a:pt x="1562" y="17"/>
                  <a:pt x="1562" y="17"/>
                </a:cubicBezTo>
                <a:close/>
                <a:moveTo>
                  <a:pt x="674" y="44"/>
                </a:moveTo>
                <a:cubicBezTo>
                  <a:pt x="674" y="44"/>
                  <a:pt x="674" y="44"/>
                  <a:pt x="674" y="44"/>
                </a:cubicBezTo>
                <a:cubicBezTo>
                  <a:pt x="674" y="44"/>
                  <a:pt x="674" y="44"/>
                  <a:pt x="674" y="44"/>
                </a:cubicBezTo>
                <a:close/>
                <a:moveTo>
                  <a:pt x="1713" y="17"/>
                </a:moveTo>
                <a:cubicBezTo>
                  <a:pt x="1713" y="17"/>
                  <a:pt x="1713" y="17"/>
                  <a:pt x="1713" y="17"/>
                </a:cubicBezTo>
                <a:cubicBezTo>
                  <a:pt x="1713" y="17"/>
                  <a:pt x="1713" y="17"/>
                  <a:pt x="1713" y="17"/>
                </a:cubicBezTo>
                <a:close/>
                <a:moveTo>
                  <a:pt x="1730" y="17"/>
                </a:moveTo>
                <a:cubicBezTo>
                  <a:pt x="1730" y="17"/>
                  <a:pt x="1730" y="17"/>
                  <a:pt x="1729" y="17"/>
                </a:cubicBezTo>
                <a:cubicBezTo>
                  <a:pt x="1729" y="17"/>
                  <a:pt x="1730" y="17"/>
                  <a:pt x="1730" y="17"/>
                </a:cubicBezTo>
                <a:close/>
                <a:moveTo>
                  <a:pt x="692" y="44"/>
                </a:moveTo>
                <a:cubicBezTo>
                  <a:pt x="692" y="44"/>
                  <a:pt x="691" y="44"/>
                  <a:pt x="691" y="44"/>
                </a:cubicBezTo>
                <a:cubicBezTo>
                  <a:pt x="691" y="44"/>
                  <a:pt x="691" y="44"/>
                  <a:pt x="692" y="44"/>
                </a:cubicBezTo>
                <a:close/>
                <a:moveTo>
                  <a:pt x="1176" y="17"/>
                </a:moveTo>
                <a:cubicBezTo>
                  <a:pt x="1176" y="17"/>
                  <a:pt x="1177" y="17"/>
                  <a:pt x="1177" y="17"/>
                </a:cubicBezTo>
                <a:cubicBezTo>
                  <a:pt x="1177" y="17"/>
                  <a:pt x="1176" y="17"/>
                  <a:pt x="1176" y="17"/>
                </a:cubicBezTo>
                <a:close/>
                <a:moveTo>
                  <a:pt x="1360" y="17"/>
                </a:moveTo>
                <a:cubicBezTo>
                  <a:pt x="1360" y="17"/>
                  <a:pt x="1359" y="17"/>
                  <a:pt x="1359" y="17"/>
                </a:cubicBezTo>
                <a:cubicBezTo>
                  <a:pt x="1360" y="17"/>
                  <a:pt x="1360" y="17"/>
                  <a:pt x="1360" y="17"/>
                </a:cubicBezTo>
                <a:close/>
                <a:moveTo>
                  <a:pt x="1378" y="17"/>
                </a:moveTo>
                <a:cubicBezTo>
                  <a:pt x="1378" y="17"/>
                  <a:pt x="1378" y="17"/>
                  <a:pt x="1378" y="17"/>
                </a:cubicBezTo>
                <a:cubicBezTo>
                  <a:pt x="1378" y="17"/>
                  <a:pt x="1378" y="17"/>
                  <a:pt x="1378" y="17"/>
                </a:cubicBezTo>
                <a:close/>
                <a:moveTo>
                  <a:pt x="1394" y="17"/>
                </a:moveTo>
                <a:cubicBezTo>
                  <a:pt x="1394" y="17"/>
                  <a:pt x="1394" y="17"/>
                  <a:pt x="1394" y="18"/>
                </a:cubicBezTo>
                <a:cubicBezTo>
                  <a:pt x="1394" y="17"/>
                  <a:pt x="1394" y="17"/>
                  <a:pt x="1394" y="17"/>
                </a:cubicBezTo>
                <a:close/>
                <a:moveTo>
                  <a:pt x="1463" y="17"/>
                </a:moveTo>
                <a:cubicBezTo>
                  <a:pt x="1463" y="17"/>
                  <a:pt x="1463" y="18"/>
                  <a:pt x="1463" y="18"/>
                </a:cubicBezTo>
                <a:cubicBezTo>
                  <a:pt x="1463" y="17"/>
                  <a:pt x="1463" y="17"/>
                  <a:pt x="1463" y="17"/>
                </a:cubicBezTo>
                <a:close/>
                <a:moveTo>
                  <a:pt x="1486" y="17"/>
                </a:moveTo>
                <a:cubicBezTo>
                  <a:pt x="1486" y="17"/>
                  <a:pt x="1487" y="17"/>
                  <a:pt x="1487" y="17"/>
                </a:cubicBezTo>
                <a:cubicBezTo>
                  <a:pt x="1486" y="17"/>
                  <a:pt x="1486" y="17"/>
                  <a:pt x="1486" y="17"/>
                </a:cubicBezTo>
                <a:close/>
                <a:moveTo>
                  <a:pt x="1544" y="17"/>
                </a:moveTo>
                <a:cubicBezTo>
                  <a:pt x="1544" y="17"/>
                  <a:pt x="1544" y="17"/>
                  <a:pt x="1544" y="17"/>
                </a:cubicBezTo>
                <a:cubicBezTo>
                  <a:pt x="1544" y="17"/>
                  <a:pt x="1544" y="17"/>
                  <a:pt x="1544" y="17"/>
                </a:cubicBezTo>
                <a:close/>
                <a:moveTo>
                  <a:pt x="1563" y="17"/>
                </a:moveTo>
                <a:cubicBezTo>
                  <a:pt x="1562" y="17"/>
                  <a:pt x="1562" y="17"/>
                  <a:pt x="1562" y="17"/>
                </a:cubicBezTo>
                <a:cubicBezTo>
                  <a:pt x="1562" y="17"/>
                  <a:pt x="1562" y="17"/>
                  <a:pt x="1563" y="17"/>
                </a:cubicBezTo>
                <a:close/>
                <a:moveTo>
                  <a:pt x="801" y="44"/>
                </a:moveTo>
                <a:cubicBezTo>
                  <a:pt x="801" y="44"/>
                  <a:pt x="801" y="44"/>
                  <a:pt x="801" y="44"/>
                </a:cubicBezTo>
                <a:cubicBezTo>
                  <a:pt x="801" y="44"/>
                  <a:pt x="801" y="44"/>
                  <a:pt x="801" y="44"/>
                </a:cubicBezTo>
                <a:close/>
                <a:moveTo>
                  <a:pt x="1713" y="17"/>
                </a:moveTo>
                <a:cubicBezTo>
                  <a:pt x="1712" y="17"/>
                  <a:pt x="1712" y="17"/>
                  <a:pt x="1712" y="17"/>
                </a:cubicBezTo>
                <a:cubicBezTo>
                  <a:pt x="1712" y="17"/>
                  <a:pt x="1712" y="17"/>
                  <a:pt x="1713" y="17"/>
                </a:cubicBezTo>
                <a:close/>
                <a:moveTo>
                  <a:pt x="1731" y="17"/>
                </a:moveTo>
                <a:cubicBezTo>
                  <a:pt x="1731" y="17"/>
                  <a:pt x="1730" y="17"/>
                  <a:pt x="1730" y="17"/>
                </a:cubicBezTo>
                <a:cubicBezTo>
                  <a:pt x="1730" y="17"/>
                  <a:pt x="1730" y="17"/>
                  <a:pt x="1731" y="17"/>
                </a:cubicBezTo>
                <a:close/>
                <a:moveTo>
                  <a:pt x="837" y="44"/>
                </a:moveTo>
                <a:cubicBezTo>
                  <a:pt x="837" y="44"/>
                  <a:pt x="837" y="44"/>
                  <a:pt x="837" y="44"/>
                </a:cubicBezTo>
                <a:cubicBezTo>
                  <a:pt x="837" y="44"/>
                  <a:pt x="837" y="44"/>
                  <a:pt x="837" y="44"/>
                </a:cubicBezTo>
                <a:close/>
                <a:moveTo>
                  <a:pt x="852" y="44"/>
                </a:moveTo>
                <a:cubicBezTo>
                  <a:pt x="852" y="44"/>
                  <a:pt x="852" y="44"/>
                  <a:pt x="852" y="44"/>
                </a:cubicBezTo>
                <a:cubicBezTo>
                  <a:pt x="852" y="44"/>
                  <a:pt x="852" y="44"/>
                  <a:pt x="852" y="44"/>
                </a:cubicBezTo>
                <a:close/>
                <a:moveTo>
                  <a:pt x="558" y="17"/>
                </a:moveTo>
                <a:cubicBezTo>
                  <a:pt x="558" y="17"/>
                  <a:pt x="557" y="17"/>
                  <a:pt x="557" y="18"/>
                </a:cubicBezTo>
                <a:cubicBezTo>
                  <a:pt x="558" y="18"/>
                  <a:pt x="558" y="18"/>
                  <a:pt x="558" y="17"/>
                </a:cubicBezTo>
                <a:close/>
                <a:moveTo>
                  <a:pt x="578" y="18"/>
                </a:moveTo>
                <a:cubicBezTo>
                  <a:pt x="577" y="17"/>
                  <a:pt x="577" y="17"/>
                  <a:pt x="577" y="17"/>
                </a:cubicBezTo>
                <a:cubicBezTo>
                  <a:pt x="577" y="18"/>
                  <a:pt x="577" y="18"/>
                  <a:pt x="578" y="18"/>
                </a:cubicBezTo>
                <a:close/>
                <a:moveTo>
                  <a:pt x="1175" y="18"/>
                </a:moveTo>
                <a:cubicBezTo>
                  <a:pt x="1175" y="18"/>
                  <a:pt x="1176" y="18"/>
                  <a:pt x="1176" y="17"/>
                </a:cubicBezTo>
                <a:cubicBezTo>
                  <a:pt x="1176" y="17"/>
                  <a:pt x="1175" y="17"/>
                  <a:pt x="1175" y="18"/>
                </a:cubicBezTo>
                <a:close/>
                <a:moveTo>
                  <a:pt x="1359" y="17"/>
                </a:moveTo>
                <a:cubicBezTo>
                  <a:pt x="1359" y="17"/>
                  <a:pt x="1359" y="17"/>
                  <a:pt x="1359" y="18"/>
                </a:cubicBezTo>
                <a:cubicBezTo>
                  <a:pt x="1359" y="18"/>
                  <a:pt x="1359" y="18"/>
                  <a:pt x="1359" y="17"/>
                </a:cubicBezTo>
                <a:close/>
                <a:moveTo>
                  <a:pt x="1379" y="18"/>
                </a:moveTo>
                <a:cubicBezTo>
                  <a:pt x="1379" y="17"/>
                  <a:pt x="1379" y="17"/>
                  <a:pt x="1378" y="17"/>
                </a:cubicBezTo>
                <a:cubicBezTo>
                  <a:pt x="1379" y="18"/>
                  <a:pt x="1379" y="18"/>
                  <a:pt x="1379" y="18"/>
                </a:cubicBezTo>
                <a:close/>
                <a:moveTo>
                  <a:pt x="867" y="44"/>
                </a:moveTo>
                <a:cubicBezTo>
                  <a:pt x="867" y="44"/>
                  <a:pt x="867" y="44"/>
                  <a:pt x="867" y="44"/>
                </a:cubicBezTo>
                <a:cubicBezTo>
                  <a:pt x="867" y="44"/>
                  <a:pt x="867" y="44"/>
                  <a:pt x="867" y="44"/>
                </a:cubicBezTo>
                <a:close/>
                <a:moveTo>
                  <a:pt x="1485" y="18"/>
                </a:moveTo>
                <a:cubicBezTo>
                  <a:pt x="1485" y="18"/>
                  <a:pt x="1486" y="18"/>
                  <a:pt x="1486" y="17"/>
                </a:cubicBezTo>
                <a:cubicBezTo>
                  <a:pt x="1485" y="17"/>
                  <a:pt x="1485" y="17"/>
                  <a:pt x="1485" y="18"/>
                </a:cubicBezTo>
                <a:close/>
                <a:moveTo>
                  <a:pt x="1543" y="17"/>
                </a:moveTo>
                <a:cubicBezTo>
                  <a:pt x="1543" y="17"/>
                  <a:pt x="1543" y="17"/>
                  <a:pt x="1543" y="18"/>
                </a:cubicBezTo>
                <a:cubicBezTo>
                  <a:pt x="1543" y="18"/>
                  <a:pt x="1543" y="18"/>
                  <a:pt x="1543" y="17"/>
                </a:cubicBezTo>
                <a:close/>
                <a:moveTo>
                  <a:pt x="1563" y="18"/>
                </a:moveTo>
                <a:cubicBezTo>
                  <a:pt x="1563" y="17"/>
                  <a:pt x="1563" y="17"/>
                  <a:pt x="1563" y="17"/>
                </a:cubicBezTo>
                <a:cubicBezTo>
                  <a:pt x="1563" y="18"/>
                  <a:pt x="1563" y="18"/>
                  <a:pt x="1563" y="18"/>
                </a:cubicBezTo>
                <a:close/>
                <a:moveTo>
                  <a:pt x="1578" y="17"/>
                </a:moveTo>
                <a:cubicBezTo>
                  <a:pt x="1578" y="18"/>
                  <a:pt x="1578" y="18"/>
                  <a:pt x="1579" y="18"/>
                </a:cubicBezTo>
                <a:cubicBezTo>
                  <a:pt x="1579" y="18"/>
                  <a:pt x="1579" y="17"/>
                  <a:pt x="1578" y="17"/>
                </a:cubicBezTo>
                <a:close/>
                <a:moveTo>
                  <a:pt x="1680" y="17"/>
                </a:moveTo>
                <a:cubicBezTo>
                  <a:pt x="1680" y="18"/>
                  <a:pt x="1680" y="18"/>
                  <a:pt x="1680" y="18"/>
                </a:cubicBezTo>
                <a:cubicBezTo>
                  <a:pt x="1680" y="18"/>
                  <a:pt x="1680" y="17"/>
                  <a:pt x="1680" y="17"/>
                </a:cubicBezTo>
                <a:close/>
                <a:moveTo>
                  <a:pt x="1712" y="17"/>
                </a:moveTo>
                <a:cubicBezTo>
                  <a:pt x="1711" y="17"/>
                  <a:pt x="1711" y="17"/>
                  <a:pt x="1711" y="18"/>
                </a:cubicBezTo>
                <a:cubicBezTo>
                  <a:pt x="1711" y="18"/>
                  <a:pt x="1711" y="18"/>
                  <a:pt x="1712" y="17"/>
                </a:cubicBezTo>
                <a:close/>
                <a:moveTo>
                  <a:pt x="1731" y="18"/>
                </a:moveTo>
                <a:cubicBezTo>
                  <a:pt x="1731" y="17"/>
                  <a:pt x="1731" y="17"/>
                  <a:pt x="1731" y="17"/>
                </a:cubicBezTo>
                <a:cubicBezTo>
                  <a:pt x="1731" y="18"/>
                  <a:pt x="1731" y="18"/>
                  <a:pt x="1731" y="18"/>
                </a:cubicBezTo>
                <a:close/>
                <a:moveTo>
                  <a:pt x="1746" y="17"/>
                </a:moveTo>
                <a:cubicBezTo>
                  <a:pt x="1746" y="18"/>
                  <a:pt x="1746" y="18"/>
                  <a:pt x="1747" y="18"/>
                </a:cubicBezTo>
                <a:cubicBezTo>
                  <a:pt x="1747" y="18"/>
                  <a:pt x="1747" y="17"/>
                  <a:pt x="1746" y="17"/>
                </a:cubicBezTo>
                <a:close/>
                <a:moveTo>
                  <a:pt x="540" y="18"/>
                </a:moveTo>
                <a:cubicBezTo>
                  <a:pt x="541" y="18"/>
                  <a:pt x="541" y="18"/>
                  <a:pt x="541" y="18"/>
                </a:cubicBezTo>
                <a:cubicBezTo>
                  <a:pt x="540" y="18"/>
                  <a:pt x="540" y="18"/>
                  <a:pt x="540" y="18"/>
                </a:cubicBezTo>
                <a:close/>
                <a:moveTo>
                  <a:pt x="557" y="18"/>
                </a:moveTo>
                <a:cubicBezTo>
                  <a:pt x="557" y="18"/>
                  <a:pt x="557" y="18"/>
                  <a:pt x="556" y="18"/>
                </a:cubicBezTo>
                <a:cubicBezTo>
                  <a:pt x="557" y="18"/>
                  <a:pt x="557" y="18"/>
                  <a:pt x="557" y="18"/>
                </a:cubicBezTo>
                <a:close/>
                <a:moveTo>
                  <a:pt x="579" y="18"/>
                </a:moveTo>
                <a:cubicBezTo>
                  <a:pt x="578" y="18"/>
                  <a:pt x="578" y="18"/>
                  <a:pt x="578" y="18"/>
                </a:cubicBezTo>
                <a:cubicBezTo>
                  <a:pt x="578" y="18"/>
                  <a:pt x="578" y="18"/>
                  <a:pt x="579" y="18"/>
                </a:cubicBezTo>
                <a:close/>
                <a:moveTo>
                  <a:pt x="869" y="44"/>
                </a:moveTo>
                <a:cubicBezTo>
                  <a:pt x="869" y="44"/>
                  <a:pt x="870" y="44"/>
                  <a:pt x="870" y="44"/>
                </a:cubicBezTo>
                <a:cubicBezTo>
                  <a:pt x="869" y="44"/>
                  <a:pt x="869" y="44"/>
                  <a:pt x="869" y="44"/>
                </a:cubicBezTo>
                <a:close/>
                <a:moveTo>
                  <a:pt x="987" y="18"/>
                </a:moveTo>
                <a:cubicBezTo>
                  <a:pt x="986" y="18"/>
                  <a:pt x="986" y="18"/>
                  <a:pt x="986" y="18"/>
                </a:cubicBezTo>
                <a:cubicBezTo>
                  <a:pt x="986" y="18"/>
                  <a:pt x="987" y="18"/>
                  <a:pt x="987" y="18"/>
                </a:cubicBezTo>
                <a:close/>
                <a:moveTo>
                  <a:pt x="1359" y="18"/>
                </a:moveTo>
                <a:cubicBezTo>
                  <a:pt x="1358" y="18"/>
                  <a:pt x="1358" y="18"/>
                  <a:pt x="1358" y="18"/>
                </a:cubicBezTo>
                <a:cubicBezTo>
                  <a:pt x="1358" y="18"/>
                  <a:pt x="1358" y="18"/>
                  <a:pt x="1359" y="18"/>
                </a:cubicBezTo>
                <a:close/>
                <a:moveTo>
                  <a:pt x="880" y="44"/>
                </a:moveTo>
                <a:cubicBezTo>
                  <a:pt x="880" y="44"/>
                  <a:pt x="880" y="44"/>
                  <a:pt x="880" y="44"/>
                </a:cubicBezTo>
                <a:cubicBezTo>
                  <a:pt x="880" y="44"/>
                  <a:pt x="880" y="44"/>
                  <a:pt x="880" y="44"/>
                </a:cubicBezTo>
                <a:close/>
                <a:moveTo>
                  <a:pt x="1394" y="18"/>
                </a:moveTo>
                <a:cubicBezTo>
                  <a:pt x="1394" y="18"/>
                  <a:pt x="1394" y="18"/>
                  <a:pt x="1394" y="18"/>
                </a:cubicBezTo>
                <a:cubicBezTo>
                  <a:pt x="1394" y="18"/>
                  <a:pt x="1394" y="18"/>
                  <a:pt x="1394" y="18"/>
                </a:cubicBezTo>
                <a:close/>
                <a:moveTo>
                  <a:pt x="1418" y="18"/>
                </a:moveTo>
                <a:cubicBezTo>
                  <a:pt x="1418" y="18"/>
                  <a:pt x="1418" y="18"/>
                  <a:pt x="1418" y="18"/>
                </a:cubicBezTo>
                <a:cubicBezTo>
                  <a:pt x="1418" y="18"/>
                  <a:pt x="1418" y="18"/>
                  <a:pt x="1418" y="18"/>
                </a:cubicBezTo>
                <a:close/>
                <a:moveTo>
                  <a:pt x="1463" y="18"/>
                </a:moveTo>
                <a:cubicBezTo>
                  <a:pt x="1463" y="18"/>
                  <a:pt x="1463" y="18"/>
                  <a:pt x="1464" y="18"/>
                </a:cubicBezTo>
                <a:cubicBezTo>
                  <a:pt x="1464" y="18"/>
                  <a:pt x="1464" y="18"/>
                  <a:pt x="1463" y="18"/>
                </a:cubicBezTo>
                <a:close/>
                <a:moveTo>
                  <a:pt x="1484" y="18"/>
                </a:moveTo>
                <a:cubicBezTo>
                  <a:pt x="1485" y="18"/>
                  <a:pt x="1485" y="18"/>
                  <a:pt x="1485" y="18"/>
                </a:cubicBezTo>
                <a:cubicBezTo>
                  <a:pt x="1485" y="18"/>
                  <a:pt x="1484" y="18"/>
                  <a:pt x="1484" y="18"/>
                </a:cubicBezTo>
                <a:close/>
                <a:moveTo>
                  <a:pt x="1543" y="18"/>
                </a:moveTo>
                <a:cubicBezTo>
                  <a:pt x="1542" y="18"/>
                  <a:pt x="1542" y="18"/>
                  <a:pt x="1542" y="18"/>
                </a:cubicBezTo>
                <a:cubicBezTo>
                  <a:pt x="1542" y="18"/>
                  <a:pt x="1543" y="18"/>
                  <a:pt x="1543" y="18"/>
                </a:cubicBezTo>
                <a:close/>
                <a:moveTo>
                  <a:pt x="895" y="44"/>
                </a:moveTo>
                <a:cubicBezTo>
                  <a:pt x="895" y="44"/>
                  <a:pt x="895" y="44"/>
                  <a:pt x="895" y="44"/>
                </a:cubicBezTo>
                <a:cubicBezTo>
                  <a:pt x="895" y="44"/>
                  <a:pt x="895" y="44"/>
                  <a:pt x="895" y="44"/>
                </a:cubicBezTo>
                <a:close/>
                <a:moveTo>
                  <a:pt x="1711" y="18"/>
                </a:moveTo>
                <a:cubicBezTo>
                  <a:pt x="1711" y="18"/>
                  <a:pt x="1710" y="18"/>
                  <a:pt x="1710" y="18"/>
                </a:cubicBezTo>
                <a:cubicBezTo>
                  <a:pt x="1710" y="18"/>
                  <a:pt x="1711" y="18"/>
                  <a:pt x="1711" y="18"/>
                </a:cubicBezTo>
                <a:close/>
                <a:moveTo>
                  <a:pt x="557" y="18"/>
                </a:moveTo>
                <a:cubicBezTo>
                  <a:pt x="556" y="18"/>
                  <a:pt x="556" y="18"/>
                  <a:pt x="556" y="18"/>
                </a:cubicBezTo>
                <a:cubicBezTo>
                  <a:pt x="556" y="18"/>
                  <a:pt x="556" y="18"/>
                  <a:pt x="557" y="18"/>
                </a:cubicBezTo>
                <a:close/>
                <a:moveTo>
                  <a:pt x="986" y="18"/>
                </a:moveTo>
                <a:cubicBezTo>
                  <a:pt x="985" y="18"/>
                  <a:pt x="985" y="18"/>
                  <a:pt x="985" y="18"/>
                </a:cubicBezTo>
                <a:cubicBezTo>
                  <a:pt x="985" y="18"/>
                  <a:pt x="986" y="18"/>
                  <a:pt x="986" y="18"/>
                </a:cubicBezTo>
                <a:close/>
                <a:moveTo>
                  <a:pt x="1358" y="18"/>
                </a:moveTo>
                <a:cubicBezTo>
                  <a:pt x="1358" y="18"/>
                  <a:pt x="1357" y="18"/>
                  <a:pt x="1357" y="18"/>
                </a:cubicBezTo>
                <a:cubicBezTo>
                  <a:pt x="1357" y="18"/>
                  <a:pt x="1358" y="18"/>
                  <a:pt x="1358" y="18"/>
                </a:cubicBezTo>
                <a:close/>
                <a:moveTo>
                  <a:pt x="1484" y="18"/>
                </a:moveTo>
                <a:cubicBezTo>
                  <a:pt x="1484" y="18"/>
                  <a:pt x="1484" y="18"/>
                  <a:pt x="1484" y="18"/>
                </a:cubicBezTo>
                <a:cubicBezTo>
                  <a:pt x="1484" y="18"/>
                  <a:pt x="1484" y="18"/>
                  <a:pt x="1484" y="18"/>
                </a:cubicBezTo>
                <a:close/>
                <a:moveTo>
                  <a:pt x="1542" y="18"/>
                </a:moveTo>
                <a:cubicBezTo>
                  <a:pt x="1542" y="18"/>
                  <a:pt x="1541" y="18"/>
                  <a:pt x="1541" y="18"/>
                </a:cubicBezTo>
                <a:cubicBezTo>
                  <a:pt x="1542" y="18"/>
                  <a:pt x="1542" y="18"/>
                  <a:pt x="1542" y="18"/>
                </a:cubicBezTo>
                <a:close/>
                <a:moveTo>
                  <a:pt x="1564" y="18"/>
                </a:moveTo>
                <a:cubicBezTo>
                  <a:pt x="1564" y="18"/>
                  <a:pt x="1564" y="18"/>
                  <a:pt x="1564" y="18"/>
                </a:cubicBezTo>
                <a:cubicBezTo>
                  <a:pt x="1564" y="18"/>
                  <a:pt x="1564" y="18"/>
                  <a:pt x="1564" y="18"/>
                </a:cubicBezTo>
                <a:close/>
                <a:moveTo>
                  <a:pt x="1579" y="18"/>
                </a:moveTo>
                <a:cubicBezTo>
                  <a:pt x="1579" y="18"/>
                  <a:pt x="1579" y="19"/>
                  <a:pt x="1579" y="19"/>
                </a:cubicBezTo>
                <a:cubicBezTo>
                  <a:pt x="1579" y="18"/>
                  <a:pt x="1579" y="18"/>
                  <a:pt x="1579" y="18"/>
                </a:cubicBezTo>
                <a:close/>
                <a:moveTo>
                  <a:pt x="1111" y="44"/>
                </a:moveTo>
                <a:cubicBezTo>
                  <a:pt x="1111" y="44"/>
                  <a:pt x="1111" y="44"/>
                  <a:pt x="1111" y="44"/>
                </a:cubicBezTo>
                <a:cubicBezTo>
                  <a:pt x="1111" y="44"/>
                  <a:pt x="1111" y="44"/>
                  <a:pt x="1111" y="44"/>
                </a:cubicBezTo>
                <a:close/>
                <a:moveTo>
                  <a:pt x="1710" y="18"/>
                </a:moveTo>
                <a:cubicBezTo>
                  <a:pt x="1710" y="18"/>
                  <a:pt x="1710" y="18"/>
                  <a:pt x="1709" y="18"/>
                </a:cubicBezTo>
                <a:cubicBezTo>
                  <a:pt x="1710" y="18"/>
                  <a:pt x="1710" y="18"/>
                  <a:pt x="1710" y="18"/>
                </a:cubicBezTo>
                <a:close/>
                <a:moveTo>
                  <a:pt x="1732" y="18"/>
                </a:moveTo>
                <a:cubicBezTo>
                  <a:pt x="1732" y="18"/>
                  <a:pt x="1732" y="18"/>
                  <a:pt x="1732" y="18"/>
                </a:cubicBezTo>
                <a:cubicBezTo>
                  <a:pt x="1732" y="18"/>
                  <a:pt x="1732" y="18"/>
                  <a:pt x="1732" y="18"/>
                </a:cubicBezTo>
                <a:close/>
                <a:moveTo>
                  <a:pt x="1747" y="18"/>
                </a:moveTo>
                <a:cubicBezTo>
                  <a:pt x="1747" y="18"/>
                  <a:pt x="1747" y="19"/>
                  <a:pt x="1747" y="19"/>
                </a:cubicBezTo>
                <a:cubicBezTo>
                  <a:pt x="1747" y="18"/>
                  <a:pt x="1747" y="18"/>
                  <a:pt x="1747" y="18"/>
                </a:cubicBezTo>
                <a:close/>
                <a:moveTo>
                  <a:pt x="540" y="19"/>
                </a:moveTo>
                <a:cubicBezTo>
                  <a:pt x="540" y="19"/>
                  <a:pt x="540" y="19"/>
                  <a:pt x="540" y="18"/>
                </a:cubicBezTo>
                <a:cubicBezTo>
                  <a:pt x="540" y="18"/>
                  <a:pt x="540" y="19"/>
                  <a:pt x="540" y="19"/>
                </a:cubicBezTo>
                <a:close/>
                <a:moveTo>
                  <a:pt x="556" y="18"/>
                </a:moveTo>
                <a:cubicBezTo>
                  <a:pt x="556" y="18"/>
                  <a:pt x="555" y="18"/>
                  <a:pt x="555" y="19"/>
                </a:cubicBezTo>
                <a:cubicBezTo>
                  <a:pt x="555" y="19"/>
                  <a:pt x="556" y="19"/>
                  <a:pt x="556" y="18"/>
                </a:cubicBezTo>
                <a:close/>
                <a:moveTo>
                  <a:pt x="580" y="19"/>
                </a:moveTo>
                <a:cubicBezTo>
                  <a:pt x="580" y="18"/>
                  <a:pt x="580" y="18"/>
                  <a:pt x="580" y="18"/>
                </a:cubicBezTo>
                <a:cubicBezTo>
                  <a:pt x="580" y="19"/>
                  <a:pt x="580" y="19"/>
                  <a:pt x="580" y="19"/>
                </a:cubicBezTo>
                <a:close/>
                <a:moveTo>
                  <a:pt x="650" y="49"/>
                </a:moveTo>
                <a:cubicBezTo>
                  <a:pt x="650" y="50"/>
                  <a:pt x="649" y="50"/>
                  <a:pt x="649" y="50"/>
                </a:cubicBezTo>
                <a:cubicBezTo>
                  <a:pt x="650" y="50"/>
                  <a:pt x="650" y="50"/>
                  <a:pt x="650" y="49"/>
                </a:cubicBezTo>
                <a:close/>
                <a:moveTo>
                  <a:pt x="1014" y="19"/>
                </a:moveTo>
                <a:cubicBezTo>
                  <a:pt x="1014" y="18"/>
                  <a:pt x="1014" y="18"/>
                  <a:pt x="1014" y="18"/>
                </a:cubicBezTo>
                <a:cubicBezTo>
                  <a:pt x="1014" y="19"/>
                  <a:pt x="1014" y="19"/>
                  <a:pt x="1014" y="19"/>
                </a:cubicBezTo>
                <a:close/>
                <a:moveTo>
                  <a:pt x="1357" y="18"/>
                </a:moveTo>
                <a:cubicBezTo>
                  <a:pt x="1357" y="18"/>
                  <a:pt x="1357" y="18"/>
                  <a:pt x="1356" y="19"/>
                </a:cubicBezTo>
                <a:cubicBezTo>
                  <a:pt x="1357" y="19"/>
                  <a:pt x="1357" y="19"/>
                  <a:pt x="1357" y="18"/>
                </a:cubicBezTo>
                <a:close/>
                <a:moveTo>
                  <a:pt x="1137" y="44"/>
                </a:moveTo>
                <a:cubicBezTo>
                  <a:pt x="1137" y="44"/>
                  <a:pt x="1136" y="44"/>
                  <a:pt x="1136" y="44"/>
                </a:cubicBezTo>
                <a:cubicBezTo>
                  <a:pt x="1136" y="44"/>
                  <a:pt x="1137" y="44"/>
                  <a:pt x="1137" y="44"/>
                </a:cubicBezTo>
                <a:close/>
                <a:moveTo>
                  <a:pt x="1152" y="44"/>
                </a:moveTo>
                <a:cubicBezTo>
                  <a:pt x="1152" y="44"/>
                  <a:pt x="1152" y="44"/>
                  <a:pt x="1152" y="44"/>
                </a:cubicBezTo>
                <a:cubicBezTo>
                  <a:pt x="1152" y="44"/>
                  <a:pt x="1152" y="44"/>
                  <a:pt x="1152" y="44"/>
                </a:cubicBezTo>
                <a:close/>
                <a:moveTo>
                  <a:pt x="751" y="50"/>
                </a:moveTo>
                <a:cubicBezTo>
                  <a:pt x="751" y="50"/>
                  <a:pt x="751" y="50"/>
                  <a:pt x="751" y="50"/>
                </a:cubicBezTo>
                <a:cubicBezTo>
                  <a:pt x="751" y="50"/>
                  <a:pt x="751" y="50"/>
                  <a:pt x="751" y="50"/>
                </a:cubicBezTo>
                <a:close/>
                <a:moveTo>
                  <a:pt x="1482" y="19"/>
                </a:moveTo>
                <a:cubicBezTo>
                  <a:pt x="1483" y="19"/>
                  <a:pt x="1483" y="19"/>
                  <a:pt x="1483" y="18"/>
                </a:cubicBezTo>
                <a:cubicBezTo>
                  <a:pt x="1483" y="18"/>
                  <a:pt x="1483" y="18"/>
                  <a:pt x="1482" y="19"/>
                </a:cubicBezTo>
                <a:close/>
                <a:moveTo>
                  <a:pt x="1541" y="18"/>
                </a:moveTo>
                <a:cubicBezTo>
                  <a:pt x="1541" y="18"/>
                  <a:pt x="1541" y="18"/>
                  <a:pt x="1541" y="19"/>
                </a:cubicBezTo>
                <a:cubicBezTo>
                  <a:pt x="1541" y="19"/>
                  <a:pt x="1541" y="19"/>
                  <a:pt x="1541" y="18"/>
                </a:cubicBezTo>
                <a:close/>
                <a:moveTo>
                  <a:pt x="1680" y="18"/>
                </a:moveTo>
                <a:cubicBezTo>
                  <a:pt x="1681" y="19"/>
                  <a:pt x="1681" y="19"/>
                  <a:pt x="1681" y="19"/>
                </a:cubicBezTo>
                <a:cubicBezTo>
                  <a:pt x="1681" y="19"/>
                  <a:pt x="1681" y="18"/>
                  <a:pt x="1680" y="18"/>
                </a:cubicBezTo>
                <a:close/>
                <a:moveTo>
                  <a:pt x="1709" y="18"/>
                </a:moveTo>
                <a:cubicBezTo>
                  <a:pt x="1709" y="18"/>
                  <a:pt x="1709" y="18"/>
                  <a:pt x="1709" y="19"/>
                </a:cubicBezTo>
                <a:cubicBezTo>
                  <a:pt x="1709" y="19"/>
                  <a:pt x="1709" y="19"/>
                  <a:pt x="1709" y="18"/>
                </a:cubicBezTo>
                <a:close/>
                <a:moveTo>
                  <a:pt x="555" y="19"/>
                </a:moveTo>
                <a:cubicBezTo>
                  <a:pt x="555" y="19"/>
                  <a:pt x="555" y="19"/>
                  <a:pt x="555" y="19"/>
                </a:cubicBezTo>
                <a:cubicBezTo>
                  <a:pt x="555" y="19"/>
                  <a:pt x="555" y="19"/>
                  <a:pt x="555" y="19"/>
                </a:cubicBezTo>
                <a:close/>
                <a:moveTo>
                  <a:pt x="581" y="19"/>
                </a:moveTo>
                <a:cubicBezTo>
                  <a:pt x="581" y="19"/>
                  <a:pt x="581" y="19"/>
                  <a:pt x="580" y="19"/>
                </a:cubicBezTo>
                <a:cubicBezTo>
                  <a:pt x="580" y="19"/>
                  <a:pt x="581" y="19"/>
                  <a:pt x="581" y="19"/>
                </a:cubicBezTo>
                <a:close/>
                <a:moveTo>
                  <a:pt x="1310" y="44"/>
                </a:moveTo>
                <a:cubicBezTo>
                  <a:pt x="1309" y="44"/>
                  <a:pt x="1309" y="44"/>
                  <a:pt x="1309" y="44"/>
                </a:cubicBezTo>
                <a:cubicBezTo>
                  <a:pt x="1309" y="44"/>
                  <a:pt x="1309" y="44"/>
                  <a:pt x="1310" y="44"/>
                </a:cubicBezTo>
                <a:close/>
                <a:moveTo>
                  <a:pt x="984" y="19"/>
                </a:moveTo>
                <a:cubicBezTo>
                  <a:pt x="984" y="19"/>
                  <a:pt x="983" y="19"/>
                  <a:pt x="983" y="19"/>
                </a:cubicBezTo>
                <a:cubicBezTo>
                  <a:pt x="984" y="19"/>
                  <a:pt x="984" y="19"/>
                  <a:pt x="984" y="19"/>
                </a:cubicBezTo>
                <a:close/>
                <a:moveTo>
                  <a:pt x="1015" y="19"/>
                </a:moveTo>
                <a:cubicBezTo>
                  <a:pt x="1015" y="19"/>
                  <a:pt x="1015" y="19"/>
                  <a:pt x="1015" y="19"/>
                </a:cubicBezTo>
                <a:cubicBezTo>
                  <a:pt x="1015" y="19"/>
                  <a:pt x="1015" y="19"/>
                  <a:pt x="1015" y="19"/>
                </a:cubicBezTo>
                <a:close/>
                <a:moveTo>
                  <a:pt x="1356" y="19"/>
                </a:moveTo>
                <a:cubicBezTo>
                  <a:pt x="1356" y="19"/>
                  <a:pt x="1356" y="19"/>
                  <a:pt x="1356" y="19"/>
                </a:cubicBezTo>
                <a:cubicBezTo>
                  <a:pt x="1356" y="19"/>
                  <a:pt x="1356" y="19"/>
                  <a:pt x="1356" y="19"/>
                </a:cubicBezTo>
                <a:close/>
                <a:moveTo>
                  <a:pt x="1383" y="44"/>
                </a:moveTo>
                <a:cubicBezTo>
                  <a:pt x="1384" y="44"/>
                  <a:pt x="1384" y="44"/>
                  <a:pt x="1384" y="44"/>
                </a:cubicBezTo>
                <a:cubicBezTo>
                  <a:pt x="1383" y="44"/>
                  <a:pt x="1383" y="44"/>
                  <a:pt x="1383" y="44"/>
                </a:cubicBezTo>
                <a:close/>
                <a:moveTo>
                  <a:pt x="1417" y="19"/>
                </a:moveTo>
                <a:cubicBezTo>
                  <a:pt x="1417" y="19"/>
                  <a:pt x="1417" y="19"/>
                  <a:pt x="1417" y="19"/>
                </a:cubicBezTo>
                <a:cubicBezTo>
                  <a:pt x="1417" y="19"/>
                  <a:pt x="1417" y="19"/>
                  <a:pt x="1417" y="19"/>
                </a:cubicBezTo>
                <a:close/>
                <a:moveTo>
                  <a:pt x="1464" y="19"/>
                </a:moveTo>
                <a:cubicBezTo>
                  <a:pt x="1464" y="19"/>
                  <a:pt x="1464" y="19"/>
                  <a:pt x="1464" y="19"/>
                </a:cubicBezTo>
                <a:cubicBezTo>
                  <a:pt x="1464" y="19"/>
                  <a:pt x="1464" y="19"/>
                  <a:pt x="1464" y="19"/>
                </a:cubicBezTo>
                <a:close/>
                <a:moveTo>
                  <a:pt x="1748" y="44"/>
                </a:moveTo>
                <a:cubicBezTo>
                  <a:pt x="1747" y="44"/>
                  <a:pt x="1747" y="44"/>
                  <a:pt x="1747" y="44"/>
                </a:cubicBezTo>
                <a:cubicBezTo>
                  <a:pt x="1748" y="44"/>
                  <a:pt x="1748" y="44"/>
                  <a:pt x="1748" y="44"/>
                </a:cubicBezTo>
                <a:close/>
                <a:moveTo>
                  <a:pt x="1579" y="19"/>
                </a:moveTo>
                <a:cubicBezTo>
                  <a:pt x="1579" y="19"/>
                  <a:pt x="1579" y="19"/>
                  <a:pt x="1579" y="19"/>
                </a:cubicBezTo>
                <a:cubicBezTo>
                  <a:pt x="1579" y="19"/>
                  <a:pt x="1579" y="19"/>
                  <a:pt x="1579" y="19"/>
                </a:cubicBezTo>
                <a:close/>
                <a:moveTo>
                  <a:pt x="557" y="44"/>
                </a:moveTo>
                <a:cubicBezTo>
                  <a:pt x="557" y="44"/>
                  <a:pt x="557" y="44"/>
                  <a:pt x="557" y="45"/>
                </a:cubicBezTo>
                <a:cubicBezTo>
                  <a:pt x="557" y="44"/>
                  <a:pt x="557" y="44"/>
                  <a:pt x="557" y="44"/>
                </a:cubicBezTo>
                <a:close/>
                <a:moveTo>
                  <a:pt x="596" y="45"/>
                </a:moveTo>
                <a:cubicBezTo>
                  <a:pt x="596" y="44"/>
                  <a:pt x="596" y="44"/>
                  <a:pt x="596" y="44"/>
                </a:cubicBezTo>
                <a:cubicBezTo>
                  <a:pt x="596" y="44"/>
                  <a:pt x="596" y="45"/>
                  <a:pt x="596" y="45"/>
                </a:cubicBezTo>
                <a:close/>
                <a:moveTo>
                  <a:pt x="1747" y="19"/>
                </a:moveTo>
                <a:cubicBezTo>
                  <a:pt x="1747" y="19"/>
                  <a:pt x="1747" y="19"/>
                  <a:pt x="1747" y="19"/>
                </a:cubicBezTo>
                <a:cubicBezTo>
                  <a:pt x="1747" y="19"/>
                  <a:pt x="1747" y="19"/>
                  <a:pt x="1747" y="19"/>
                </a:cubicBezTo>
                <a:close/>
                <a:moveTo>
                  <a:pt x="640" y="45"/>
                </a:moveTo>
                <a:cubicBezTo>
                  <a:pt x="641" y="45"/>
                  <a:pt x="641" y="44"/>
                  <a:pt x="641" y="44"/>
                </a:cubicBezTo>
                <a:cubicBezTo>
                  <a:pt x="640" y="44"/>
                  <a:pt x="640" y="45"/>
                  <a:pt x="640" y="45"/>
                </a:cubicBezTo>
                <a:close/>
                <a:moveTo>
                  <a:pt x="582" y="19"/>
                </a:moveTo>
                <a:cubicBezTo>
                  <a:pt x="582" y="19"/>
                  <a:pt x="581" y="19"/>
                  <a:pt x="581" y="19"/>
                </a:cubicBezTo>
                <a:cubicBezTo>
                  <a:pt x="581" y="19"/>
                  <a:pt x="581" y="19"/>
                  <a:pt x="582" y="19"/>
                </a:cubicBezTo>
                <a:close/>
                <a:moveTo>
                  <a:pt x="983" y="19"/>
                </a:moveTo>
                <a:cubicBezTo>
                  <a:pt x="983" y="19"/>
                  <a:pt x="983" y="19"/>
                  <a:pt x="983" y="19"/>
                </a:cubicBezTo>
                <a:cubicBezTo>
                  <a:pt x="983" y="19"/>
                  <a:pt x="983" y="19"/>
                  <a:pt x="983" y="19"/>
                </a:cubicBezTo>
                <a:close/>
                <a:moveTo>
                  <a:pt x="692" y="44"/>
                </a:moveTo>
                <a:cubicBezTo>
                  <a:pt x="692" y="44"/>
                  <a:pt x="692" y="44"/>
                  <a:pt x="692" y="44"/>
                </a:cubicBezTo>
                <a:cubicBezTo>
                  <a:pt x="692" y="44"/>
                  <a:pt x="692" y="44"/>
                  <a:pt x="692" y="44"/>
                </a:cubicBezTo>
                <a:close/>
                <a:moveTo>
                  <a:pt x="837" y="44"/>
                </a:moveTo>
                <a:cubicBezTo>
                  <a:pt x="836" y="44"/>
                  <a:pt x="836" y="44"/>
                  <a:pt x="836" y="44"/>
                </a:cubicBezTo>
                <a:cubicBezTo>
                  <a:pt x="836" y="44"/>
                  <a:pt x="837" y="44"/>
                  <a:pt x="837" y="44"/>
                </a:cubicBezTo>
                <a:close/>
                <a:moveTo>
                  <a:pt x="1540" y="19"/>
                </a:moveTo>
                <a:cubicBezTo>
                  <a:pt x="1540" y="19"/>
                  <a:pt x="1540" y="19"/>
                  <a:pt x="1540" y="19"/>
                </a:cubicBezTo>
                <a:cubicBezTo>
                  <a:pt x="1540" y="19"/>
                  <a:pt x="1540" y="19"/>
                  <a:pt x="1540" y="19"/>
                </a:cubicBezTo>
                <a:close/>
                <a:moveTo>
                  <a:pt x="1681" y="19"/>
                </a:moveTo>
                <a:cubicBezTo>
                  <a:pt x="1681" y="19"/>
                  <a:pt x="1681" y="20"/>
                  <a:pt x="1681" y="20"/>
                </a:cubicBezTo>
                <a:cubicBezTo>
                  <a:pt x="1681" y="19"/>
                  <a:pt x="1681" y="19"/>
                  <a:pt x="1681" y="19"/>
                </a:cubicBezTo>
                <a:close/>
                <a:moveTo>
                  <a:pt x="1708" y="19"/>
                </a:moveTo>
                <a:cubicBezTo>
                  <a:pt x="1708" y="19"/>
                  <a:pt x="1708" y="19"/>
                  <a:pt x="1708" y="19"/>
                </a:cubicBezTo>
                <a:cubicBezTo>
                  <a:pt x="1708" y="19"/>
                  <a:pt x="1708" y="19"/>
                  <a:pt x="1708" y="19"/>
                </a:cubicBezTo>
                <a:close/>
                <a:moveTo>
                  <a:pt x="539" y="20"/>
                </a:moveTo>
                <a:cubicBezTo>
                  <a:pt x="540" y="20"/>
                  <a:pt x="540" y="20"/>
                  <a:pt x="540" y="19"/>
                </a:cubicBezTo>
                <a:cubicBezTo>
                  <a:pt x="539" y="20"/>
                  <a:pt x="539" y="20"/>
                  <a:pt x="539" y="20"/>
                </a:cubicBezTo>
                <a:close/>
                <a:moveTo>
                  <a:pt x="1392" y="50"/>
                </a:moveTo>
                <a:cubicBezTo>
                  <a:pt x="1392" y="50"/>
                  <a:pt x="1392" y="50"/>
                  <a:pt x="1392" y="50"/>
                </a:cubicBezTo>
                <a:cubicBezTo>
                  <a:pt x="1392" y="50"/>
                  <a:pt x="1392" y="50"/>
                  <a:pt x="1392" y="50"/>
                </a:cubicBezTo>
                <a:close/>
                <a:moveTo>
                  <a:pt x="582" y="20"/>
                </a:moveTo>
                <a:cubicBezTo>
                  <a:pt x="582" y="19"/>
                  <a:pt x="582" y="19"/>
                  <a:pt x="582" y="19"/>
                </a:cubicBezTo>
                <a:cubicBezTo>
                  <a:pt x="582" y="20"/>
                  <a:pt x="582" y="20"/>
                  <a:pt x="582" y="20"/>
                </a:cubicBezTo>
                <a:close/>
                <a:moveTo>
                  <a:pt x="983" y="19"/>
                </a:moveTo>
                <a:cubicBezTo>
                  <a:pt x="982" y="19"/>
                  <a:pt x="982" y="19"/>
                  <a:pt x="982" y="20"/>
                </a:cubicBezTo>
                <a:cubicBezTo>
                  <a:pt x="982" y="20"/>
                  <a:pt x="982" y="20"/>
                  <a:pt x="983" y="19"/>
                </a:cubicBezTo>
                <a:close/>
                <a:moveTo>
                  <a:pt x="1017" y="20"/>
                </a:moveTo>
                <a:cubicBezTo>
                  <a:pt x="1017" y="19"/>
                  <a:pt x="1017" y="19"/>
                  <a:pt x="1016" y="19"/>
                </a:cubicBezTo>
                <a:cubicBezTo>
                  <a:pt x="1017" y="20"/>
                  <a:pt x="1017" y="20"/>
                  <a:pt x="1017" y="20"/>
                </a:cubicBezTo>
                <a:close/>
                <a:moveTo>
                  <a:pt x="1355" y="19"/>
                </a:moveTo>
                <a:cubicBezTo>
                  <a:pt x="1355" y="19"/>
                  <a:pt x="1355" y="19"/>
                  <a:pt x="1355" y="20"/>
                </a:cubicBezTo>
                <a:cubicBezTo>
                  <a:pt x="1355" y="20"/>
                  <a:pt x="1355" y="20"/>
                  <a:pt x="1355" y="19"/>
                </a:cubicBezTo>
                <a:close/>
                <a:moveTo>
                  <a:pt x="1417" y="20"/>
                </a:moveTo>
                <a:cubicBezTo>
                  <a:pt x="1417" y="20"/>
                  <a:pt x="1417" y="20"/>
                  <a:pt x="1417" y="19"/>
                </a:cubicBezTo>
                <a:cubicBezTo>
                  <a:pt x="1417" y="20"/>
                  <a:pt x="1417" y="20"/>
                  <a:pt x="1417" y="20"/>
                </a:cubicBezTo>
                <a:close/>
                <a:moveTo>
                  <a:pt x="1464" y="19"/>
                </a:moveTo>
                <a:cubicBezTo>
                  <a:pt x="1464" y="20"/>
                  <a:pt x="1464" y="20"/>
                  <a:pt x="1465" y="20"/>
                </a:cubicBezTo>
                <a:cubicBezTo>
                  <a:pt x="1465" y="20"/>
                  <a:pt x="1465" y="20"/>
                  <a:pt x="1464" y="19"/>
                </a:cubicBezTo>
                <a:close/>
                <a:moveTo>
                  <a:pt x="1540" y="19"/>
                </a:moveTo>
                <a:cubicBezTo>
                  <a:pt x="1539" y="19"/>
                  <a:pt x="1539" y="19"/>
                  <a:pt x="1539" y="20"/>
                </a:cubicBezTo>
                <a:cubicBezTo>
                  <a:pt x="1539" y="20"/>
                  <a:pt x="1539" y="20"/>
                  <a:pt x="1540" y="19"/>
                </a:cubicBezTo>
                <a:close/>
                <a:moveTo>
                  <a:pt x="1579" y="19"/>
                </a:moveTo>
                <a:cubicBezTo>
                  <a:pt x="1579" y="20"/>
                  <a:pt x="1579" y="20"/>
                  <a:pt x="1580" y="20"/>
                </a:cubicBezTo>
                <a:cubicBezTo>
                  <a:pt x="1580" y="20"/>
                  <a:pt x="1580" y="20"/>
                  <a:pt x="1579" y="19"/>
                </a:cubicBezTo>
                <a:close/>
                <a:moveTo>
                  <a:pt x="1708" y="19"/>
                </a:moveTo>
                <a:cubicBezTo>
                  <a:pt x="1707" y="19"/>
                  <a:pt x="1707" y="19"/>
                  <a:pt x="1707" y="20"/>
                </a:cubicBezTo>
                <a:cubicBezTo>
                  <a:pt x="1707" y="20"/>
                  <a:pt x="1708" y="20"/>
                  <a:pt x="1708" y="19"/>
                </a:cubicBezTo>
                <a:close/>
                <a:moveTo>
                  <a:pt x="1747" y="19"/>
                </a:moveTo>
                <a:cubicBezTo>
                  <a:pt x="1747" y="20"/>
                  <a:pt x="1747" y="20"/>
                  <a:pt x="1748" y="20"/>
                </a:cubicBezTo>
                <a:cubicBezTo>
                  <a:pt x="1748" y="20"/>
                  <a:pt x="1748" y="20"/>
                  <a:pt x="1747" y="19"/>
                </a:cubicBezTo>
                <a:close/>
                <a:moveTo>
                  <a:pt x="910" y="44"/>
                </a:moveTo>
                <a:cubicBezTo>
                  <a:pt x="910" y="44"/>
                  <a:pt x="910" y="45"/>
                  <a:pt x="910" y="45"/>
                </a:cubicBezTo>
                <a:cubicBezTo>
                  <a:pt x="910" y="45"/>
                  <a:pt x="910" y="44"/>
                  <a:pt x="910" y="44"/>
                </a:cubicBezTo>
                <a:close/>
                <a:moveTo>
                  <a:pt x="1083" y="44"/>
                </a:moveTo>
                <a:cubicBezTo>
                  <a:pt x="1083" y="44"/>
                  <a:pt x="1083" y="45"/>
                  <a:pt x="1083" y="45"/>
                </a:cubicBezTo>
                <a:cubicBezTo>
                  <a:pt x="1083" y="44"/>
                  <a:pt x="1083" y="44"/>
                  <a:pt x="1083" y="44"/>
                </a:cubicBezTo>
                <a:close/>
                <a:moveTo>
                  <a:pt x="982" y="20"/>
                </a:moveTo>
                <a:cubicBezTo>
                  <a:pt x="982" y="20"/>
                  <a:pt x="981" y="20"/>
                  <a:pt x="981" y="20"/>
                </a:cubicBezTo>
                <a:cubicBezTo>
                  <a:pt x="982" y="20"/>
                  <a:pt x="982" y="20"/>
                  <a:pt x="982" y="20"/>
                </a:cubicBezTo>
                <a:close/>
                <a:moveTo>
                  <a:pt x="1018" y="20"/>
                </a:moveTo>
                <a:cubicBezTo>
                  <a:pt x="1018" y="20"/>
                  <a:pt x="1017" y="20"/>
                  <a:pt x="1017" y="20"/>
                </a:cubicBezTo>
                <a:cubicBezTo>
                  <a:pt x="1017" y="20"/>
                  <a:pt x="1018" y="20"/>
                  <a:pt x="1018" y="20"/>
                </a:cubicBezTo>
                <a:close/>
                <a:moveTo>
                  <a:pt x="1395" y="20"/>
                </a:moveTo>
                <a:cubicBezTo>
                  <a:pt x="1395" y="20"/>
                  <a:pt x="1395" y="20"/>
                  <a:pt x="1395" y="20"/>
                </a:cubicBezTo>
                <a:cubicBezTo>
                  <a:pt x="1395" y="20"/>
                  <a:pt x="1395" y="20"/>
                  <a:pt x="1395" y="20"/>
                </a:cubicBezTo>
                <a:close/>
                <a:moveTo>
                  <a:pt x="1214" y="45"/>
                </a:moveTo>
                <a:cubicBezTo>
                  <a:pt x="1214" y="45"/>
                  <a:pt x="1215" y="44"/>
                  <a:pt x="1215" y="44"/>
                </a:cubicBezTo>
                <a:cubicBezTo>
                  <a:pt x="1214" y="44"/>
                  <a:pt x="1214" y="44"/>
                  <a:pt x="1214" y="45"/>
                </a:cubicBezTo>
                <a:close/>
                <a:moveTo>
                  <a:pt x="1261" y="44"/>
                </a:moveTo>
                <a:cubicBezTo>
                  <a:pt x="1261" y="44"/>
                  <a:pt x="1261" y="45"/>
                  <a:pt x="1261" y="45"/>
                </a:cubicBezTo>
                <a:cubicBezTo>
                  <a:pt x="1261" y="44"/>
                  <a:pt x="1261" y="44"/>
                  <a:pt x="1261" y="44"/>
                </a:cubicBezTo>
                <a:close/>
                <a:moveTo>
                  <a:pt x="539" y="21"/>
                </a:moveTo>
                <a:cubicBezTo>
                  <a:pt x="539" y="21"/>
                  <a:pt x="539" y="20"/>
                  <a:pt x="539" y="20"/>
                </a:cubicBezTo>
                <a:cubicBezTo>
                  <a:pt x="539" y="20"/>
                  <a:pt x="539" y="21"/>
                  <a:pt x="539" y="21"/>
                </a:cubicBezTo>
                <a:close/>
                <a:moveTo>
                  <a:pt x="583" y="20"/>
                </a:moveTo>
                <a:cubicBezTo>
                  <a:pt x="583" y="20"/>
                  <a:pt x="583" y="20"/>
                  <a:pt x="583" y="20"/>
                </a:cubicBezTo>
                <a:cubicBezTo>
                  <a:pt x="583" y="20"/>
                  <a:pt x="583" y="20"/>
                  <a:pt x="583" y="20"/>
                </a:cubicBezTo>
                <a:close/>
                <a:moveTo>
                  <a:pt x="1289" y="45"/>
                </a:moveTo>
                <a:cubicBezTo>
                  <a:pt x="1290" y="45"/>
                  <a:pt x="1290" y="44"/>
                  <a:pt x="1290" y="44"/>
                </a:cubicBezTo>
                <a:cubicBezTo>
                  <a:pt x="1289" y="44"/>
                  <a:pt x="1289" y="44"/>
                  <a:pt x="1289" y="45"/>
                </a:cubicBezTo>
                <a:close/>
                <a:moveTo>
                  <a:pt x="981" y="20"/>
                </a:moveTo>
                <a:cubicBezTo>
                  <a:pt x="981" y="20"/>
                  <a:pt x="981" y="20"/>
                  <a:pt x="981" y="20"/>
                </a:cubicBezTo>
                <a:cubicBezTo>
                  <a:pt x="981" y="20"/>
                  <a:pt x="981" y="20"/>
                  <a:pt x="981" y="20"/>
                </a:cubicBezTo>
                <a:close/>
                <a:moveTo>
                  <a:pt x="1019" y="20"/>
                </a:moveTo>
                <a:cubicBezTo>
                  <a:pt x="1018" y="20"/>
                  <a:pt x="1018" y="20"/>
                  <a:pt x="1018" y="20"/>
                </a:cubicBezTo>
                <a:cubicBezTo>
                  <a:pt x="1018" y="20"/>
                  <a:pt x="1018" y="20"/>
                  <a:pt x="1019" y="20"/>
                </a:cubicBezTo>
                <a:close/>
                <a:moveTo>
                  <a:pt x="1299" y="44"/>
                </a:moveTo>
                <a:cubicBezTo>
                  <a:pt x="1299" y="44"/>
                  <a:pt x="1298" y="44"/>
                  <a:pt x="1298" y="44"/>
                </a:cubicBezTo>
                <a:cubicBezTo>
                  <a:pt x="1299" y="44"/>
                  <a:pt x="1299" y="44"/>
                  <a:pt x="1299" y="44"/>
                </a:cubicBezTo>
                <a:close/>
                <a:moveTo>
                  <a:pt x="1311" y="44"/>
                </a:moveTo>
                <a:cubicBezTo>
                  <a:pt x="1310" y="44"/>
                  <a:pt x="1310" y="44"/>
                  <a:pt x="1310" y="44"/>
                </a:cubicBezTo>
                <a:cubicBezTo>
                  <a:pt x="1310" y="44"/>
                  <a:pt x="1310" y="44"/>
                  <a:pt x="1311" y="44"/>
                </a:cubicBezTo>
                <a:close/>
                <a:moveTo>
                  <a:pt x="1465" y="20"/>
                </a:moveTo>
                <a:cubicBezTo>
                  <a:pt x="1465" y="20"/>
                  <a:pt x="1465" y="21"/>
                  <a:pt x="1465" y="21"/>
                </a:cubicBezTo>
                <a:cubicBezTo>
                  <a:pt x="1465" y="20"/>
                  <a:pt x="1465" y="20"/>
                  <a:pt x="1465" y="20"/>
                </a:cubicBezTo>
                <a:close/>
                <a:moveTo>
                  <a:pt x="1539" y="20"/>
                </a:moveTo>
                <a:cubicBezTo>
                  <a:pt x="1538" y="20"/>
                  <a:pt x="1538" y="20"/>
                  <a:pt x="1538" y="20"/>
                </a:cubicBezTo>
                <a:cubicBezTo>
                  <a:pt x="1538" y="20"/>
                  <a:pt x="1538" y="20"/>
                  <a:pt x="1539" y="20"/>
                </a:cubicBezTo>
                <a:close/>
                <a:moveTo>
                  <a:pt x="1580" y="20"/>
                </a:moveTo>
                <a:cubicBezTo>
                  <a:pt x="1580" y="20"/>
                  <a:pt x="1580" y="21"/>
                  <a:pt x="1580" y="21"/>
                </a:cubicBezTo>
                <a:cubicBezTo>
                  <a:pt x="1580" y="21"/>
                  <a:pt x="1580" y="20"/>
                  <a:pt x="1580" y="20"/>
                </a:cubicBezTo>
                <a:close/>
                <a:moveTo>
                  <a:pt x="1682" y="20"/>
                </a:moveTo>
                <a:cubicBezTo>
                  <a:pt x="1682" y="20"/>
                  <a:pt x="1682" y="21"/>
                  <a:pt x="1682" y="21"/>
                </a:cubicBezTo>
                <a:cubicBezTo>
                  <a:pt x="1682" y="21"/>
                  <a:pt x="1682" y="20"/>
                  <a:pt x="1682" y="20"/>
                </a:cubicBezTo>
                <a:close/>
                <a:moveTo>
                  <a:pt x="1707" y="20"/>
                </a:moveTo>
                <a:cubicBezTo>
                  <a:pt x="1706" y="20"/>
                  <a:pt x="1706" y="20"/>
                  <a:pt x="1706" y="20"/>
                </a:cubicBezTo>
                <a:cubicBezTo>
                  <a:pt x="1706" y="20"/>
                  <a:pt x="1707" y="20"/>
                  <a:pt x="1707" y="20"/>
                </a:cubicBezTo>
                <a:close/>
                <a:moveTo>
                  <a:pt x="1748" y="20"/>
                </a:moveTo>
                <a:cubicBezTo>
                  <a:pt x="1748" y="20"/>
                  <a:pt x="1748" y="21"/>
                  <a:pt x="1748" y="21"/>
                </a:cubicBezTo>
                <a:cubicBezTo>
                  <a:pt x="1748" y="21"/>
                  <a:pt x="1748" y="20"/>
                  <a:pt x="1748" y="20"/>
                </a:cubicBezTo>
                <a:close/>
                <a:moveTo>
                  <a:pt x="1567" y="45"/>
                </a:moveTo>
                <a:cubicBezTo>
                  <a:pt x="1568" y="45"/>
                  <a:pt x="1568" y="44"/>
                  <a:pt x="1568" y="44"/>
                </a:cubicBezTo>
                <a:cubicBezTo>
                  <a:pt x="1568" y="44"/>
                  <a:pt x="1567" y="44"/>
                  <a:pt x="1567" y="45"/>
                </a:cubicBezTo>
                <a:close/>
                <a:moveTo>
                  <a:pt x="584" y="21"/>
                </a:moveTo>
                <a:cubicBezTo>
                  <a:pt x="584" y="21"/>
                  <a:pt x="584" y="20"/>
                  <a:pt x="583" y="20"/>
                </a:cubicBezTo>
                <a:cubicBezTo>
                  <a:pt x="583" y="21"/>
                  <a:pt x="584" y="21"/>
                  <a:pt x="584" y="21"/>
                </a:cubicBezTo>
                <a:close/>
                <a:moveTo>
                  <a:pt x="981" y="20"/>
                </a:moveTo>
                <a:cubicBezTo>
                  <a:pt x="980" y="20"/>
                  <a:pt x="980" y="20"/>
                  <a:pt x="980" y="21"/>
                </a:cubicBezTo>
                <a:cubicBezTo>
                  <a:pt x="980" y="21"/>
                  <a:pt x="980" y="21"/>
                  <a:pt x="981" y="20"/>
                </a:cubicBezTo>
                <a:close/>
                <a:moveTo>
                  <a:pt x="1019" y="21"/>
                </a:moveTo>
                <a:cubicBezTo>
                  <a:pt x="1019" y="20"/>
                  <a:pt x="1019" y="20"/>
                  <a:pt x="1019" y="20"/>
                </a:cubicBezTo>
                <a:cubicBezTo>
                  <a:pt x="1019" y="21"/>
                  <a:pt x="1019" y="21"/>
                  <a:pt x="1019" y="21"/>
                </a:cubicBezTo>
                <a:close/>
                <a:moveTo>
                  <a:pt x="1682" y="44"/>
                </a:moveTo>
                <a:cubicBezTo>
                  <a:pt x="1682" y="44"/>
                  <a:pt x="1682" y="44"/>
                  <a:pt x="1682" y="45"/>
                </a:cubicBezTo>
                <a:cubicBezTo>
                  <a:pt x="1682" y="45"/>
                  <a:pt x="1682" y="44"/>
                  <a:pt x="1682" y="44"/>
                </a:cubicBezTo>
                <a:close/>
                <a:moveTo>
                  <a:pt x="1736" y="45"/>
                </a:moveTo>
                <a:cubicBezTo>
                  <a:pt x="1736" y="45"/>
                  <a:pt x="1736" y="44"/>
                  <a:pt x="1736" y="44"/>
                </a:cubicBezTo>
                <a:cubicBezTo>
                  <a:pt x="1736" y="44"/>
                  <a:pt x="1736" y="44"/>
                  <a:pt x="1736" y="45"/>
                </a:cubicBezTo>
                <a:close/>
                <a:moveTo>
                  <a:pt x="1395" y="20"/>
                </a:moveTo>
                <a:cubicBezTo>
                  <a:pt x="1395" y="21"/>
                  <a:pt x="1395" y="21"/>
                  <a:pt x="1396" y="21"/>
                </a:cubicBezTo>
                <a:cubicBezTo>
                  <a:pt x="1396" y="21"/>
                  <a:pt x="1396" y="21"/>
                  <a:pt x="1395" y="20"/>
                </a:cubicBezTo>
                <a:close/>
                <a:moveTo>
                  <a:pt x="566" y="50"/>
                </a:moveTo>
                <a:cubicBezTo>
                  <a:pt x="566" y="50"/>
                  <a:pt x="567" y="50"/>
                  <a:pt x="567" y="50"/>
                </a:cubicBezTo>
                <a:cubicBezTo>
                  <a:pt x="567" y="50"/>
                  <a:pt x="567" y="50"/>
                  <a:pt x="566" y="50"/>
                </a:cubicBezTo>
                <a:close/>
                <a:moveTo>
                  <a:pt x="660" y="45"/>
                </a:moveTo>
                <a:cubicBezTo>
                  <a:pt x="660" y="45"/>
                  <a:pt x="660" y="45"/>
                  <a:pt x="660" y="44"/>
                </a:cubicBezTo>
                <a:cubicBezTo>
                  <a:pt x="660" y="45"/>
                  <a:pt x="660" y="45"/>
                  <a:pt x="660" y="45"/>
                </a:cubicBezTo>
                <a:close/>
                <a:moveTo>
                  <a:pt x="693" y="45"/>
                </a:moveTo>
                <a:cubicBezTo>
                  <a:pt x="693" y="44"/>
                  <a:pt x="693" y="44"/>
                  <a:pt x="692" y="44"/>
                </a:cubicBezTo>
                <a:cubicBezTo>
                  <a:pt x="692" y="45"/>
                  <a:pt x="693" y="45"/>
                  <a:pt x="693" y="45"/>
                </a:cubicBezTo>
                <a:close/>
                <a:moveTo>
                  <a:pt x="1020" y="21"/>
                </a:moveTo>
                <a:cubicBezTo>
                  <a:pt x="1020" y="21"/>
                  <a:pt x="1020" y="21"/>
                  <a:pt x="1019" y="21"/>
                </a:cubicBezTo>
                <a:cubicBezTo>
                  <a:pt x="1019" y="21"/>
                  <a:pt x="1020" y="21"/>
                  <a:pt x="1020" y="21"/>
                </a:cubicBezTo>
                <a:close/>
                <a:moveTo>
                  <a:pt x="1353" y="21"/>
                </a:moveTo>
                <a:cubicBezTo>
                  <a:pt x="1353" y="21"/>
                  <a:pt x="1353" y="21"/>
                  <a:pt x="1353" y="21"/>
                </a:cubicBezTo>
                <a:cubicBezTo>
                  <a:pt x="1353" y="21"/>
                  <a:pt x="1353" y="21"/>
                  <a:pt x="1353" y="21"/>
                </a:cubicBezTo>
                <a:close/>
                <a:moveTo>
                  <a:pt x="831" y="50"/>
                </a:moveTo>
                <a:cubicBezTo>
                  <a:pt x="831" y="50"/>
                  <a:pt x="831" y="50"/>
                  <a:pt x="831" y="51"/>
                </a:cubicBezTo>
                <a:cubicBezTo>
                  <a:pt x="831" y="51"/>
                  <a:pt x="831" y="50"/>
                  <a:pt x="831" y="50"/>
                </a:cubicBezTo>
                <a:close/>
                <a:moveTo>
                  <a:pt x="858" y="51"/>
                </a:moveTo>
                <a:cubicBezTo>
                  <a:pt x="858" y="50"/>
                  <a:pt x="858" y="50"/>
                  <a:pt x="857" y="50"/>
                </a:cubicBezTo>
                <a:cubicBezTo>
                  <a:pt x="857" y="50"/>
                  <a:pt x="857" y="51"/>
                  <a:pt x="858" y="51"/>
                </a:cubicBezTo>
                <a:close/>
                <a:moveTo>
                  <a:pt x="1465" y="21"/>
                </a:moveTo>
                <a:cubicBezTo>
                  <a:pt x="1465" y="21"/>
                  <a:pt x="1465" y="21"/>
                  <a:pt x="1465" y="21"/>
                </a:cubicBezTo>
                <a:cubicBezTo>
                  <a:pt x="1465" y="21"/>
                  <a:pt x="1465" y="21"/>
                  <a:pt x="1465" y="21"/>
                </a:cubicBezTo>
                <a:close/>
                <a:moveTo>
                  <a:pt x="853" y="45"/>
                </a:moveTo>
                <a:cubicBezTo>
                  <a:pt x="853" y="45"/>
                  <a:pt x="853" y="44"/>
                  <a:pt x="853" y="44"/>
                </a:cubicBezTo>
                <a:cubicBezTo>
                  <a:pt x="853" y="45"/>
                  <a:pt x="853" y="45"/>
                  <a:pt x="853" y="45"/>
                </a:cubicBezTo>
                <a:close/>
                <a:moveTo>
                  <a:pt x="1682" y="21"/>
                </a:moveTo>
                <a:cubicBezTo>
                  <a:pt x="1682" y="21"/>
                  <a:pt x="1682" y="21"/>
                  <a:pt x="1682" y="22"/>
                </a:cubicBezTo>
                <a:cubicBezTo>
                  <a:pt x="1682" y="21"/>
                  <a:pt x="1682" y="21"/>
                  <a:pt x="1682" y="21"/>
                </a:cubicBezTo>
                <a:close/>
                <a:moveTo>
                  <a:pt x="867" y="44"/>
                </a:moveTo>
                <a:cubicBezTo>
                  <a:pt x="867" y="45"/>
                  <a:pt x="867" y="45"/>
                  <a:pt x="868" y="45"/>
                </a:cubicBezTo>
                <a:cubicBezTo>
                  <a:pt x="868" y="45"/>
                  <a:pt x="868" y="45"/>
                  <a:pt x="867" y="44"/>
                </a:cubicBezTo>
                <a:close/>
                <a:moveTo>
                  <a:pt x="538" y="22"/>
                </a:moveTo>
                <a:cubicBezTo>
                  <a:pt x="539" y="22"/>
                  <a:pt x="539" y="21"/>
                  <a:pt x="539" y="21"/>
                </a:cubicBezTo>
                <a:cubicBezTo>
                  <a:pt x="539" y="21"/>
                  <a:pt x="538" y="22"/>
                  <a:pt x="538" y="22"/>
                </a:cubicBezTo>
                <a:close/>
                <a:moveTo>
                  <a:pt x="896" y="45"/>
                </a:moveTo>
                <a:cubicBezTo>
                  <a:pt x="896" y="44"/>
                  <a:pt x="896" y="44"/>
                  <a:pt x="896" y="44"/>
                </a:cubicBezTo>
                <a:cubicBezTo>
                  <a:pt x="896" y="45"/>
                  <a:pt x="896" y="45"/>
                  <a:pt x="896" y="45"/>
                </a:cubicBezTo>
                <a:close/>
                <a:moveTo>
                  <a:pt x="979" y="21"/>
                </a:moveTo>
                <a:cubicBezTo>
                  <a:pt x="979" y="21"/>
                  <a:pt x="979" y="21"/>
                  <a:pt x="979" y="21"/>
                </a:cubicBezTo>
                <a:cubicBezTo>
                  <a:pt x="979" y="21"/>
                  <a:pt x="979" y="21"/>
                  <a:pt x="979" y="21"/>
                </a:cubicBezTo>
                <a:close/>
                <a:moveTo>
                  <a:pt x="1021" y="21"/>
                </a:moveTo>
                <a:cubicBezTo>
                  <a:pt x="1020" y="21"/>
                  <a:pt x="1020" y="21"/>
                  <a:pt x="1020" y="21"/>
                </a:cubicBezTo>
                <a:cubicBezTo>
                  <a:pt x="1020" y="21"/>
                  <a:pt x="1020" y="21"/>
                  <a:pt x="1021" y="21"/>
                </a:cubicBezTo>
                <a:close/>
                <a:moveTo>
                  <a:pt x="1120" y="44"/>
                </a:moveTo>
                <a:cubicBezTo>
                  <a:pt x="1119" y="44"/>
                  <a:pt x="1119" y="44"/>
                  <a:pt x="1119" y="45"/>
                </a:cubicBezTo>
                <a:cubicBezTo>
                  <a:pt x="1119" y="45"/>
                  <a:pt x="1120" y="45"/>
                  <a:pt x="1120" y="44"/>
                </a:cubicBezTo>
                <a:close/>
                <a:moveTo>
                  <a:pt x="1383" y="22"/>
                </a:moveTo>
                <a:cubicBezTo>
                  <a:pt x="1383" y="21"/>
                  <a:pt x="1383" y="21"/>
                  <a:pt x="1383" y="21"/>
                </a:cubicBezTo>
                <a:cubicBezTo>
                  <a:pt x="1383" y="21"/>
                  <a:pt x="1383" y="22"/>
                  <a:pt x="1383" y="22"/>
                </a:cubicBezTo>
                <a:close/>
                <a:moveTo>
                  <a:pt x="1416" y="22"/>
                </a:moveTo>
                <a:cubicBezTo>
                  <a:pt x="1416" y="22"/>
                  <a:pt x="1416" y="21"/>
                  <a:pt x="1416" y="21"/>
                </a:cubicBezTo>
                <a:cubicBezTo>
                  <a:pt x="1416" y="21"/>
                  <a:pt x="1416" y="22"/>
                  <a:pt x="1416" y="22"/>
                </a:cubicBezTo>
                <a:close/>
                <a:moveTo>
                  <a:pt x="1138" y="45"/>
                </a:moveTo>
                <a:cubicBezTo>
                  <a:pt x="1138" y="45"/>
                  <a:pt x="1138" y="44"/>
                  <a:pt x="1137" y="44"/>
                </a:cubicBezTo>
                <a:cubicBezTo>
                  <a:pt x="1137" y="45"/>
                  <a:pt x="1138" y="45"/>
                  <a:pt x="1138" y="45"/>
                </a:cubicBezTo>
                <a:close/>
                <a:moveTo>
                  <a:pt x="1152" y="44"/>
                </a:moveTo>
                <a:cubicBezTo>
                  <a:pt x="1152" y="45"/>
                  <a:pt x="1152" y="45"/>
                  <a:pt x="1152" y="45"/>
                </a:cubicBezTo>
                <a:cubicBezTo>
                  <a:pt x="1153" y="45"/>
                  <a:pt x="1152" y="45"/>
                  <a:pt x="1152" y="44"/>
                </a:cubicBezTo>
                <a:close/>
                <a:moveTo>
                  <a:pt x="1580" y="21"/>
                </a:moveTo>
                <a:cubicBezTo>
                  <a:pt x="1580" y="21"/>
                  <a:pt x="1580" y="22"/>
                  <a:pt x="1580" y="22"/>
                </a:cubicBezTo>
                <a:cubicBezTo>
                  <a:pt x="1580" y="22"/>
                  <a:pt x="1580" y="21"/>
                  <a:pt x="1580" y="21"/>
                </a:cubicBezTo>
                <a:close/>
                <a:moveTo>
                  <a:pt x="1298" y="44"/>
                </a:moveTo>
                <a:cubicBezTo>
                  <a:pt x="1298" y="44"/>
                  <a:pt x="1298" y="44"/>
                  <a:pt x="1298" y="45"/>
                </a:cubicBezTo>
                <a:cubicBezTo>
                  <a:pt x="1298" y="45"/>
                  <a:pt x="1298" y="45"/>
                  <a:pt x="1298" y="44"/>
                </a:cubicBezTo>
                <a:close/>
                <a:moveTo>
                  <a:pt x="1748" y="21"/>
                </a:moveTo>
                <a:cubicBezTo>
                  <a:pt x="1748" y="21"/>
                  <a:pt x="1748" y="22"/>
                  <a:pt x="1748" y="22"/>
                </a:cubicBezTo>
                <a:cubicBezTo>
                  <a:pt x="1748" y="22"/>
                  <a:pt x="1748" y="21"/>
                  <a:pt x="1748" y="21"/>
                </a:cubicBezTo>
                <a:close/>
                <a:moveTo>
                  <a:pt x="1311" y="45"/>
                </a:moveTo>
                <a:cubicBezTo>
                  <a:pt x="1311" y="45"/>
                  <a:pt x="1311" y="44"/>
                  <a:pt x="1311" y="44"/>
                </a:cubicBezTo>
                <a:cubicBezTo>
                  <a:pt x="1311" y="45"/>
                  <a:pt x="1311" y="45"/>
                  <a:pt x="1311" y="45"/>
                </a:cubicBezTo>
                <a:close/>
                <a:moveTo>
                  <a:pt x="652" y="43"/>
                </a:moveTo>
                <a:cubicBezTo>
                  <a:pt x="652" y="43"/>
                  <a:pt x="652" y="44"/>
                  <a:pt x="652" y="44"/>
                </a:cubicBezTo>
                <a:cubicBezTo>
                  <a:pt x="652" y="44"/>
                  <a:pt x="652" y="44"/>
                  <a:pt x="652" y="43"/>
                </a:cubicBezTo>
                <a:close/>
                <a:moveTo>
                  <a:pt x="1383" y="45"/>
                </a:moveTo>
                <a:cubicBezTo>
                  <a:pt x="1383" y="45"/>
                  <a:pt x="1383" y="45"/>
                  <a:pt x="1383" y="44"/>
                </a:cubicBezTo>
                <a:cubicBezTo>
                  <a:pt x="1383" y="45"/>
                  <a:pt x="1383" y="45"/>
                  <a:pt x="1383" y="45"/>
                </a:cubicBezTo>
                <a:close/>
                <a:moveTo>
                  <a:pt x="1395" y="44"/>
                </a:moveTo>
                <a:cubicBezTo>
                  <a:pt x="1395" y="45"/>
                  <a:pt x="1395" y="45"/>
                  <a:pt x="1395" y="45"/>
                </a:cubicBezTo>
                <a:cubicBezTo>
                  <a:pt x="1395" y="45"/>
                  <a:pt x="1395" y="45"/>
                  <a:pt x="1395" y="44"/>
                </a:cubicBezTo>
                <a:close/>
                <a:moveTo>
                  <a:pt x="1465" y="21"/>
                </a:moveTo>
                <a:cubicBezTo>
                  <a:pt x="1465" y="22"/>
                  <a:pt x="1465" y="22"/>
                  <a:pt x="1466" y="22"/>
                </a:cubicBezTo>
                <a:cubicBezTo>
                  <a:pt x="1466" y="22"/>
                  <a:pt x="1466" y="22"/>
                  <a:pt x="1465" y="21"/>
                </a:cubicBezTo>
                <a:close/>
                <a:moveTo>
                  <a:pt x="558" y="45"/>
                </a:moveTo>
                <a:cubicBezTo>
                  <a:pt x="558" y="45"/>
                  <a:pt x="558" y="45"/>
                  <a:pt x="558" y="45"/>
                </a:cubicBezTo>
                <a:cubicBezTo>
                  <a:pt x="558" y="45"/>
                  <a:pt x="558" y="45"/>
                  <a:pt x="558" y="45"/>
                </a:cubicBezTo>
                <a:close/>
                <a:moveTo>
                  <a:pt x="1568" y="22"/>
                </a:moveTo>
                <a:cubicBezTo>
                  <a:pt x="1568" y="22"/>
                  <a:pt x="1568" y="22"/>
                  <a:pt x="1567" y="21"/>
                </a:cubicBezTo>
                <a:cubicBezTo>
                  <a:pt x="1567" y="22"/>
                  <a:pt x="1568" y="22"/>
                  <a:pt x="1568" y="22"/>
                </a:cubicBezTo>
                <a:close/>
                <a:moveTo>
                  <a:pt x="1736" y="22"/>
                </a:moveTo>
                <a:cubicBezTo>
                  <a:pt x="1736" y="22"/>
                  <a:pt x="1736" y="22"/>
                  <a:pt x="1736" y="21"/>
                </a:cubicBezTo>
                <a:cubicBezTo>
                  <a:pt x="1736" y="22"/>
                  <a:pt x="1736" y="22"/>
                  <a:pt x="1736" y="22"/>
                </a:cubicBezTo>
                <a:close/>
                <a:moveTo>
                  <a:pt x="538" y="23"/>
                </a:moveTo>
                <a:cubicBezTo>
                  <a:pt x="538" y="22"/>
                  <a:pt x="538" y="22"/>
                  <a:pt x="538" y="22"/>
                </a:cubicBezTo>
                <a:cubicBezTo>
                  <a:pt x="538" y="22"/>
                  <a:pt x="538" y="22"/>
                  <a:pt x="538" y="23"/>
                </a:cubicBezTo>
                <a:close/>
                <a:moveTo>
                  <a:pt x="694" y="45"/>
                </a:moveTo>
                <a:cubicBezTo>
                  <a:pt x="694" y="45"/>
                  <a:pt x="693" y="45"/>
                  <a:pt x="693" y="45"/>
                </a:cubicBezTo>
                <a:cubicBezTo>
                  <a:pt x="693" y="45"/>
                  <a:pt x="693" y="45"/>
                  <a:pt x="694" y="45"/>
                </a:cubicBezTo>
                <a:close/>
                <a:moveTo>
                  <a:pt x="1352" y="22"/>
                </a:moveTo>
                <a:cubicBezTo>
                  <a:pt x="1352" y="22"/>
                  <a:pt x="1351" y="22"/>
                  <a:pt x="1351" y="22"/>
                </a:cubicBezTo>
                <a:cubicBezTo>
                  <a:pt x="1352" y="22"/>
                  <a:pt x="1352" y="22"/>
                  <a:pt x="1352" y="22"/>
                </a:cubicBezTo>
                <a:close/>
                <a:moveTo>
                  <a:pt x="1415" y="23"/>
                </a:moveTo>
                <a:cubicBezTo>
                  <a:pt x="1416" y="22"/>
                  <a:pt x="1416" y="22"/>
                  <a:pt x="1416" y="22"/>
                </a:cubicBezTo>
                <a:cubicBezTo>
                  <a:pt x="1415" y="22"/>
                  <a:pt x="1415" y="22"/>
                  <a:pt x="1415" y="23"/>
                </a:cubicBezTo>
                <a:close/>
                <a:moveTo>
                  <a:pt x="1033" y="51"/>
                </a:moveTo>
                <a:cubicBezTo>
                  <a:pt x="1033" y="51"/>
                  <a:pt x="1033" y="50"/>
                  <a:pt x="1033" y="50"/>
                </a:cubicBezTo>
                <a:cubicBezTo>
                  <a:pt x="1033" y="50"/>
                  <a:pt x="1033" y="50"/>
                  <a:pt x="1033" y="51"/>
                </a:cubicBezTo>
                <a:close/>
                <a:moveTo>
                  <a:pt x="1682" y="22"/>
                </a:moveTo>
                <a:cubicBezTo>
                  <a:pt x="1682" y="22"/>
                  <a:pt x="1682" y="22"/>
                  <a:pt x="1683" y="23"/>
                </a:cubicBezTo>
                <a:cubicBezTo>
                  <a:pt x="1683" y="22"/>
                  <a:pt x="1683" y="22"/>
                  <a:pt x="1682" y="22"/>
                </a:cubicBezTo>
                <a:close/>
                <a:moveTo>
                  <a:pt x="869" y="46"/>
                </a:moveTo>
                <a:cubicBezTo>
                  <a:pt x="869" y="45"/>
                  <a:pt x="869" y="45"/>
                  <a:pt x="869" y="45"/>
                </a:cubicBezTo>
                <a:cubicBezTo>
                  <a:pt x="869" y="45"/>
                  <a:pt x="868" y="45"/>
                  <a:pt x="869" y="46"/>
                </a:cubicBezTo>
                <a:close/>
                <a:moveTo>
                  <a:pt x="1086" y="50"/>
                </a:moveTo>
                <a:cubicBezTo>
                  <a:pt x="1086" y="50"/>
                  <a:pt x="1086" y="51"/>
                  <a:pt x="1086" y="51"/>
                </a:cubicBezTo>
                <a:cubicBezTo>
                  <a:pt x="1086" y="51"/>
                  <a:pt x="1086" y="50"/>
                  <a:pt x="1086" y="50"/>
                </a:cubicBezTo>
                <a:close/>
                <a:moveTo>
                  <a:pt x="1114" y="50"/>
                </a:moveTo>
                <a:cubicBezTo>
                  <a:pt x="1114" y="50"/>
                  <a:pt x="1113" y="50"/>
                  <a:pt x="1113" y="51"/>
                </a:cubicBezTo>
                <a:cubicBezTo>
                  <a:pt x="1114" y="51"/>
                  <a:pt x="1114" y="50"/>
                  <a:pt x="1114" y="50"/>
                </a:cubicBezTo>
                <a:close/>
                <a:moveTo>
                  <a:pt x="1142" y="51"/>
                </a:moveTo>
                <a:cubicBezTo>
                  <a:pt x="1142" y="50"/>
                  <a:pt x="1142" y="50"/>
                  <a:pt x="1142" y="50"/>
                </a:cubicBezTo>
                <a:cubicBezTo>
                  <a:pt x="1142" y="50"/>
                  <a:pt x="1142" y="51"/>
                  <a:pt x="1142" y="51"/>
                </a:cubicBezTo>
                <a:close/>
                <a:moveTo>
                  <a:pt x="1384" y="23"/>
                </a:moveTo>
                <a:cubicBezTo>
                  <a:pt x="1384" y="23"/>
                  <a:pt x="1384" y="22"/>
                  <a:pt x="1384" y="22"/>
                </a:cubicBezTo>
                <a:cubicBezTo>
                  <a:pt x="1384" y="22"/>
                  <a:pt x="1384" y="23"/>
                  <a:pt x="1384" y="23"/>
                </a:cubicBezTo>
                <a:close/>
                <a:moveTo>
                  <a:pt x="1211" y="51"/>
                </a:moveTo>
                <a:cubicBezTo>
                  <a:pt x="1211" y="51"/>
                  <a:pt x="1211" y="50"/>
                  <a:pt x="1211" y="50"/>
                </a:cubicBezTo>
                <a:cubicBezTo>
                  <a:pt x="1211" y="50"/>
                  <a:pt x="1211" y="50"/>
                  <a:pt x="1211" y="51"/>
                </a:cubicBezTo>
                <a:close/>
                <a:moveTo>
                  <a:pt x="1536" y="22"/>
                </a:moveTo>
                <a:cubicBezTo>
                  <a:pt x="1535" y="22"/>
                  <a:pt x="1535" y="22"/>
                  <a:pt x="1535" y="23"/>
                </a:cubicBezTo>
                <a:cubicBezTo>
                  <a:pt x="1535" y="22"/>
                  <a:pt x="1536" y="22"/>
                  <a:pt x="1536" y="22"/>
                </a:cubicBezTo>
                <a:close/>
                <a:moveTo>
                  <a:pt x="1704" y="22"/>
                </a:moveTo>
                <a:cubicBezTo>
                  <a:pt x="1704" y="22"/>
                  <a:pt x="1703" y="22"/>
                  <a:pt x="1703" y="23"/>
                </a:cubicBezTo>
                <a:cubicBezTo>
                  <a:pt x="1704" y="22"/>
                  <a:pt x="1704" y="22"/>
                  <a:pt x="1704" y="22"/>
                </a:cubicBezTo>
                <a:close/>
                <a:moveTo>
                  <a:pt x="872" y="55"/>
                </a:moveTo>
                <a:cubicBezTo>
                  <a:pt x="871" y="55"/>
                  <a:pt x="871" y="56"/>
                  <a:pt x="871" y="56"/>
                </a:cubicBezTo>
                <a:cubicBezTo>
                  <a:pt x="872" y="56"/>
                  <a:pt x="872" y="55"/>
                  <a:pt x="872" y="55"/>
                </a:cubicBezTo>
                <a:close/>
                <a:moveTo>
                  <a:pt x="572" y="53"/>
                </a:moveTo>
                <a:cubicBezTo>
                  <a:pt x="572" y="53"/>
                  <a:pt x="572" y="53"/>
                  <a:pt x="572" y="54"/>
                </a:cubicBezTo>
                <a:cubicBezTo>
                  <a:pt x="572" y="53"/>
                  <a:pt x="572" y="53"/>
                  <a:pt x="572" y="53"/>
                </a:cubicBezTo>
                <a:close/>
                <a:moveTo>
                  <a:pt x="977" y="22"/>
                </a:moveTo>
                <a:cubicBezTo>
                  <a:pt x="977" y="22"/>
                  <a:pt x="977" y="23"/>
                  <a:pt x="977" y="23"/>
                </a:cubicBezTo>
                <a:cubicBezTo>
                  <a:pt x="977" y="23"/>
                  <a:pt x="977" y="23"/>
                  <a:pt x="977" y="22"/>
                </a:cubicBezTo>
                <a:close/>
                <a:moveTo>
                  <a:pt x="1261" y="45"/>
                </a:moveTo>
                <a:cubicBezTo>
                  <a:pt x="1261" y="45"/>
                  <a:pt x="1261" y="45"/>
                  <a:pt x="1261" y="45"/>
                </a:cubicBezTo>
                <a:cubicBezTo>
                  <a:pt x="1261" y="45"/>
                  <a:pt x="1261" y="45"/>
                  <a:pt x="1261" y="45"/>
                </a:cubicBezTo>
                <a:close/>
                <a:moveTo>
                  <a:pt x="1415" y="23"/>
                </a:moveTo>
                <a:cubicBezTo>
                  <a:pt x="1415" y="23"/>
                  <a:pt x="1415" y="23"/>
                  <a:pt x="1415" y="23"/>
                </a:cubicBezTo>
                <a:cubicBezTo>
                  <a:pt x="1415" y="23"/>
                  <a:pt x="1415" y="23"/>
                  <a:pt x="1415" y="23"/>
                </a:cubicBezTo>
                <a:close/>
                <a:moveTo>
                  <a:pt x="1497" y="22"/>
                </a:moveTo>
                <a:cubicBezTo>
                  <a:pt x="1496" y="22"/>
                  <a:pt x="1496" y="23"/>
                  <a:pt x="1496" y="23"/>
                </a:cubicBezTo>
                <a:cubicBezTo>
                  <a:pt x="1496" y="23"/>
                  <a:pt x="1497" y="23"/>
                  <a:pt x="1497" y="22"/>
                </a:cubicBezTo>
                <a:close/>
                <a:moveTo>
                  <a:pt x="1289" y="45"/>
                </a:moveTo>
                <a:cubicBezTo>
                  <a:pt x="1289" y="45"/>
                  <a:pt x="1289" y="45"/>
                  <a:pt x="1289" y="45"/>
                </a:cubicBezTo>
                <a:cubicBezTo>
                  <a:pt x="1289" y="45"/>
                  <a:pt x="1289" y="45"/>
                  <a:pt x="1289" y="45"/>
                </a:cubicBezTo>
                <a:close/>
                <a:moveTo>
                  <a:pt x="1568" y="23"/>
                </a:moveTo>
                <a:cubicBezTo>
                  <a:pt x="1568" y="23"/>
                  <a:pt x="1568" y="23"/>
                  <a:pt x="1568" y="23"/>
                </a:cubicBezTo>
                <a:cubicBezTo>
                  <a:pt x="1568" y="23"/>
                  <a:pt x="1568" y="23"/>
                  <a:pt x="1568" y="23"/>
                </a:cubicBezTo>
                <a:close/>
                <a:moveTo>
                  <a:pt x="1683" y="23"/>
                </a:moveTo>
                <a:cubicBezTo>
                  <a:pt x="1683" y="23"/>
                  <a:pt x="1683" y="23"/>
                  <a:pt x="1683" y="23"/>
                </a:cubicBezTo>
                <a:cubicBezTo>
                  <a:pt x="1683" y="23"/>
                  <a:pt x="1683" y="23"/>
                  <a:pt x="1683" y="23"/>
                </a:cubicBezTo>
                <a:close/>
                <a:moveTo>
                  <a:pt x="1298" y="45"/>
                </a:moveTo>
                <a:cubicBezTo>
                  <a:pt x="1297" y="45"/>
                  <a:pt x="1297" y="45"/>
                  <a:pt x="1297" y="45"/>
                </a:cubicBezTo>
                <a:cubicBezTo>
                  <a:pt x="1297" y="45"/>
                  <a:pt x="1298" y="45"/>
                  <a:pt x="1298" y="45"/>
                </a:cubicBezTo>
                <a:close/>
                <a:moveTo>
                  <a:pt x="1737" y="23"/>
                </a:moveTo>
                <a:cubicBezTo>
                  <a:pt x="1737" y="23"/>
                  <a:pt x="1737" y="23"/>
                  <a:pt x="1736" y="23"/>
                </a:cubicBezTo>
                <a:cubicBezTo>
                  <a:pt x="1736" y="23"/>
                  <a:pt x="1736" y="23"/>
                  <a:pt x="1737" y="23"/>
                </a:cubicBezTo>
                <a:close/>
                <a:moveTo>
                  <a:pt x="538" y="24"/>
                </a:moveTo>
                <a:cubicBezTo>
                  <a:pt x="538" y="23"/>
                  <a:pt x="538" y="23"/>
                  <a:pt x="538" y="23"/>
                </a:cubicBezTo>
                <a:cubicBezTo>
                  <a:pt x="538" y="23"/>
                  <a:pt x="538" y="23"/>
                  <a:pt x="538" y="24"/>
                </a:cubicBezTo>
                <a:close/>
                <a:moveTo>
                  <a:pt x="551" y="23"/>
                </a:moveTo>
                <a:cubicBezTo>
                  <a:pt x="550" y="23"/>
                  <a:pt x="550" y="23"/>
                  <a:pt x="550" y="24"/>
                </a:cubicBezTo>
                <a:cubicBezTo>
                  <a:pt x="551" y="23"/>
                  <a:pt x="551" y="23"/>
                  <a:pt x="551" y="23"/>
                </a:cubicBezTo>
                <a:close/>
                <a:moveTo>
                  <a:pt x="600" y="54"/>
                </a:moveTo>
                <a:cubicBezTo>
                  <a:pt x="600" y="53"/>
                  <a:pt x="600" y="53"/>
                  <a:pt x="599" y="53"/>
                </a:cubicBezTo>
                <a:cubicBezTo>
                  <a:pt x="599" y="53"/>
                  <a:pt x="599" y="54"/>
                  <a:pt x="600" y="54"/>
                </a:cubicBezTo>
                <a:close/>
                <a:moveTo>
                  <a:pt x="648" y="53"/>
                </a:moveTo>
                <a:cubicBezTo>
                  <a:pt x="648" y="53"/>
                  <a:pt x="648" y="53"/>
                  <a:pt x="648" y="54"/>
                </a:cubicBezTo>
                <a:cubicBezTo>
                  <a:pt x="648" y="54"/>
                  <a:pt x="648" y="53"/>
                  <a:pt x="648" y="53"/>
                </a:cubicBezTo>
                <a:close/>
                <a:moveTo>
                  <a:pt x="1384" y="24"/>
                </a:moveTo>
                <a:cubicBezTo>
                  <a:pt x="1384" y="23"/>
                  <a:pt x="1384" y="23"/>
                  <a:pt x="1384" y="23"/>
                </a:cubicBezTo>
                <a:cubicBezTo>
                  <a:pt x="1384" y="23"/>
                  <a:pt x="1384" y="23"/>
                  <a:pt x="1384" y="24"/>
                </a:cubicBezTo>
                <a:close/>
                <a:moveTo>
                  <a:pt x="1579" y="45"/>
                </a:moveTo>
                <a:cubicBezTo>
                  <a:pt x="1579" y="45"/>
                  <a:pt x="1579" y="45"/>
                  <a:pt x="1579" y="45"/>
                </a:cubicBezTo>
                <a:cubicBezTo>
                  <a:pt x="1579" y="45"/>
                  <a:pt x="1579" y="45"/>
                  <a:pt x="1579" y="45"/>
                </a:cubicBezTo>
                <a:close/>
                <a:moveTo>
                  <a:pt x="1682" y="45"/>
                </a:moveTo>
                <a:cubicBezTo>
                  <a:pt x="1681" y="45"/>
                  <a:pt x="1681" y="45"/>
                  <a:pt x="1681" y="45"/>
                </a:cubicBezTo>
                <a:cubicBezTo>
                  <a:pt x="1682" y="45"/>
                  <a:pt x="1682" y="45"/>
                  <a:pt x="1682" y="45"/>
                </a:cubicBezTo>
                <a:close/>
                <a:moveTo>
                  <a:pt x="1747" y="45"/>
                </a:moveTo>
                <a:cubicBezTo>
                  <a:pt x="1747" y="45"/>
                  <a:pt x="1747" y="45"/>
                  <a:pt x="1747" y="45"/>
                </a:cubicBezTo>
                <a:cubicBezTo>
                  <a:pt x="1747" y="45"/>
                  <a:pt x="1747" y="45"/>
                  <a:pt x="1747" y="45"/>
                </a:cubicBezTo>
                <a:close/>
                <a:moveTo>
                  <a:pt x="1466" y="23"/>
                </a:moveTo>
                <a:cubicBezTo>
                  <a:pt x="1466" y="23"/>
                  <a:pt x="1466" y="24"/>
                  <a:pt x="1466" y="24"/>
                </a:cubicBezTo>
                <a:cubicBezTo>
                  <a:pt x="1466" y="24"/>
                  <a:pt x="1466" y="23"/>
                  <a:pt x="1466" y="23"/>
                </a:cubicBezTo>
                <a:close/>
                <a:moveTo>
                  <a:pt x="1496" y="23"/>
                </a:moveTo>
                <a:cubicBezTo>
                  <a:pt x="1495" y="23"/>
                  <a:pt x="1495" y="23"/>
                  <a:pt x="1495" y="24"/>
                </a:cubicBezTo>
                <a:cubicBezTo>
                  <a:pt x="1495" y="24"/>
                  <a:pt x="1496" y="23"/>
                  <a:pt x="1496" y="23"/>
                </a:cubicBezTo>
                <a:close/>
                <a:moveTo>
                  <a:pt x="597" y="46"/>
                </a:moveTo>
                <a:cubicBezTo>
                  <a:pt x="597" y="45"/>
                  <a:pt x="597" y="45"/>
                  <a:pt x="596" y="45"/>
                </a:cubicBezTo>
                <a:cubicBezTo>
                  <a:pt x="596" y="45"/>
                  <a:pt x="596" y="46"/>
                  <a:pt x="597" y="46"/>
                </a:cubicBezTo>
                <a:close/>
                <a:moveTo>
                  <a:pt x="1569" y="24"/>
                </a:moveTo>
                <a:cubicBezTo>
                  <a:pt x="1569" y="24"/>
                  <a:pt x="1569" y="23"/>
                  <a:pt x="1568" y="23"/>
                </a:cubicBezTo>
                <a:cubicBezTo>
                  <a:pt x="1568" y="23"/>
                  <a:pt x="1569" y="24"/>
                  <a:pt x="1569" y="24"/>
                </a:cubicBezTo>
                <a:close/>
                <a:moveTo>
                  <a:pt x="640" y="46"/>
                </a:moveTo>
                <a:cubicBezTo>
                  <a:pt x="640" y="46"/>
                  <a:pt x="640" y="45"/>
                  <a:pt x="640" y="45"/>
                </a:cubicBezTo>
                <a:cubicBezTo>
                  <a:pt x="640" y="45"/>
                  <a:pt x="640" y="46"/>
                  <a:pt x="640" y="46"/>
                </a:cubicBezTo>
                <a:close/>
                <a:moveTo>
                  <a:pt x="1737" y="24"/>
                </a:moveTo>
                <a:cubicBezTo>
                  <a:pt x="1737" y="24"/>
                  <a:pt x="1737" y="23"/>
                  <a:pt x="1737" y="23"/>
                </a:cubicBezTo>
                <a:cubicBezTo>
                  <a:pt x="1737" y="23"/>
                  <a:pt x="1737" y="24"/>
                  <a:pt x="1737" y="24"/>
                </a:cubicBezTo>
                <a:close/>
                <a:moveTo>
                  <a:pt x="550" y="23"/>
                </a:moveTo>
                <a:cubicBezTo>
                  <a:pt x="550" y="24"/>
                  <a:pt x="550" y="24"/>
                  <a:pt x="550" y="24"/>
                </a:cubicBezTo>
                <a:cubicBezTo>
                  <a:pt x="550" y="24"/>
                  <a:pt x="550" y="24"/>
                  <a:pt x="550" y="23"/>
                </a:cubicBezTo>
                <a:close/>
                <a:moveTo>
                  <a:pt x="652" y="45"/>
                </a:moveTo>
                <a:cubicBezTo>
                  <a:pt x="651" y="45"/>
                  <a:pt x="651" y="46"/>
                  <a:pt x="651" y="46"/>
                </a:cubicBezTo>
                <a:cubicBezTo>
                  <a:pt x="652" y="46"/>
                  <a:pt x="652" y="45"/>
                  <a:pt x="652" y="45"/>
                </a:cubicBezTo>
                <a:close/>
                <a:moveTo>
                  <a:pt x="1385" y="24"/>
                </a:moveTo>
                <a:cubicBezTo>
                  <a:pt x="1385" y="24"/>
                  <a:pt x="1385" y="24"/>
                  <a:pt x="1384" y="23"/>
                </a:cubicBezTo>
                <a:cubicBezTo>
                  <a:pt x="1384" y="24"/>
                  <a:pt x="1384" y="24"/>
                  <a:pt x="1385" y="24"/>
                </a:cubicBezTo>
                <a:close/>
                <a:moveTo>
                  <a:pt x="1415" y="24"/>
                </a:moveTo>
                <a:cubicBezTo>
                  <a:pt x="1415" y="24"/>
                  <a:pt x="1415" y="24"/>
                  <a:pt x="1415" y="24"/>
                </a:cubicBezTo>
                <a:cubicBezTo>
                  <a:pt x="1415" y="24"/>
                  <a:pt x="1415" y="24"/>
                  <a:pt x="1415" y="24"/>
                </a:cubicBezTo>
                <a:close/>
                <a:moveTo>
                  <a:pt x="694" y="45"/>
                </a:moveTo>
                <a:cubicBezTo>
                  <a:pt x="694" y="45"/>
                  <a:pt x="694" y="45"/>
                  <a:pt x="694" y="45"/>
                </a:cubicBezTo>
                <a:cubicBezTo>
                  <a:pt x="694" y="45"/>
                  <a:pt x="694" y="45"/>
                  <a:pt x="694" y="45"/>
                </a:cubicBezTo>
                <a:close/>
                <a:moveTo>
                  <a:pt x="567" y="50"/>
                </a:moveTo>
                <a:cubicBezTo>
                  <a:pt x="567" y="51"/>
                  <a:pt x="567" y="51"/>
                  <a:pt x="568" y="51"/>
                </a:cubicBezTo>
                <a:cubicBezTo>
                  <a:pt x="568" y="50"/>
                  <a:pt x="567" y="50"/>
                  <a:pt x="567" y="50"/>
                </a:cubicBezTo>
                <a:close/>
                <a:moveTo>
                  <a:pt x="599" y="51"/>
                </a:moveTo>
                <a:cubicBezTo>
                  <a:pt x="599" y="51"/>
                  <a:pt x="599" y="50"/>
                  <a:pt x="598" y="50"/>
                </a:cubicBezTo>
                <a:cubicBezTo>
                  <a:pt x="598" y="51"/>
                  <a:pt x="598" y="51"/>
                  <a:pt x="599" y="51"/>
                </a:cubicBezTo>
                <a:close/>
                <a:moveTo>
                  <a:pt x="1495" y="24"/>
                </a:moveTo>
                <a:cubicBezTo>
                  <a:pt x="1494" y="24"/>
                  <a:pt x="1494" y="24"/>
                  <a:pt x="1494" y="24"/>
                </a:cubicBezTo>
                <a:cubicBezTo>
                  <a:pt x="1494" y="24"/>
                  <a:pt x="1495" y="24"/>
                  <a:pt x="1495" y="24"/>
                </a:cubicBezTo>
                <a:close/>
                <a:moveTo>
                  <a:pt x="649" y="50"/>
                </a:moveTo>
                <a:cubicBezTo>
                  <a:pt x="649" y="50"/>
                  <a:pt x="649" y="51"/>
                  <a:pt x="649" y="51"/>
                </a:cubicBezTo>
                <a:cubicBezTo>
                  <a:pt x="649" y="51"/>
                  <a:pt x="650" y="51"/>
                  <a:pt x="649" y="50"/>
                </a:cubicBezTo>
                <a:close/>
                <a:moveTo>
                  <a:pt x="1569" y="25"/>
                </a:moveTo>
                <a:cubicBezTo>
                  <a:pt x="1569" y="24"/>
                  <a:pt x="1569" y="24"/>
                  <a:pt x="1569" y="24"/>
                </a:cubicBezTo>
                <a:cubicBezTo>
                  <a:pt x="1569" y="24"/>
                  <a:pt x="1569" y="24"/>
                  <a:pt x="1569" y="25"/>
                </a:cubicBezTo>
                <a:close/>
                <a:moveTo>
                  <a:pt x="750" y="51"/>
                </a:moveTo>
                <a:cubicBezTo>
                  <a:pt x="751" y="51"/>
                  <a:pt x="751" y="51"/>
                  <a:pt x="751" y="50"/>
                </a:cubicBezTo>
                <a:cubicBezTo>
                  <a:pt x="751" y="51"/>
                  <a:pt x="750" y="51"/>
                  <a:pt x="750" y="51"/>
                </a:cubicBezTo>
                <a:close/>
                <a:moveTo>
                  <a:pt x="1737" y="25"/>
                </a:moveTo>
                <a:cubicBezTo>
                  <a:pt x="1737" y="24"/>
                  <a:pt x="1737" y="24"/>
                  <a:pt x="1737" y="24"/>
                </a:cubicBezTo>
                <a:cubicBezTo>
                  <a:pt x="1737" y="24"/>
                  <a:pt x="1737" y="24"/>
                  <a:pt x="1737" y="25"/>
                </a:cubicBezTo>
                <a:close/>
                <a:moveTo>
                  <a:pt x="550" y="24"/>
                </a:moveTo>
                <a:cubicBezTo>
                  <a:pt x="550" y="24"/>
                  <a:pt x="550" y="25"/>
                  <a:pt x="550" y="25"/>
                </a:cubicBezTo>
                <a:cubicBezTo>
                  <a:pt x="550" y="25"/>
                  <a:pt x="550" y="24"/>
                  <a:pt x="550" y="24"/>
                </a:cubicBezTo>
                <a:close/>
                <a:moveTo>
                  <a:pt x="960" y="25"/>
                </a:moveTo>
                <a:cubicBezTo>
                  <a:pt x="960" y="25"/>
                  <a:pt x="960" y="25"/>
                  <a:pt x="960" y="24"/>
                </a:cubicBezTo>
                <a:cubicBezTo>
                  <a:pt x="960" y="24"/>
                  <a:pt x="960" y="25"/>
                  <a:pt x="960" y="25"/>
                </a:cubicBezTo>
                <a:close/>
                <a:moveTo>
                  <a:pt x="910" y="45"/>
                </a:moveTo>
                <a:cubicBezTo>
                  <a:pt x="910" y="45"/>
                  <a:pt x="910" y="46"/>
                  <a:pt x="911" y="46"/>
                </a:cubicBezTo>
                <a:cubicBezTo>
                  <a:pt x="911" y="46"/>
                  <a:pt x="911" y="45"/>
                  <a:pt x="910" y="45"/>
                </a:cubicBezTo>
                <a:close/>
                <a:moveTo>
                  <a:pt x="1385" y="25"/>
                </a:moveTo>
                <a:cubicBezTo>
                  <a:pt x="1385" y="25"/>
                  <a:pt x="1385" y="24"/>
                  <a:pt x="1385" y="24"/>
                </a:cubicBezTo>
                <a:cubicBezTo>
                  <a:pt x="1385" y="24"/>
                  <a:pt x="1385" y="25"/>
                  <a:pt x="1385" y="25"/>
                </a:cubicBezTo>
                <a:close/>
                <a:moveTo>
                  <a:pt x="1414" y="25"/>
                </a:moveTo>
                <a:cubicBezTo>
                  <a:pt x="1415" y="25"/>
                  <a:pt x="1415" y="25"/>
                  <a:pt x="1415" y="24"/>
                </a:cubicBezTo>
                <a:cubicBezTo>
                  <a:pt x="1414" y="24"/>
                  <a:pt x="1414" y="25"/>
                  <a:pt x="1414" y="25"/>
                </a:cubicBezTo>
                <a:close/>
                <a:moveTo>
                  <a:pt x="1036" y="46"/>
                </a:moveTo>
                <a:cubicBezTo>
                  <a:pt x="1036" y="46"/>
                  <a:pt x="1036" y="45"/>
                  <a:pt x="1036" y="45"/>
                </a:cubicBezTo>
                <a:cubicBezTo>
                  <a:pt x="1036" y="45"/>
                  <a:pt x="1036" y="46"/>
                  <a:pt x="1036" y="46"/>
                </a:cubicBezTo>
                <a:close/>
                <a:moveTo>
                  <a:pt x="1083" y="45"/>
                </a:moveTo>
                <a:cubicBezTo>
                  <a:pt x="1084" y="45"/>
                  <a:pt x="1084" y="46"/>
                  <a:pt x="1084" y="46"/>
                </a:cubicBezTo>
                <a:cubicBezTo>
                  <a:pt x="1084" y="46"/>
                  <a:pt x="1084" y="45"/>
                  <a:pt x="1083" y="45"/>
                </a:cubicBezTo>
                <a:close/>
                <a:moveTo>
                  <a:pt x="1494" y="24"/>
                </a:moveTo>
                <a:cubicBezTo>
                  <a:pt x="1493" y="25"/>
                  <a:pt x="1493" y="25"/>
                  <a:pt x="1493" y="25"/>
                </a:cubicBezTo>
                <a:cubicBezTo>
                  <a:pt x="1493" y="25"/>
                  <a:pt x="1493" y="25"/>
                  <a:pt x="1494" y="24"/>
                </a:cubicBezTo>
                <a:close/>
                <a:moveTo>
                  <a:pt x="1152" y="45"/>
                </a:moveTo>
                <a:cubicBezTo>
                  <a:pt x="1152" y="45"/>
                  <a:pt x="1153" y="46"/>
                  <a:pt x="1153" y="46"/>
                </a:cubicBezTo>
                <a:cubicBezTo>
                  <a:pt x="1153" y="46"/>
                  <a:pt x="1153" y="45"/>
                  <a:pt x="1152" y="45"/>
                </a:cubicBezTo>
                <a:close/>
                <a:moveTo>
                  <a:pt x="550" y="25"/>
                </a:moveTo>
                <a:cubicBezTo>
                  <a:pt x="549" y="25"/>
                  <a:pt x="549" y="25"/>
                  <a:pt x="549" y="26"/>
                </a:cubicBezTo>
                <a:cubicBezTo>
                  <a:pt x="550" y="25"/>
                  <a:pt x="550" y="25"/>
                  <a:pt x="550" y="25"/>
                </a:cubicBezTo>
                <a:close/>
                <a:moveTo>
                  <a:pt x="874" y="50"/>
                </a:moveTo>
                <a:cubicBezTo>
                  <a:pt x="873" y="50"/>
                  <a:pt x="873" y="51"/>
                  <a:pt x="873" y="51"/>
                </a:cubicBezTo>
                <a:cubicBezTo>
                  <a:pt x="874" y="51"/>
                  <a:pt x="874" y="51"/>
                  <a:pt x="874" y="50"/>
                </a:cubicBezTo>
                <a:close/>
                <a:moveTo>
                  <a:pt x="1493" y="25"/>
                </a:moveTo>
                <a:cubicBezTo>
                  <a:pt x="1493" y="25"/>
                  <a:pt x="1492" y="25"/>
                  <a:pt x="1492" y="25"/>
                </a:cubicBezTo>
                <a:cubicBezTo>
                  <a:pt x="1493" y="25"/>
                  <a:pt x="1493" y="25"/>
                  <a:pt x="1493" y="25"/>
                </a:cubicBezTo>
                <a:close/>
                <a:moveTo>
                  <a:pt x="1312" y="45"/>
                </a:moveTo>
                <a:cubicBezTo>
                  <a:pt x="1312" y="45"/>
                  <a:pt x="1312" y="45"/>
                  <a:pt x="1312" y="45"/>
                </a:cubicBezTo>
                <a:cubicBezTo>
                  <a:pt x="1312" y="46"/>
                  <a:pt x="1312" y="45"/>
                  <a:pt x="1312" y="45"/>
                </a:cubicBezTo>
                <a:close/>
                <a:moveTo>
                  <a:pt x="1570" y="26"/>
                </a:moveTo>
                <a:cubicBezTo>
                  <a:pt x="1570" y="25"/>
                  <a:pt x="1570" y="25"/>
                  <a:pt x="1569" y="25"/>
                </a:cubicBezTo>
                <a:cubicBezTo>
                  <a:pt x="1569" y="25"/>
                  <a:pt x="1569" y="25"/>
                  <a:pt x="1570" y="26"/>
                </a:cubicBezTo>
                <a:close/>
                <a:moveTo>
                  <a:pt x="1383" y="46"/>
                </a:moveTo>
                <a:cubicBezTo>
                  <a:pt x="1383" y="46"/>
                  <a:pt x="1383" y="45"/>
                  <a:pt x="1383" y="45"/>
                </a:cubicBezTo>
                <a:cubicBezTo>
                  <a:pt x="1383" y="45"/>
                  <a:pt x="1383" y="46"/>
                  <a:pt x="1383" y="46"/>
                </a:cubicBezTo>
                <a:close/>
                <a:moveTo>
                  <a:pt x="1738" y="26"/>
                </a:moveTo>
                <a:cubicBezTo>
                  <a:pt x="1738" y="25"/>
                  <a:pt x="1738" y="25"/>
                  <a:pt x="1737" y="25"/>
                </a:cubicBezTo>
                <a:cubicBezTo>
                  <a:pt x="1737" y="25"/>
                  <a:pt x="1737" y="25"/>
                  <a:pt x="1738" y="26"/>
                </a:cubicBezTo>
                <a:close/>
                <a:moveTo>
                  <a:pt x="959" y="26"/>
                </a:moveTo>
                <a:cubicBezTo>
                  <a:pt x="960" y="26"/>
                  <a:pt x="960" y="26"/>
                  <a:pt x="960" y="25"/>
                </a:cubicBezTo>
                <a:cubicBezTo>
                  <a:pt x="959" y="25"/>
                  <a:pt x="959" y="26"/>
                  <a:pt x="959" y="26"/>
                </a:cubicBezTo>
                <a:close/>
                <a:moveTo>
                  <a:pt x="1395" y="45"/>
                </a:moveTo>
                <a:cubicBezTo>
                  <a:pt x="1395" y="45"/>
                  <a:pt x="1394" y="46"/>
                  <a:pt x="1394" y="46"/>
                </a:cubicBezTo>
                <a:cubicBezTo>
                  <a:pt x="1395" y="46"/>
                  <a:pt x="1395" y="45"/>
                  <a:pt x="1395" y="45"/>
                </a:cubicBezTo>
                <a:close/>
                <a:moveTo>
                  <a:pt x="1492" y="25"/>
                </a:moveTo>
                <a:cubicBezTo>
                  <a:pt x="1492" y="25"/>
                  <a:pt x="1492" y="25"/>
                  <a:pt x="1492" y="26"/>
                </a:cubicBezTo>
                <a:cubicBezTo>
                  <a:pt x="1492" y="26"/>
                  <a:pt x="1492" y="26"/>
                  <a:pt x="1492" y="25"/>
                </a:cubicBezTo>
                <a:close/>
                <a:moveTo>
                  <a:pt x="559" y="45"/>
                </a:moveTo>
                <a:cubicBezTo>
                  <a:pt x="559" y="46"/>
                  <a:pt x="559" y="46"/>
                  <a:pt x="559" y="46"/>
                </a:cubicBezTo>
                <a:cubicBezTo>
                  <a:pt x="559" y="46"/>
                  <a:pt x="559" y="45"/>
                  <a:pt x="559" y="45"/>
                </a:cubicBezTo>
                <a:close/>
                <a:moveTo>
                  <a:pt x="659" y="46"/>
                </a:moveTo>
                <a:cubicBezTo>
                  <a:pt x="660" y="46"/>
                  <a:pt x="660" y="46"/>
                  <a:pt x="660" y="45"/>
                </a:cubicBezTo>
                <a:cubicBezTo>
                  <a:pt x="659" y="46"/>
                  <a:pt x="659" y="46"/>
                  <a:pt x="659" y="46"/>
                </a:cubicBezTo>
                <a:close/>
                <a:moveTo>
                  <a:pt x="695" y="46"/>
                </a:moveTo>
                <a:cubicBezTo>
                  <a:pt x="695" y="46"/>
                  <a:pt x="695" y="45"/>
                  <a:pt x="694" y="45"/>
                </a:cubicBezTo>
                <a:cubicBezTo>
                  <a:pt x="695" y="46"/>
                  <a:pt x="695" y="46"/>
                  <a:pt x="695" y="46"/>
                </a:cubicBezTo>
                <a:close/>
                <a:moveTo>
                  <a:pt x="802" y="46"/>
                </a:moveTo>
                <a:cubicBezTo>
                  <a:pt x="802" y="46"/>
                  <a:pt x="802" y="46"/>
                  <a:pt x="802" y="46"/>
                </a:cubicBezTo>
                <a:cubicBezTo>
                  <a:pt x="802" y="46"/>
                  <a:pt x="802" y="46"/>
                  <a:pt x="802" y="46"/>
                </a:cubicBezTo>
                <a:close/>
                <a:moveTo>
                  <a:pt x="1292" y="50"/>
                </a:moveTo>
                <a:cubicBezTo>
                  <a:pt x="1292" y="50"/>
                  <a:pt x="1292" y="51"/>
                  <a:pt x="1292" y="51"/>
                </a:cubicBezTo>
                <a:cubicBezTo>
                  <a:pt x="1292" y="51"/>
                  <a:pt x="1292" y="51"/>
                  <a:pt x="1292" y="50"/>
                </a:cubicBezTo>
                <a:close/>
                <a:moveTo>
                  <a:pt x="1414" y="27"/>
                </a:moveTo>
                <a:cubicBezTo>
                  <a:pt x="1414" y="27"/>
                  <a:pt x="1414" y="26"/>
                  <a:pt x="1414" y="26"/>
                </a:cubicBezTo>
                <a:cubicBezTo>
                  <a:pt x="1414" y="26"/>
                  <a:pt x="1414" y="26"/>
                  <a:pt x="1414" y="27"/>
                </a:cubicBezTo>
                <a:close/>
                <a:moveTo>
                  <a:pt x="872" y="53"/>
                </a:moveTo>
                <a:cubicBezTo>
                  <a:pt x="872" y="53"/>
                  <a:pt x="872" y="54"/>
                  <a:pt x="872" y="54"/>
                </a:cubicBezTo>
                <a:cubicBezTo>
                  <a:pt x="872" y="54"/>
                  <a:pt x="872" y="53"/>
                  <a:pt x="872" y="53"/>
                </a:cubicBezTo>
                <a:close/>
                <a:moveTo>
                  <a:pt x="959" y="27"/>
                </a:moveTo>
                <a:cubicBezTo>
                  <a:pt x="959" y="27"/>
                  <a:pt x="959" y="27"/>
                  <a:pt x="959" y="26"/>
                </a:cubicBezTo>
                <a:cubicBezTo>
                  <a:pt x="959" y="26"/>
                  <a:pt x="959" y="27"/>
                  <a:pt x="959" y="27"/>
                </a:cubicBezTo>
                <a:close/>
                <a:moveTo>
                  <a:pt x="1490" y="26"/>
                </a:moveTo>
                <a:cubicBezTo>
                  <a:pt x="1490" y="26"/>
                  <a:pt x="1490" y="26"/>
                  <a:pt x="1490" y="27"/>
                </a:cubicBezTo>
                <a:cubicBezTo>
                  <a:pt x="1490" y="27"/>
                  <a:pt x="1490" y="27"/>
                  <a:pt x="1490" y="26"/>
                </a:cubicBezTo>
                <a:close/>
                <a:moveTo>
                  <a:pt x="1490" y="27"/>
                </a:moveTo>
                <a:cubicBezTo>
                  <a:pt x="1489" y="27"/>
                  <a:pt x="1489" y="27"/>
                  <a:pt x="1489" y="27"/>
                </a:cubicBezTo>
                <a:cubicBezTo>
                  <a:pt x="1489" y="27"/>
                  <a:pt x="1490" y="27"/>
                  <a:pt x="1490" y="27"/>
                </a:cubicBezTo>
                <a:close/>
                <a:moveTo>
                  <a:pt x="1289" y="46"/>
                </a:moveTo>
                <a:cubicBezTo>
                  <a:pt x="1289" y="46"/>
                  <a:pt x="1289" y="46"/>
                  <a:pt x="1289" y="45"/>
                </a:cubicBezTo>
                <a:cubicBezTo>
                  <a:pt x="1289" y="46"/>
                  <a:pt x="1289" y="46"/>
                  <a:pt x="1289" y="46"/>
                </a:cubicBezTo>
                <a:close/>
                <a:moveTo>
                  <a:pt x="1413" y="28"/>
                </a:moveTo>
                <a:cubicBezTo>
                  <a:pt x="1414" y="28"/>
                  <a:pt x="1414" y="27"/>
                  <a:pt x="1414" y="27"/>
                </a:cubicBezTo>
                <a:cubicBezTo>
                  <a:pt x="1413" y="27"/>
                  <a:pt x="1413" y="28"/>
                  <a:pt x="1413" y="28"/>
                </a:cubicBezTo>
                <a:close/>
                <a:moveTo>
                  <a:pt x="1489" y="27"/>
                </a:moveTo>
                <a:cubicBezTo>
                  <a:pt x="1489" y="27"/>
                  <a:pt x="1489" y="27"/>
                  <a:pt x="1488" y="27"/>
                </a:cubicBezTo>
                <a:cubicBezTo>
                  <a:pt x="1489" y="27"/>
                  <a:pt x="1489" y="27"/>
                  <a:pt x="1489" y="27"/>
                </a:cubicBezTo>
                <a:close/>
                <a:moveTo>
                  <a:pt x="958" y="28"/>
                </a:moveTo>
                <a:cubicBezTo>
                  <a:pt x="958" y="28"/>
                  <a:pt x="958" y="28"/>
                  <a:pt x="958" y="27"/>
                </a:cubicBezTo>
                <a:cubicBezTo>
                  <a:pt x="958" y="28"/>
                  <a:pt x="958" y="28"/>
                  <a:pt x="958" y="28"/>
                </a:cubicBezTo>
                <a:close/>
                <a:moveTo>
                  <a:pt x="1488" y="27"/>
                </a:moveTo>
                <a:cubicBezTo>
                  <a:pt x="1488" y="27"/>
                  <a:pt x="1488" y="27"/>
                  <a:pt x="1488" y="28"/>
                </a:cubicBezTo>
                <a:cubicBezTo>
                  <a:pt x="1488" y="28"/>
                  <a:pt x="1488" y="28"/>
                  <a:pt x="1488" y="27"/>
                </a:cubicBezTo>
                <a:close/>
                <a:moveTo>
                  <a:pt x="1488" y="28"/>
                </a:moveTo>
                <a:cubicBezTo>
                  <a:pt x="1487" y="28"/>
                  <a:pt x="1487" y="28"/>
                  <a:pt x="1487" y="28"/>
                </a:cubicBezTo>
                <a:cubicBezTo>
                  <a:pt x="1487" y="28"/>
                  <a:pt x="1488" y="28"/>
                  <a:pt x="1488" y="28"/>
                </a:cubicBezTo>
                <a:close/>
                <a:moveTo>
                  <a:pt x="958" y="29"/>
                </a:moveTo>
                <a:cubicBezTo>
                  <a:pt x="958" y="29"/>
                  <a:pt x="958" y="28"/>
                  <a:pt x="958" y="28"/>
                </a:cubicBezTo>
                <a:cubicBezTo>
                  <a:pt x="958" y="28"/>
                  <a:pt x="958" y="28"/>
                  <a:pt x="958" y="29"/>
                </a:cubicBezTo>
                <a:close/>
                <a:moveTo>
                  <a:pt x="1576" y="50"/>
                </a:moveTo>
                <a:cubicBezTo>
                  <a:pt x="1576" y="51"/>
                  <a:pt x="1576" y="51"/>
                  <a:pt x="1576" y="51"/>
                </a:cubicBezTo>
                <a:cubicBezTo>
                  <a:pt x="1576" y="51"/>
                  <a:pt x="1576" y="51"/>
                  <a:pt x="1576" y="50"/>
                </a:cubicBezTo>
                <a:close/>
                <a:moveTo>
                  <a:pt x="1413" y="29"/>
                </a:moveTo>
                <a:cubicBezTo>
                  <a:pt x="1413" y="29"/>
                  <a:pt x="1413" y="28"/>
                  <a:pt x="1413" y="28"/>
                </a:cubicBezTo>
                <a:cubicBezTo>
                  <a:pt x="1413" y="28"/>
                  <a:pt x="1413" y="29"/>
                  <a:pt x="1413" y="29"/>
                </a:cubicBezTo>
                <a:close/>
                <a:moveTo>
                  <a:pt x="1579" y="45"/>
                </a:moveTo>
                <a:cubicBezTo>
                  <a:pt x="1579" y="46"/>
                  <a:pt x="1579" y="46"/>
                  <a:pt x="1579" y="46"/>
                </a:cubicBezTo>
                <a:cubicBezTo>
                  <a:pt x="1579" y="46"/>
                  <a:pt x="1579" y="46"/>
                  <a:pt x="1579" y="45"/>
                </a:cubicBezTo>
                <a:close/>
                <a:moveTo>
                  <a:pt x="1486" y="28"/>
                </a:moveTo>
                <a:cubicBezTo>
                  <a:pt x="1486" y="28"/>
                  <a:pt x="1485" y="29"/>
                  <a:pt x="1485" y="29"/>
                </a:cubicBezTo>
                <a:cubicBezTo>
                  <a:pt x="1486" y="29"/>
                  <a:pt x="1486" y="29"/>
                  <a:pt x="1486" y="28"/>
                </a:cubicBezTo>
                <a:close/>
                <a:moveTo>
                  <a:pt x="957" y="29"/>
                </a:moveTo>
                <a:cubicBezTo>
                  <a:pt x="957" y="29"/>
                  <a:pt x="958" y="29"/>
                  <a:pt x="958" y="29"/>
                </a:cubicBezTo>
                <a:cubicBezTo>
                  <a:pt x="957" y="29"/>
                  <a:pt x="957" y="29"/>
                  <a:pt x="957" y="29"/>
                </a:cubicBezTo>
                <a:close/>
                <a:moveTo>
                  <a:pt x="1485" y="29"/>
                </a:moveTo>
                <a:cubicBezTo>
                  <a:pt x="1485" y="29"/>
                  <a:pt x="1485" y="29"/>
                  <a:pt x="1485" y="29"/>
                </a:cubicBezTo>
                <a:cubicBezTo>
                  <a:pt x="1485" y="29"/>
                  <a:pt x="1485" y="29"/>
                  <a:pt x="1485" y="29"/>
                </a:cubicBezTo>
                <a:close/>
                <a:moveTo>
                  <a:pt x="1413" y="30"/>
                </a:moveTo>
                <a:cubicBezTo>
                  <a:pt x="1413" y="30"/>
                  <a:pt x="1413" y="29"/>
                  <a:pt x="1413" y="29"/>
                </a:cubicBezTo>
                <a:cubicBezTo>
                  <a:pt x="1413" y="29"/>
                  <a:pt x="1413" y="30"/>
                  <a:pt x="1413" y="30"/>
                </a:cubicBezTo>
                <a:close/>
                <a:moveTo>
                  <a:pt x="1485" y="29"/>
                </a:moveTo>
                <a:cubicBezTo>
                  <a:pt x="1484" y="29"/>
                  <a:pt x="1484" y="29"/>
                  <a:pt x="1484" y="29"/>
                </a:cubicBezTo>
                <a:cubicBezTo>
                  <a:pt x="1484" y="29"/>
                  <a:pt x="1484" y="29"/>
                  <a:pt x="1485" y="29"/>
                </a:cubicBezTo>
                <a:close/>
                <a:moveTo>
                  <a:pt x="1681" y="45"/>
                </a:moveTo>
                <a:cubicBezTo>
                  <a:pt x="1681" y="46"/>
                  <a:pt x="1681" y="46"/>
                  <a:pt x="1681" y="46"/>
                </a:cubicBezTo>
                <a:cubicBezTo>
                  <a:pt x="1681" y="46"/>
                  <a:pt x="1681" y="46"/>
                  <a:pt x="1681" y="45"/>
                </a:cubicBezTo>
                <a:close/>
                <a:moveTo>
                  <a:pt x="1484" y="29"/>
                </a:moveTo>
                <a:cubicBezTo>
                  <a:pt x="1483" y="29"/>
                  <a:pt x="1483" y="30"/>
                  <a:pt x="1483" y="30"/>
                </a:cubicBezTo>
                <a:cubicBezTo>
                  <a:pt x="1483" y="30"/>
                  <a:pt x="1483" y="30"/>
                  <a:pt x="1484" y="29"/>
                </a:cubicBezTo>
                <a:close/>
                <a:moveTo>
                  <a:pt x="1744" y="50"/>
                </a:moveTo>
                <a:cubicBezTo>
                  <a:pt x="1744" y="51"/>
                  <a:pt x="1744" y="51"/>
                  <a:pt x="1744" y="51"/>
                </a:cubicBezTo>
                <a:cubicBezTo>
                  <a:pt x="1744" y="51"/>
                  <a:pt x="1744" y="51"/>
                  <a:pt x="1744" y="50"/>
                </a:cubicBezTo>
                <a:close/>
                <a:moveTo>
                  <a:pt x="1747" y="45"/>
                </a:moveTo>
                <a:cubicBezTo>
                  <a:pt x="1747" y="46"/>
                  <a:pt x="1747" y="46"/>
                  <a:pt x="1747" y="46"/>
                </a:cubicBezTo>
                <a:cubicBezTo>
                  <a:pt x="1747" y="46"/>
                  <a:pt x="1747" y="46"/>
                  <a:pt x="1747" y="45"/>
                </a:cubicBezTo>
                <a:close/>
                <a:moveTo>
                  <a:pt x="970" y="30"/>
                </a:moveTo>
                <a:cubicBezTo>
                  <a:pt x="969" y="30"/>
                  <a:pt x="969" y="31"/>
                  <a:pt x="969" y="31"/>
                </a:cubicBezTo>
                <a:cubicBezTo>
                  <a:pt x="970" y="31"/>
                  <a:pt x="970" y="30"/>
                  <a:pt x="970" y="30"/>
                </a:cubicBezTo>
                <a:close/>
                <a:moveTo>
                  <a:pt x="1482" y="30"/>
                </a:moveTo>
                <a:cubicBezTo>
                  <a:pt x="1481" y="30"/>
                  <a:pt x="1481" y="30"/>
                  <a:pt x="1481" y="30"/>
                </a:cubicBezTo>
                <a:cubicBezTo>
                  <a:pt x="1481" y="30"/>
                  <a:pt x="1482" y="30"/>
                  <a:pt x="1482" y="30"/>
                </a:cubicBezTo>
                <a:close/>
                <a:moveTo>
                  <a:pt x="956" y="31"/>
                </a:moveTo>
                <a:cubicBezTo>
                  <a:pt x="957" y="31"/>
                  <a:pt x="957" y="31"/>
                  <a:pt x="957" y="31"/>
                </a:cubicBezTo>
                <a:cubicBezTo>
                  <a:pt x="956" y="31"/>
                  <a:pt x="956" y="31"/>
                  <a:pt x="956" y="31"/>
                </a:cubicBezTo>
                <a:close/>
                <a:moveTo>
                  <a:pt x="1481" y="31"/>
                </a:moveTo>
                <a:cubicBezTo>
                  <a:pt x="1480" y="30"/>
                  <a:pt x="1480" y="31"/>
                  <a:pt x="1480" y="31"/>
                </a:cubicBezTo>
                <a:cubicBezTo>
                  <a:pt x="1480" y="31"/>
                  <a:pt x="1481" y="31"/>
                  <a:pt x="1481" y="31"/>
                </a:cubicBezTo>
                <a:close/>
                <a:moveTo>
                  <a:pt x="1112" y="53"/>
                </a:moveTo>
                <a:cubicBezTo>
                  <a:pt x="1112" y="53"/>
                  <a:pt x="1112" y="54"/>
                  <a:pt x="1112" y="54"/>
                </a:cubicBezTo>
                <a:cubicBezTo>
                  <a:pt x="1112" y="54"/>
                  <a:pt x="1112" y="53"/>
                  <a:pt x="1112" y="53"/>
                </a:cubicBezTo>
                <a:close/>
                <a:moveTo>
                  <a:pt x="956" y="32"/>
                </a:moveTo>
                <a:cubicBezTo>
                  <a:pt x="956" y="32"/>
                  <a:pt x="956" y="32"/>
                  <a:pt x="956" y="31"/>
                </a:cubicBezTo>
                <a:cubicBezTo>
                  <a:pt x="956" y="31"/>
                  <a:pt x="956" y="32"/>
                  <a:pt x="956" y="32"/>
                </a:cubicBezTo>
                <a:close/>
                <a:moveTo>
                  <a:pt x="969" y="31"/>
                </a:moveTo>
                <a:cubicBezTo>
                  <a:pt x="969" y="31"/>
                  <a:pt x="969" y="32"/>
                  <a:pt x="969" y="32"/>
                </a:cubicBezTo>
                <a:cubicBezTo>
                  <a:pt x="969" y="32"/>
                  <a:pt x="969" y="31"/>
                  <a:pt x="969" y="31"/>
                </a:cubicBezTo>
                <a:close/>
                <a:moveTo>
                  <a:pt x="597" y="47"/>
                </a:moveTo>
                <a:cubicBezTo>
                  <a:pt x="597" y="46"/>
                  <a:pt x="597" y="46"/>
                  <a:pt x="597" y="46"/>
                </a:cubicBezTo>
                <a:cubicBezTo>
                  <a:pt x="597" y="46"/>
                  <a:pt x="597" y="46"/>
                  <a:pt x="597" y="47"/>
                </a:cubicBezTo>
                <a:close/>
                <a:moveTo>
                  <a:pt x="608" y="46"/>
                </a:moveTo>
                <a:cubicBezTo>
                  <a:pt x="608" y="46"/>
                  <a:pt x="608" y="46"/>
                  <a:pt x="609" y="47"/>
                </a:cubicBezTo>
                <a:cubicBezTo>
                  <a:pt x="609" y="46"/>
                  <a:pt x="609" y="46"/>
                  <a:pt x="608" y="46"/>
                </a:cubicBezTo>
                <a:close/>
                <a:moveTo>
                  <a:pt x="968" y="32"/>
                </a:moveTo>
                <a:cubicBezTo>
                  <a:pt x="968" y="32"/>
                  <a:pt x="968" y="33"/>
                  <a:pt x="968" y="33"/>
                </a:cubicBezTo>
                <a:cubicBezTo>
                  <a:pt x="968" y="33"/>
                  <a:pt x="968" y="33"/>
                  <a:pt x="968" y="32"/>
                </a:cubicBezTo>
                <a:close/>
                <a:moveTo>
                  <a:pt x="955" y="34"/>
                </a:moveTo>
                <a:cubicBezTo>
                  <a:pt x="955" y="33"/>
                  <a:pt x="955" y="33"/>
                  <a:pt x="955" y="33"/>
                </a:cubicBezTo>
                <a:cubicBezTo>
                  <a:pt x="955" y="33"/>
                  <a:pt x="955" y="33"/>
                  <a:pt x="955" y="34"/>
                </a:cubicBezTo>
                <a:close/>
                <a:moveTo>
                  <a:pt x="968" y="33"/>
                </a:moveTo>
                <a:cubicBezTo>
                  <a:pt x="968" y="33"/>
                  <a:pt x="968" y="33"/>
                  <a:pt x="968" y="34"/>
                </a:cubicBezTo>
                <a:cubicBezTo>
                  <a:pt x="968" y="33"/>
                  <a:pt x="968" y="33"/>
                  <a:pt x="968" y="33"/>
                </a:cubicBezTo>
                <a:close/>
                <a:moveTo>
                  <a:pt x="855" y="33"/>
                </a:moveTo>
                <a:cubicBezTo>
                  <a:pt x="855" y="34"/>
                  <a:pt x="855" y="34"/>
                  <a:pt x="856" y="34"/>
                </a:cubicBezTo>
                <a:cubicBezTo>
                  <a:pt x="855" y="33"/>
                  <a:pt x="855" y="33"/>
                  <a:pt x="855" y="33"/>
                </a:cubicBezTo>
                <a:close/>
                <a:moveTo>
                  <a:pt x="769" y="34"/>
                </a:moveTo>
                <a:cubicBezTo>
                  <a:pt x="769" y="34"/>
                  <a:pt x="770" y="34"/>
                  <a:pt x="770" y="34"/>
                </a:cubicBezTo>
                <a:cubicBezTo>
                  <a:pt x="769" y="34"/>
                  <a:pt x="769" y="34"/>
                  <a:pt x="769" y="34"/>
                </a:cubicBezTo>
                <a:close/>
                <a:moveTo>
                  <a:pt x="787" y="34"/>
                </a:moveTo>
                <a:cubicBezTo>
                  <a:pt x="787" y="34"/>
                  <a:pt x="787" y="34"/>
                  <a:pt x="788" y="34"/>
                </a:cubicBezTo>
                <a:cubicBezTo>
                  <a:pt x="787" y="34"/>
                  <a:pt x="787" y="34"/>
                  <a:pt x="787" y="34"/>
                </a:cubicBezTo>
                <a:close/>
                <a:moveTo>
                  <a:pt x="856" y="34"/>
                </a:moveTo>
                <a:cubicBezTo>
                  <a:pt x="856" y="34"/>
                  <a:pt x="856" y="34"/>
                  <a:pt x="857" y="34"/>
                </a:cubicBezTo>
                <a:cubicBezTo>
                  <a:pt x="856" y="34"/>
                  <a:pt x="856" y="34"/>
                  <a:pt x="856" y="34"/>
                </a:cubicBezTo>
                <a:close/>
                <a:moveTo>
                  <a:pt x="882" y="34"/>
                </a:moveTo>
                <a:cubicBezTo>
                  <a:pt x="882" y="34"/>
                  <a:pt x="882" y="34"/>
                  <a:pt x="882" y="34"/>
                </a:cubicBezTo>
                <a:cubicBezTo>
                  <a:pt x="882" y="34"/>
                  <a:pt x="882" y="34"/>
                  <a:pt x="882" y="34"/>
                </a:cubicBezTo>
                <a:close/>
                <a:moveTo>
                  <a:pt x="955" y="34"/>
                </a:moveTo>
                <a:cubicBezTo>
                  <a:pt x="955" y="34"/>
                  <a:pt x="955" y="34"/>
                  <a:pt x="955" y="34"/>
                </a:cubicBezTo>
                <a:cubicBezTo>
                  <a:pt x="955" y="34"/>
                  <a:pt x="955" y="34"/>
                  <a:pt x="955" y="34"/>
                </a:cubicBezTo>
                <a:close/>
                <a:moveTo>
                  <a:pt x="968" y="34"/>
                </a:moveTo>
                <a:cubicBezTo>
                  <a:pt x="967" y="34"/>
                  <a:pt x="967" y="34"/>
                  <a:pt x="967" y="34"/>
                </a:cubicBezTo>
                <a:cubicBezTo>
                  <a:pt x="968" y="34"/>
                  <a:pt x="968" y="34"/>
                  <a:pt x="968" y="34"/>
                </a:cubicBezTo>
                <a:close/>
                <a:moveTo>
                  <a:pt x="1300" y="34"/>
                </a:moveTo>
                <a:cubicBezTo>
                  <a:pt x="1300" y="34"/>
                  <a:pt x="1301" y="34"/>
                  <a:pt x="1301" y="34"/>
                </a:cubicBezTo>
                <a:cubicBezTo>
                  <a:pt x="1301" y="34"/>
                  <a:pt x="1300" y="34"/>
                  <a:pt x="1300" y="34"/>
                </a:cubicBezTo>
                <a:close/>
                <a:moveTo>
                  <a:pt x="1311" y="34"/>
                </a:moveTo>
                <a:cubicBezTo>
                  <a:pt x="1312" y="34"/>
                  <a:pt x="1312" y="34"/>
                  <a:pt x="1312" y="34"/>
                </a:cubicBezTo>
                <a:cubicBezTo>
                  <a:pt x="1312" y="34"/>
                  <a:pt x="1312" y="34"/>
                  <a:pt x="1311" y="34"/>
                </a:cubicBezTo>
                <a:close/>
                <a:moveTo>
                  <a:pt x="768" y="34"/>
                </a:moveTo>
                <a:cubicBezTo>
                  <a:pt x="768" y="34"/>
                  <a:pt x="768" y="34"/>
                  <a:pt x="769" y="34"/>
                </a:cubicBezTo>
                <a:cubicBezTo>
                  <a:pt x="768" y="34"/>
                  <a:pt x="768" y="34"/>
                  <a:pt x="768" y="34"/>
                </a:cubicBezTo>
                <a:close/>
                <a:moveTo>
                  <a:pt x="788" y="34"/>
                </a:moveTo>
                <a:cubicBezTo>
                  <a:pt x="788" y="34"/>
                  <a:pt x="788" y="34"/>
                  <a:pt x="789" y="34"/>
                </a:cubicBezTo>
                <a:cubicBezTo>
                  <a:pt x="789" y="34"/>
                  <a:pt x="788" y="34"/>
                  <a:pt x="788" y="34"/>
                </a:cubicBezTo>
                <a:close/>
                <a:moveTo>
                  <a:pt x="840" y="34"/>
                </a:moveTo>
                <a:cubicBezTo>
                  <a:pt x="840" y="34"/>
                  <a:pt x="840" y="34"/>
                  <a:pt x="840" y="34"/>
                </a:cubicBezTo>
                <a:cubicBezTo>
                  <a:pt x="840" y="34"/>
                  <a:pt x="840" y="34"/>
                  <a:pt x="840" y="34"/>
                </a:cubicBezTo>
                <a:close/>
                <a:moveTo>
                  <a:pt x="857" y="34"/>
                </a:moveTo>
                <a:cubicBezTo>
                  <a:pt x="857" y="34"/>
                  <a:pt x="857" y="34"/>
                  <a:pt x="858" y="34"/>
                </a:cubicBezTo>
                <a:cubicBezTo>
                  <a:pt x="857" y="34"/>
                  <a:pt x="857" y="34"/>
                  <a:pt x="857" y="34"/>
                </a:cubicBezTo>
                <a:close/>
                <a:moveTo>
                  <a:pt x="881" y="34"/>
                </a:moveTo>
                <a:cubicBezTo>
                  <a:pt x="881" y="34"/>
                  <a:pt x="881" y="34"/>
                  <a:pt x="881" y="34"/>
                </a:cubicBezTo>
                <a:cubicBezTo>
                  <a:pt x="881" y="34"/>
                  <a:pt x="881" y="34"/>
                  <a:pt x="881" y="34"/>
                </a:cubicBezTo>
                <a:close/>
                <a:moveTo>
                  <a:pt x="899" y="34"/>
                </a:moveTo>
                <a:cubicBezTo>
                  <a:pt x="900" y="34"/>
                  <a:pt x="900" y="34"/>
                  <a:pt x="900" y="34"/>
                </a:cubicBezTo>
                <a:cubicBezTo>
                  <a:pt x="900" y="34"/>
                  <a:pt x="900" y="34"/>
                  <a:pt x="899" y="34"/>
                </a:cubicBezTo>
                <a:close/>
                <a:moveTo>
                  <a:pt x="1123" y="34"/>
                </a:moveTo>
                <a:cubicBezTo>
                  <a:pt x="1123" y="34"/>
                  <a:pt x="1123" y="34"/>
                  <a:pt x="1123" y="34"/>
                </a:cubicBezTo>
                <a:cubicBezTo>
                  <a:pt x="1123" y="34"/>
                  <a:pt x="1123" y="34"/>
                  <a:pt x="1123" y="34"/>
                </a:cubicBezTo>
                <a:close/>
                <a:moveTo>
                  <a:pt x="1141" y="34"/>
                </a:moveTo>
                <a:cubicBezTo>
                  <a:pt x="1141" y="34"/>
                  <a:pt x="1142" y="34"/>
                  <a:pt x="1142" y="34"/>
                </a:cubicBezTo>
                <a:cubicBezTo>
                  <a:pt x="1142" y="34"/>
                  <a:pt x="1142" y="34"/>
                  <a:pt x="1141" y="34"/>
                </a:cubicBezTo>
                <a:close/>
                <a:moveTo>
                  <a:pt x="1228" y="34"/>
                </a:moveTo>
                <a:cubicBezTo>
                  <a:pt x="1228" y="34"/>
                  <a:pt x="1228" y="34"/>
                  <a:pt x="1229" y="34"/>
                </a:cubicBezTo>
                <a:cubicBezTo>
                  <a:pt x="1228" y="34"/>
                  <a:pt x="1228" y="34"/>
                  <a:pt x="1228" y="34"/>
                </a:cubicBezTo>
                <a:close/>
                <a:moveTo>
                  <a:pt x="1299" y="34"/>
                </a:moveTo>
                <a:cubicBezTo>
                  <a:pt x="1299" y="34"/>
                  <a:pt x="1300" y="34"/>
                  <a:pt x="1300" y="34"/>
                </a:cubicBezTo>
                <a:cubicBezTo>
                  <a:pt x="1300" y="34"/>
                  <a:pt x="1299" y="34"/>
                  <a:pt x="1299" y="34"/>
                </a:cubicBezTo>
                <a:close/>
                <a:moveTo>
                  <a:pt x="671" y="35"/>
                </a:moveTo>
                <a:cubicBezTo>
                  <a:pt x="671" y="35"/>
                  <a:pt x="671" y="35"/>
                  <a:pt x="671" y="34"/>
                </a:cubicBezTo>
                <a:cubicBezTo>
                  <a:pt x="671" y="34"/>
                  <a:pt x="671" y="34"/>
                  <a:pt x="671" y="35"/>
                </a:cubicBezTo>
                <a:close/>
                <a:moveTo>
                  <a:pt x="693" y="34"/>
                </a:moveTo>
                <a:cubicBezTo>
                  <a:pt x="694" y="35"/>
                  <a:pt x="694" y="35"/>
                  <a:pt x="694" y="35"/>
                </a:cubicBezTo>
                <a:cubicBezTo>
                  <a:pt x="694" y="34"/>
                  <a:pt x="694" y="34"/>
                  <a:pt x="693" y="34"/>
                </a:cubicBezTo>
                <a:close/>
                <a:moveTo>
                  <a:pt x="767" y="35"/>
                </a:moveTo>
                <a:cubicBezTo>
                  <a:pt x="767" y="35"/>
                  <a:pt x="767" y="35"/>
                  <a:pt x="768" y="34"/>
                </a:cubicBezTo>
                <a:cubicBezTo>
                  <a:pt x="767" y="34"/>
                  <a:pt x="767" y="34"/>
                  <a:pt x="767" y="35"/>
                </a:cubicBezTo>
                <a:close/>
                <a:moveTo>
                  <a:pt x="789" y="34"/>
                </a:moveTo>
                <a:cubicBezTo>
                  <a:pt x="789" y="35"/>
                  <a:pt x="789" y="35"/>
                  <a:pt x="790" y="35"/>
                </a:cubicBezTo>
                <a:cubicBezTo>
                  <a:pt x="790" y="34"/>
                  <a:pt x="789" y="34"/>
                  <a:pt x="789" y="34"/>
                </a:cubicBezTo>
                <a:close/>
                <a:moveTo>
                  <a:pt x="839" y="35"/>
                </a:moveTo>
                <a:cubicBezTo>
                  <a:pt x="839" y="35"/>
                  <a:pt x="839" y="35"/>
                  <a:pt x="839" y="34"/>
                </a:cubicBezTo>
                <a:cubicBezTo>
                  <a:pt x="839" y="34"/>
                  <a:pt x="839" y="34"/>
                  <a:pt x="839" y="35"/>
                </a:cubicBezTo>
                <a:close/>
                <a:moveTo>
                  <a:pt x="858" y="34"/>
                </a:moveTo>
                <a:cubicBezTo>
                  <a:pt x="858" y="35"/>
                  <a:pt x="858" y="35"/>
                  <a:pt x="858" y="35"/>
                </a:cubicBezTo>
                <a:cubicBezTo>
                  <a:pt x="858" y="34"/>
                  <a:pt x="858" y="34"/>
                  <a:pt x="858" y="34"/>
                </a:cubicBezTo>
                <a:close/>
                <a:moveTo>
                  <a:pt x="880" y="35"/>
                </a:moveTo>
                <a:cubicBezTo>
                  <a:pt x="880" y="35"/>
                  <a:pt x="880" y="35"/>
                  <a:pt x="881" y="34"/>
                </a:cubicBezTo>
                <a:cubicBezTo>
                  <a:pt x="880" y="34"/>
                  <a:pt x="880" y="34"/>
                  <a:pt x="880" y="35"/>
                </a:cubicBezTo>
                <a:close/>
                <a:moveTo>
                  <a:pt x="900" y="34"/>
                </a:moveTo>
                <a:cubicBezTo>
                  <a:pt x="901" y="35"/>
                  <a:pt x="901" y="35"/>
                  <a:pt x="901" y="35"/>
                </a:cubicBezTo>
                <a:cubicBezTo>
                  <a:pt x="901" y="34"/>
                  <a:pt x="901" y="34"/>
                  <a:pt x="900" y="34"/>
                </a:cubicBezTo>
                <a:close/>
                <a:moveTo>
                  <a:pt x="954" y="35"/>
                </a:moveTo>
                <a:cubicBezTo>
                  <a:pt x="955" y="35"/>
                  <a:pt x="955" y="35"/>
                  <a:pt x="955" y="34"/>
                </a:cubicBezTo>
                <a:cubicBezTo>
                  <a:pt x="954" y="35"/>
                  <a:pt x="954" y="35"/>
                  <a:pt x="954" y="35"/>
                </a:cubicBezTo>
                <a:close/>
                <a:moveTo>
                  <a:pt x="967" y="34"/>
                </a:moveTo>
                <a:cubicBezTo>
                  <a:pt x="967" y="34"/>
                  <a:pt x="967" y="35"/>
                  <a:pt x="967" y="35"/>
                </a:cubicBezTo>
                <a:cubicBezTo>
                  <a:pt x="967" y="35"/>
                  <a:pt x="967" y="35"/>
                  <a:pt x="967" y="34"/>
                </a:cubicBezTo>
                <a:close/>
                <a:moveTo>
                  <a:pt x="1049" y="35"/>
                </a:moveTo>
                <a:cubicBezTo>
                  <a:pt x="1049" y="35"/>
                  <a:pt x="1050" y="35"/>
                  <a:pt x="1050" y="34"/>
                </a:cubicBezTo>
                <a:cubicBezTo>
                  <a:pt x="1050" y="34"/>
                  <a:pt x="1049" y="34"/>
                  <a:pt x="1049" y="35"/>
                </a:cubicBezTo>
                <a:close/>
                <a:moveTo>
                  <a:pt x="1071" y="34"/>
                </a:moveTo>
                <a:cubicBezTo>
                  <a:pt x="1071" y="35"/>
                  <a:pt x="1071" y="35"/>
                  <a:pt x="1072" y="35"/>
                </a:cubicBezTo>
                <a:cubicBezTo>
                  <a:pt x="1072" y="34"/>
                  <a:pt x="1071" y="34"/>
                  <a:pt x="1071" y="34"/>
                </a:cubicBezTo>
                <a:close/>
                <a:moveTo>
                  <a:pt x="1122" y="35"/>
                </a:moveTo>
                <a:cubicBezTo>
                  <a:pt x="1122" y="35"/>
                  <a:pt x="1122" y="35"/>
                  <a:pt x="1122" y="34"/>
                </a:cubicBezTo>
                <a:cubicBezTo>
                  <a:pt x="1122" y="34"/>
                  <a:pt x="1122" y="34"/>
                  <a:pt x="1122" y="35"/>
                </a:cubicBezTo>
                <a:close/>
                <a:moveTo>
                  <a:pt x="1142" y="34"/>
                </a:moveTo>
                <a:cubicBezTo>
                  <a:pt x="1142" y="35"/>
                  <a:pt x="1142" y="35"/>
                  <a:pt x="1143" y="35"/>
                </a:cubicBezTo>
                <a:cubicBezTo>
                  <a:pt x="1143" y="34"/>
                  <a:pt x="1142" y="34"/>
                  <a:pt x="1142" y="34"/>
                </a:cubicBezTo>
                <a:close/>
                <a:moveTo>
                  <a:pt x="1249" y="34"/>
                </a:moveTo>
                <a:cubicBezTo>
                  <a:pt x="1249" y="35"/>
                  <a:pt x="1249" y="35"/>
                  <a:pt x="1250" y="35"/>
                </a:cubicBezTo>
                <a:cubicBezTo>
                  <a:pt x="1249" y="34"/>
                  <a:pt x="1249" y="34"/>
                  <a:pt x="1249" y="34"/>
                </a:cubicBezTo>
                <a:close/>
                <a:moveTo>
                  <a:pt x="1298" y="35"/>
                </a:moveTo>
                <a:cubicBezTo>
                  <a:pt x="1299" y="35"/>
                  <a:pt x="1299" y="35"/>
                  <a:pt x="1299" y="34"/>
                </a:cubicBezTo>
                <a:cubicBezTo>
                  <a:pt x="1299" y="34"/>
                  <a:pt x="1299" y="34"/>
                  <a:pt x="1298" y="35"/>
                </a:cubicBezTo>
                <a:close/>
                <a:moveTo>
                  <a:pt x="644" y="35"/>
                </a:moveTo>
                <a:cubicBezTo>
                  <a:pt x="644" y="35"/>
                  <a:pt x="644" y="35"/>
                  <a:pt x="644" y="35"/>
                </a:cubicBezTo>
                <a:cubicBezTo>
                  <a:pt x="644" y="35"/>
                  <a:pt x="644" y="35"/>
                  <a:pt x="644" y="35"/>
                </a:cubicBezTo>
                <a:close/>
                <a:moveTo>
                  <a:pt x="656" y="35"/>
                </a:moveTo>
                <a:cubicBezTo>
                  <a:pt x="655" y="35"/>
                  <a:pt x="655" y="35"/>
                  <a:pt x="655" y="35"/>
                </a:cubicBezTo>
                <a:cubicBezTo>
                  <a:pt x="656" y="35"/>
                  <a:pt x="656" y="35"/>
                  <a:pt x="656" y="35"/>
                </a:cubicBezTo>
                <a:close/>
                <a:moveTo>
                  <a:pt x="670" y="35"/>
                </a:moveTo>
                <a:cubicBezTo>
                  <a:pt x="670" y="35"/>
                  <a:pt x="671" y="35"/>
                  <a:pt x="671" y="35"/>
                </a:cubicBezTo>
                <a:cubicBezTo>
                  <a:pt x="670" y="35"/>
                  <a:pt x="670" y="35"/>
                  <a:pt x="670" y="35"/>
                </a:cubicBezTo>
                <a:close/>
                <a:moveTo>
                  <a:pt x="694" y="35"/>
                </a:moveTo>
                <a:cubicBezTo>
                  <a:pt x="695" y="35"/>
                  <a:pt x="695" y="35"/>
                  <a:pt x="695" y="35"/>
                </a:cubicBezTo>
                <a:cubicBezTo>
                  <a:pt x="695" y="35"/>
                  <a:pt x="695" y="35"/>
                  <a:pt x="694" y="35"/>
                </a:cubicBezTo>
                <a:close/>
                <a:moveTo>
                  <a:pt x="766" y="35"/>
                </a:moveTo>
                <a:cubicBezTo>
                  <a:pt x="766" y="35"/>
                  <a:pt x="767" y="35"/>
                  <a:pt x="767" y="35"/>
                </a:cubicBezTo>
                <a:cubicBezTo>
                  <a:pt x="767" y="35"/>
                  <a:pt x="766" y="35"/>
                  <a:pt x="766" y="35"/>
                </a:cubicBezTo>
                <a:close/>
                <a:moveTo>
                  <a:pt x="790" y="35"/>
                </a:moveTo>
                <a:cubicBezTo>
                  <a:pt x="790" y="35"/>
                  <a:pt x="790" y="35"/>
                  <a:pt x="790" y="35"/>
                </a:cubicBezTo>
                <a:cubicBezTo>
                  <a:pt x="790" y="35"/>
                  <a:pt x="790" y="35"/>
                  <a:pt x="790" y="35"/>
                </a:cubicBezTo>
                <a:close/>
                <a:moveTo>
                  <a:pt x="838" y="35"/>
                </a:moveTo>
                <a:cubicBezTo>
                  <a:pt x="838" y="35"/>
                  <a:pt x="838" y="35"/>
                  <a:pt x="839" y="35"/>
                </a:cubicBezTo>
                <a:cubicBezTo>
                  <a:pt x="838" y="35"/>
                  <a:pt x="838" y="35"/>
                  <a:pt x="838" y="35"/>
                </a:cubicBezTo>
                <a:close/>
                <a:moveTo>
                  <a:pt x="858" y="35"/>
                </a:moveTo>
                <a:cubicBezTo>
                  <a:pt x="858" y="35"/>
                  <a:pt x="859" y="35"/>
                  <a:pt x="859" y="35"/>
                </a:cubicBezTo>
                <a:cubicBezTo>
                  <a:pt x="859" y="35"/>
                  <a:pt x="859" y="35"/>
                  <a:pt x="858" y="35"/>
                </a:cubicBezTo>
                <a:close/>
                <a:moveTo>
                  <a:pt x="879" y="35"/>
                </a:moveTo>
                <a:cubicBezTo>
                  <a:pt x="879" y="35"/>
                  <a:pt x="880" y="35"/>
                  <a:pt x="880" y="35"/>
                </a:cubicBezTo>
                <a:cubicBezTo>
                  <a:pt x="879" y="35"/>
                  <a:pt x="879" y="35"/>
                  <a:pt x="879" y="35"/>
                </a:cubicBezTo>
                <a:close/>
                <a:moveTo>
                  <a:pt x="901" y="35"/>
                </a:moveTo>
                <a:cubicBezTo>
                  <a:pt x="901" y="35"/>
                  <a:pt x="902" y="35"/>
                  <a:pt x="902" y="35"/>
                </a:cubicBezTo>
                <a:cubicBezTo>
                  <a:pt x="902" y="35"/>
                  <a:pt x="901" y="35"/>
                  <a:pt x="901" y="35"/>
                </a:cubicBezTo>
                <a:close/>
                <a:moveTo>
                  <a:pt x="1048" y="35"/>
                </a:moveTo>
                <a:cubicBezTo>
                  <a:pt x="1048" y="35"/>
                  <a:pt x="1049" y="35"/>
                  <a:pt x="1049" y="35"/>
                </a:cubicBezTo>
                <a:cubicBezTo>
                  <a:pt x="1049" y="35"/>
                  <a:pt x="1048" y="35"/>
                  <a:pt x="1048" y="35"/>
                </a:cubicBezTo>
                <a:close/>
                <a:moveTo>
                  <a:pt x="1072" y="35"/>
                </a:moveTo>
                <a:cubicBezTo>
                  <a:pt x="1072" y="35"/>
                  <a:pt x="1072" y="35"/>
                  <a:pt x="1073" y="35"/>
                </a:cubicBezTo>
                <a:cubicBezTo>
                  <a:pt x="1073" y="35"/>
                  <a:pt x="1072" y="35"/>
                  <a:pt x="1072" y="35"/>
                </a:cubicBezTo>
                <a:close/>
                <a:moveTo>
                  <a:pt x="1121" y="35"/>
                </a:moveTo>
                <a:cubicBezTo>
                  <a:pt x="1121" y="35"/>
                  <a:pt x="1121" y="35"/>
                  <a:pt x="1122" y="35"/>
                </a:cubicBezTo>
                <a:cubicBezTo>
                  <a:pt x="1121" y="35"/>
                  <a:pt x="1121" y="35"/>
                  <a:pt x="1121" y="35"/>
                </a:cubicBezTo>
                <a:close/>
                <a:moveTo>
                  <a:pt x="1226" y="35"/>
                </a:moveTo>
                <a:cubicBezTo>
                  <a:pt x="1226" y="35"/>
                  <a:pt x="1227" y="35"/>
                  <a:pt x="1227" y="35"/>
                </a:cubicBezTo>
                <a:cubicBezTo>
                  <a:pt x="1226" y="35"/>
                  <a:pt x="1226" y="35"/>
                  <a:pt x="1226" y="35"/>
                </a:cubicBezTo>
                <a:close/>
                <a:moveTo>
                  <a:pt x="1250" y="35"/>
                </a:moveTo>
                <a:cubicBezTo>
                  <a:pt x="1250" y="35"/>
                  <a:pt x="1250" y="35"/>
                  <a:pt x="1250" y="35"/>
                </a:cubicBezTo>
                <a:cubicBezTo>
                  <a:pt x="1250" y="35"/>
                  <a:pt x="1250" y="35"/>
                  <a:pt x="1250" y="35"/>
                </a:cubicBezTo>
                <a:close/>
                <a:moveTo>
                  <a:pt x="1298" y="35"/>
                </a:moveTo>
                <a:cubicBezTo>
                  <a:pt x="1298" y="35"/>
                  <a:pt x="1298" y="35"/>
                  <a:pt x="1298" y="35"/>
                </a:cubicBezTo>
                <a:cubicBezTo>
                  <a:pt x="1298" y="35"/>
                  <a:pt x="1298" y="35"/>
                  <a:pt x="1298" y="35"/>
                </a:cubicBezTo>
                <a:close/>
                <a:moveTo>
                  <a:pt x="605" y="35"/>
                </a:moveTo>
                <a:cubicBezTo>
                  <a:pt x="605" y="35"/>
                  <a:pt x="605" y="36"/>
                  <a:pt x="605" y="36"/>
                </a:cubicBezTo>
                <a:cubicBezTo>
                  <a:pt x="605" y="35"/>
                  <a:pt x="605" y="35"/>
                  <a:pt x="605" y="35"/>
                </a:cubicBezTo>
                <a:close/>
                <a:moveTo>
                  <a:pt x="695" y="35"/>
                </a:moveTo>
                <a:cubicBezTo>
                  <a:pt x="695" y="35"/>
                  <a:pt x="696" y="35"/>
                  <a:pt x="696" y="35"/>
                </a:cubicBezTo>
                <a:cubicBezTo>
                  <a:pt x="696" y="35"/>
                  <a:pt x="695" y="35"/>
                  <a:pt x="695" y="35"/>
                </a:cubicBezTo>
                <a:close/>
                <a:moveTo>
                  <a:pt x="790" y="35"/>
                </a:moveTo>
                <a:cubicBezTo>
                  <a:pt x="791" y="35"/>
                  <a:pt x="791" y="35"/>
                  <a:pt x="791" y="35"/>
                </a:cubicBezTo>
                <a:cubicBezTo>
                  <a:pt x="791" y="35"/>
                  <a:pt x="791" y="35"/>
                  <a:pt x="790" y="35"/>
                </a:cubicBezTo>
                <a:close/>
                <a:moveTo>
                  <a:pt x="837" y="35"/>
                </a:moveTo>
                <a:cubicBezTo>
                  <a:pt x="837" y="35"/>
                  <a:pt x="838" y="35"/>
                  <a:pt x="838" y="35"/>
                </a:cubicBezTo>
                <a:cubicBezTo>
                  <a:pt x="838" y="35"/>
                  <a:pt x="837" y="35"/>
                  <a:pt x="837" y="35"/>
                </a:cubicBezTo>
                <a:close/>
                <a:moveTo>
                  <a:pt x="753" y="47"/>
                </a:moveTo>
                <a:cubicBezTo>
                  <a:pt x="753" y="46"/>
                  <a:pt x="753" y="46"/>
                  <a:pt x="753" y="46"/>
                </a:cubicBezTo>
                <a:cubicBezTo>
                  <a:pt x="753" y="46"/>
                  <a:pt x="753" y="46"/>
                  <a:pt x="753" y="47"/>
                </a:cubicBezTo>
                <a:close/>
                <a:moveTo>
                  <a:pt x="638" y="52"/>
                </a:moveTo>
                <a:cubicBezTo>
                  <a:pt x="638" y="51"/>
                  <a:pt x="638" y="51"/>
                  <a:pt x="638" y="51"/>
                </a:cubicBezTo>
                <a:cubicBezTo>
                  <a:pt x="638" y="51"/>
                  <a:pt x="638" y="51"/>
                  <a:pt x="638" y="52"/>
                </a:cubicBezTo>
                <a:close/>
                <a:moveTo>
                  <a:pt x="967" y="35"/>
                </a:moveTo>
                <a:cubicBezTo>
                  <a:pt x="967" y="35"/>
                  <a:pt x="967" y="35"/>
                  <a:pt x="967" y="36"/>
                </a:cubicBezTo>
                <a:cubicBezTo>
                  <a:pt x="967" y="36"/>
                  <a:pt x="967" y="35"/>
                  <a:pt x="967" y="35"/>
                </a:cubicBezTo>
                <a:close/>
                <a:moveTo>
                  <a:pt x="1047" y="35"/>
                </a:moveTo>
                <a:cubicBezTo>
                  <a:pt x="1048" y="35"/>
                  <a:pt x="1048" y="35"/>
                  <a:pt x="1048" y="35"/>
                </a:cubicBezTo>
                <a:cubicBezTo>
                  <a:pt x="1048" y="35"/>
                  <a:pt x="1048" y="35"/>
                  <a:pt x="1047" y="35"/>
                </a:cubicBezTo>
                <a:close/>
                <a:moveTo>
                  <a:pt x="1073" y="35"/>
                </a:moveTo>
                <a:cubicBezTo>
                  <a:pt x="1073" y="35"/>
                  <a:pt x="1073" y="35"/>
                  <a:pt x="1073" y="35"/>
                </a:cubicBezTo>
                <a:cubicBezTo>
                  <a:pt x="1073" y="35"/>
                  <a:pt x="1073" y="35"/>
                  <a:pt x="1073" y="35"/>
                </a:cubicBezTo>
                <a:close/>
                <a:moveTo>
                  <a:pt x="1120" y="35"/>
                </a:moveTo>
                <a:cubicBezTo>
                  <a:pt x="1120" y="35"/>
                  <a:pt x="1121" y="35"/>
                  <a:pt x="1121" y="35"/>
                </a:cubicBezTo>
                <a:cubicBezTo>
                  <a:pt x="1121" y="35"/>
                  <a:pt x="1120" y="35"/>
                  <a:pt x="1120" y="35"/>
                </a:cubicBezTo>
                <a:close/>
                <a:moveTo>
                  <a:pt x="1225" y="35"/>
                </a:moveTo>
                <a:cubicBezTo>
                  <a:pt x="1226" y="35"/>
                  <a:pt x="1226" y="35"/>
                  <a:pt x="1226" y="35"/>
                </a:cubicBezTo>
                <a:cubicBezTo>
                  <a:pt x="1226" y="35"/>
                  <a:pt x="1225" y="35"/>
                  <a:pt x="1225" y="35"/>
                </a:cubicBezTo>
                <a:close/>
                <a:moveTo>
                  <a:pt x="1251" y="35"/>
                </a:moveTo>
                <a:cubicBezTo>
                  <a:pt x="1251" y="35"/>
                  <a:pt x="1251" y="35"/>
                  <a:pt x="1251" y="35"/>
                </a:cubicBezTo>
                <a:cubicBezTo>
                  <a:pt x="1251" y="35"/>
                  <a:pt x="1251" y="35"/>
                  <a:pt x="1251" y="35"/>
                </a:cubicBezTo>
                <a:close/>
                <a:moveTo>
                  <a:pt x="549" y="35"/>
                </a:moveTo>
                <a:cubicBezTo>
                  <a:pt x="549" y="36"/>
                  <a:pt x="549" y="36"/>
                  <a:pt x="550" y="36"/>
                </a:cubicBezTo>
                <a:cubicBezTo>
                  <a:pt x="550" y="36"/>
                  <a:pt x="550" y="36"/>
                  <a:pt x="549" y="35"/>
                </a:cubicBezTo>
                <a:close/>
                <a:moveTo>
                  <a:pt x="593" y="36"/>
                </a:moveTo>
                <a:cubicBezTo>
                  <a:pt x="593" y="36"/>
                  <a:pt x="593" y="35"/>
                  <a:pt x="592" y="35"/>
                </a:cubicBezTo>
                <a:cubicBezTo>
                  <a:pt x="592" y="36"/>
                  <a:pt x="592" y="36"/>
                  <a:pt x="593" y="36"/>
                </a:cubicBezTo>
                <a:close/>
                <a:moveTo>
                  <a:pt x="655" y="35"/>
                </a:moveTo>
                <a:cubicBezTo>
                  <a:pt x="655" y="36"/>
                  <a:pt x="655" y="36"/>
                  <a:pt x="655" y="36"/>
                </a:cubicBezTo>
                <a:cubicBezTo>
                  <a:pt x="655" y="36"/>
                  <a:pt x="655" y="36"/>
                  <a:pt x="655" y="35"/>
                </a:cubicBezTo>
                <a:close/>
                <a:moveTo>
                  <a:pt x="831" y="51"/>
                </a:moveTo>
                <a:cubicBezTo>
                  <a:pt x="831" y="51"/>
                  <a:pt x="830" y="51"/>
                  <a:pt x="830" y="51"/>
                </a:cubicBezTo>
                <a:cubicBezTo>
                  <a:pt x="831" y="51"/>
                  <a:pt x="831" y="51"/>
                  <a:pt x="831" y="51"/>
                </a:cubicBezTo>
                <a:close/>
                <a:moveTo>
                  <a:pt x="696" y="35"/>
                </a:moveTo>
                <a:cubicBezTo>
                  <a:pt x="696" y="36"/>
                  <a:pt x="696" y="36"/>
                  <a:pt x="696" y="36"/>
                </a:cubicBezTo>
                <a:cubicBezTo>
                  <a:pt x="696" y="35"/>
                  <a:pt x="696" y="35"/>
                  <a:pt x="696" y="35"/>
                </a:cubicBezTo>
                <a:close/>
                <a:moveTo>
                  <a:pt x="764" y="36"/>
                </a:moveTo>
                <a:cubicBezTo>
                  <a:pt x="765" y="36"/>
                  <a:pt x="765" y="36"/>
                  <a:pt x="765" y="35"/>
                </a:cubicBezTo>
                <a:cubicBezTo>
                  <a:pt x="765" y="35"/>
                  <a:pt x="765" y="35"/>
                  <a:pt x="764" y="36"/>
                </a:cubicBezTo>
                <a:close/>
                <a:moveTo>
                  <a:pt x="791" y="35"/>
                </a:moveTo>
                <a:cubicBezTo>
                  <a:pt x="791" y="36"/>
                  <a:pt x="792" y="36"/>
                  <a:pt x="792" y="36"/>
                </a:cubicBezTo>
                <a:cubicBezTo>
                  <a:pt x="792" y="35"/>
                  <a:pt x="791" y="35"/>
                  <a:pt x="791" y="35"/>
                </a:cubicBezTo>
                <a:close/>
                <a:moveTo>
                  <a:pt x="1084" y="46"/>
                </a:moveTo>
                <a:cubicBezTo>
                  <a:pt x="1084" y="46"/>
                  <a:pt x="1084" y="46"/>
                  <a:pt x="1084" y="47"/>
                </a:cubicBezTo>
                <a:cubicBezTo>
                  <a:pt x="1084" y="46"/>
                  <a:pt x="1084" y="46"/>
                  <a:pt x="1084" y="46"/>
                </a:cubicBezTo>
                <a:close/>
                <a:moveTo>
                  <a:pt x="859" y="35"/>
                </a:moveTo>
                <a:cubicBezTo>
                  <a:pt x="860" y="36"/>
                  <a:pt x="860" y="36"/>
                  <a:pt x="860" y="36"/>
                </a:cubicBezTo>
                <a:cubicBezTo>
                  <a:pt x="860" y="35"/>
                  <a:pt x="860" y="35"/>
                  <a:pt x="859" y="35"/>
                </a:cubicBezTo>
                <a:close/>
                <a:moveTo>
                  <a:pt x="1032" y="51"/>
                </a:moveTo>
                <a:cubicBezTo>
                  <a:pt x="1033" y="51"/>
                  <a:pt x="1033" y="51"/>
                  <a:pt x="1033" y="51"/>
                </a:cubicBezTo>
                <a:cubicBezTo>
                  <a:pt x="1032" y="51"/>
                  <a:pt x="1032" y="51"/>
                  <a:pt x="1032" y="51"/>
                </a:cubicBezTo>
                <a:close/>
                <a:moveTo>
                  <a:pt x="954" y="36"/>
                </a:moveTo>
                <a:cubicBezTo>
                  <a:pt x="954" y="36"/>
                  <a:pt x="954" y="36"/>
                  <a:pt x="954" y="35"/>
                </a:cubicBezTo>
                <a:cubicBezTo>
                  <a:pt x="954" y="36"/>
                  <a:pt x="954" y="36"/>
                  <a:pt x="954" y="36"/>
                </a:cubicBezTo>
                <a:close/>
                <a:moveTo>
                  <a:pt x="1047" y="36"/>
                </a:moveTo>
                <a:cubicBezTo>
                  <a:pt x="1047" y="36"/>
                  <a:pt x="1047" y="36"/>
                  <a:pt x="1047" y="35"/>
                </a:cubicBezTo>
                <a:cubicBezTo>
                  <a:pt x="1047" y="35"/>
                  <a:pt x="1047" y="35"/>
                  <a:pt x="1047" y="36"/>
                </a:cubicBezTo>
                <a:close/>
                <a:moveTo>
                  <a:pt x="1073" y="35"/>
                </a:moveTo>
                <a:cubicBezTo>
                  <a:pt x="1074" y="36"/>
                  <a:pt x="1074" y="36"/>
                  <a:pt x="1074" y="36"/>
                </a:cubicBezTo>
                <a:cubicBezTo>
                  <a:pt x="1074" y="35"/>
                  <a:pt x="1074" y="35"/>
                  <a:pt x="1073" y="35"/>
                </a:cubicBezTo>
                <a:close/>
                <a:moveTo>
                  <a:pt x="1119" y="36"/>
                </a:moveTo>
                <a:cubicBezTo>
                  <a:pt x="1120" y="36"/>
                  <a:pt x="1120" y="36"/>
                  <a:pt x="1120" y="35"/>
                </a:cubicBezTo>
                <a:cubicBezTo>
                  <a:pt x="1120" y="35"/>
                  <a:pt x="1120" y="35"/>
                  <a:pt x="1119" y="36"/>
                </a:cubicBezTo>
                <a:close/>
                <a:moveTo>
                  <a:pt x="1144" y="35"/>
                </a:moveTo>
                <a:cubicBezTo>
                  <a:pt x="1144" y="36"/>
                  <a:pt x="1145" y="36"/>
                  <a:pt x="1145" y="36"/>
                </a:cubicBezTo>
                <a:cubicBezTo>
                  <a:pt x="1145" y="35"/>
                  <a:pt x="1144" y="35"/>
                  <a:pt x="1144" y="35"/>
                </a:cubicBezTo>
                <a:close/>
                <a:moveTo>
                  <a:pt x="1225" y="36"/>
                </a:moveTo>
                <a:cubicBezTo>
                  <a:pt x="1225" y="36"/>
                  <a:pt x="1225" y="36"/>
                  <a:pt x="1225" y="35"/>
                </a:cubicBezTo>
                <a:cubicBezTo>
                  <a:pt x="1225" y="35"/>
                  <a:pt x="1225" y="35"/>
                  <a:pt x="1225" y="36"/>
                </a:cubicBezTo>
                <a:close/>
                <a:moveTo>
                  <a:pt x="1251" y="35"/>
                </a:moveTo>
                <a:cubicBezTo>
                  <a:pt x="1251" y="36"/>
                  <a:pt x="1252" y="36"/>
                  <a:pt x="1252" y="36"/>
                </a:cubicBezTo>
                <a:cubicBezTo>
                  <a:pt x="1252" y="35"/>
                  <a:pt x="1252" y="35"/>
                  <a:pt x="1251" y="35"/>
                </a:cubicBezTo>
                <a:close/>
                <a:moveTo>
                  <a:pt x="1297" y="36"/>
                </a:moveTo>
                <a:cubicBezTo>
                  <a:pt x="1297" y="36"/>
                  <a:pt x="1297" y="36"/>
                  <a:pt x="1297" y="35"/>
                </a:cubicBezTo>
                <a:cubicBezTo>
                  <a:pt x="1297" y="35"/>
                  <a:pt x="1297" y="35"/>
                  <a:pt x="1297" y="36"/>
                </a:cubicBezTo>
                <a:close/>
                <a:moveTo>
                  <a:pt x="668" y="36"/>
                </a:moveTo>
                <a:cubicBezTo>
                  <a:pt x="668" y="36"/>
                  <a:pt x="668" y="36"/>
                  <a:pt x="669" y="36"/>
                </a:cubicBezTo>
                <a:cubicBezTo>
                  <a:pt x="668" y="36"/>
                  <a:pt x="668" y="36"/>
                  <a:pt x="668" y="36"/>
                </a:cubicBezTo>
                <a:close/>
                <a:moveTo>
                  <a:pt x="1296" y="46"/>
                </a:moveTo>
                <a:cubicBezTo>
                  <a:pt x="1296" y="46"/>
                  <a:pt x="1296" y="46"/>
                  <a:pt x="1296" y="46"/>
                </a:cubicBezTo>
                <a:cubicBezTo>
                  <a:pt x="1296" y="46"/>
                  <a:pt x="1296" y="46"/>
                  <a:pt x="1296" y="46"/>
                </a:cubicBezTo>
                <a:close/>
                <a:moveTo>
                  <a:pt x="792" y="36"/>
                </a:moveTo>
                <a:cubicBezTo>
                  <a:pt x="792" y="36"/>
                  <a:pt x="792" y="36"/>
                  <a:pt x="793" y="36"/>
                </a:cubicBezTo>
                <a:cubicBezTo>
                  <a:pt x="792" y="36"/>
                  <a:pt x="792" y="36"/>
                  <a:pt x="792" y="36"/>
                </a:cubicBezTo>
                <a:close/>
                <a:moveTo>
                  <a:pt x="836" y="36"/>
                </a:moveTo>
                <a:cubicBezTo>
                  <a:pt x="836" y="36"/>
                  <a:pt x="837" y="36"/>
                  <a:pt x="837" y="36"/>
                </a:cubicBezTo>
                <a:cubicBezTo>
                  <a:pt x="836" y="36"/>
                  <a:pt x="836" y="36"/>
                  <a:pt x="836" y="36"/>
                </a:cubicBezTo>
                <a:close/>
                <a:moveTo>
                  <a:pt x="860" y="36"/>
                </a:moveTo>
                <a:cubicBezTo>
                  <a:pt x="860" y="36"/>
                  <a:pt x="860" y="36"/>
                  <a:pt x="861" y="36"/>
                </a:cubicBezTo>
                <a:cubicBezTo>
                  <a:pt x="861" y="36"/>
                  <a:pt x="860" y="36"/>
                  <a:pt x="860" y="36"/>
                </a:cubicBezTo>
                <a:close/>
                <a:moveTo>
                  <a:pt x="877" y="36"/>
                </a:moveTo>
                <a:cubicBezTo>
                  <a:pt x="877" y="36"/>
                  <a:pt x="878" y="36"/>
                  <a:pt x="878" y="36"/>
                </a:cubicBezTo>
                <a:cubicBezTo>
                  <a:pt x="878" y="36"/>
                  <a:pt x="877" y="36"/>
                  <a:pt x="877" y="36"/>
                </a:cubicBezTo>
                <a:close/>
                <a:moveTo>
                  <a:pt x="903" y="36"/>
                </a:moveTo>
                <a:cubicBezTo>
                  <a:pt x="903" y="36"/>
                  <a:pt x="903" y="36"/>
                  <a:pt x="904" y="36"/>
                </a:cubicBezTo>
                <a:cubicBezTo>
                  <a:pt x="903" y="36"/>
                  <a:pt x="903" y="36"/>
                  <a:pt x="903" y="36"/>
                </a:cubicBezTo>
                <a:close/>
                <a:moveTo>
                  <a:pt x="967" y="36"/>
                </a:moveTo>
                <a:cubicBezTo>
                  <a:pt x="966" y="36"/>
                  <a:pt x="966" y="36"/>
                  <a:pt x="966" y="36"/>
                </a:cubicBezTo>
                <a:cubicBezTo>
                  <a:pt x="967" y="36"/>
                  <a:pt x="967" y="36"/>
                  <a:pt x="967" y="36"/>
                </a:cubicBezTo>
                <a:close/>
                <a:moveTo>
                  <a:pt x="1046" y="36"/>
                </a:moveTo>
                <a:cubicBezTo>
                  <a:pt x="1046" y="36"/>
                  <a:pt x="1047" y="36"/>
                  <a:pt x="1047" y="36"/>
                </a:cubicBezTo>
                <a:cubicBezTo>
                  <a:pt x="1046" y="36"/>
                  <a:pt x="1046" y="36"/>
                  <a:pt x="1046" y="36"/>
                </a:cubicBezTo>
                <a:close/>
                <a:moveTo>
                  <a:pt x="1142" y="51"/>
                </a:moveTo>
                <a:cubicBezTo>
                  <a:pt x="1142" y="51"/>
                  <a:pt x="1142" y="51"/>
                  <a:pt x="1142" y="51"/>
                </a:cubicBezTo>
                <a:cubicBezTo>
                  <a:pt x="1142" y="51"/>
                  <a:pt x="1142" y="51"/>
                  <a:pt x="1142" y="51"/>
                </a:cubicBezTo>
                <a:close/>
                <a:moveTo>
                  <a:pt x="1119" y="36"/>
                </a:moveTo>
                <a:cubicBezTo>
                  <a:pt x="1119" y="36"/>
                  <a:pt x="1119" y="36"/>
                  <a:pt x="1119" y="36"/>
                </a:cubicBezTo>
                <a:cubicBezTo>
                  <a:pt x="1119" y="36"/>
                  <a:pt x="1119" y="36"/>
                  <a:pt x="1119" y="36"/>
                </a:cubicBezTo>
                <a:close/>
                <a:moveTo>
                  <a:pt x="1566" y="47"/>
                </a:moveTo>
                <a:cubicBezTo>
                  <a:pt x="1567" y="46"/>
                  <a:pt x="1567" y="46"/>
                  <a:pt x="1567" y="46"/>
                </a:cubicBezTo>
                <a:cubicBezTo>
                  <a:pt x="1566" y="46"/>
                  <a:pt x="1566" y="46"/>
                  <a:pt x="1566" y="47"/>
                </a:cubicBezTo>
                <a:close/>
                <a:moveTo>
                  <a:pt x="1224" y="36"/>
                </a:moveTo>
                <a:cubicBezTo>
                  <a:pt x="1224" y="36"/>
                  <a:pt x="1224" y="36"/>
                  <a:pt x="1225" y="36"/>
                </a:cubicBezTo>
                <a:cubicBezTo>
                  <a:pt x="1224" y="36"/>
                  <a:pt x="1224" y="36"/>
                  <a:pt x="1224" y="36"/>
                </a:cubicBezTo>
                <a:close/>
                <a:moveTo>
                  <a:pt x="1735" y="47"/>
                </a:moveTo>
                <a:cubicBezTo>
                  <a:pt x="1735" y="46"/>
                  <a:pt x="1735" y="46"/>
                  <a:pt x="1735" y="46"/>
                </a:cubicBezTo>
                <a:cubicBezTo>
                  <a:pt x="1735" y="46"/>
                  <a:pt x="1735" y="46"/>
                  <a:pt x="1735" y="47"/>
                </a:cubicBezTo>
                <a:close/>
                <a:moveTo>
                  <a:pt x="593" y="37"/>
                </a:moveTo>
                <a:cubicBezTo>
                  <a:pt x="593" y="36"/>
                  <a:pt x="593" y="36"/>
                  <a:pt x="593" y="36"/>
                </a:cubicBezTo>
                <a:cubicBezTo>
                  <a:pt x="593" y="36"/>
                  <a:pt x="593" y="37"/>
                  <a:pt x="593" y="37"/>
                </a:cubicBezTo>
                <a:close/>
                <a:moveTo>
                  <a:pt x="667" y="37"/>
                </a:moveTo>
                <a:cubicBezTo>
                  <a:pt x="668" y="36"/>
                  <a:pt x="668" y="36"/>
                  <a:pt x="668" y="36"/>
                </a:cubicBezTo>
                <a:cubicBezTo>
                  <a:pt x="668" y="36"/>
                  <a:pt x="667" y="36"/>
                  <a:pt x="667" y="37"/>
                </a:cubicBezTo>
                <a:close/>
                <a:moveTo>
                  <a:pt x="560" y="46"/>
                </a:moveTo>
                <a:cubicBezTo>
                  <a:pt x="560" y="46"/>
                  <a:pt x="560" y="47"/>
                  <a:pt x="560" y="47"/>
                </a:cubicBezTo>
                <a:cubicBezTo>
                  <a:pt x="560" y="46"/>
                  <a:pt x="560" y="46"/>
                  <a:pt x="560" y="46"/>
                </a:cubicBezTo>
                <a:close/>
                <a:moveTo>
                  <a:pt x="793" y="36"/>
                </a:moveTo>
                <a:cubicBezTo>
                  <a:pt x="793" y="36"/>
                  <a:pt x="793" y="36"/>
                  <a:pt x="793" y="37"/>
                </a:cubicBezTo>
                <a:cubicBezTo>
                  <a:pt x="793" y="36"/>
                  <a:pt x="793" y="36"/>
                  <a:pt x="793" y="36"/>
                </a:cubicBezTo>
                <a:close/>
                <a:moveTo>
                  <a:pt x="1210" y="51"/>
                </a:moveTo>
                <a:cubicBezTo>
                  <a:pt x="1211" y="51"/>
                  <a:pt x="1211" y="51"/>
                  <a:pt x="1211" y="51"/>
                </a:cubicBezTo>
                <a:cubicBezTo>
                  <a:pt x="1210" y="51"/>
                  <a:pt x="1210" y="51"/>
                  <a:pt x="1210" y="51"/>
                </a:cubicBezTo>
                <a:close/>
                <a:moveTo>
                  <a:pt x="1045" y="36"/>
                </a:moveTo>
                <a:cubicBezTo>
                  <a:pt x="1046" y="36"/>
                  <a:pt x="1046" y="36"/>
                  <a:pt x="1046" y="36"/>
                </a:cubicBezTo>
                <a:cubicBezTo>
                  <a:pt x="1046" y="36"/>
                  <a:pt x="1045" y="36"/>
                  <a:pt x="1045" y="36"/>
                </a:cubicBezTo>
                <a:close/>
                <a:moveTo>
                  <a:pt x="696" y="47"/>
                </a:moveTo>
                <a:cubicBezTo>
                  <a:pt x="696" y="46"/>
                  <a:pt x="696" y="46"/>
                  <a:pt x="695" y="46"/>
                </a:cubicBezTo>
                <a:cubicBezTo>
                  <a:pt x="696" y="46"/>
                  <a:pt x="696" y="47"/>
                  <a:pt x="696" y="47"/>
                </a:cubicBezTo>
                <a:close/>
                <a:moveTo>
                  <a:pt x="802" y="46"/>
                </a:moveTo>
                <a:cubicBezTo>
                  <a:pt x="802" y="46"/>
                  <a:pt x="802" y="47"/>
                  <a:pt x="802" y="47"/>
                </a:cubicBezTo>
                <a:cubicBezTo>
                  <a:pt x="802" y="47"/>
                  <a:pt x="802" y="46"/>
                  <a:pt x="802" y="46"/>
                </a:cubicBezTo>
                <a:close/>
                <a:moveTo>
                  <a:pt x="1145" y="36"/>
                </a:moveTo>
                <a:cubicBezTo>
                  <a:pt x="1145" y="36"/>
                  <a:pt x="1146" y="36"/>
                  <a:pt x="1146" y="36"/>
                </a:cubicBezTo>
                <a:cubicBezTo>
                  <a:pt x="1146" y="36"/>
                  <a:pt x="1146" y="36"/>
                  <a:pt x="1145" y="36"/>
                </a:cubicBezTo>
                <a:close/>
                <a:moveTo>
                  <a:pt x="1223" y="36"/>
                </a:moveTo>
                <a:cubicBezTo>
                  <a:pt x="1223" y="36"/>
                  <a:pt x="1224" y="36"/>
                  <a:pt x="1224" y="36"/>
                </a:cubicBezTo>
                <a:cubicBezTo>
                  <a:pt x="1224" y="36"/>
                  <a:pt x="1223" y="36"/>
                  <a:pt x="1223" y="36"/>
                </a:cubicBezTo>
                <a:close/>
                <a:moveTo>
                  <a:pt x="1252" y="36"/>
                </a:moveTo>
                <a:cubicBezTo>
                  <a:pt x="1253" y="36"/>
                  <a:pt x="1253" y="36"/>
                  <a:pt x="1253" y="36"/>
                </a:cubicBezTo>
                <a:cubicBezTo>
                  <a:pt x="1253" y="36"/>
                  <a:pt x="1253" y="36"/>
                  <a:pt x="1252" y="36"/>
                </a:cubicBezTo>
                <a:close/>
                <a:moveTo>
                  <a:pt x="550" y="36"/>
                </a:moveTo>
                <a:cubicBezTo>
                  <a:pt x="550" y="37"/>
                  <a:pt x="550" y="37"/>
                  <a:pt x="550" y="37"/>
                </a:cubicBezTo>
                <a:cubicBezTo>
                  <a:pt x="550" y="37"/>
                  <a:pt x="550" y="37"/>
                  <a:pt x="550" y="36"/>
                </a:cubicBezTo>
                <a:close/>
                <a:moveTo>
                  <a:pt x="643" y="37"/>
                </a:moveTo>
                <a:cubicBezTo>
                  <a:pt x="644" y="37"/>
                  <a:pt x="644" y="37"/>
                  <a:pt x="644" y="36"/>
                </a:cubicBezTo>
                <a:cubicBezTo>
                  <a:pt x="643" y="37"/>
                  <a:pt x="643" y="37"/>
                  <a:pt x="643" y="37"/>
                </a:cubicBezTo>
                <a:close/>
                <a:moveTo>
                  <a:pt x="655" y="36"/>
                </a:moveTo>
                <a:cubicBezTo>
                  <a:pt x="655" y="36"/>
                  <a:pt x="655" y="37"/>
                  <a:pt x="655" y="37"/>
                </a:cubicBezTo>
                <a:cubicBezTo>
                  <a:pt x="655" y="37"/>
                  <a:pt x="655" y="37"/>
                  <a:pt x="655" y="36"/>
                </a:cubicBezTo>
                <a:close/>
                <a:moveTo>
                  <a:pt x="763" y="37"/>
                </a:moveTo>
                <a:cubicBezTo>
                  <a:pt x="763" y="37"/>
                  <a:pt x="763" y="37"/>
                  <a:pt x="763" y="36"/>
                </a:cubicBezTo>
                <a:cubicBezTo>
                  <a:pt x="763" y="36"/>
                  <a:pt x="763" y="36"/>
                  <a:pt x="763" y="37"/>
                </a:cubicBezTo>
                <a:close/>
                <a:moveTo>
                  <a:pt x="898" y="47"/>
                </a:moveTo>
                <a:cubicBezTo>
                  <a:pt x="898" y="47"/>
                  <a:pt x="898" y="46"/>
                  <a:pt x="898" y="46"/>
                </a:cubicBezTo>
                <a:cubicBezTo>
                  <a:pt x="898" y="46"/>
                  <a:pt x="898" y="47"/>
                  <a:pt x="898" y="47"/>
                </a:cubicBezTo>
                <a:close/>
                <a:moveTo>
                  <a:pt x="1035" y="47"/>
                </a:moveTo>
                <a:cubicBezTo>
                  <a:pt x="1035" y="47"/>
                  <a:pt x="1035" y="46"/>
                  <a:pt x="1035" y="46"/>
                </a:cubicBezTo>
                <a:cubicBezTo>
                  <a:pt x="1035" y="46"/>
                  <a:pt x="1035" y="47"/>
                  <a:pt x="1035" y="47"/>
                </a:cubicBezTo>
                <a:close/>
                <a:moveTo>
                  <a:pt x="1392" y="51"/>
                </a:moveTo>
                <a:cubicBezTo>
                  <a:pt x="1391" y="51"/>
                  <a:pt x="1391" y="51"/>
                  <a:pt x="1391" y="51"/>
                </a:cubicBezTo>
                <a:cubicBezTo>
                  <a:pt x="1392" y="51"/>
                  <a:pt x="1392" y="51"/>
                  <a:pt x="1392" y="51"/>
                </a:cubicBezTo>
                <a:close/>
                <a:moveTo>
                  <a:pt x="966" y="36"/>
                </a:moveTo>
                <a:cubicBezTo>
                  <a:pt x="966" y="37"/>
                  <a:pt x="966" y="37"/>
                  <a:pt x="966" y="37"/>
                </a:cubicBezTo>
                <a:cubicBezTo>
                  <a:pt x="966" y="37"/>
                  <a:pt x="966" y="37"/>
                  <a:pt x="966" y="36"/>
                </a:cubicBezTo>
                <a:close/>
                <a:moveTo>
                  <a:pt x="568" y="51"/>
                </a:moveTo>
                <a:cubicBezTo>
                  <a:pt x="568" y="51"/>
                  <a:pt x="568" y="51"/>
                  <a:pt x="569" y="51"/>
                </a:cubicBezTo>
                <a:cubicBezTo>
                  <a:pt x="569" y="51"/>
                  <a:pt x="568" y="51"/>
                  <a:pt x="568" y="51"/>
                </a:cubicBezTo>
                <a:close/>
                <a:moveTo>
                  <a:pt x="1075" y="36"/>
                </a:moveTo>
                <a:cubicBezTo>
                  <a:pt x="1075" y="37"/>
                  <a:pt x="1076" y="37"/>
                  <a:pt x="1076" y="37"/>
                </a:cubicBezTo>
                <a:cubicBezTo>
                  <a:pt x="1076" y="36"/>
                  <a:pt x="1076" y="36"/>
                  <a:pt x="1075" y="36"/>
                </a:cubicBezTo>
                <a:close/>
                <a:moveTo>
                  <a:pt x="1118" y="37"/>
                </a:moveTo>
                <a:cubicBezTo>
                  <a:pt x="1118" y="37"/>
                  <a:pt x="1118" y="37"/>
                  <a:pt x="1118" y="36"/>
                </a:cubicBezTo>
                <a:cubicBezTo>
                  <a:pt x="1118" y="36"/>
                  <a:pt x="1118" y="36"/>
                  <a:pt x="1118" y="37"/>
                </a:cubicBezTo>
                <a:close/>
                <a:moveTo>
                  <a:pt x="1153" y="46"/>
                </a:moveTo>
                <a:cubicBezTo>
                  <a:pt x="1153" y="46"/>
                  <a:pt x="1153" y="47"/>
                  <a:pt x="1153" y="47"/>
                </a:cubicBezTo>
                <a:cubicBezTo>
                  <a:pt x="1153" y="47"/>
                  <a:pt x="1153" y="46"/>
                  <a:pt x="1153" y="46"/>
                </a:cubicBezTo>
                <a:close/>
                <a:moveTo>
                  <a:pt x="1223" y="37"/>
                </a:moveTo>
                <a:cubicBezTo>
                  <a:pt x="1223" y="37"/>
                  <a:pt x="1223" y="37"/>
                  <a:pt x="1223" y="36"/>
                </a:cubicBezTo>
                <a:cubicBezTo>
                  <a:pt x="1223" y="36"/>
                  <a:pt x="1223" y="36"/>
                  <a:pt x="1223" y="37"/>
                </a:cubicBezTo>
                <a:close/>
                <a:moveTo>
                  <a:pt x="1253" y="36"/>
                </a:moveTo>
                <a:cubicBezTo>
                  <a:pt x="1253" y="37"/>
                  <a:pt x="1253" y="37"/>
                  <a:pt x="1254" y="37"/>
                </a:cubicBezTo>
                <a:cubicBezTo>
                  <a:pt x="1254" y="36"/>
                  <a:pt x="1253" y="36"/>
                  <a:pt x="1253" y="36"/>
                </a:cubicBezTo>
                <a:close/>
                <a:moveTo>
                  <a:pt x="1213" y="47"/>
                </a:moveTo>
                <a:cubicBezTo>
                  <a:pt x="1213" y="47"/>
                  <a:pt x="1213" y="46"/>
                  <a:pt x="1213" y="46"/>
                </a:cubicBezTo>
                <a:cubicBezTo>
                  <a:pt x="1213" y="46"/>
                  <a:pt x="1213" y="47"/>
                  <a:pt x="1213" y="47"/>
                </a:cubicBezTo>
                <a:close/>
                <a:moveTo>
                  <a:pt x="666" y="37"/>
                </a:moveTo>
                <a:cubicBezTo>
                  <a:pt x="667" y="37"/>
                  <a:pt x="667" y="37"/>
                  <a:pt x="667" y="37"/>
                </a:cubicBezTo>
                <a:cubicBezTo>
                  <a:pt x="667" y="37"/>
                  <a:pt x="666" y="37"/>
                  <a:pt x="666" y="37"/>
                </a:cubicBezTo>
                <a:close/>
                <a:moveTo>
                  <a:pt x="762" y="37"/>
                </a:moveTo>
                <a:cubicBezTo>
                  <a:pt x="762" y="37"/>
                  <a:pt x="763" y="37"/>
                  <a:pt x="763" y="37"/>
                </a:cubicBezTo>
                <a:cubicBezTo>
                  <a:pt x="762" y="37"/>
                  <a:pt x="762" y="37"/>
                  <a:pt x="762" y="37"/>
                </a:cubicBezTo>
                <a:close/>
                <a:moveTo>
                  <a:pt x="794" y="37"/>
                </a:moveTo>
                <a:cubicBezTo>
                  <a:pt x="794" y="37"/>
                  <a:pt x="794" y="37"/>
                  <a:pt x="794" y="37"/>
                </a:cubicBezTo>
                <a:cubicBezTo>
                  <a:pt x="794" y="37"/>
                  <a:pt x="794" y="37"/>
                  <a:pt x="794" y="37"/>
                </a:cubicBezTo>
                <a:close/>
                <a:moveTo>
                  <a:pt x="750" y="52"/>
                </a:moveTo>
                <a:cubicBezTo>
                  <a:pt x="750" y="52"/>
                  <a:pt x="750" y="51"/>
                  <a:pt x="751" y="51"/>
                </a:cubicBezTo>
                <a:cubicBezTo>
                  <a:pt x="750" y="51"/>
                  <a:pt x="750" y="52"/>
                  <a:pt x="750" y="52"/>
                </a:cubicBezTo>
                <a:close/>
                <a:moveTo>
                  <a:pt x="862" y="37"/>
                </a:moveTo>
                <a:cubicBezTo>
                  <a:pt x="862" y="37"/>
                  <a:pt x="862" y="37"/>
                  <a:pt x="862" y="37"/>
                </a:cubicBezTo>
                <a:cubicBezTo>
                  <a:pt x="862" y="37"/>
                  <a:pt x="862" y="37"/>
                  <a:pt x="862" y="37"/>
                </a:cubicBezTo>
                <a:close/>
                <a:moveTo>
                  <a:pt x="858" y="52"/>
                </a:moveTo>
                <a:cubicBezTo>
                  <a:pt x="858" y="51"/>
                  <a:pt x="858" y="51"/>
                  <a:pt x="858" y="51"/>
                </a:cubicBezTo>
                <a:cubicBezTo>
                  <a:pt x="858" y="51"/>
                  <a:pt x="858" y="52"/>
                  <a:pt x="858" y="52"/>
                </a:cubicBezTo>
                <a:close/>
                <a:moveTo>
                  <a:pt x="1044" y="37"/>
                </a:moveTo>
                <a:cubicBezTo>
                  <a:pt x="1045" y="37"/>
                  <a:pt x="1045" y="37"/>
                  <a:pt x="1045" y="37"/>
                </a:cubicBezTo>
                <a:cubicBezTo>
                  <a:pt x="1045" y="37"/>
                  <a:pt x="1044" y="37"/>
                  <a:pt x="1044" y="37"/>
                </a:cubicBezTo>
                <a:close/>
                <a:moveTo>
                  <a:pt x="1382" y="47"/>
                </a:moveTo>
                <a:cubicBezTo>
                  <a:pt x="1382" y="47"/>
                  <a:pt x="1382" y="46"/>
                  <a:pt x="1382" y="46"/>
                </a:cubicBezTo>
                <a:cubicBezTo>
                  <a:pt x="1382" y="46"/>
                  <a:pt x="1382" y="47"/>
                  <a:pt x="1382" y="47"/>
                </a:cubicBezTo>
                <a:close/>
                <a:moveTo>
                  <a:pt x="1394" y="46"/>
                </a:moveTo>
                <a:cubicBezTo>
                  <a:pt x="1394" y="46"/>
                  <a:pt x="1394" y="47"/>
                  <a:pt x="1394" y="47"/>
                </a:cubicBezTo>
                <a:cubicBezTo>
                  <a:pt x="1394" y="47"/>
                  <a:pt x="1394" y="46"/>
                  <a:pt x="1394" y="46"/>
                </a:cubicBezTo>
                <a:close/>
                <a:moveTo>
                  <a:pt x="1579" y="46"/>
                </a:moveTo>
                <a:cubicBezTo>
                  <a:pt x="1578" y="46"/>
                  <a:pt x="1578" y="47"/>
                  <a:pt x="1578" y="47"/>
                </a:cubicBezTo>
                <a:cubicBezTo>
                  <a:pt x="1579" y="47"/>
                  <a:pt x="1579" y="46"/>
                  <a:pt x="1579" y="46"/>
                </a:cubicBezTo>
                <a:close/>
                <a:moveTo>
                  <a:pt x="1681" y="46"/>
                </a:moveTo>
                <a:cubicBezTo>
                  <a:pt x="1681" y="46"/>
                  <a:pt x="1681" y="47"/>
                  <a:pt x="1680" y="47"/>
                </a:cubicBezTo>
                <a:cubicBezTo>
                  <a:pt x="1681" y="47"/>
                  <a:pt x="1681" y="46"/>
                  <a:pt x="1681" y="46"/>
                </a:cubicBezTo>
                <a:close/>
                <a:moveTo>
                  <a:pt x="1747" y="46"/>
                </a:moveTo>
                <a:cubicBezTo>
                  <a:pt x="1746" y="46"/>
                  <a:pt x="1746" y="47"/>
                  <a:pt x="1746" y="47"/>
                </a:cubicBezTo>
                <a:cubicBezTo>
                  <a:pt x="1747" y="47"/>
                  <a:pt x="1747" y="46"/>
                  <a:pt x="1747" y="46"/>
                </a:cubicBezTo>
                <a:close/>
                <a:moveTo>
                  <a:pt x="550" y="37"/>
                </a:moveTo>
                <a:cubicBezTo>
                  <a:pt x="550" y="37"/>
                  <a:pt x="550" y="38"/>
                  <a:pt x="550" y="38"/>
                </a:cubicBezTo>
                <a:cubicBezTo>
                  <a:pt x="550" y="38"/>
                  <a:pt x="550" y="37"/>
                  <a:pt x="550" y="37"/>
                </a:cubicBezTo>
                <a:close/>
                <a:moveTo>
                  <a:pt x="593" y="38"/>
                </a:moveTo>
                <a:cubicBezTo>
                  <a:pt x="593" y="37"/>
                  <a:pt x="593" y="37"/>
                  <a:pt x="593" y="37"/>
                </a:cubicBezTo>
                <a:cubicBezTo>
                  <a:pt x="593" y="37"/>
                  <a:pt x="593" y="38"/>
                  <a:pt x="593" y="38"/>
                </a:cubicBezTo>
                <a:close/>
                <a:moveTo>
                  <a:pt x="655" y="37"/>
                </a:moveTo>
                <a:cubicBezTo>
                  <a:pt x="654" y="37"/>
                  <a:pt x="654" y="38"/>
                  <a:pt x="654" y="38"/>
                </a:cubicBezTo>
                <a:cubicBezTo>
                  <a:pt x="655" y="38"/>
                  <a:pt x="655" y="37"/>
                  <a:pt x="655" y="37"/>
                </a:cubicBezTo>
                <a:close/>
                <a:moveTo>
                  <a:pt x="560" y="47"/>
                </a:moveTo>
                <a:cubicBezTo>
                  <a:pt x="560" y="47"/>
                  <a:pt x="561" y="47"/>
                  <a:pt x="561" y="47"/>
                </a:cubicBezTo>
                <a:cubicBezTo>
                  <a:pt x="561" y="47"/>
                  <a:pt x="561" y="47"/>
                  <a:pt x="560" y="47"/>
                </a:cubicBezTo>
                <a:close/>
                <a:moveTo>
                  <a:pt x="873" y="51"/>
                </a:moveTo>
                <a:cubicBezTo>
                  <a:pt x="873" y="51"/>
                  <a:pt x="873" y="51"/>
                  <a:pt x="873" y="52"/>
                </a:cubicBezTo>
                <a:cubicBezTo>
                  <a:pt x="873" y="52"/>
                  <a:pt x="873" y="51"/>
                  <a:pt x="873" y="51"/>
                </a:cubicBezTo>
                <a:close/>
                <a:moveTo>
                  <a:pt x="753" y="47"/>
                </a:moveTo>
                <a:cubicBezTo>
                  <a:pt x="753" y="47"/>
                  <a:pt x="753" y="47"/>
                  <a:pt x="753" y="47"/>
                </a:cubicBezTo>
                <a:cubicBezTo>
                  <a:pt x="753" y="47"/>
                  <a:pt x="753" y="47"/>
                  <a:pt x="753" y="47"/>
                </a:cubicBezTo>
                <a:close/>
                <a:moveTo>
                  <a:pt x="875" y="38"/>
                </a:moveTo>
                <a:cubicBezTo>
                  <a:pt x="875" y="38"/>
                  <a:pt x="876" y="37"/>
                  <a:pt x="876" y="37"/>
                </a:cubicBezTo>
                <a:cubicBezTo>
                  <a:pt x="875" y="37"/>
                  <a:pt x="875" y="37"/>
                  <a:pt x="875" y="38"/>
                </a:cubicBezTo>
                <a:close/>
                <a:moveTo>
                  <a:pt x="1044" y="38"/>
                </a:moveTo>
                <a:cubicBezTo>
                  <a:pt x="1044" y="38"/>
                  <a:pt x="1044" y="37"/>
                  <a:pt x="1044" y="37"/>
                </a:cubicBezTo>
                <a:cubicBezTo>
                  <a:pt x="1044" y="37"/>
                  <a:pt x="1044" y="37"/>
                  <a:pt x="1044" y="38"/>
                </a:cubicBezTo>
                <a:close/>
                <a:moveTo>
                  <a:pt x="1084" y="47"/>
                </a:moveTo>
                <a:cubicBezTo>
                  <a:pt x="1084" y="47"/>
                  <a:pt x="1084" y="47"/>
                  <a:pt x="1085" y="47"/>
                </a:cubicBezTo>
                <a:cubicBezTo>
                  <a:pt x="1085" y="47"/>
                  <a:pt x="1085" y="47"/>
                  <a:pt x="1084" y="47"/>
                </a:cubicBezTo>
                <a:close/>
                <a:moveTo>
                  <a:pt x="1221" y="38"/>
                </a:moveTo>
                <a:cubicBezTo>
                  <a:pt x="1222" y="38"/>
                  <a:pt x="1222" y="37"/>
                  <a:pt x="1222" y="37"/>
                </a:cubicBezTo>
                <a:cubicBezTo>
                  <a:pt x="1222" y="37"/>
                  <a:pt x="1222" y="37"/>
                  <a:pt x="1221" y="38"/>
                </a:cubicBezTo>
                <a:close/>
                <a:moveTo>
                  <a:pt x="643" y="38"/>
                </a:moveTo>
                <a:cubicBezTo>
                  <a:pt x="643" y="38"/>
                  <a:pt x="643" y="38"/>
                  <a:pt x="643" y="37"/>
                </a:cubicBezTo>
                <a:cubicBezTo>
                  <a:pt x="643" y="38"/>
                  <a:pt x="643" y="38"/>
                  <a:pt x="643" y="38"/>
                </a:cubicBezTo>
                <a:close/>
                <a:moveTo>
                  <a:pt x="1113" y="51"/>
                </a:moveTo>
                <a:cubicBezTo>
                  <a:pt x="1113" y="51"/>
                  <a:pt x="1113" y="51"/>
                  <a:pt x="1113" y="52"/>
                </a:cubicBezTo>
                <a:cubicBezTo>
                  <a:pt x="1113" y="52"/>
                  <a:pt x="1113" y="51"/>
                  <a:pt x="1113" y="51"/>
                </a:cubicBezTo>
                <a:close/>
                <a:moveTo>
                  <a:pt x="1292" y="51"/>
                </a:moveTo>
                <a:cubicBezTo>
                  <a:pt x="1291" y="51"/>
                  <a:pt x="1291" y="51"/>
                  <a:pt x="1291" y="52"/>
                </a:cubicBezTo>
                <a:cubicBezTo>
                  <a:pt x="1292" y="52"/>
                  <a:pt x="1292" y="51"/>
                  <a:pt x="1292" y="51"/>
                </a:cubicBezTo>
                <a:close/>
                <a:moveTo>
                  <a:pt x="966" y="37"/>
                </a:moveTo>
                <a:cubicBezTo>
                  <a:pt x="966" y="38"/>
                  <a:pt x="966" y="38"/>
                  <a:pt x="966" y="38"/>
                </a:cubicBezTo>
                <a:cubicBezTo>
                  <a:pt x="966" y="38"/>
                  <a:pt x="966" y="38"/>
                  <a:pt x="966" y="37"/>
                </a:cubicBezTo>
                <a:close/>
                <a:moveTo>
                  <a:pt x="597" y="48"/>
                </a:moveTo>
                <a:cubicBezTo>
                  <a:pt x="597" y="47"/>
                  <a:pt x="597" y="47"/>
                  <a:pt x="597" y="47"/>
                </a:cubicBezTo>
                <a:cubicBezTo>
                  <a:pt x="597" y="47"/>
                  <a:pt x="597" y="47"/>
                  <a:pt x="597" y="48"/>
                </a:cubicBezTo>
                <a:close/>
                <a:moveTo>
                  <a:pt x="609" y="47"/>
                </a:moveTo>
                <a:cubicBezTo>
                  <a:pt x="609" y="47"/>
                  <a:pt x="609" y="47"/>
                  <a:pt x="609" y="48"/>
                </a:cubicBezTo>
                <a:cubicBezTo>
                  <a:pt x="609" y="47"/>
                  <a:pt x="609" y="47"/>
                  <a:pt x="609" y="47"/>
                </a:cubicBezTo>
                <a:close/>
                <a:moveTo>
                  <a:pt x="639" y="48"/>
                </a:moveTo>
                <a:cubicBezTo>
                  <a:pt x="640" y="47"/>
                  <a:pt x="640" y="47"/>
                  <a:pt x="640" y="47"/>
                </a:cubicBezTo>
                <a:cubicBezTo>
                  <a:pt x="639" y="47"/>
                  <a:pt x="639" y="47"/>
                  <a:pt x="639" y="48"/>
                </a:cubicBezTo>
                <a:close/>
                <a:moveTo>
                  <a:pt x="1255" y="37"/>
                </a:moveTo>
                <a:cubicBezTo>
                  <a:pt x="1255" y="38"/>
                  <a:pt x="1255" y="38"/>
                  <a:pt x="1255" y="38"/>
                </a:cubicBezTo>
                <a:cubicBezTo>
                  <a:pt x="1255" y="38"/>
                  <a:pt x="1255" y="37"/>
                  <a:pt x="1255" y="37"/>
                </a:cubicBezTo>
                <a:close/>
                <a:moveTo>
                  <a:pt x="651" y="47"/>
                </a:moveTo>
                <a:cubicBezTo>
                  <a:pt x="651" y="47"/>
                  <a:pt x="651" y="47"/>
                  <a:pt x="651" y="48"/>
                </a:cubicBezTo>
                <a:cubicBezTo>
                  <a:pt x="651" y="47"/>
                  <a:pt x="651" y="47"/>
                  <a:pt x="651" y="47"/>
                </a:cubicBezTo>
                <a:close/>
                <a:moveTo>
                  <a:pt x="594" y="39"/>
                </a:moveTo>
                <a:cubicBezTo>
                  <a:pt x="594" y="38"/>
                  <a:pt x="594" y="38"/>
                  <a:pt x="593" y="38"/>
                </a:cubicBezTo>
                <a:cubicBezTo>
                  <a:pt x="593" y="38"/>
                  <a:pt x="594" y="38"/>
                  <a:pt x="594" y="39"/>
                </a:cubicBezTo>
                <a:close/>
                <a:moveTo>
                  <a:pt x="795" y="38"/>
                </a:moveTo>
                <a:cubicBezTo>
                  <a:pt x="795" y="38"/>
                  <a:pt x="795" y="38"/>
                  <a:pt x="796" y="38"/>
                </a:cubicBezTo>
                <a:cubicBezTo>
                  <a:pt x="796" y="38"/>
                  <a:pt x="795" y="38"/>
                  <a:pt x="795" y="38"/>
                </a:cubicBezTo>
                <a:close/>
                <a:moveTo>
                  <a:pt x="671" y="47"/>
                </a:moveTo>
                <a:cubicBezTo>
                  <a:pt x="671" y="47"/>
                  <a:pt x="670" y="47"/>
                  <a:pt x="670" y="48"/>
                </a:cubicBezTo>
                <a:cubicBezTo>
                  <a:pt x="671" y="47"/>
                  <a:pt x="671" y="47"/>
                  <a:pt x="671" y="47"/>
                </a:cubicBezTo>
                <a:close/>
                <a:moveTo>
                  <a:pt x="802" y="47"/>
                </a:moveTo>
                <a:cubicBezTo>
                  <a:pt x="802" y="47"/>
                  <a:pt x="802" y="47"/>
                  <a:pt x="803" y="48"/>
                </a:cubicBezTo>
                <a:cubicBezTo>
                  <a:pt x="803" y="47"/>
                  <a:pt x="803" y="47"/>
                  <a:pt x="802" y="47"/>
                </a:cubicBezTo>
                <a:close/>
                <a:moveTo>
                  <a:pt x="1111" y="55"/>
                </a:moveTo>
                <a:cubicBezTo>
                  <a:pt x="1111" y="55"/>
                  <a:pt x="1111" y="56"/>
                  <a:pt x="1111" y="56"/>
                </a:cubicBezTo>
                <a:cubicBezTo>
                  <a:pt x="1111" y="56"/>
                  <a:pt x="1111" y="55"/>
                  <a:pt x="1111" y="55"/>
                </a:cubicBezTo>
                <a:close/>
                <a:moveTo>
                  <a:pt x="1673" y="54"/>
                </a:moveTo>
                <a:cubicBezTo>
                  <a:pt x="1673" y="54"/>
                  <a:pt x="1673" y="55"/>
                  <a:pt x="1673" y="55"/>
                </a:cubicBezTo>
                <a:cubicBezTo>
                  <a:pt x="1673" y="55"/>
                  <a:pt x="1673" y="55"/>
                  <a:pt x="1673" y="54"/>
                </a:cubicBezTo>
                <a:close/>
                <a:moveTo>
                  <a:pt x="1140" y="47"/>
                </a:moveTo>
                <a:cubicBezTo>
                  <a:pt x="1140" y="47"/>
                  <a:pt x="1140" y="47"/>
                  <a:pt x="1140" y="47"/>
                </a:cubicBezTo>
                <a:cubicBezTo>
                  <a:pt x="1140" y="47"/>
                  <a:pt x="1140" y="47"/>
                  <a:pt x="1140" y="47"/>
                </a:cubicBezTo>
                <a:close/>
                <a:moveTo>
                  <a:pt x="551" y="38"/>
                </a:moveTo>
                <a:cubicBezTo>
                  <a:pt x="551" y="39"/>
                  <a:pt x="551" y="39"/>
                  <a:pt x="551" y="39"/>
                </a:cubicBezTo>
                <a:cubicBezTo>
                  <a:pt x="551" y="39"/>
                  <a:pt x="551" y="38"/>
                  <a:pt x="551" y="38"/>
                </a:cubicBezTo>
                <a:close/>
                <a:moveTo>
                  <a:pt x="654" y="38"/>
                </a:moveTo>
                <a:cubicBezTo>
                  <a:pt x="654" y="38"/>
                  <a:pt x="654" y="39"/>
                  <a:pt x="654" y="39"/>
                </a:cubicBezTo>
                <a:cubicBezTo>
                  <a:pt x="654" y="39"/>
                  <a:pt x="654" y="38"/>
                  <a:pt x="654" y="38"/>
                </a:cubicBezTo>
                <a:close/>
                <a:moveTo>
                  <a:pt x="569" y="51"/>
                </a:moveTo>
                <a:cubicBezTo>
                  <a:pt x="569" y="52"/>
                  <a:pt x="569" y="52"/>
                  <a:pt x="569" y="52"/>
                </a:cubicBezTo>
                <a:cubicBezTo>
                  <a:pt x="569" y="51"/>
                  <a:pt x="569" y="51"/>
                  <a:pt x="569" y="51"/>
                </a:cubicBezTo>
                <a:close/>
                <a:moveTo>
                  <a:pt x="599" y="52"/>
                </a:moveTo>
                <a:cubicBezTo>
                  <a:pt x="599" y="52"/>
                  <a:pt x="599" y="51"/>
                  <a:pt x="599" y="51"/>
                </a:cubicBezTo>
                <a:cubicBezTo>
                  <a:pt x="599" y="52"/>
                  <a:pt x="599" y="52"/>
                  <a:pt x="599" y="52"/>
                </a:cubicBezTo>
                <a:close/>
                <a:moveTo>
                  <a:pt x="649" y="51"/>
                </a:moveTo>
                <a:cubicBezTo>
                  <a:pt x="649" y="51"/>
                  <a:pt x="649" y="52"/>
                  <a:pt x="649" y="52"/>
                </a:cubicBezTo>
                <a:cubicBezTo>
                  <a:pt x="649" y="52"/>
                  <a:pt x="649" y="52"/>
                  <a:pt x="649" y="51"/>
                </a:cubicBezTo>
                <a:close/>
                <a:moveTo>
                  <a:pt x="1394" y="47"/>
                </a:moveTo>
                <a:cubicBezTo>
                  <a:pt x="1394" y="47"/>
                  <a:pt x="1394" y="47"/>
                  <a:pt x="1394" y="48"/>
                </a:cubicBezTo>
                <a:cubicBezTo>
                  <a:pt x="1394" y="47"/>
                  <a:pt x="1394" y="47"/>
                  <a:pt x="1394" y="47"/>
                </a:cubicBezTo>
                <a:close/>
                <a:moveTo>
                  <a:pt x="1566" y="48"/>
                </a:moveTo>
                <a:cubicBezTo>
                  <a:pt x="1566" y="47"/>
                  <a:pt x="1566" y="47"/>
                  <a:pt x="1566" y="47"/>
                </a:cubicBezTo>
                <a:cubicBezTo>
                  <a:pt x="1566" y="47"/>
                  <a:pt x="1566" y="47"/>
                  <a:pt x="1566" y="48"/>
                </a:cubicBezTo>
                <a:close/>
                <a:moveTo>
                  <a:pt x="966" y="38"/>
                </a:moveTo>
                <a:cubicBezTo>
                  <a:pt x="965" y="38"/>
                  <a:pt x="965" y="39"/>
                  <a:pt x="965" y="39"/>
                </a:cubicBezTo>
                <a:cubicBezTo>
                  <a:pt x="966" y="39"/>
                  <a:pt x="966" y="38"/>
                  <a:pt x="966" y="38"/>
                </a:cubicBezTo>
                <a:close/>
                <a:moveTo>
                  <a:pt x="1042" y="39"/>
                </a:moveTo>
                <a:cubicBezTo>
                  <a:pt x="1042" y="39"/>
                  <a:pt x="1043" y="38"/>
                  <a:pt x="1043" y="38"/>
                </a:cubicBezTo>
                <a:cubicBezTo>
                  <a:pt x="1043" y="38"/>
                  <a:pt x="1042" y="38"/>
                  <a:pt x="1042" y="39"/>
                </a:cubicBezTo>
                <a:close/>
                <a:moveTo>
                  <a:pt x="1578" y="47"/>
                </a:moveTo>
                <a:cubicBezTo>
                  <a:pt x="1578" y="47"/>
                  <a:pt x="1578" y="47"/>
                  <a:pt x="1578" y="48"/>
                </a:cubicBezTo>
                <a:cubicBezTo>
                  <a:pt x="1578" y="47"/>
                  <a:pt x="1578" y="47"/>
                  <a:pt x="1578" y="47"/>
                </a:cubicBezTo>
                <a:close/>
                <a:moveTo>
                  <a:pt x="830" y="51"/>
                </a:moveTo>
                <a:cubicBezTo>
                  <a:pt x="830" y="51"/>
                  <a:pt x="830" y="52"/>
                  <a:pt x="830" y="52"/>
                </a:cubicBezTo>
                <a:cubicBezTo>
                  <a:pt x="830" y="52"/>
                  <a:pt x="831" y="52"/>
                  <a:pt x="830" y="51"/>
                </a:cubicBezTo>
                <a:close/>
                <a:moveTo>
                  <a:pt x="1734" y="48"/>
                </a:moveTo>
                <a:cubicBezTo>
                  <a:pt x="1734" y="47"/>
                  <a:pt x="1734" y="47"/>
                  <a:pt x="1734" y="47"/>
                </a:cubicBezTo>
                <a:cubicBezTo>
                  <a:pt x="1734" y="47"/>
                  <a:pt x="1734" y="47"/>
                  <a:pt x="1734" y="48"/>
                </a:cubicBezTo>
                <a:close/>
                <a:moveTo>
                  <a:pt x="1746" y="47"/>
                </a:moveTo>
                <a:cubicBezTo>
                  <a:pt x="1746" y="47"/>
                  <a:pt x="1746" y="47"/>
                  <a:pt x="1746" y="48"/>
                </a:cubicBezTo>
                <a:cubicBezTo>
                  <a:pt x="1746" y="47"/>
                  <a:pt x="1746" y="47"/>
                  <a:pt x="1746" y="47"/>
                </a:cubicBezTo>
                <a:close/>
                <a:moveTo>
                  <a:pt x="643" y="39"/>
                </a:moveTo>
                <a:cubicBezTo>
                  <a:pt x="643" y="39"/>
                  <a:pt x="643" y="39"/>
                  <a:pt x="643" y="39"/>
                </a:cubicBezTo>
                <a:cubicBezTo>
                  <a:pt x="643" y="39"/>
                  <a:pt x="643" y="39"/>
                  <a:pt x="643" y="39"/>
                </a:cubicBezTo>
                <a:close/>
                <a:moveTo>
                  <a:pt x="561" y="47"/>
                </a:moveTo>
                <a:cubicBezTo>
                  <a:pt x="562" y="47"/>
                  <a:pt x="562" y="48"/>
                  <a:pt x="562" y="48"/>
                </a:cubicBezTo>
                <a:cubicBezTo>
                  <a:pt x="562" y="47"/>
                  <a:pt x="562" y="47"/>
                  <a:pt x="561" y="47"/>
                </a:cubicBezTo>
                <a:close/>
                <a:moveTo>
                  <a:pt x="1680" y="48"/>
                </a:moveTo>
                <a:cubicBezTo>
                  <a:pt x="1679" y="48"/>
                  <a:pt x="1679" y="49"/>
                  <a:pt x="1679" y="49"/>
                </a:cubicBezTo>
                <a:cubicBezTo>
                  <a:pt x="1679" y="49"/>
                  <a:pt x="1679" y="49"/>
                  <a:pt x="1680" y="48"/>
                </a:cubicBezTo>
                <a:close/>
                <a:moveTo>
                  <a:pt x="872" y="54"/>
                </a:moveTo>
                <a:cubicBezTo>
                  <a:pt x="872" y="54"/>
                  <a:pt x="872" y="55"/>
                  <a:pt x="872" y="55"/>
                </a:cubicBezTo>
                <a:cubicBezTo>
                  <a:pt x="872" y="55"/>
                  <a:pt x="872" y="54"/>
                  <a:pt x="872" y="54"/>
                </a:cubicBezTo>
                <a:close/>
                <a:moveTo>
                  <a:pt x="1211" y="49"/>
                </a:moveTo>
                <a:cubicBezTo>
                  <a:pt x="1212" y="49"/>
                  <a:pt x="1212" y="49"/>
                  <a:pt x="1212" y="49"/>
                </a:cubicBezTo>
                <a:cubicBezTo>
                  <a:pt x="1211" y="49"/>
                  <a:pt x="1211" y="49"/>
                  <a:pt x="1211" y="49"/>
                </a:cubicBezTo>
                <a:close/>
                <a:moveTo>
                  <a:pt x="681" y="63"/>
                </a:moveTo>
                <a:cubicBezTo>
                  <a:pt x="682" y="64"/>
                  <a:pt x="682" y="64"/>
                  <a:pt x="682" y="64"/>
                </a:cubicBezTo>
                <a:cubicBezTo>
                  <a:pt x="682" y="63"/>
                  <a:pt x="682" y="63"/>
                  <a:pt x="681" y="63"/>
                </a:cubicBezTo>
                <a:close/>
                <a:moveTo>
                  <a:pt x="1379" y="63"/>
                </a:moveTo>
                <a:cubicBezTo>
                  <a:pt x="1379" y="63"/>
                  <a:pt x="1379" y="63"/>
                  <a:pt x="1378" y="64"/>
                </a:cubicBezTo>
                <a:cubicBezTo>
                  <a:pt x="1379" y="64"/>
                  <a:pt x="1379" y="63"/>
                  <a:pt x="1379" y="63"/>
                </a:cubicBezTo>
                <a:close/>
                <a:moveTo>
                  <a:pt x="610" y="49"/>
                </a:moveTo>
                <a:cubicBezTo>
                  <a:pt x="609" y="49"/>
                  <a:pt x="610" y="50"/>
                  <a:pt x="610" y="50"/>
                </a:cubicBezTo>
                <a:cubicBezTo>
                  <a:pt x="610" y="49"/>
                  <a:pt x="610" y="49"/>
                  <a:pt x="610" y="49"/>
                </a:cubicBezTo>
                <a:close/>
                <a:moveTo>
                  <a:pt x="644" y="64"/>
                </a:moveTo>
                <a:cubicBezTo>
                  <a:pt x="644" y="64"/>
                  <a:pt x="644" y="64"/>
                  <a:pt x="644" y="64"/>
                </a:cubicBezTo>
                <a:cubicBezTo>
                  <a:pt x="644" y="64"/>
                  <a:pt x="644" y="64"/>
                  <a:pt x="644" y="64"/>
                </a:cubicBezTo>
                <a:close/>
                <a:moveTo>
                  <a:pt x="682" y="64"/>
                </a:moveTo>
                <a:cubicBezTo>
                  <a:pt x="682" y="64"/>
                  <a:pt x="683" y="64"/>
                  <a:pt x="683" y="64"/>
                </a:cubicBezTo>
                <a:cubicBezTo>
                  <a:pt x="683" y="64"/>
                  <a:pt x="683" y="64"/>
                  <a:pt x="682" y="64"/>
                </a:cubicBezTo>
                <a:close/>
                <a:moveTo>
                  <a:pt x="1563" y="63"/>
                </a:moveTo>
                <a:cubicBezTo>
                  <a:pt x="1563" y="64"/>
                  <a:pt x="1562" y="64"/>
                  <a:pt x="1562" y="64"/>
                </a:cubicBezTo>
                <a:cubicBezTo>
                  <a:pt x="1563" y="64"/>
                  <a:pt x="1563" y="64"/>
                  <a:pt x="1563" y="63"/>
                </a:cubicBezTo>
                <a:close/>
                <a:moveTo>
                  <a:pt x="1655" y="64"/>
                </a:moveTo>
                <a:cubicBezTo>
                  <a:pt x="1655" y="64"/>
                  <a:pt x="1655" y="64"/>
                  <a:pt x="1655" y="64"/>
                </a:cubicBezTo>
                <a:cubicBezTo>
                  <a:pt x="1655" y="64"/>
                  <a:pt x="1655" y="64"/>
                  <a:pt x="1655" y="64"/>
                </a:cubicBezTo>
                <a:close/>
                <a:moveTo>
                  <a:pt x="1731" y="63"/>
                </a:moveTo>
                <a:cubicBezTo>
                  <a:pt x="1731" y="64"/>
                  <a:pt x="1730" y="64"/>
                  <a:pt x="1730" y="64"/>
                </a:cubicBezTo>
                <a:cubicBezTo>
                  <a:pt x="1731" y="64"/>
                  <a:pt x="1731" y="64"/>
                  <a:pt x="1731" y="63"/>
                </a:cubicBezTo>
                <a:close/>
                <a:moveTo>
                  <a:pt x="1669" y="57"/>
                </a:moveTo>
                <a:cubicBezTo>
                  <a:pt x="1669" y="57"/>
                  <a:pt x="1669" y="57"/>
                  <a:pt x="1669" y="57"/>
                </a:cubicBezTo>
                <a:cubicBezTo>
                  <a:pt x="1669" y="57"/>
                  <a:pt x="1669" y="57"/>
                  <a:pt x="1669" y="57"/>
                </a:cubicBezTo>
                <a:close/>
                <a:moveTo>
                  <a:pt x="615" y="64"/>
                </a:moveTo>
                <a:cubicBezTo>
                  <a:pt x="615" y="64"/>
                  <a:pt x="615" y="64"/>
                  <a:pt x="615" y="65"/>
                </a:cubicBezTo>
                <a:cubicBezTo>
                  <a:pt x="615" y="64"/>
                  <a:pt x="615" y="64"/>
                  <a:pt x="615" y="64"/>
                </a:cubicBezTo>
                <a:close/>
                <a:moveTo>
                  <a:pt x="633" y="65"/>
                </a:moveTo>
                <a:cubicBezTo>
                  <a:pt x="633" y="65"/>
                  <a:pt x="634" y="64"/>
                  <a:pt x="634" y="64"/>
                </a:cubicBezTo>
                <a:cubicBezTo>
                  <a:pt x="633" y="64"/>
                  <a:pt x="633" y="64"/>
                  <a:pt x="633" y="65"/>
                </a:cubicBezTo>
                <a:close/>
                <a:moveTo>
                  <a:pt x="683" y="64"/>
                </a:moveTo>
                <a:cubicBezTo>
                  <a:pt x="683" y="64"/>
                  <a:pt x="684" y="64"/>
                  <a:pt x="684" y="64"/>
                </a:cubicBezTo>
                <a:cubicBezTo>
                  <a:pt x="684" y="64"/>
                  <a:pt x="683" y="64"/>
                  <a:pt x="683" y="64"/>
                </a:cubicBezTo>
                <a:close/>
                <a:moveTo>
                  <a:pt x="1670" y="64"/>
                </a:moveTo>
                <a:cubicBezTo>
                  <a:pt x="1670" y="64"/>
                  <a:pt x="1670" y="65"/>
                  <a:pt x="1670" y="65"/>
                </a:cubicBezTo>
                <a:cubicBezTo>
                  <a:pt x="1670" y="64"/>
                  <a:pt x="1670" y="64"/>
                  <a:pt x="1670" y="64"/>
                </a:cubicBezTo>
                <a:close/>
                <a:moveTo>
                  <a:pt x="684" y="64"/>
                </a:moveTo>
                <a:cubicBezTo>
                  <a:pt x="684" y="65"/>
                  <a:pt x="684" y="65"/>
                  <a:pt x="685" y="65"/>
                </a:cubicBezTo>
                <a:cubicBezTo>
                  <a:pt x="685" y="64"/>
                  <a:pt x="684" y="64"/>
                  <a:pt x="684" y="64"/>
                </a:cubicBezTo>
                <a:close/>
                <a:moveTo>
                  <a:pt x="612" y="57"/>
                </a:moveTo>
                <a:cubicBezTo>
                  <a:pt x="612" y="57"/>
                  <a:pt x="612" y="58"/>
                  <a:pt x="613" y="58"/>
                </a:cubicBezTo>
                <a:cubicBezTo>
                  <a:pt x="613" y="57"/>
                  <a:pt x="613" y="57"/>
                  <a:pt x="612" y="57"/>
                </a:cubicBezTo>
                <a:close/>
                <a:moveTo>
                  <a:pt x="1362" y="65"/>
                </a:moveTo>
                <a:cubicBezTo>
                  <a:pt x="1362" y="65"/>
                  <a:pt x="1362" y="65"/>
                  <a:pt x="1362" y="64"/>
                </a:cubicBezTo>
                <a:cubicBezTo>
                  <a:pt x="1362" y="64"/>
                  <a:pt x="1362" y="64"/>
                  <a:pt x="1362" y="65"/>
                </a:cubicBezTo>
                <a:close/>
                <a:moveTo>
                  <a:pt x="1378" y="64"/>
                </a:moveTo>
                <a:cubicBezTo>
                  <a:pt x="1377" y="64"/>
                  <a:pt x="1377" y="64"/>
                  <a:pt x="1377" y="65"/>
                </a:cubicBezTo>
                <a:cubicBezTo>
                  <a:pt x="1377" y="65"/>
                  <a:pt x="1378" y="65"/>
                  <a:pt x="1378" y="64"/>
                </a:cubicBezTo>
                <a:close/>
                <a:moveTo>
                  <a:pt x="604" y="65"/>
                </a:moveTo>
                <a:cubicBezTo>
                  <a:pt x="604" y="65"/>
                  <a:pt x="604" y="65"/>
                  <a:pt x="604" y="65"/>
                </a:cubicBezTo>
                <a:cubicBezTo>
                  <a:pt x="604" y="65"/>
                  <a:pt x="604" y="65"/>
                  <a:pt x="604" y="65"/>
                </a:cubicBezTo>
                <a:close/>
                <a:moveTo>
                  <a:pt x="685" y="65"/>
                </a:moveTo>
                <a:cubicBezTo>
                  <a:pt x="685" y="65"/>
                  <a:pt x="685" y="65"/>
                  <a:pt x="685" y="65"/>
                </a:cubicBezTo>
                <a:cubicBezTo>
                  <a:pt x="685" y="65"/>
                  <a:pt x="685" y="65"/>
                  <a:pt x="685" y="65"/>
                </a:cubicBezTo>
                <a:close/>
                <a:moveTo>
                  <a:pt x="1546" y="65"/>
                </a:moveTo>
                <a:cubicBezTo>
                  <a:pt x="1546" y="65"/>
                  <a:pt x="1546" y="65"/>
                  <a:pt x="1546" y="65"/>
                </a:cubicBezTo>
                <a:cubicBezTo>
                  <a:pt x="1546" y="65"/>
                  <a:pt x="1546" y="65"/>
                  <a:pt x="1546" y="65"/>
                </a:cubicBezTo>
                <a:close/>
                <a:moveTo>
                  <a:pt x="1561" y="65"/>
                </a:moveTo>
                <a:cubicBezTo>
                  <a:pt x="1561" y="65"/>
                  <a:pt x="1561" y="65"/>
                  <a:pt x="1561" y="65"/>
                </a:cubicBezTo>
                <a:cubicBezTo>
                  <a:pt x="1561" y="65"/>
                  <a:pt x="1561" y="65"/>
                  <a:pt x="1561" y="65"/>
                </a:cubicBezTo>
                <a:close/>
                <a:moveTo>
                  <a:pt x="1714" y="65"/>
                </a:moveTo>
                <a:cubicBezTo>
                  <a:pt x="1714" y="65"/>
                  <a:pt x="1714" y="65"/>
                  <a:pt x="1714" y="65"/>
                </a:cubicBezTo>
                <a:cubicBezTo>
                  <a:pt x="1714" y="65"/>
                  <a:pt x="1714" y="65"/>
                  <a:pt x="1714" y="65"/>
                </a:cubicBezTo>
                <a:close/>
                <a:moveTo>
                  <a:pt x="1730" y="65"/>
                </a:moveTo>
                <a:cubicBezTo>
                  <a:pt x="1729" y="65"/>
                  <a:pt x="1729" y="65"/>
                  <a:pt x="1729" y="65"/>
                </a:cubicBezTo>
                <a:cubicBezTo>
                  <a:pt x="1729" y="65"/>
                  <a:pt x="1730" y="65"/>
                  <a:pt x="1730" y="65"/>
                </a:cubicBezTo>
                <a:close/>
                <a:moveTo>
                  <a:pt x="633" y="66"/>
                </a:moveTo>
                <a:cubicBezTo>
                  <a:pt x="633" y="66"/>
                  <a:pt x="633" y="65"/>
                  <a:pt x="633" y="65"/>
                </a:cubicBezTo>
                <a:cubicBezTo>
                  <a:pt x="633" y="65"/>
                  <a:pt x="633" y="65"/>
                  <a:pt x="633" y="66"/>
                </a:cubicBezTo>
                <a:close/>
                <a:moveTo>
                  <a:pt x="685" y="65"/>
                </a:moveTo>
                <a:cubicBezTo>
                  <a:pt x="685" y="65"/>
                  <a:pt x="686" y="65"/>
                  <a:pt x="686" y="65"/>
                </a:cubicBezTo>
                <a:cubicBezTo>
                  <a:pt x="686" y="65"/>
                  <a:pt x="686" y="65"/>
                  <a:pt x="685" y="65"/>
                </a:cubicBezTo>
                <a:close/>
                <a:moveTo>
                  <a:pt x="1683" y="40"/>
                </a:moveTo>
                <a:cubicBezTo>
                  <a:pt x="1683" y="41"/>
                  <a:pt x="1683" y="41"/>
                  <a:pt x="1683" y="41"/>
                </a:cubicBezTo>
                <a:cubicBezTo>
                  <a:pt x="1683" y="41"/>
                  <a:pt x="1683" y="41"/>
                  <a:pt x="1683" y="40"/>
                </a:cubicBezTo>
                <a:close/>
                <a:moveTo>
                  <a:pt x="1670" y="65"/>
                </a:moveTo>
                <a:cubicBezTo>
                  <a:pt x="1670" y="65"/>
                  <a:pt x="1671" y="66"/>
                  <a:pt x="1671" y="66"/>
                </a:cubicBezTo>
                <a:cubicBezTo>
                  <a:pt x="1671" y="65"/>
                  <a:pt x="1671" y="65"/>
                  <a:pt x="1670" y="65"/>
                </a:cubicBezTo>
                <a:close/>
                <a:moveTo>
                  <a:pt x="586" y="65"/>
                </a:moveTo>
                <a:cubicBezTo>
                  <a:pt x="586" y="66"/>
                  <a:pt x="586" y="66"/>
                  <a:pt x="586" y="66"/>
                </a:cubicBezTo>
                <a:cubicBezTo>
                  <a:pt x="586" y="66"/>
                  <a:pt x="586" y="65"/>
                  <a:pt x="586" y="65"/>
                </a:cubicBezTo>
                <a:close/>
                <a:moveTo>
                  <a:pt x="644" y="65"/>
                </a:moveTo>
                <a:cubicBezTo>
                  <a:pt x="643" y="65"/>
                  <a:pt x="643" y="66"/>
                  <a:pt x="643" y="66"/>
                </a:cubicBezTo>
                <a:cubicBezTo>
                  <a:pt x="644" y="66"/>
                  <a:pt x="644" y="66"/>
                  <a:pt x="644" y="65"/>
                </a:cubicBezTo>
                <a:close/>
                <a:moveTo>
                  <a:pt x="686" y="65"/>
                </a:moveTo>
                <a:cubicBezTo>
                  <a:pt x="686" y="66"/>
                  <a:pt x="686" y="66"/>
                  <a:pt x="687" y="66"/>
                </a:cubicBezTo>
                <a:cubicBezTo>
                  <a:pt x="687" y="65"/>
                  <a:pt x="686" y="65"/>
                  <a:pt x="686" y="65"/>
                </a:cubicBezTo>
                <a:close/>
                <a:moveTo>
                  <a:pt x="1376" y="65"/>
                </a:moveTo>
                <a:cubicBezTo>
                  <a:pt x="1376" y="65"/>
                  <a:pt x="1376" y="65"/>
                  <a:pt x="1376" y="66"/>
                </a:cubicBezTo>
                <a:cubicBezTo>
                  <a:pt x="1376" y="66"/>
                  <a:pt x="1376" y="66"/>
                  <a:pt x="1376" y="65"/>
                </a:cubicBezTo>
                <a:close/>
                <a:moveTo>
                  <a:pt x="687" y="66"/>
                </a:moveTo>
                <a:cubicBezTo>
                  <a:pt x="687" y="66"/>
                  <a:pt x="687" y="66"/>
                  <a:pt x="687" y="66"/>
                </a:cubicBezTo>
                <a:cubicBezTo>
                  <a:pt x="687" y="66"/>
                  <a:pt x="687" y="66"/>
                  <a:pt x="687" y="66"/>
                </a:cubicBezTo>
                <a:close/>
                <a:moveTo>
                  <a:pt x="1560" y="66"/>
                </a:moveTo>
                <a:cubicBezTo>
                  <a:pt x="1560" y="66"/>
                  <a:pt x="1560" y="66"/>
                  <a:pt x="1559" y="66"/>
                </a:cubicBezTo>
                <a:cubicBezTo>
                  <a:pt x="1560" y="66"/>
                  <a:pt x="1560" y="66"/>
                  <a:pt x="1560" y="66"/>
                </a:cubicBezTo>
                <a:close/>
                <a:moveTo>
                  <a:pt x="1671" y="66"/>
                </a:moveTo>
                <a:cubicBezTo>
                  <a:pt x="1671" y="66"/>
                  <a:pt x="1671" y="66"/>
                  <a:pt x="1671" y="66"/>
                </a:cubicBezTo>
                <a:cubicBezTo>
                  <a:pt x="1671" y="66"/>
                  <a:pt x="1671" y="66"/>
                  <a:pt x="1671" y="66"/>
                </a:cubicBezTo>
                <a:close/>
                <a:moveTo>
                  <a:pt x="586" y="66"/>
                </a:moveTo>
                <a:cubicBezTo>
                  <a:pt x="586" y="66"/>
                  <a:pt x="586" y="67"/>
                  <a:pt x="587" y="67"/>
                </a:cubicBezTo>
                <a:cubicBezTo>
                  <a:pt x="587" y="66"/>
                  <a:pt x="586" y="66"/>
                  <a:pt x="586" y="66"/>
                </a:cubicBezTo>
                <a:close/>
                <a:moveTo>
                  <a:pt x="687" y="66"/>
                </a:moveTo>
                <a:cubicBezTo>
                  <a:pt x="688" y="66"/>
                  <a:pt x="688" y="66"/>
                  <a:pt x="688" y="66"/>
                </a:cubicBezTo>
                <a:cubicBezTo>
                  <a:pt x="688" y="66"/>
                  <a:pt x="688" y="66"/>
                  <a:pt x="687" y="66"/>
                </a:cubicBezTo>
                <a:close/>
                <a:moveTo>
                  <a:pt x="1375" y="66"/>
                </a:moveTo>
                <a:cubicBezTo>
                  <a:pt x="1375" y="66"/>
                  <a:pt x="1375" y="66"/>
                  <a:pt x="1375" y="66"/>
                </a:cubicBezTo>
                <a:cubicBezTo>
                  <a:pt x="1375" y="66"/>
                  <a:pt x="1375" y="66"/>
                  <a:pt x="1375" y="66"/>
                </a:cubicBezTo>
                <a:close/>
                <a:moveTo>
                  <a:pt x="1544" y="66"/>
                </a:moveTo>
                <a:cubicBezTo>
                  <a:pt x="1544" y="66"/>
                  <a:pt x="1544" y="66"/>
                  <a:pt x="1544" y="66"/>
                </a:cubicBezTo>
                <a:cubicBezTo>
                  <a:pt x="1544" y="66"/>
                  <a:pt x="1544" y="66"/>
                  <a:pt x="1544" y="66"/>
                </a:cubicBezTo>
                <a:close/>
                <a:moveTo>
                  <a:pt x="605" y="67"/>
                </a:moveTo>
                <a:cubicBezTo>
                  <a:pt x="605" y="67"/>
                  <a:pt x="605" y="66"/>
                  <a:pt x="605" y="66"/>
                </a:cubicBezTo>
                <a:cubicBezTo>
                  <a:pt x="605" y="67"/>
                  <a:pt x="605" y="67"/>
                  <a:pt x="605" y="67"/>
                </a:cubicBezTo>
                <a:close/>
                <a:moveTo>
                  <a:pt x="665" y="67"/>
                </a:moveTo>
                <a:cubicBezTo>
                  <a:pt x="665" y="66"/>
                  <a:pt x="665" y="66"/>
                  <a:pt x="665" y="66"/>
                </a:cubicBezTo>
                <a:cubicBezTo>
                  <a:pt x="665" y="67"/>
                  <a:pt x="665" y="67"/>
                  <a:pt x="665" y="67"/>
                </a:cubicBezTo>
                <a:close/>
                <a:moveTo>
                  <a:pt x="688" y="66"/>
                </a:moveTo>
                <a:cubicBezTo>
                  <a:pt x="688" y="67"/>
                  <a:pt x="689" y="67"/>
                  <a:pt x="689" y="67"/>
                </a:cubicBezTo>
                <a:cubicBezTo>
                  <a:pt x="689" y="66"/>
                  <a:pt x="688" y="66"/>
                  <a:pt x="688" y="66"/>
                </a:cubicBezTo>
                <a:close/>
                <a:moveTo>
                  <a:pt x="1578" y="48"/>
                </a:moveTo>
                <a:cubicBezTo>
                  <a:pt x="1577" y="48"/>
                  <a:pt x="1577" y="49"/>
                  <a:pt x="1577" y="49"/>
                </a:cubicBezTo>
                <a:cubicBezTo>
                  <a:pt x="1577" y="49"/>
                  <a:pt x="1578" y="49"/>
                  <a:pt x="1578" y="48"/>
                </a:cubicBezTo>
                <a:close/>
                <a:moveTo>
                  <a:pt x="1559" y="66"/>
                </a:moveTo>
                <a:cubicBezTo>
                  <a:pt x="1559" y="66"/>
                  <a:pt x="1559" y="66"/>
                  <a:pt x="1558" y="67"/>
                </a:cubicBezTo>
                <a:cubicBezTo>
                  <a:pt x="1559" y="67"/>
                  <a:pt x="1559" y="67"/>
                  <a:pt x="1559" y="66"/>
                </a:cubicBezTo>
                <a:close/>
                <a:moveTo>
                  <a:pt x="1727" y="66"/>
                </a:moveTo>
                <a:cubicBezTo>
                  <a:pt x="1727" y="66"/>
                  <a:pt x="1727" y="66"/>
                  <a:pt x="1727" y="67"/>
                </a:cubicBezTo>
                <a:cubicBezTo>
                  <a:pt x="1727" y="67"/>
                  <a:pt x="1727" y="67"/>
                  <a:pt x="1727" y="66"/>
                </a:cubicBezTo>
                <a:close/>
                <a:moveTo>
                  <a:pt x="636" y="58"/>
                </a:moveTo>
                <a:cubicBezTo>
                  <a:pt x="636" y="58"/>
                  <a:pt x="636" y="58"/>
                  <a:pt x="636" y="57"/>
                </a:cubicBezTo>
                <a:cubicBezTo>
                  <a:pt x="636" y="58"/>
                  <a:pt x="636" y="58"/>
                  <a:pt x="636" y="58"/>
                </a:cubicBezTo>
                <a:close/>
                <a:moveTo>
                  <a:pt x="1671" y="67"/>
                </a:moveTo>
                <a:cubicBezTo>
                  <a:pt x="1671" y="67"/>
                  <a:pt x="1672" y="67"/>
                  <a:pt x="1672" y="67"/>
                </a:cubicBezTo>
                <a:cubicBezTo>
                  <a:pt x="1672" y="67"/>
                  <a:pt x="1672" y="67"/>
                  <a:pt x="1671" y="67"/>
                </a:cubicBezTo>
                <a:close/>
                <a:moveTo>
                  <a:pt x="643" y="67"/>
                </a:moveTo>
                <a:cubicBezTo>
                  <a:pt x="643" y="67"/>
                  <a:pt x="643" y="67"/>
                  <a:pt x="643" y="68"/>
                </a:cubicBezTo>
                <a:cubicBezTo>
                  <a:pt x="643" y="68"/>
                  <a:pt x="643" y="67"/>
                  <a:pt x="643" y="67"/>
                </a:cubicBezTo>
                <a:close/>
                <a:moveTo>
                  <a:pt x="689" y="67"/>
                </a:moveTo>
                <a:cubicBezTo>
                  <a:pt x="689" y="67"/>
                  <a:pt x="690" y="67"/>
                  <a:pt x="690" y="67"/>
                </a:cubicBezTo>
                <a:cubicBezTo>
                  <a:pt x="690" y="67"/>
                  <a:pt x="690" y="67"/>
                  <a:pt x="689" y="67"/>
                </a:cubicBezTo>
                <a:close/>
                <a:moveTo>
                  <a:pt x="1374" y="67"/>
                </a:moveTo>
                <a:cubicBezTo>
                  <a:pt x="1374" y="67"/>
                  <a:pt x="1373" y="67"/>
                  <a:pt x="1373" y="67"/>
                </a:cubicBezTo>
                <a:cubicBezTo>
                  <a:pt x="1374" y="67"/>
                  <a:pt x="1374" y="67"/>
                  <a:pt x="1374" y="67"/>
                </a:cubicBezTo>
                <a:close/>
                <a:moveTo>
                  <a:pt x="605" y="68"/>
                </a:moveTo>
                <a:cubicBezTo>
                  <a:pt x="605" y="68"/>
                  <a:pt x="605" y="67"/>
                  <a:pt x="605" y="67"/>
                </a:cubicBezTo>
                <a:cubicBezTo>
                  <a:pt x="605" y="68"/>
                  <a:pt x="605" y="68"/>
                  <a:pt x="605" y="68"/>
                </a:cubicBezTo>
                <a:close/>
                <a:moveTo>
                  <a:pt x="667" y="68"/>
                </a:moveTo>
                <a:cubicBezTo>
                  <a:pt x="666" y="67"/>
                  <a:pt x="666" y="67"/>
                  <a:pt x="666" y="67"/>
                </a:cubicBezTo>
                <a:cubicBezTo>
                  <a:pt x="666" y="68"/>
                  <a:pt x="666" y="68"/>
                  <a:pt x="667" y="68"/>
                </a:cubicBezTo>
                <a:close/>
                <a:moveTo>
                  <a:pt x="690" y="67"/>
                </a:moveTo>
                <a:cubicBezTo>
                  <a:pt x="690" y="68"/>
                  <a:pt x="690" y="68"/>
                  <a:pt x="691" y="68"/>
                </a:cubicBezTo>
                <a:cubicBezTo>
                  <a:pt x="690" y="67"/>
                  <a:pt x="690" y="67"/>
                  <a:pt x="690" y="67"/>
                </a:cubicBezTo>
                <a:close/>
                <a:moveTo>
                  <a:pt x="647" y="57"/>
                </a:moveTo>
                <a:cubicBezTo>
                  <a:pt x="646" y="57"/>
                  <a:pt x="646" y="58"/>
                  <a:pt x="646" y="58"/>
                </a:cubicBezTo>
                <a:cubicBezTo>
                  <a:pt x="647" y="58"/>
                  <a:pt x="647" y="58"/>
                  <a:pt x="647" y="57"/>
                </a:cubicBezTo>
                <a:close/>
                <a:moveTo>
                  <a:pt x="1558" y="67"/>
                </a:moveTo>
                <a:cubicBezTo>
                  <a:pt x="1557" y="67"/>
                  <a:pt x="1557" y="67"/>
                  <a:pt x="1557" y="68"/>
                </a:cubicBezTo>
                <a:cubicBezTo>
                  <a:pt x="1557" y="68"/>
                  <a:pt x="1558" y="68"/>
                  <a:pt x="1558" y="67"/>
                </a:cubicBezTo>
                <a:close/>
                <a:moveTo>
                  <a:pt x="1672" y="67"/>
                </a:moveTo>
                <a:cubicBezTo>
                  <a:pt x="1672" y="68"/>
                  <a:pt x="1672" y="68"/>
                  <a:pt x="1672" y="68"/>
                </a:cubicBezTo>
                <a:cubicBezTo>
                  <a:pt x="1672" y="68"/>
                  <a:pt x="1672" y="68"/>
                  <a:pt x="1672" y="67"/>
                </a:cubicBezTo>
                <a:close/>
                <a:moveTo>
                  <a:pt x="1710" y="68"/>
                </a:moveTo>
                <a:cubicBezTo>
                  <a:pt x="1711" y="68"/>
                  <a:pt x="1711" y="68"/>
                  <a:pt x="1711" y="67"/>
                </a:cubicBezTo>
                <a:cubicBezTo>
                  <a:pt x="1711" y="67"/>
                  <a:pt x="1710" y="68"/>
                  <a:pt x="1710" y="68"/>
                </a:cubicBezTo>
                <a:close/>
                <a:moveTo>
                  <a:pt x="1726" y="67"/>
                </a:moveTo>
                <a:cubicBezTo>
                  <a:pt x="1725" y="67"/>
                  <a:pt x="1725" y="67"/>
                  <a:pt x="1725" y="68"/>
                </a:cubicBezTo>
                <a:cubicBezTo>
                  <a:pt x="1725" y="68"/>
                  <a:pt x="1726" y="68"/>
                  <a:pt x="1726" y="67"/>
                </a:cubicBezTo>
                <a:close/>
                <a:moveTo>
                  <a:pt x="616" y="68"/>
                </a:moveTo>
                <a:cubicBezTo>
                  <a:pt x="616" y="68"/>
                  <a:pt x="616" y="68"/>
                  <a:pt x="616" y="69"/>
                </a:cubicBezTo>
                <a:cubicBezTo>
                  <a:pt x="616" y="68"/>
                  <a:pt x="616" y="68"/>
                  <a:pt x="616" y="68"/>
                </a:cubicBezTo>
                <a:close/>
                <a:moveTo>
                  <a:pt x="632" y="69"/>
                </a:moveTo>
                <a:cubicBezTo>
                  <a:pt x="632" y="68"/>
                  <a:pt x="632" y="68"/>
                  <a:pt x="632" y="68"/>
                </a:cubicBezTo>
                <a:cubicBezTo>
                  <a:pt x="632" y="68"/>
                  <a:pt x="632" y="68"/>
                  <a:pt x="632" y="69"/>
                </a:cubicBezTo>
                <a:close/>
                <a:moveTo>
                  <a:pt x="1555" y="58"/>
                </a:moveTo>
                <a:cubicBezTo>
                  <a:pt x="1556" y="58"/>
                  <a:pt x="1556" y="58"/>
                  <a:pt x="1556" y="57"/>
                </a:cubicBezTo>
                <a:cubicBezTo>
                  <a:pt x="1556" y="57"/>
                  <a:pt x="1555" y="57"/>
                  <a:pt x="1555" y="58"/>
                </a:cubicBezTo>
                <a:close/>
                <a:moveTo>
                  <a:pt x="587" y="68"/>
                </a:moveTo>
                <a:cubicBezTo>
                  <a:pt x="587" y="68"/>
                  <a:pt x="587" y="69"/>
                  <a:pt x="588" y="69"/>
                </a:cubicBezTo>
                <a:cubicBezTo>
                  <a:pt x="588" y="69"/>
                  <a:pt x="587" y="68"/>
                  <a:pt x="587" y="68"/>
                </a:cubicBezTo>
                <a:close/>
                <a:moveTo>
                  <a:pt x="606" y="69"/>
                </a:moveTo>
                <a:cubicBezTo>
                  <a:pt x="606" y="68"/>
                  <a:pt x="606" y="68"/>
                  <a:pt x="605" y="68"/>
                </a:cubicBezTo>
                <a:cubicBezTo>
                  <a:pt x="605" y="68"/>
                  <a:pt x="605" y="69"/>
                  <a:pt x="606" y="69"/>
                </a:cubicBezTo>
                <a:close/>
                <a:moveTo>
                  <a:pt x="668" y="68"/>
                </a:moveTo>
                <a:cubicBezTo>
                  <a:pt x="668" y="68"/>
                  <a:pt x="667" y="68"/>
                  <a:pt x="667" y="68"/>
                </a:cubicBezTo>
                <a:cubicBezTo>
                  <a:pt x="667" y="68"/>
                  <a:pt x="667" y="68"/>
                  <a:pt x="668" y="68"/>
                </a:cubicBezTo>
                <a:close/>
                <a:moveTo>
                  <a:pt x="691" y="68"/>
                </a:moveTo>
                <a:cubicBezTo>
                  <a:pt x="691" y="68"/>
                  <a:pt x="691" y="68"/>
                  <a:pt x="692" y="69"/>
                </a:cubicBezTo>
                <a:cubicBezTo>
                  <a:pt x="692" y="68"/>
                  <a:pt x="691" y="68"/>
                  <a:pt x="691" y="68"/>
                </a:cubicBezTo>
                <a:close/>
                <a:moveTo>
                  <a:pt x="1668" y="57"/>
                </a:moveTo>
                <a:cubicBezTo>
                  <a:pt x="1667" y="57"/>
                  <a:pt x="1667" y="57"/>
                  <a:pt x="1667" y="58"/>
                </a:cubicBezTo>
                <a:cubicBezTo>
                  <a:pt x="1667" y="58"/>
                  <a:pt x="1667" y="58"/>
                  <a:pt x="1668" y="57"/>
                </a:cubicBezTo>
                <a:close/>
                <a:moveTo>
                  <a:pt x="1672" y="68"/>
                </a:moveTo>
                <a:cubicBezTo>
                  <a:pt x="1672" y="68"/>
                  <a:pt x="1672" y="69"/>
                  <a:pt x="1673" y="69"/>
                </a:cubicBezTo>
                <a:cubicBezTo>
                  <a:pt x="1673" y="69"/>
                  <a:pt x="1672" y="68"/>
                  <a:pt x="1672" y="68"/>
                </a:cubicBezTo>
                <a:close/>
                <a:moveTo>
                  <a:pt x="1725" y="68"/>
                </a:moveTo>
                <a:cubicBezTo>
                  <a:pt x="1724" y="68"/>
                  <a:pt x="1724" y="68"/>
                  <a:pt x="1724" y="68"/>
                </a:cubicBezTo>
                <a:cubicBezTo>
                  <a:pt x="1724" y="68"/>
                  <a:pt x="1725" y="68"/>
                  <a:pt x="1725" y="68"/>
                </a:cubicBezTo>
                <a:close/>
                <a:moveTo>
                  <a:pt x="668" y="69"/>
                </a:moveTo>
                <a:cubicBezTo>
                  <a:pt x="668" y="69"/>
                  <a:pt x="668" y="68"/>
                  <a:pt x="668" y="68"/>
                </a:cubicBezTo>
                <a:cubicBezTo>
                  <a:pt x="668" y="69"/>
                  <a:pt x="668" y="69"/>
                  <a:pt x="668" y="69"/>
                </a:cubicBezTo>
                <a:close/>
                <a:moveTo>
                  <a:pt x="1723" y="58"/>
                </a:moveTo>
                <a:cubicBezTo>
                  <a:pt x="1724" y="58"/>
                  <a:pt x="1724" y="58"/>
                  <a:pt x="1724" y="57"/>
                </a:cubicBezTo>
                <a:cubicBezTo>
                  <a:pt x="1724" y="57"/>
                  <a:pt x="1723" y="57"/>
                  <a:pt x="1723" y="58"/>
                </a:cubicBezTo>
                <a:close/>
                <a:moveTo>
                  <a:pt x="588" y="69"/>
                </a:moveTo>
                <a:cubicBezTo>
                  <a:pt x="588" y="69"/>
                  <a:pt x="588" y="69"/>
                  <a:pt x="588" y="70"/>
                </a:cubicBezTo>
                <a:cubicBezTo>
                  <a:pt x="588" y="69"/>
                  <a:pt x="588" y="69"/>
                  <a:pt x="588" y="69"/>
                </a:cubicBezTo>
                <a:close/>
                <a:moveTo>
                  <a:pt x="616" y="69"/>
                </a:moveTo>
                <a:cubicBezTo>
                  <a:pt x="616" y="69"/>
                  <a:pt x="616" y="69"/>
                  <a:pt x="617" y="70"/>
                </a:cubicBezTo>
                <a:cubicBezTo>
                  <a:pt x="617" y="69"/>
                  <a:pt x="617" y="69"/>
                  <a:pt x="616" y="69"/>
                </a:cubicBezTo>
                <a:close/>
                <a:moveTo>
                  <a:pt x="631" y="70"/>
                </a:moveTo>
                <a:cubicBezTo>
                  <a:pt x="632" y="69"/>
                  <a:pt x="632" y="69"/>
                  <a:pt x="632" y="69"/>
                </a:cubicBezTo>
                <a:cubicBezTo>
                  <a:pt x="631" y="69"/>
                  <a:pt x="631" y="69"/>
                  <a:pt x="631" y="70"/>
                </a:cubicBezTo>
                <a:close/>
                <a:moveTo>
                  <a:pt x="642" y="69"/>
                </a:moveTo>
                <a:cubicBezTo>
                  <a:pt x="642" y="69"/>
                  <a:pt x="642" y="69"/>
                  <a:pt x="642" y="69"/>
                </a:cubicBezTo>
                <a:cubicBezTo>
                  <a:pt x="642" y="69"/>
                  <a:pt x="642" y="69"/>
                  <a:pt x="642" y="69"/>
                </a:cubicBezTo>
                <a:close/>
                <a:moveTo>
                  <a:pt x="751" y="50"/>
                </a:moveTo>
                <a:cubicBezTo>
                  <a:pt x="751" y="50"/>
                  <a:pt x="752" y="49"/>
                  <a:pt x="752" y="49"/>
                </a:cubicBezTo>
                <a:cubicBezTo>
                  <a:pt x="751" y="49"/>
                  <a:pt x="751" y="49"/>
                  <a:pt x="751" y="50"/>
                </a:cubicBezTo>
                <a:close/>
                <a:moveTo>
                  <a:pt x="964" y="69"/>
                </a:moveTo>
                <a:cubicBezTo>
                  <a:pt x="964" y="69"/>
                  <a:pt x="964" y="69"/>
                  <a:pt x="964" y="70"/>
                </a:cubicBezTo>
                <a:cubicBezTo>
                  <a:pt x="965" y="69"/>
                  <a:pt x="965" y="69"/>
                  <a:pt x="964" y="69"/>
                </a:cubicBezTo>
                <a:close/>
                <a:moveTo>
                  <a:pt x="1371" y="69"/>
                </a:moveTo>
                <a:cubicBezTo>
                  <a:pt x="1371" y="69"/>
                  <a:pt x="1371" y="69"/>
                  <a:pt x="1371" y="69"/>
                </a:cubicBezTo>
                <a:cubicBezTo>
                  <a:pt x="1371" y="69"/>
                  <a:pt x="1371" y="69"/>
                  <a:pt x="1371" y="69"/>
                </a:cubicBezTo>
                <a:close/>
                <a:moveTo>
                  <a:pt x="1565" y="49"/>
                </a:moveTo>
                <a:cubicBezTo>
                  <a:pt x="1565" y="49"/>
                  <a:pt x="1565" y="49"/>
                  <a:pt x="1565" y="48"/>
                </a:cubicBezTo>
                <a:cubicBezTo>
                  <a:pt x="1565" y="48"/>
                  <a:pt x="1565" y="49"/>
                  <a:pt x="1565" y="49"/>
                </a:cubicBezTo>
                <a:close/>
                <a:moveTo>
                  <a:pt x="1660" y="69"/>
                </a:moveTo>
                <a:cubicBezTo>
                  <a:pt x="1660" y="69"/>
                  <a:pt x="1660" y="69"/>
                  <a:pt x="1660" y="69"/>
                </a:cubicBezTo>
                <a:cubicBezTo>
                  <a:pt x="1660" y="69"/>
                  <a:pt x="1660" y="69"/>
                  <a:pt x="1660" y="69"/>
                </a:cubicBezTo>
                <a:close/>
                <a:moveTo>
                  <a:pt x="1673" y="69"/>
                </a:moveTo>
                <a:cubicBezTo>
                  <a:pt x="1673" y="69"/>
                  <a:pt x="1673" y="69"/>
                  <a:pt x="1673" y="70"/>
                </a:cubicBezTo>
                <a:cubicBezTo>
                  <a:pt x="1673" y="69"/>
                  <a:pt x="1673" y="69"/>
                  <a:pt x="1673" y="69"/>
                </a:cubicBezTo>
                <a:close/>
                <a:moveTo>
                  <a:pt x="606" y="70"/>
                </a:moveTo>
                <a:cubicBezTo>
                  <a:pt x="606" y="70"/>
                  <a:pt x="606" y="69"/>
                  <a:pt x="606" y="69"/>
                </a:cubicBezTo>
                <a:cubicBezTo>
                  <a:pt x="606" y="69"/>
                  <a:pt x="606" y="70"/>
                  <a:pt x="606" y="70"/>
                </a:cubicBezTo>
                <a:close/>
                <a:moveTo>
                  <a:pt x="669" y="69"/>
                </a:moveTo>
                <a:cubicBezTo>
                  <a:pt x="669" y="69"/>
                  <a:pt x="669" y="69"/>
                  <a:pt x="669" y="69"/>
                </a:cubicBezTo>
                <a:cubicBezTo>
                  <a:pt x="669" y="69"/>
                  <a:pt x="669" y="69"/>
                  <a:pt x="669" y="69"/>
                </a:cubicBezTo>
                <a:close/>
                <a:moveTo>
                  <a:pt x="1555" y="69"/>
                </a:moveTo>
                <a:cubicBezTo>
                  <a:pt x="1555" y="69"/>
                  <a:pt x="1555" y="69"/>
                  <a:pt x="1555" y="70"/>
                </a:cubicBezTo>
                <a:cubicBezTo>
                  <a:pt x="1555" y="69"/>
                  <a:pt x="1555" y="69"/>
                  <a:pt x="1555" y="69"/>
                </a:cubicBezTo>
                <a:close/>
                <a:moveTo>
                  <a:pt x="866" y="42"/>
                </a:moveTo>
                <a:cubicBezTo>
                  <a:pt x="866" y="42"/>
                  <a:pt x="866" y="42"/>
                  <a:pt x="866" y="42"/>
                </a:cubicBezTo>
                <a:cubicBezTo>
                  <a:pt x="866" y="42"/>
                  <a:pt x="866" y="42"/>
                  <a:pt x="866" y="42"/>
                </a:cubicBezTo>
                <a:close/>
                <a:moveTo>
                  <a:pt x="1723" y="69"/>
                </a:moveTo>
                <a:cubicBezTo>
                  <a:pt x="1723" y="69"/>
                  <a:pt x="1723" y="69"/>
                  <a:pt x="1723" y="70"/>
                </a:cubicBezTo>
                <a:cubicBezTo>
                  <a:pt x="1723" y="69"/>
                  <a:pt x="1723" y="69"/>
                  <a:pt x="1723" y="69"/>
                </a:cubicBezTo>
                <a:close/>
                <a:moveTo>
                  <a:pt x="1112" y="52"/>
                </a:moveTo>
                <a:cubicBezTo>
                  <a:pt x="1112" y="53"/>
                  <a:pt x="1112" y="53"/>
                  <a:pt x="1112" y="53"/>
                </a:cubicBezTo>
                <a:cubicBezTo>
                  <a:pt x="1112" y="53"/>
                  <a:pt x="1112" y="53"/>
                  <a:pt x="1112" y="52"/>
                </a:cubicBezTo>
                <a:close/>
                <a:moveTo>
                  <a:pt x="1504" y="7"/>
                </a:moveTo>
                <a:cubicBezTo>
                  <a:pt x="1504" y="7"/>
                  <a:pt x="1505" y="6"/>
                  <a:pt x="1505" y="6"/>
                </a:cubicBezTo>
                <a:cubicBezTo>
                  <a:pt x="1504" y="6"/>
                  <a:pt x="1504" y="6"/>
                  <a:pt x="1504" y="7"/>
                </a:cubicBezTo>
                <a:close/>
                <a:moveTo>
                  <a:pt x="670" y="70"/>
                </a:moveTo>
                <a:cubicBezTo>
                  <a:pt x="670" y="70"/>
                  <a:pt x="670" y="69"/>
                  <a:pt x="669" y="69"/>
                </a:cubicBezTo>
                <a:cubicBezTo>
                  <a:pt x="669" y="70"/>
                  <a:pt x="670" y="70"/>
                  <a:pt x="670" y="70"/>
                </a:cubicBezTo>
                <a:close/>
                <a:moveTo>
                  <a:pt x="1150" y="41"/>
                </a:moveTo>
                <a:cubicBezTo>
                  <a:pt x="1150" y="41"/>
                  <a:pt x="1150" y="41"/>
                  <a:pt x="1150" y="41"/>
                </a:cubicBezTo>
                <a:cubicBezTo>
                  <a:pt x="1150" y="41"/>
                  <a:pt x="1150" y="41"/>
                  <a:pt x="1150" y="41"/>
                </a:cubicBezTo>
                <a:close/>
                <a:moveTo>
                  <a:pt x="1085" y="49"/>
                </a:moveTo>
                <a:cubicBezTo>
                  <a:pt x="1085" y="49"/>
                  <a:pt x="1085" y="50"/>
                  <a:pt x="1086" y="50"/>
                </a:cubicBezTo>
                <a:cubicBezTo>
                  <a:pt x="1086" y="49"/>
                  <a:pt x="1086" y="49"/>
                  <a:pt x="1085" y="49"/>
                </a:cubicBezTo>
                <a:close/>
                <a:moveTo>
                  <a:pt x="749" y="56"/>
                </a:moveTo>
                <a:cubicBezTo>
                  <a:pt x="749" y="55"/>
                  <a:pt x="749" y="55"/>
                  <a:pt x="749" y="55"/>
                </a:cubicBezTo>
                <a:cubicBezTo>
                  <a:pt x="749" y="55"/>
                  <a:pt x="749" y="55"/>
                  <a:pt x="749" y="56"/>
                </a:cubicBezTo>
                <a:close/>
                <a:moveTo>
                  <a:pt x="1661" y="70"/>
                </a:moveTo>
                <a:cubicBezTo>
                  <a:pt x="1661" y="70"/>
                  <a:pt x="1661" y="70"/>
                  <a:pt x="1660" y="69"/>
                </a:cubicBezTo>
                <a:cubicBezTo>
                  <a:pt x="1660" y="70"/>
                  <a:pt x="1660" y="70"/>
                  <a:pt x="1661" y="70"/>
                </a:cubicBezTo>
                <a:close/>
                <a:moveTo>
                  <a:pt x="1673" y="69"/>
                </a:moveTo>
                <a:cubicBezTo>
                  <a:pt x="1673" y="70"/>
                  <a:pt x="1673" y="70"/>
                  <a:pt x="1673" y="70"/>
                </a:cubicBezTo>
                <a:cubicBezTo>
                  <a:pt x="1673" y="70"/>
                  <a:pt x="1673" y="70"/>
                  <a:pt x="1673" y="69"/>
                </a:cubicBezTo>
                <a:close/>
                <a:moveTo>
                  <a:pt x="606" y="71"/>
                </a:moveTo>
                <a:cubicBezTo>
                  <a:pt x="606" y="70"/>
                  <a:pt x="606" y="70"/>
                  <a:pt x="606" y="70"/>
                </a:cubicBezTo>
                <a:cubicBezTo>
                  <a:pt x="606" y="70"/>
                  <a:pt x="606" y="70"/>
                  <a:pt x="606" y="71"/>
                </a:cubicBezTo>
                <a:close/>
                <a:moveTo>
                  <a:pt x="617" y="70"/>
                </a:moveTo>
                <a:cubicBezTo>
                  <a:pt x="617" y="70"/>
                  <a:pt x="617" y="70"/>
                  <a:pt x="617" y="71"/>
                </a:cubicBezTo>
                <a:cubicBezTo>
                  <a:pt x="617" y="70"/>
                  <a:pt x="617" y="70"/>
                  <a:pt x="617" y="70"/>
                </a:cubicBezTo>
                <a:close/>
                <a:moveTo>
                  <a:pt x="642" y="70"/>
                </a:moveTo>
                <a:cubicBezTo>
                  <a:pt x="642" y="70"/>
                  <a:pt x="641" y="70"/>
                  <a:pt x="641" y="71"/>
                </a:cubicBezTo>
                <a:cubicBezTo>
                  <a:pt x="642" y="70"/>
                  <a:pt x="642" y="70"/>
                  <a:pt x="642" y="70"/>
                </a:cubicBezTo>
                <a:close/>
                <a:moveTo>
                  <a:pt x="671" y="70"/>
                </a:moveTo>
                <a:cubicBezTo>
                  <a:pt x="671" y="70"/>
                  <a:pt x="670" y="70"/>
                  <a:pt x="670" y="70"/>
                </a:cubicBezTo>
                <a:cubicBezTo>
                  <a:pt x="670" y="70"/>
                  <a:pt x="670" y="70"/>
                  <a:pt x="671" y="70"/>
                </a:cubicBezTo>
                <a:close/>
                <a:moveTo>
                  <a:pt x="965" y="70"/>
                </a:moveTo>
                <a:cubicBezTo>
                  <a:pt x="965" y="70"/>
                  <a:pt x="965" y="70"/>
                  <a:pt x="965" y="71"/>
                </a:cubicBezTo>
                <a:cubicBezTo>
                  <a:pt x="965" y="70"/>
                  <a:pt x="965" y="70"/>
                  <a:pt x="965" y="70"/>
                </a:cubicBezTo>
                <a:close/>
                <a:moveTo>
                  <a:pt x="1370" y="70"/>
                </a:moveTo>
                <a:cubicBezTo>
                  <a:pt x="1370" y="70"/>
                  <a:pt x="1370" y="70"/>
                  <a:pt x="1369" y="70"/>
                </a:cubicBezTo>
                <a:cubicBezTo>
                  <a:pt x="1370" y="70"/>
                  <a:pt x="1370" y="70"/>
                  <a:pt x="1370" y="70"/>
                </a:cubicBezTo>
                <a:close/>
                <a:moveTo>
                  <a:pt x="671" y="71"/>
                </a:moveTo>
                <a:cubicBezTo>
                  <a:pt x="671" y="70"/>
                  <a:pt x="671" y="70"/>
                  <a:pt x="671" y="70"/>
                </a:cubicBezTo>
                <a:cubicBezTo>
                  <a:pt x="671" y="70"/>
                  <a:pt x="671" y="71"/>
                  <a:pt x="671" y="71"/>
                </a:cubicBezTo>
                <a:close/>
                <a:moveTo>
                  <a:pt x="1263" y="48"/>
                </a:moveTo>
                <a:cubicBezTo>
                  <a:pt x="1263" y="49"/>
                  <a:pt x="1263" y="49"/>
                  <a:pt x="1263" y="49"/>
                </a:cubicBezTo>
                <a:cubicBezTo>
                  <a:pt x="1263" y="49"/>
                  <a:pt x="1263" y="48"/>
                  <a:pt x="1263" y="48"/>
                </a:cubicBezTo>
                <a:close/>
                <a:moveTo>
                  <a:pt x="1554" y="70"/>
                </a:moveTo>
                <a:cubicBezTo>
                  <a:pt x="1554" y="70"/>
                  <a:pt x="1553" y="70"/>
                  <a:pt x="1553" y="71"/>
                </a:cubicBezTo>
                <a:cubicBezTo>
                  <a:pt x="1553" y="71"/>
                  <a:pt x="1554" y="70"/>
                  <a:pt x="1554" y="70"/>
                </a:cubicBezTo>
                <a:close/>
                <a:moveTo>
                  <a:pt x="1673" y="70"/>
                </a:moveTo>
                <a:cubicBezTo>
                  <a:pt x="1673" y="70"/>
                  <a:pt x="1673" y="71"/>
                  <a:pt x="1674" y="71"/>
                </a:cubicBezTo>
                <a:cubicBezTo>
                  <a:pt x="1674" y="71"/>
                  <a:pt x="1674" y="70"/>
                  <a:pt x="1673" y="70"/>
                </a:cubicBezTo>
                <a:close/>
                <a:moveTo>
                  <a:pt x="1722" y="70"/>
                </a:moveTo>
                <a:cubicBezTo>
                  <a:pt x="1722" y="70"/>
                  <a:pt x="1721" y="70"/>
                  <a:pt x="1721" y="71"/>
                </a:cubicBezTo>
                <a:cubicBezTo>
                  <a:pt x="1722" y="71"/>
                  <a:pt x="1722" y="70"/>
                  <a:pt x="1722" y="70"/>
                </a:cubicBezTo>
                <a:close/>
                <a:moveTo>
                  <a:pt x="1432" y="7"/>
                </a:moveTo>
                <a:cubicBezTo>
                  <a:pt x="1432" y="7"/>
                  <a:pt x="1432" y="7"/>
                  <a:pt x="1433" y="7"/>
                </a:cubicBezTo>
                <a:cubicBezTo>
                  <a:pt x="1432" y="7"/>
                  <a:pt x="1432" y="7"/>
                  <a:pt x="1432" y="7"/>
                </a:cubicBezTo>
                <a:close/>
                <a:moveTo>
                  <a:pt x="631" y="71"/>
                </a:moveTo>
                <a:cubicBezTo>
                  <a:pt x="631" y="71"/>
                  <a:pt x="631" y="71"/>
                  <a:pt x="631" y="71"/>
                </a:cubicBezTo>
                <a:cubicBezTo>
                  <a:pt x="631" y="71"/>
                  <a:pt x="631" y="71"/>
                  <a:pt x="631" y="71"/>
                </a:cubicBezTo>
                <a:close/>
                <a:moveTo>
                  <a:pt x="641" y="70"/>
                </a:moveTo>
                <a:cubicBezTo>
                  <a:pt x="641" y="71"/>
                  <a:pt x="641" y="71"/>
                  <a:pt x="641" y="71"/>
                </a:cubicBezTo>
                <a:cubicBezTo>
                  <a:pt x="641" y="71"/>
                  <a:pt x="642" y="71"/>
                  <a:pt x="641" y="70"/>
                </a:cubicBezTo>
                <a:close/>
                <a:moveTo>
                  <a:pt x="672" y="71"/>
                </a:moveTo>
                <a:cubicBezTo>
                  <a:pt x="672" y="71"/>
                  <a:pt x="672" y="71"/>
                  <a:pt x="671" y="71"/>
                </a:cubicBezTo>
                <a:cubicBezTo>
                  <a:pt x="672" y="71"/>
                  <a:pt x="672" y="71"/>
                  <a:pt x="672" y="71"/>
                </a:cubicBezTo>
                <a:close/>
                <a:moveTo>
                  <a:pt x="573" y="54"/>
                </a:moveTo>
                <a:cubicBezTo>
                  <a:pt x="573" y="54"/>
                  <a:pt x="574" y="55"/>
                  <a:pt x="574" y="55"/>
                </a:cubicBezTo>
                <a:cubicBezTo>
                  <a:pt x="574" y="54"/>
                  <a:pt x="574" y="54"/>
                  <a:pt x="573" y="54"/>
                </a:cubicBezTo>
                <a:close/>
                <a:moveTo>
                  <a:pt x="607" y="72"/>
                </a:moveTo>
                <a:cubicBezTo>
                  <a:pt x="607" y="71"/>
                  <a:pt x="607" y="71"/>
                  <a:pt x="606" y="71"/>
                </a:cubicBezTo>
                <a:cubicBezTo>
                  <a:pt x="606" y="71"/>
                  <a:pt x="606" y="71"/>
                  <a:pt x="607" y="72"/>
                </a:cubicBezTo>
                <a:close/>
                <a:moveTo>
                  <a:pt x="617" y="71"/>
                </a:moveTo>
                <a:cubicBezTo>
                  <a:pt x="617" y="71"/>
                  <a:pt x="617" y="71"/>
                  <a:pt x="617" y="72"/>
                </a:cubicBezTo>
                <a:cubicBezTo>
                  <a:pt x="617" y="71"/>
                  <a:pt x="617" y="71"/>
                  <a:pt x="617" y="71"/>
                </a:cubicBezTo>
                <a:close/>
                <a:moveTo>
                  <a:pt x="673" y="71"/>
                </a:moveTo>
                <a:cubicBezTo>
                  <a:pt x="673" y="71"/>
                  <a:pt x="672" y="71"/>
                  <a:pt x="672" y="71"/>
                </a:cubicBezTo>
                <a:cubicBezTo>
                  <a:pt x="672" y="71"/>
                  <a:pt x="673" y="71"/>
                  <a:pt x="673" y="71"/>
                </a:cubicBezTo>
                <a:close/>
                <a:moveTo>
                  <a:pt x="1450" y="7"/>
                </a:moveTo>
                <a:cubicBezTo>
                  <a:pt x="1450" y="7"/>
                  <a:pt x="1450" y="7"/>
                  <a:pt x="1450" y="7"/>
                </a:cubicBezTo>
                <a:cubicBezTo>
                  <a:pt x="1450" y="7"/>
                  <a:pt x="1450" y="7"/>
                  <a:pt x="1450" y="7"/>
                </a:cubicBezTo>
                <a:close/>
                <a:moveTo>
                  <a:pt x="965" y="71"/>
                </a:moveTo>
                <a:cubicBezTo>
                  <a:pt x="965" y="71"/>
                  <a:pt x="965" y="71"/>
                  <a:pt x="965" y="72"/>
                </a:cubicBezTo>
                <a:cubicBezTo>
                  <a:pt x="965" y="71"/>
                  <a:pt x="965" y="71"/>
                  <a:pt x="965" y="71"/>
                </a:cubicBezTo>
                <a:close/>
                <a:moveTo>
                  <a:pt x="1151" y="42"/>
                </a:moveTo>
                <a:cubicBezTo>
                  <a:pt x="1151" y="42"/>
                  <a:pt x="1151" y="42"/>
                  <a:pt x="1151" y="42"/>
                </a:cubicBezTo>
                <a:cubicBezTo>
                  <a:pt x="1151" y="42"/>
                  <a:pt x="1151" y="42"/>
                  <a:pt x="1151" y="42"/>
                </a:cubicBezTo>
                <a:close/>
                <a:moveTo>
                  <a:pt x="1369" y="71"/>
                </a:moveTo>
                <a:cubicBezTo>
                  <a:pt x="1368" y="71"/>
                  <a:pt x="1368" y="71"/>
                  <a:pt x="1368" y="71"/>
                </a:cubicBezTo>
                <a:cubicBezTo>
                  <a:pt x="1368" y="71"/>
                  <a:pt x="1369" y="71"/>
                  <a:pt x="1369" y="71"/>
                </a:cubicBezTo>
                <a:close/>
                <a:moveTo>
                  <a:pt x="1154" y="48"/>
                </a:moveTo>
                <a:cubicBezTo>
                  <a:pt x="1154" y="49"/>
                  <a:pt x="1154" y="49"/>
                  <a:pt x="1154" y="49"/>
                </a:cubicBezTo>
                <a:cubicBezTo>
                  <a:pt x="1154" y="49"/>
                  <a:pt x="1154" y="48"/>
                  <a:pt x="1154" y="48"/>
                </a:cubicBezTo>
                <a:close/>
                <a:moveTo>
                  <a:pt x="1674" y="71"/>
                </a:moveTo>
                <a:cubicBezTo>
                  <a:pt x="1674" y="71"/>
                  <a:pt x="1674" y="71"/>
                  <a:pt x="1674" y="72"/>
                </a:cubicBezTo>
                <a:cubicBezTo>
                  <a:pt x="1674" y="71"/>
                  <a:pt x="1674" y="71"/>
                  <a:pt x="1674" y="71"/>
                </a:cubicBezTo>
                <a:close/>
                <a:moveTo>
                  <a:pt x="674" y="72"/>
                </a:moveTo>
                <a:cubicBezTo>
                  <a:pt x="673" y="71"/>
                  <a:pt x="673" y="71"/>
                  <a:pt x="673" y="71"/>
                </a:cubicBezTo>
                <a:cubicBezTo>
                  <a:pt x="673" y="72"/>
                  <a:pt x="673" y="72"/>
                  <a:pt x="674" y="72"/>
                </a:cubicBezTo>
                <a:close/>
                <a:moveTo>
                  <a:pt x="1552" y="71"/>
                </a:moveTo>
                <a:cubicBezTo>
                  <a:pt x="1552" y="71"/>
                  <a:pt x="1552" y="71"/>
                  <a:pt x="1552" y="72"/>
                </a:cubicBezTo>
                <a:cubicBezTo>
                  <a:pt x="1552" y="72"/>
                  <a:pt x="1552" y="71"/>
                  <a:pt x="1552" y="71"/>
                </a:cubicBezTo>
                <a:close/>
                <a:moveTo>
                  <a:pt x="1662" y="72"/>
                </a:moveTo>
                <a:cubicBezTo>
                  <a:pt x="1662" y="72"/>
                  <a:pt x="1662" y="71"/>
                  <a:pt x="1661" y="71"/>
                </a:cubicBezTo>
                <a:cubicBezTo>
                  <a:pt x="1661" y="72"/>
                  <a:pt x="1661" y="72"/>
                  <a:pt x="1662" y="72"/>
                </a:cubicBezTo>
                <a:close/>
                <a:moveTo>
                  <a:pt x="1721" y="71"/>
                </a:moveTo>
                <a:cubicBezTo>
                  <a:pt x="1720" y="71"/>
                  <a:pt x="1720" y="71"/>
                  <a:pt x="1720" y="72"/>
                </a:cubicBezTo>
                <a:cubicBezTo>
                  <a:pt x="1720" y="72"/>
                  <a:pt x="1720" y="71"/>
                  <a:pt x="1721" y="71"/>
                </a:cubicBezTo>
                <a:close/>
                <a:moveTo>
                  <a:pt x="1564" y="7"/>
                </a:moveTo>
                <a:cubicBezTo>
                  <a:pt x="1564" y="7"/>
                  <a:pt x="1564" y="7"/>
                  <a:pt x="1565" y="7"/>
                </a:cubicBezTo>
                <a:cubicBezTo>
                  <a:pt x="1564" y="7"/>
                  <a:pt x="1564" y="7"/>
                  <a:pt x="1564" y="7"/>
                </a:cubicBezTo>
                <a:close/>
                <a:moveTo>
                  <a:pt x="1732" y="7"/>
                </a:moveTo>
                <a:cubicBezTo>
                  <a:pt x="1732" y="7"/>
                  <a:pt x="1732" y="7"/>
                  <a:pt x="1733" y="7"/>
                </a:cubicBezTo>
                <a:cubicBezTo>
                  <a:pt x="1733" y="7"/>
                  <a:pt x="1732" y="7"/>
                  <a:pt x="1732" y="7"/>
                </a:cubicBezTo>
                <a:close/>
                <a:moveTo>
                  <a:pt x="630" y="72"/>
                </a:moveTo>
                <a:cubicBezTo>
                  <a:pt x="631" y="72"/>
                  <a:pt x="631" y="72"/>
                  <a:pt x="631" y="72"/>
                </a:cubicBezTo>
                <a:cubicBezTo>
                  <a:pt x="630" y="72"/>
                  <a:pt x="630" y="72"/>
                  <a:pt x="630" y="72"/>
                </a:cubicBezTo>
                <a:close/>
                <a:moveTo>
                  <a:pt x="641" y="71"/>
                </a:moveTo>
                <a:cubicBezTo>
                  <a:pt x="641" y="72"/>
                  <a:pt x="641" y="72"/>
                  <a:pt x="641" y="72"/>
                </a:cubicBezTo>
                <a:cubicBezTo>
                  <a:pt x="641" y="72"/>
                  <a:pt x="641" y="72"/>
                  <a:pt x="641" y="71"/>
                </a:cubicBezTo>
                <a:close/>
                <a:moveTo>
                  <a:pt x="674" y="72"/>
                </a:moveTo>
                <a:cubicBezTo>
                  <a:pt x="674" y="72"/>
                  <a:pt x="674" y="72"/>
                  <a:pt x="674" y="72"/>
                </a:cubicBezTo>
                <a:cubicBezTo>
                  <a:pt x="674" y="72"/>
                  <a:pt x="674" y="72"/>
                  <a:pt x="674" y="72"/>
                </a:cubicBezTo>
                <a:close/>
                <a:moveTo>
                  <a:pt x="1674" y="72"/>
                </a:moveTo>
                <a:cubicBezTo>
                  <a:pt x="1674" y="72"/>
                  <a:pt x="1674" y="72"/>
                  <a:pt x="1674" y="72"/>
                </a:cubicBezTo>
                <a:cubicBezTo>
                  <a:pt x="1674" y="72"/>
                  <a:pt x="1674" y="72"/>
                  <a:pt x="1674" y="72"/>
                </a:cubicBezTo>
                <a:close/>
                <a:moveTo>
                  <a:pt x="1358" y="7"/>
                </a:moveTo>
                <a:cubicBezTo>
                  <a:pt x="1359" y="8"/>
                  <a:pt x="1359" y="7"/>
                  <a:pt x="1359" y="7"/>
                </a:cubicBezTo>
                <a:cubicBezTo>
                  <a:pt x="1359" y="7"/>
                  <a:pt x="1358" y="7"/>
                  <a:pt x="1358" y="7"/>
                </a:cubicBezTo>
                <a:close/>
                <a:moveTo>
                  <a:pt x="675" y="72"/>
                </a:moveTo>
                <a:cubicBezTo>
                  <a:pt x="675" y="72"/>
                  <a:pt x="675" y="72"/>
                  <a:pt x="675" y="72"/>
                </a:cubicBezTo>
                <a:cubicBezTo>
                  <a:pt x="675" y="72"/>
                  <a:pt x="675" y="72"/>
                  <a:pt x="675" y="72"/>
                </a:cubicBezTo>
                <a:close/>
                <a:moveTo>
                  <a:pt x="1381" y="7"/>
                </a:moveTo>
                <a:cubicBezTo>
                  <a:pt x="1381" y="8"/>
                  <a:pt x="1381" y="8"/>
                  <a:pt x="1382" y="8"/>
                </a:cubicBezTo>
                <a:cubicBezTo>
                  <a:pt x="1381" y="7"/>
                  <a:pt x="1381" y="7"/>
                  <a:pt x="1381" y="7"/>
                </a:cubicBezTo>
                <a:close/>
                <a:moveTo>
                  <a:pt x="965" y="72"/>
                </a:moveTo>
                <a:cubicBezTo>
                  <a:pt x="965" y="72"/>
                  <a:pt x="965" y="72"/>
                  <a:pt x="966" y="73"/>
                </a:cubicBezTo>
                <a:cubicBezTo>
                  <a:pt x="966" y="72"/>
                  <a:pt x="966" y="72"/>
                  <a:pt x="965" y="72"/>
                </a:cubicBezTo>
                <a:close/>
                <a:moveTo>
                  <a:pt x="908" y="41"/>
                </a:moveTo>
                <a:cubicBezTo>
                  <a:pt x="908" y="42"/>
                  <a:pt x="909" y="42"/>
                  <a:pt x="909" y="42"/>
                </a:cubicBezTo>
                <a:cubicBezTo>
                  <a:pt x="909" y="42"/>
                  <a:pt x="909" y="41"/>
                  <a:pt x="908" y="41"/>
                </a:cubicBezTo>
                <a:close/>
                <a:moveTo>
                  <a:pt x="865" y="41"/>
                </a:moveTo>
                <a:cubicBezTo>
                  <a:pt x="865" y="41"/>
                  <a:pt x="865" y="41"/>
                  <a:pt x="866" y="41"/>
                </a:cubicBezTo>
                <a:cubicBezTo>
                  <a:pt x="866" y="41"/>
                  <a:pt x="866" y="41"/>
                  <a:pt x="865" y="41"/>
                </a:cubicBezTo>
                <a:close/>
                <a:moveTo>
                  <a:pt x="1662" y="73"/>
                </a:moveTo>
                <a:cubicBezTo>
                  <a:pt x="1662" y="72"/>
                  <a:pt x="1662" y="72"/>
                  <a:pt x="1662" y="72"/>
                </a:cubicBezTo>
                <a:cubicBezTo>
                  <a:pt x="1662" y="72"/>
                  <a:pt x="1662" y="72"/>
                  <a:pt x="1662" y="73"/>
                </a:cubicBezTo>
                <a:close/>
                <a:moveTo>
                  <a:pt x="641" y="72"/>
                </a:moveTo>
                <a:cubicBezTo>
                  <a:pt x="641" y="72"/>
                  <a:pt x="640" y="73"/>
                  <a:pt x="640" y="73"/>
                </a:cubicBezTo>
                <a:cubicBezTo>
                  <a:pt x="641" y="73"/>
                  <a:pt x="641" y="73"/>
                  <a:pt x="641" y="72"/>
                </a:cubicBezTo>
                <a:close/>
                <a:moveTo>
                  <a:pt x="676" y="73"/>
                </a:moveTo>
                <a:cubicBezTo>
                  <a:pt x="676" y="72"/>
                  <a:pt x="676" y="72"/>
                  <a:pt x="675" y="72"/>
                </a:cubicBezTo>
                <a:cubicBezTo>
                  <a:pt x="675" y="73"/>
                  <a:pt x="676" y="73"/>
                  <a:pt x="676" y="73"/>
                </a:cubicBezTo>
                <a:close/>
                <a:moveTo>
                  <a:pt x="648" y="55"/>
                </a:moveTo>
                <a:cubicBezTo>
                  <a:pt x="647" y="55"/>
                  <a:pt x="647" y="55"/>
                  <a:pt x="647" y="56"/>
                </a:cubicBezTo>
                <a:cubicBezTo>
                  <a:pt x="648" y="55"/>
                  <a:pt x="648" y="55"/>
                  <a:pt x="648" y="55"/>
                </a:cubicBezTo>
                <a:close/>
                <a:moveTo>
                  <a:pt x="871" y="42"/>
                </a:moveTo>
                <a:cubicBezTo>
                  <a:pt x="871" y="42"/>
                  <a:pt x="871" y="42"/>
                  <a:pt x="871" y="41"/>
                </a:cubicBezTo>
                <a:cubicBezTo>
                  <a:pt x="871" y="41"/>
                  <a:pt x="871" y="42"/>
                  <a:pt x="871" y="42"/>
                </a:cubicBezTo>
                <a:close/>
                <a:moveTo>
                  <a:pt x="1674" y="72"/>
                </a:moveTo>
                <a:cubicBezTo>
                  <a:pt x="1674" y="73"/>
                  <a:pt x="1674" y="73"/>
                  <a:pt x="1675" y="73"/>
                </a:cubicBezTo>
                <a:cubicBezTo>
                  <a:pt x="1675" y="73"/>
                  <a:pt x="1675" y="72"/>
                  <a:pt x="1674" y="72"/>
                </a:cubicBezTo>
                <a:close/>
                <a:moveTo>
                  <a:pt x="1032" y="53"/>
                </a:moveTo>
                <a:cubicBezTo>
                  <a:pt x="1032" y="53"/>
                  <a:pt x="1032" y="53"/>
                  <a:pt x="1032" y="52"/>
                </a:cubicBezTo>
                <a:cubicBezTo>
                  <a:pt x="1032" y="53"/>
                  <a:pt x="1032" y="53"/>
                  <a:pt x="1032" y="53"/>
                </a:cubicBezTo>
                <a:close/>
                <a:moveTo>
                  <a:pt x="607" y="73"/>
                </a:moveTo>
                <a:cubicBezTo>
                  <a:pt x="607" y="73"/>
                  <a:pt x="607" y="73"/>
                  <a:pt x="607" y="73"/>
                </a:cubicBezTo>
                <a:cubicBezTo>
                  <a:pt x="607" y="73"/>
                  <a:pt x="607" y="73"/>
                  <a:pt x="607" y="73"/>
                </a:cubicBezTo>
                <a:close/>
                <a:moveTo>
                  <a:pt x="1431" y="8"/>
                </a:moveTo>
                <a:cubicBezTo>
                  <a:pt x="1431" y="8"/>
                  <a:pt x="1431" y="8"/>
                  <a:pt x="1431" y="7"/>
                </a:cubicBezTo>
                <a:cubicBezTo>
                  <a:pt x="1431" y="7"/>
                  <a:pt x="1431" y="7"/>
                  <a:pt x="1431" y="8"/>
                </a:cubicBezTo>
                <a:close/>
                <a:moveTo>
                  <a:pt x="630" y="73"/>
                </a:moveTo>
                <a:cubicBezTo>
                  <a:pt x="630" y="73"/>
                  <a:pt x="630" y="73"/>
                  <a:pt x="630" y="73"/>
                </a:cubicBezTo>
                <a:cubicBezTo>
                  <a:pt x="630" y="73"/>
                  <a:pt x="630" y="73"/>
                  <a:pt x="630" y="73"/>
                </a:cubicBezTo>
                <a:close/>
                <a:moveTo>
                  <a:pt x="677" y="73"/>
                </a:moveTo>
                <a:cubicBezTo>
                  <a:pt x="677" y="73"/>
                  <a:pt x="676" y="73"/>
                  <a:pt x="676" y="73"/>
                </a:cubicBezTo>
                <a:cubicBezTo>
                  <a:pt x="676" y="73"/>
                  <a:pt x="676" y="73"/>
                  <a:pt x="677" y="73"/>
                </a:cubicBezTo>
                <a:close/>
                <a:moveTo>
                  <a:pt x="966" y="73"/>
                </a:moveTo>
                <a:cubicBezTo>
                  <a:pt x="966" y="73"/>
                  <a:pt x="966" y="73"/>
                  <a:pt x="966" y="73"/>
                </a:cubicBezTo>
                <a:cubicBezTo>
                  <a:pt x="966" y="73"/>
                  <a:pt x="966" y="73"/>
                  <a:pt x="966" y="73"/>
                </a:cubicBezTo>
                <a:close/>
                <a:moveTo>
                  <a:pt x="677" y="73"/>
                </a:moveTo>
                <a:cubicBezTo>
                  <a:pt x="677" y="73"/>
                  <a:pt x="677" y="73"/>
                  <a:pt x="677" y="73"/>
                </a:cubicBezTo>
                <a:cubicBezTo>
                  <a:pt x="677" y="73"/>
                  <a:pt x="677" y="73"/>
                  <a:pt x="677" y="73"/>
                </a:cubicBezTo>
                <a:close/>
                <a:moveTo>
                  <a:pt x="1451" y="7"/>
                </a:moveTo>
                <a:cubicBezTo>
                  <a:pt x="1451" y="8"/>
                  <a:pt x="1451" y="8"/>
                  <a:pt x="1452" y="8"/>
                </a:cubicBezTo>
                <a:cubicBezTo>
                  <a:pt x="1451" y="7"/>
                  <a:pt x="1451" y="7"/>
                  <a:pt x="1451" y="7"/>
                </a:cubicBezTo>
                <a:close/>
                <a:moveTo>
                  <a:pt x="1663" y="74"/>
                </a:moveTo>
                <a:cubicBezTo>
                  <a:pt x="1663" y="73"/>
                  <a:pt x="1662" y="73"/>
                  <a:pt x="1662" y="73"/>
                </a:cubicBezTo>
                <a:cubicBezTo>
                  <a:pt x="1662" y="73"/>
                  <a:pt x="1662" y="73"/>
                  <a:pt x="1663" y="74"/>
                </a:cubicBezTo>
                <a:close/>
                <a:moveTo>
                  <a:pt x="1085" y="48"/>
                </a:moveTo>
                <a:cubicBezTo>
                  <a:pt x="1085" y="49"/>
                  <a:pt x="1085" y="49"/>
                  <a:pt x="1085" y="49"/>
                </a:cubicBezTo>
                <a:cubicBezTo>
                  <a:pt x="1085" y="49"/>
                  <a:pt x="1085" y="48"/>
                  <a:pt x="1085" y="48"/>
                </a:cubicBezTo>
                <a:close/>
                <a:moveTo>
                  <a:pt x="1542" y="8"/>
                </a:moveTo>
                <a:cubicBezTo>
                  <a:pt x="1543" y="8"/>
                  <a:pt x="1543" y="8"/>
                  <a:pt x="1543" y="7"/>
                </a:cubicBezTo>
                <a:cubicBezTo>
                  <a:pt x="1543" y="7"/>
                  <a:pt x="1543" y="7"/>
                  <a:pt x="1542" y="8"/>
                </a:cubicBezTo>
                <a:close/>
                <a:moveTo>
                  <a:pt x="1565" y="7"/>
                </a:moveTo>
                <a:cubicBezTo>
                  <a:pt x="1565" y="7"/>
                  <a:pt x="1565" y="8"/>
                  <a:pt x="1566" y="7"/>
                </a:cubicBezTo>
                <a:cubicBezTo>
                  <a:pt x="1565" y="7"/>
                  <a:pt x="1565" y="7"/>
                  <a:pt x="1565" y="7"/>
                </a:cubicBezTo>
                <a:close/>
                <a:moveTo>
                  <a:pt x="640" y="73"/>
                </a:moveTo>
                <a:cubicBezTo>
                  <a:pt x="640" y="73"/>
                  <a:pt x="640" y="74"/>
                  <a:pt x="640" y="74"/>
                </a:cubicBezTo>
                <a:cubicBezTo>
                  <a:pt x="640" y="74"/>
                  <a:pt x="640" y="74"/>
                  <a:pt x="640" y="73"/>
                </a:cubicBezTo>
                <a:close/>
                <a:moveTo>
                  <a:pt x="678" y="74"/>
                </a:moveTo>
                <a:cubicBezTo>
                  <a:pt x="678" y="73"/>
                  <a:pt x="678" y="73"/>
                  <a:pt x="677" y="73"/>
                </a:cubicBezTo>
                <a:cubicBezTo>
                  <a:pt x="678" y="74"/>
                  <a:pt x="678" y="74"/>
                  <a:pt x="678" y="74"/>
                </a:cubicBezTo>
                <a:close/>
                <a:moveTo>
                  <a:pt x="697" y="73"/>
                </a:moveTo>
                <a:cubicBezTo>
                  <a:pt x="697" y="74"/>
                  <a:pt x="697" y="74"/>
                  <a:pt x="697" y="74"/>
                </a:cubicBezTo>
                <a:cubicBezTo>
                  <a:pt x="697" y="74"/>
                  <a:pt x="697" y="73"/>
                  <a:pt x="697" y="73"/>
                </a:cubicBezTo>
                <a:close/>
                <a:moveTo>
                  <a:pt x="953" y="74"/>
                </a:moveTo>
                <a:cubicBezTo>
                  <a:pt x="953" y="74"/>
                  <a:pt x="953" y="73"/>
                  <a:pt x="953" y="73"/>
                </a:cubicBezTo>
                <a:cubicBezTo>
                  <a:pt x="953" y="74"/>
                  <a:pt x="953" y="74"/>
                  <a:pt x="953" y="74"/>
                </a:cubicBezTo>
                <a:close/>
                <a:moveTo>
                  <a:pt x="966" y="73"/>
                </a:moveTo>
                <a:cubicBezTo>
                  <a:pt x="966" y="74"/>
                  <a:pt x="966" y="74"/>
                  <a:pt x="966" y="74"/>
                </a:cubicBezTo>
                <a:cubicBezTo>
                  <a:pt x="966" y="74"/>
                  <a:pt x="966" y="74"/>
                  <a:pt x="966" y="73"/>
                </a:cubicBezTo>
                <a:close/>
                <a:moveTo>
                  <a:pt x="662" y="41"/>
                </a:moveTo>
                <a:cubicBezTo>
                  <a:pt x="662" y="41"/>
                  <a:pt x="662" y="41"/>
                  <a:pt x="663" y="41"/>
                </a:cubicBezTo>
                <a:cubicBezTo>
                  <a:pt x="662" y="41"/>
                  <a:pt x="662" y="41"/>
                  <a:pt x="662" y="41"/>
                </a:cubicBezTo>
                <a:close/>
                <a:moveTo>
                  <a:pt x="1365" y="73"/>
                </a:moveTo>
                <a:cubicBezTo>
                  <a:pt x="1365" y="73"/>
                  <a:pt x="1365" y="73"/>
                  <a:pt x="1365" y="74"/>
                </a:cubicBezTo>
                <a:cubicBezTo>
                  <a:pt x="1365" y="74"/>
                  <a:pt x="1365" y="74"/>
                  <a:pt x="1365" y="73"/>
                </a:cubicBezTo>
                <a:close/>
                <a:moveTo>
                  <a:pt x="1710" y="8"/>
                </a:moveTo>
                <a:cubicBezTo>
                  <a:pt x="1711" y="8"/>
                  <a:pt x="1711" y="8"/>
                  <a:pt x="1711" y="7"/>
                </a:cubicBezTo>
                <a:cubicBezTo>
                  <a:pt x="1711" y="7"/>
                  <a:pt x="1711" y="7"/>
                  <a:pt x="1710" y="8"/>
                </a:cubicBezTo>
                <a:close/>
                <a:moveTo>
                  <a:pt x="679" y="74"/>
                </a:moveTo>
                <a:cubicBezTo>
                  <a:pt x="679" y="74"/>
                  <a:pt x="678" y="74"/>
                  <a:pt x="678" y="74"/>
                </a:cubicBezTo>
                <a:cubicBezTo>
                  <a:pt x="678" y="74"/>
                  <a:pt x="678" y="74"/>
                  <a:pt x="679" y="74"/>
                </a:cubicBezTo>
                <a:close/>
                <a:moveTo>
                  <a:pt x="1733" y="7"/>
                </a:moveTo>
                <a:cubicBezTo>
                  <a:pt x="1733" y="7"/>
                  <a:pt x="1734" y="8"/>
                  <a:pt x="1734" y="7"/>
                </a:cubicBezTo>
                <a:cubicBezTo>
                  <a:pt x="1734" y="7"/>
                  <a:pt x="1733" y="7"/>
                  <a:pt x="1733" y="7"/>
                </a:cubicBezTo>
                <a:close/>
                <a:moveTo>
                  <a:pt x="1667" y="58"/>
                </a:moveTo>
                <a:cubicBezTo>
                  <a:pt x="1666" y="58"/>
                  <a:pt x="1666" y="58"/>
                  <a:pt x="1666" y="58"/>
                </a:cubicBezTo>
                <a:cubicBezTo>
                  <a:pt x="1666" y="58"/>
                  <a:pt x="1666" y="58"/>
                  <a:pt x="1667" y="58"/>
                </a:cubicBezTo>
                <a:close/>
                <a:moveTo>
                  <a:pt x="1663" y="74"/>
                </a:moveTo>
                <a:cubicBezTo>
                  <a:pt x="1663" y="74"/>
                  <a:pt x="1663" y="74"/>
                  <a:pt x="1662" y="74"/>
                </a:cubicBezTo>
                <a:cubicBezTo>
                  <a:pt x="1662" y="74"/>
                  <a:pt x="1663" y="74"/>
                  <a:pt x="1663" y="74"/>
                </a:cubicBezTo>
                <a:close/>
                <a:moveTo>
                  <a:pt x="1717" y="74"/>
                </a:moveTo>
                <a:cubicBezTo>
                  <a:pt x="1717" y="74"/>
                  <a:pt x="1717" y="74"/>
                  <a:pt x="1717" y="74"/>
                </a:cubicBezTo>
                <a:cubicBezTo>
                  <a:pt x="1717" y="74"/>
                  <a:pt x="1717" y="74"/>
                  <a:pt x="1717" y="74"/>
                </a:cubicBezTo>
                <a:close/>
                <a:moveTo>
                  <a:pt x="640" y="74"/>
                </a:moveTo>
                <a:cubicBezTo>
                  <a:pt x="640" y="74"/>
                  <a:pt x="640" y="74"/>
                  <a:pt x="640" y="75"/>
                </a:cubicBezTo>
                <a:cubicBezTo>
                  <a:pt x="640" y="75"/>
                  <a:pt x="640" y="74"/>
                  <a:pt x="640" y="74"/>
                </a:cubicBezTo>
                <a:close/>
                <a:moveTo>
                  <a:pt x="679" y="74"/>
                </a:moveTo>
                <a:cubicBezTo>
                  <a:pt x="679" y="74"/>
                  <a:pt x="679" y="74"/>
                  <a:pt x="679" y="74"/>
                </a:cubicBezTo>
                <a:cubicBezTo>
                  <a:pt x="679" y="74"/>
                  <a:pt x="679" y="74"/>
                  <a:pt x="679" y="74"/>
                </a:cubicBezTo>
                <a:close/>
                <a:moveTo>
                  <a:pt x="697" y="74"/>
                </a:moveTo>
                <a:cubicBezTo>
                  <a:pt x="697" y="74"/>
                  <a:pt x="697" y="75"/>
                  <a:pt x="698" y="75"/>
                </a:cubicBezTo>
                <a:cubicBezTo>
                  <a:pt x="698" y="74"/>
                  <a:pt x="697" y="74"/>
                  <a:pt x="697" y="74"/>
                </a:cubicBezTo>
                <a:close/>
                <a:moveTo>
                  <a:pt x="582" y="8"/>
                </a:moveTo>
                <a:cubicBezTo>
                  <a:pt x="582" y="8"/>
                  <a:pt x="582" y="8"/>
                  <a:pt x="583" y="8"/>
                </a:cubicBezTo>
                <a:cubicBezTo>
                  <a:pt x="582" y="8"/>
                  <a:pt x="582" y="8"/>
                  <a:pt x="582" y="8"/>
                </a:cubicBezTo>
                <a:close/>
                <a:moveTo>
                  <a:pt x="1675" y="74"/>
                </a:moveTo>
                <a:cubicBezTo>
                  <a:pt x="1675" y="74"/>
                  <a:pt x="1675" y="75"/>
                  <a:pt x="1675" y="75"/>
                </a:cubicBezTo>
                <a:cubicBezTo>
                  <a:pt x="1675" y="74"/>
                  <a:pt x="1675" y="74"/>
                  <a:pt x="1675" y="74"/>
                </a:cubicBezTo>
                <a:close/>
                <a:moveTo>
                  <a:pt x="608" y="75"/>
                </a:moveTo>
                <a:cubicBezTo>
                  <a:pt x="608" y="75"/>
                  <a:pt x="608" y="74"/>
                  <a:pt x="608" y="74"/>
                </a:cubicBezTo>
                <a:cubicBezTo>
                  <a:pt x="608" y="75"/>
                  <a:pt x="608" y="75"/>
                  <a:pt x="608" y="75"/>
                </a:cubicBezTo>
                <a:close/>
                <a:moveTo>
                  <a:pt x="629" y="75"/>
                </a:moveTo>
                <a:cubicBezTo>
                  <a:pt x="630" y="75"/>
                  <a:pt x="630" y="75"/>
                  <a:pt x="630" y="74"/>
                </a:cubicBezTo>
                <a:cubicBezTo>
                  <a:pt x="629" y="75"/>
                  <a:pt x="629" y="75"/>
                  <a:pt x="629" y="75"/>
                </a:cubicBezTo>
                <a:close/>
                <a:moveTo>
                  <a:pt x="680" y="75"/>
                </a:moveTo>
                <a:cubicBezTo>
                  <a:pt x="680" y="74"/>
                  <a:pt x="680" y="74"/>
                  <a:pt x="679" y="74"/>
                </a:cubicBezTo>
                <a:cubicBezTo>
                  <a:pt x="680" y="75"/>
                  <a:pt x="680" y="75"/>
                  <a:pt x="680" y="75"/>
                </a:cubicBezTo>
                <a:close/>
                <a:moveTo>
                  <a:pt x="954" y="75"/>
                </a:moveTo>
                <a:cubicBezTo>
                  <a:pt x="954" y="75"/>
                  <a:pt x="954" y="74"/>
                  <a:pt x="953" y="74"/>
                </a:cubicBezTo>
                <a:cubicBezTo>
                  <a:pt x="953" y="75"/>
                  <a:pt x="953" y="75"/>
                  <a:pt x="954" y="75"/>
                </a:cubicBezTo>
                <a:close/>
                <a:moveTo>
                  <a:pt x="966" y="74"/>
                </a:moveTo>
                <a:cubicBezTo>
                  <a:pt x="966" y="75"/>
                  <a:pt x="966" y="75"/>
                  <a:pt x="967" y="75"/>
                </a:cubicBezTo>
                <a:cubicBezTo>
                  <a:pt x="967" y="75"/>
                  <a:pt x="967" y="75"/>
                  <a:pt x="966" y="74"/>
                </a:cubicBezTo>
                <a:close/>
                <a:moveTo>
                  <a:pt x="595" y="41"/>
                </a:moveTo>
                <a:cubicBezTo>
                  <a:pt x="595" y="41"/>
                  <a:pt x="595" y="41"/>
                  <a:pt x="595" y="41"/>
                </a:cubicBezTo>
                <a:cubicBezTo>
                  <a:pt x="595" y="41"/>
                  <a:pt x="595" y="41"/>
                  <a:pt x="595" y="41"/>
                </a:cubicBezTo>
                <a:close/>
                <a:moveTo>
                  <a:pt x="1663" y="75"/>
                </a:moveTo>
                <a:cubicBezTo>
                  <a:pt x="1663" y="75"/>
                  <a:pt x="1663" y="75"/>
                  <a:pt x="1663" y="74"/>
                </a:cubicBezTo>
                <a:cubicBezTo>
                  <a:pt x="1663" y="75"/>
                  <a:pt x="1663" y="75"/>
                  <a:pt x="1663" y="75"/>
                </a:cubicBezTo>
                <a:close/>
                <a:moveTo>
                  <a:pt x="619" y="75"/>
                </a:moveTo>
                <a:cubicBezTo>
                  <a:pt x="619" y="75"/>
                  <a:pt x="619" y="75"/>
                  <a:pt x="619" y="76"/>
                </a:cubicBezTo>
                <a:cubicBezTo>
                  <a:pt x="619" y="75"/>
                  <a:pt x="619" y="75"/>
                  <a:pt x="619" y="75"/>
                </a:cubicBezTo>
                <a:close/>
                <a:moveTo>
                  <a:pt x="681" y="75"/>
                </a:moveTo>
                <a:cubicBezTo>
                  <a:pt x="681" y="75"/>
                  <a:pt x="680" y="75"/>
                  <a:pt x="680" y="75"/>
                </a:cubicBezTo>
                <a:cubicBezTo>
                  <a:pt x="680" y="75"/>
                  <a:pt x="681" y="75"/>
                  <a:pt x="681" y="75"/>
                </a:cubicBezTo>
                <a:close/>
                <a:moveTo>
                  <a:pt x="1357" y="8"/>
                </a:moveTo>
                <a:cubicBezTo>
                  <a:pt x="1357" y="8"/>
                  <a:pt x="1358" y="8"/>
                  <a:pt x="1358" y="8"/>
                </a:cubicBezTo>
                <a:cubicBezTo>
                  <a:pt x="1358" y="8"/>
                  <a:pt x="1357" y="8"/>
                  <a:pt x="1357" y="8"/>
                </a:cubicBezTo>
                <a:close/>
                <a:moveTo>
                  <a:pt x="799" y="41"/>
                </a:moveTo>
                <a:cubicBezTo>
                  <a:pt x="799" y="42"/>
                  <a:pt x="799" y="42"/>
                  <a:pt x="799" y="42"/>
                </a:cubicBezTo>
                <a:cubicBezTo>
                  <a:pt x="799" y="42"/>
                  <a:pt x="799" y="41"/>
                  <a:pt x="799" y="41"/>
                </a:cubicBezTo>
                <a:close/>
                <a:moveTo>
                  <a:pt x="1382" y="8"/>
                </a:moveTo>
                <a:cubicBezTo>
                  <a:pt x="1382" y="8"/>
                  <a:pt x="1382" y="8"/>
                  <a:pt x="1383" y="8"/>
                </a:cubicBezTo>
                <a:cubicBezTo>
                  <a:pt x="1382" y="8"/>
                  <a:pt x="1382" y="8"/>
                  <a:pt x="1382" y="8"/>
                </a:cubicBezTo>
                <a:close/>
                <a:moveTo>
                  <a:pt x="1675" y="75"/>
                </a:moveTo>
                <a:cubicBezTo>
                  <a:pt x="1675" y="75"/>
                  <a:pt x="1675" y="75"/>
                  <a:pt x="1676" y="75"/>
                </a:cubicBezTo>
                <a:cubicBezTo>
                  <a:pt x="1676" y="75"/>
                  <a:pt x="1676" y="75"/>
                  <a:pt x="1675" y="75"/>
                </a:cubicBezTo>
                <a:close/>
                <a:moveTo>
                  <a:pt x="640" y="75"/>
                </a:moveTo>
                <a:cubicBezTo>
                  <a:pt x="639" y="75"/>
                  <a:pt x="639" y="75"/>
                  <a:pt x="639" y="76"/>
                </a:cubicBezTo>
                <a:cubicBezTo>
                  <a:pt x="640" y="76"/>
                  <a:pt x="640" y="75"/>
                  <a:pt x="640" y="75"/>
                </a:cubicBezTo>
                <a:close/>
                <a:moveTo>
                  <a:pt x="682" y="75"/>
                </a:moveTo>
                <a:cubicBezTo>
                  <a:pt x="681" y="75"/>
                  <a:pt x="681" y="75"/>
                  <a:pt x="681" y="75"/>
                </a:cubicBezTo>
                <a:cubicBezTo>
                  <a:pt x="681" y="75"/>
                  <a:pt x="681" y="75"/>
                  <a:pt x="682" y="75"/>
                </a:cubicBezTo>
                <a:close/>
                <a:moveTo>
                  <a:pt x="1502" y="8"/>
                </a:moveTo>
                <a:cubicBezTo>
                  <a:pt x="1503" y="8"/>
                  <a:pt x="1503" y="8"/>
                  <a:pt x="1503" y="8"/>
                </a:cubicBezTo>
                <a:cubicBezTo>
                  <a:pt x="1503" y="8"/>
                  <a:pt x="1502" y="8"/>
                  <a:pt x="1502" y="8"/>
                </a:cubicBezTo>
                <a:close/>
                <a:moveTo>
                  <a:pt x="967" y="75"/>
                </a:moveTo>
                <a:cubicBezTo>
                  <a:pt x="967" y="75"/>
                  <a:pt x="967" y="76"/>
                  <a:pt x="967" y="76"/>
                </a:cubicBezTo>
                <a:cubicBezTo>
                  <a:pt x="967" y="75"/>
                  <a:pt x="967" y="75"/>
                  <a:pt x="967" y="75"/>
                </a:cubicBezTo>
                <a:close/>
                <a:moveTo>
                  <a:pt x="1370" y="58"/>
                </a:moveTo>
                <a:cubicBezTo>
                  <a:pt x="1370" y="58"/>
                  <a:pt x="1371" y="58"/>
                  <a:pt x="1371" y="58"/>
                </a:cubicBezTo>
                <a:cubicBezTo>
                  <a:pt x="1370" y="58"/>
                  <a:pt x="1370" y="58"/>
                  <a:pt x="1370" y="58"/>
                </a:cubicBezTo>
                <a:close/>
                <a:moveTo>
                  <a:pt x="875" y="48"/>
                </a:moveTo>
                <a:cubicBezTo>
                  <a:pt x="875" y="48"/>
                  <a:pt x="875" y="49"/>
                  <a:pt x="875" y="49"/>
                </a:cubicBezTo>
                <a:cubicBezTo>
                  <a:pt x="875" y="49"/>
                  <a:pt x="875" y="49"/>
                  <a:pt x="875" y="48"/>
                </a:cubicBezTo>
                <a:close/>
                <a:moveTo>
                  <a:pt x="1033" y="49"/>
                </a:moveTo>
                <a:cubicBezTo>
                  <a:pt x="1034" y="49"/>
                  <a:pt x="1034" y="49"/>
                  <a:pt x="1034" y="49"/>
                </a:cubicBezTo>
                <a:cubicBezTo>
                  <a:pt x="1034" y="49"/>
                  <a:pt x="1033" y="49"/>
                  <a:pt x="1033" y="49"/>
                </a:cubicBezTo>
                <a:close/>
                <a:moveTo>
                  <a:pt x="832" y="48"/>
                </a:moveTo>
                <a:cubicBezTo>
                  <a:pt x="832" y="48"/>
                  <a:pt x="832" y="49"/>
                  <a:pt x="832" y="49"/>
                </a:cubicBezTo>
                <a:cubicBezTo>
                  <a:pt x="832" y="49"/>
                  <a:pt x="832" y="49"/>
                  <a:pt x="832" y="48"/>
                </a:cubicBezTo>
                <a:close/>
                <a:moveTo>
                  <a:pt x="608" y="76"/>
                </a:moveTo>
                <a:cubicBezTo>
                  <a:pt x="608" y="76"/>
                  <a:pt x="608" y="75"/>
                  <a:pt x="608" y="75"/>
                </a:cubicBezTo>
                <a:cubicBezTo>
                  <a:pt x="608" y="76"/>
                  <a:pt x="608" y="76"/>
                  <a:pt x="608" y="76"/>
                </a:cubicBezTo>
                <a:close/>
                <a:moveTo>
                  <a:pt x="629" y="76"/>
                </a:moveTo>
                <a:cubicBezTo>
                  <a:pt x="629" y="76"/>
                  <a:pt x="629" y="76"/>
                  <a:pt x="629" y="75"/>
                </a:cubicBezTo>
                <a:cubicBezTo>
                  <a:pt x="629" y="76"/>
                  <a:pt x="629" y="76"/>
                  <a:pt x="629" y="76"/>
                </a:cubicBezTo>
                <a:close/>
                <a:moveTo>
                  <a:pt x="752" y="49"/>
                </a:moveTo>
                <a:cubicBezTo>
                  <a:pt x="752" y="49"/>
                  <a:pt x="752" y="49"/>
                  <a:pt x="752" y="48"/>
                </a:cubicBezTo>
                <a:cubicBezTo>
                  <a:pt x="752" y="48"/>
                  <a:pt x="752" y="49"/>
                  <a:pt x="752" y="49"/>
                </a:cubicBezTo>
                <a:close/>
                <a:moveTo>
                  <a:pt x="954" y="76"/>
                </a:moveTo>
                <a:cubicBezTo>
                  <a:pt x="954" y="76"/>
                  <a:pt x="954" y="75"/>
                  <a:pt x="954" y="75"/>
                </a:cubicBezTo>
                <a:cubicBezTo>
                  <a:pt x="954" y="76"/>
                  <a:pt x="954" y="76"/>
                  <a:pt x="954" y="76"/>
                </a:cubicBezTo>
                <a:close/>
                <a:moveTo>
                  <a:pt x="1664" y="76"/>
                </a:moveTo>
                <a:cubicBezTo>
                  <a:pt x="1664" y="76"/>
                  <a:pt x="1664" y="75"/>
                  <a:pt x="1663" y="75"/>
                </a:cubicBezTo>
                <a:cubicBezTo>
                  <a:pt x="1663" y="76"/>
                  <a:pt x="1663" y="76"/>
                  <a:pt x="1664" y="76"/>
                </a:cubicBezTo>
                <a:close/>
                <a:moveTo>
                  <a:pt x="1676" y="75"/>
                </a:moveTo>
                <a:cubicBezTo>
                  <a:pt x="1676" y="76"/>
                  <a:pt x="1676" y="76"/>
                  <a:pt x="1676" y="76"/>
                </a:cubicBezTo>
                <a:cubicBezTo>
                  <a:pt x="1676" y="76"/>
                  <a:pt x="1676" y="76"/>
                  <a:pt x="1676" y="75"/>
                </a:cubicBezTo>
                <a:close/>
                <a:moveTo>
                  <a:pt x="619" y="76"/>
                </a:moveTo>
                <a:cubicBezTo>
                  <a:pt x="619" y="76"/>
                  <a:pt x="619" y="76"/>
                  <a:pt x="619" y="77"/>
                </a:cubicBezTo>
                <a:cubicBezTo>
                  <a:pt x="619" y="76"/>
                  <a:pt x="619" y="76"/>
                  <a:pt x="619" y="76"/>
                </a:cubicBezTo>
                <a:close/>
                <a:moveTo>
                  <a:pt x="639" y="76"/>
                </a:moveTo>
                <a:cubicBezTo>
                  <a:pt x="639" y="76"/>
                  <a:pt x="639" y="76"/>
                  <a:pt x="639" y="76"/>
                </a:cubicBezTo>
                <a:cubicBezTo>
                  <a:pt x="639" y="76"/>
                  <a:pt x="639" y="76"/>
                  <a:pt x="639" y="76"/>
                </a:cubicBezTo>
                <a:close/>
                <a:moveTo>
                  <a:pt x="683" y="76"/>
                </a:moveTo>
                <a:cubicBezTo>
                  <a:pt x="682" y="76"/>
                  <a:pt x="682" y="76"/>
                  <a:pt x="682" y="76"/>
                </a:cubicBezTo>
                <a:cubicBezTo>
                  <a:pt x="682" y="76"/>
                  <a:pt x="682" y="76"/>
                  <a:pt x="683" y="76"/>
                </a:cubicBezTo>
                <a:close/>
                <a:moveTo>
                  <a:pt x="967" y="76"/>
                </a:moveTo>
                <a:cubicBezTo>
                  <a:pt x="967" y="76"/>
                  <a:pt x="967" y="76"/>
                  <a:pt x="967" y="76"/>
                </a:cubicBezTo>
                <a:cubicBezTo>
                  <a:pt x="967" y="76"/>
                  <a:pt x="967" y="76"/>
                  <a:pt x="967" y="76"/>
                </a:cubicBezTo>
                <a:close/>
                <a:moveTo>
                  <a:pt x="1349" y="76"/>
                </a:moveTo>
                <a:cubicBezTo>
                  <a:pt x="1349" y="76"/>
                  <a:pt x="1350" y="76"/>
                  <a:pt x="1350" y="76"/>
                </a:cubicBezTo>
                <a:cubicBezTo>
                  <a:pt x="1349" y="76"/>
                  <a:pt x="1349" y="76"/>
                  <a:pt x="1349" y="76"/>
                </a:cubicBezTo>
                <a:close/>
                <a:moveTo>
                  <a:pt x="1541" y="8"/>
                </a:moveTo>
                <a:cubicBezTo>
                  <a:pt x="1542" y="8"/>
                  <a:pt x="1542" y="8"/>
                  <a:pt x="1542" y="8"/>
                </a:cubicBezTo>
                <a:cubicBezTo>
                  <a:pt x="1542" y="8"/>
                  <a:pt x="1542" y="8"/>
                  <a:pt x="1541" y="8"/>
                </a:cubicBezTo>
                <a:close/>
                <a:moveTo>
                  <a:pt x="609" y="77"/>
                </a:moveTo>
                <a:cubicBezTo>
                  <a:pt x="609" y="77"/>
                  <a:pt x="609" y="76"/>
                  <a:pt x="608" y="76"/>
                </a:cubicBezTo>
                <a:cubicBezTo>
                  <a:pt x="608" y="76"/>
                  <a:pt x="608" y="77"/>
                  <a:pt x="609" y="77"/>
                </a:cubicBezTo>
                <a:close/>
                <a:moveTo>
                  <a:pt x="1566" y="8"/>
                </a:moveTo>
                <a:cubicBezTo>
                  <a:pt x="1566" y="8"/>
                  <a:pt x="1566" y="8"/>
                  <a:pt x="1567" y="8"/>
                </a:cubicBezTo>
                <a:cubicBezTo>
                  <a:pt x="1567" y="8"/>
                  <a:pt x="1566" y="8"/>
                  <a:pt x="1566" y="8"/>
                </a:cubicBezTo>
                <a:close/>
                <a:moveTo>
                  <a:pt x="683" y="76"/>
                </a:moveTo>
                <a:cubicBezTo>
                  <a:pt x="683" y="76"/>
                  <a:pt x="683" y="76"/>
                  <a:pt x="683" y="76"/>
                </a:cubicBezTo>
                <a:cubicBezTo>
                  <a:pt x="683" y="76"/>
                  <a:pt x="683" y="76"/>
                  <a:pt x="683" y="76"/>
                </a:cubicBezTo>
                <a:close/>
                <a:moveTo>
                  <a:pt x="698" y="76"/>
                </a:moveTo>
                <a:cubicBezTo>
                  <a:pt x="698" y="76"/>
                  <a:pt x="698" y="77"/>
                  <a:pt x="699" y="77"/>
                </a:cubicBezTo>
                <a:cubicBezTo>
                  <a:pt x="699" y="77"/>
                  <a:pt x="699" y="76"/>
                  <a:pt x="698" y="76"/>
                </a:cubicBezTo>
                <a:close/>
                <a:moveTo>
                  <a:pt x="1709" y="8"/>
                </a:moveTo>
                <a:cubicBezTo>
                  <a:pt x="1710" y="8"/>
                  <a:pt x="1710" y="8"/>
                  <a:pt x="1710" y="8"/>
                </a:cubicBezTo>
                <a:cubicBezTo>
                  <a:pt x="1710" y="8"/>
                  <a:pt x="1710" y="8"/>
                  <a:pt x="1709" y="8"/>
                </a:cubicBezTo>
                <a:close/>
                <a:moveTo>
                  <a:pt x="563" y="48"/>
                </a:moveTo>
                <a:cubicBezTo>
                  <a:pt x="563" y="49"/>
                  <a:pt x="564" y="49"/>
                  <a:pt x="564" y="49"/>
                </a:cubicBezTo>
                <a:cubicBezTo>
                  <a:pt x="564" y="48"/>
                  <a:pt x="563" y="48"/>
                  <a:pt x="563" y="48"/>
                </a:cubicBezTo>
                <a:close/>
                <a:moveTo>
                  <a:pt x="1734" y="8"/>
                </a:moveTo>
                <a:cubicBezTo>
                  <a:pt x="1734" y="8"/>
                  <a:pt x="1735" y="8"/>
                  <a:pt x="1735" y="8"/>
                </a:cubicBezTo>
                <a:cubicBezTo>
                  <a:pt x="1735" y="8"/>
                  <a:pt x="1734" y="8"/>
                  <a:pt x="1734" y="8"/>
                </a:cubicBezTo>
                <a:close/>
                <a:moveTo>
                  <a:pt x="1664" y="77"/>
                </a:moveTo>
                <a:cubicBezTo>
                  <a:pt x="1664" y="76"/>
                  <a:pt x="1664" y="76"/>
                  <a:pt x="1664" y="76"/>
                </a:cubicBezTo>
                <a:cubicBezTo>
                  <a:pt x="1664" y="76"/>
                  <a:pt x="1664" y="77"/>
                  <a:pt x="1664" y="77"/>
                </a:cubicBezTo>
                <a:close/>
                <a:moveTo>
                  <a:pt x="1676" y="76"/>
                </a:moveTo>
                <a:cubicBezTo>
                  <a:pt x="1676" y="76"/>
                  <a:pt x="1676" y="77"/>
                  <a:pt x="1676" y="77"/>
                </a:cubicBezTo>
                <a:cubicBezTo>
                  <a:pt x="1676" y="77"/>
                  <a:pt x="1676" y="76"/>
                  <a:pt x="1676" y="76"/>
                </a:cubicBezTo>
                <a:close/>
                <a:moveTo>
                  <a:pt x="602" y="59"/>
                </a:moveTo>
                <a:cubicBezTo>
                  <a:pt x="602" y="59"/>
                  <a:pt x="602" y="58"/>
                  <a:pt x="602" y="58"/>
                </a:cubicBezTo>
                <a:cubicBezTo>
                  <a:pt x="601" y="59"/>
                  <a:pt x="602" y="59"/>
                  <a:pt x="602" y="59"/>
                </a:cubicBezTo>
                <a:close/>
                <a:moveTo>
                  <a:pt x="965" y="40"/>
                </a:moveTo>
                <a:cubicBezTo>
                  <a:pt x="965" y="40"/>
                  <a:pt x="965" y="41"/>
                  <a:pt x="965" y="41"/>
                </a:cubicBezTo>
                <a:cubicBezTo>
                  <a:pt x="965" y="41"/>
                  <a:pt x="965" y="40"/>
                  <a:pt x="965" y="40"/>
                </a:cubicBezTo>
                <a:close/>
                <a:moveTo>
                  <a:pt x="619" y="77"/>
                </a:moveTo>
                <a:cubicBezTo>
                  <a:pt x="619" y="77"/>
                  <a:pt x="619" y="77"/>
                  <a:pt x="620" y="78"/>
                </a:cubicBezTo>
                <a:cubicBezTo>
                  <a:pt x="620" y="77"/>
                  <a:pt x="620" y="77"/>
                  <a:pt x="619" y="77"/>
                </a:cubicBezTo>
                <a:close/>
                <a:moveTo>
                  <a:pt x="639" y="77"/>
                </a:moveTo>
                <a:cubicBezTo>
                  <a:pt x="639" y="77"/>
                  <a:pt x="639" y="77"/>
                  <a:pt x="639" y="77"/>
                </a:cubicBezTo>
                <a:cubicBezTo>
                  <a:pt x="639" y="77"/>
                  <a:pt x="639" y="77"/>
                  <a:pt x="639" y="77"/>
                </a:cubicBezTo>
                <a:close/>
                <a:moveTo>
                  <a:pt x="684" y="77"/>
                </a:moveTo>
                <a:cubicBezTo>
                  <a:pt x="684" y="77"/>
                  <a:pt x="684" y="77"/>
                  <a:pt x="684" y="77"/>
                </a:cubicBezTo>
                <a:cubicBezTo>
                  <a:pt x="684" y="77"/>
                  <a:pt x="684" y="77"/>
                  <a:pt x="684" y="77"/>
                </a:cubicBezTo>
                <a:close/>
                <a:moveTo>
                  <a:pt x="553" y="8"/>
                </a:moveTo>
                <a:cubicBezTo>
                  <a:pt x="553" y="8"/>
                  <a:pt x="553" y="8"/>
                  <a:pt x="553" y="8"/>
                </a:cubicBezTo>
                <a:cubicBezTo>
                  <a:pt x="553" y="8"/>
                  <a:pt x="553" y="8"/>
                  <a:pt x="553" y="8"/>
                </a:cubicBezTo>
                <a:close/>
                <a:moveTo>
                  <a:pt x="968" y="77"/>
                </a:moveTo>
                <a:cubicBezTo>
                  <a:pt x="968" y="77"/>
                  <a:pt x="968" y="77"/>
                  <a:pt x="968" y="78"/>
                </a:cubicBezTo>
                <a:cubicBezTo>
                  <a:pt x="968" y="77"/>
                  <a:pt x="968" y="77"/>
                  <a:pt x="968" y="77"/>
                </a:cubicBezTo>
                <a:close/>
                <a:moveTo>
                  <a:pt x="635" y="59"/>
                </a:moveTo>
                <a:cubicBezTo>
                  <a:pt x="636" y="59"/>
                  <a:pt x="636" y="59"/>
                  <a:pt x="636" y="58"/>
                </a:cubicBezTo>
                <a:cubicBezTo>
                  <a:pt x="635" y="59"/>
                  <a:pt x="635" y="59"/>
                  <a:pt x="635" y="59"/>
                </a:cubicBezTo>
                <a:close/>
                <a:moveTo>
                  <a:pt x="1533" y="77"/>
                </a:moveTo>
                <a:cubicBezTo>
                  <a:pt x="1533" y="77"/>
                  <a:pt x="1533" y="77"/>
                  <a:pt x="1533" y="77"/>
                </a:cubicBezTo>
                <a:cubicBezTo>
                  <a:pt x="1533" y="77"/>
                  <a:pt x="1533" y="77"/>
                  <a:pt x="1533" y="77"/>
                </a:cubicBezTo>
                <a:close/>
                <a:moveTo>
                  <a:pt x="1664" y="77"/>
                </a:moveTo>
                <a:cubicBezTo>
                  <a:pt x="1664" y="77"/>
                  <a:pt x="1664" y="77"/>
                  <a:pt x="1664" y="77"/>
                </a:cubicBezTo>
                <a:cubicBezTo>
                  <a:pt x="1664" y="77"/>
                  <a:pt x="1664" y="77"/>
                  <a:pt x="1664" y="77"/>
                </a:cubicBezTo>
                <a:close/>
                <a:moveTo>
                  <a:pt x="1676" y="77"/>
                </a:moveTo>
                <a:cubicBezTo>
                  <a:pt x="1676" y="77"/>
                  <a:pt x="1676" y="77"/>
                  <a:pt x="1677" y="78"/>
                </a:cubicBezTo>
                <a:cubicBezTo>
                  <a:pt x="1677" y="77"/>
                  <a:pt x="1677" y="77"/>
                  <a:pt x="1676" y="77"/>
                </a:cubicBezTo>
                <a:close/>
                <a:moveTo>
                  <a:pt x="1701" y="77"/>
                </a:moveTo>
                <a:cubicBezTo>
                  <a:pt x="1701" y="77"/>
                  <a:pt x="1701" y="77"/>
                  <a:pt x="1701" y="77"/>
                </a:cubicBezTo>
                <a:cubicBezTo>
                  <a:pt x="1701" y="77"/>
                  <a:pt x="1701" y="77"/>
                  <a:pt x="1701" y="77"/>
                </a:cubicBezTo>
                <a:close/>
                <a:moveTo>
                  <a:pt x="609" y="78"/>
                </a:moveTo>
                <a:cubicBezTo>
                  <a:pt x="609" y="78"/>
                  <a:pt x="609" y="77"/>
                  <a:pt x="609" y="77"/>
                </a:cubicBezTo>
                <a:cubicBezTo>
                  <a:pt x="609" y="77"/>
                  <a:pt x="609" y="78"/>
                  <a:pt x="609" y="78"/>
                </a:cubicBezTo>
                <a:close/>
                <a:moveTo>
                  <a:pt x="628" y="78"/>
                </a:moveTo>
                <a:cubicBezTo>
                  <a:pt x="629" y="78"/>
                  <a:pt x="629" y="77"/>
                  <a:pt x="629" y="77"/>
                </a:cubicBezTo>
                <a:cubicBezTo>
                  <a:pt x="628" y="77"/>
                  <a:pt x="628" y="78"/>
                  <a:pt x="628" y="78"/>
                </a:cubicBezTo>
                <a:close/>
                <a:moveTo>
                  <a:pt x="955" y="78"/>
                </a:moveTo>
                <a:cubicBezTo>
                  <a:pt x="955" y="78"/>
                  <a:pt x="955" y="77"/>
                  <a:pt x="954" y="77"/>
                </a:cubicBezTo>
                <a:cubicBezTo>
                  <a:pt x="954" y="77"/>
                  <a:pt x="954" y="78"/>
                  <a:pt x="955" y="78"/>
                </a:cubicBezTo>
                <a:close/>
                <a:moveTo>
                  <a:pt x="1348" y="78"/>
                </a:moveTo>
                <a:cubicBezTo>
                  <a:pt x="1348" y="78"/>
                  <a:pt x="1349" y="77"/>
                  <a:pt x="1349" y="77"/>
                </a:cubicBezTo>
                <a:cubicBezTo>
                  <a:pt x="1348" y="77"/>
                  <a:pt x="1348" y="78"/>
                  <a:pt x="1348" y="78"/>
                </a:cubicBezTo>
                <a:close/>
                <a:moveTo>
                  <a:pt x="646" y="58"/>
                </a:moveTo>
                <a:cubicBezTo>
                  <a:pt x="646" y="58"/>
                  <a:pt x="646" y="59"/>
                  <a:pt x="646" y="59"/>
                </a:cubicBezTo>
                <a:cubicBezTo>
                  <a:pt x="646" y="59"/>
                  <a:pt x="646" y="59"/>
                  <a:pt x="646" y="58"/>
                </a:cubicBezTo>
                <a:close/>
                <a:moveTo>
                  <a:pt x="639" y="77"/>
                </a:moveTo>
                <a:cubicBezTo>
                  <a:pt x="638" y="78"/>
                  <a:pt x="638" y="78"/>
                  <a:pt x="638" y="78"/>
                </a:cubicBezTo>
                <a:cubicBezTo>
                  <a:pt x="639" y="78"/>
                  <a:pt x="639" y="78"/>
                  <a:pt x="639" y="77"/>
                </a:cubicBezTo>
                <a:close/>
                <a:moveTo>
                  <a:pt x="570" y="52"/>
                </a:moveTo>
                <a:cubicBezTo>
                  <a:pt x="571" y="53"/>
                  <a:pt x="571" y="53"/>
                  <a:pt x="571" y="53"/>
                </a:cubicBezTo>
                <a:cubicBezTo>
                  <a:pt x="571" y="53"/>
                  <a:pt x="571" y="52"/>
                  <a:pt x="570" y="52"/>
                </a:cubicBezTo>
                <a:close/>
                <a:moveTo>
                  <a:pt x="1671" y="55"/>
                </a:moveTo>
                <a:cubicBezTo>
                  <a:pt x="1671" y="56"/>
                  <a:pt x="1671" y="56"/>
                  <a:pt x="1671" y="56"/>
                </a:cubicBezTo>
                <a:cubicBezTo>
                  <a:pt x="1671" y="56"/>
                  <a:pt x="1671" y="56"/>
                  <a:pt x="1671" y="55"/>
                </a:cubicBezTo>
                <a:close/>
                <a:moveTo>
                  <a:pt x="583" y="8"/>
                </a:moveTo>
                <a:cubicBezTo>
                  <a:pt x="583" y="8"/>
                  <a:pt x="583" y="8"/>
                  <a:pt x="584" y="8"/>
                </a:cubicBezTo>
                <a:cubicBezTo>
                  <a:pt x="584" y="8"/>
                  <a:pt x="583" y="8"/>
                  <a:pt x="583" y="8"/>
                </a:cubicBezTo>
                <a:close/>
                <a:moveTo>
                  <a:pt x="968" y="78"/>
                </a:moveTo>
                <a:cubicBezTo>
                  <a:pt x="968" y="78"/>
                  <a:pt x="968" y="78"/>
                  <a:pt x="968" y="78"/>
                </a:cubicBezTo>
                <a:cubicBezTo>
                  <a:pt x="968" y="78"/>
                  <a:pt x="968" y="78"/>
                  <a:pt x="968" y="78"/>
                </a:cubicBezTo>
                <a:close/>
                <a:moveTo>
                  <a:pt x="1016" y="8"/>
                </a:moveTo>
                <a:cubicBezTo>
                  <a:pt x="1016" y="8"/>
                  <a:pt x="1017" y="8"/>
                  <a:pt x="1017" y="8"/>
                </a:cubicBezTo>
                <a:cubicBezTo>
                  <a:pt x="1017" y="8"/>
                  <a:pt x="1017" y="8"/>
                  <a:pt x="1016" y="8"/>
                </a:cubicBezTo>
                <a:close/>
                <a:moveTo>
                  <a:pt x="1665" y="78"/>
                </a:moveTo>
                <a:cubicBezTo>
                  <a:pt x="1665" y="78"/>
                  <a:pt x="1664" y="78"/>
                  <a:pt x="1664" y="77"/>
                </a:cubicBezTo>
                <a:cubicBezTo>
                  <a:pt x="1664" y="78"/>
                  <a:pt x="1664" y="78"/>
                  <a:pt x="1665" y="78"/>
                </a:cubicBezTo>
                <a:close/>
                <a:moveTo>
                  <a:pt x="1677" y="78"/>
                </a:moveTo>
                <a:cubicBezTo>
                  <a:pt x="1677" y="78"/>
                  <a:pt x="1677" y="78"/>
                  <a:pt x="1677" y="78"/>
                </a:cubicBezTo>
                <a:cubicBezTo>
                  <a:pt x="1677" y="78"/>
                  <a:pt x="1677" y="78"/>
                  <a:pt x="1677" y="78"/>
                </a:cubicBezTo>
                <a:close/>
                <a:moveTo>
                  <a:pt x="609" y="79"/>
                </a:moveTo>
                <a:cubicBezTo>
                  <a:pt x="609" y="78"/>
                  <a:pt x="609" y="78"/>
                  <a:pt x="609" y="78"/>
                </a:cubicBezTo>
                <a:cubicBezTo>
                  <a:pt x="609" y="78"/>
                  <a:pt x="609" y="78"/>
                  <a:pt x="609" y="79"/>
                </a:cubicBezTo>
                <a:close/>
                <a:moveTo>
                  <a:pt x="620" y="78"/>
                </a:moveTo>
                <a:cubicBezTo>
                  <a:pt x="620" y="78"/>
                  <a:pt x="620" y="78"/>
                  <a:pt x="620" y="79"/>
                </a:cubicBezTo>
                <a:cubicBezTo>
                  <a:pt x="620" y="78"/>
                  <a:pt x="620" y="78"/>
                  <a:pt x="620" y="78"/>
                </a:cubicBezTo>
                <a:close/>
                <a:moveTo>
                  <a:pt x="1356" y="8"/>
                </a:moveTo>
                <a:cubicBezTo>
                  <a:pt x="1356" y="8"/>
                  <a:pt x="1357" y="8"/>
                  <a:pt x="1357" y="8"/>
                </a:cubicBezTo>
                <a:cubicBezTo>
                  <a:pt x="1357" y="8"/>
                  <a:pt x="1356" y="8"/>
                  <a:pt x="1356" y="8"/>
                </a:cubicBezTo>
                <a:close/>
                <a:moveTo>
                  <a:pt x="955" y="79"/>
                </a:moveTo>
                <a:cubicBezTo>
                  <a:pt x="955" y="78"/>
                  <a:pt x="955" y="78"/>
                  <a:pt x="955" y="78"/>
                </a:cubicBezTo>
                <a:cubicBezTo>
                  <a:pt x="955" y="78"/>
                  <a:pt x="955" y="78"/>
                  <a:pt x="955" y="79"/>
                </a:cubicBezTo>
                <a:close/>
                <a:moveTo>
                  <a:pt x="1532" y="79"/>
                </a:moveTo>
                <a:cubicBezTo>
                  <a:pt x="1532" y="78"/>
                  <a:pt x="1532" y="78"/>
                  <a:pt x="1532" y="78"/>
                </a:cubicBezTo>
                <a:cubicBezTo>
                  <a:pt x="1532" y="78"/>
                  <a:pt x="1532" y="78"/>
                  <a:pt x="1532" y="79"/>
                </a:cubicBezTo>
                <a:close/>
                <a:moveTo>
                  <a:pt x="1700" y="79"/>
                </a:moveTo>
                <a:cubicBezTo>
                  <a:pt x="1700" y="78"/>
                  <a:pt x="1700" y="78"/>
                  <a:pt x="1700" y="78"/>
                </a:cubicBezTo>
                <a:cubicBezTo>
                  <a:pt x="1700" y="78"/>
                  <a:pt x="1700" y="78"/>
                  <a:pt x="1700" y="79"/>
                </a:cubicBezTo>
                <a:close/>
                <a:moveTo>
                  <a:pt x="628" y="79"/>
                </a:moveTo>
                <a:cubicBezTo>
                  <a:pt x="628" y="79"/>
                  <a:pt x="628" y="79"/>
                  <a:pt x="628" y="78"/>
                </a:cubicBezTo>
                <a:cubicBezTo>
                  <a:pt x="628" y="78"/>
                  <a:pt x="628" y="79"/>
                  <a:pt x="628" y="79"/>
                </a:cubicBezTo>
                <a:close/>
                <a:moveTo>
                  <a:pt x="1554" y="59"/>
                </a:moveTo>
                <a:cubicBezTo>
                  <a:pt x="1554" y="59"/>
                  <a:pt x="1554" y="59"/>
                  <a:pt x="1555" y="58"/>
                </a:cubicBezTo>
                <a:cubicBezTo>
                  <a:pt x="1554" y="58"/>
                  <a:pt x="1554" y="58"/>
                  <a:pt x="1554" y="59"/>
                </a:cubicBezTo>
                <a:close/>
                <a:moveTo>
                  <a:pt x="1383" y="8"/>
                </a:moveTo>
                <a:cubicBezTo>
                  <a:pt x="1383" y="8"/>
                  <a:pt x="1383" y="8"/>
                  <a:pt x="1383" y="8"/>
                </a:cubicBezTo>
                <a:cubicBezTo>
                  <a:pt x="1383" y="8"/>
                  <a:pt x="1383" y="8"/>
                  <a:pt x="1383" y="8"/>
                </a:cubicBezTo>
                <a:close/>
                <a:moveTo>
                  <a:pt x="1429" y="8"/>
                </a:moveTo>
                <a:cubicBezTo>
                  <a:pt x="1429" y="8"/>
                  <a:pt x="1429" y="8"/>
                  <a:pt x="1430" y="8"/>
                </a:cubicBezTo>
                <a:cubicBezTo>
                  <a:pt x="1429" y="8"/>
                  <a:pt x="1429" y="8"/>
                  <a:pt x="1429" y="8"/>
                </a:cubicBezTo>
                <a:close/>
                <a:moveTo>
                  <a:pt x="1347" y="79"/>
                </a:moveTo>
                <a:cubicBezTo>
                  <a:pt x="1348" y="79"/>
                  <a:pt x="1348" y="79"/>
                  <a:pt x="1348" y="78"/>
                </a:cubicBezTo>
                <a:cubicBezTo>
                  <a:pt x="1348" y="78"/>
                  <a:pt x="1347" y="79"/>
                  <a:pt x="1347" y="79"/>
                </a:cubicBezTo>
                <a:close/>
                <a:moveTo>
                  <a:pt x="1677" y="78"/>
                </a:moveTo>
                <a:cubicBezTo>
                  <a:pt x="1677" y="79"/>
                  <a:pt x="1677" y="79"/>
                  <a:pt x="1677" y="79"/>
                </a:cubicBezTo>
                <a:cubicBezTo>
                  <a:pt x="1677" y="79"/>
                  <a:pt x="1677" y="78"/>
                  <a:pt x="1677" y="78"/>
                </a:cubicBezTo>
                <a:close/>
                <a:moveTo>
                  <a:pt x="1452" y="8"/>
                </a:moveTo>
                <a:cubicBezTo>
                  <a:pt x="1453" y="8"/>
                  <a:pt x="1453" y="8"/>
                  <a:pt x="1453" y="8"/>
                </a:cubicBezTo>
                <a:cubicBezTo>
                  <a:pt x="1453" y="8"/>
                  <a:pt x="1453" y="8"/>
                  <a:pt x="1452" y="8"/>
                </a:cubicBezTo>
                <a:close/>
                <a:moveTo>
                  <a:pt x="638" y="78"/>
                </a:moveTo>
                <a:cubicBezTo>
                  <a:pt x="638" y="79"/>
                  <a:pt x="638" y="79"/>
                  <a:pt x="638" y="79"/>
                </a:cubicBezTo>
                <a:cubicBezTo>
                  <a:pt x="638" y="79"/>
                  <a:pt x="638" y="79"/>
                  <a:pt x="638" y="78"/>
                </a:cubicBezTo>
                <a:close/>
                <a:moveTo>
                  <a:pt x="969" y="79"/>
                </a:moveTo>
                <a:cubicBezTo>
                  <a:pt x="969" y="79"/>
                  <a:pt x="969" y="79"/>
                  <a:pt x="969" y="79"/>
                </a:cubicBezTo>
                <a:cubicBezTo>
                  <a:pt x="969" y="79"/>
                  <a:pt x="969" y="79"/>
                  <a:pt x="969" y="79"/>
                </a:cubicBezTo>
                <a:close/>
                <a:moveTo>
                  <a:pt x="642" y="42"/>
                </a:moveTo>
                <a:cubicBezTo>
                  <a:pt x="642" y="42"/>
                  <a:pt x="642" y="42"/>
                  <a:pt x="642" y="41"/>
                </a:cubicBezTo>
                <a:cubicBezTo>
                  <a:pt x="642" y="41"/>
                  <a:pt x="642" y="42"/>
                  <a:pt x="642" y="42"/>
                </a:cubicBezTo>
                <a:close/>
                <a:moveTo>
                  <a:pt x="1541" y="8"/>
                </a:moveTo>
                <a:cubicBezTo>
                  <a:pt x="1541" y="8"/>
                  <a:pt x="1541" y="8"/>
                  <a:pt x="1541" y="8"/>
                </a:cubicBezTo>
                <a:cubicBezTo>
                  <a:pt x="1541" y="8"/>
                  <a:pt x="1541" y="8"/>
                  <a:pt x="1541" y="8"/>
                </a:cubicBezTo>
                <a:close/>
                <a:moveTo>
                  <a:pt x="1709" y="8"/>
                </a:moveTo>
                <a:cubicBezTo>
                  <a:pt x="1709" y="8"/>
                  <a:pt x="1709" y="8"/>
                  <a:pt x="1709" y="8"/>
                </a:cubicBezTo>
                <a:cubicBezTo>
                  <a:pt x="1709" y="8"/>
                  <a:pt x="1709" y="8"/>
                  <a:pt x="1709" y="8"/>
                </a:cubicBezTo>
                <a:close/>
                <a:moveTo>
                  <a:pt x="1665" y="79"/>
                </a:moveTo>
                <a:cubicBezTo>
                  <a:pt x="1665" y="79"/>
                  <a:pt x="1665" y="79"/>
                  <a:pt x="1665" y="78"/>
                </a:cubicBezTo>
                <a:cubicBezTo>
                  <a:pt x="1665" y="79"/>
                  <a:pt x="1665" y="79"/>
                  <a:pt x="1665" y="79"/>
                </a:cubicBezTo>
                <a:close/>
                <a:moveTo>
                  <a:pt x="610" y="80"/>
                </a:moveTo>
                <a:cubicBezTo>
                  <a:pt x="610" y="79"/>
                  <a:pt x="610" y="79"/>
                  <a:pt x="610" y="79"/>
                </a:cubicBezTo>
                <a:cubicBezTo>
                  <a:pt x="609" y="79"/>
                  <a:pt x="610" y="79"/>
                  <a:pt x="610" y="80"/>
                </a:cubicBezTo>
                <a:close/>
                <a:moveTo>
                  <a:pt x="584" y="8"/>
                </a:moveTo>
                <a:cubicBezTo>
                  <a:pt x="584" y="9"/>
                  <a:pt x="584" y="9"/>
                  <a:pt x="584" y="9"/>
                </a:cubicBezTo>
                <a:cubicBezTo>
                  <a:pt x="584" y="8"/>
                  <a:pt x="584" y="8"/>
                  <a:pt x="584" y="8"/>
                </a:cubicBezTo>
                <a:close/>
                <a:moveTo>
                  <a:pt x="956" y="80"/>
                </a:moveTo>
                <a:cubicBezTo>
                  <a:pt x="956" y="79"/>
                  <a:pt x="955" y="79"/>
                  <a:pt x="955" y="79"/>
                </a:cubicBezTo>
                <a:cubicBezTo>
                  <a:pt x="955" y="79"/>
                  <a:pt x="955" y="79"/>
                  <a:pt x="956" y="80"/>
                </a:cubicBezTo>
                <a:close/>
                <a:moveTo>
                  <a:pt x="1531" y="80"/>
                </a:moveTo>
                <a:cubicBezTo>
                  <a:pt x="1532" y="79"/>
                  <a:pt x="1532" y="79"/>
                  <a:pt x="1532" y="79"/>
                </a:cubicBezTo>
                <a:cubicBezTo>
                  <a:pt x="1531" y="79"/>
                  <a:pt x="1531" y="79"/>
                  <a:pt x="1531" y="80"/>
                </a:cubicBezTo>
                <a:close/>
                <a:moveTo>
                  <a:pt x="1677" y="79"/>
                </a:moveTo>
                <a:cubicBezTo>
                  <a:pt x="1677" y="79"/>
                  <a:pt x="1677" y="79"/>
                  <a:pt x="1678" y="80"/>
                </a:cubicBezTo>
                <a:cubicBezTo>
                  <a:pt x="1678" y="79"/>
                  <a:pt x="1678" y="79"/>
                  <a:pt x="1677" y="79"/>
                </a:cubicBezTo>
                <a:close/>
                <a:moveTo>
                  <a:pt x="1699" y="80"/>
                </a:moveTo>
                <a:cubicBezTo>
                  <a:pt x="1700" y="79"/>
                  <a:pt x="1700" y="79"/>
                  <a:pt x="1700" y="79"/>
                </a:cubicBezTo>
                <a:cubicBezTo>
                  <a:pt x="1699" y="79"/>
                  <a:pt x="1699" y="79"/>
                  <a:pt x="1699" y="80"/>
                </a:cubicBezTo>
                <a:close/>
                <a:moveTo>
                  <a:pt x="628" y="80"/>
                </a:moveTo>
                <a:cubicBezTo>
                  <a:pt x="628" y="80"/>
                  <a:pt x="628" y="80"/>
                  <a:pt x="628" y="79"/>
                </a:cubicBezTo>
                <a:cubicBezTo>
                  <a:pt x="628" y="79"/>
                  <a:pt x="628" y="80"/>
                  <a:pt x="628" y="80"/>
                </a:cubicBezTo>
                <a:close/>
                <a:moveTo>
                  <a:pt x="638" y="79"/>
                </a:moveTo>
                <a:cubicBezTo>
                  <a:pt x="638" y="79"/>
                  <a:pt x="638" y="80"/>
                  <a:pt x="638" y="80"/>
                </a:cubicBezTo>
                <a:cubicBezTo>
                  <a:pt x="638" y="80"/>
                  <a:pt x="638" y="80"/>
                  <a:pt x="638" y="79"/>
                </a:cubicBezTo>
                <a:close/>
                <a:moveTo>
                  <a:pt x="687" y="80"/>
                </a:moveTo>
                <a:cubicBezTo>
                  <a:pt x="687" y="80"/>
                  <a:pt x="687" y="79"/>
                  <a:pt x="687" y="79"/>
                </a:cubicBezTo>
                <a:cubicBezTo>
                  <a:pt x="687" y="80"/>
                  <a:pt x="687" y="80"/>
                  <a:pt x="687" y="80"/>
                </a:cubicBezTo>
                <a:close/>
                <a:moveTo>
                  <a:pt x="908" y="40"/>
                </a:moveTo>
                <a:cubicBezTo>
                  <a:pt x="908" y="41"/>
                  <a:pt x="908" y="41"/>
                  <a:pt x="908" y="41"/>
                </a:cubicBezTo>
                <a:cubicBezTo>
                  <a:pt x="908" y="41"/>
                  <a:pt x="908" y="40"/>
                  <a:pt x="908" y="40"/>
                </a:cubicBezTo>
                <a:close/>
                <a:moveTo>
                  <a:pt x="1355" y="9"/>
                </a:moveTo>
                <a:cubicBezTo>
                  <a:pt x="1356" y="9"/>
                  <a:pt x="1356" y="9"/>
                  <a:pt x="1356" y="8"/>
                </a:cubicBezTo>
                <a:cubicBezTo>
                  <a:pt x="1356" y="8"/>
                  <a:pt x="1356" y="8"/>
                  <a:pt x="1355" y="9"/>
                </a:cubicBezTo>
                <a:close/>
                <a:moveTo>
                  <a:pt x="1383" y="8"/>
                </a:moveTo>
                <a:cubicBezTo>
                  <a:pt x="1383" y="8"/>
                  <a:pt x="1384" y="9"/>
                  <a:pt x="1384" y="9"/>
                </a:cubicBezTo>
                <a:cubicBezTo>
                  <a:pt x="1384" y="8"/>
                  <a:pt x="1384" y="8"/>
                  <a:pt x="1383" y="8"/>
                </a:cubicBezTo>
                <a:close/>
                <a:moveTo>
                  <a:pt x="1347" y="80"/>
                </a:moveTo>
                <a:cubicBezTo>
                  <a:pt x="1347" y="80"/>
                  <a:pt x="1347" y="80"/>
                  <a:pt x="1347" y="79"/>
                </a:cubicBezTo>
                <a:cubicBezTo>
                  <a:pt x="1347" y="79"/>
                  <a:pt x="1347" y="80"/>
                  <a:pt x="1347" y="80"/>
                </a:cubicBezTo>
                <a:close/>
                <a:moveTo>
                  <a:pt x="1722" y="59"/>
                </a:moveTo>
                <a:cubicBezTo>
                  <a:pt x="1722" y="59"/>
                  <a:pt x="1723" y="59"/>
                  <a:pt x="1723" y="58"/>
                </a:cubicBezTo>
                <a:cubicBezTo>
                  <a:pt x="1722" y="58"/>
                  <a:pt x="1722" y="58"/>
                  <a:pt x="1722" y="59"/>
                </a:cubicBezTo>
                <a:close/>
                <a:moveTo>
                  <a:pt x="1665" y="80"/>
                </a:moveTo>
                <a:cubicBezTo>
                  <a:pt x="1665" y="80"/>
                  <a:pt x="1665" y="79"/>
                  <a:pt x="1665" y="79"/>
                </a:cubicBezTo>
                <a:cubicBezTo>
                  <a:pt x="1665" y="79"/>
                  <a:pt x="1665" y="80"/>
                  <a:pt x="1665" y="80"/>
                </a:cubicBezTo>
                <a:close/>
                <a:moveTo>
                  <a:pt x="1428" y="9"/>
                </a:moveTo>
                <a:cubicBezTo>
                  <a:pt x="1428" y="9"/>
                  <a:pt x="1429" y="9"/>
                  <a:pt x="1429" y="8"/>
                </a:cubicBezTo>
                <a:cubicBezTo>
                  <a:pt x="1429" y="8"/>
                  <a:pt x="1428" y="8"/>
                  <a:pt x="1428" y="9"/>
                </a:cubicBezTo>
                <a:close/>
                <a:moveTo>
                  <a:pt x="1453" y="8"/>
                </a:moveTo>
                <a:cubicBezTo>
                  <a:pt x="1453" y="9"/>
                  <a:pt x="1454" y="9"/>
                  <a:pt x="1454" y="9"/>
                </a:cubicBezTo>
                <a:cubicBezTo>
                  <a:pt x="1454" y="8"/>
                  <a:pt x="1454" y="8"/>
                  <a:pt x="1453" y="8"/>
                </a:cubicBezTo>
                <a:close/>
                <a:moveTo>
                  <a:pt x="1501" y="9"/>
                </a:moveTo>
                <a:cubicBezTo>
                  <a:pt x="1502" y="9"/>
                  <a:pt x="1502" y="9"/>
                  <a:pt x="1502" y="8"/>
                </a:cubicBezTo>
                <a:cubicBezTo>
                  <a:pt x="1502" y="8"/>
                  <a:pt x="1501" y="8"/>
                  <a:pt x="1501" y="9"/>
                </a:cubicBezTo>
                <a:close/>
                <a:moveTo>
                  <a:pt x="956" y="80"/>
                </a:moveTo>
                <a:cubicBezTo>
                  <a:pt x="956" y="80"/>
                  <a:pt x="956" y="80"/>
                  <a:pt x="956" y="80"/>
                </a:cubicBezTo>
                <a:cubicBezTo>
                  <a:pt x="956" y="80"/>
                  <a:pt x="956" y="80"/>
                  <a:pt x="956" y="80"/>
                </a:cubicBezTo>
                <a:close/>
                <a:moveTo>
                  <a:pt x="969" y="80"/>
                </a:moveTo>
                <a:cubicBezTo>
                  <a:pt x="969" y="80"/>
                  <a:pt x="969" y="80"/>
                  <a:pt x="970" y="80"/>
                </a:cubicBezTo>
                <a:cubicBezTo>
                  <a:pt x="970" y="80"/>
                  <a:pt x="970" y="80"/>
                  <a:pt x="969" y="80"/>
                </a:cubicBezTo>
                <a:close/>
                <a:moveTo>
                  <a:pt x="1220" y="80"/>
                </a:moveTo>
                <a:cubicBezTo>
                  <a:pt x="1220" y="80"/>
                  <a:pt x="1220" y="80"/>
                  <a:pt x="1220" y="80"/>
                </a:cubicBezTo>
                <a:cubicBezTo>
                  <a:pt x="1220" y="80"/>
                  <a:pt x="1220" y="80"/>
                  <a:pt x="1220" y="80"/>
                </a:cubicBezTo>
                <a:close/>
                <a:moveTo>
                  <a:pt x="1678" y="80"/>
                </a:moveTo>
                <a:cubicBezTo>
                  <a:pt x="1678" y="80"/>
                  <a:pt x="1678" y="80"/>
                  <a:pt x="1678" y="80"/>
                </a:cubicBezTo>
                <a:cubicBezTo>
                  <a:pt x="1678" y="80"/>
                  <a:pt x="1678" y="80"/>
                  <a:pt x="1678" y="80"/>
                </a:cubicBezTo>
                <a:close/>
                <a:moveTo>
                  <a:pt x="1540" y="9"/>
                </a:moveTo>
                <a:cubicBezTo>
                  <a:pt x="1540" y="9"/>
                  <a:pt x="1540" y="9"/>
                  <a:pt x="1540" y="8"/>
                </a:cubicBezTo>
                <a:cubicBezTo>
                  <a:pt x="1540" y="8"/>
                  <a:pt x="1540" y="8"/>
                  <a:pt x="1540" y="9"/>
                </a:cubicBezTo>
                <a:close/>
                <a:moveTo>
                  <a:pt x="1568" y="8"/>
                </a:moveTo>
                <a:cubicBezTo>
                  <a:pt x="1568" y="9"/>
                  <a:pt x="1568" y="9"/>
                  <a:pt x="1568" y="9"/>
                </a:cubicBezTo>
                <a:cubicBezTo>
                  <a:pt x="1568" y="8"/>
                  <a:pt x="1568" y="8"/>
                  <a:pt x="1568" y="8"/>
                </a:cubicBezTo>
                <a:close/>
                <a:moveTo>
                  <a:pt x="1708" y="9"/>
                </a:moveTo>
                <a:cubicBezTo>
                  <a:pt x="1708" y="9"/>
                  <a:pt x="1708" y="9"/>
                  <a:pt x="1709" y="8"/>
                </a:cubicBezTo>
                <a:cubicBezTo>
                  <a:pt x="1708" y="8"/>
                  <a:pt x="1708" y="8"/>
                  <a:pt x="1708" y="9"/>
                </a:cubicBezTo>
                <a:close/>
                <a:moveTo>
                  <a:pt x="1346" y="81"/>
                </a:moveTo>
                <a:cubicBezTo>
                  <a:pt x="1347" y="80"/>
                  <a:pt x="1347" y="80"/>
                  <a:pt x="1347" y="80"/>
                </a:cubicBezTo>
                <a:cubicBezTo>
                  <a:pt x="1346" y="80"/>
                  <a:pt x="1346" y="80"/>
                  <a:pt x="1346" y="81"/>
                </a:cubicBezTo>
                <a:close/>
                <a:moveTo>
                  <a:pt x="1358" y="80"/>
                </a:moveTo>
                <a:cubicBezTo>
                  <a:pt x="1358" y="80"/>
                  <a:pt x="1358" y="80"/>
                  <a:pt x="1358" y="81"/>
                </a:cubicBezTo>
                <a:cubicBezTo>
                  <a:pt x="1358" y="81"/>
                  <a:pt x="1358" y="80"/>
                  <a:pt x="1358" y="80"/>
                </a:cubicBezTo>
                <a:close/>
                <a:moveTo>
                  <a:pt x="1736" y="8"/>
                </a:moveTo>
                <a:cubicBezTo>
                  <a:pt x="1736" y="9"/>
                  <a:pt x="1736" y="9"/>
                  <a:pt x="1737" y="9"/>
                </a:cubicBezTo>
                <a:cubicBezTo>
                  <a:pt x="1736" y="8"/>
                  <a:pt x="1736" y="8"/>
                  <a:pt x="1736" y="8"/>
                </a:cubicBezTo>
                <a:close/>
                <a:moveTo>
                  <a:pt x="1467" y="80"/>
                </a:moveTo>
                <a:cubicBezTo>
                  <a:pt x="1467" y="80"/>
                  <a:pt x="1467" y="80"/>
                  <a:pt x="1467" y="81"/>
                </a:cubicBezTo>
                <a:cubicBezTo>
                  <a:pt x="1468" y="80"/>
                  <a:pt x="1468" y="80"/>
                  <a:pt x="1467" y="80"/>
                </a:cubicBezTo>
                <a:close/>
                <a:moveTo>
                  <a:pt x="1666" y="81"/>
                </a:moveTo>
                <a:cubicBezTo>
                  <a:pt x="1666" y="80"/>
                  <a:pt x="1665" y="80"/>
                  <a:pt x="1665" y="80"/>
                </a:cubicBezTo>
                <a:cubicBezTo>
                  <a:pt x="1665" y="80"/>
                  <a:pt x="1665" y="80"/>
                  <a:pt x="1666" y="81"/>
                </a:cubicBezTo>
                <a:close/>
                <a:moveTo>
                  <a:pt x="551" y="9"/>
                </a:moveTo>
                <a:cubicBezTo>
                  <a:pt x="551" y="9"/>
                  <a:pt x="552" y="9"/>
                  <a:pt x="552" y="9"/>
                </a:cubicBezTo>
                <a:cubicBezTo>
                  <a:pt x="551" y="9"/>
                  <a:pt x="551" y="9"/>
                  <a:pt x="551" y="9"/>
                </a:cubicBezTo>
                <a:close/>
                <a:moveTo>
                  <a:pt x="638" y="80"/>
                </a:moveTo>
                <a:cubicBezTo>
                  <a:pt x="637" y="80"/>
                  <a:pt x="637" y="81"/>
                  <a:pt x="637" y="81"/>
                </a:cubicBezTo>
                <a:cubicBezTo>
                  <a:pt x="638" y="81"/>
                  <a:pt x="638" y="80"/>
                  <a:pt x="638" y="80"/>
                </a:cubicBezTo>
                <a:close/>
                <a:moveTo>
                  <a:pt x="956" y="81"/>
                </a:moveTo>
                <a:cubicBezTo>
                  <a:pt x="956" y="81"/>
                  <a:pt x="956" y="80"/>
                  <a:pt x="956" y="80"/>
                </a:cubicBezTo>
                <a:cubicBezTo>
                  <a:pt x="956" y="81"/>
                  <a:pt x="956" y="81"/>
                  <a:pt x="956" y="81"/>
                </a:cubicBezTo>
                <a:close/>
                <a:moveTo>
                  <a:pt x="584" y="9"/>
                </a:moveTo>
                <a:cubicBezTo>
                  <a:pt x="585" y="9"/>
                  <a:pt x="585" y="9"/>
                  <a:pt x="585" y="9"/>
                </a:cubicBezTo>
                <a:cubicBezTo>
                  <a:pt x="585" y="9"/>
                  <a:pt x="585" y="9"/>
                  <a:pt x="584" y="9"/>
                </a:cubicBezTo>
                <a:close/>
                <a:moveTo>
                  <a:pt x="611" y="81"/>
                </a:moveTo>
                <a:cubicBezTo>
                  <a:pt x="611" y="81"/>
                  <a:pt x="611" y="81"/>
                  <a:pt x="610" y="81"/>
                </a:cubicBezTo>
                <a:cubicBezTo>
                  <a:pt x="610" y="81"/>
                  <a:pt x="610" y="81"/>
                  <a:pt x="611" y="81"/>
                </a:cubicBezTo>
                <a:close/>
                <a:moveTo>
                  <a:pt x="1018" y="9"/>
                </a:moveTo>
                <a:cubicBezTo>
                  <a:pt x="1019" y="9"/>
                  <a:pt x="1019" y="9"/>
                  <a:pt x="1019" y="9"/>
                </a:cubicBezTo>
                <a:cubicBezTo>
                  <a:pt x="1019" y="9"/>
                  <a:pt x="1019" y="9"/>
                  <a:pt x="1018" y="9"/>
                </a:cubicBezTo>
                <a:close/>
                <a:moveTo>
                  <a:pt x="1355" y="9"/>
                </a:moveTo>
                <a:cubicBezTo>
                  <a:pt x="1355" y="9"/>
                  <a:pt x="1355" y="9"/>
                  <a:pt x="1355" y="9"/>
                </a:cubicBezTo>
                <a:cubicBezTo>
                  <a:pt x="1355" y="9"/>
                  <a:pt x="1355" y="9"/>
                  <a:pt x="1355" y="9"/>
                </a:cubicBezTo>
                <a:close/>
                <a:moveTo>
                  <a:pt x="1042" y="81"/>
                </a:moveTo>
                <a:cubicBezTo>
                  <a:pt x="1042" y="81"/>
                  <a:pt x="1042" y="81"/>
                  <a:pt x="1042" y="81"/>
                </a:cubicBezTo>
                <a:cubicBezTo>
                  <a:pt x="1043" y="81"/>
                  <a:pt x="1042" y="81"/>
                  <a:pt x="1042" y="81"/>
                </a:cubicBezTo>
                <a:close/>
                <a:moveTo>
                  <a:pt x="1220" y="81"/>
                </a:moveTo>
                <a:cubicBezTo>
                  <a:pt x="1220" y="81"/>
                  <a:pt x="1220" y="81"/>
                  <a:pt x="1220" y="81"/>
                </a:cubicBezTo>
                <a:cubicBezTo>
                  <a:pt x="1220" y="81"/>
                  <a:pt x="1220" y="81"/>
                  <a:pt x="1220" y="81"/>
                </a:cubicBezTo>
                <a:close/>
                <a:moveTo>
                  <a:pt x="1346" y="81"/>
                </a:moveTo>
                <a:cubicBezTo>
                  <a:pt x="1346" y="81"/>
                  <a:pt x="1346" y="81"/>
                  <a:pt x="1346" y="81"/>
                </a:cubicBezTo>
                <a:cubicBezTo>
                  <a:pt x="1346" y="81"/>
                  <a:pt x="1346" y="81"/>
                  <a:pt x="1346" y="81"/>
                </a:cubicBezTo>
                <a:close/>
                <a:moveTo>
                  <a:pt x="1530" y="81"/>
                </a:moveTo>
                <a:cubicBezTo>
                  <a:pt x="1531" y="81"/>
                  <a:pt x="1531" y="81"/>
                  <a:pt x="1531" y="81"/>
                </a:cubicBezTo>
                <a:cubicBezTo>
                  <a:pt x="1530" y="81"/>
                  <a:pt x="1530" y="81"/>
                  <a:pt x="1530" y="81"/>
                </a:cubicBezTo>
                <a:close/>
                <a:moveTo>
                  <a:pt x="1698" y="81"/>
                </a:moveTo>
                <a:cubicBezTo>
                  <a:pt x="1699" y="81"/>
                  <a:pt x="1699" y="81"/>
                  <a:pt x="1699" y="81"/>
                </a:cubicBezTo>
                <a:cubicBezTo>
                  <a:pt x="1698" y="81"/>
                  <a:pt x="1698" y="81"/>
                  <a:pt x="1698" y="81"/>
                </a:cubicBezTo>
                <a:close/>
                <a:moveTo>
                  <a:pt x="627" y="82"/>
                </a:moveTo>
                <a:cubicBezTo>
                  <a:pt x="627" y="82"/>
                  <a:pt x="627" y="81"/>
                  <a:pt x="627" y="81"/>
                </a:cubicBezTo>
                <a:cubicBezTo>
                  <a:pt x="627" y="81"/>
                  <a:pt x="627" y="81"/>
                  <a:pt x="627" y="82"/>
                </a:cubicBezTo>
                <a:close/>
                <a:moveTo>
                  <a:pt x="1210" y="53"/>
                </a:moveTo>
                <a:cubicBezTo>
                  <a:pt x="1210" y="53"/>
                  <a:pt x="1210" y="53"/>
                  <a:pt x="1210" y="52"/>
                </a:cubicBezTo>
                <a:cubicBezTo>
                  <a:pt x="1210" y="53"/>
                  <a:pt x="1210" y="53"/>
                  <a:pt x="1210" y="53"/>
                </a:cubicBezTo>
                <a:close/>
                <a:moveTo>
                  <a:pt x="760" y="81"/>
                </a:moveTo>
                <a:cubicBezTo>
                  <a:pt x="760" y="81"/>
                  <a:pt x="760" y="82"/>
                  <a:pt x="761" y="82"/>
                </a:cubicBezTo>
                <a:cubicBezTo>
                  <a:pt x="761" y="81"/>
                  <a:pt x="761" y="81"/>
                  <a:pt x="760" y="81"/>
                </a:cubicBezTo>
                <a:close/>
                <a:moveTo>
                  <a:pt x="957" y="82"/>
                </a:moveTo>
                <a:cubicBezTo>
                  <a:pt x="957" y="81"/>
                  <a:pt x="957" y="81"/>
                  <a:pt x="956" y="81"/>
                </a:cubicBezTo>
                <a:cubicBezTo>
                  <a:pt x="956" y="81"/>
                  <a:pt x="956" y="82"/>
                  <a:pt x="957" y="82"/>
                </a:cubicBezTo>
                <a:close/>
                <a:moveTo>
                  <a:pt x="673" y="59"/>
                </a:moveTo>
                <a:cubicBezTo>
                  <a:pt x="673" y="59"/>
                  <a:pt x="673" y="59"/>
                  <a:pt x="673" y="59"/>
                </a:cubicBezTo>
                <a:cubicBezTo>
                  <a:pt x="673" y="59"/>
                  <a:pt x="673" y="59"/>
                  <a:pt x="673" y="59"/>
                </a:cubicBezTo>
                <a:close/>
                <a:moveTo>
                  <a:pt x="1428" y="9"/>
                </a:moveTo>
                <a:cubicBezTo>
                  <a:pt x="1428" y="9"/>
                  <a:pt x="1428" y="9"/>
                  <a:pt x="1428" y="9"/>
                </a:cubicBezTo>
                <a:cubicBezTo>
                  <a:pt x="1428" y="9"/>
                  <a:pt x="1428" y="9"/>
                  <a:pt x="1428" y="9"/>
                </a:cubicBezTo>
                <a:close/>
                <a:moveTo>
                  <a:pt x="1467" y="81"/>
                </a:moveTo>
                <a:cubicBezTo>
                  <a:pt x="1467" y="81"/>
                  <a:pt x="1467" y="81"/>
                  <a:pt x="1467" y="82"/>
                </a:cubicBezTo>
                <a:cubicBezTo>
                  <a:pt x="1467" y="81"/>
                  <a:pt x="1467" y="81"/>
                  <a:pt x="1467" y="81"/>
                </a:cubicBezTo>
                <a:close/>
                <a:moveTo>
                  <a:pt x="1542" y="81"/>
                </a:moveTo>
                <a:cubicBezTo>
                  <a:pt x="1541" y="81"/>
                  <a:pt x="1541" y="81"/>
                  <a:pt x="1541" y="82"/>
                </a:cubicBezTo>
                <a:cubicBezTo>
                  <a:pt x="1542" y="82"/>
                  <a:pt x="1542" y="81"/>
                  <a:pt x="1542" y="81"/>
                </a:cubicBezTo>
                <a:close/>
                <a:moveTo>
                  <a:pt x="1666" y="82"/>
                </a:moveTo>
                <a:cubicBezTo>
                  <a:pt x="1666" y="81"/>
                  <a:pt x="1666" y="81"/>
                  <a:pt x="1666" y="81"/>
                </a:cubicBezTo>
                <a:cubicBezTo>
                  <a:pt x="1666" y="81"/>
                  <a:pt x="1666" y="81"/>
                  <a:pt x="1666" y="82"/>
                </a:cubicBezTo>
                <a:close/>
                <a:moveTo>
                  <a:pt x="1710" y="81"/>
                </a:moveTo>
                <a:cubicBezTo>
                  <a:pt x="1710" y="81"/>
                  <a:pt x="1709" y="81"/>
                  <a:pt x="1709" y="82"/>
                </a:cubicBezTo>
                <a:cubicBezTo>
                  <a:pt x="1710" y="82"/>
                  <a:pt x="1710" y="81"/>
                  <a:pt x="1710" y="81"/>
                </a:cubicBezTo>
                <a:close/>
                <a:moveTo>
                  <a:pt x="1454" y="9"/>
                </a:moveTo>
                <a:cubicBezTo>
                  <a:pt x="1454" y="9"/>
                  <a:pt x="1454" y="9"/>
                  <a:pt x="1455" y="9"/>
                </a:cubicBezTo>
                <a:cubicBezTo>
                  <a:pt x="1455" y="9"/>
                  <a:pt x="1454" y="9"/>
                  <a:pt x="1454" y="9"/>
                </a:cubicBezTo>
                <a:close/>
                <a:moveTo>
                  <a:pt x="688" y="82"/>
                </a:moveTo>
                <a:cubicBezTo>
                  <a:pt x="688" y="82"/>
                  <a:pt x="688" y="81"/>
                  <a:pt x="688" y="81"/>
                </a:cubicBezTo>
                <a:cubicBezTo>
                  <a:pt x="688" y="82"/>
                  <a:pt x="688" y="82"/>
                  <a:pt x="688" y="82"/>
                </a:cubicBezTo>
                <a:close/>
                <a:moveTo>
                  <a:pt x="1569" y="42"/>
                </a:moveTo>
                <a:cubicBezTo>
                  <a:pt x="1569" y="42"/>
                  <a:pt x="1569" y="42"/>
                  <a:pt x="1569" y="42"/>
                </a:cubicBezTo>
                <a:cubicBezTo>
                  <a:pt x="1569" y="42"/>
                  <a:pt x="1568" y="42"/>
                  <a:pt x="1569" y="42"/>
                </a:cubicBezTo>
                <a:close/>
                <a:moveTo>
                  <a:pt x="1042" y="81"/>
                </a:moveTo>
                <a:cubicBezTo>
                  <a:pt x="1042" y="82"/>
                  <a:pt x="1043" y="82"/>
                  <a:pt x="1043" y="82"/>
                </a:cubicBezTo>
                <a:cubicBezTo>
                  <a:pt x="1043" y="82"/>
                  <a:pt x="1043" y="82"/>
                  <a:pt x="1042" y="81"/>
                </a:cubicBezTo>
                <a:close/>
                <a:moveTo>
                  <a:pt x="1357" y="81"/>
                </a:moveTo>
                <a:cubicBezTo>
                  <a:pt x="1357" y="81"/>
                  <a:pt x="1357" y="82"/>
                  <a:pt x="1357" y="82"/>
                </a:cubicBezTo>
                <a:cubicBezTo>
                  <a:pt x="1357" y="82"/>
                  <a:pt x="1357" y="82"/>
                  <a:pt x="1357" y="81"/>
                </a:cubicBezTo>
                <a:close/>
                <a:moveTo>
                  <a:pt x="1530" y="82"/>
                </a:moveTo>
                <a:cubicBezTo>
                  <a:pt x="1530" y="82"/>
                  <a:pt x="1530" y="82"/>
                  <a:pt x="1530" y="81"/>
                </a:cubicBezTo>
                <a:cubicBezTo>
                  <a:pt x="1530" y="81"/>
                  <a:pt x="1530" y="82"/>
                  <a:pt x="1530" y="82"/>
                </a:cubicBezTo>
                <a:close/>
                <a:moveTo>
                  <a:pt x="1679" y="81"/>
                </a:moveTo>
                <a:cubicBezTo>
                  <a:pt x="1678" y="82"/>
                  <a:pt x="1679" y="82"/>
                  <a:pt x="1679" y="82"/>
                </a:cubicBezTo>
                <a:cubicBezTo>
                  <a:pt x="1679" y="82"/>
                  <a:pt x="1679" y="81"/>
                  <a:pt x="1679" y="81"/>
                </a:cubicBezTo>
                <a:close/>
                <a:moveTo>
                  <a:pt x="1698" y="82"/>
                </a:moveTo>
                <a:cubicBezTo>
                  <a:pt x="1698" y="82"/>
                  <a:pt x="1698" y="82"/>
                  <a:pt x="1698" y="81"/>
                </a:cubicBezTo>
                <a:cubicBezTo>
                  <a:pt x="1698" y="81"/>
                  <a:pt x="1698" y="82"/>
                  <a:pt x="1698" y="82"/>
                </a:cubicBezTo>
                <a:close/>
                <a:moveTo>
                  <a:pt x="621" y="82"/>
                </a:moveTo>
                <a:cubicBezTo>
                  <a:pt x="621" y="82"/>
                  <a:pt x="621" y="82"/>
                  <a:pt x="621" y="83"/>
                </a:cubicBezTo>
                <a:cubicBezTo>
                  <a:pt x="621" y="82"/>
                  <a:pt x="621" y="82"/>
                  <a:pt x="621" y="82"/>
                </a:cubicBezTo>
                <a:close/>
                <a:moveTo>
                  <a:pt x="760" y="82"/>
                </a:moveTo>
                <a:cubicBezTo>
                  <a:pt x="760" y="82"/>
                  <a:pt x="761" y="82"/>
                  <a:pt x="761" y="83"/>
                </a:cubicBezTo>
                <a:cubicBezTo>
                  <a:pt x="761" y="82"/>
                  <a:pt x="761" y="82"/>
                  <a:pt x="760" y="82"/>
                </a:cubicBezTo>
                <a:close/>
                <a:moveTo>
                  <a:pt x="1209" y="82"/>
                </a:moveTo>
                <a:cubicBezTo>
                  <a:pt x="1209" y="82"/>
                  <a:pt x="1209" y="82"/>
                  <a:pt x="1209" y="82"/>
                </a:cubicBezTo>
                <a:cubicBezTo>
                  <a:pt x="1209" y="82"/>
                  <a:pt x="1209" y="82"/>
                  <a:pt x="1209" y="82"/>
                </a:cubicBezTo>
                <a:close/>
                <a:moveTo>
                  <a:pt x="1220" y="82"/>
                </a:moveTo>
                <a:cubicBezTo>
                  <a:pt x="1220" y="82"/>
                  <a:pt x="1220" y="82"/>
                  <a:pt x="1221" y="82"/>
                </a:cubicBezTo>
                <a:cubicBezTo>
                  <a:pt x="1221" y="82"/>
                  <a:pt x="1221" y="82"/>
                  <a:pt x="1220" y="82"/>
                </a:cubicBezTo>
                <a:close/>
                <a:moveTo>
                  <a:pt x="1539" y="9"/>
                </a:moveTo>
                <a:cubicBezTo>
                  <a:pt x="1539" y="9"/>
                  <a:pt x="1539" y="9"/>
                  <a:pt x="1540" y="9"/>
                </a:cubicBezTo>
                <a:cubicBezTo>
                  <a:pt x="1539" y="9"/>
                  <a:pt x="1539" y="9"/>
                  <a:pt x="1539" y="9"/>
                </a:cubicBezTo>
                <a:close/>
                <a:moveTo>
                  <a:pt x="1666" y="82"/>
                </a:moveTo>
                <a:cubicBezTo>
                  <a:pt x="1666" y="82"/>
                  <a:pt x="1666" y="82"/>
                  <a:pt x="1666" y="82"/>
                </a:cubicBezTo>
                <a:cubicBezTo>
                  <a:pt x="1666" y="82"/>
                  <a:pt x="1666" y="82"/>
                  <a:pt x="1666" y="82"/>
                </a:cubicBezTo>
                <a:close/>
                <a:moveTo>
                  <a:pt x="627" y="83"/>
                </a:moveTo>
                <a:cubicBezTo>
                  <a:pt x="627" y="83"/>
                  <a:pt x="627" y="82"/>
                  <a:pt x="627" y="82"/>
                </a:cubicBezTo>
                <a:cubicBezTo>
                  <a:pt x="627" y="82"/>
                  <a:pt x="627" y="82"/>
                  <a:pt x="627" y="83"/>
                </a:cubicBezTo>
                <a:close/>
                <a:moveTo>
                  <a:pt x="637" y="82"/>
                </a:moveTo>
                <a:cubicBezTo>
                  <a:pt x="637" y="82"/>
                  <a:pt x="637" y="82"/>
                  <a:pt x="637" y="83"/>
                </a:cubicBezTo>
                <a:cubicBezTo>
                  <a:pt x="637" y="83"/>
                  <a:pt x="637" y="82"/>
                  <a:pt x="637" y="82"/>
                </a:cubicBezTo>
                <a:close/>
                <a:moveTo>
                  <a:pt x="1568" y="9"/>
                </a:moveTo>
                <a:cubicBezTo>
                  <a:pt x="1569" y="9"/>
                  <a:pt x="1569" y="9"/>
                  <a:pt x="1569" y="9"/>
                </a:cubicBezTo>
                <a:cubicBezTo>
                  <a:pt x="1569" y="9"/>
                  <a:pt x="1569" y="9"/>
                  <a:pt x="1568" y="9"/>
                </a:cubicBezTo>
                <a:close/>
                <a:moveTo>
                  <a:pt x="1707" y="9"/>
                </a:moveTo>
                <a:cubicBezTo>
                  <a:pt x="1707" y="9"/>
                  <a:pt x="1708" y="9"/>
                  <a:pt x="1708" y="9"/>
                </a:cubicBezTo>
                <a:cubicBezTo>
                  <a:pt x="1707" y="9"/>
                  <a:pt x="1707" y="9"/>
                  <a:pt x="1707" y="9"/>
                </a:cubicBezTo>
                <a:close/>
                <a:moveTo>
                  <a:pt x="1345" y="83"/>
                </a:moveTo>
                <a:cubicBezTo>
                  <a:pt x="1346" y="83"/>
                  <a:pt x="1346" y="82"/>
                  <a:pt x="1346" y="82"/>
                </a:cubicBezTo>
                <a:cubicBezTo>
                  <a:pt x="1345" y="82"/>
                  <a:pt x="1345" y="82"/>
                  <a:pt x="1345" y="83"/>
                </a:cubicBezTo>
                <a:close/>
                <a:moveTo>
                  <a:pt x="1737" y="9"/>
                </a:moveTo>
                <a:cubicBezTo>
                  <a:pt x="1737" y="9"/>
                  <a:pt x="1737" y="9"/>
                  <a:pt x="1737" y="9"/>
                </a:cubicBezTo>
                <a:cubicBezTo>
                  <a:pt x="1737" y="9"/>
                  <a:pt x="1737" y="9"/>
                  <a:pt x="1737" y="9"/>
                </a:cubicBezTo>
                <a:close/>
                <a:moveTo>
                  <a:pt x="1530" y="83"/>
                </a:moveTo>
                <a:cubicBezTo>
                  <a:pt x="1530" y="83"/>
                  <a:pt x="1530" y="82"/>
                  <a:pt x="1530" y="82"/>
                </a:cubicBezTo>
                <a:cubicBezTo>
                  <a:pt x="1530" y="82"/>
                  <a:pt x="1530" y="83"/>
                  <a:pt x="1530" y="83"/>
                </a:cubicBezTo>
                <a:close/>
                <a:moveTo>
                  <a:pt x="1541" y="82"/>
                </a:moveTo>
                <a:cubicBezTo>
                  <a:pt x="1541" y="82"/>
                  <a:pt x="1541" y="82"/>
                  <a:pt x="1541" y="83"/>
                </a:cubicBezTo>
                <a:cubicBezTo>
                  <a:pt x="1541" y="83"/>
                  <a:pt x="1541" y="82"/>
                  <a:pt x="1541" y="82"/>
                </a:cubicBezTo>
                <a:close/>
                <a:moveTo>
                  <a:pt x="1679" y="82"/>
                </a:moveTo>
                <a:cubicBezTo>
                  <a:pt x="1679" y="82"/>
                  <a:pt x="1679" y="83"/>
                  <a:pt x="1679" y="83"/>
                </a:cubicBezTo>
                <a:cubicBezTo>
                  <a:pt x="1679" y="82"/>
                  <a:pt x="1679" y="82"/>
                  <a:pt x="1679" y="82"/>
                </a:cubicBezTo>
                <a:close/>
                <a:moveTo>
                  <a:pt x="1698" y="83"/>
                </a:moveTo>
                <a:cubicBezTo>
                  <a:pt x="1698" y="83"/>
                  <a:pt x="1698" y="82"/>
                  <a:pt x="1698" y="82"/>
                </a:cubicBezTo>
                <a:cubicBezTo>
                  <a:pt x="1698" y="82"/>
                  <a:pt x="1698" y="82"/>
                  <a:pt x="1698" y="83"/>
                </a:cubicBezTo>
                <a:close/>
                <a:moveTo>
                  <a:pt x="1709" y="82"/>
                </a:moveTo>
                <a:cubicBezTo>
                  <a:pt x="1709" y="82"/>
                  <a:pt x="1709" y="82"/>
                  <a:pt x="1709" y="83"/>
                </a:cubicBezTo>
                <a:cubicBezTo>
                  <a:pt x="1709" y="83"/>
                  <a:pt x="1709" y="82"/>
                  <a:pt x="1709" y="82"/>
                </a:cubicBezTo>
                <a:close/>
                <a:moveTo>
                  <a:pt x="611" y="83"/>
                </a:moveTo>
                <a:cubicBezTo>
                  <a:pt x="611" y="83"/>
                  <a:pt x="611" y="83"/>
                  <a:pt x="611" y="82"/>
                </a:cubicBezTo>
                <a:cubicBezTo>
                  <a:pt x="611" y="83"/>
                  <a:pt x="611" y="83"/>
                  <a:pt x="611" y="83"/>
                </a:cubicBezTo>
                <a:close/>
                <a:moveTo>
                  <a:pt x="830" y="52"/>
                </a:moveTo>
                <a:cubicBezTo>
                  <a:pt x="830" y="52"/>
                  <a:pt x="830" y="52"/>
                  <a:pt x="830" y="53"/>
                </a:cubicBezTo>
                <a:cubicBezTo>
                  <a:pt x="830" y="53"/>
                  <a:pt x="830" y="52"/>
                  <a:pt x="830" y="52"/>
                </a:cubicBezTo>
                <a:close/>
                <a:moveTo>
                  <a:pt x="1043" y="82"/>
                </a:moveTo>
                <a:cubicBezTo>
                  <a:pt x="1043" y="83"/>
                  <a:pt x="1043" y="83"/>
                  <a:pt x="1043" y="83"/>
                </a:cubicBezTo>
                <a:cubicBezTo>
                  <a:pt x="1043" y="83"/>
                  <a:pt x="1043" y="83"/>
                  <a:pt x="1043" y="82"/>
                </a:cubicBezTo>
                <a:close/>
                <a:moveTo>
                  <a:pt x="1221" y="82"/>
                </a:moveTo>
                <a:cubicBezTo>
                  <a:pt x="1221" y="83"/>
                  <a:pt x="1221" y="83"/>
                  <a:pt x="1221" y="83"/>
                </a:cubicBezTo>
                <a:cubicBezTo>
                  <a:pt x="1221" y="83"/>
                  <a:pt x="1221" y="83"/>
                  <a:pt x="1221" y="82"/>
                </a:cubicBezTo>
                <a:close/>
                <a:moveTo>
                  <a:pt x="1667" y="83"/>
                </a:moveTo>
                <a:cubicBezTo>
                  <a:pt x="1667" y="83"/>
                  <a:pt x="1667" y="83"/>
                  <a:pt x="1666" y="82"/>
                </a:cubicBezTo>
                <a:cubicBezTo>
                  <a:pt x="1666" y="83"/>
                  <a:pt x="1666" y="83"/>
                  <a:pt x="1667" y="83"/>
                </a:cubicBezTo>
                <a:close/>
                <a:moveTo>
                  <a:pt x="621" y="83"/>
                </a:moveTo>
                <a:cubicBezTo>
                  <a:pt x="621" y="83"/>
                  <a:pt x="621" y="83"/>
                  <a:pt x="622" y="84"/>
                </a:cubicBezTo>
                <a:cubicBezTo>
                  <a:pt x="622" y="83"/>
                  <a:pt x="622" y="83"/>
                  <a:pt x="621" y="83"/>
                </a:cubicBezTo>
                <a:close/>
                <a:moveTo>
                  <a:pt x="550" y="9"/>
                </a:moveTo>
                <a:cubicBezTo>
                  <a:pt x="551" y="9"/>
                  <a:pt x="551" y="9"/>
                  <a:pt x="551" y="9"/>
                </a:cubicBezTo>
                <a:cubicBezTo>
                  <a:pt x="551" y="9"/>
                  <a:pt x="550" y="9"/>
                  <a:pt x="550" y="9"/>
                </a:cubicBezTo>
                <a:close/>
                <a:moveTo>
                  <a:pt x="761" y="83"/>
                </a:moveTo>
                <a:cubicBezTo>
                  <a:pt x="761" y="83"/>
                  <a:pt x="761" y="83"/>
                  <a:pt x="761" y="83"/>
                </a:cubicBezTo>
                <a:cubicBezTo>
                  <a:pt x="761" y="83"/>
                  <a:pt x="761" y="83"/>
                  <a:pt x="761" y="83"/>
                </a:cubicBezTo>
                <a:close/>
                <a:moveTo>
                  <a:pt x="958" y="83"/>
                </a:moveTo>
                <a:cubicBezTo>
                  <a:pt x="958" y="83"/>
                  <a:pt x="957" y="83"/>
                  <a:pt x="957" y="83"/>
                </a:cubicBezTo>
                <a:cubicBezTo>
                  <a:pt x="957" y="83"/>
                  <a:pt x="957" y="83"/>
                  <a:pt x="958" y="83"/>
                </a:cubicBezTo>
                <a:close/>
                <a:moveTo>
                  <a:pt x="1031" y="83"/>
                </a:moveTo>
                <a:cubicBezTo>
                  <a:pt x="1031" y="83"/>
                  <a:pt x="1031" y="83"/>
                  <a:pt x="1031" y="83"/>
                </a:cubicBezTo>
                <a:cubicBezTo>
                  <a:pt x="1031" y="83"/>
                  <a:pt x="1031" y="83"/>
                  <a:pt x="1031" y="83"/>
                </a:cubicBezTo>
                <a:close/>
                <a:moveTo>
                  <a:pt x="980" y="9"/>
                </a:moveTo>
                <a:cubicBezTo>
                  <a:pt x="980" y="9"/>
                  <a:pt x="980" y="9"/>
                  <a:pt x="981" y="9"/>
                </a:cubicBezTo>
                <a:cubicBezTo>
                  <a:pt x="980" y="9"/>
                  <a:pt x="980" y="9"/>
                  <a:pt x="980" y="9"/>
                </a:cubicBezTo>
                <a:close/>
                <a:moveTo>
                  <a:pt x="1345" y="83"/>
                </a:moveTo>
                <a:cubicBezTo>
                  <a:pt x="1345" y="83"/>
                  <a:pt x="1345" y="83"/>
                  <a:pt x="1345" y="83"/>
                </a:cubicBezTo>
                <a:cubicBezTo>
                  <a:pt x="1345" y="83"/>
                  <a:pt x="1345" y="83"/>
                  <a:pt x="1345" y="83"/>
                </a:cubicBezTo>
                <a:close/>
                <a:moveTo>
                  <a:pt x="1466" y="83"/>
                </a:moveTo>
                <a:cubicBezTo>
                  <a:pt x="1466" y="83"/>
                  <a:pt x="1466" y="83"/>
                  <a:pt x="1466" y="83"/>
                </a:cubicBezTo>
                <a:cubicBezTo>
                  <a:pt x="1466" y="83"/>
                  <a:pt x="1466" y="83"/>
                  <a:pt x="1466" y="83"/>
                </a:cubicBezTo>
                <a:close/>
                <a:moveTo>
                  <a:pt x="1541" y="83"/>
                </a:moveTo>
                <a:cubicBezTo>
                  <a:pt x="1540" y="83"/>
                  <a:pt x="1540" y="83"/>
                  <a:pt x="1540" y="83"/>
                </a:cubicBezTo>
                <a:cubicBezTo>
                  <a:pt x="1541" y="83"/>
                  <a:pt x="1541" y="83"/>
                  <a:pt x="1541" y="83"/>
                </a:cubicBezTo>
                <a:close/>
                <a:moveTo>
                  <a:pt x="1679" y="83"/>
                </a:moveTo>
                <a:cubicBezTo>
                  <a:pt x="1679" y="83"/>
                  <a:pt x="1679" y="83"/>
                  <a:pt x="1680" y="83"/>
                </a:cubicBezTo>
                <a:cubicBezTo>
                  <a:pt x="1680" y="83"/>
                  <a:pt x="1679" y="83"/>
                  <a:pt x="1679" y="83"/>
                </a:cubicBezTo>
                <a:close/>
                <a:moveTo>
                  <a:pt x="1709" y="83"/>
                </a:moveTo>
                <a:cubicBezTo>
                  <a:pt x="1708" y="83"/>
                  <a:pt x="1708" y="83"/>
                  <a:pt x="1708" y="83"/>
                </a:cubicBezTo>
                <a:cubicBezTo>
                  <a:pt x="1709" y="83"/>
                  <a:pt x="1709" y="83"/>
                  <a:pt x="1709" y="83"/>
                </a:cubicBezTo>
                <a:close/>
                <a:moveTo>
                  <a:pt x="1019" y="9"/>
                </a:moveTo>
                <a:cubicBezTo>
                  <a:pt x="1020" y="9"/>
                  <a:pt x="1020" y="9"/>
                  <a:pt x="1020" y="9"/>
                </a:cubicBezTo>
                <a:cubicBezTo>
                  <a:pt x="1020" y="9"/>
                  <a:pt x="1020" y="9"/>
                  <a:pt x="1019" y="9"/>
                </a:cubicBezTo>
                <a:close/>
                <a:moveTo>
                  <a:pt x="626" y="84"/>
                </a:moveTo>
                <a:cubicBezTo>
                  <a:pt x="626" y="84"/>
                  <a:pt x="627" y="83"/>
                  <a:pt x="626" y="83"/>
                </a:cubicBezTo>
                <a:cubicBezTo>
                  <a:pt x="626" y="83"/>
                  <a:pt x="626" y="84"/>
                  <a:pt x="626" y="84"/>
                </a:cubicBezTo>
                <a:close/>
                <a:moveTo>
                  <a:pt x="750" y="53"/>
                </a:moveTo>
                <a:cubicBezTo>
                  <a:pt x="750" y="53"/>
                  <a:pt x="750" y="52"/>
                  <a:pt x="750" y="52"/>
                </a:cubicBezTo>
                <a:cubicBezTo>
                  <a:pt x="750" y="52"/>
                  <a:pt x="750" y="53"/>
                  <a:pt x="750" y="53"/>
                </a:cubicBezTo>
                <a:close/>
                <a:moveTo>
                  <a:pt x="1354" y="9"/>
                </a:moveTo>
                <a:cubicBezTo>
                  <a:pt x="1354" y="9"/>
                  <a:pt x="1355" y="9"/>
                  <a:pt x="1355" y="9"/>
                </a:cubicBezTo>
                <a:cubicBezTo>
                  <a:pt x="1354" y="9"/>
                  <a:pt x="1354" y="9"/>
                  <a:pt x="1354" y="9"/>
                </a:cubicBezTo>
                <a:close/>
                <a:moveTo>
                  <a:pt x="1043" y="83"/>
                </a:moveTo>
                <a:cubicBezTo>
                  <a:pt x="1043" y="83"/>
                  <a:pt x="1043" y="84"/>
                  <a:pt x="1044" y="84"/>
                </a:cubicBezTo>
                <a:cubicBezTo>
                  <a:pt x="1044" y="83"/>
                  <a:pt x="1043" y="83"/>
                  <a:pt x="1043" y="83"/>
                </a:cubicBezTo>
                <a:close/>
                <a:moveTo>
                  <a:pt x="1221" y="83"/>
                </a:moveTo>
                <a:cubicBezTo>
                  <a:pt x="1221" y="83"/>
                  <a:pt x="1221" y="84"/>
                  <a:pt x="1221" y="84"/>
                </a:cubicBezTo>
                <a:cubicBezTo>
                  <a:pt x="1221" y="83"/>
                  <a:pt x="1221" y="83"/>
                  <a:pt x="1221" y="83"/>
                </a:cubicBezTo>
                <a:close/>
                <a:moveTo>
                  <a:pt x="1356" y="83"/>
                </a:moveTo>
                <a:cubicBezTo>
                  <a:pt x="1356" y="83"/>
                  <a:pt x="1356" y="83"/>
                  <a:pt x="1356" y="84"/>
                </a:cubicBezTo>
                <a:cubicBezTo>
                  <a:pt x="1356" y="84"/>
                  <a:pt x="1356" y="83"/>
                  <a:pt x="1356" y="83"/>
                </a:cubicBezTo>
                <a:close/>
                <a:moveTo>
                  <a:pt x="1414" y="84"/>
                </a:moveTo>
                <a:cubicBezTo>
                  <a:pt x="1414" y="83"/>
                  <a:pt x="1414" y="83"/>
                  <a:pt x="1413" y="83"/>
                </a:cubicBezTo>
                <a:cubicBezTo>
                  <a:pt x="1413" y="83"/>
                  <a:pt x="1413" y="84"/>
                  <a:pt x="1414" y="84"/>
                </a:cubicBezTo>
                <a:close/>
                <a:moveTo>
                  <a:pt x="1529" y="84"/>
                </a:moveTo>
                <a:cubicBezTo>
                  <a:pt x="1529" y="84"/>
                  <a:pt x="1529" y="83"/>
                  <a:pt x="1529" y="83"/>
                </a:cubicBezTo>
                <a:cubicBezTo>
                  <a:pt x="1529" y="83"/>
                  <a:pt x="1529" y="83"/>
                  <a:pt x="1529" y="84"/>
                </a:cubicBezTo>
                <a:close/>
                <a:moveTo>
                  <a:pt x="1385" y="9"/>
                </a:moveTo>
                <a:cubicBezTo>
                  <a:pt x="1385" y="9"/>
                  <a:pt x="1385" y="9"/>
                  <a:pt x="1385" y="9"/>
                </a:cubicBezTo>
                <a:cubicBezTo>
                  <a:pt x="1385" y="9"/>
                  <a:pt x="1385" y="9"/>
                  <a:pt x="1385" y="9"/>
                </a:cubicBezTo>
                <a:close/>
                <a:moveTo>
                  <a:pt x="1697" y="84"/>
                </a:moveTo>
                <a:cubicBezTo>
                  <a:pt x="1697" y="84"/>
                  <a:pt x="1698" y="83"/>
                  <a:pt x="1698" y="83"/>
                </a:cubicBezTo>
                <a:cubicBezTo>
                  <a:pt x="1697" y="83"/>
                  <a:pt x="1697" y="83"/>
                  <a:pt x="1697" y="84"/>
                </a:cubicBezTo>
                <a:close/>
                <a:moveTo>
                  <a:pt x="612" y="84"/>
                </a:moveTo>
                <a:cubicBezTo>
                  <a:pt x="612" y="84"/>
                  <a:pt x="612" y="83"/>
                  <a:pt x="611" y="83"/>
                </a:cubicBezTo>
                <a:cubicBezTo>
                  <a:pt x="611" y="84"/>
                  <a:pt x="611" y="84"/>
                  <a:pt x="612" y="84"/>
                </a:cubicBezTo>
                <a:close/>
                <a:moveTo>
                  <a:pt x="958" y="84"/>
                </a:moveTo>
                <a:cubicBezTo>
                  <a:pt x="958" y="84"/>
                  <a:pt x="958" y="84"/>
                  <a:pt x="958" y="83"/>
                </a:cubicBezTo>
                <a:cubicBezTo>
                  <a:pt x="958" y="84"/>
                  <a:pt x="958" y="84"/>
                  <a:pt x="958" y="84"/>
                </a:cubicBezTo>
                <a:close/>
                <a:moveTo>
                  <a:pt x="1345" y="84"/>
                </a:moveTo>
                <a:cubicBezTo>
                  <a:pt x="1345" y="84"/>
                  <a:pt x="1345" y="84"/>
                  <a:pt x="1345" y="83"/>
                </a:cubicBezTo>
                <a:cubicBezTo>
                  <a:pt x="1345" y="84"/>
                  <a:pt x="1345" y="84"/>
                  <a:pt x="1345" y="84"/>
                </a:cubicBezTo>
                <a:close/>
                <a:moveTo>
                  <a:pt x="1540" y="83"/>
                </a:moveTo>
                <a:cubicBezTo>
                  <a:pt x="1540" y="84"/>
                  <a:pt x="1540" y="84"/>
                  <a:pt x="1540" y="84"/>
                </a:cubicBezTo>
                <a:cubicBezTo>
                  <a:pt x="1540" y="84"/>
                  <a:pt x="1540" y="84"/>
                  <a:pt x="1540" y="83"/>
                </a:cubicBezTo>
                <a:close/>
                <a:moveTo>
                  <a:pt x="1680" y="83"/>
                </a:moveTo>
                <a:cubicBezTo>
                  <a:pt x="1679" y="84"/>
                  <a:pt x="1680" y="84"/>
                  <a:pt x="1680" y="84"/>
                </a:cubicBezTo>
                <a:cubicBezTo>
                  <a:pt x="1680" y="84"/>
                  <a:pt x="1680" y="84"/>
                  <a:pt x="1680" y="83"/>
                </a:cubicBezTo>
                <a:close/>
                <a:moveTo>
                  <a:pt x="1708" y="83"/>
                </a:moveTo>
                <a:cubicBezTo>
                  <a:pt x="1708" y="84"/>
                  <a:pt x="1708" y="84"/>
                  <a:pt x="1708" y="84"/>
                </a:cubicBezTo>
                <a:cubicBezTo>
                  <a:pt x="1708" y="84"/>
                  <a:pt x="1708" y="84"/>
                  <a:pt x="1708" y="83"/>
                </a:cubicBezTo>
                <a:close/>
                <a:moveTo>
                  <a:pt x="622" y="84"/>
                </a:moveTo>
                <a:cubicBezTo>
                  <a:pt x="622" y="84"/>
                  <a:pt x="622" y="84"/>
                  <a:pt x="622" y="85"/>
                </a:cubicBezTo>
                <a:cubicBezTo>
                  <a:pt x="622" y="84"/>
                  <a:pt x="622" y="84"/>
                  <a:pt x="622" y="84"/>
                </a:cubicBezTo>
                <a:close/>
                <a:moveTo>
                  <a:pt x="1427" y="9"/>
                </a:moveTo>
                <a:cubicBezTo>
                  <a:pt x="1427" y="9"/>
                  <a:pt x="1427" y="9"/>
                  <a:pt x="1428" y="9"/>
                </a:cubicBezTo>
                <a:cubicBezTo>
                  <a:pt x="1427" y="9"/>
                  <a:pt x="1427" y="9"/>
                  <a:pt x="1427" y="9"/>
                </a:cubicBezTo>
                <a:close/>
                <a:moveTo>
                  <a:pt x="636" y="84"/>
                </a:moveTo>
                <a:cubicBezTo>
                  <a:pt x="636" y="84"/>
                  <a:pt x="636" y="84"/>
                  <a:pt x="636" y="84"/>
                </a:cubicBezTo>
                <a:cubicBezTo>
                  <a:pt x="636" y="84"/>
                  <a:pt x="636" y="84"/>
                  <a:pt x="636" y="84"/>
                </a:cubicBezTo>
                <a:close/>
                <a:moveTo>
                  <a:pt x="1032" y="84"/>
                </a:moveTo>
                <a:cubicBezTo>
                  <a:pt x="1032" y="84"/>
                  <a:pt x="1032" y="84"/>
                  <a:pt x="1031" y="84"/>
                </a:cubicBezTo>
                <a:cubicBezTo>
                  <a:pt x="1031" y="84"/>
                  <a:pt x="1031" y="84"/>
                  <a:pt x="1032" y="84"/>
                </a:cubicBezTo>
                <a:close/>
                <a:moveTo>
                  <a:pt x="637" y="55"/>
                </a:moveTo>
                <a:cubicBezTo>
                  <a:pt x="637" y="55"/>
                  <a:pt x="637" y="55"/>
                  <a:pt x="637" y="55"/>
                </a:cubicBezTo>
                <a:cubicBezTo>
                  <a:pt x="637" y="55"/>
                  <a:pt x="637" y="55"/>
                  <a:pt x="637" y="55"/>
                </a:cubicBezTo>
                <a:close/>
                <a:moveTo>
                  <a:pt x="1210" y="84"/>
                </a:moveTo>
                <a:cubicBezTo>
                  <a:pt x="1210" y="84"/>
                  <a:pt x="1210" y="84"/>
                  <a:pt x="1209" y="84"/>
                </a:cubicBezTo>
                <a:cubicBezTo>
                  <a:pt x="1209" y="84"/>
                  <a:pt x="1209" y="84"/>
                  <a:pt x="1210" y="84"/>
                </a:cubicBezTo>
                <a:close/>
                <a:moveTo>
                  <a:pt x="1221" y="84"/>
                </a:moveTo>
                <a:cubicBezTo>
                  <a:pt x="1221" y="84"/>
                  <a:pt x="1222" y="84"/>
                  <a:pt x="1222" y="84"/>
                </a:cubicBezTo>
                <a:cubicBezTo>
                  <a:pt x="1222" y="84"/>
                  <a:pt x="1222" y="84"/>
                  <a:pt x="1221" y="84"/>
                </a:cubicBezTo>
                <a:close/>
                <a:moveTo>
                  <a:pt x="1356" y="84"/>
                </a:moveTo>
                <a:cubicBezTo>
                  <a:pt x="1356" y="84"/>
                  <a:pt x="1355" y="84"/>
                  <a:pt x="1355" y="84"/>
                </a:cubicBezTo>
                <a:cubicBezTo>
                  <a:pt x="1356" y="84"/>
                  <a:pt x="1356" y="84"/>
                  <a:pt x="1356" y="84"/>
                </a:cubicBezTo>
                <a:close/>
                <a:moveTo>
                  <a:pt x="1466" y="84"/>
                </a:moveTo>
                <a:cubicBezTo>
                  <a:pt x="1466" y="84"/>
                  <a:pt x="1466" y="84"/>
                  <a:pt x="1466" y="84"/>
                </a:cubicBezTo>
                <a:cubicBezTo>
                  <a:pt x="1466" y="84"/>
                  <a:pt x="1466" y="84"/>
                  <a:pt x="1466" y="84"/>
                </a:cubicBezTo>
                <a:close/>
                <a:moveTo>
                  <a:pt x="1529" y="85"/>
                </a:moveTo>
                <a:cubicBezTo>
                  <a:pt x="1529" y="84"/>
                  <a:pt x="1529" y="84"/>
                  <a:pt x="1529" y="84"/>
                </a:cubicBezTo>
                <a:cubicBezTo>
                  <a:pt x="1529" y="84"/>
                  <a:pt x="1529" y="84"/>
                  <a:pt x="1529" y="85"/>
                </a:cubicBezTo>
                <a:close/>
                <a:moveTo>
                  <a:pt x="1697" y="85"/>
                </a:moveTo>
                <a:cubicBezTo>
                  <a:pt x="1697" y="84"/>
                  <a:pt x="1697" y="84"/>
                  <a:pt x="1697" y="84"/>
                </a:cubicBezTo>
                <a:cubicBezTo>
                  <a:pt x="1697" y="84"/>
                  <a:pt x="1697" y="84"/>
                  <a:pt x="1697" y="85"/>
                </a:cubicBezTo>
                <a:close/>
                <a:moveTo>
                  <a:pt x="612" y="85"/>
                </a:moveTo>
                <a:cubicBezTo>
                  <a:pt x="612" y="85"/>
                  <a:pt x="612" y="84"/>
                  <a:pt x="612" y="84"/>
                </a:cubicBezTo>
                <a:cubicBezTo>
                  <a:pt x="612" y="84"/>
                  <a:pt x="612" y="85"/>
                  <a:pt x="612" y="85"/>
                </a:cubicBezTo>
                <a:close/>
                <a:moveTo>
                  <a:pt x="750" y="85"/>
                </a:moveTo>
                <a:cubicBezTo>
                  <a:pt x="750" y="85"/>
                  <a:pt x="750" y="84"/>
                  <a:pt x="749" y="84"/>
                </a:cubicBezTo>
                <a:cubicBezTo>
                  <a:pt x="749" y="84"/>
                  <a:pt x="749" y="85"/>
                  <a:pt x="750" y="85"/>
                </a:cubicBezTo>
                <a:close/>
                <a:moveTo>
                  <a:pt x="1044" y="84"/>
                </a:moveTo>
                <a:cubicBezTo>
                  <a:pt x="1044" y="84"/>
                  <a:pt x="1044" y="85"/>
                  <a:pt x="1044" y="85"/>
                </a:cubicBezTo>
                <a:cubicBezTo>
                  <a:pt x="1044" y="85"/>
                  <a:pt x="1044" y="84"/>
                  <a:pt x="1044" y="84"/>
                </a:cubicBezTo>
                <a:close/>
                <a:moveTo>
                  <a:pt x="1414" y="85"/>
                </a:moveTo>
                <a:cubicBezTo>
                  <a:pt x="1414" y="84"/>
                  <a:pt x="1414" y="84"/>
                  <a:pt x="1414" y="84"/>
                </a:cubicBezTo>
                <a:cubicBezTo>
                  <a:pt x="1414" y="84"/>
                  <a:pt x="1414" y="85"/>
                  <a:pt x="1414" y="85"/>
                </a:cubicBezTo>
                <a:close/>
                <a:moveTo>
                  <a:pt x="1540" y="84"/>
                </a:moveTo>
                <a:cubicBezTo>
                  <a:pt x="1540" y="84"/>
                  <a:pt x="1540" y="85"/>
                  <a:pt x="1540" y="85"/>
                </a:cubicBezTo>
                <a:cubicBezTo>
                  <a:pt x="1540" y="85"/>
                  <a:pt x="1540" y="84"/>
                  <a:pt x="1540" y="84"/>
                </a:cubicBezTo>
                <a:close/>
                <a:moveTo>
                  <a:pt x="1667" y="85"/>
                </a:moveTo>
                <a:cubicBezTo>
                  <a:pt x="1667" y="84"/>
                  <a:pt x="1667" y="84"/>
                  <a:pt x="1667" y="84"/>
                </a:cubicBezTo>
                <a:cubicBezTo>
                  <a:pt x="1667" y="84"/>
                  <a:pt x="1667" y="85"/>
                  <a:pt x="1667" y="85"/>
                </a:cubicBezTo>
                <a:close/>
                <a:moveTo>
                  <a:pt x="1680" y="84"/>
                </a:moveTo>
                <a:cubicBezTo>
                  <a:pt x="1680" y="84"/>
                  <a:pt x="1680" y="85"/>
                  <a:pt x="1680" y="85"/>
                </a:cubicBezTo>
                <a:cubicBezTo>
                  <a:pt x="1680" y="85"/>
                  <a:pt x="1680" y="84"/>
                  <a:pt x="1680" y="84"/>
                </a:cubicBezTo>
                <a:close/>
                <a:moveTo>
                  <a:pt x="1708" y="84"/>
                </a:moveTo>
                <a:cubicBezTo>
                  <a:pt x="1708" y="84"/>
                  <a:pt x="1708" y="85"/>
                  <a:pt x="1708" y="85"/>
                </a:cubicBezTo>
                <a:cubicBezTo>
                  <a:pt x="1708" y="85"/>
                  <a:pt x="1708" y="84"/>
                  <a:pt x="1708" y="84"/>
                </a:cubicBezTo>
                <a:close/>
                <a:moveTo>
                  <a:pt x="1683" y="42"/>
                </a:moveTo>
                <a:cubicBezTo>
                  <a:pt x="1683" y="42"/>
                  <a:pt x="1683" y="42"/>
                  <a:pt x="1683" y="42"/>
                </a:cubicBezTo>
                <a:cubicBezTo>
                  <a:pt x="1683" y="42"/>
                  <a:pt x="1683" y="42"/>
                  <a:pt x="1683" y="42"/>
                </a:cubicBezTo>
                <a:close/>
                <a:moveTo>
                  <a:pt x="1538" y="9"/>
                </a:moveTo>
                <a:cubicBezTo>
                  <a:pt x="1539" y="9"/>
                  <a:pt x="1539" y="9"/>
                  <a:pt x="1539" y="9"/>
                </a:cubicBezTo>
                <a:cubicBezTo>
                  <a:pt x="1539" y="9"/>
                  <a:pt x="1538" y="9"/>
                  <a:pt x="1538" y="9"/>
                </a:cubicBezTo>
                <a:close/>
                <a:moveTo>
                  <a:pt x="762" y="84"/>
                </a:moveTo>
                <a:cubicBezTo>
                  <a:pt x="762" y="85"/>
                  <a:pt x="762" y="85"/>
                  <a:pt x="762" y="85"/>
                </a:cubicBezTo>
                <a:cubicBezTo>
                  <a:pt x="762" y="85"/>
                  <a:pt x="762" y="85"/>
                  <a:pt x="762" y="84"/>
                </a:cubicBezTo>
                <a:close/>
                <a:moveTo>
                  <a:pt x="959" y="85"/>
                </a:moveTo>
                <a:cubicBezTo>
                  <a:pt x="959" y="85"/>
                  <a:pt x="959" y="85"/>
                  <a:pt x="958" y="84"/>
                </a:cubicBezTo>
                <a:cubicBezTo>
                  <a:pt x="958" y="85"/>
                  <a:pt x="958" y="85"/>
                  <a:pt x="959" y="85"/>
                </a:cubicBezTo>
                <a:close/>
                <a:moveTo>
                  <a:pt x="1569" y="9"/>
                </a:moveTo>
                <a:cubicBezTo>
                  <a:pt x="1569" y="9"/>
                  <a:pt x="1570" y="9"/>
                  <a:pt x="1570" y="9"/>
                </a:cubicBezTo>
                <a:cubicBezTo>
                  <a:pt x="1570" y="9"/>
                  <a:pt x="1569" y="9"/>
                  <a:pt x="1569" y="9"/>
                </a:cubicBezTo>
                <a:close/>
                <a:moveTo>
                  <a:pt x="1344" y="85"/>
                </a:moveTo>
                <a:cubicBezTo>
                  <a:pt x="1345" y="85"/>
                  <a:pt x="1345" y="85"/>
                  <a:pt x="1345" y="84"/>
                </a:cubicBezTo>
                <a:cubicBezTo>
                  <a:pt x="1344" y="85"/>
                  <a:pt x="1344" y="85"/>
                  <a:pt x="1344" y="85"/>
                </a:cubicBezTo>
                <a:close/>
                <a:moveTo>
                  <a:pt x="1466" y="84"/>
                </a:moveTo>
                <a:cubicBezTo>
                  <a:pt x="1465" y="85"/>
                  <a:pt x="1465" y="85"/>
                  <a:pt x="1465" y="85"/>
                </a:cubicBezTo>
                <a:cubicBezTo>
                  <a:pt x="1466" y="85"/>
                  <a:pt x="1466" y="85"/>
                  <a:pt x="1466" y="84"/>
                </a:cubicBezTo>
                <a:close/>
                <a:moveTo>
                  <a:pt x="622" y="85"/>
                </a:moveTo>
                <a:cubicBezTo>
                  <a:pt x="622" y="85"/>
                  <a:pt x="622" y="85"/>
                  <a:pt x="622" y="86"/>
                </a:cubicBezTo>
                <a:cubicBezTo>
                  <a:pt x="622" y="85"/>
                  <a:pt x="622" y="85"/>
                  <a:pt x="622" y="85"/>
                </a:cubicBezTo>
                <a:close/>
                <a:moveTo>
                  <a:pt x="626" y="86"/>
                </a:moveTo>
                <a:cubicBezTo>
                  <a:pt x="626" y="85"/>
                  <a:pt x="626" y="85"/>
                  <a:pt x="626" y="85"/>
                </a:cubicBezTo>
                <a:cubicBezTo>
                  <a:pt x="626" y="85"/>
                  <a:pt x="626" y="85"/>
                  <a:pt x="626" y="86"/>
                </a:cubicBezTo>
                <a:close/>
                <a:moveTo>
                  <a:pt x="1044" y="85"/>
                </a:moveTo>
                <a:cubicBezTo>
                  <a:pt x="1044" y="85"/>
                  <a:pt x="1044" y="85"/>
                  <a:pt x="1045" y="85"/>
                </a:cubicBezTo>
                <a:cubicBezTo>
                  <a:pt x="1045" y="85"/>
                  <a:pt x="1045" y="85"/>
                  <a:pt x="1044" y="85"/>
                </a:cubicBezTo>
                <a:close/>
                <a:moveTo>
                  <a:pt x="1210" y="85"/>
                </a:moveTo>
                <a:cubicBezTo>
                  <a:pt x="1210" y="85"/>
                  <a:pt x="1210" y="85"/>
                  <a:pt x="1210" y="85"/>
                </a:cubicBezTo>
                <a:cubicBezTo>
                  <a:pt x="1210" y="85"/>
                  <a:pt x="1210" y="85"/>
                  <a:pt x="1210" y="85"/>
                </a:cubicBezTo>
                <a:close/>
                <a:moveTo>
                  <a:pt x="1222" y="85"/>
                </a:moveTo>
                <a:cubicBezTo>
                  <a:pt x="1222" y="85"/>
                  <a:pt x="1222" y="85"/>
                  <a:pt x="1222" y="86"/>
                </a:cubicBezTo>
                <a:cubicBezTo>
                  <a:pt x="1222" y="85"/>
                  <a:pt x="1222" y="85"/>
                  <a:pt x="1222" y="85"/>
                </a:cubicBezTo>
                <a:close/>
                <a:moveTo>
                  <a:pt x="1355" y="85"/>
                </a:moveTo>
                <a:cubicBezTo>
                  <a:pt x="1355" y="85"/>
                  <a:pt x="1355" y="85"/>
                  <a:pt x="1355" y="85"/>
                </a:cubicBezTo>
                <a:cubicBezTo>
                  <a:pt x="1355" y="85"/>
                  <a:pt x="1355" y="85"/>
                  <a:pt x="1355" y="85"/>
                </a:cubicBezTo>
                <a:close/>
                <a:moveTo>
                  <a:pt x="1414" y="85"/>
                </a:moveTo>
                <a:cubicBezTo>
                  <a:pt x="1414" y="85"/>
                  <a:pt x="1414" y="85"/>
                  <a:pt x="1414" y="85"/>
                </a:cubicBezTo>
                <a:cubicBezTo>
                  <a:pt x="1414" y="85"/>
                  <a:pt x="1414" y="85"/>
                  <a:pt x="1414" y="85"/>
                </a:cubicBezTo>
                <a:close/>
                <a:moveTo>
                  <a:pt x="1528" y="86"/>
                </a:moveTo>
                <a:cubicBezTo>
                  <a:pt x="1529" y="85"/>
                  <a:pt x="1529" y="85"/>
                  <a:pt x="1529" y="85"/>
                </a:cubicBezTo>
                <a:cubicBezTo>
                  <a:pt x="1528" y="85"/>
                  <a:pt x="1528" y="85"/>
                  <a:pt x="1528" y="86"/>
                </a:cubicBezTo>
                <a:close/>
                <a:moveTo>
                  <a:pt x="1668" y="86"/>
                </a:moveTo>
                <a:cubicBezTo>
                  <a:pt x="1668" y="85"/>
                  <a:pt x="1668" y="85"/>
                  <a:pt x="1667" y="85"/>
                </a:cubicBezTo>
                <a:cubicBezTo>
                  <a:pt x="1667" y="85"/>
                  <a:pt x="1667" y="85"/>
                  <a:pt x="1668" y="86"/>
                </a:cubicBezTo>
                <a:close/>
                <a:moveTo>
                  <a:pt x="1680" y="85"/>
                </a:moveTo>
                <a:cubicBezTo>
                  <a:pt x="1680" y="85"/>
                  <a:pt x="1680" y="85"/>
                  <a:pt x="1681" y="86"/>
                </a:cubicBezTo>
                <a:cubicBezTo>
                  <a:pt x="1681" y="85"/>
                  <a:pt x="1681" y="85"/>
                  <a:pt x="1680" y="85"/>
                </a:cubicBezTo>
                <a:close/>
                <a:moveTo>
                  <a:pt x="1697" y="86"/>
                </a:moveTo>
                <a:cubicBezTo>
                  <a:pt x="1697" y="85"/>
                  <a:pt x="1697" y="85"/>
                  <a:pt x="1697" y="85"/>
                </a:cubicBezTo>
                <a:cubicBezTo>
                  <a:pt x="1697" y="85"/>
                  <a:pt x="1697" y="85"/>
                  <a:pt x="1697" y="86"/>
                </a:cubicBezTo>
                <a:close/>
                <a:moveTo>
                  <a:pt x="612" y="86"/>
                </a:moveTo>
                <a:cubicBezTo>
                  <a:pt x="612" y="86"/>
                  <a:pt x="612" y="85"/>
                  <a:pt x="612" y="85"/>
                </a:cubicBezTo>
                <a:cubicBezTo>
                  <a:pt x="612" y="85"/>
                  <a:pt x="612" y="86"/>
                  <a:pt x="612" y="86"/>
                </a:cubicBezTo>
                <a:close/>
                <a:moveTo>
                  <a:pt x="750" y="86"/>
                </a:moveTo>
                <a:cubicBezTo>
                  <a:pt x="750" y="86"/>
                  <a:pt x="750" y="85"/>
                  <a:pt x="750" y="85"/>
                </a:cubicBezTo>
                <a:cubicBezTo>
                  <a:pt x="750" y="85"/>
                  <a:pt x="750" y="86"/>
                  <a:pt x="750" y="86"/>
                </a:cubicBezTo>
                <a:close/>
                <a:moveTo>
                  <a:pt x="1294" y="48"/>
                </a:moveTo>
                <a:cubicBezTo>
                  <a:pt x="1294" y="48"/>
                  <a:pt x="1293" y="48"/>
                  <a:pt x="1293" y="49"/>
                </a:cubicBezTo>
                <a:cubicBezTo>
                  <a:pt x="1294" y="48"/>
                  <a:pt x="1294" y="48"/>
                  <a:pt x="1294" y="48"/>
                </a:cubicBezTo>
                <a:close/>
                <a:moveTo>
                  <a:pt x="1465" y="85"/>
                </a:moveTo>
                <a:cubicBezTo>
                  <a:pt x="1465" y="85"/>
                  <a:pt x="1465" y="86"/>
                  <a:pt x="1465" y="86"/>
                </a:cubicBezTo>
                <a:cubicBezTo>
                  <a:pt x="1465" y="86"/>
                  <a:pt x="1465" y="85"/>
                  <a:pt x="1465" y="85"/>
                </a:cubicBezTo>
                <a:close/>
                <a:moveTo>
                  <a:pt x="1540" y="85"/>
                </a:moveTo>
                <a:cubicBezTo>
                  <a:pt x="1539" y="85"/>
                  <a:pt x="1539" y="86"/>
                  <a:pt x="1539" y="86"/>
                </a:cubicBezTo>
                <a:cubicBezTo>
                  <a:pt x="1540" y="86"/>
                  <a:pt x="1540" y="85"/>
                  <a:pt x="1540" y="85"/>
                </a:cubicBezTo>
                <a:close/>
                <a:moveTo>
                  <a:pt x="1708" y="85"/>
                </a:moveTo>
                <a:cubicBezTo>
                  <a:pt x="1707" y="85"/>
                  <a:pt x="1707" y="86"/>
                  <a:pt x="1707" y="86"/>
                </a:cubicBezTo>
                <a:cubicBezTo>
                  <a:pt x="1708" y="86"/>
                  <a:pt x="1708" y="85"/>
                  <a:pt x="1708" y="85"/>
                </a:cubicBezTo>
                <a:close/>
                <a:moveTo>
                  <a:pt x="636" y="85"/>
                </a:moveTo>
                <a:cubicBezTo>
                  <a:pt x="635" y="86"/>
                  <a:pt x="635" y="86"/>
                  <a:pt x="635" y="86"/>
                </a:cubicBezTo>
                <a:cubicBezTo>
                  <a:pt x="636" y="86"/>
                  <a:pt x="636" y="86"/>
                  <a:pt x="636" y="85"/>
                </a:cubicBezTo>
                <a:close/>
                <a:moveTo>
                  <a:pt x="763" y="86"/>
                </a:moveTo>
                <a:cubicBezTo>
                  <a:pt x="763" y="86"/>
                  <a:pt x="763" y="86"/>
                  <a:pt x="763" y="86"/>
                </a:cubicBezTo>
                <a:cubicBezTo>
                  <a:pt x="763" y="86"/>
                  <a:pt x="763" y="86"/>
                  <a:pt x="763" y="86"/>
                </a:cubicBezTo>
                <a:close/>
                <a:moveTo>
                  <a:pt x="959" y="86"/>
                </a:moveTo>
                <a:cubicBezTo>
                  <a:pt x="959" y="86"/>
                  <a:pt x="959" y="86"/>
                  <a:pt x="959" y="86"/>
                </a:cubicBezTo>
                <a:cubicBezTo>
                  <a:pt x="959" y="86"/>
                  <a:pt x="959" y="86"/>
                  <a:pt x="959" y="86"/>
                </a:cubicBezTo>
                <a:close/>
                <a:moveTo>
                  <a:pt x="1668" y="9"/>
                </a:moveTo>
                <a:cubicBezTo>
                  <a:pt x="1668" y="9"/>
                  <a:pt x="1668" y="9"/>
                  <a:pt x="1668" y="9"/>
                </a:cubicBezTo>
                <a:cubicBezTo>
                  <a:pt x="1668" y="9"/>
                  <a:pt x="1668" y="9"/>
                  <a:pt x="1668" y="9"/>
                </a:cubicBezTo>
                <a:close/>
                <a:moveTo>
                  <a:pt x="1032" y="86"/>
                </a:moveTo>
                <a:cubicBezTo>
                  <a:pt x="1032" y="86"/>
                  <a:pt x="1032" y="86"/>
                  <a:pt x="1032" y="85"/>
                </a:cubicBezTo>
                <a:cubicBezTo>
                  <a:pt x="1032" y="86"/>
                  <a:pt x="1032" y="86"/>
                  <a:pt x="1032" y="86"/>
                </a:cubicBezTo>
                <a:close/>
                <a:moveTo>
                  <a:pt x="1210" y="86"/>
                </a:moveTo>
                <a:cubicBezTo>
                  <a:pt x="1210" y="86"/>
                  <a:pt x="1210" y="86"/>
                  <a:pt x="1210" y="85"/>
                </a:cubicBezTo>
                <a:cubicBezTo>
                  <a:pt x="1210" y="86"/>
                  <a:pt x="1210" y="86"/>
                  <a:pt x="1210" y="86"/>
                </a:cubicBezTo>
                <a:close/>
                <a:moveTo>
                  <a:pt x="1706" y="9"/>
                </a:moveTo>
                <a:cubicBezTo>
                  <a:pt x="1707" y="9"/>
                  <a:pt x="1707" y="9"/>
                  <a:pt x="1707" y="9"/>
                </a:cubicBezTo>
                <a:cubicBezTo>
                  <a:pt x="1707" y="9"/>
                  <a:pt x="1706" y="9"/>
                  <a:pt x="1706" y="9"/>
                </a:cubicBezTo>
                <a:close/>
                <a:moveTo>
                  <a:pt x="1668" y="86"/>
                </a:moveTo>
                <a:cubicBezTo>
                  <a:pt x="1668" y="86"/>
                  <a:pt x="1668" y="86"/>
                  <a:pt x="1668" y="85"/>
                </a:cubicBezTo>
                <a:cubicBezTo>
                  <a:pt x="1668" y="86"/>
                  <a:pt x="1668" y="86"/>
                  <a:pt x="1668" y="86"/>
                </a:cubicBezTo>
                <a:close/>
                <a:moveTo>
                  <a:pt x="1681" y="86"/>
                </a:moveTo>
                <a:cubicBezTo>
                  <a:pt x="1681" y="86"/>
                  <a:pt x="1681" y="86"/>
                  <a:pt x="1681" y="86"/>
                </a:cubicBezTo>
                <a:cubicBezTo>
                  <a:pt x="1681" y="86"/>
                  <a:pt x="1681" y="86"/>
                  <a:pt x="1681" y="86"/>
                </a:cubicBezTo>
                <a:close/>
                <a:moveTo>
                  <a:pt x="588" y="86"/>
                </a:moveTo>
                <a:cubicBezTo>
                  <a:pt x="588" y="86"/>
                  <a:pt x="588" y="86"/>
                  <a:pt x="588" y="87"/>
                </a:cubicBezTo>
                <a:cubicBezTo>
                  <a:pt x="588" y="86"/>
                  <a:pt x="588" y="86"/>
                  <a:pt x="588" y="86"/>
                </a:cubicBezTo>
                <a:close/>
                <a:moveTo>
                  <a:pt x="613" y="87"/>
                </a:moveTo>
                <a:cubicBezTo>
                  <a:pt x="613" y="86"/>
                  <a:pt x="613" y="86"/>
                  <a:pt x="612" y="86"/>
                </a:cubicBezTo>
                <a:cubicBezTo>
                  <a:pt x="612" y="86"/>
                  <a:pt x="612" y="86"/>
                  <a:pt x="613" y="87"/>
                </a:cubicBezTo>
                <a:close/>
                <a:moveTo>
                  <a:pt x="622" y="86"/>
                </a:moveTo>
                <a:cubicBezTo>
                  <a:pt x="622" y="86"/>
                  <a:pt x="622" y="86"/>
                  <a:pt x="623" y="87"/>
                </a:cubicBezTo>
                <a:cubicBezTo>
                  <a:pt x="623" y="86"/>
                  <a:pt x="623" y="86"/>
                  <a:pt x="622" y="86"/>
                </a:cubicBezTo>
                <a:close/>
                <a:moveTo>
                  <a:pt x="625" y="87"/>
                </a:moveTo>
                <a:cubicBezTo>
                  <a:pt x="625" y="86"/>
                  <a:pt x="625" y="86"/>
                  <a:pt x="625" y="86"/>
                </a:cubicBezTo>
                <a:cubicBezTo>
                  <a:pt x="625" y="86"/>
                  <a:pt x="625" y="86"/>
                  <a:pt x="625" y="87"/>
                </a:cubicBezTo>
                <a:close/>
                <a:moveTo>
                  <a:pt x="642" y="41"/>
                </a:moveTo>
                <a:cubicBezTo>
                  <a:pt x="642" y="41"/>
                  <a:pt x="642" y="41"/>
                  <a:pt x="642" y="40"/>
                </a:cubicBezTo>
                <a:cubicBezTo>
                  <a:pt x="642" y="40"/>
                  <a:pt x="642" y="41"/>
                  <a:pt x="642" y="41"/>
                </a:cubicBezTo>
                <a:close/>
                <a:moveTo>
                  <a:pt x="750" y="87"/>
                </a:moveTo>
                <a:cubicBezTo>
                  <a:pt x="750" y="86"/>
                  <a:pt x="750" y="86"/>
                  <a:pt x="750" y="86"/>
                </a:cubicBezTo>
                <a:cubicBezTo>
                  <a:pt x="750" y="86"/>
                  <a:pt x="750" y="86"/>
                  <a:pt x="750" y="87"/>
                </a:cubicBezTo>
                <a:close/>
                <a:moveTo>
                  <a:pt x="1737" y="9"/>
                </a:moveTo>
                <a:cubicBezTo>
                  <a:pt x="1737" y="9"/>
                  <a:pt x="1738" y="9"/>
                  <a:pt x="1738" y="9"/>
                </a:cubicBezTo>
                <a:cubicBezTo>
                  <a:pt x="1738" y="9"/>
                  <a:pt x="1738" y="9"/>
                  <a:pt x="1737" y="9"/>
                </a:cubicBezTo>
                <a:close/>
                <a:moveTo>
                  <a:pt x="550" y="10"/>
                </a:moveTo>
                <a:cubicBezTo>
                  <a:pt x="550" y="10"/>
                  <a:pt x="550" y="10"/>
                  <a:pt x="550" y="9"/>
                </a:cubicBezTo>
                <a:cubicBezTo>
                  <a:pt x="550" y="9"/>
                  <a:pt x="550" y="9"/>
                  <a:pt x="550" y="10"/>
                </a:cubicBezTo>
                <a:close/>
                <a:moveTo>
                  <a:pt x="1415" y="87"/>
                </a:moveTo>
                <a:cubicBezTo>
                  <a:pt x="1415" y="86"/>
                  <a:pt x="1415" y="86"/>
                  <a:pt x="1414" y="86"/>
                </a:cubicBezTo>
                <a:cubicBezTo>
                  <a:pt x="1414" y="86"/>
                  <a:pt x="1414" y="86"/>
                  <a:pt x="1415" y="87"/>
                </a:cubicBezTo>
                <a:close/>
                <a:moveTo>
                  <a:pt x="1465" y="86"/>
                </a:moveTo>
                <a:cubicBezTo>
                  <a:pt x="1465" y="86"/>
                  <a:pt x="1465" y="86"/>
                  <a:pt x="1465" y="87"/>
                </a:cubicBezTo>
                <a:cubicBezTo>
                  <a:pt x="1465" y="86"/>
                  <a:pt x="1465" y="86"/>
                  <a:pt x="1465" y="86"/>
                </a:cubicBezTo>
                <a:close/>
                <a:moveTo>
                  <a:pt x="979" y="10"/>
                </a:moveTo>
                <a:cubicBezTo>
                  <a:pt x="979" y="10"/>
                  <a:pt x="980" y="9"/>
                  <a:pt x="980" y="9"/>
                </a:cubicBezTo>
                <a:cubicBezTo>
                  <a:pt x="980" y="9"/>
                  <a:pt x="979" y="9"/>
                  <a:pt x="979" y="10"/>
                </a:cubicBezTo>
                <a:close/>
                <a:moveTo>
                  <a:pt x="1020" y="9"/>
                </a:moveTo>
                <a:cubicBezTo>
                  <a:pt x="1020" y="10"/>
                  <a:pt x="1021" y="10"/>
                  <a:pt x="1021" y="10"/>
                </a:cubicBezTo>
                <a:cubicBezTo>
                  <a:pt x="1021" y="9"/>
                  <a:pt x="1021" y="9"/>
                  <a:pt x="1020" y="9"/>
                </a:cubicBezTo>
                <a:close/>
                <a:moveTo>
                  <a:pt x="1353" y="10"/>
                </a:moveTo>
                <a:cubicBezTo>
                  <a:pt x="1354" y="10"/>
                  <a:pt x="1354" y="10"/>
                  <a:pt x="1354" y="9"/>
                </a:cubicBezTo>
                <a:cubicBezTo>
                  <a:pt x="1354" y="9"/>
                  <a:pt x="1354" y="9"/>
                  <a:pt x="1353" y="10"/>
                </a:cubicBezTo>
                <a:close/>
                <a:moveTo>
                  <a:pt x="1385" y="9"/>
                </a:moveTo>
                <a:cubicBezTo>
                  <a:pt x="1386" y="10"/>
                  <a:pt x="1386" y="10"/>
                  <a:pt x="1386" y="10"/>
                </a:cubicBezTo>
                <a:cubicBezTo>
                  <a:pt x="1386" y="9"/>
                  <a:pt x="1386" y="9"/>
                  <a:pt x="1385" y="9"/>
                </a:cubicBezTo>
                <a:close/>
                <a:moveTo>
                  <a:pt x="1292" y="41"/>
                </a:moveTo>
                <a:cubicBezTo>
                  <a:pt x="1292" y="40"/>
                  <a:pt x="1292" y="40"/>
                  <a:pt x="1292" y="40"/>
                </a:cubicBezTo>
                <a:cubicBezTo>
                  <a:pt x="1292" y="40"/>
                  <a:pt x="1292" y="40"/>
                  <a:pt x="1292" y="41"/>
                </a:cubicBezTo>
                <a:close/>
                <a:moveTo>
                  <a:pt x="1033" y="87"/>
                </a:moveTo>
                <a:cubicBezTo>
                  <a:pt x="1033" y="87"/>
                  <a:pt x="1033" y="86"/>
                  <a:pt x="1032" y="86"/>
                </a:cubicBezTo>
                <a:cubicBezTo>
                  <a:pt x="1032" y="86"/>
                  <a:pt x="1032" y="87"/>
                  <a:pt x="1033" y="87"/>
                </a:cubicBezTo>
                <a:close/>
                <a:moveTo>
                  <a:pt x="1045" y="86"/>
                </a:moveTo>
                <a:cubicBezTo>
                  <a:pt x="1045" y="87"/>
                  <a:pt x="1045" y="87"/>
                  <a:pt x="1046" y="87"/>
                </a:cubicBezTo>
                <a:cubicBezTo>
                  <a:pt x="1046" y="87"/>
                  <a:pt x="1046" y="86"/>
                  <a:pt x="1045" y="86"/>
                </a:cubicBezTo>
                <a:close/>
                <a:moveTo>
                  <a:pt x="1737" y="42"/>
                </a:moveTo>
                <a:cubicBezTo>
                  <a:pt x="1737" y="42"/>
                  <a:pt x="1737" y="42"/>
                  <a:pt x="1737" y="42"/>
                </a:cubicBezTo>
                <a:cubicBezTo>
                  <a:pt x="1737" y="42"/>
                  <a:pt x="1737" y="42"/>
                  <a:pt x="1737" y="42"/>
                </a:cubicBezTo>
                <a:close/>
                <a:moveTo>
                  <a:pt x="1681" y="86"/>
                </a:moveTo>
                <a:cubicBezTo>
                  <a:pt x="1681" y="87"/>
                  <a:pt x="1681" y="87"/>
                  <a:pt x="1681" y="87"/>
                </a:cubicBezTo>
                <a:cubicBezTo>
                  <a:pt x="1681" y="87"/>
                  <a:pt x="1681" y="86"/>
                  <a:pt x="1681" y="86"/>
                </a:cubicBezTo>
                <a:close/>
                <a:moveTo>
                  <a:pt x="1455" y="9"/>
                </a:moveTo>
                <a:cubicBezTo>
                  <a:pt x="1455" y="10"/>
                  <a:pt x="1455" y="10"/>
                  <a:pt x="1456" y="10"/>
                </a:cubicBezTo>
                <a:cubicBezTo>
                  <a:pt x="1456" y="9"/>
                  <a:pt x="1455" y="9"/>
                  <a:pt x="1455" y="9"/>
                </a:cubicBezTo>
                <a:close/>
                <a:moveTo>
                  <a:pt x="1500" y="10"/>
                </a:moveTo>
                <a:cubicBezTo>
                  <a:pt x="1500" y="10"/>
                  <a:pt x="1500" y="10"/>
                  <a:pt x="1501" y="9"/>
                </a:cubicBezTo>
                <a:cubicBezTo>
                  <a:pt x="1500" y="9"/>
                  <a:pt x="1500" y="9"/>
                  <a:pt x="1500" y="10"/>
                </a:cubicBezTo>
                <a:close/>
                <a:moveTo>
                  <a:pt x="1538" y="10"/>
                </a:moveTo>
                <a:cubicBezTo>
                  <a:pt x="1538" y="10"/>
                  <a:pt x="1538" y="10"/>
                  <a:pt x="1538" y="9"/>
                </a:cubicBezTo>
                <a:cubicBezTo>
                  <a:pt x="1538" y="9"/>
                  <a:pt x="1538" y="9"/>
                  <a:pt x="1538" y="10"/>
                </a:cubicBezTo>
                <a:close/>
                <a:moveTo>
                  <a:pt x="646" y="59"/>
                </a:moveTo>
                <a:cubicBezTo>
                  <a:pt x="646" y="59"/>
                  <a:pt x="646" y="59"/>
                  <a:pt x="646" y="60"/>
                </a:cubicBezTo>
                <a:cubicBezTo>
                  <a:pt x="646" y="60"/>
                  <a:pt x="646" y="59"/>
                  <a:pt x="646" y="59"/>
                </a:cubicBezTo>
                <a:close/>
                <a:moveTo>
                  <a:pt x="1290" y="54"/>
                </a:moveTo>
                <a:cubicBezTo>
                  <a:pt x="1290" y="54"/>
                  <a:pt x="1290" y="54"/>
                  <a:pt x="1290" y="55"/>
                </a:cubicBezTo>
                <a:cubicBezTo>
                  <a:pt x="1290" y="54"/>
                  <a:pt x="1290" y="54"/>
                  <a:pt x="1290" y="54"/>
                </a:cubicBezTo>
                <a:close/>
                <a:moveTo>
                  <a:pt x="1669" y="9"/>
                </a:moveTo>
                <a:cubicBezTo>
                  <a:pt x="1669" y="10"/>
                  <a:pt x="1669" y="10"/>
                  <a:pt x="1669" y="10"/>
                </a:cubicBezTo>
                <a:cubicBezTo>
                  <a:pt x="1669" y="9"/>
                  <a:pt x="1669" y="9"/>
                  <a:pt x="1669" y="9"/>
                </a:cubicBezTo>
                <a:close/>
                <a:moveTo>
                  <a:pt x="660" y="60"/>
                </a:moveTo>
                <a:cubicBezTo>
                  <a:pt x="660" y="59"/>
                  <a:pt x="660" y="59"/>
                  <a:pt x="659" y="59"/>
                </a:cubicBezTo>
                <a:cubicBezTo>
                  <a:pt x="659" y="59"/>
                  <a:pt x="659" y="60"/>
                  <a:pt x="660" y="60"/>
                </a:cubicBezTo>
                <a:close/>
                <a:moveTo>
                  <a:pt x="1211" y="87"/>
                </a:moveTo>
                <a:cubicBezTo>
                  <a:pt x="1211" y="87"/>
                  <a:pt x="1211" y="87"/>
                  <a:pt x="1210" y="86"/>
                </a:cubicBezTo>
                <a:cubicBezTo>
                  <a:pt x="1210" y="87"/>
                  <a:pt x="1210" y="87"/>
                  <a:pt x="1211" y="87"/>
                </a:cubicBezTo>
                <a:close/>
                <a:moveTo>
                  <a:pt x="1369" y="59"/>
                </a:moveTo>
                <a:cubicBezTo>
                  <a:pt x="1369" y="59"/>
                  <a:pt x="1369" y="59"/>
                  <a:pt x="1369" y="59"/>
                </a:cubicBezTo>
                <a:cubicBezTo>
                  <a:pt x="1369" y="59"/>
                  <a:pt x="1369" y="59"/>
                  <a:pt x="1369" y="59"/>
                </a:cubicBezTo>
                <a:close/>
                <a:moveTo>
                  <a:pt x="1415" y="87"/>
                </a:moveTo>
                <a:cubicBezTo>
                  <a:pt x="1415" y="87"/>
                  <a:pt x="1415" y="87"/>
                  <a:pt x="1415" y="86"/>
                </a:cubicBezTo>
                <a:cubicBezTo>
                  <a:pt x="1415" y="87"/>
                  <a:pt x="1415" y="87"/>
                  <a:pt x="1415" y="87"/>
                </a:cubicBezTo>
                <a:close/>
                <a:moveTo>
                  <a:pt x="1465" y="87"/>
                </a:moveTo>
                <a:cubicBezTo>
                  <a:pt x="1464" y="87"/>
                  <a:pt x="1464" y="87"/>
                  <a:pt x="1464" y="87"/>
                </a:cubicBezTo>
                <a:cubicBezTo>
                  <a:pt x="1465" y="87"/>
                  <a:pt x="1465" y="87"/>
                  <a:pt x="1465" y="87"/>
                </a:cubicBezTo>
                <a:close/>
                <a:moveTo>
                  <a:pt x="1668" y="87"/>
                </a:moveTo>
                <a:cubicBezTo>
                  <a:pt x="1668" y="87"/>
                  <a:pt x="1668" y="87"/>
                  <a:pt x="1668" y="86"/>
                </a:cubicBezTo>
                <a:cubicBezTo>
                  <a:pt x="1668" y="87"/>
                  <a:pt x="1668" y="87"/>
                  <a:pt x="1668" y="87"/>
                </a:cubicBezTo>
                <a:close/>
                <a:moveTo>
                  <a:pt x="588" y="87"/>
                </a:moveTo>
                <a:cubicBezTo>
                  <a:pt x="588" y="87"/>
                  <a:pt x="588" y="87"/>
                  <a:pt x="588" y="88"/>
                </a:cubicBezTo>
                <a:cubicBezTo>
                  <a:pt x="588" y="87"/>
                  <a:pt x="588" y="87"/>
                  <a:pt x="588" y="87"/>
                </a:cubicBezTo>
                <a:close/>
                <a:moveTo>
                  <a:pt x="613" y="88"/>
                </a:moveTo>
                <a:cubicBezTo>
                  <a:pt x="613" y="87"/>
                  <a:pt x="613" y="87"/>
                  <a:pt x="613" y="87"/>
                </a:cubicBezTo>
                <a:cubicBezTo>
                  <a:pt x="613" y="87"/>
                  <a:pt x="613" y="87"/>
                  <a:pt x="613" y="88"/>
                </a:cubicBezTo>
                <a:close/>
                <a:moveTo>
                  <a:pt x="960" y="88"/>
                </a:moveTo>
                <a:cubicBezTo>
                  <a:pt x="960" y="87"/>
                  <a:pt x="960" y="87"/>
                  <a:pt x="960" y="87"/>
                </a:cubicBezTo>
                <a:cubicBezTo>
                  <a:pt x="960" y="87"/>
                  <a:pt x="960" y="87"/>
                  <a:pt x="960" y="88"/>
                </a:cubicBezTo>
                <a:close/>
                <a:moveTo>
                  <a:pt x="976" y="87"/>
                </a:moveTo>
                <a:cubicBezTo>
                  <a:pt x="977" y="87"/>
                  <a:pt x="977" y="87"/>
                  <a:pt x="977" y="87"/>
                </a:cubicBezTo>
                <a:cubicBezTo>
                  <a:pt x="977" y="87"/>
                  <a:pt x="977" y="87"/>
                  <a:pt x="976" y="87"/>
                </a:cubicBezTo>
                <a:close/>
                <a:moveTo>
                  <a:pt x="1020" y="87"/>
                </a:moveTo>
                <a:cubicBezTo>
                  <a:pt x="1020" y="87"/>
                  <a:pt x="1020" y="87"/>
                  <a:pt x="1021" y="87"/>
                </a:cubicBezTo>
                <a:cubicBezTo>
                  <a:pt x="1020" y="87"/>
                  <a:pt x="1020" y="87"/>
                  <a:pt x="1020" y="87"/>
                </a:cubicBezTo>
                <a:close/>
                <a:moveTo>
                  <a:pt x="1706" y="10"/>
                </a:moveTo>
                <a:cubicBezTo>
                  <a:pt x="1706" y="10"/>
                  <a:pt x="1706" y="10"/>
                  <a:pt x="1706" y="9"/>
                </a:cubicBezTo>
                <a:cubicBezTo>
                  <a:pt x="1706" y="9"/>
                  <a:pt x="1706" y="9"/>
                  <a:pt x="1706" y="10"/>
                </a:cubicBezTo>
                <a:close/>
                <a:moveTo>
                  <a:pt x="1082" y="87"/>
                </a:moveTo>
                <a:cubicBezTo>
                  <a:pt x="1082" y="87"/>
                  <a:pt x="1082" y="87"/>
                  <a:pt x="1083" y="87"/>
                </a:cubicBezTo>
                <a:cubicBezTo>
                  <a:pt x="1082" y="87"/>
                  <a:pt x="1082" y="87"/>
                  <a:pt x="1082" y="87"/>
                </a:cubicBezTo>
                <a:close/>
                <a:moveTo>
                  <a:pt x="1212" y="49"/>
                </a:moveTo>
                <a:cubicBezTo>
                  <a:pt x="1212" y="48"/>
                  <a:pt x="1212" y="48"/>
                  <a:pt x="1212" y="48"/>
                </a:cubicBezTo>
                <a:cubicBezTo>
                  <a:pt x="1212" y="48"/>
                  <a:pt x="1212" y="48"/>
                  <a:pt x="1212" y="49"/>
                </a:cubicBezTo>
                <a:close/>
                <a:moveTo>
                  <a:pt x="749" y="55"/>
                </a:moveTo>
                <a:cubicBezTo>
                  <a:pt x="749" y="54"/>
                  <a:pt x="749" y="54"/>
                  <a:pt x="749" y="54"/>
                </a:cubicBezTo>
                <a:cubicBezTo>
                  <a:pt x="749" y="54"/>
                  <a:pt x="749" y="54"/>
                  <a:pt x="749" y="55"/>
                </a:cubicBezTo>
                <a:close/>
                <a:moveTo>
                  <a:pt x="1681" y="87"/>
                </a:moveTo>
                <a:cubicBezTo>
                  <a:pt x="1681" y="87"/>
                  <a:pt x="1681" y="88"/>
                  <a:pt x="1682" y="88"/>
                </a:cubicBezTo>
                <a:cubicBezTo>
                  <a:pt x="1682" y="87"/>
                  <a:pt x="1682" y="87"/>
                  <a:pt x="1681" y="87"/>
                </a:cubicBezTo>
                <a:close/>
                <a:moveTo>
                  <a:pt x="635" y="87"/>
                </a:moveTo>
                <a:cubicBezTo>
                  <a:pt x="635" y="87"/>
                  <a:pt x="635" y="88"/>
                  <a:pt x="635" y="88"/>
                </a:cubicBezTo>
                <a:cubicBezTo>
                  <a:pt x="635" y="88"/>
                  <a:pt x="635" y="87"/>
                  <a:pt x="635" y="87"/>
                </a:cubicBezTo>
                <a:close/>
                <a:moveTo>
                  <a:pt x="857" y="49"/>
                </a:moveTo>
                <a:cubicBezTo>
                  <a:pt x="857" y="49"/>
                  <a:pt x="857" y="49"/>
                  <a:pt x="857" y="49"/>
                </a:cubicBezTo>
                <a:cubicBezTo>
                  <a:pt x="857" y="49"/>
                  <a:pt x="857" y="49"/>
                  <a:pt x="857" y="49"/>
                </a:cubicBezTo>
                <a:close/>
                <a:moveTo>
                  <a:pt x="688" y="88"/>
                </a:moveTo>
                <a:cubicBezTo>
                  <a:pt x="688" y="88"/>
                  <a:pt x="688" y="88"/>
                  <a:pt x="688" y="87"/>
                </a:cubicBezTo>
                <a:cubicBezTo>
                  <a:pt x="688" y="87"/>
                  <a:pt x="688" y="88"/>
                  <a:pt x="688" y="88"/>
                </a:cubicBezTo>
                <a:close/>
                <a:moveTo>
                  <a:pt x="1141" y="49"/>
                </a:moveTo>
                <a:cubicBezTo>
                  <a:pt x="1141" y="48"/>
                  <a:pt x="1141" y="48"/>
                  <a:pt x="1141" y="48"/>
                </a:cubicBezTo>
                <a:cubicBezTo>
                  <a:pt x="1141" y="48"/>
                  <a:pt x="1141" y="48"/>
                  <a:pt x="1141" y="49"/>
                </a:cubicBezTo>
                <a:close/>
                <a:moveTo>
                  <a:pt x="799" y="88"/>
                </a:moveTo>
                <a:cubicBezTo>
                  <a:pt x="800" y="88"/>
                  <a:pt x="800" y="88"/>
                  <a:pt x="800" y="87"/>
                </a:cubicBezTo>
                <a:cubicBezTo>
                  <a:pt x="800" y="87"/>
                  <a:pt x="799" y="87"/>
                  <a:pt x="799" y="88"/>
                </a:cubicBezTo>
                <a:close/>
                <a:moveTo>
                  <a:pt x="1019" y="88"/>
                </a:moveTo>
                <a:cubicBezTo>
                  <a:pt x="1020" y="88"/>
                  <a:pt x="1020" y="88"/>
                  <a:pt x="1020" y="87"/>
                </a:cubicBezTo>
                <a:cubicBezTo>
                  <a:pt x="1020" y="87"/>
                  <a:pt x="1019" y="87"/>
                  <a:pt x="1019" y="88"/>
                </a:cubicBezTo>
                <a:close/>
                <a:moveTo>
                  <a:pt x="1186" y="87"/>
                </a:moveTo>
                <a:cubicBezTo>
                  <a:pt x="1186" y="88"/>
                  <a:pt x="1186" y="88"/>
                  <a:pt x="1186" y="88"/>
                </a:cubicBezTo>
                <a:cubicBezTo>
                  <a:pt x="1186" y="88"/>
                  <a:pt x="1186" y="87"/>
                  <a:pt x="1186" y="87"/>
                </a:cubicBezTo>
                <a:close/>
                <a:moveTo>
                  <a:pt x="1211" y="88"/>
                </a:moveTo>
                <a:cubicBezTo>
                  <a:pt x="1211" y="88"/>
                  <a:pt x="1211" y="87"/>
                  <a:pt x="1211" y="87"/>
                </a:cubicBezTo>
                <a:cubicBezTo>
                  <a:pt x="1211" y="87"/>
                  <a:pt x="1211" y="88"/>
                  <a:pt x="1211" y="88"/>
                </a:cubicBezTo>
                <a:close/>
                <a:moveTo>
                  <a:pt x="1664" y="59"/>
                </a:moveTo>
                <a:cubicBezTo>
                  <a:pt x="1664" y="59"/>
                  <a:pt x="1665" y="59"/>
                  <a:pt x="1665" y="59"/>
                </a:cubicBezTo>
                <a:cubicBezTo>
                  <a:pt x="1665" y="59"/>
                  <a:pt x="1664" y="59"/>
                  <a:pt x="1664" y="59"/>
                </a:cubicBezTo>
                <a:close/>
                <a:moveTo>
                  <a:pt x="1415" y="88"/>
                </a:moveTo>
                <a:cubicBezTo>
                  <a:pt x="1415" y="88"/>
                  <a:pt x="1415" y="87"/>
                  <a:pt x="1415" y="87"/>
                </a:cubicBezTo>
                <a:cubicBezTo>
                  <a:pt x="1415" y="88"/>
                  <a:pt x="1415" y="88"/>
                  <a:pt x="1415" y="88"/>
                </a:cubicBezTo>
                <a:close/>
                <a:moveTo>
                  <a:pt x="1464" y="87"/>
                </a:moveTo>
                <a:cubicBezTo>
                  <a:pt x="1464" y="87"/>
                  <a:pt x="1464" y="88"/>
                  <a:pt x="1464" y="88"/>
                </a:cubicBezTo>
                <a:cubicBezTo>
                  <a:pt x="1464" y="88"/>
                  <a:pt x="1464" y="88"/>
                  <a:pt x="1464" y="87"/>
                </a:cubicBezTo>
                <a:close/>
                <a:moveTo>
                  <a:pt x="607" y="42"/>
                </a:moveTo>
                <a:cubicBezTo>
                  <a:pt x="607" y="42"/>
                  <a:pt x="607" y="43"/>
                  <a:pt x="607" y="43"/>
                </a:cubicBezTo>
                <a:cubicBezTo>
                  <a:pt x="607" y="42"/>
                  <a:pt x="607" y="42"/>
                  <a:pt x="607" y="42"/>
                </a:cubicBezTo>
                <a:close/>
                <a:moveTo>
                  <a:pt x="1669" y="88"/>
                </a:moveTo>
                <a:cubicBezTo>
                  <a:pt x="1669" y="88"/>
                  <a:pt x="1669" y="87"/>
                  <a:pt x="1668" y="87"/>
                </a:cubicBezTo>
                <a:cubicBezTo>
                  <a:pt x="1668" y="87"/>
                  <a:pt x="1668" y="88"/>
                  <a:pt x="1669" y="88"/>
                </a:cubicBezTo>
                <a:close/>
                <a:moveTo>
                  <a:pt x="978" y="10"/>
                </a:moveTo>
                <a:cubicBezTo>
                  <a:pt x="978" y="10"/>
                  <a:pt x="979" y="10"/>
                  <a:pt x="979" y="10"/>
                </a:cubicBezTo>
                <a:cubicBezTo>
                  <a:pt x="979" y="10"/>
                  <a:pt x="978" y="10"/>
                  <a:pt x="978" y="10"/>
                </a:cubicBezTo>
                <a:close/>
                <a:moveTo>
                  <a:pt x="1353" y="10"/>
                </a:moveTo>
                <a:cubicBezTo>
                  <a:pt x="1353" y="10"/>
                  <a:pt x="1353" y="10"/>
                  <a:pt x="1353" y="10"/>
                </a:cubicBezTo>
                <a:cubicBezTo>
                  <a:pt x="1353" y="10"/>
                  <a:pt x="1353" y="10"/>
                  <a:pt x="1353" y="10"/>
                </a:cubicBezTo>
                <a:close/>
                <a:moveTo>
                  <a:pt x="1386" y="10"/>
                </a:moveTo>
                <a:cubicBezTo>
                  <a:pt x="1386" y="10"/>
                  <a:pt x="1386" y="10"/>
                  <a:pt x="1387" y="10"/>
                </a:cubicBezTo>
                <a:cubicBezTo>
                  <a:pt x="1387" y="10"/>
                  <a:pt x="1386" y="10"/>
                  <a:pt x="1386" y="10"/>
                </a:cubicBezTo>
                <a:close/>
                <a:moveTo>
                  <a:pt x="1426" y="10"/>
                </a:moveTo>
                <a:cubicBezTo>
                  <a:pt x="1426" y="10"/>
                  <a:pt x="1426" y="10"/>
                  <a:pt x="1426" y="10"/>
                </a:cubicBezTo>
                <a:cubicBezTo>
                  <a:pt x="1426" y="10"/>
                  <a:pt x="1426" y="10"/>
                  <a:pt x="1426" y="10"/>
                </a:cubicBezTo>
                <a:close/>
                <a:moveTo>
                  <a:pt x="625" y="88"/>
                </a:moveTo>
                <a:cubicBezTo>
                  <a:pt x="625" y="88"/>
                  <a:pt x="625" y="88"/>
                  <a:pt x="625" y="88"/>
                </a:cubicBezTo>
                <a:cubicBezTo>
                  <a:pt x="624" y="88"/>
                  <a:pt x="624" y="88"/>
                  <a:pt x="625" y="88"/>
                </a:cubicBezTo>
                <a:close/>
                <a:moveTo>
                  <a:pt x="661" y="43"/>
                </a:moveTo>
                <a:cubicBezTo>
                  <a:pt x="661" y="43"/>
                  <a:pt x="661" y="42"/>
                  <a:pt x="661" y="42"/>
                </a:cubicBezTo>
                <a:cubicBezTo>
                  <a:pt x="661" y="42"/>
                  <a:pt x="661" y="42"/>
                  <a:pt x="661" y="43"/>
                </a:cubicBezTo>
                <a:close/>
                <a:moveTo>
                  <a:pt x="977" y="88"/>
                </a:moveTo>
                <a:cubicBezTo>
                  <a:pt x="978" y="88"/>
                  <a:pt x="978" y="88"/>
                  <a:pt x="978" y="88"/>
                </a:cubicBezTo>
                <a:cubicBezTo>
                  <a:pt x="978" y="88"/>
                  <a:pt x="978" y="88"/>
                  <a:pt x="977" y="88"/>
                </a:cubicBezTo>
                <a:close/>
                <a:moveTo>
                  <a:pt x="1019" y="88"/>
                </a:moveTo>
                <a:cubicBezTo>
                  <a:pt x="1019" y="88"/>
                  <a:pt x="1019" y="88"/>
                  <a:pt x="1019" y="88"/>
                </a:cubicBezTo>
                <a:cubicBezTo>
                  <a:pt x="1019" y="88"/>
                  <a:pt x="1019" y="88"/>
                  <a:pt x="1019" y="88"/>
                </a:cubicBezTo>
                <a:close/>
                <a:moveTo>
                  <a:pt x="1081" y="88"/>
                </a:moveTo>
                <a:cubicBezTo>
                  <a:pt x="1081" y="88"/>
                  <a:pt x="1081" y="88"/>
                  <a:pt x="1082" y="88"/>
                </a:cubicBezTo>
                <a:cubicBezTo>
                  <a:pt x="1081" y="88"/>
                  <a:pt x="1081" y="88"/>
                  <a:pt x="1081" y="88"/>
                </a:cubicBezTo>
                <a:close/>
                <a:moveTo>
                  <a:pt x="1259" y="88"/>
                </a:moveTo>
                <a:cubicBezTo>
                  <a:pt x="1259" y="88"/>
                  <a:pt x="1259" y="88"/>
                  <a:pt x="1259" y="88"/>
                </a:cubicBezTo>
                <a:cubicBezTo>
                  <a:pt x="1259" y="88"/>
                  <a:pt x="1259" y="88"/>
                  <a:pt x="1259" y="88"/>
                </a:cubicBezTo>
                <a:close/>
                <a:moveTo>
                  <a:pt x="649" y="52"/>
                </a:moveTo>
                <a:cubicBezTo>
                  <a:pt x="649" y="52"/>
                  <a:pt x="648" y="52"/>
                  <a:pt x="648" y="53"/>
                </a:cubicBezTo>
                <a:cubicBezTo>
                  <a:pt x="649" y="53"/>
                  <a:pt x="649" y="52"/>
                  <a:pt x="649" y="52"/>
                </a:cubicBezTo>
                <a:close/>
                <a:moveTo>
                  <a:pt x="1570" y="10"/>
                </a:moveTo>
                <a:cubicBezTo>
                  <a:pt x="1570" y="10"/>
                  <a:pt x="1571" y="10"/>
                  <a:pt x="1571" y="10"/>
                </a:cubicBezTo>
                <a:cubicBezTo>
                  <a:pt x="1571" y="10"/>
                  <a:pt x="1571" y="10"/>
                  <a:pt x="1570" y="10"/>
                </a:cubicBezTo>
                <a:close/>
                <a:moveTo>
                  <a:pt x="1034" y="49"/>
                </a:moveTo>
                <a:cubicBezTo>
                  <a:pt x="1034" y="48"/>
                  <a:pt x="1034" y="48"/>
                  <a:pt x="1034" y="48"/>
                </a:cubicBezTo>
                <a:cubicBezTo>
                  <a:pt x="1034" y="48"/>
                  <a:pt x="1034" y="48"/>
                  <a:pt x="1034" y="49"/>
                </a:cubicBezTo>
                <a:close/>
                <a:moveTo>
                  <a:pt x="798" y="88"/>
                </a:moveTo>
                <a:cubicBezTo>
                  <a:pt x="798" y="88"/>
                  <a:pt x="799" y="88"/>
                  <a:pt x="799" y="88"/>
                </a:cubicBezTo>
                <a:cubicBezTo>
                  <a:pt x="799" y="88"/>
                  <a:pt x="798" y="88"/>
                  <a:pt x="798" y="88"/>
                </a:cubicBezTo>
                <a:close/>
                <a:moveTo>
                  <a:pt x="1211" y="89"/>
                </a:moveTo>
                <a:cubicBezTo>
                  <a:pt x="1211" y="88"/>
                  <a:pt x="1211" y="88"/>
                  <a:pt x="1211" y="88"/>
                </a:cubicBezTo>
                <a:cubicBezTo>
                  <a:pt x="1211" y="88"/>
                  <a:pt x="1211" y="88"/>
                  <a:pt x="1211" y="89"/>
                </a:cubicBezTo>
                <a:close/>
                <a:moveTo>
                  <a:pt x="1416" y="89"/>
                </a:moveTo>
                <a:cubicBezTo>
                  <a:pt x="1416" y="88"/>
                  <a:pt x="1416" y="88"/>
                  <a:pt x="1415" y="88"/>
                </a:cubicBezTo>
                <a:cubicBezTo>
                  <a:pt x="1415" y="88"/>
                  <a:pt x="1415" y="88"/>
                  <a:pt x="1416" y="89"/>
                </a:cubicBezTo>
                <a:close/>
                <a:moveTo>
                  <a:pt x="1464" y="88"/>
                </a:moveTo>
                <a:cubicBezTo>
                  <a:pt x="1464" y="88"/>
                  <a:pt x="1464" y="88"/>
                  <a:pt x="1464" y="89"/>
                </a:cubicBezTo>
                <a:cubicBezTo>
                  <a:pt x="1464" y="88"/>
                  <a:pt x="1464" y="88"/>
                  <a:pt x="1464" y="88"/>
                </a:cubicBezTo>
                <a:close/>
                <a:moveTo>
                  <a:pt x="599" y="53"/>
                </a:moveTo>
                <a:cubicBezTo>
                  <a:pt x="599" y="52"/>
                  <a:pt x="599" y="52"/>
                  <a:pt x="599" y="52"/>
                </a:cubicBezTo>
                <a:cubicBezTo>
                  <a:pt x="599" y="52"/>
                  <a:pt x="599" y="53"/>
                  <a:pt x="599" y="53"/>
                </a:cubicBezTo>
                <a:close/>
                <a:moveTo>
                  <a:pt x="1669" y="89"/>
                </a:moveTo>
                <a:cubicBezTo>
                  <a:pt x="1669" y="88"/>
                  <a:pt x="1669" y="88"/>
                  <a:pt x="1669" y="88"/>
                </a:cubicBezTo>
                <a:cubicBezTo>
                  <a:pt x="1669" y="88"/>
                  <a:pt x="1669" y="88"/>
                  <a:pt x="1669" y="89"/>
                </a:cubicBezTo>
                <a:close/>
                <a:moveTo>
                  <a:pt x="648" y="54"/>
                </a:moveTo>
                <a:cubicBezTo>
                  <a:pt x="648" y="54"/>
                  <a:pt x="648" y="54"/>
                  <a:pt x="648" y="55"/>
                </a:cubicBezTo>
                <a:cubicBezTo>
                  <a:pt x="648" y="54"/>
                  <a:pt x="648" y="54"/>
                  <a:pt x="648" y="54"/>
                </a:cubicBezTo>
                <a:close/>
                <a:moveTo>
                  <a:pt x="634" y="88"/>
                </a:moveTo>
                <a:cubicBezTo>
                  <a:pt x="634" y="88"/>
                  <a:pt x="634" y="89"/>
                  <a:pt x="634" y="89"/>
                </a:cubicBezTo>
                <a:cubicBezTo>
                  <a:pt x="635" y="89"/>
                  <a:pt x="635" y="88"/>
                  <a:pt x="634" y="88"/>
                </a:cubicBezTo>
                <a:close/>
                <a:moveTo>
                  <a:pt x="612" y="56"/>
                </a:moveTo>
                <a:cubicBezTo>
                  <a:pt x="612" y="56"/>
                  <a:pt x="612" y="57"/>
                  <a:pt x="612" y="57"/>
                </a:cubicBezTo>
                <a:cubicBezTo>
                  <a:pt x="612" y="56"/>
                  <a:pt x="612" y="56"/>
                  <a:pt x="612" y="56"/>
                </a:cubicBezTo>
                <a:close/>
                <a:moveTo>
                  <a:pt x="687" y="89"/>
                </a:moveTo>
                <a:cubicBezTo>
                  <a:pt x="688" y="89"/>
                  <a:pt x="688" y="89"/>
                  <a:pt x="688" y="88"/>
                </a:cubicBezTo>
                <a:cubicBezTo>
                  <a:pt x="688" y="88"/>
                  <a:pt x="687" y="89"/>
                  <a:pt x="687" y="89"/>
                </a:cubicBezTo>
                <a:close/>
                <a:moveTo>
                  <a:pt x="1669" y="10"/>
                </a:moveTo>
                <a:cubicBezTo>
                  <a:pt x="1670" y="10"/>
                  <a:pt x="1670" y="10"/>
                  <a:pt x="1670" y="10"/>
                </a:cubicBezTo>
                <a:cubicBezTo>
                  <a:pt x="1670" y="10"/>
                  <a:pt x="1670" y="10"/>
                  <a:pt x="1669" y="10"/>
                </a:cubicBezTo>
                <a:close/>
                <a:moveTo>
                  <a:pt x="1080" y="89"/>
                </a:moveTo>
                <a:cubicBezTo>
                  <a:pt x="1080" y="89"/>
                  <a:pt x="1080" y="89"/>
                  <a:pt x="1080" y="88"/>
                </a:cubicBezTo>
                <a:cubicBezTo>
                  <a:pt x="1080" y="88"/>
                  <a:pt x="1080" y="88"/>
                  <a:pt x="1080" y="89"/>
                </a:cubicBezTo>
                <a:close/>
                <a:moveTo>
                  <a:pt x="1186" y="88"/>
                </a:moveTo>
                <a:cubicBezTo>
                  <a:pt x="1186" y="89"/>
                  <a:pt x="1186" y="89"/>
                  <a:pt x="1187" y="89"/>
                </a:cubicBezTo>
                <a:cubicBezTo>
                  <a:pt x="1187" y="89"/>
                  <a:pt x="1187" y="88"/>
                  <a:pt x="1186" y="88"/>
                </a:cubicBezTo>
                <a:close/>
                <a:moveTo>
                  <a:pt x="1258" y="89"/>
                </a:moveTo>
                <a:cubicBezTo>
                  <a:pt x="1258" y="89"/>
                  <a:pt x="1258" y="89"/>
                  <a:pt x="1258" y="88"/>
                </a:cubicBezTo>
                <a:cubicBezTo>
                  <a:pt x="1258" y="88"/>
                  <a:pt x="1258" y="88"/>
                  <a:pt x="1258" y="89"/>
                </a:cubicBezTo>
                <a:close/>
                <a:moveTo>
                  <a:pt x="602" y="60"/>
                </a:moveTo>
                <a:cubicBezTo>
                  <a:pt x="602" y="60"/>
                  <a:pt x="602" y="59"/>
                  <a:pt x="602" y="59"/>
                </a:cubicBezTo>
                <a:cubicBezTo>
                  <a:pt x="602" y="60"/>
                  <a:pt x="602" y="60"/>
                  <a:pt x="602" y="60"/>
                </a:cubicBezTo>
                <a:close/>
                <a:moveTo>
                  <a:pt x="587" y="89"/>
                </a:moveTo>
                <a:cubicBezTo>
                  <a:pt x="587" y="89"/>
                  <a:pt x="587" y="89"/>
                  <a:pt x="587" y="89"/>
                </a:cubicBezTo>
                <a:cubicBezTo>
                  <a:pt x="587" y="89"/>
                  <a:pt x="587" y="89"/>
                  <a:pt x="587" y="89"/>
                </a:cubicBezTo>
                <a:close/>
                <a:moveTo>
                  <a:pt x="614" y="89"/>
                </a:moveTo>
                <a:cubicBezTo>
                  <a:pt x="614" y="89"/>
                  <a:pt x="614" y="89"/>
                  <a:pt x="613" y="89"/>
                </a:cubicBezTo>
                <a:cubicBezTo>
                  <a:pt x="613" y="89"/>
                  <a:pt x="613" y="89"/>
                  <a:pt x="614" y="89"/>
                </a:cubicBezTo>
                <a:close/>
                <a:moveTo>
                  <a:pt x="674" y="59"/>
                </a:moveTo>
                <a:cubicBezTo>
                  <a:pt x="674" y="60"/>
                  <a:pt x="674" y="60"/>
                  <a:pt x="675" y="60"/>
                </a:cubicBezTo>
                <a:cubicBezTo>
                  <a:pt x="674" y="59"/>
                  <a:pt x="674" y="59"/>
                  <a:pt x="674" y="59"/>
                </a:cubicBezTo>
                <a:close/>
                <a:moveTo>
                  <a:pt x="624" y="89"/>
                </a:moveTo>
                <a:cubicBezTo>
                  <a:pt x="624" y="89"/>
                  <a:pt x="624" y="89"/>
                  <a:pt x="624" y="89"/>
                </a:cubicBezTo>
                <a:cubicBezTo>
                  <a:pt x="624" y="89"/>
                  <a:pt x="624" y="89"/>
                  <a:pt x="624" y="89"/>
                </a:cubicBezTo>
                <a:close/>
                <a:moveTo>
                  <a:pt x="726" y="89"/>
                </a:moveTo>
                <a:cubicBezTo>
                  <a:pt x="726" y="89"/>
                  <a:pt x="726" y="89"/>
                  <a:pt x="727" y="89"/>
                </a:cubicBezTo>
                <a:cubicBezTo>
                  <a:pt x="727" y="89"/>
                  <a:pt x="727" y="89"/>
                  <a:pt x="726" y="89"/>
                </a:cubicBezTo>
                <a:close/>
                <a:moveTo>
                  <a:pt x="752" y="89"/>
                </a:moveTo>
                <a:cubicBezTo>
                  <a:pt x="752" y="89"/>
                  <a:pt x="752" y="89"/>
                  <a:pt x="751" y="89"/>
                </a:cubicBezTo>
                <a:cubicBezTo>
                  <a:pt x="752" y="89"/>
                  <a:pt x="752" y="89"/>
                  <a:pt x="752" y="89"/>
                </a:cubicBezTo>
                <a:close/>
                <a:moveTo>
                  <a:pt x="797" y="89"/>
                </a:moveTo>
                <a:cubicBezTo>
                  <a:pt x="797" y="89"/>
                  <a:pt x="798" y="89"/>
                  <a:pt x="798" y="89"/>
                </a:cubicBezTo>
                <a:cubicBezTo>
                  <a:pt x="798" y="89"/>
                  <a:pt x="797" y="89"/>
                  <a:pt x="797" y="89"/>
                </a:cubicBezTo>
                <a:close/>
                <a:moveTo>
                  <a:pt x="979" y="89"/>
                </a:moveTo>
                <a:cubicBezTo>
                  <a:pt x="979" y="89"/>
                  <a:pt x="980" y="89"/>
                  <a:pt x="980" y="89"/>
                </a:cubicBezTo>
                <a:cubicBezTo>
                  <a:pt x="980" y="89"/>
                  <a:pt x="979" y="89"/>
                  <a:pt x="979" y="89"/>
                </a:cubicBezTo>
                <a:close/>
                <a:moveTo>
                  <a:pt x="1016" y="89"/>
                </a:moveTo>
                <a:cubicBezTo>
                  <a:pt x="1017" y="89"/>
                  <a:pt x="1017" y="89"/>
                  <a:pt x="1017" y="89"/>
                </a:cubicBezTo>
                <a:cubicBezTo>
                  <a:pt x="1017" y="89"/>
                  <a:pt x="1017" y="89"/>
                  <a:pt x="1016" y="89"/>
                </a:cubicBezTo>
                <a:close/>
                <a:moveTo>
                  <a:pt x="1212" y="89"/>
                </a:moveTo>
                <a:cubicBezTo>
                  <a:pt x="1212" y="89"/>
                  <a:pt x="1212" y="89"/>
                  <a:pt x="1211" y="89"/>
                </a:cubicBezTo>
                <a:cubicBezTo>
                  <a:pt x="1211" y="89"/>
                  <a:pt x="1211" y="89"/>
                  <a:pt x="1212" y="89"/>
                </a:cubicBezTo>
                <a:close/>
                <a:moveTo>
                  <a:pt x="1416" y="89"/>
                </a:moveTo>
                <a:cubicBezTo>
                  <a:pt x="1416" y="89"/>
                  <a:pt x="1416" y="89"/>
                  <a:pt x="1416" y="89"/>
                </a:cubicBezTo>
                <a:cubicBezTo>
                  <a:pt x="1416" y="89"/>
                  <a:pt x="1416" y="89"/>
                  <a:pt x="1416" y="89"/>
                </a:cubicBezTo>
                <a:close/>
                <a:moveTo>
                  <a:pt x="1464" y="89"/>
                </a:moveTo>
                <a:cubicBezTo>
                  <a:pt x="1463" y="89"/>
                  <a:pt x="1463" y="89"/>
                  <a:pt x="1463" y="89"/>
                </a:cubicBezTo>
                <a:cubicBezTo>
                  <a:pt x="1464" y="89"/>
                  <a:pt x="1464" y="89"/>
                  <a:pt x="1464" y="89"/>
                </a:cubicBezTo>
                <a:close/>
                <a:moveTo>
                  <a:pt x="612" y="55"/>
                </a:moveTo>
                <a:cubicBezTo>
                  <a:pt x="612" y="55"/>
                  <a:pt x="612" y="55"/>
                  <a:pt x="612" y="56"/>
                </a:cubicBezTo>
                <a:cubicBezTo>
                  <a:pt x="612" y="55"/>
                  <a:pt x="612" y="55"/>
                  <a:pt x="612" y="55"/>
                </a:cubicBezTo>
                <a:close/>
                <a:moveTo>
                  <a:pt x="1682" y="89"/>
                </a:moveTo>
                <a:cubicBezTo>
                  <a:pt x="1682" y="89"/>
                  <a:pt x="1682" y="89"/>
                  <a:pt x="1682" y="89"/>
                </a:cubicBezTo>
                <a:cubicBezTo>
                  <a:pt x="1682" y="89"/>
                  <a:pt x="1682" y="89"/>
                  <a:pt x="1682" y="89"/>
                </a:cubicBezTo>
                <a:close/>
                <a:moveTo>
                  <a:pt x="857" y="49"/>
                </a:moveTo>
                <a:cubicBezTo>
                  <a:pt x="857" y="48"/>
                  <a:pt x="857" y="48"/>
                  <a:pt x="856" y="48"/>
                </a:cubicBezTo>
                <a:cubicBezTo>
                  <a:pt x="856" y="48"/>
                  <a:pt x="856" y="48"/>
                  <a:pt x="857" y="49"/>
                </a:cubicBezTo>
                <a:close/>
                <a:moveTo>
                  <a:pt x="634" y="89"/>
                </a:moveTo>
                <a:cubicBezTo>
                  <a:pt x="634" y="89"/>
                  <a:pt x="634" y="89"/>
                  <a:pt x="634" y="90"/>
                </a:cubicBezTo>
                <a:cubicBezTo>
                  <a:pt x="634" y="90"/>
                  <a:pt x="634" y="89"/>
                  <a:pt x="634" y="89"/>
                </a:cubicBezTo>
                <a:close/>
                <a:moveTo>
                  <a:pt x="980" y="89"/>
                </a:moveTo>
                <a:cubicBezTo>
                  <a:pt x="980" y="89"/>
                  <a:pt x="980" y="89"/>
                  <a:pt x="981" y="89"/>
                </a:cubicBezTo>
                <a:cubicBezTo>
                  <a:pt x="980" y="89"/>
                  <a:pt x="980" y="89"/>
                  <a:pt x="980" y="89"/>
                </a:cubicBezTo>
                <a:close/>
                <a:moveTo>
                  <a:pt x="1016" y="89"/>
                </a:moveTo>
                <a:cubicBezTo>
                  <a:pt x="1016" y="89"/>
                  <a:pt x="1016" y="89"/>
                  <a:pt x="1016" y="89"/>
                </a:cubicBezTo>
                <a:cubicBezTo>
                  <a:pt x="1016" y="89"/>
                  <a:pt x="1016" y="89"/>
                  <a:pt x="1016" y="89"/>
                </a:cubicBezTo>
                <a:close/>
                <a:moveTo>
                  <a:pt x="1034" y="90"/>
                </a:moveTo>
                <a:cubicBezTo>
                  <a:pt x="1034" y="89"/>
                  <a:pt x="1034" y="89"/>
                  <a:pt x="1034" y="89"/>
                </a:cubicBezTo>
                <a:cubicBezTo>
                  <a:pt x="1034" y="89"/>
                  <a:pt x="1034" y="90"/>
                  <a:pt x="1034" y="90"/>
                </a:cubicBezTo>
                <a:close/>
                <a:moveTo>
                  <a:pt x="1079" y="89"/>
                </a:moveTo>
                <a:cubicBezTo>
                  <a:pt x="1079" y="89"/>
                  <a:pt x="1079" y="89"/>
                  <a:pt x="1079" y="89"/>
                </a:cubicBezTo>
                <a:cubicBezTo>
                  <a:pt x="1079" y="89"/>
                  <a:pt x="1079" y="89"/>
                  <a:pt x="1079" y="89"/>
                </a:cubicBezTo>
                <a:close/>
                <a:moveTo>
                  <a:pt x="1187" y="89"/>
                </a:moveTo>
                <a:cubicBezTo>
                  <a:pt x="1187" y="89"/>
                  <a:pt x="1187" y="90"/>
                  <a:pt x="1187" y="90"/>
                </a:cubicBezTo>
                <a:cubicBezTo>
                  <a:pt x="1187" y="89"/>
                  <a:pt x="1187" y="89"/>
                  <a:pt x="1187" y="89"/>
                </a:cubicBezTo>
                <a:close/>
                <a:moveTo>
                  <a:pt x="1257" y="89"/>
                </a:moveTo>
                <a:cubicBezTo>
                  <a:pt x="1257" y="89"/>
                  <a:pt x="1257" y="89"/>
                  <a:pt x="1257" y="89"/>
                </a:cubicBezTo>
                <a:cubicBezTo>
                  <a:pt x="1257" y="89"/>
                  <a:pt x="1257" y="89"/>
                  <a:pt x="1257" y="89"/>
                </a:cubicBezTo>
                <a:close/>
                <a:moveTo>
                  <a:pt x="1669" y="90"/>
                </a:moveTo>
                <a:cubicBezTo>
                  <a:pt x="1669" y="89"/>
                  <a:pt x="1669" y="89"/>
                  <a:pt x="1669" y="89"/>
                </a:cubicBezTo>
                <a:cubicBezTo>
                  <a:pt x="1669" y="89"/>
                  <a:pt x="1669" y="89"/>
                  <a:pt x="1669" y="90"/>
                </a:cubicBezTo>
                <a:close/>
                <a:moveTo>
                  <a:pt x="587" y="89"/>
                </a:moveTo>
                <a:cubicBezTo>
                  <a:pt x="587" y="89"/>
                  <a:pt x="586" y="90"/>
                  <a:pt x="586" y="90"/>
                </a:cubicBezTo>
                <a:cubicBezTo>
                  <a:pt x="587" y="90"/>
                  <a:pt x="587" y="90"/>
                  <a:pt x="587" y="89"/>
                </a:cubicBezTo>
                <a:close/>
                <a:moveTo>
                  <a:pt x="1738" y="10"/>
                </a:moveTo>
                <a:cubicBezTo>
                  <a:pt x="1738" y="10"/>
                  <a:pt x="1739" y="10"/>
                  <a:pt x="1739" y="10"/>
                </a:cubicBezTo>
                <a:cubicBezTo>
                  <a:pt x="1739" y="10"/>
                  <a:pt x="1739" y="10"/>
                  <a:pt x="1738" y="10"/>
                </a:cubicBezTo>
                <a:close/>
                <a:moveTo>
                  <a:pt x="661" y="89"/>
                </a:moveTo>
                <a:cubicBezTo>
                  <a:pt x="661" y="90"/>
                  <a:pt x="661" y="90"/>
                  <a:pt x="662" y="90"/>
                </a:cubicBezTo>
                <a:cubicBezTo>
                  <a:pt x="662" y="89"/>
                  <a:pt x="661" y="89"/>
                  <a:pt x="661" y="89"/>
                </a:cubicBezTo>
                <a:close/>
                <a:moveTo>
                  <a:pt x="687" y="90"/>
                </a:moveTo>
                <a:cubicBezTo>
                  <a:pt x="687" y="90"/>
                  <a:pt x="687" y="90"/>
                  <a:pt x="687" y="89"/>
                </a:cubicBezTo>
                <a:cubicBezTo>
                  <a:pt x="687" y="89"/>
                  <a:pt x="687" y="90"/>
                  <a:pt x="687" y="90"/>
                </a:cubicBezTo>
                <a:close/>
                <a:moveTo>
                  <a:pt x="699" y="89"/>
                </a:moveTo>
                <a:cubicBezTo>
                  <a:pt x="699" y="89"/>
                  <a:pt x="699" y="90"/>
                  <a:pt x="699" y="90"/>
                </a:cubicBezTo>
                <a:cubicBezTo>
                  <a:pt x="699" y="90"/>
                  <a:pt x="699" y="90"/>
                  <a:pt x="699" y="89"/>
                </a:cubicBezTo>
                <a:close/>
                <a:moveTo>
                  <a:pt x="727" y="89"/>
                </a:moveTo>
                <a:cubicBezTo>
                  <a:pt x="727" y="90"/>
                  <a:pt x="727" y="90"/>
                  <a:pt x="727" y="90"/>
                </a:cubicBezTo>
                <a:cubicBezTo>
                  <a:pt x="727" y="90"/>
                  <a:pt x="727" y="89"/>
                  <a:pt x="727" y="89"/>
                </a:cubicBezTo>
                <a:close/>
                <a:moveTo>
                  <a:pt x="752" y="90"/>
                </a:moveTo>
                <a:cubicBezTo>
                  <a:pt x="752" y="90"/>
                  <a:pt x="752" y="89"/>
                  <a:pt x="752" y="89"/>
                </a:cubicBezTo>
                <a:cubicBezTo>
                  <a:pt x="752" y="90"/>
                  <a:pt x="752" y="90"/>
                  <a:pt x="752" y="90"/>
                </a:cubicBezTo>
                <a:close/>
                <a:moveTo>
                  <a:pt x="796" y="90"/>
                </a:moveTo>
                <a:cubicBezTo>
                  <a:pt x="796" y="90"/>
                  <a:pt x="797" y="90"/>
                  <a:pt x="797" y="89"/>
                </a:cubicBezTo>
                <a:cubicBezTo>
                  <a:pt x="796" y="89"/>
                  <a:pt x="796" y="89"/>
                  <a:pt x="796" y="90"/>
                </a:cubicBezTo>
                <a:close/>
                <a:moveTo>
                  <a:pt x="981" y="89"/>
                </a:moveTo>
                <a:cubicBezTo>
                  <a:pt x="981" y="90"/>
                  <a:pt x="981" y="90"/>
                  <a:pt x="981" y="90"/>
                </a:cubicBezTo>
                <a:cubicBezTo>
                  <a:pt x="981" y="89"/>
                  <a:pt x="981" y="89"/>
                  <a:pt x="981" y="89"/>
                </a:cubicBezTo>
                <a:close/>
                <a:moveTo>
                  <a:pt x="1015" y="90"/>
                </a:moveTo>
                <a:cubicBezTo>
                  <a:pt x="1015" y="90"/>
                  <a:pt x="1016" y="90"/>
                  <a:pt x="1016" y="89"/>
                </a:cubicBezTo>
                <a:cubicBezTo>
                  <a:pt x="1015" y="89"/>
                  <a:pt x="1015" y="89"/>
                  <a:pt x="1015" y="90"/>
                </a:cubicBezTo>
                <a:close/>
                <a:moveTo>
                  <a:pt x="1048" y="89"/>
                </a:moveTo>
                <a:cubicBezTo>
                  <a:pt x="1048" y="90"/>
                  <a:pt x="1048" y="90"/>
                  <a:pt x="1049" y="90"/>
                </a:cubicBezTo>
                <a:cubicBezTo>
                  <a:pt x="1049" y="89"/>
                  <a:pt x="1048" y="89"/>
                  <a:pt x="1048" y="89"/>
                </a:cubicBezTo>
                <a:close/>
                <a:moveTo>
                  <a:pt x="1078" y="90"/>
                </a:moveTo>
                <a:cubicBezTo>
                  <a:pt x="1078" y="90"/>
                  <a:pt x="1079" y="90"/>
                  <a:pt x="1079" y="89"/>
                </a:cubicBezTo>
                <a:cubicBezTo>
                  <a:pt x="1078" y="89"/>
                  <a:pt x="1078" y="89"/>
                  <a:pt x="1078" y="90"/>
                </a:cubicBezTo>
                <a:close/>
                <a:moveTo>
                  <a:pt x="1291" y="42"/>
                </a:moveTo>
                <a:cubicBezTo>
                  <a:pt x="1291" y="41"/>
                  <a:pt x="1291" y="41"/>
                  <a:pt x="1291" y="41"/>
                </a:cubicBezTo>
                <a:cubicBezTo>
                  <a:pt x="1291" y="41"/>
                  <a:pt x="1291" y="41"/>
                  <a:pt x="1291" y="42"/>
                </a:cubicBezTo>
                <a:close/>
                <a:moveTo>
                  <a:pt x="977" y="10"/>
                </a:moveTo>
                <a:cubicBezTo>
                  <a:pt x="978" y="10"/>
                  <a:pt x="978" y="10"/>
                  <a:pt x="978" y="10"/>
                </a:cubicBezTo>
                <a:cubicBezTo>
                  <a:pt x="978" y="10"/>
                  <a:pt x="978" y="10"/>
                  <a:pt x="977" y="10"/>
                </a:cubicBezTo>
                <a:close/>
                <a:moveTo>
                  <a:pt x="1256" y="90"/>
                </a:moveTo>
                <a:cubicBezTo>
                  <a:pt x="1256" y="90"/>
                  <a:pt x="1256" y="90"/>
                  <a:pt x="1257" y="89"/>
                </a:cubicBezTo>
                <a:cubicBezTo>
                  <a:pt x="1256" y="89"/>
                  <a:pt x="1256" y="89"/>
                  <a:pt x="1256" y="90"/>
                </a:cubicBezTo>
                <a:close/>
                <a:moveTo>
                  <a:pt x="1682" y="89"/>
                </a:moveTo>
                <a:cubicBezTo>
                  <a:pt x="1682" y="90"/>
                  <a:pt x="1682" y="90"/>
                  <a:pt x="1683" y="90"/>
                </a:cubicBezTo>
                <a:cubicBezTo>
                  <a:pt x="1683" y="90"/>
                  <a:pt x="1683" y="89"/>
                  <a:pt x="1682" y="89"/>
                </a:cubicBezTo>
                <a:close/>
                <a:moveTo>
                  <a:pt x="662" y="90"/>
                </a:moveTo>
                <a:cubicBezTo>
                  <a:pt x="662" y="90"/>
                  <a:pt x="662" y="90"/>
                  <a:pt x="662" y="90"/>
                </a:cubicBezTo>
                <a:cubicBezTo>
                  <a:pt x="662" y="90"/>
                  <a:pt x="662" y="90"/>
                  <a:pt x="662" y="90"/>
                </a:cubicBezTo>
                <a:close/>
                <a:moveTo>
                  <a:pt x="1553" y="60"/>
                </a:moveTo>
                <a:cubicBezTo>
                  <a:pt x="1553" y="60"/>
                  <a:pt x="1553" y="60"/>
                  <a:pt x="1553" y="59"/>
                </a:cubicBezTo>
                <a:cubicBezTo>
                  <a:pt x="1553" y="59"/>
                  <a:pt x="1553" y="59"/>
                  <a:pt x="1553" y="60"/>
                </a:cubicBezTo>
                <a:close/>
                <a:moveTo>
                  <a:pt x="795" y="90"/>
                </a:moveTo>
                <a:cubicBezTo>
                  <a:pt x="796" y="90"/>
                  <a:pt x="796" y="90"/>
                  <a:pt x="796" y="90"/>
                </a:cubicBezTo>
                <a:cubicBezTo>
                  <a:pt x="796" y="90"/>
                  <a:pt x="796" y="90"/>
                  <a:pt x="795" y="90"/>
                </a:cubicBezTo>
                <a:close/>
                <a:moveTo>
                  <a:pt x="981" y="90"/>
                </a:moveTo>
                <a:cubicBezTo>
                  <a:pt x="981" y="90"/>
                  <a:pt x="982" y="90"/>
                  <a:pt x="982" y="90"/>
                </a:cubicBezTo>
                <a:cubicBezTo>
                  <a:pt x="982" y="90"/>
                  <a:pt x="982" y="90"/>
                  <a:pt x="981" y="90"/>
                </a:cubicBezTo>
                <a:close/>
                <a:moveTo>
                  <a:pt x="1291" y="52"/>
                </a:moveTo>
                <a:cubicBezTo>
                  <a:pt x="1291" y="53"/>
                  <a:pt x="1291" y="53"/>
                  <a:pt x="1291" y="53"/>
                </a:cubicBezTo>
                <a:cubicBezTo>
                  <a:pt x="1291" y="53"/>
                  <a:pt x="1291" y="53"/>
                  <a:pt x="1291" y="52"/>
                </a:cubicBezTo>
                <a:close/>
                <a:moveTo>
                  <a:pt x="1035" y="90"/>
                </a:moveTo>
                <a:cubicBezTo>
                  <a:pt x="1035" y="90"/>
                  <a:pt x="1034" y="90"/>
                  <a:pt x="1034" y="90"/>
                </a:cubicBezTo>
                <a:cubicBezTo>
                  <a:pt x="1034" y="90"/>
                  <a:pt x="1034" y="90"/>
                  <a:pt x="1035" y="90"/>
                </a:cubicBezTo>
                <a:close/>
                <a:moveTo>
                  <a:pt x="1187" y="90"/>
                </a:moveTo>
                <a:cubicBezTo>
                  <a:pt x="1187" y="90"/>
                  <a:pt x="1187" y="90"/>
                  <a:pt x="1187" y="90"/>
                </a:cubicBezTo>
                <a:cubicBezTo>
                  <a:pt x="1187" y="90"/>
                  <a:pt x="1187" y="90"/>
                  <a:pt x="1187" y="90"/>
                </a:cubicBezTo>
                <a:close/>
                <a:moveTo>
                  <a:pt x="1212" y="90"/>
                </a:moveTo>
                <a:cubicBezTo>
                  <a:pt x="1212" y="90"/>
                  <a:pt x="1212" y="90"/>
                  <a:pt x="1212" y="90"/>
                </a:cubicBezTo>
                <a:cubicBezTo>
                  <a:pt x="1212" y="90"/>
                  <a:pt x="1212" y="90"/>
                  <a:pt x="1212" y="90"/>
                </a:cubicBezTo>
                <a:close/>
                <a:moveTo>
                  <a:pt x="1255" y="90"/>
                </a:moveTo>
                <a:cubicBezTo>
                  <a:pt x="1256" y="90"/>
                  <a:pt x="1256" y="90"/>
                  <a:pt x="1256" y="90"/>
                </a:cubicBezTo>
                <a:cubicBezTo>
                  <a:pt x="1256" y="90"/>
                  <a:pt x="1255" y="90"/>
                  <a:pt x="1255" y="90"/>
                </a:cubicBezTo>
                <a:close/>
                <a:moveTo>
                  <a:pt x="611" y="54"/>
                </a:moveTo>
                <a:cubicBezTo>
                  <a:pt x="611" y="54"/>
                  <a:pt x="611" y="54"/>
                  <a:pt x="612" y="55"/>
                </a:cubicBezTo>
                <a:cubicBezTo>
                  <a:pt x="612" y="54"/>
                  <a:pt x="612" y="54"/>
                  <a:pt x="611" y="54"/>
                </a:cubicBezTo>
                <a:close/>
                <a:moveTo>
                  <a:pt x="1417" y="90"/>
                </a:moveTo>
                <a:cubicBezTo>
                  <a:pt x="1417" y="90"/>
                  <a:pt x="1417" y="90"/>
                  <a:pt x="1416" y="90"/>
                </a:cubicBezTo>
                <a:cubicBezTo>
                  <a:pt x="1416" y="90"/>
                  <a:pt x="1416" y="90"/>
                  <a:pt x="1417" y="90"/>
                </a:cubicBezTo>
                <a:close/>
                <a:moveTo>
                  <a:pt x="1463" y="90"/>
                </a:moveTo>
                <a:cubicBezTo>
                  <a:pt x="1463" y="90"/>
                  <a:pt x="1463" y="90"/>
                  <a:pt x="1463" y="90"/>
                </a:cubicBezTo>
                <a:cubicBezTo>
                  <a:pt x="1463" y="90"/>
                  <a:pt x="1463" y="90"/>
                  <a:pt x="1463" y="90"/>
                </a:cubicBezTo>
                <a:close/>
                <a:moveTo>
                  <a:pt x="1670" y="90"/>
                </a:moveTo>
                <a:cubicBezTo>
                  <a:pt x="1670" y="90"/>
                  <a:pt x="1670" y="90"/>
                  <a:pt x="1669" y="90"/>
                </a:cubicBezTo>
                <a:cubicBezTo>
                  <a:pt x="1669" y="90"/>
                  <a:pt x="1669" y="90"/>
                  <a:pt x="1670" y="90"/>
                </a:cubicBezTo>
                <a:close/>
                <a:moveTo>
                  <a:pt x="634" y="90"/>
                </a:moveTo>
                <a:cubicBezTo>
                  <a:pt x="634" y="90"/>
                  <a:pt x="633" y="90"/>
                  <a:pt x="633" y="91"/>
                </a:cubicBezTo>
                <a:cubicBezTo>
                  <a:pt x="634" y="91"/>
                  <a:pt x="634" y="90"/>
                  <a:pt x="634" y="90"/>
                </a:cubicBezTo>
                <a:close/>
                <a:moveTo>
                  <a:pt x="829" y="43"/>
                </a:moveTo>
                <a:cubicBezTo>
                  <a:pt x="830" y="43"/>
                  <a:pt x="830" y="42"/>
                  <a:pt x="830" y="42"/>
                </a:cubicBezTo>
                <a:cubicBezTo>
                  <a:pt x="830" y="42"/>
                  <a:pt x="829" y="42"/>
                  <a:pt x="829" y="43"/>
                </a:cubicBezTo>
                <a:close/>
                <a:moveTo>
                  <a:pt x="1665" y="59"/>
                </a:moveTo>
                <a:cubicBezTo>
                  <a:pt x="1665" y="60"/>
                  <a:pt x="1665" y="60"/>
                  <a:pt x="1666" y="60"/>
                </a:cubicBezTo>
                <a:cubicBezTo>
                  <a:pt x="1665" y="59"/>
                  <a:pt x="1665" y="59"/>
                  <a:pt x="1665" y="59"/>
                </a:cubicBezTo>
                <a:close/>
                <a:moveTo>
                  <a:pt x="1721" y="60"/>
                </a:moveTo>
                <a:cubicBezTo>
                  <a:pt x="1721" y="60"/>
                  <a:pt x="1721" y="60"/>
                  <a:pt x="1721" y="59"/>
                </a:cubicBezTo>
                <a:cubicBezTo>
                  <a:pt x="1721" y="59"/>
                  <a:pt x="1721" y="59"/>
                  <a:pt x="1721" y="60"/>
                </a:cubicBezTo>
                <a:close/>
                <a:moveTo>
                  <a:pt x="795" y="90"/>
                </a:moveTo>
                <a:cubicBezTo>
                  <a:pt x="795" y="90"/>
                  <a:pt x="795" y="90"/>
                  <a:pt x="795" y="90"/>
                </a:cubicBezTo>
                <a:cubicBezTo>
                  <a:pt x="795" y="90"/>
                  <a:pt x="795" y="90"/>
                  <a:pt x="795" y="90"/>
                </a:cubicBezTo>
                <a:close/>
                <a:moveTo>
                  <a:pt x="982" y="90"/>
                </a:moveTo>
                <a:cubicBezTo>
                  <a:pt x="982" y="90"/>
                  <a:pt x="982" y="90"/>
                  <a:pt x="983" y="90"/>
                </a:cubicBezTo>
                <a:cubicBezTo>
                  <a:pt x="982" y="90"/>
                  <a:pt x="982" y="90"/>
                  <a:pt x="982" y="90"/>
                </a:cubicBezTo>
                <a:close/>
                <a:moveTo>
                  <a:pt x="1013" y="90"/>
                </a:moveTo>
                <a:cubicBezTo>
                  <a:pt x="1014" y="90"/>
                  <a:pt x="1014" y="90"/>
                  <a:pt x="1014" y="90"/>
                </a:cubicBezTo>
                <a:cubicBezTo>
                  <a:pt x="1014" y="90"/>
                  <a:pt x="1013" y="90"/>
                  <a:pt x="1013" y="90"/>
                </a:cubicBezTo>
                <a:close/>
                <a:moveTo>
                  <a:pt x="639" y="49"/>
                </a:moveTo>
                <a:cubicBezTo>
                  <a:pt x="639" y="48"/>
                  <a:pt x="639" y="48"/>
                  <a:pt x="639" y="48"/>
                </a:cubicBezTo>
                <a:cubicBezTo>
                  <a:pt x="639" y="48"/>
                  <a:pt x="639" y="48"/>
                  <a:pt x="639" y="49"/>
                </a:cubicBezTo>
                <a:close/>
                <a:moveTo>
                  <a:pt x="1683" y="90"/>
                </a:moveTo>
                <a:cubicBezTo>
                  <a:pt x="1683" y="90"/>
                  <a:pt x="1683" y="91"/>
                  <a:pt x="1683" y="91"/>
                </a:cubicBezTo>
                <a:cubicBezTo>
                  <a:pt x="1683" y="90"/>
                  <a:pt x="1683" y="90"/>
                  <a:pt x="1683" y="90"/>
                </a:cubicBezTo>
                <a:close/>
                <a:moveTo>
                  <a:pt x="586" y="90"/>
                </a:moveTo>
                <a:cubicBezTo>
                  <a:pt x="586" y="91"/>
                  <a:pt x="586" y="91"/>
                  <a:pt x="586" y="91"/>
                </a:cubicBezTo>
                <a:cubicBezTo>
                  <a:pt x="586" y="91"/>
                  <a:pt x="586" y="91"/>
                  <a:pt x="586" y="90"/>
                </a:cubicBezTo>
                <a:close/>
                <a:moveTo>
                  <a:pt x="614" y="91"/>
                </a:moveTo>
                <a:cubicBezTo>
                  <a:pt x="614" y="91"/>
                  <a:pt x="614" y="91"/>
                  <a:pt x="614" y="90"/>
                </a:cubicBezTo>
                <a:cubicBezTo>
                  <a:pt x="614" y="91"/>
                  <a:pt x="614" y="91"/>
                  <a:pt x="614" y="91"/>
                </a:cubicBezTo>
                <a:close/>
                <a:moveTo>
                  <a:pt x="663" y="90"/>
                </a:moveTo>
                <a:cubicBezTo>
                  <a:pt x="663" y="91"/>
                  <a:pt x="663" y="91"/>
                  <a:pt x="663" y="91"/>
                </a:cubicBezTo>
                <a:cubicBezTo>
                  <a:pt x="663" y="90"/>
                  <a:pt x="663" y="90"/>
                  <a:pt x="663" y="90"/>
                </a:cubicBezTo>
                <a:close/>
                <a:moveTo>
                  <a:pt x="699" y="90"/>
                </a:moveTo>
                <a:cubicBezTo>
                  <a:pt x="698" y="90"/>
                  <a:pt x="698" y="91"/>
                  <a:pt x="698" y="91"/>
                </a:cubicBezTo>
                <a:cubicBezTo>
                  <a:pt x="699" y="91"/>
                  <a:pt x="699" y="91"/>
                  <a:pt x="699" y="90"/>
                </a:cubicBezTo>
                <a:close/>
                <a:moveTo>
                  <a:pt x="767" y="90"/>
                </a:moveTo>
                <a:cubicBezTo>
                  <a:pt x="768" y="91"/>
                  <a:pt x="768" y="91"/>
                  <a:pt x="768" y="91"/>
                </a:cubicBezTo>
                <a:cubicBezTo>
                  <a:pt x="768" y="90"/>
                  <a:pt x="768" y="90"/>
                  <a:pt x="767" y="90"/>
                </a:cubicBezTo>
                <a:close/>
                <a:moveTo>
                  <a:pt x="794" y="91"/>
                </a:moveTo>
                <a:cubicBezTo>
                  <a:pt x="794" y="91"/>
                  <a:pt x="795" y="91"/>
                  <a:pt x="795" y="90"/>
                </a:cubicBezTo>
                <a:cubicBezTo>
                  <a:pt x="794" y="90"/>
                  <a:pt x="794" y="90"/>
                  <a:pt x="794" y="91"/>
                </a:cubicBezTo>
                <a:close/>
                <a:moveTo>
                  <a:pt x="983" y="90"/>
                </a:moveTo>
                <a:cubicBezTo>
                  <a:pt x="983" y="91"/>
                  <a:pt x="983" y="91"/>
                  <a:pt x="984" y="91"/>
                </a:cubicBezTo>
                <a:cubicBezTo>
                  <a:pt x="983" y="90"/>
                  <a:pt x="983" y="90"/>
                  <a:pt x="983" y="90"/>
                </a:cubicBezTo>
                <a:close/>
                <a:moveTo>
                  <a:pt x="1012" y="91"/>
                </a:moveTo>
                <a:cubicBezTo>
                  <a:pt x="1013" y="91"/>
                  <a:pt x="1013" y="91"/>
                  <a:pt x="1013" y="90"/>
                </a:cubicBezTo>
                <a:cubicBezTo>
                  <a:pt x="1013" y="90"/>
                  <a:pt x="1012" y="90"/>
                  <a:pt x="1012" y="91"/>
                </a:cubicBezTo>
                <a:close/>
                <a:moveTo>
                  <a:pt x="1050" y="90"/>
                </a:moveTo>
                <a:cubicBezTo>
                  <a:pt x="1050" y="91"/>
                  <a:pt x="1050" y="91"/>
                  <a:pt x="1050" y="91"/>
                </a:cubicBezTo>
                <a:cubicBezTo>
                  <a:pt x="1050" y="90"/>
                  <a:pt x="1050" y="90"/>
                  <a:pt x="1050" y="90"/>
                </a:cubicBezTo>
                <a:close/>
                <a:moveTo>
                  <a:pt x="1076" y="91"/>
                </a:moveTo>
                <a:cubicBezTo>
                  <a:pt x="1077" y="91"/>
                  <a:pt x="1077" y="91"/>
                  <a:pt x="1077" y="90"/>
                </a:cubicBezTo>
                <a:cubicBezTo>
                  <a:pt x="1077" y="90"/>
                  <a:pt x="1076" y="90"/>
                  <a:pt x="1076" y="91"/>
                </a:cubicBezTo>
                <a:close/>
                <a:moveTo>
                  <a:pt x="1425" y="10"/>
                </a:moveTo>
                <a:cubicBezTo>
                  <a:pt x="1425" y="10"/>
                  <a:pt x="1426" y="10"/>
                  <a:pt x="1426" y="10"/>
                </a:cubicBezTo>
                <a:cubicBezTo>
                  <a:pt x="1425" y="10"/>
                  <a:pt x="1425" y="10"/>
                  <a:pt x="1425" y="10"/>
                </a:cubicBezTo>
                <a:close/>
                <a:moveTo>
                  <a:pt x="1227" y="90"/>
                </a:moveTo>
                <a:cubicBezTo>
                  <a:pt x="1227" y="91"/>
                  <a:pt x="1228" y="91"/>
                  <a:pt x="1228" y="91"/>
                </a:cubicBezTo>
                <a:cubicBezTo>
                  <a:pt x="1228" y="90"/>
                  <a:pt x="1228" y="90"/>
                  <a:pt x="1227" y="90"/>
                </a:cubicBezTo>
                <a:close/>
                <a:moveTo>
                  <a:pt x="1254" y="91"/>
                </a:moveTo>
                <a:cubicBezTo>
                  <a:pt x="1254" y="91"/>
                  <a:pt x="1254" y="91"/>
                  <a:pt x="1255" y="90"/>
                </a:cubicBezTo>
                <a:cubicBezTo>
                  <a:pt x="1254" y="90"/>
                  <a:pt x="1254" y="90"/>
                  <a:pt x="1254" y="91"/>
                </a:cubicBezTo>
                <a:close/>
                <a:moveTo>
                  <a:pt x="1417" y="91"/>
                </a:moveTo>
                <a:cubicBezTo>
                  <a:pt x="1417" y="91"/>
                  <a:pt x="1417" y="90"/>
                  <a:pt x="1417" y="90"/>
                </a:cubicBezTo>
                <a:cubicBezTo>
                  <a:pt x="1417" y="91"/>
                  <a:pt x="1417" y="91"/>
                  <a:pt x="1417" y="91"/>
                </a:cubicBezTo>
                <a:close/>
                <a:moveTo>
                  <a:pt x="660" y="60"/>
                </a:moveTo>
                <a:cubicBezTo>
                  <a:pt x="660" y="60"/>
                  <a:pt x="660" y="60"/>
                  <a:pt x="660" y="60"/>
                </a:cubicBezTo>
                <a:cubicBezTo>
                  <a:pt x="660" y="60"/>
                  <a:pt x="660" y="60"/>
                  <a:pt x="660" y="60"/>
                </a:cubicBezTo>
                <a:close/>
                <a:moveTo>
                  <a:pt x="1670" y="91"/>
                </a:moveTo>
                <a:cubicBezTo>
                  <a:pt x="1670" y="91"/>
                  <a:pt x="1670" y="91"/>
                  <a:pt x="1670" y="90"/>
                </a:cubicBezTo>
                <a:cubicBezTo>
                  <a:pt x="1670" y="91"/>
                  <a:pt x="1670" y="91"/>
                  <a:pt x="1670" y="91"/>
                </a:cubicBezTo>
                <a:close/>
                <a:moveTo>
                  <a:pt x="633" y="91"/>
                </a:moveTo>
                <a:cubicBezTo>
                  <a:pt x="633" y="91"/>
                  <a:pt x="633" y="91"/>
                  <a:pt x="633" y="91"/>
                </a:cubicBezTo>
                <a:cubicBezTo>
                  <a:pt x="633" y="91"/>
                  <a:pt x="633" y="91"/>
                  <a:pt x="633" y="91"/>
                </a:cubicBezTo>
                <a:close/>
                <a:moveTo>
                  <a:pt x="663" y="91"/>
                </a:moveTo>
                <a:cubicBezTo>
                  <a:pt x="664" y="91"/>
                  <a:pt x="664" y="91"/>
                  <a:pt x="664" y="91"/>
                </a:cubicBezTo>
                <a:cubicBezTo>
                  <a:pt x="664" y="91"/>
                  <a:pt x="664" y="91"/>
                  <a:pt x="663" y="91"/>
                </a:cubicBezTo>
                <a:close/>
                <a:moveTo>
                  <a:pt x="793" y="91"/>
                </a:moveTo>
                <a:cubicBezTo>
                  <a:pt x="794" y="91"/>
                  <a:pt x="794" y="91"/>
                  <a:pt x="794" y="91"/>
                </a:cubicBezTo>
                <a:cubicBezTo>
                  <a:pt x="794" y="91"/>
                  <a:pt x="793" y="91"/>
                  <a:pt x="793" y="91"/>
                </a:cubicBezTo>
                <a:close/>
                <a:moveTo>
                  <a:pt x="984" y="91"/>
                </a:moveTo>
                <a:cubicBezTo>
                  <a:pt x="984" y="91"/>
                  <a:pt x="984" y="91"/>
                  <a:pt x="984" y="91"/>
                </a:cubicBezTo>
                <a:cubicBezTo>
                  <a:pt x="984" y="91"/>
                  <a:pt x="984" y="91"/>
                  <a:pt x="984" y="91"/>
                </a:cubicBezTo>
                <a:close/>
                <a:moveTo>
                  <a:pt x="1499" y="10"/>
                </a:moveTo>
                <a:cubicBezTo>
                  <a:pt x="1499" y="10"/>
                  <a:pt x="1499" y="10"/>
                  <a:pt x="1500" y="10"/>
                </a:cubicBezTo>
                <a:cubicBezTo>
                  <a:pt x="1499" y="10"/>
                  <a:pt x="1499" y="10"/>
                  <a:pt x="1499" y="10"/>
                </a:cubicBezTo>
                <a:close/>
                <a:moveTo>
                  <a:pt x="1035" y="91"/>
                </a:moveTo>
                <a:cubicBezTo>
                  <a:pt x="1035" y="91"/>
                  <a:pt x="1035" y="91"/>
                  <a:pt x="1035" y="91"/>
                </a:cubicBezTo>
                <a:cubicBezTo>
                  <a:pt x="1035" y="91"/>
                  <a:pt x="1035" y="91"/>
                  <a:pt x="1035" y="91"/>
                </a:cubicBezTo>
                <a:close/>
                <a:moveTo>
                  <a:pt x="1050" y="91"/>
                </a:moveTo>
                <a:cubicBezTo>
                  <a:pt x="1050" y="91"/>
                  <a:pt x="1051" y="91"/>
                  <a:pt x="1051" y="91"/>
                </a:cubicBezTo>
                <a:cubicBezTo>
                  <a:pt x="1051" y="91"/>
                  <a:pt x="1050" y="91"/>
                  <a:pt x="1050" y="91"/>
                </a:cubicBezTo>
                <a:close/>
                <a:moveTo>
                  <a:pt x="1075" y="91"/>
                </a:moveTo>
                <a:cubicBezTo>
                  <a:pt x="1076" y="91"/>
                  <a:pt x="1076" y="91"/>
                  <a:pt x="1076" y="91"/>
                </a:cubicBezTo>
                <a:cubicBezTo>
                  <a:pt x="1076" y="91"/>
                  <a:pt x="1075" y="91"/>
                  <a:pt x="1075" y="91"/>
                </a:cubicBezTo>
                <a:close/>
                <a:moveTo>
                  <a:pt x="654" y="40"/>
                </a:moveTo>
                <a:cubicBezTo>
                  <a:pt x="653" y="40"/>
                  <a:pt x="653" y="40"/>
                  <a:pt x="653" y="41"/>
                </a:cubicBezTo>
                <a:cubicBezTo>
                  <a:pt x="654" y="40"/>
                  <a:pt x="654" y="40"/>
                  <a:pt x="654" y="40"/>
                </a:cubicBezTo>
                <a:close/>
                <a:moveTo>
                  <a:pt x="1228" y="91"/>
                </a:moveTo>
                <a:cubicBezTo>
                  <a:pt x="1228" y="91"/>
                  <a:pt x="1228" y="91"/>
                  <a:pt x="1229" y="91"/>
                </a:cubicBezTo>
                <a:cubicBezTo>
                  <a:pt x="1229" y="91"/>
                  <a:pt x="1228" y="91"/>
                  <a:pt x="1228" y="91"/>
                </a:cubicBezTo>
                <a:close/>
                <a:moveTo>
                  <a:pt x="1253" y="91"/>
                </a:moveTo>
                <a:cubicBezTo>
                  <a:pt x="1253" y="91"/>
                  <a:pt x="1254" y="91"/>
                  <a:pt x="1254" y="91"/>
                </a:cubicBezTo>
                <a:cubicBezTo>
                  <a:pt x="1254" y="91"/>
                  <a:pt x="1253" y="91"/>
                  <a:pt x="1253" y="91"/>
                </a:cubicBezTo>
                <a:close/>
                <a:moveTo>
                  <a:pt x="1683" y="91"/>
                </a:moveTo>
                <a:cubicBezTo>
                  <a:pt x="1683" y="91"/>
                  <a:pt x="1683" y="91"/>
                  <a:pt x="1683" y="91"/>
                </a:cubicBezTo>
                <a:cubicBezTo>
                  <a:pt x="1683" y="91"/>
                  <a:pt x="1683" y="91"/>
                  <a:pt x="1683" y="91"/>
                </a:cubicBezTo>
                <a:close/>
                <a:moveTo>
                  <a:pt x="606" y="40"/>
                </a:moveTo>
                <a:cubicBezTo>
                  <a:pt x="606" y="40"/>
                  <a:pt x="606" y="41"/>
                  <a:pt x="607" y="41"/>
                </a:cubicBezTo>
                <a:cubicBezTo>
                  <a:pt x="607" y="40"/>
                  <a:pt x="607" y="40"/>
                  <a:pt x="606" y="40"/>
                </a:cubicBezTo>
                <a:close/>
                <a:moveTo>
                  <a:pt x="586" y="91"/>
                </a:moveTo>
                <a:cubicBezTo>
                  <a:pt x="586" y="91"/>
                  <a:pt x="585" y="91"/>
                  <a:pt x="585" y="92"/>
                </a:cubicBezTo>
                <a:cubicBezTo>
                  <a:pt x="586" y="92"/>
                  <a:pt x="586" y="91"/>
                  <a:pt x="586" y="91"/>
                </a:cubicBezTo>
                <a:close/>
                <a:moveTo>
                  <a:pt x="664" y="91"/>
                </a:moveTo>
                <a:cubicBezTo>
                  <a:pt x="664" y="91"/>
                  <a:pt x="665" y="91"/>
                  <a:pt x="665" y="91"/>
                </a:cubicBezTo>
                <a:cubicBezTo>
                  <a:pt x="665" y="91"/>
                  <a:pt x="664" y="91"/>
                  <a:pt x="664" y="91"/>
                </a:cubicBezTo>
                <a:close/>
                <a:moveTo>
                  <a:pt x="698" y="91"/>
                </a:moveTo>
                <a:cubicBezTo>
                  <a:pt x="698" y="91"/>
                  <a:pt x="698" y="91"/>
                  <a:pt x="698" y="92"/>
                </a:cubicBezTo>
                <a:cubicBezTo>
                  <a:pt x="698" y="92"/>
                  <a:pt x="698" y="91"/>
                  <a:pt x="698" y="91"/>
                </a:cubicBezTo>
                <a:close/>
                <a:moveTo>
                  <a:pt x="602" y="61"/>
                </a:moveTo>
                <a:cubicBezTo>
                  <a:pt x="603" y="60"/>
                  <a:pt x="602" y="60"/>
                  <a:pt x="602" y="60"/>
                </a:cubicBezTo>
                <a:cubicBezTo>
                  <a:pt x="602" y="60"/>
                  <a:pt x="602" y="61"/>
                  <a:pt x="602" y="61"/>
                </a:cubicBezTo>
                <a:close/>
                <a:moveTo>
                  <a:pt x="769" y="91"/>
                </a:moveTo>
                <a:cubicBezTo>
                  <a:pt x="769" y="91"/>
                  <a:pt x="769" y="91"/>
                  <a:pt x="769" y="91"/>
                </a:cubicBezTo>
                <a:cubicBezTo>
                  <a:pt x="769" y="91"/>
                  <a:pt x="769" y="91"/>
                  <a:pt x="769" y="91"/>
                </a:cubicBezTo>
                <a:close/>
                <a:moveTo>
                  <a:pt x="793" y="91"/>
                </a:moveTo>
                <a:cubicBezTo>
                  <a:pt x="793" y="91"/>
                  <a:pt x="793" y="91"/>
                  <a:pt x="793" y="91"/>
                </a:cubicBezTo>
                <a:cubicBezTo>
                  <a:pt x="793" y="91"/>
                  <a:pt x="793" y="91"/>
                  <a:pt x="793" y="91"/>
                </a:cubicBezTo>
                <a:close/>
                <a:moveTo>
                  <a:pt x="985" y="91"/>
                </a:moveTo>
                <a:cubicBezTo>
                  <a:pt x="985" y="91"/>
                  <a:pt x="985" y="91"/>
                  <a:pt x="985" y="91"/>
                </a:cubicBezTo>
                <a:cubicBezTo>
                  <a:pt x="985" y="91"/>
                  <a:pt x="985" y="91"/>
                  <a:pt x="985" y="91"/>
                </a:cubicBezTo>
                <a:close/>
                <a:moveTo>
                  <a:pt x="1536" y="10"/>
                </a:moveTo>
                <a:cubicBezTo>
                  <a:pt x="1537" y="10"/>
                  <a:pt x="1537" y="10"/>
                  <a:pt x="1537" y="10"/>
                </a:cubicBezTo>
                <a:cubicBezTo>
                  <a:pt x="1537" y="10"/>
                  <a:pt x="1537" y="10"/>
                  <a:pt x="1536" y="10"/>
                </a:cubicBezTo>
                <a:close/>
                <a:moveTo>
                  <a:pt x="1075" y="91"/>
                </a:moveTo>
                <a:cubicBezTo>
                  <a:pt x="1075" y="91"/>
                  <a:pt x="1075" y="91"/>
                  <a:pt x="1075" y="91"/>
                </a:cubicBezTo>
                <a:cubicBezTo>
                  <a:pt x="1075" y="91"/>
                  <a:pt x="1075" y="91"/>
                  <a:pt x="1075" y="91"/>
                </a:cubicBezTo>
                <a:close/>
                <a:moveTo>
                  <a:pt x="1670" y="10"/>
                </a:moveTo>
                <a:cubicBezTo>
                  <a:pt x="1671" y="10"/>
                  <a:pt x="1671" y="10"/>
                  <a:pt x="1671" y="10"/>
                </a:cubicBezTo>
                <a:cubicBezTo>
                  <a:pt x="1671" y="10"/>
                  <a:pt x="1671" y="10"/>
                  <a:pt x="1670" y="10"/>
                </a:cubicBezTo>
                <a:close/>
                <a:moveTo>
                  <a:pt x="1252" y="91"/>
                </a:moveTo>
                <a:cubicBezTo>
                  <a:pt x="1253" y="91"/>
                  <a:pt x="1253" y="91"/>
                  <a:pt x="1253" y="91"/>
                </a:cubicBezTo>
                <a:cubicBezTo>
                  <a:pt x="1253" y="91"/>
                  <a:pt x="1253" y="91"/>
                  <a:pt x="1252" y="91"/>
                </a:cubicBezTo>
                <a:close/>
                <a:moveTo>
                  <a:pt x="1705" y="10"/>
                </a:moveTo>
                <a:cubicBezTo>
                  <a:pt x="1705" y="10"/>
                  <a:pt x="1705" y="10"/>
                  <a:pt x="1705" y="10"/>
                </a:cubicBezTo>
                <a:cubicBezTo>
                  <a:pt x="1705" y="10"/>
                  <a:pt x="1705" y="10"/>
                  <a:pt x="1705" y="10"/>
                </a:cubicBezTo>
                <a:close/>
                <a:moveTo>
                  <a:pt x="1670" y="92"/>
                </a:moveTo>
                <a:cubicBezTo>
                  <a:pt x="1670" y="91"/>
                  <a:pt x="1670" y="91"/>
                  <a:pt x="1670" y="91"/>
                </a:cubicBezTo>
                <a:cubicBezTo>
                  <a:pt x="1670" y="91"/>
                  <a:pt x="1670" y="92"/>
                  <a:pt x="1670" y="92"/>
                </a:cubicBezTo>
                <a:close/>
                <a:moveTo>
                  <a:pt x="615" y="92"/>
                </a:moveTo>
                <a:cubicBezTo>
                  <a:pt x="615" y="92"/>
                  <a:pt x="615" y="91"/>
                  <a:pt x="614" y="91"/>
                </a:cubicBezTo>
                <a:cubicBezTo>
                  <a:pt x="614" y="92"/>
                  <a:pt x="614" y="92"/>
                  <a:pt x="615" y="92"/>
                </a:cubicBezTo>
                <a:close/>
                <a:moveTo>
                  <a:pt x="665" y="91"/>
                </a:moveTo>
                <a:cubicBezTo>
                  <a:pt x="665" y="92"/>
                  <a:pt x="665" y="92"/>
                  <a:pt x="666" y="92"/>
                </a:cubicBezTo>
                <a:cubicBezTo>
                  <a:pt x="665" y="91"/>
                  <a:pt x="665" y="91"/>
                  <a:pt x="665" y="91"/>
                </a:cubicBezTo>
                <a:close/>
                <a:moveTo>
                  <a:pt x="685" y="92"/>
                </a:moveTo>
                <a:cubicBezTo>
                  <a:pt x="685" y="92"/>
                  <a:pt x="685" y="92"/>
                  <a:pt x="685" y="91"/>
                </a:cubicBezTo>
                <a:cubicBezTo>
                  <a:pt x="685" y="91"/>
                  <a:pt x="685" y="92"/>
                  <a:pt x="685" y="92"/>
                </a:cubicBezTo>
                <a:close/>
                <a:moveTo>
                  <a:pt x="548" y="11"/>
                </a:moveTo>
                <a:cubicBezTo>
                  <a:pt x="548" y="11"/>
                  <a:pt x="548" y="11"/>
                  <a:pt x="549" y="10"/>
                </a:cubicBezTo>
                <a:cubicBezTo>
                  <a:pt x="548" y="10"/>
                  <a:pt x="548" y="10"/>
                  <a:pt x="548" y="11"/>
                </a:cubicBezTo>
                <a:close/>
                <a:moveTo>
                  <a:pt x="600" y="55"/>
                </a:moveTo>
                <a:cubicBezTo>
                  <a:pt x="600" y="54"/>
                  <a:pt x="600" y="54"/>
                  <a:pt x="600" y="54"/>
                </a:cubicBezTo>
                <a:cubicBezTo>
                  <a:pt x="600" y="54"/>
                  <a:pt x="600" y="54"/>
                  <a:pt x="600" y="55"/>
                </a:cubicBezTo>
                <a:close/>
                <a:moveTo>
                  <a:pt x="769" y="91"/>
                </a:moveTo>
                <a:cubicBezTo>
                  <a:pt x="769" y="92"/>
                  <a:pt x="770" y="92"/>
                  <a:pt x="770" y="92"/>
                </a:cubicBezTo>
                <a:cubicBezTo>
                  <a:pt x="770" y="91"/>
                  <a:pt x="770" y="91"/>
                  <a:pt x="769" y="91"/>
                </a:cubicBezTo>
                <a:close/>
                <a:moveTo>
                  <a:pt x="792" y="92"/>
                </a:moveTo>
                <a:cubicBezTo>
                  <a:pt x="792" y="92"/>
                  <a:pt x="792" y="92"/>
                  <a:pt x="792" y="91"/>
                </a:cubicBezTo>
                <a:cubicBezTo>
                  <a:pt x="792" y="91"/>
                  <a:pt x="792" y="91"/>
                  <a:pt x="792" y="92"/>
                </a:cubicBezTo>
                <a:close/>
                <a:moveTo>
                  <a:pt x="977" y="11"/>
                </a:moveTo>
                <a:cubicBezTo>
                  <a:pt x="977" y="11"/>
                  <a:pt x="977" y="11"/>
                  <a:pt x="977" y="10"/>
                </a:cubicBezTo>
                <a:cubicBezTo>
                  <a:pt x="977" y="10"/>
                  <a:pt x="977" y="10"/>
                  <a:pt x="977" y="11"/>
                </a:cubicBezTo>
                <a:close/>
                <a:moveTo>
                  <a:pt x="1352" y="11"/>
                </a:moveTo>
                <a:cubicBezTo>
                  <a:pt x="1352" y="11"/>
                  <a:pt x="1352" y="11"/>
                  <a:pt x="1352" y="10"/>
                </a:cubicBezTo>
                <a:cubicBezTo>
                  <a:pt x="1352" y="10"/>
                  <a:pt x="1352" y="10"/>
                  <a:pt x="1352" y="11"/>
                </a:cubicBezTo>
                <a:close/>
                <a:moveTo>
                  <a:pt x="1051" y="91"/>
                </a:moveTo>
                <a:cubicBezTo>
                  <a:pt x="1052" y="92"/>
                  <a:pt x="1052" y="92"/>
                  <a:pt x="1052" y="92"/>
                </a:cubicBezTo>
                <a:cubicBezTo>
                  <a:pt x="1052" y="91"/>
                  <a:pt x="1052" y="91"/>
                  <a:pt x="1051" y="91"/>
                </a:cubicBezTo>
                <a:close/>
                <a:moveTo>
                  <a:pt x="1074" y="92"/>
                </a:moveTo>
                <a:cubicBezTo>
                  <a:pt x="1074" y="92"/>
                  <a:pt x="1074" y="92"/>
                  <a:pt x="1075" y="91"/>
                </a:cubicBezTo>
                <a:cubicBezTo>
                  <a:pt x="1074" y="91"/>
                  <a:pt x="1074" y="91"/>
                  <a:pt x="1074" y="92"/>
                </a:cubicBezTo>
                <a:close/>
                <a:moveTo>
                  <a:pt x="1202" y="92"/>
                </a:moveTo>
                <a:cubicBezTo>
                  <a:pt x="1202" y="92"/>
                  <a:pt x="1202" y="92"/>
                  <a:pt x="1202" y="92"/>
                </a:cubicBezTo>
                <a:cubicBezTo>
                  <a:pt x="1202" y="91"/>
                  <a:pt x="1202" y="91"/>
                  <a:pt x="1202" y="92"/>
                </a:cubicBezTo>
                <a:close/>
                <a:moveTo>
                  <a:pt x="1229" y="91"/>
                </a:moveTo>
                <a:cubicBezTo>
                  <a:pt x="1229" y="92"/>
                  <a:pt x="1229" y="92"/>
                  <a:pt x="1230" y="92"/>
                </a:cubicBezTo>
                <a:cubicBezTo>
                  <a:pt x="1230" y="91"/>
                  <a:pt x="1229" y="91"/>
                  <a:pt x="1229" y="91"/>
                </a:cubicBezTo>
                <a:close/>
                <a:moveTo>
                  <a:pt x="1387" y="10"/>
                </a:moveTo>
                <a:cubicBezTo>
                  <a:pt x="1387" y="11"/>
                  <a:pt x="1387" y="11"/>
                  <a:pt x="1388" y="11"/>
                </a:cubicBezTo>
                <a:cubicBezTo>
                  <a:pt x="1388" y="10"/>
                  <a:pt x="1387" y="10"/>
                  <a:pt x="1387" y="10"/>
                </a:cubicBezTo>
                <a:close/>
                <a:moveTo>
                  <a:pt x="1418" y="92"/>
                </a:moveTo>
                <a:cubicBezTo>
                  <a:pt x="1418" y="92"/>
                  <a:pt x="1418" y="92"/>
                  <a:pt x="1417" y="91"/>
                </a:cubicBezTo>
                <a:cubicBezTo>
                  <a:pt x="1417" y="92"/>
                  <a:pt x="1417" y="92"/>
                  <a:pt x="1418" y="92"/>
                </a:cubicBezTo>
                <a:close/>
                <a:moveTo>
                  <a:pt x="1683" y="91"/>
                </a:moveTo>
                <a:cubicBezTo>
                  <a:pt x="1683" y="92"/>
                  <a:pt x="1683" y="92"/>
                  <a:pt x="1684" y="92"/>
                </a:cubicBezTo>
                <a:cubicBezTo>
                  <a:pt x="1684" y="92"/>
                  <a:pt x="1684" y="92"/>
                  <a:pt x="1683" y="91"/>
                </a:cubicBezTo>
                <a:close/>
                <a:moveTo>
                  <a:pt x="635" y="61"/>
                </a:moveTo>
                <a:cubicBezTo>
                  <a:pt x="635" y="61"/>
                  <a:pt x="635" y="60"/>
                  <a:pt x="635" y="60"/>
                </a:cubicBezTo>
                <a:cubicBezTo>
                  <a:pt x="635" y="60"/>
                  <a:pt x="635" y="61"/>
                  <a:pt x="635" y="61"/>
                </a:cubicBezTo>
                <a:close/>
                <a:moveTo>
                  <a:pt x="633" y="92"/>
                </a:moveTo>
                <a:cubicBezTo>
                  <a:pt x="633" y="92"/>
                  <a:pt x="633" y="92"/>
                  <a:pt x="633" y="92"/>
                </a:cubicBezTo>
                <a:cubicBezTo>
                  <a:pt x="633" y="92"/>
                  <a:pt x="633" y="92"/>
                  <a:pt x="633" y="92"/>
                </a:cubicBezTo>
                <a:close/>
                <a:moveTo>
                  <a:pt x="666" y="92"/>
                </a:moveTo>
                <a:cubicBezTo>
                  <a:pt x="666" y="92"/>
                  <a:pt x="666" y="92"/>
                  <a:pt x="667" y="92"/>
                </a:cubicBezTo>
                <a:cubicBezTo>
                  <a:pt x="666" y="92"/>
                  <a:pt x="666" y="92"/>
                  <a:pt x="666" y="92"/>
                </a:cubicBezTo>
                <a:close/>
                <a:moveTo>
                  <a:pt x="698" y="92"/>
                </a:moveTo>
                <a:cubicBezTo>
                  <a:pt x="698" y="92"/>
                  <a:pt x="698" y="92"/>
                  <a:pt x="698" y="92"/>
                </a:cubicBezTo>
                <a:cubicBezTo>
                  <a:pt x="698" y="92"/>
                  <a:pt x="698" y="92"/>
                  <a:pt x="698" y="92"/>
                </a:cubicBezTo>
                <a:close/>
                <a:moveTo>
                  <a:pt x="729" y="92"/>
                </a:moveTo>
                <a:cubicBezTo>
                  <a:pt x="729" y="92"/>
                  <a:pt x="729" y="92"/>
                  <a:pt x="729" y="92"/>
                </a:cubicBezTo>
                <a:cubicBezTo>
                  <a:pt x="729" y="92"/>
                  <a:pt x="729" y="92"/>
                  <a:pt x="729" y="92"/>
                </a:cubicBezTo>
                <a:close/>
                <a:moveTo>
                  <a:pt x="741" y="92"/>
                </a:moveTo>
                <a:cubicBezTo>
                  <a:pt x="741" y="92"/>
                  <a:pt x="742" y="92"/>
                  <a:pt x="742" y="92"/>
                </a:cubicBezTo>
                <a:cubicBezTo>
                  <a:pt x="741" y="92"/>
                  <a:pt x="741" y="92"/>
                  <a:pt x="741" y="92"/>
                </a:cubicBezTo>
                <a:close/>
                <a:moveTo>
                  <a:pt x="770" y="92"/>
                </a:moveTo>
                <a:cubicBezTo>
                  <a:pt x="770" y="92"/>
                  <a:pt x="770" y="92"/>
                  <a:pt x="771" y="92"/>
                </a:cubicBezTo>
                <a:cubicBezTo>
                  <a:pt x="770" y="92"/>
                  <a:pt x="770" y="92"/>
                  <a:pt x="770" y="92"/>
                </a:cubicBezTo>
                <a:close/>
                <a:moveTo>
                  <a:pt x="1290" y="55"/>
                </a:moveTo>
                <a:cubicBezTo>
                  <a:pt x="1290" y="55"/>
                  <a:pt x="1290" y="55"/>
                  <a:pt x="1290" y="56"/>
                </a:cubicBezTo>
                <a:cubicBezTo>
                  <a:pt x="1290" y="55"/>
                  <a:pt x="1290" y="55"/>
                  <a:pt x="1290" y="55"/>
                </a:cubicBezTo>
                <a:close/>
                <a:moveTo>
                  <a:pt x="646" y="60"/>
                </a:moveTo>
                <a:cubicBezTo>
                  <a:pt x="645" y="60"/>
                  <a:pt x="645" y="60"/>
                  <a:pt x="645" y="61"/>
                </a:cubicBezTo>
                <a:cubicBezTo>
                  <a:pt x="646" y="61"/>
                  <a:pt x="646" y="60"/>
                  <a:pt x="646" y="60"/>
                </a:cubicBezTo>
                <a:close/>
                <a:moveTo>
                  <a:pt x="675" y="60"/>
                </a:moveTo>
                <a:cubicBezTo>
                  <a:pt x="675" y="60"/>
                  <a:pt x="675" y="60"/>
                  <a:pt x="676" y="60"/>
                </a:cubicBezTo>
                <a:cubicBezTo>
                  <a:pt x="675" y="60"/>
                  <a:pt x="675" y="60"/>
                  <a:pt x="675" y="60"/>
                </a:cubicBezTo>
                <a:close/>
                <a:moveTo>
                  <a:pt x="1036" y="92"/>
                </a:moveTo>
                <a:cubicBezTo>
                  <a:pt x="1036" y="92"/>
                  <a:pt x="1036" y="92"/>
                  <a:pt x="1036" y="92"/>
                </a:cubicBezTo>
                <a:cubicBezTo>
                  <a:pt x="1036" y="92"/>
                  <a:pt x="1036" y="92"/>
                  <a:pt x="1036" y="92"/>
                </a:cubicBezTo>
                <a:close/>
                <a:moveTo>
                  <a:pt x="1052" y="92"/>
                </a:moveTo>
                <a:cubicBezTo>
                  <a:pt x="1052" y="92"/>
                  <a:pt x="1053" y="92"/>
                  <a:pt x="1053" y="92"/>
                </a:cubicBezTo>
                <a:cubicBezTo>
                  <a:pt x="1053" y="92"/>
                  <a:pt x="1053" y="92"/>
                  <a:pt x="1052" y="92"/>
                </a:cubicBezTo>
                <a:close/>
                <a:moveTo>
                  <a:pt x="1073" y="92"/>
                </a:moveTo>
                <a:cubicBezTo>
                  <a:pt x="1073" y="92"/>
                  <a:pt x="1073" y="92"/>
                  <a:pt x="1074" y="92"/>
                </a:cubicBezTo>
                <a:cubicBezTo>
                  <a:pt x="1073" y="92"/>
                  <a:pt x="1073" y="92"/>
                  <a:pt x="1073" y="92"/>
                </a:cubicBezTo>
                <a:close/>
                <a:moveTo>
                  <a:pt x="803" y="49"/>
                </a:moveTo>
                <a:cubicBezTo>
                  <a:pt x="803" y="49"/>
                  <a:pt x="803" y="49"/>
                  <a:pt x="803" y="49"/>
                </a:cubicBezTo>
                <a:cubicBezTo>
                  <a:pt x="803" y="49"/>
                  <a:pt x="803" y="49"/>
                  <a:pt x="803" y="49"/>
                </a:cubicBezTo>
                <a:close/>
                <a:moveTo>
                  <a:pt x="1214" y="92"/>
                </a:moveTo>
                <a:cubicBezTo>
                  <a:pt x="1214" y="92"/>
                  <a:pt x="1214" y="92"/>
                  <a:pt x="1213" y="92"/>
                </a:cubicBezTo>
                <a:cubicBezTo>
                  <a:pt x="1213" y="92"/>
                  <a:pt x="1214" y="92"/>
                  <a:pt x="1214" y="92"/>
                </a:cubicBezTo>
                <a:close/>
                <a:moveTo>
                  <a:pt x="1230" y="92"/>
                </a:moveTo>
                <a:cubicBezTo>
                  <a:pt x="1230" y="92"/>
                  <a:pt x="1230" y="92"/>
                  <a:pt x="1231" y="92"/>
                </a:cubicBezTo>
                <a:cubicBezTo>
                  <a:pt x="1231" y="92"/>
                  <a:pt x="1230" y="92"/>
                  <a:pt x="1230" y="92"/>
                </a:cubicBezTo>
                <a:close/>
                <a:moveTo>
                  <a:pt x="1251" y="92"/>
                </a:moveTo>
                <a:cubicBezTo>
                  <a:pt x="1251" y="92"/>
                  <a:pt x="1251" y="92"/>
                  <a:pt x="1251" y="92"/>
                </a:cubicBezTo>
                <a:cubicBezTo>
                  <a:pt x="1251" y="92"/>
                  <a:pt x="1251" y="92"/>
                  <a:pt x="1251" y="92"/>
                </a:cubicBezTo>
                <a:close/>
                <a:moveTo>
                  <a:pt x="1462" y="92"/>
                </a:moveTo>
                <a:cubicBezTo>
                  <a:pt x="1461" y="92"/>
                  <a:pt x="1461" y="92"/>
                  <a:pt x="1461" y="92"/>
                </a:cubicBezTo>
                <a:cubicBezTo>
                  <a:pt x="1462" y="92"/>
                  <a:pt x="1462" y="92"/>
                  <a:pt x="1462" y="92"/>
                </a:cubicBezTo>
                <a:close/>
                <a:moveTo>
                  <a:pt x="637" y="54"/>
                </a:moveTo>
                <a:cubicBezTo>
                  <a:pt x="637" y="54"/>
                  <a:pt x="637" y="54"/>
                  <a:pt x="637" y="53"/>
                </a:cubicBezTo>
                <a:cubicBezTo>
                  <a:pt x="637" y="54"/>
                  <a:pt x="637" y="54"/>
                  <a:pt x="637" y="54"/>
                </a:cubicBezTo>
                <a:close/>
                <a:moveTo>
                  <a:pt x="572" y="53"/>
                </a:moveTo>
                <a:cubicBezTo>
                  <a:pt x="572" y="54"/>
                  <a:pt x="573" y="54"/>
                  <a:pt x="573" y="54"/>
                </a:cubicBezTo>
                <a:cubicBezTo>
                  <a:pt x="573" y="54"/>
                  <a:pt x="573" y="53"/>
                  <a:pt x="572" y="53"/>
                </a:cubicBezTo>
                <a:close/>
                <a:moveTo>
                  <a:pt x="615" y="93"/>
                </a:moveTo>
                <a:cubicBezTo>
                  <a:pt x="615" y="93"/>
                  <a:pt x="615" y="92"/>
                  <a:pt x="615" y="92"/>
                </a:cubicBezTo>
                <a:cubicBezTo>
                  <a:pt x="615" y="92"/>
                  <a:pt x="615" y="93"/>
                  <a:pt x="615" y="93"/>
                </a:cubicBezTo>
                <a:close/>
                <a:moveTo>
                  <a:pt x="1498" y="11"/>
                </a:moveTo>
                <a:cubicBezTo>
                  <a:pt x="1499" y="11"/>
                  <a:pt x="1499" y="11"/>
                  <a:pt x="1499" y="10"/>
                </a:cubicBezTo>
                <a:cubicBezTo>
                  <a:pt x="1499" y="10"/>
                  <a:pt x="1498" y="10"/>
                  <a:pt x="1498" y="11"/>
                </a:cubicBezTo>
                <a:close/>
                <a:moveTo>
                  <a:pt x="684" y="92"/>
                </a:moveTo>
                <a:cubicBezTo>
                  <a:pt x="684" y="92"/>
                  <a:pt x="684" y="92"/>
                  <a:pt x="684" y="92"/>
                </a:cubicBezTo>
                <a:cubicBezTo>
                  <a:pt x="684" y="92"/>
                  <a:pt x="684" y="92"/>
                  <a:pt x="684" y="92"/>
                </a:cubicBezTo>
                <a:close/>
                <a:moveTo>
                  <a:pt x="740" y="93"/>
                </a:moveTo>
                <a:cubicBezTo>
                  <a:pt x="741" y="93"/>
                  <a:pt x="741" y="92"/>
                  <a:pt x="741" y="92"/>
                </a:cubicBezTo>
                <a:cubicBezTo>
                  <a:pt x="741" y="92"/>
                  <a:pt x="741" y="92"/>
                  <a:pt x="740" y="93"/>
                </a:cubicBezTo>
                <a:close/>
                <a:moveTo>
                  <a:pt x="771" y="92"/>
                </a:moveTo>
                <a:cubicBezTo>
                  <a:pt x="771" y="92"/>
                  <a:pt x="771" y="92"/>
                  <a:pt x="772" y="92"/>
                </a:cubicBezTo>
                <a:cubicBezTo>
                  <a:pt x="771" y="92"/>
                  <a:pt x="771" y="92"/>
                  <a:pt x="771" y="92"/>
                </a:cubicBezTo>
                <a:close/>
                <a:moveTo>
                  <a:pt x="1536" y="11"/>
                </a:moveTo>
                <a:cubicBezTo>
                  <a:pt x="1536" y="11"/>
                  <a:pt x="1536" y="11"/>
                  <a:pt x="1536" y="10"/>
                </a:cubicBezTo>
                <a:cubicBezTo>
                  <a:pt x="1536" y="10"/>
                  <a:pt x="1536" y="10"/>
                  <a:pt x="1536" y="11"/>
                </a:cubicBezTo>
                <a:close/>
                <a:moveTo>
                  <a:pt x="1367" y="61"/>
                </a:moveTo>
                <a:cubicBezTo>
                  <a:pt x="1368" y="60"/>
                  <a:pt x="1368" y="60"/>
                  <a:pt x="1368" y="60"/>
                </a:cubicBezTo>
                <a:cubicBezTo>
                  <a:pt x="1368" y="60"/>
                  <a:pt x="1367" y="60"/>
                  <a:pt x="1367" y="61"/>
                </a:cubicBezTo>
                <a:close/>
                <a:moveTo>
                  <a:pt x="1671" y="10"/>
                </a:moveTo>
                <a:cubicBezTo>
                  <a:pt x="1671" y="11"/>
                  <a:pt x="1672" y="11"/>
                  <a:pt x="1672" y="11"/>
                </a:cubicBezTo>
                <a:cubicBezTo>
                  <a:pt x="1672" y="10"/>
                  <a:pt x="1671" y="10"/>
                  <a:pt x="1671" y="10"/>
                </a:cubicBezTo>
                <a:close/>
                <a:moveTo>
                  <a:pt x="1053" y="92"/>
                </a:moveTo>
                <a:cubicBezTo>
                  <a:pt x="1053" y="92"/>
                  <a:pt x="1053" y="92"/>
                  <a:pt x="1054" y="92"/>
                </a:cubicBezTo>
                <a:cubicBezTo>
                  <a:pt x="1053" y="92"/>
                  <a:pt x="1053" y="92"/>
                  <a:pt x="1053" y="92"/>
                </a:cubicBezTo>
                <a:close/>
                <a:moveTo>
                  <a:pt x="1072" y="92"/>
                </a:moveTo>
                <a:cubicBezTo>
                  <a:pt x="1072" y="92"/>
                  <a:pt x="1072" y="92"/>
                  <a:pt x="1073" y="92"/>
                </a:cubicBezTo>
                <a:cubicBezTo>
                  <a:pt x="1072" y="92"/>
                  <a:pt x="1072" y="92"/>
                  <a:pt x="1072" y="92"/>
                </a:cubicBezTo>
                <a:close/>
                <a:moveTo>
                  <a:pt x="1704" y="11"/>
                </a:moveTo>
                <a:cubicBezTo>
                  <a:pt x="1704" y="11"/>
                  <a:pt x="1704" y="11"/>
                  <a:pt x="1705" y="10"/>
                </a:cubicBezTo>
                <a:cubicBezTo>
                  <a:pt x="1704" y="10"/>
                  <a:pt x="1704" y="10"/>
                  <a:pt x="1704" y="11"/>
                </a:cubicBezTo>
                <a:close/>
                <a:moveTo>
                  <a:pt x="1189" y="92"/>
                </a:moveTo>
                <a:cubicBezTo>
                  <a:pt x="1189" y="92"/>
                  <a:pt x="1189" y="93"/>
                  <a:pt x="1190" y="93"/>
                </a:cubicBezTo>
                <a:cubicBezTo>
                  <a:pt x="1190" y="92"/>
                  <a:pt x="1189" y="92"/>
                  <a:pt x="1189" y="92"/>
                </a:cubicBezTo>
                <a:close/>
                <a:moveTo>
                  <a:pt x="1201" y="92"/>
                </a:moveTo>
                <a:cubicBezTo>
                  <a:pt x="1201" y="92"/>
                  <a:pt x="1201" y="92"/>
                  <a:pt x="1201" y="92"/>
                </a:cubicBezTo>
                <a:cubicBezTo>
                  <a:pt x="1201" y="92"/>
                  <a:pt x="1201" y="92"/>
                  <a:pt x="1201" y="92"/>
                </a:cubicBezTo>
                <a:close/>
                <a:moveTo>
                  <a:pt x="1231" y="92"/>
                </a:moveTo>
                <a:cubicBezTo>
                  <a:pt x="1231" y="92"/>
                  <a:pt x="1231" y="92"/>
                  <a:pt x="1232" y="92"/>
                </a:cubicBezTo>
                <a:cubicBezTo>
                  <a:pt x="1231" y="92"/>
                  <a:pt x="1231" y="92"/>
                  <a:pt x="1231" y="92"/>
                </a:cubicBezTo>
                <a:close/>
                <a:moveTo>
                  <a:pt x="1250" y="92"/>
                </a:moveTo>
                <a:cubicBezTo>
                  <a:pt x="1250" y="92"/>
                  <a:pt x="1250" y="92"/>
                  <a:pt x="1250" y="92"/>
                </a:cubicBezTo>
                <a:cubicBezTo>
                  <a:pt x="1250" y="92"/>
                  <a:pt x="1250" y="92"/>
                  <a:pt x="1250" y="92"/>
                </a:cubicBezTo>
                <a:close/>
                <a:moveTo>
                  <a:pt x="1671" y="93"/>
                </a:moveTo>
                <a:cubicBezTo>
                  <a:pt x="1671" y="92"/>
                  <a:pt x="1671" y="92"/>
                  <a:pt x="1671" y="92"/>
                </a:cubicBezTo>
                <a:cubicBezTo>
                  <a:pt x="1670" y="92"/>
                  <a:pt x="1671" y="93"/>
                  <a:pt x="1671" y="93"/>
                </a:cubicBezTo>
                <a:close/>
                <a:moveTo>
                  <a:pt x="1684" y="92"/>
                </a:moveTo>
                <a:cubicBezTo>
                  <a:pt x="1684" y="92"/>
                  <a:pt x="1684" y="93"/>
                  <a:pt x="1684" y="93"/>
                </a:cubicBezTo>
                <a:cubicBezTo>
                  <a:pt x="1684" y="93"/>
                  <a:pt x="1684" y="92"/>
                  <a:pt x="1684" y="92"/>
                </a:cubicBezTo>
                <a:close/>
                <a:moveTo>
                  <a:pt x="585" y="92"/>
                </a:moveTo>
                <a:cubicBezTo>
                  <a:pt x="584" y="93"/>
                  <a:pt x="584" y="93"/>
                  <a:pt x="584" y="93"/>
                </a:cubicBezTo>
                <a:cubicBezTo>
                  <a:pt x="585" y="93"/>
                  <a:pt x="585" y="93"/>
                  <a:pt x="585" y="92"/>
                </a:cubicBezTo>
                <a:close/>
                <a:moveTo>
                  <a:pt x="633" y="92"/>
                </a:moveTo>
                <a:cubicBezTo>
                  <a:pt x="633" y="93"/>
                  <a:pt x="632" y="93"/>
                  <a:pt x="632" y="93"/>
                </a:cubicBezTo>
                <a:cubicBezTo>
                  <a:pt x="633" y="93"/>
                  <a:pt x="633" y="93"/>
                  <a:pt x="633" y="92"/>
                </a:cubicBezTo>
                <a:close/>
                <a:moveTo>
                  <a:pt x="1739" y="10"/>
                </a:moveTo>
                <a:cubicBezTo>
                  <a:pt x="1740" y="11"/>
                  <a:pt x="1740" y="11"/>
                  <a:pt x="1740" y="11"/>
                </a:cubicBezTo>
                <a:cubicBezTo>
                  <a:pt x="1740" y="10"/>
                  <a:pt x="1740" y="10"/>
                  <a:pt x="1739" y="10"/>
                </a:cubicBezTo>
                <a:close/>
                <a:moveTo>
                  <a:pt x="683" y="93"/>
                </a:moveTo>
                <a:cubicBezTo>
                  <a:pt x="683" y="93"/>
                  <a:pt x="683" y="93"/>
                  <a:pt x="683" y="93"/>
                </a:cubicBezTo>
                <a:cubicBezTo>
                  <a:pt x="683" y="92"/>
                  <a:pt x="683" y="92"/>
                  <a:pt x="683" y="93"/>
                </a:cubicBezTo>
                <a:close/>
                <a:moveTo>
                  <a:pt x="698" y="92"/>
                </a:moveTo>
                <a:cubicBezTo>
                  <a:pt x="697" y="93"/>
                  <a:pt x="697" y="93"/>
                  <a:pt x="697" y="93"/>
                </a:cubicBezTo>
                <a:cubicBezTo>
                  <a:pt x="697" y="93"/>
                  <a:pt x="698" y="93"/>
                  <a:pt x="698" y="92"/>
                </a:cubicBezTo>
                <a:close/>
                <a:moveTo>
                  <a:pt x="976" y="11"/>
                </a:moveTo>
                <a:cubicBezTo>
                  <a:pt x="976" y="11"/>
                  <a:pt x="977" y="11"/>
                  <a:pt x="977" y="11"/>
                </a:cubicBezTo>
                <a:cubicBezTo>
                  <a:pt x="976" y="11"/>
                  <a:pt x="976" y="11"/>
                  <a:pt x="976" y="11"/>
                </a:cubicBezTo>
                <a:close/>
                <a:moveTo>
                  <a:pt x="730" y="92"/>
                </a:moveTo>
                <a:cubicBezTo>
                  <a:pt x="730" y="93"/>
                  <a:pt x="730" y="93"/>
                  <a:pt x="730" y="93"/>
                </a:cubicBezTo>
                <a:cubicBezTo>
                  <a:pt x="730" y="93"/>
                  <a:pt x="730" y="92"/>
                  <a:pt x="730" y="92"/>
                </a:cubicBezTo>
                <a:close/>
                <a:moveTo>
                  <a:pt x="740" y="93"/>
                </a:moveTo>
                <a:cubicBezTo>
                  <a:pt x="740" y="93"/>
                  <a:pt x="740" y="93"/>
                  <a:pt x="740" y="93"/>
                </a:cubicBezTo>
                <a:cubicBezTo>
                  <a:pt x="740" y="92"/>
                  <a:pt x="740" y="93"/>
                  <a:pt x="740" y="93"/>
                </a:cubicBezTo>
                <a:close/>
                <a:moveTo>
                  <a:pt x="1290" y="56"/>
                </a:moveTo>
                <a:cubicBezTo>
                  <a:pt x="1289" y="56"/>
                  <a:pt x="1289" y="56"/>
                  <a:pt x="1289" y="57"/>
                </a:cubicBezTo>
                <a:cubicBezTo>
                  <a:pt x="1290" y="56"/>
                  <a:pt x="1290" y="56"/>
                  <a:pt x="1290" y="56"/>
                </a:cubicBezTo>
                <a:close/>
                <a:moveTo>
                  <a:pt x="909" y="42"/>
                </a:moveTo>
                <a:cubicBezTo>
                  <a:pt x="909" y="42"/>
                  <a:pt x="909" y="43"/>
                  <a:pt x="909" y="43"/>
                </a:cubicBezTo>
                <a:cubicBezTo>
                  <a:pt x="909" y="42"/>
                  <a:pt x="909" y="42"/>
                  <a:pt x="909" y="42"/>
                </a:cubicBezTo>
                <a:close/>
                <a:moveTo>
                  <a:pt x="1081" y="42"/>
                </a:moveTo>
                <a:cubicBezTo>
                  <a:pt x="1081" y="42"/>
                  <a:pt x="1082" y="43"/>
                  <a:pt x="1082" y="43"/>
                </a:cubicBezTo>
                <a:cubicBezTo>
                  <a:pt x="1082" y="42"/>
                  <a:pt x="1082" y="42"/>
                  <a:pt x="1081" y="42"/>
                </a:cubicBezTo>
                <a:close/>
                <a:moveTo>
                  <a:pt x="609" y="48"/>
                </a:moveTo>
                <a:cubicBezTo>
                  <a:pt x="609" y="48"/>
                  <a:pt x="609" y="49"/>
                  <a:pt x="609" y="49"/>
                </a:cubicBezTo>
                <a:cubicBezTo>
                  <a:pt x="609" y="48"/>
                  <a:pt x="609" y="48"/>
                  <a:pt x="609" y="48"/>
                </a:cubicBezTo>
                <a:close/>
                <a:moveTo>
                  <a:pt x="600" y="56"/>
                </a:moveTo>
                <a:cubicBezTo>
                  <a:pt x="600" y="55"/>
                  <a:pt x="600" y="55"/>
                  <a:pt x="600" y="55"/>
                </a:cubicBezTo>
                <a:cubicBezTo>
                  <a:pt x="600" y="55"/>
                  <a:pt x="600" y="55"/>
                  <a:pt x="600" y="56"/>
                </a:cubicBezTo>
                <a:close/>
                <a:moveTo>
                  <a:pt x="1054" y="93"/>
                </a:moveTo>
                <a:cubicBezTo>
                  <a:pt x="1054" y="93"/>
                  <a:pt x="1054" y="93"/>
                  <a:pt x="1055" y="93"/>
                </a:cubicBezTo>
                <a:cubicBezTo>
                  <a:pt x="1054" y="92"/>
                  <a:pt x="1054" y="92"/>
                  <a:pt x="1054" y="93"/>
                </a:cubicBezTo>
                <a:close/>
                <a:moveTo>
                  <a:pt x="1672" y="11"/>
                </a:moveTo>
                <a:cubicBezTo>
                  <a:pt x="1672" y="11"/>
                  <a:pt x="1672" y="11"/>
                  <a:pt x="1673" y="11"/>
                </a:cubicBezTo>
                <a:cubicBezTo>
                  <a:pt x="1672" y="11"/>
                  <a:pt x="1672" y="11"/>
                  <a:pt x="1672" y="11"/>
                </a:cubicBezTo>
                <a:close/>
                <a:moveTo>
                  <a:pt x="1190" y="93"/>
                </a:moveTo>
                <a:cubicBezTo>
                  <a:pt x="1190" y="93"/>
                  <a:pt x="1190" y="93"/>
                  <a:pt x="1190" y="93"/>
                </a:cubicBezTo>
                <a:cubicBezTo>
                  <a:pt x="1190" y="93"/>
                  <a:pt x="1190" y="92"/>
                  <a:pt x="1190" y="93"/>
                </a:cubicBezTo>
                <a:close/>
                <a:moveTo>
                  <a:pt x="1200" y="93"/>
                </a:moveTo>
                <a:cubicBezTo>
                  <a:pt x="1200" y="93"/>
                  <a:pt x="1200" y="93"/>
                  <a:pt x="1201" y="92"/>
                </a:cubicBezTo>
                <a:cubicBezTo>
                  <a:pt x="1200" y="92"/>
                  <a:pt x="1200" y="93"/>
                  <a:pt x="1200" y="93"/>
                </a:cubicBezTo>
                <a:close/>
                <a:moveTo>
                  <a:pt x="1232" y="93"/>
                </a:moveTo>
                <a:cubicBezTo>
                  <a:pt x="1232" y="93"/>
                  <a:pt x="1232" y="93"/>
                  <a:pt x="1233" y="93"/>
                </a:cubicBezTo>
                <a:cubicBezTo>
                  <a:pt x="1232" y="92"/>
                  <a:pt x="1232" y="92"/>
                  <a:pt x="1232" y="93"/>
                </a:cubicBezTo>
                <a:close/>
                <a:moveTo>
                  <a:pt x="547" y="11"/>
                </a:moveTo>
                <a:cubicBezTo>
                  <a:pt x="547" y="11"/>
                  <a:pt x="547" y="11"/>
                  <a:pt x="548" y="11"/>
                </a:cubicBezTo>
                <a:cubicBezTo>
                  <a:pt x="547" y="11"/>
                  <a:pt x="547" y="11"/>
                  <a:pt x="547" y="11"/>
                </a:cubicBezTo>
                <a:close/>
                <a:moveTo>
                  <a:pt x="1671" y="56"/>
                </a:moveTo>
                <a:cubicBezTo>
                  <a:pt x="1671" y="56"/>
                  <a:pt x="1670" y="56"/>
                  <a:pt x="1670" y="56"/>
                </a:cubicBezTo>
                <a:cubicBezTo>
                  <a:pt x="1670" y="56"/>
                  <a:pt x="1671" y="56"/>
                  <a:pt x="1671" y="56"/>
                </a:cubicBezTo>
                <a:close/>
                <a:moveTo>
                  <a:pt x="975" y="11"/>
                </a:moveTo>
                <a:cubicBezTo>
                  <a:pt x="976" y="11"/>
                  <a:pt x="976" y="11"/>
                  <a:pt x="976" y="11"/>
                </a:cubicBezTo>
                <a:cubicBezTo>
                  <a:pt x="976" y="11"/>
                  <a:pt x="975" y="11"/>
                  <a:pt x="975" y="11"/>
                </a:cubicBezTo>
                <a:close/>
                <a:moveTo>
                  <a:pt x="1497" y="11"/>
                </a:moveTo>
                <a:cubicBezTo>
                  <a:pt x="1497" y="11"/>
                  <a:pt x="1498" y="11"/>
                  <a:pt x="1498" y="11"/>
                </a:cubicBezTo>
                <a:cubicBezTo>
                  <a:pt x="1498" y="11"/>
                  <a:pt x="1497" y="11"/>
                  <a:pt x="1497" y="11"/>
                </a:cubicBezTo>
                <a:close/>
                <a:moveTo>
                  <a:pt x="730" y="93"/>
                </a:moveTo>
                <a:cubicBezTo>
                  <a:pt x="731" y="93"/>
                  <a:pt x="731" y="93"/>
                  <a:pt x="731" y="93"/>
                </a:cubicBezTo>
                <a:cubicBezTo>
                  <a:pt x="731" y="93"/>
                  <a:pt x="731" y="93"/>
                  <a:pt x="730" y="93"/>
                </a:cubicBezTo>
                <a:close/>
                <a:moveTo>
                  <a:pt x="739" y="93"/>
                </a:moveTo>
                <a:cubicBezTo>
                  <a:pt x="739" y="93"/>
                  <a:pt x="740" y="93"/>
                  <a:pt x="740" y="93"/>
                </a:cubicBezTo>
                <a:cubicBezTo>
                  <a:pt x="739" y="93"/>
                  <a:pt x="739" y="93"/>
                  <a:pt x="739" y="93"/>
                </a:cubicBezTo>
                <a:close/>
                <a:moveTo>
                  <a:pt x="1535" y="11"/>
                </a:moveTo>
                <a:cubicBezTo>
                  <a:pt x="1535" y="11"/>
                  <a:pt x="1535" y="11"/>
                  <a:pt x="1535" y="11"/>
                </a:cubicBezTo>
                <a:cubicBezTo>
                  <a:pt x="1535" y="11"/>
                  <a:pt x="1535" y="11"/>
                  <a:pt x="1535" y="11"/>
                </a:cubicBezTo>
                <a:close/>
                <a:moveTo>
                  <a:pt x="676" y="60"/>
                </a:moveTo>
                <a:cubicBezTo>
                  <a:pt x="676" y="61"/>
                  <a:pt x="676" y="61"/>
                  <a:pt x="676" y="61"/>
                </a:cubicBezTo>
                <a:cubicBezTo>
                  <a:pt x="676" y="61"/>
                  <a:pt x="676" y="60"/>
                  <a:pt x="676" y="60"/>
                </a:cubicBezTo>
                <a:close/>
                <a:moveTo>
                  <a:pt x="650" y="49"/>
                </a:moveTo>
                <a:cubicBezTo>
                  <a:pt x="650" y="49"/>
                  <a:pt x="650" y="49"/>
                  <a:pt x="650" y="49"/>
                </a:cubicBezTo>
                <a:cubicBezTo>
                  <a:pt x="650" y="49"/>
                  <a:pt x="650" y="49"/>
                  <a:pt x="650" y="49"/>
                </a:cubicBezTo>
                <a:close/>
                <a:moveTo>
                  <a:pt x="1746" y="48"/>
                </a:moveTo>
                <a:cubicBezTo>
                  <a:pt x="1746" y="48"/>
                  <a:pt x="1746" y="48"/>
                  <a:pt x="1746" y="48"/>
                </a:cubicBezTo>
                <a:cubicBezTo>
                  <a:pt x="1746" y="48"/>
                  <a:pt x="1746" y="48"/>
                  <a:pt x="1746" y="48"/>
                </a:cubicBezTo>
                <a:close/>
                <a:moveTo>
                  <a:pt x="1572" y="11"/>
                </a:moveTo>
                <a:cubicBezTo>
                  <a:pt x="1572" y="11"/>
                  <a:pt x="1573" y="11"/>
                  <a:pt x="1573" y="11"/>
                </a:cubicBezTo>
                <a:cubicBezTo>
                  <a:pt x="1573" y="11"/>
                  <a:pt x="1573" y="11"/>
                  <a:pt x="1572" y="11"/>
                </a:cubicBezTo>
                <a:close/>
                <a:moveTo>
                  <a:pt x="670" y="56"/>
                </a:moveTo>
                <a:cubicBezTo>
                  <a:pt x="670" y="56"/>
                  <a:pt x="670" y="56"/>
                  <a:pt x="671" y="56"/>
                </a:cubicBezTo>
                <a:cubicBezTo>
                  <a:pt x="671" y="56"/>
                  <a:pt x="671" y="56"/>
                  <a:pt x="670" y="56"/>
                </a:cubicBezTo>
                <a:close/>
                <a:moveTo>
                  <a:pt x="1190" y="93"/>
                </a:moveTo>
                <a:cubicBezTo>
                  <a:pt x="1191" y="93"/>
                  <a:pt x="1191" y="93"/>
                  <a:pt x="1191" y="93"/>
                </a:cubicBezTo>
                <a:cubicBezTo>
                  <a:pt x="1191" y="93"/>
                  <a:pt x="1191" y="93"/>
                  <a:pt x="1190" y="93"/>
                </a:cubicBezTo>
                <a:close/>
                <a:moveTo>
                  <a:pt x="1199" y="93"/>
                </a:moveTo>
                <a:cubicBezTo>
                  <a:pt x="1199" y="93"/>
                  <a:pt x="1199" y="93"/>
                  <a:pt x="1200" y="93"/>
                </a:cubicBezTo>
                <a:cubicBezTo>
                  <a:pt x="1199" y="93"/>
                  <a:pt x="1199" y="93"/>
                  <a:pt x="1199" y="93"/>
                </a:cubicBezTo>
                <a:close/>
                <a:moveTo>
                  <a:pt x="1703" y="11"/>
                </a:moveTo>
                <a:cubicBezTo>
                  <a:pt x="1703" y="11"/>
                  <a:pt x="1703" y="11"/>
                  <a:pt x="1704" y="11"/>
                </a:cubicBezTo>
                <a:cubicBezTo>
                  <a:pt x="1703" y="11"/>
                  <a:pt x="1703" y="11"/>
                  <a:pt x="1703" y="11"/>
                </a:cubicBezTo>
                <a:close/>
                <a:moveTo>
                  <a:pt x="1290" y="43"/>
                </a:moveTo>
                <a:cubicBezTo>
                  <a:pt x="1291" y="43"/>
                  <a:pt x="1291" y="42"/>
                  <a:pt x="1291" y="42"/>
                </a:cubicBezTo>
                <a:cubicBezTo>
                  <a:pt x="1290" y="42"/>
                  <a:pt x="1290" y="42"/>
                  <a:pt x="1290" y="43"/>
                </a:cubicBezTo>
                <a:close/>
                <a:moveTo>
                  <a:pt x="1671" y="94"/>
                </a:moveTo>
                <a:cubicBezTo>
                  <a:pt x="1671" y="93"/>
                  <a:pt x="1671" y="93"/>
                  <a:pt x="1671" y="93"/>
                </a:cubicBezTo>
                <a:cubicBezTo>
                  <a:pt x="1671" y="93"/>
                  <a:pt x="1671" y="93"/>
                  <a:pt x="1671" y="94"/>
                </a:cubicBezTo>
                <a:close/>
                <a:moveTo>
                  <a:pt x="1684" y="93"/>
                </a:moveTo>
                <a:cubicBezTo>
                  <a:pt x="1684" y="93"/>
                  <a:pt x="1684" y="93"/>
                  <a:pt x="1684" y="94"/>
                </a:cubicBezTo>
                <a:cubicBezTo>
                  <a:pt x="1684" y="93"/>
                  <a:pt x="1684" y="93"/>
                  <a:pt x="1684" y="93"/>
                </a:cubicBezTo>
                <a:close/>
                <a:moveTo>
                  <a:pt x="615" y="94"/>
                </a:moveTo>
                <a:cubicBezTo>
                  <a:pt x="615" y="94"/>
                  <a:pt x="615" y="93"/>
                  <a:pt x="615" y="93"/>
                </a:cubicBezTo>
                <a:cubicBezTo>
                  <a:pt x="615" y="93"/>
                  <a:pt x="615" y="94"/>
                  <a:pt x="615" y="94"/>
                </a:cubicBezTo>
                <a:close/>
                <a:moveTo>
                  <a:pt x="975" y="12"/>
                </a:moveTo>
                <a:cubicBezTo>
                  <a:pt x="975" y="12"/>
                  <a:pt x="975" y="12"/>
                  <a:pt x="975" y="11"/>
                </a:cubicBezTo>
                <a:cubicBezTo>
                  <a:pt x="975" y="11"/>
                  <a:pt x="975" y="11"/>
                  <a:pt x="975" y="12"/>
                </a:cubicBezTo>
                <a:close/>
                <a:moveTo>
                  <a:pt x="1551" y="61"/>
                </a:moveTo>
                <a:cubicBezTo>
                  <a:pt x="1551" y="61"/>
                  <a:pt x="1552" y="61"/>
                  <a:pt x="1552" y="60"/>
                </a:cubicBezTo>
                <a:cubicBezTo>
                  <a:pt x="1551" y="60"/>
                  <a:pt x="1551" y="61"/>
                  <a:pt x="1551" y="61"/>
                </a:cubicBezTo>
                <a:close/>
                <a:moveTo>
                  <a:pt x="596" y="43"/>
                </a:moveTo>
                <a:cubicBezTo>
                  <a:pt x="596" y="43"/>
                  <a:pt x="596" y="42"/>
                  <a:pt x="595" y="42"/>
                </a:cubicBezTo>
                <a:cubicBezTo>
                  <a:pt x="595" y="43"/>
                  <a:pt x="595" y="43"/>
                  <a:pt x="596" y="43"/>
                </a:cubicBezTo>
                <a:close/>
                <a:moveTo>
                  <a:pt x="614" y="61"/>
                </a:moveTo>
                <a:cubicBezTo>
                  <a:pt x="614" y="61"/>
                  <a:pt x="614" y="61"/>
                  <a:pt x="614" y="62"/>
                </a:cubicBezTo>
                <a:cubicBezTo>
                  <a:pt x="614" y="61"/>
                  <a:pt x="614" y="61"/>
                  <a:pt x="614" y="61"/>
                </a:cubicBezTo>
                <a:close/>
                <a:moveTo>
                  <a:pt x="1673" y="11"/>
                </a:moveTo>
                <a:cubicBezTo>
                  <a:pt x="1673" y="12"/>
                  <a:pt x="1673" y="12"/>
                  <a:pt x="1674" y="12"/>
                </a:cubicBezTo>
                <a:cubicBezTo>
                  <a:pt x="1673" y="11"/>
                  <a:pt x="1673" y="11"/>
                  <a:pt x="1673" y="11"/>
                </a:cubicBezTo>
                <a:close/>
                <a:moveTo>
                  <a:pt x="676" y="61"/>
                </a:moveTo>
                <a:cubicBezTo>
                  <a:pt x="676" y="61"/>
                  <a:pt x="677" y="61"/>
                  <a:pt x="677" y="61"/>
                </a:cubicBezTo>
                <a:cubicBezTo>
                  <a:pt x="677" y="61"/>
                  <a:pt x="677" y="61"/>
                  <a:pt x="676" y="61"/>
                </a:cubicBezTo>
                <a:close/>
                <a:moveTo>
                  <a:pt x="1393" y="49"/>
                </a:moveTo>
                <a:cubicBezTo>
                  <a:pt x="1393" y="49"/>
                  <a:pt x="1393" y="49"/>
                  <a:pt x="1393" y="49"/>
                </a:cubicBezTo>
                <a:cubicBezTo>
                  <a:pt x="1393" y="49"/>
                  <a:pt x="1393" y="49"/>
                  <a:pt x="1393" y="49"/>
                </a:cubicBezTo>
                <a:close/>
                <a:moveTo>
                  <a:pt x="1291" y="52"/>
                </a:moveTo>
                <a:cubicBezTo>
                  <a:pt x="1291" y="52"/>
                  <a:pt x="1291" y="52"/>
                  <a:pt x="1291" y="52"/>
                </a:cubicBezTo>
                <a:cubicBezTo>
                  <a:pt x="1291" y="52"/>
                  <a:pt x="1291" y="52"/>
                  <a:pt x="1291" y="52"/>
                </a:cubicBezTo>
                <a:close/>
                <a:moveTo>
                  <a:pt x="1176" y="94"/>
                </a:moveTo>
                <a:cubicBezTo>
                  <a:pt x="1176" y="94"/>
                  <a:pt x="1176" y="93"/>
                  <a:pt x="1176" y="93"/>
                </a:cubicBezTo>
                <a:cubicBezTo>
                  <a:pt x="1176" y="93"/>
                  <a:pt x="1176" y="94"/>
                  <a:pt x="1176" y="94"/>
                </a:cubicBezTo>
                <a:close/>
                <a:moveTo>
                  <a:pt x="974" y="12"/>
                </a:moveTo>
                <a:cubicBezTo>
                  <a:pt x="974" y="12"/>
                  <a:pt x="975" y="12"/>
                  <a:pt x="975" y="12"/>
                </a:cubicBezTo>
                <a:cubicBezTo>
                  <a:pt x="974" y="12"/>
                  <a:pt x="974" y="12"/>
                  <a:pt x="974" y="12"/>
                </a:cubicBezTo>
                <a:close/>
                <a:moveTo>
                  <a:pt x="1350" y="12"/>
                </a:moveTo>
                <a:cubicBezTo>
                  <a:pt x="1350" y="12"/>
                  <a:pt x="1350" y="12"/>
                  <a:pt x="1350" y="12"/>
                </a:cubicBezTo>
                <a:cubicBezTo>
                  <a:pt x="1350" y="12"/>
                  <a:pt x="1350" y="12"/>
                  <a:pt x="1350" y="12"/>
                </a:cubicBezTo>
                <a:close/>
                <a:moveTo>
                  <a:pt x="603" y="62"/>
                </a:moveTo>
                <a:cubicBezTo>
                  <a:pt x="603" y="62"/>
                  <a:pt x="603" y="61"/>
                  <a:pt x="603" y="61"/>
                </a:cubicBezTo>
                <a:cubicBezTo>
                  <a:pt x="603" y="61"/>
                  <a:pt x="603" y="62"/>
                  <a:pt x="603" y="62"/>
                </a:cubicBezTo>
                <a:close/>
                <a:moveTo>
                  <a:pt x="634" y="62"/>
                </a:moveTo>
                <a:cubicBezTo>
                  <a:pt x="635" y="62"/>
                  <a:pt x="635" y="61"/>
                  <a:pt x="635" y="61"/>
                </a:cubicBezTo>
                <a:cubicBezTo>
                  <a:pt x="634" y="61"/>
                  <a:pt x="634" y="62"/>
                  <a:pt x="634" y="62"/>
                </a:cubicBezTo>
                <a:close/>
                <a:moveTo>
                  <a:pt x="677" y="61"/>
                </a:moveTo>
                <a:cubicBezTo>
                  <a:pt x="677" y="61"/>
                  <a:pt x="677" y="62"/>
                  <a:pt x="678" y="62"/>
                </a:cubicBezTo>
                <a:cubicBezTo>
                  <a:pt x="678" y="61"/>
                  <a:pt x="677" y="61"/>
                  <a:pt x="677" y="61"/>
                </a:cubicBezTo>
                <a:close/>
                <a:moveTo>
                  <a:pt x="1461" y="93"/>
                </a:moveTo>
                <a:cubicBezTo>
                  <a:pt x="1460" y="93"/>
                  <a:pt x="1460" y="94"/>
                  <a:pt x="1460" y="94"/>
                </a:cubicBezTo>
                <a:cubicBezTo>
                  <a:pt x="1460" y="94"/>
                  <a:pt x="1461" y="93"/>
                  <a:pt x="1461" y="93"/>
                </a:cubicBezTo>
                <a:close/>
                <a:moveTo>
                  <a:pt x="632" y="93"/>
                </a:moveTo>
                <a:cubicBezTo>
                  <a:pt x="632" y="94"/>
                  <a:pt x="632" y="94"/>
                  <a:pt x="632" y="94"/>
                </a:cubicBezTo>
                <a:cubicBezTo>
                  <a:pt x="632" y="94"/>
                  <a:pt x="632" y="94"/>
                  <a:pt x="632" y="93"/>
                </a:cubicBezTo>
                <a:close/>
                <a:moveTo>
                  <a:pt x="1578" y="48"/>
                </a:moveTo>
                <a:cubicBezTo>
                  <a:pt x="1578" y="48"/>
                  <a:pt x="1578" y="48"/>
                  <a:pt x="1577" y="48"/>
                </a:cubicBezTo>
                <a:cubicBezTo>
                  <a:pt x="1578" y="48"/>
                  <a:pt x="1578" y="48"/>
                  <a:pt x="1578" y="48"/>
                </a:cubicBezTo>
                <a:close/>
                <a:moveTo>
                  <a:pt x="697" y="94"/>
                </a:moveTo>
                <a:cubicBezTo>
                  <a:pt x="697" y="94"/>
                  <a:pt x="696" y="94"/>
                  <a:pt x="696" y="94"/>
                </a:cubicBezTo>
                <a:cubicBezTo>
                  <a:pt x="697" y="94"/>
                  <a:pt x="697" y="94"/>
                  <a:pt x="697" y="94"/>
                </a:cubicBezTo>
                <a:close/>
                <a:moveTo>
                  <a:pt x="716" y="94"/>
                </a:moveTo>
                <a:cubicBezTo>
                  <a:pt x="716" y="94"/>
                  <a:pt x="716" y="94"/>
                  <a:pt x="716" y="93"/>
                </a:cubicBezTo>
                <a:cubicBezTo>
                  <a:pt x="716" y="94"/>
                  <a:pt x="716" y="94"/>
                  <a:pt x="716" y="94"/>
                </a:cubicBezTo>
                <a:close/>
                <a:moveTo>
                  <a:pt x="1143" y="52"/>
                </a:moveTo>
                <a:cubicBezTo>
                  <a:pt x="1143" y="52"/>
                  <a:pt x="1143" y="52"/>
                  <a:pt x="1142" y="52"/>
                </a:cubicBezTo>
                <a:cubicBezTo>
                  <a:pt x="1142" y="52"/>
                  <a:pt x="1142" y="52"/>
                  <a:pt x="1143" y="52"/>
                </a:cubicBezTo>
                <a:close/>
                <a:moveTo>
                  <a:pt x="1113" y="52"/>
                </a:moveTo>
                <a:cubicBezTo>
                  <a:pt x="1113" y="52"/>
                  <a:pt x="1112" y="52"/>
                  <a:pt x="1112" y="52"/>
                </a:cubicBezTo>
                <a:cubicBezTo>
                  <a:pt x="1113" y="52"/>
                  <a:pt x="1113" y="52"/>
                  <a:pt x="1113" y="52"/>
                </a:cubicBezTo>
                <a:close/>
                <a:moveTo>
                  <a:pt x="598" y="49"/>
                </a:moveTo>
                <a:cubicBezTo>
                  <a:pt x="598" y="49"/>
                  <a:pt x="598" y="49"/>
                  <a:pt x="598" y="49"/>
                </a:cubicBezTo>
                <a:cubicBezTo>
                  <a:pt x="598" y="49"/>
                  <a:pt x="598" y="49"/>
                  <a:pt x="598" y="49"/>
                </a:cubicBezTo>
                <a:close/>
                <a:moveTo>
                  <a:pt x="1496" y="12"/>
                </a:moveTo>
                <a:cubicBezTo>
                  <a:pt x="1496" y="12"/>
                  <a:pt x="1497" y="12"/>
                  <a:pt x="1497" y="12"/>
                </a:cubicBezTo>
                <a:cubicBezTo>
                  <a:pt x="1496" y="12"/>
                  <a:pt x="1496" y="12"/>
                  <a:pt x="1496" y="12"/>
                </a:cubicBezTo>
                <a:close/>
                <a:moveTo>
                  <a:pt x="1674" y="12"/>
                </a:moveTo>
                <a:cubicBezTo>
                  <a:pt x="1674" y="12"/>
                  <a:pt x="1674" y="12"/>
                  <a:pt x="1674" y="12"/>
                </a:cubicBezTo>
                <a:cubicBezTo>
                  <a:pt x="1674" y="12"/>
                  <a:pt x="1674" y="12"/>
                  <a:pt x="1674" y="12"/>
                </a:cubicBezTo>
                <a:close/>
                <a:moveTo>
                  <a:pt x="1209" y="55"/>
                </a:moveTo>
                <a:cubicBezTo>
                  <a:pt x="1209" y="55"/>
                  <a:pt x="1209" y="54"/>
                  <a:pt x="1209" y="54"/>
                </a:cubicBezTo>
                <a:cubicBezTo>
                  <a:pt x="1209" y="54"/>
                  <a:pt x="1209" y="55"/>
                  <a:pt x="1209" y="55"/>
                </a:cubicBezTo>
                <a:close/>
                <a:moveTo>
                  <a:pt x="1671" y="94"/>
                </a:moveTo>
                <a:cubicBezTo>
                  <a:pt x="1672" y="94"/>
                  <a:pt x="1671" y="94"/>
                  <a:pt x="1671" y="94"/>
                </a:cubicBezTo>
                <a:cubicBezTo>
                  <a:pt x="1671" y="94"/>
                  <a:pt x="1671" y="94"/>
                  <a:pt x="1671" y="94"/>
                </a:cubicBezTo>
                <a:close/>
                <a:moveTo>
                  <a:pt x="1684" y="94"/>
                </a:moveTo>
                <a:cubicBezTo>
                  <a:pt x="1684" y="94"/>
                  <a:pt x="1684" y="94"/>
                  <a:pt x="1685" y="94"/>
                </a:cubicBezTo>
                <a:cubicBezTo>
                  <a:pt x="1685" y="94"/>
                  <a:pt x="1685" y="94"/>
                  <a:pt x="1684" y="94"/>
                </a:cubicBezTo>
                <a:close/>
                <a:moveTo>
                  <a:pt x="616" y="95"/>
                </a:moveTo>
                <a:cubicBezTo>
                  <a:pt x="616" y="94"/>
                  <a:pt x="616" y="94"/>
                  <a:pt x="615" y="94"/>
                </a:cubicBezTo>
                <a:cubicBezTo>
                  <a:pt x="615" y="94"/>
                  <a:pt x="615" y="94"/>
                  <a:pt x="616" y="95"/>
                </a:cubicBezTo>
                <a:close/>
                <a:moveTo>
                  <a:pt x="632" y="94"/>
                </a:moveTo>
                <a:cubicBezTo>
                  <a:pt x="632" y="94"/>
                  <a:pt x="632" y="95"/>
                  <a:pt x="632" y="95"/>
                </a:cubicBezTo>
                <a:cubicBezTo>
                  <a:pt x="632" y="95"/>
                  <a:pt x="632" y="94"/>
                  <a:pt x="632" y="94"/>
                </a:cubicBezTo>
                <a:close/>
                <a:moveTo>
                  <a:pt x="717" y="95"/>
                </a:moveTo>
                <a:cubicBezTo>
                  <a:pt x="717" y="95"/>
                  <a:pt x="717" y="94"/>
                  <a:pt x="716" y="94"/>
                </a:cubicBezTo>
                <a:cubicBezTo>
                  <a:pt x="716" y="94"/>
                  <a:pt x="716" y="95"/>
                  <a:pt x="717" y="95"/>
                </a:cubicBezTo>
                <a:close/>
                <a:moveTo>
                  <a:pt x="1177" y="95"/>
                </a:moveTo>
                <a:cubicBezTo>
                  <a:pt x="1177" y="95"/>
                  <a:pt x="1177" y="94"/>
                  <a:pt x="1176" y="94"/>
                </a:cubicBezTo>
                <a:cubicBezTo>
                  <a:pt x="1176" y="94"/>
                  <a:pt x="1176" y="95"/>
                  <a:pt x="1177" y="95"/>
                </a:cubicBezTo>
                <a:close/>
                <a:moveTo>
                  <a:pt x="866" y="42"/>
                </a:moveTo>
                <a:cubicBezTo>
                  <a:pt x="866" y="43"/>
                  <a:pt x="866" y="43"/>
                  <a:pt x="867" y="43"/>
                </a:cubicBezTo>
                <a:cubicBezTo>
                  <a:pt x="867" y="43"/>
                  <a:pt x="867" y="42"/>
                  <a:pt x="866" y="42"/>
                </a:cubicBezTo>
                <a:close/>
                <a:moveTo>
                  <a:pt x="1685" y="94"/>
                </a:moveTo>
                <a:cubicBezTo>
                  <a:pt x="1685" y="95"/>
                  <a:pt x="1685" y="95"/>
                  <a:pt x="1685" y="95"/>
                </a:cubicBezTo>
                <a:cubicBezTo>
                  <a:pt x="1685" y="95"/>
                  <a:pt x="1685" y="94"/>
                  <a:pt x="1685" y="94"/>
                </a:cubicBezTo>
                <a:close/>
                <a:moveTo>
                  <a:pt x="968" y="95"/>
                </a:moveTo>
                <a:cubicBezTo>
                  <a:pt x="968" y="95"/>
                  <a:pt x="968" y="95"/>
                  <a:pt x="967" y="94"/>
                </a:cubicBezTo>
                <a:cubicBezTo>
                  <a:pt x="967" y="95"/>
                  <a:pt x="968" y="95"/>
                  <a:pt x="968" y="95"/>
                </a:cubicBezTo>
                <a:close/>
                <a:moveTo>
                  <a:pt x="1672" y="95"/>
                </a:moveTo>
                <a:cubicBezTo>
                  <a:pt x="1672" y="95"/>
                  <a:pt x="1672" y="95"/>
                  <a:pt x="1672" y="94"/>
                </a:cubicBezTo>
                <a:cubicBezTo>
                  <a:pt x="1672" y="95"/>
                  <a:pt x="1672" y="95"/>
                  <a:pt x="1672" y="95"/>
                </a:cubicBezTo>
                <a:close/>
                <a:moveTo>
                  <a:pt x="616" y="96"/>
                </a:moveTo>
                <a:cubicBezTo>
                  <a:pt x="616" y="95"/>
                  <a:pt x="616" y="95"/>
                  <a:pt x="616" y="95"/>
                </a:cubicBezTo>
                <a:cubicBezTo>
                  <a:pt x="616" y="95"/>
                  <a:pt x="616" y="95"/>
                  <a:pt x="616" y="96"/>
                </a:cubicBezTo>
                <a:close/>
                <a:moveTo>
                  <a:pt x="873" y="52"/>
                </a:moveTo>
                <a:cubicBezTo>
                  <a:pt x="872" y="53"/>
                  <a:pt x="872" y="53"/>
                  <a:pt x="872" y="53"/>
                </a:cubicBezTo>
                <a:cubicBezTo>
                  <a:pt x="873" y="53"/>
                  <a:pt x="873" y="53"/>
                  <a:pt x="873" y="52"/>
                </a:cubicBezTo>
                <a:close/>
                <a:moveTo>
                  <a:pt x="717" y="96"/>
                </a:moveTo>
                <a:cubicBezTo>
                  <a:pt x="717" y="95"/>
                  <a:pt x="717" y="95"/>
                  <a:pt x="717" y="95"/>
                </a:cubicBezTo>
                <a:cubicBezTo>
                  <a:pt x="717" y="95"/>
                  <a:pt x="717" y="95"/>
                  <a:pt x="717" y="96"/>
                </a:cubicBezTo>
                <a:close/>
                <a:moveTo>
                  <a:pt x="1177" y="96"/>
                </a:moveTo>
                <a:cubicBezTo>
                  <a:pt x="1177" y="95"/>
                  <a:pt x="1177" y="95"/>
                  <a:pt x="1177" y="95"/>
                </a:cubicBezTo>
                <a:cubicBezTo>
                  <a:pt x="1177" y="95"/>
                  <a:pt x="1177" y="95"/>
                  <a:pt x="1177" y="96"/>
                </a:cubicBezTo>
                <a:close/>
                <a:moveTo>
                  <a:pt x="632" y="95"/>
                </a:moveTo>
                <a:cubicBezTo>
                  <a:pt x="631" y="95"/>
                  <a:pt x="631" y="96"/>
                  <a:pt x="631" y="96"/>
                </a:cubicBezTo>
                <a:cubicBezTo>
                  <a:pt x="632" y="96"/>
                  <a:pt x="632" y="95"/>
                  <a:pt x="632" y="95"/>
                </a:cubicBezTo>
                <a:close/>
                <a:moveTo>
                  <a:pt x="883" y="42"/>
                </a:moveTo>
                <a:cubicBezTo>
                  <a:pt x="883" y="42"/>
                  <a:pt x="883" y="42"/>
                  <a:pt x="883" y="43"/>
                </a:cubicBezTo>
                <a:cubicBezTo>
                  <a:pt x="883" y="43"/>
                  <a:pt x="883" y="43"/>
                  <a:pt x="883" y="42"/>
                </a:cubicBezTo>
                <a:close/>
                <a:moveTo>
                  <a:pt x="1672" y="96"/>
                </a:moveTo>
                <a:cubicBezTo>
                  <a:pt x="1672" y="96"/>
                  <a:pt x="1672" y="95"/>
                  <a:pt x="1672" y="95"/>
                </a:cubicBezTo>
                <a:cubicBezTo>
                  <a:pt x="1672" y="96"/>
                  <a:pt x="1672" y="96"/>
                  <a:pt x="1672" y="96"/>
                </a:cubicBezTo>
                <a:close/>
                <a:moveTo>
                  <a:pt x="1495" y="12"/>
                </a:moveTo>
                <a:cubicBezTo>
                  <a:pt x="1496" y="12"/>
                  <a:pt x="1496" y="12"/>
                  <a:pt x="1496" y="12"/>
                </a:cubicBezTo>
                <a:cubicBezTo>
                  <a:pt x="1496" y="12"/>
                  <a:pt x="1496" y="12"/>
                  <a:pt x="1495" y="12"/>
                </a:cubicBezTo>
                <a:close/>
                <a:moveTo>
                  <a:pt x="717" y="96"/>
                </a:moveTo>
                <a:cubicBezTo>
                  <a:pt x="717" y="96"/>
                  <a:pt x="717" y="96"/>
                  <a:pt x="717" y="96"/>
                </a:cubicBezTo>
                <a:cubicBezTo>
                  <a:pt x="717" y="96"/>
                  <a:pt x="717" y="96"/>
                  <a:pt x="717" y="96"/>
                </a:cubicBezTo>
                <a:close/>
                <a:moveTo>
                  <a:pt x="631" y="96"/>
                </a:moveTo>
                <a:cubicBezTo>
                  <a:pt x="631" y="96"/>
                  <a:pt x="631" y="96"/>
                  <a:pt x="631" y="97"/>
                </a:cubicBezTo>
                <a:cubicBezTo>
                  <a:pt x="631" y="96"/>
                  <a:pt x="631" y="96"/>
                  <a:pt x="631" y="96"/>
                </a:cubicBezTo>
                <a:close/>
                <a:moveTo>
                  <a:pt x="1533" y="13"/>
                </a:moveTo>
                <a:cubicBezTo>
                  <a:pt x="1534" y="12"/>
                  <a:pt x="1534" y="12"/>
                  <a:pt x="1534" y="12"/>
                </a:cubicBezTo>
                <a:cubicBezTo>
                  <a:pt x="1534" y="12"/>
                  <a:pt x="1533" y="12"/>
                  <a:pt x="1533" y="13"/>
                </a:cubicBezTo>
                <a:close/>
                <a:moveTo>
                  <a:pt x="1178" y="97"/>
                </a:moveTo>
                <a:cubicBezTo>
                  <a:pt x="1178" y="96"/>
                  <a:pt x="1177" y="96"/>
                  <a:pt x="1177" y="96"/>
                </a:cubicBezTo>
                <a:cubicBezTo>
                  <a:pt x="1177" y="96"/>
                  <a:pt x="1177" y="97"/>
                  <a:pt x="1178" y="97"/>
                </a:cubicBezTo>
                <a:close/>
                <a:moveTo>
                  <a:pt x="1673" y="97"/>
                </a:moveTo>
                <a:cubicBezTo>
                  <a:pt x="1673" y="96"/>
                  <a:pt x="1672" y="96"/>
                  <a:pt x="1672" y="96"/>
                </a:cubicBezTo>
                <a:cubicBezTo>
                  <a:pt x="1672" y="96"/>
                  <a:pt x="1672" y="96"/>
                  <a:pt x="1673" y="97"/>
                </a:cubicBezTo>
                <a:close/>
                <a:moveTo>
                  <a:pt x="1685" y="96"/>
                </a:moveTo>
                <a:cubicBezTo>
                  <a:pt x="1685" y="96"/>
                  <a:pt x="1686" y="96"/>
                  <a:pt x="1686" y="97"/>
                </a:cubicBezTo>
                <a:cubicBezTo>
                  <a:pt x="1686" y="96"/>
                  <a:pt x="1686" y="96"/>
                  <a:pt x="1685" y="96"/>
                </a:cubicBezTo>
                <a:close/>
                <a:moveTo>
                  <a:pt x="581" y="96"/>
                </a:moveTo>
                <a:cubicBezTo>
                  <a:pt x="581" y="96"/>
                  <a:pt x="581" y="96"/>
                  <a:pt x="581" y="97"/>
                </a:cubicBezTo>
                <a:cubicBezTo>
                  <a:pt x="581" y="97"/>
                  <a:pt x="581" y="97"/>
                  <a:pt x="581" y="96"/>
                </a:cubicBezTo>
                <a:close/>
                <a:moveTo>
                  <a:pt x="765" y="35"/>
                </a:moveTo>
                <a:cubicBezTo>
                  <a:pt x="765" y="35"/>
                  <a:pt x="766" y="35"/>
                  <a:pt x="766" y="35"/>
                </a:cubicBezTo>
                <a:cubicBezTo>
                  <a:pt x="766" y="35"/>
                  <a:pt x="765" y="35"/>
                  <a:pt x="765" y="35"/>
                </a:cubicBezTo>
                <a:close/>
                <a:moveTo>
                  <a:pt x="678" y="62"/>
                </a:moveTo>
                <a:cubicBezTo>
                  <a:pt x="678" y="62"/>
                  <a:pt x="678" y="62"/>
                  <a:pt x="678" y="62"/>
                </a:cubicBezTo>
                <a:cubicBezTo>
                  <a:pt x="678" y="62"/>
                  <a:pt x="678" y="61"/>
                  <a:pt x="678" y="62"/>
                </a:cubicBezTo>
                <a:close/>
                <a:moveTo>
                  <a:pt x="617" y="97"/>
                </a:moveTo>
                <a:cubicBezTo>
                  <a:pt x="617" y="97"/>
                  <a:pt x="617" y="97"/>
                  <a:pt x="616" y="97"/>
                </a:cubicBezTo>
                <a:cubicBezTo>
                  <a:pt x="616" y="97"/>
                  <a:pt x="616" y="97"/>
                  <a:pt x="617" y="97"/>
                </a:cubicBezTo>
                <a:close/>
                <a:moveTo>
                  <a:pt x="1151" y="42"/>
                </a:moveTo>
                <a:cubicBezTo>
                  <a:pt x="1151" y="43"/>
                  <a:pt x="1151" y="43"/>
                  <a:pt x="1151" y="43"/>
                </a:cubicBezTo>
                <a:cubicBezTo>
                  <a:pt x="1151" y="43"/>
                  <a:pt x="1151" y="42"/>
                  <a:pt x="1151" y="42"/>
                </a:cubicBezTo>
                <a:close/>
                <a:moveTo>
                  <a:pt x="971" y="97"/>
                </a:moveTo>
                <a:cubicBezTo>
                  <a:pt x="971" y="97"/>
                  <a:pt x="971" y="97"/>
                  <a:pt x="970" y="97"/>
                </a:cubicBezTo>
                <a:cubicBezTo>
                  <a:pt x="971" y="97"/>
                  <a:pt x="971" y="97"/>
                  <a:pt x="971" y="97"/>
                </a:cubicBezTo>
                <a:close/>
                <a:moveTo>
                  <a:pt x="564" y="49"/>
                </a:moveTo>
                <a:cubicBezTo>
                  <a:pt x="564" y="49"/>
                  <a:pt x="564" y="49"/>
                  <a:pt x="565" y="49"/>
                </a:cubicBezTo>
                <a:cubicBezTo>
                  <a:pt x="564" y="49"/>
                  <a:pt x="564" y="49"/>
                  <a:pt x="564" y="49"/>
                </a:cubicBezTo>
                <a:close/>
                <a:moveTo>
                  <a:pt x="1686" y="97"/>
                </a:moveTo>
                <a:cubicBezTo>
                  <a:pt x="1686" y="97"/>
                  <a:pt x="1686" y="97"/>
                  <a:pt x="1686" y="97"/>
                </a:cubicBezTo>
                <a:cubicBezTo>
                  <a:pt x="1686" y="97"/>
                  <a:pt x="1686" y="97"/>
                  <a:pt x="1686" y="97"/>
                </a:cubicBezTo>
                <a:close/>
                <a:moveTo>
                  <a:pt x="631" y="97"/>
                </a:moveTo>
                <a:cubicBezTo>
                  <a:pt x="631" y="97"/>
                  <a:pt x="631" y="97"/>
                  <a:pt x="631" y="98"/>
                </a:cubicBezTo>
                <a:cubicBezTo>
                  <a:pt x="631" y="97"/>
                  <a:pt x="631" y="97"/>
                  <a:pt x="631" y="97"/>
                </a:cubicBezTo>
                <a:close/>
                <a:moveTo>
                  <a:pt x="1112" y="54"/>
                </a:moveTo>
                <a:cubicBezTo>
                  <a:pt x="1111" y="54"/>
                  <a:pt x="1111" y="55"/>
                  <a:pt x="1111" y="55"/>
                </a:cubicBezTo>
                <a:cubicBezTo>
                  <a:pt x="1112" y="55"/>
                  <a:pt x="1112" y="54"/>
                  <a:pt x="1112" y="54"/>
                </a:cubicBezTo>
                <a:close/>
                <a:moveTo>
                  <a:pt x="1178" y="98"/>
                </a:moveTo>
                <a:cubicBezTo>
                  <a:pt x="1178" y="97"/>
                  <a:pt x="1178" y="97"/>
                  <a:pt x="1178" y="97"/>
                </a:cubicBezTo>
                <a:cubicBezTo>
                  <a:pt x="1178" y="97"/>
                  <a:pt x="1178" y="98"/>
                  <a:pt x="1178" y="98"/>
                </a:cubicBezTo>
                <a:close/>
                <a:moveTo>
                  <a:pt x="1261" y="97"/>
                </a:moveTo>
                <a:cubicBezTo>
                  <a:pt x="1260" y="97"/>
                  <a:pt x="1260" y="97"/>
                  <a:pt x="1260" y="97"/>
                </a:cubicBezTo>
                <a:cubicBezTo>
                  <a:pt x="1260" y="97"/>
                  <a:pt x="1261" y="97"/>
                  <a:pt x="1261" y="97"/>
                </a:cubicBezTo>
                <a:close/>
                <a:moveTo>
                  <a:pt x="603" y="63"/>
                </a:moveTo>
                <a:cubicBezTo>
                  <a:pt x="603" y="62"/>
                  <a:pt x="603" y="62"/>
                  <a:pt x="603" y="62"/>
                </a:cubicBezTo>
                <a:cubicBezTo>
                  <a:pt x="603" y="62"/>
                  <a:pt x="603" y="62"/>
                  <a:pt x="603" y="63"/>
                </a:cubicBezTo>
                <a:close/>
                <a:moveTo>
                  <a:pt x="1673" y="98"/>
                </a:moveTo>
                <a:cubicBezTo>
                  <a:pt x="1673" y="97"/>
                  <a:pt x="1673" y="97"/>
                  <a:pt x="1673" y="97"/>
                </a:cubicBezTo>
                <a:cubicBezTo>
                  <a:pt x="1673" y="97"/>
                  <a:pt x="1673" y="97"/>
                  <a:pt x="1673" y="98"/>
                </a:cubicBezTo>
                <a:close/>
                <a:moveTo>
                  <a:pt x="580" y="97"/>
                </a:moveTo>
                <a:cubicBezTo>
                  <a:pt x="580" y="97"/>
                  <a:pt x="579" y="97"/>
                  <a:pt x="579" y="98"/>
                </a:cubicBezTo>
                <a:cubicBezTo>
                  <a:pt x="580" y="98"/>
                  <a:pt x="580" y="98"/>
                  <a:pt x="580" y="97"/>
                </a:cubicBezTo>
                <a:close/>
                <a:moveTo>
                  <a:pt x="1702" y="12"/>
                </a:moveTo>
                <a:cubicBezTo>
                  <a:pt x="1702" y="12"/>
                  <a:pt x="1702" y="12"/>
                  <a:pt x="1702" y="12"/>
                </a:cubicBezTo>
                <a:cubicBezTo>
                  <a:pt x="1702" y="12"/>
                  <a:pt x="1702" y="12"/>
                  <a:pt x="1702" y="12"/>
                </a:cubicBezTo>
                <a:close/>
                <a:moveTo>
                  <a:pt x="972" y="98"/>
                </a:moveTo>
                <a:cubicBezTo>
                  <a:pt x="972" y="97"/>
                  <a:pt x="972" y="97"/>
                  <a:pt x="972" y="97"/>
                </a:cubicBezTo>
                <a:cubicBezTo>
                  <a:pt x="972" y="98"/>
                  <a:pt x="972" y="98"/>
                  <a:pt x="972" y="98"/>
                </a:cubicBezTo>
                <a:close/>
                <a:moveTo>
                  <a:pt x="1082" y="97"/>
                </a:moveTo>
                <a:cubicBezTo>
                  <a:pt x="1082" y="97"/>
                  <a:pt x="1082" y="97"/>
                  <a:pt x="1082" y="98"/>
                </a:cubicBezTo>
                <a:cubicBezTo>
                  <a:pt x="1082" y="98"/>
                  <a:pt x="1082" y="98"/>
                  <a:pt x="1082" y="97"/>
                </a:cubicBezTo>
                <a:close/>
                <a:moveTo>
                  <a:pt x="614" y="62"/>
                </a:moveTo>
                <a:cubicBezTo>
                  <a:pt x="614" y="62"/>
                  <a:pt x="614" y="62"/>
                  <a:pt x="614" y="63"/>
                </a:cubicBezTo>
                <a:cubicBezTo>
                  <a:pt x="614" y="62"/>
                  <a:pt x="614" y="62"/>
                  <a:pt x="614" y="62"/>
                </a:cubicBezTo>
                <a:close/>
                <a:moveTo>
                  <a:pt x="1686" y="97"/>
                </a:moveTo>
                <a:cubicBezTo>
                  <a:pt x="1686" y="98"/>
                  <a:pt x="1686" y="98"/>
                  <a:pt x="1686" y="98"/>
                </a:cubicBezTo>
                <a:cubicBezTo>
                  <a:pt x="1686" y="98"/>
                  <a:pt x="1686" y="97"/>
                  <a:pt x="1686" y="97"/>
                </a:cubicBezTo>
                <a:close/>
                <a:moveTo>
                  <a:pt x="631" y="98"/>
                </a:moveTo>
                <a:cubicBezTo>
                  <a:pt x="630" y="98"/>
                  <a:pt x="630" y="98"/>
                  <a:pt x="630" y="98"/>
                </a:cubicBezTo>
                <a:cubicBezTo>
                  <a:pt x="631" y="98"/>
                  <a:pt x="631" y="98"/>
                  <a:pt x="631" y="98"/>
                </a:cubicBezTo>
                <a:close/>
                <a:moveTo>
                  <a:pt x="800" y="98"/>
                </a:moveTo>
                <a:cubicBezTo>
                  <a:pt x="800" y="98"/>
                  <a:pt x="799" y="98"/>
                  <a:pt x="799" y="98"/>
                </a:cubicBezTo>
                <a:cubicBezTo>
                  <a:pt x="799" y="98"/>
                  <a:pt x="800" y="98"/>
                  <a:pt x="800" y="98"/>
                </a:cubicBezTo>
                <a:close/>
                <a:moveTo>
                  <a:pt x="973" y="98"/>
                </a:moveTo>
                <a:cubicBezTo>
                  <a:pt x="973" y="98"/>
                  <a:pt x="973" y="98"/>
                  <a:pt x="972" y="98"/>
                </a:cubicBezTo>
                <a:cubicBezTo>
                  <a:pt x="972" y="98"/>
                  <a:pt x="973" y="98"/>
                  <a:pt x="973" y="98"/>
                </a:cubicBezTo>
                <a:close/>
                <a:moveTo>
                  <a:pt x="1042" y="98"/>
                </a:moveTo>
                <a:cubicBezTo>
                  <a:pt x="1042" y="98"/>
                  <a:pt x="1041" y="98"/>
                  <a:pt x="1041" y="98"/>
                </a:cubicBezTo>
                <a:cubicBezTo>
                  <a:pt x="1041" y="98"/>
                  <a:pt x="1041" y="98"/>
                  <a:pt x="1042" y="98"/>
                </a:cubicBezTo>
                <a:close/>
                <a:moveTo>
                  <a:pt x="1082" y="98"/>
                </a:moveTo>
                <a:cubicBezTo>
                  <a:pt x="1082" y="98"/>
                  <a:pt x="1081" y="98"/>
                  <a:pt x="1081" y="98"/>
                </a:cubicBezTo>
                <a:cubicBezTo>
                  <a:pt x="1081" y="98"/>
                  <a:pt x="1082" y="98"/>
                  <a:pt x="1082" y="98"/>
                </a:cubicBezTo>
                <a:close/>
                <a:moveTo>
                  <a:pt x="1260" y="98"/>
                </a:moveTo>
                <a:cubicBezTo>
                  <a:pt x="1259" y="98"/>
                  <a:pt x="1259" y="98"/>
                  <a:pt x="1259" y="98"/>
                </a:cubicBezTo>
                <a:cubicBezTo>
                  <a:pt x="1259" y="98"/>
                  <a:pt x="1260" y="98"/>
                  <a:pt x="1260" y="98"/>
                </a:cubicBezTo>
                <a:close/>
                <a:moveTo>
                  <a:pt x="1673" y="98"/>
                </a:moveTo>
                <a:cubicBezTo>
                  <a:pt x="1673" y="98"/>
                  <a:pt x="1673" y="98"/>
                  <a:pt x="1673" y="98"/>
                </a:cubicBezTo>
                <a:cubicBezTo>
                  <a:pt x="1673" y="98"/>
                  <a:pt x="1673" y="98"/>
                  <a:pt x="1673" y="98"/>
                </a:cubicBezTo>
                <a:close/>
                <a:moveTo>
                  <a:pt x="579" y="98"/>
                </a:moveTo>
                <a:cubicBezTo>
                  <a:pt x="579" y="98"/>
                  <a:pt x="578" y="98"/>
                  <a:pt x="578" y="98"/>
                </a:cubicBezTo>
                <a:cubicBezTo>
                  <a:pt x="578" y="98"/>
                  <a:pt x="579" y="98"/>
                  <a:pt x="579" y="98"/>
                </a:cubicBezTo>
                <a:close/>
                <a:moveTo>
                  <a:pt x="1384" y="43"/>
                </a:moveTo>
                <a:cubicBezTo>
                  <a:pt x="1384" y="43"/>
                  <a:pt x="1384" y="43"/>
                  <a:pt x="1384" y="42"/>
                </a:cubicBezTo>
                <a:cubicBezTo>
                  <a:pt x="1384" y="43"/>
                  <a:pt x="1384" y="43"/>
                  <a:pt x="1384" y="43"/>
                </a:cubicBezTo>
                <a:close/>
                <a:moveTo>
                  <a:pt x="645" y="62"/>
                </a:moveTo>
                <a:cubicBezTo>
                  <a:pt x="645" y="62"/>
                  <a:pt x="645" y="62"/>
                  <a:pt x="645" y="63"/>
                </a:cubicBezTo>
                <a:cubicBezTo>
                  <a:pt x="645" y="62"/>
                  <a:pt x="645" y="62"/>
                  <a:pt x="645" y="62"/>
                </a:cubicBezTo>
                <a:close/>
                <a:moveTo>
                  <a:pt x="799" y="98"/>
                </a:moveTo>
                <a:cubicBezTo>
                  <a:pt x="799" y="98"/>
                  <a:pt x="799" y="98"/>
                  <a:pt x="799" y="98"/>
                </a:cubicBezTo>
                <a:cubicBezTo>
                  <a:pt x="799" y="98"/>
                  <a:pt x="799" y="98"/>
                  <a:pt x="799" y="98"/>
                </a:cubicBezTo>
                <a:close/>
                <a:moveTo>
                  <a:pt x="974" y="98"/>
                </a:moveTo>
                <a:cubicBezTo>
                  <a:pt x="973" y="98"/>
                  <a:pt x="973" y="98"/>
                  <a:pt x="973" y="98"/>
                </a:cubicBezTo>
                <a:cubicBezTo>
                  <a:pt x="973" y="98"/>
                  <a:pt x="973" y="98"/>
                  <a:pt x="974" y="98"/>
                </a:cubicBezTo>
                <a:close/>
                <a:moveTo>
                  <a:pt x="1220" y="98"/>
                </a:moveTo>
                <a:cubicBezTo>
                  <a:pt x="1220" y="98"/>
                  <a:pt x="1220" y="98"/>
                  <a:pt x="1219" y="98"/>
                </a:cubicBezTo>
                <a:cubicBezTo>
                  <a:pt x="1219" y="98"/>
                  <a:pt x="1220" y="98"/>
                  <a:pt x="1220" y="98"/>
                </a:cubicBezTo>
                <a:close/>
                <a:moveTo>
                  <a:pt x="1686" y="98"/>
                </a:moveTo>
                <a:cubicBezTo>
                  <a:pt x="1686" y="98"/>
                  <a:pt x="1687" y="99"/>
                  <a:pt x="1687" y="99"/>
                </a:cubicBezTo>
                <a:cubicBezTo>
                  <a:pt x="1687" y="98"/>
                  <a:pt x="1687" y="98"/>
                  <a:pt x="1686" y="98"/>
                </a:cubicBezTo>
                <a:close/>
                <a:moveTo>
                  <a:pt x="617" y="99"/>
                </a:moveTo>
                <a:cubicBezTo>
                  <a:pt x="617" y="99"/>
                  <a:pt x="617" y="99"/>
                  <a:pt x="617" y="98"/>
                </a:cubicBezTo>
                <a:cubicBezTo>
                  <a:pt x="617" y="99"/>
                  <a:pt x="617" y="99"/>
                  <a:pt x="617" y="99"/>
                </a:cubicBezTo>
                <a:close/>
                <a:moveTo>
                  <a:pt x="692" y="98"/>
                </a:moveTo>
                <a:cubicBezTo>
                  <a:pt x="692" y="98"/>
                  <a:pt x="692" y="98"/>
                  <a:pt x="692" y="99"/>
                </a:cubicBezTo>
                <a:cubicBezTo>
                  <a:pt x="692" y="99"/>
                  <a:pt x="692" y="99"/>
                  <a:pt x="692" y="98"/>
                </a:cubicBezTo>
                <a:close/>
                <a:moveTo>
                  <a:pt x="974" y="99"/>
                </a:moveTo>
                <a:cubicBezTo>
                  <a:pt x="974" y="98"/>
                  <a:pt x="974" y="98"/>
                  <a:pt x="974" y="98"/>
                </a:cubicBezTo>
                <a:cubicBezTo>
                  <a:pt x="974" y="99"/>
                  <a:pt x="974" y="99"/>
                  <a:pt x="974" y="99"/>
                </a:cubicBezTo>
                <a:close/>
                <a:moveTo>
                  <a:pt x="1043" y="99"/>
                </a:moveTo>
                <a:cubicBezTo>
                  <a:pt x="1043" y="99"/>
                  <a:pt x="1042" y="98"/>
                  <a:pt x="1042" y="98"/>
                </a:cubicBezTo>
                <a:cubicBezTo>
                  <a:pt x="1042" y="99"/>
                  <a:pt x="1043" y="99"/>
                  <a:pt x="1043" y="99"/>
                </a:cubicBezTo>
                <a:close/>
                <a:moveTo>
                  <a:pt x="1081" y="98"/>
                </a:moveTo>
                <a:cubicBezTo>
                  <a:pt x="1080" y="98"/>
                  <a:pt x="1080" y="98"/>
                  <a:pt x="1080" y="99"/>
                </a:cubicBezTo>
                <a:cubicBezTo>
                  <a:pt x="1080" y="99"/>
                  <a:pt x="1081" y="99"/>
                  <a:pt x="1081" y="98"/>
                </a:cubicBezTo>
                <a:close/>
                <a:moveTo>
                  <a:pt x="1259" y="98"/>
                </a:moveTo>
                <a:cubicBezTo>
                  <a:pt x="1258" y="98"/>
                  <a:pt x="1258" y="98"/>
                  <a:pt x="1258" y="99"/>
                </a:cubicBezTo>
                <a:cubicBezTo>
                  <a:pt x="1258" y="99"/>
                  <a:pt x="1259" y="99"/>
                  <a:pt x="1259" y="98"/>
                </a:cubicBezTo>
                <a:close/>
                <a:moveTo>
                  <a:pt x="661" y="62"/>
                </a:moveTo>
                <a:cubicBezTo>
                  <a:pt x="661" y="62"/>
                  <a:pt x="661" y="62"/>
                  <a:pt x="661" y="62"/>
                </a:cubicBezTo>
                <a:cubicBezTo>
                  <a:pt x="661" y="62"/>
                  <a:pt x="661" y="62"/>
                  <a:pt x="661" y="62"/>
                </a:cubicBezTo>
                <a:close/>
                <a:moveTo>
                  <a:pt x="1455" y="98"/>
                </a:moveTo>
                <a:cubicBezTo>
                  <a:pt x="1455" y="98"/>
                  <a:pt x="1455" y="98"/>
                  <a:pt x="1455" y="99"/>
                </a:cubicBezTo>
                <a:cubicBezTo>
                  <a:pt x="1455" y="99"/>
                  <a:pt x="1455" y="99"/>
                  <a:pt x="1455" y="98"/>
                </a:cubicBezTo>
                <a:close/>
                <a:moveTo>
                  <a:pt x="1674" y="99"/>
                </a:moveTo>
                <a:cubicBezTo>
                  <a:pt x="1674" y="99"/>
                  <a:pt x="1674" y="99"/>
                  <a:pt x="1673" y="98"/>
                </a:cubicBezTo>
                <a:cubicBezTo>
                  <a:pt x="1673" y="99"/>
                  <a:pt x="1673" y="99"/>
                  <a:pt x="1674" y="99"/>
                </a:cubicBezTo>
                <a:close/>
                <a:moveTo>
                  <a:pt x="578" y="99"/>
                </a:moveTo>
                <a:cubicBezTo>
                  <a:pt x="577" y="99"/>
                  <a:pt x="577" y="99"/>
                  <a:pt x="577" y="99"/>
                </a:cubicBezTo>
                <a:cubicBezTo>
                  <a:pt x="577" y="99"/>
                  <a:pt x="578" y="99"/>
                  <a:pt x="578" y="99"/>
                </a:cubicBezTo>
                <a:close/>
                <a:moveTo>
                  <a:pt x="630" y="99"/>
                </a:moveTo>
                <a:cubicBezTo>
                  <a:pt x="630" y="99"/>
                  <a:pt x="630" y="99"/>
                  <a:pt x="630" y="99"/>
                </a:cubicBezTo>
                <a:cubicBezTo>
                  <a:pt x="630" y="99"/>
                  <a:pt x="630" y="99"/>
                  <a:pt x="630" y="99"/>
                </a:cubicBezTo>
                <a:close/>
                <a:moveTo>
                  <a:pt x="761" y="99"/>
                </a:moveTo>
                <a:cubicBezTo>
                  <a:pt x="761" y="99"/>
                  <a:pt x="761" y="99"/>
                  <a:pt x="761" y="99"/>
                </a:cubicBezTo>
                <a:cubicBezTo>
                  <a:pt x="761" y="99"/>
                  <a:pt x="761" y="99"/>
                  <a:pt x="761" y="99"/>
                </a:cubicBezTo>
                <a:close/>
                <a:moveTo>
                  <a:pt x="798" y="99"/>
                </a:moveTo>
                <a:cubicBezTo>
                  <a:pt x="798" y="99"/>
                  <a:pt x="798" y="99"/>
                  <a:pt x="797" y="99"/>
                </a:cubicBezTo>
                <a:cubicBezTo>
                  <a:pt x="798" y="99"/>
                  <a:pt x="798" y="99"/>
                  <a:pt x="798" y="99"/>
                </a:cubicBezTo>
                <a:close/>
                <a:moveTo>
                  <a:pt x="975" y="99"/>
                </a:moveTo>
                <a:cubicBezTo>
                  <a:pt x="975" y="99"/>
                  <a:pt x="975" y="99"/>
                  <a:pt x="974" y="99"/>
                </a:cubicBezTo>
                <a:cubicBezTo>
                  <a:pt x="974" y="99"/>
                  <a:pt x="975" y="99"/>
                  <a:pt x="975" y="99"/>
                </a:cubicBezTo>
                <a:close/>
                <a:moveTo>
                  <a:pt x="1019" y="99"/>
                </a:moveTo>
                <a:cubicBezTo>
                  <a:pt x="1019" y="99"/>
                  <a:pt x="1018" y="99"/>
                  <a:pt x="1018" y="99"/>
                </a:cubicBezTo>
                <a:cubicBezTo>
                  <a:pt x="1018" y="99"/>
                  <a:pt x="1019" y="99"/>
                  <a:pt x="1019" y="99"/>
                </a:cubicBezTo>
                <a:close/>
                <a:moveTo>
                  <a:pt x="1080" y="99"/>
                </a:moveTo>
                <a:cubicBezTo>
                  <a:pt x="1080" y="99"/>
                  <a:pt x="1080" y="99"/>
                  <a:pt x="1079" y="99"/>
                </a:cubicBezTo>
                <a:cubicBezTo>
                  <a:pt x="1080" y="99"/>
                  <a:pt x="1080" y="99"/>
                  <a:pt x="1080" y="99"/>
                </a:cubicBezTo>
                <a:close/>
                <a:moveTo>
                  <a:pt x="1221" y="99"/>
                </a:moveTo>
                <a:cubicBezTo>
                  <a:pt x="1221" y="99"/>
                  <a:pt x="1221" y="99"/>
                  <a:pt x="1220" y="99"/>
                </a:cubicBezTo>
                <a:cubicBezTo>
                  <a:pt x="1221" y="99"/>
                  <a:pt x="1221" y="99"/>
                  <a:pt x="1221" y="99"/>
                </a:cubicBezTo>
                <a:close/>
                <a:moveTo>
                  <a:pt x="1258" y="99"/>
                </a:moveTo>
                <a:cubicBezTo>
                  <a:pt x="1258" y="99"/>
                  <a:pt x="1257" y="99"/>
                  <a:pt x="1257" y="99"/>
                </a:cubicBezTo>
                <a:cubicBezTo>
                  <a:pt x="1258" y="99"/>
                  <a:pt x="1258" y="99"/>
                  <a:pt x="1258" y="99"/>
                </a:cubicBezTo>
                <a:close/>
                <a:moveTo>
                  <a:pt x="1687" y="99"/>
                </a:moveTo>
                <a:cubicBezTo>
                  <a:pt x="1687" y="99"/>
                  <a:pt x="1687" y="99"/>
                  <a:pt x="1687" y="99"/>
                </a:cubicBezTo>
                <a:cubicBezTo>
                  <a:pt x="1687" y="99"/>
                  <a:pt x="1687" y="99"/>
                  <a:pt x="1687" y="99"/>
                </a:cubicBezTo>
                <a:close/>
                <a:moveTo>
                  <a:pt x="577" y="99"/>
                </a:moveTo>
                <a:cubicBezTo>
                  <a:pt x="577" y="99"/>
                  <a:pt x="577" y="99"/>
                  <a:pt x="576" y="99"/>
                </a:cubicBezTo>
                <a:cubicBezTo>
                  <a:pt x="577" y="99"/>
                  <a:pt x="577" y="99"/>
                  <a:pt x="577" y="99"/>
                </a:cubicBezTo>
                <a:close/>
                <a:moveTo>
                  <a:pt x="691" y="99"/>
                </a:moveTo>
                <a:cubicBezTo>
                  <a:pt x="691" y="99"/>
                  <a:pt x="691" y="99"/>
                  <a:pt x="691" y="99"/>
                </a:cubicBezTo>
                <a:cubicBezTo>
                  <a:pt x="691" y="99"/>
                  <a:pt x="691" y="99"/>
                  <a:pt x="691" y="99"/>
                </a:cubicBezTo>
                <a:close/>
                <a:moveTo>
                  <a:pt x="797" y="99"/>
                </a:moveTo>
                <a:cubicBezTo>
                  <a:pt x="797" y="99"/>
                  <a:pt x="797" y="99"/>
                  <a:pt x="797" y="99"/>
                </a:cubicBezTo>
                <a:cubicBezTo>
                  <a:pt x="797" y="99"/>
                  <a:pt x="797" y="99"/>
                  <a:pt x="797" y="99"/>
                </a:cubicBezTo>
                <a:close/>
                <a:moveTo>
                  <a:pt x="976" y="99"/>
                </a:moveTo>
                <a:cubicBezTo>
                  <a:pt x="976" y="99"/>
                  <a:pt x="975" y="99"/>
                  <a:pt x="975" y="99"/>
                </a:cubicBezTo>
                <a:cubicBezTo>
                  <a:pt x="975" y="99"/>
                  <a:pt x="975" y="99"/>
                  <a:pt x="976" y="99"/>
                </a:cubicBezTo>
                <a:close/>
                <a:moveTo>
                  <a:pt x="1018" y="99"/>
                </a:moveTo>
                <a:cubicBezTo>
                  <a:pt x="1018" y="99"/>
                  <a:pt x="1018" y="99"/>
                  <a:pt x="1017" y="99"/>
                </a:cubicBezTo>
                <a:cubicBezTo>
                  <a:pt x="1018" y="99"/>
                  <a:pt x="1018" y="99"/>
                  <a:pt x="1018" y="99"/>
                </a:cubicBezTo>
                <a:close/>
                <a:moveTo>
                  <a:pt x="1044" y="99"/>
                </a:moveTo>
                <a:cubicBezTo>
                  <a:pt x="1044" y="99"/>
                  <a:pt x="1044" y="99"/>
                  <a:pt x="1043" y="99"/>
                </a:cubicBezTo>
                <a:cubicBezTo>
                  <a:pt x="1043" y="99"/>
                  <a:pt x="1044" y="99"/>
                  <a:pt x="1044" y="99"/>
                </a:cubicBezTo>
                <a:close/>
                <a:moveTo>
                  <a:pt x="1079" y="99"/>
                </a:moveTo>
                <a:cubicBezTo>
                  <a:pt x="1079" y="99"/>
                  <a:pt x="1079" y="99"/>
                  <a:pt x="1079" y="99"/>
                </a:cubicBezTo>
                <a:cubicBezTo>
                  <a:pt x="1079" y="99"/>
                  <a:pt x="1079" y="99"/>
                  <a:pt x="1079" y="99"/>
                </a:cubicBezTo>
                <a:close/>
                <a:moveTo>
                  <a:pt x="1222" y="99"/>
                </a:moveTo>
                <a:cubicBezTo>
                  <a:pt x="1222" y="99"/>
                  <a:pt x="1221" y="99"/>
                  <a:pt x="1221" y="99"/>
                </a:cubicBezTo>
                <a:cubicBezTo>
                  <a:pt x="1221" y="99"/>
                  <a:pt x="1221" y="99"/>
                  <a:pt x="1222" y="99"/>
                </a:cubicBezTo>
                <a:close/>
                <a:moveTo>
                  <a:pt x="1257" y="99"/>
                </a:moveTo>
                <a:cubicBezTo>
                  <a:pt x="1257" y="99"/>
                  <a:pt x="1257" y="99"/>
                  <a:pt x="1257" y="99"/>
                </a:cubicBezTo>
                <a:cubicBezTo>
                  <a:pt x="1257" y="99"/>
                  <a:pt x="1257" y="99"/>
                  <a:pt x="1257" y="99"/>
                </a:cubicBezTo>
                <a:close/>
                <a:moveTo>
                  <a:pt x="1454" y="99"/>
                </a:moveTo>
                <a:cubicBezTo>
                  <a:pt x="1454" y="99"/>
                  <a:pt x="1454" y="99"/>
                  <a:pt x="1454" y="99"/>
                </a:cubicBezTo>
                <a:cubicBezTo>
                  <a:pt x="1454" y="99"/>
                  <a:pt x="1454" y="99"/>
                  <a:pt x="1454" y="99"/>
                </a:cubicBezTo>
                <a:close/>
                <a:moveTo>
                  <a:pt x="1674" y="100"/>
                </a:moveTo>
                <a:cubicBezTo>
                  <a:pt x="1674" y="99"/>
                  <a:pt x="1674" y="99"/>
                  <a:pt x="1674" y="99"/>
                </a:cubicBezTo>
                <a:cubicBezTo>
                  <a:pt x="1674" y="99"/>
                  <a:pt x="1674" y="100"/>
                  <a:pt x="1674" y="100"/>
                </a:cubicBezTo>
                <a:close/>
                <a:moveTo>
                  <a:pt x="576" y="99"/>
                </a:moveTo>
                <a:cubicBezTo>
                  <a:pt x="576" y="99"/>
                  <a:pt x="576" y="99"/>
                  <a:pt x="576" y="100"/>
                </a:cubicBezTo>
                <a:cubicBezTo>
                  <a:pt x="576" y="100"/>
                  <a:pt x="576" y="100"/>
                  <a:pt x="576" y="99"/>
                </a:cubicBezTo>
                <a:close/>
                <a:moveTo>
                  <a:pt x="618" y="100"/>
                </a:moveTo>
                <a:cubicBezTo>
                  <a:pt x="618" y="100"/>
                  <a:pt x="618" y="99"/>
                  <a:pt x="618" y="99"/>
                </a:cubicBezTo>
                <a:cubicBezTo>
                  <a:pt x="618" y="100"/>
                  <a:pt x="618" y="100"/>
                  <a:pt x="618" y="100"/>
                </a:cubicBezTo>
                <a:close/>
                <a:moveTo>
                  <a:pt x="630" y="99"/>
                </a:moveTo>
                <a:cubicBezTo>
                  <a:pt x="630" y="100"/>
                  <a:pt x="630" y="100"/>
                  <a:pt x="630" y="100"/>
                </a:cubicBezTo>
                <a:cubicBezTo>
                  <a:pt x="630" y="100"/>
                  <a:pt x="630" y="100"/>
                  <a:pt x="630" y="99"/>
                </a:cubicBezTo>
                <a:close/>
                <a:moveTo>
                  <a:pt x="659" y="100"/>
                </a:moveTo>
                <a:cubicBezTo>
                  <a:pt x="659" y="99"/>
                  <a:pt x="659" y="99"/>
                  <a:pt x="659" y="99"/>
                </a:cubicBezTo>
                <a:cubicBezTo>
                  <a:pt x="659" y="100"/>
                  <a:pt x="659" y="100"/>
                  <a:pt x="659" y="100"/>
                </a:cubicBezTo>
                <a:close/>
                <a:moveTo>
                  <a:pt x="762" y="100"/>
                </a:moveTo>
                <a:cubicBezTo>
                  <a:pt x="762" y="99"/>
                  <a:pt x="762" y="99"/>
                  <a:pt x="762" y="99"/>
                </a:cubicBezTo>
                <a:cubicBezTo>
                  <a:pt x="762" y="100"/>
                  <a:pt x="762" y="100"/>
                  <a:pt x="762" y="100"/>
                </a:cubicBezTo>
                <a:close/>
                <a:moveTo>
                  <a:pt x="797" y="99"/>
                </a:moveTo>
                <a:cubicBezTo>
                  <a:pt x="796" y="99"/>
                  <a:pt x="796" y="99"/>
                  <a:pt x="796" y="100"/>
                </a:cubicBezTo>
                <a:cubicBezTo>
                  <a:pt x="796" y="100"/>
                  <a:pt x="797" y="100"/>
                  <a:pt x="797" y="99"/>
                </a:cubicBezTo>
                <a:close/>
                <a:moveTo>
                  <a:pt x="977" y="100"/>
                </a:moveTo>
                <a:cubicBezTo>
                  <a:pt x="976" y="99"/>
                  <a:pt x="976" y="99"/>
                  <a:pt x="976" y="99"/>
                </a:cubicBezTo>
                <a:cubicBezTo>
                  <a:pt x="976" y="100"/>
                  <a:pt x="976" y="100"/>
                  <a:pt x="977" y="100"/>
                </a:cubicBezTo>
                <a:close/>
                <a:moveTo>
                  <a:pt x="973" y="13"/>
                </a:moveTo>
                <a:cubicBezTo>
                  <a:pt x="973" y="13"/>
                  <a:pt x="973" y="13"/>
                  <a:pt x="974" y="12"/>
                </a:cubicBezTo>
                <a:cubicBezTo>
                  <a:pt x="973" y="12"/>
                  <a:pt x="973" y="12"/>
                  <a:pt x="973" y="13"/>
                </a:cubicBezTo>
                <a:close/>
                <a:moveTo>
                  <a:pt x="1045" y="100"/>
                </a:moveTo>
                <a:cubicBezTo>
                  <a:pt x="1044" y="100"/>
                  <a:pt x="1044" y="99"/>
                  <a:pt x="1044" y="99"/>
                </a:cubicBezTo>
                <a:cubicBezTo>
                  <a:pt x="1044" y="100"/>
                  <a:pt x="1044" y="100"/>
                  <a:pt x="1045" y="100"/>
                </a:cubicBezTo>
                <a:close/>
                <a:moveTo>
                  <a:pt x="1079" y="99"/>
                </a:moveTo>
                <a:cubicBezTo>
                  <a:pt x="1078" y="99"/>
                  <a:pt x="1078" y="99"/>
                  <a:pt x="1078" y="100"/>
                </a:cubicBezTo>
                <a:cubicBezTo>
                  <a:pt x="1078" y="100"/>
                  <a:pt x="1079" y="100"/>
                  <a:pt x="1079" y="99"/>
                </a:cubicBezTo>
                <a:close/>
                <a:moveTo>
                  <a:pt x="1257" y="99"/>
                </a:moveTo>
                <a:cubicBezTo>
                  <a:pt x="1256" y="99"/>
                  <a:pt x="1256" y="99"/>
                  <a:pt x="1256" y="100"/>
                </a:cubicBezTo>
                <a:cubicBezTo>
                  <a:pt x="1256" y="100"/>
                  <a:pt x="1256" y="100"/>
                  <a:pt x="1257" y="99"/>
                </a:cubicBezTo>
                <a:close/>
                <a:moveTo>
                  <a:pt x="1426" y="100"/>
                </a:moveTo>
                <a:cubicBezTo>
                  <a:pt x="1426" y="99"/>
                  <a:pt x="1425" y="99"/>
                  <a:pt x="1425" y="99"/>
                </a:cubicBezTo>
                <a:cubicBezTo>
                  <a:pt x="1425" y="100"/>
                  <a:pt x="1425" y="100"/>
                  <a:pt x="1426" y="100"/>
                </a:cubicBezTo>
                <a:close/>
                <a:moveTo>
                  <a:pt x="1687" y="99"/>
                </a:moveTo>
                <a:cubicBezTo>
                  <a:pt x="1687" y="100"/>
                  <a:pt x="1687" y="100"/>
                  <a:pt x="1687" y="100"/>
                </a:cubicBezTo>
                <a:cubicBezTo>
                  <a:pt x="1688" y="100"/>
                  <a:pt x="1687" y="100"/>
                  <a:pt x="1687" y="99"/>
                </a:cubicBezTo>
                <a:close/>
                <a:moveTo>
                  <a:pt x="576" y="100"/>
                </a:moveTo>
                <a:cubicBezTo>
                  <a:pt x="575" y="100"/>
                  <a:pt x="575" y="100"/>
                  <a:pt x="575" y="100"/>
                </a:cubicBezTo>
                <a:cubicBezTo>
                  <a:pt x="575" y="100"/>
                  <a:pt x="576" y="100"/>
                  <a:pt x="576" y="100"/>
                </a:cubicBezTo>
                <a:close/>
                <a:moveTo>
                  <a:pt x="660" y="100"/>
                </a:moveTo>
                <a:cubicBezTo>
                  <a:pt x="660" y="100"/>
                  <a:pt x="660" y="100"/>
                  <a:pt x="659" y="100"/>
                </a:cubicBezTo>
                <a:cubicBezTo>
                  <a:pt x="659" y="100"/>
                  <a:pt x="660" y="100"/>
                  <a:pt x="660" y="100"/>
                </a:cubicBezTo>
                <a:close/>
                <a:moveTo>
                  <a:pt x="763" y="100"/>
                </a:moveTo>
                <a:cubicBezTo>
                  <a:pt x="763" y="100"/>
                  <a:pt x="763" y="100"/>
                  <a:pt x="762" y="100"/>
                </a:cubicBezTo>
                <a:cubicBezTo>
                  <a:pt x="762" y="100"/>
                  <a:pt x="763" y="100"/>
                  <a:pt x="763" y="100"/>
                </a:cubicBezTo>
                <a:close/>
                <a:moveTo>
                  <a:pt x="796" y="100"/>
                </a:moveTo>
                <a:cubicBezTo>
                  <a:pt x="796" y="100"/>
                  <a:pt x="795" y="100"/>
                  <a:pt x="795" y="100"/>
                </a:cubicBezTo>
                <a:cubicBezTo>
                  <a:pt x="796" y="100"/>
                  <a:pt x="796" y="100"/>
                  <a:pt x="796" y="100"/>
                </a:cubicBezTo>
                <a:close/>
                <a:moveTo>
                  <a:pt x="977" y="100"/>
                </a:moveTo>
                <a:cubicBezTo>
                  <a:pt x="977" y="100"/>
                  <a:pt x="977" y="100"/>
                  <a:pt x="977" y="100"/>
                </a:cubicBezTo>
                <a:cubicBezTo>
                  <a:pt x="977" y="100"/>
                  <a:pt x="977" y="100"/>
                  <a:pt x="977" y="100"/>
                </a:cubicBezTo>
                <a:close/>
                <a:moveTo>
                  <a:pt x="1016" y="100"/>
                </a:moveTo>
                <a:cubicBezTo>
                  <a:pt x="1016" y="100"/>
                  <a:pt x="1016" y="100"/>
                  <a:pt x="1016" y="100"/>
                </a:cubicBezTo>
                <a:cubicBezTo>
                  <a:pt x="1016" y="100"/>
                  <a:pt x="1016" y="100"/>
                  <a:pt x="1016" y="100"/>
                </a:cubicBezTo>
                <a:close/>
                <a:moveTo>
                  <a:pt x="1078" y="100"/>
                </a:moveTo>
                <a:cubicBezTo>
                  <a:pt x="1078" y="100"/>
                  <a:pt x="1077" y="100"/>
                  <a:pt x="1077" y="100"/>
                </a:cubicBezTo>
                <a:cubicBezTo>
                  <a:pt x="1078" y="100"/>
                  <a:pt x="1078" y="100"/>
                  <a:pt x="1078" y="100"/>
                </a:cubicBezTo>
                <a:close/>
                <a:moveTo>
                  <a:pt x="1181" y="100"/>
                </a:moveTo>
                <a:cubicBezTo>
                  <a:pt x="1181" y="100"/>
                  <a:pt x="1181" y="100"/>
                  <a:pt x="1180" y="100"/>
                </a:cubicBezTo>
                <a:cubicBezTo>
                  <a:pt x="1180" y="100"/>
                  <a:pt x="1181" y="100"/>
                  <a:pt x="1181" y="100"/>
                </a:cubicBezTo>
                <a:close/>
                <a:moveTo>
                  <a:pt x="1256" y="100"/>
                </a:moveTo>
                <a:cubicBezTo>
                  <a:pt x="1256" y="100"/>
                  <a:pt x="1255" y="100"/>
                  <a:pt x="1255" y="100"/>
                </a:cubicBezTo>
                <a:cubicBezTo>
                  <a:pt x="1255" y="100"/>
                  <a:pt x="1256" y="100"/>
                  <a:pt x="1256" y="100"/>
                </a:cubicBezTo>
                <a:close/>
                <a:moveTo>
                  <a:pt x="1426" y="100"/>
                </a:moveTo>
                <a:cubicBezTo>
                  <a:pt x="1426" y="100"/>
                  <a:pt x="1426" y="100"/>
                  <a:pt x="1426" y="100"/>
                </a:cubicBezTo>
                <a:cubicBezTo>
                  <a:pt x="1426" y="100"/>
                  <a:pt x="1426" y="100"/>
                  <a:pt x="1426" y="100"/>
                </a:cubicBezTo>
                <a:close/>
                <a:moveTo>
                  <a:pt x="1453" y="100"/>
                </a:moveTo>
                <a:cubicBezTo>
                  <a:pt x="1453" y="100"/>
                  <a:pt x="1453" y="100"/>
                  <a:pt x="1453" y="100"/>
                </a:cubicBezTo>
                <a:cubicBezTo>
                  <a:pt x="1453" y="100"/>
                  <a:pt x="1453" y="100"/>
                  <a:pt x="1453" y="100"/>
                </a:cubicBezTo>
                <a:close/>
                <a:moveTo>
                  <a:pt x="575" y="100"/>
                </a:moveTo>
                <a:cubicBezTo>
                  <a:pt x="575" y="100"/>
                  <a:pt x="574" y="100"/>
                  <a:pt x="574" y="100"/>
                </a:cubicBezTo>
                <a:cubicBezTo>
                  <a:pt x="574" y="100"/>
                  <a:pt x="575" y="100"/>
                  <a:pt x="575" y="100"/>
                </a:cubicBezTo>
                <a:close/>
                <a:moveTo>
                  <a:pt x="618" y="101"/>
                </a:moveTo>
                <a:cubicBezTo>
                  <a:pt x="618" y="101"/>
                  <a:pt x="618" y="100"/>
                  <a:pt x="618" y="100"/>
                </a:cubicBezTo>
                <a:cubicBezTo>
                  <a:pt x="618" y="100"/>
                  <a:pt x="618" y="101"/>
                  <a:pt x="618" y="101"/>
                </a:cubicBezTo>
                <a:close/>
                <a:moveTo>
                  <a:pt x="661" y="100"/>
                </a:moveTo>
                <a:cubicBezTo>
                  <a:pt x="661" y="100"/>
                  <a:pt x="660" y="100"/>
                  <a:pt x="660" y="100"/>
                </a:cubicBezTo>
                <a:cubicBezTo>
                  <a:pt x="660" y="100"/>
                  <a:pt x="660" y="100"/>
                  <a:pt x="661" y="100"/>
                </a:cubicBezTo>
                <a:close/>
                <a:moveTo>
                  <a:pt x="690" y="100"/>
                </a:moveTo>
                <a:cubicBezTo>
                  <a:pt x="689" y="100"/>
                  <a:pt x="689" y="100"/>
                  <a:pt x="689" y="100"/>
                </a:cubicBezTo>
                <a:cubicBezTo>
                  <a:pt x="689" y="100"/>
                  <a:pt x="689" y="100"/>
                  <a:pt x="690" y="100"/>
                </a:cubicBezTo>
                <a:close/>
                <a:moveTo>
                  <a:pt x="722" y="100"/>
                </a:moveTo>
                <a:cubicBezTo>
                  <a:pt x="721" y="100"/>
                  <a:pt x="721" y="100"/>
                  <a:pt x="721" y="100"/>
                </a:cubicBezTo>
                <a:cubicBezTo>
                  <a:pt x="721" y="100"/>
                  <a:pt x="721" y="100"/>
                  <a:pt x="722" y="100"/>
                </a:cubicBezTo>
                <a:close/>
                <a:moveTo>
                  <a:pt x="764" y="100"/>
                </a:moveTo>
                <a:cubicBezTo>
                  <a:pt x="764" y="100"/>
                  <a:pt x="763" y="100"/>
                  <a:pt x="763" y="100"/>
                </a:cubicBezTo>
                <a:cubicBezTo>
                  <a:pt x="763" y="100"/>
                  <a:pt x="763" y="100"/>
                  <a:pt x="764" y="100"/>
                </a:cubicBezTo>
                <a:close/>
                <a:moveTo>
                  <a:pt x="795" y="100"/>
                </a:moveTo>
                <a:cubicBezTo>
                  <a:pt x="795" y="100"/>
                  <a:pt x="794" y="100"/>
                  <a:pt x="794" y="100"/>
                </a:cubicBezTo>
                <a:cubicBezTo>
                  <a:pt x="795" y="100"/>
                  <a:pt x="795" y="100"/>
                  <a:pt x="795" y="100"/>
                </a:cubicBezTo>
                <a:close/>
                <a:moveTo>
                  <a:pt x="978" y="100"/>
                </a:moveTo>
                <a:cubicBezTo>
                  <a:pt x="978" y="100"/>
                  <a:pt x="978" y="100"/>
                  <a:pt x="977" y="100"/>
                </a:cubicBezTo>
                <a:cubicBezTo>
                  <a:pt x="978" y="100"/>
                  <a:pt x="978" y="100"/>
                  <a:pt x="978" y="100"/>
                </a:cubicBezTo>
                <a:close/>
                <a:moveTo>
                  <a:pt x="1015" y="100"/>
                </a:moveTo>
                <a:cubicBezTo>
                  <a:pt x="1015" y="100"/>
                  <a:pt x="1015" y="100"/>
                  <a:pt x="1015" y="100"/>
                </a:cubicBezTo>
                <a:cubicBezTo>
                  <a:pt x="1015" y="100"/>
                  <a:pt x="1015" y="100"/>
                  <a:pt x="1015" y="100"/>
                </a:cubicBezTo>
                <a:close/>
                <a:moveTo>
                  <a:pt x="1077" y="100"/>
                </a:moveTo>
                <a:cubicBezTo>
                  <a:pt x="1077" y="100"/>
                  <a:pt x="1077" y="100"/>
                  <a:pt x="1076" y="100"/>
                </a:cubicBezTo>
                <a:cubicBezTo>
                  <a:pt x="1077" y="100"/>
                  <a:pt x="1077" y="100"/>
                  <a:pt x="1077" y="100"/>
                </a:cubicBezTo>
                <a:close/>
                <a:moveTo>
                  <a:pt x="1224" y="100"/>
                </a:moveTo>
                <a:cubicBezTo>
                  <a:pt x="1223" y="100"/>
                  <a:pt x="1223" y="100"/>
                  <a:pt x="1223" y="100"/>
                </a:cubicBezTo>
                <a:cubicBezTo>
                  <a:pt x="1223" y="100"/>
                  <a:pt x="1223" y="100"/>
                  <a:pt x="1224" y="100"/>
                </a:cubicBezTo>
                <a:close/>
                <a:moveTo>
                  <a:pt x="832" y="49"/>
                </a:moveTo>
                <a:cubicBezTo>
                  <a:pt x="831" y="49"/>
                  <a:pt x="831" y="50"/>
                  <a:pt x="831" y="50"/>
                </a:cubicBezTo>
                <a:cubicBezTo>
                  <a:pt x="831" y="50"/>
                  <a:pt x="832" y="50"/>
                  <a:pt x="832" y="49"/>
                </a:cubicBezTo>
                <a:close/>
                <a:moveTo>
                  <a:pt x="1427" y="100"/>
                </a:moveTo>
                <a:cubicBezTo>
                  <a:pt x="1427" y="100"/>
                  <a:pt x="1427" y="100"/>
                  <a:pt x="1426" y="100"/>
                </a:cubicBezTo>
                <a:cubicBezTo>
                  <a:pt x="1427" y="100"/>
                  <a:pt x="1427" y="100"/>
                  <a:pt x="1427" y="100"/>
                </a:cubicBezTo>
                <a:close/>
                <a:moveTo>
                  <a:pt x="1453" y="100"/>
                </a:moveTo>
                <a:cubicBezTo>
                  <a:pt x="1452" y="100"/>
                  <a:pt x="1452" y="100"/>
                  <a:pt x="1452" y="100"/>
                </a:cubicBezTo>
                <a:cubicBezTo>
                  <a:pt x="1452" y="100"/>
                  <a:pt x="1452" y="100"/>
                  <a:pt x="1453" y="100"/>
                </a:cubicBezTo>
                <a:close/>
                <a:moveTo>
                  <a:pt x="1674" y="101"/>
                </a:moveTo>
                <a:cubicBezTo>
                  <a:pt x="1674" y="100"/>
                  <a:pt x="1674" y="100"/>
                  <a:pt x="1674" y="100"/>
                </a:cubicBezTo>
                <a:cubicBezTo>
                  <a:pt x="1674" y="100"/>
                  <a:pt x="1674" y="101"/>
                  <a:pt x="1674" y="101"/>
                </a:cubicBezTo>
                <a:close/>
                <a:moveTo>
                  <a:pt x="1687" y="100"/>
                </a:moveTo>
                <a:cubicBezTo>
                  <a:pt x="1687" y="100"/>
                  <a:pt x="1688" y="101"/>
                  <a:pt x="1688" y="101"/>
                </a:cubicBezTo>
                <a:cubicBezTo>
                  <a:pt x="1688" y="101"/>
                  <a:pt x="1688" y="100"/>
                  <a:pt x="1687" y="100"/>
                </a:cubicBezTo>
                <a:close/>
                <a:moveTo>
                  <a:pt x="574" y="100"/>
                </a:moveTo>
                <a:cubicBezTo>
                  <a:pt x="574" y="100"/>
                  <a:pt x="573" y="101"/>
                  <a:pt x="573" y="101"/>
                </a:cubicBezTo>
                <a:cubicBezTo>
                  <a:pt x="574" y="101"/>
                  <a:pt x="574" y="101"/>
                  <a:pt x="574" y="100"/>
                </a:cubicBezTo>
                <a:close/>
                <a:moveTo>
                  <a:pt x="630" y="100"/>
                </a:moveTo>
                <a:cubicBezTo>
                  <a:pt x="629" y="101"/>
                  <a:pt x="629" y="101"/>
                  <a:pt x="629" y="101"/>
                </a:cubicBezTo>
                <a:cubicBezTo>
                  <a:pt x="630" y="101"/>
                  <a:pt x="630" y="101"/>
                  <a:pt x="630" y="100"/>
                </a:cubicBezTo>
                <a:close/>
                <a:moveTo>
                  <a:pt x="662" y="101"/>
                </a:moveTo>
                <a:cubicBezTo>
                  <a:pt x="662" y="101"/>
                  <a:pt x="661" y="100"/>
                  <a:pt x="661" y="101"/>
                </a:cubicBezTo>
                <a:cubicBezTo>
                  <a:pt x="661" y="101"/>
                  <a:pt x="661" y="101"/>
                  <a:pt x="662" y="101"/>
                </a:cubicBezTo>
                <a:close/>
                <a:moveTo>
                  <a:pt x="689" y="100"/>
                </a:moveTo>
                <a:cubicBezTo>
                  <a:pt x="689" y="100"/>
                  <a:pt x="688" y="100"/>
                  <a:pt x="688" y="101"/>
                </a:cubicBezTo>
                <a:cubicBezTo>
                  <a:pt x="688" y="101"/>
                  <a:pt x="689" y="101"/>
                  <a:pt x="689" y="100"/>
                </a:cubicBezTo>
                <a:close/>
                <a:moveTo>
                  <a:pt x="764" y="101"/>
                </a:moveTo>
                <a:cubicBezTo>
                  <a:pt x="764" y="100"/>
                  <a:pt x="764" y="100"/>
                  <a:pt x="764" y="100"/>
                </a:cubicBezTo>
                <a:cubicBezTo>
                  <a:pt x="764" y="101"/>
                  <a:pt x="764" y="101"/>
                  <a:pt x="764" y="101"/>
                </a:cubicBezTo>
                <a:close/>
                <a:moveTo>
                  <a:pt x="857" y="50"/>
                </a:moveTo>
                <a:cubicBezTo>
                  <a:pt x="857" y="50"/>
                  <a:pt x="857" y="49"/>
                  <a:pt x="857" y="49"/>
                </a:cubicBezTo>
                <a:cubicBezTo>
                  <a:pt x="857" y="50"/>
                  <a:pt x="857" y="50"/>
                  <a:pt x="857" y="50"/>
                </a:cubicBezTo>
                <a:close/>
                <a:moveTo>
                  <a:pt x="979" y="101"/>
                </a:moveTo>
                <a:cubicBezTo>
                  <a:pt x="979" y="101"/>
                  <a:pt x="979" y="100"/>
                  <a:pt x="978" y="100"/>
                </a:cubicBezTo>
                <a:cubicBezTo>
                  <a:pt x="979" y="101"/>
                  <a:pt x="979" y="101"/>
                  <a:pt x="979" y="101"/>
                </a:cubicBezTo>
                <a:close/>
                <a:moveTo>
                  <a:pt x="1014" y="101"/>
                </a:moveTo>
                <a:cubicBezTo>
                  <a:pt x="1014" y="100"/>
                  <a:pt x="1014" y="101"/>
                  <a:pt x="1013" y="101"/>
                </a:cubicBezTo>
                <a:cubicBezTo>
                  <a:pt x="1014" y="101"/>
                  <a:pt x="1014" y="101"/>
                  <a:pt x="1014" y="101"/>
                </a:cubicBezTo>
                <a:close/>
                <a:moveTo>
                  <a:pt x="1047" y="101"/>
                </a:moveTo>
                <a:cubicBezTo>
                  <a:pt x="1047" y="101"/>
                  <a:pt x="1046" y="100"/>
                  <a:pt x="1046" y="100"/>
                </a:cubicBezTo>
                <a:cubicBezTo>
                  <a:pt x="1046" y="101"/>
                  <a:pt x="1046" y="101"/>
                  <a:pt x="1047" y="101"/>
                </a:cubicBezTo>
                <a:close/>
                <a:moveTo>
                  <a:pt x="1076" y="100"/>
                </a:moveTo>
                <a:cubicBezTo>
                  <a:pt x="1076" y="100"/>
                  <a:pt x="1076" y="101"/>
                  <a:pt x="1076" y="101"/>
                </a:cubicBezTo>
                <a:cubicBezTo>
                  <a:pt x="1076" y="101"/>
                  <a:pt x="1076" y="101"/>
                  <a:pt x="1076" y="100"/>
                </a:cubicBezTo>
                <a:close/>
                <a:moveTo>
                  <a:pt x="1182" y="101"/>
                </a:moveTo>
                <a:cubicBezTo>
                  <a:pt x="1182" y="101"/>
                  <a:pt x="1182" y="100"/>
                  <a:pt x="1181" y="100"/>
                </a:cubicBezTo>
                <a:cubicBezTo>
                  <a:pt x="1182" y="101"/>
                  <a:pt x="1182" y="101"/>
                  <a:pt x="1182" y="101"/>
                </a:cubicBezTo>
                <a:close/>
                <a:moveTo>
                  <a:pt x="1225" y="101"/>
                </a:moveTo>
                <a:cubicBezTo>
                  <a:pt x="1224" y="101"/>
                  <a:pt x="1224" y="100"/>
                  <a:pt x="1224" y="101"/>
                </a:cubicBezTo>
                <a:cubicBezTo>
                  <a:pt x="1224" y="101"/>
                  <a:pt x="1224" y="101"/>
                  <a:pt x="1225" y="101"/>
                </a:cubicBezTo>
                <a:close/>
                <a:moveTo>
                  <a:pt x="1254" y="100"/>
                </a:moveTo>
                <a:cubicBezTo>
                  <a:pt x="1254" y="100"/>
                  <a:pt x="1254" y="101"/>
                  <a:pt x="1253" y="101"/>
                </a:cubicBezTo>
                <a:cubicBezTo>
                  <a:pt x="1254" y="101"/>
                  <a:pt x="1254" y="101"/>
                  <a:pt x="1254" y="100"/>
                </a:cubicBezTo>
                <a:close/>
                <a:moveTo>
                  <a:pt x="1428" y="101"/>
                </a:moveTo>
                <a:cubicBezTo>
                  <a:pt x="1428" y="101"/>
                  <a:pt x="1427" y="100"/>
                  <a:pt x="1427" y="100"/>
                </a:cubicBezTo>
                <a:cubicBezTo>
                  <a:pt x="1427" y="101"/>
                  <a:pt x="1428" y="101"/>
                  <a:pt x="1428" y="101"/>
                </a:cubicBezTo>
                <a:close/>
                <a:moveTo>
                  <a:pt x="1452" y="100"/>
                </a:moveTo>
                <a:cubicBezTo>
                  <a:pt x="1452" y="100"/>
                  <a:pt x="1451" y="100"/>
                  <a:pt x="1451" y="101"/>
                </a:cubicBezTo>
                <a:cubicBezTo>
                  <a:pt x="1451" y="101"/>
                  <a:pt x="1452" y="101"/>
                  <a:pt x="1452" y="100"/>
                </a:cubicBezTo>
                <a:close/>
                <a:moveTo>
                  <a:pt x="676" y="43"/>
                </a:moveTo>
                <a:cubicBezTo>
                  <a:pt x="676" y="43"/>
                  <a:pt x="676" y="43"/>
                  <a:pt x="676" y="43"/>
                </a:cubicBezTo>
                <a:cubicBezTo>
                  <a:pt x="676" y="43"/>
                  <a:pt x="676" y="43"/>
                  <a:pt x="676" y="43"/>
                </a:cubicBezTo>
                <a:close/>
                <a:moveTo>
                  <a:pt x="662" y="101"/>
                </a:moveTo>
                <a:cubicBezTo>
                  <a:pt x="662" y="101"/>
                  <a:pt x="662" y="101"/>
                  <a:pt x="662" y="101"/>
                </a:cubicBezTo>
                <a:cubicBezTo>
                  <a:pt x="662" y="101"/>
                  <a:pt x="662" y="101"/>
                  <a:pt x="662" y="101"/>
                </a:cubicBezTo>
                <a:close/>
                <a:moveTo>
                  <a:pt x="688" y="101"/>
                </a:moveTo>
                <a:cubicBezTo>
                  <a:pt x="688" y="101"/>
                  <a:pt x="687" y="101"/>
                  <a:pt x="687" y="101"/>
                </a:cubicBezTo>
                <a:cubicBezTo>
                  <a:pt x="687" y="101"/>
                  <a:pt x="688" y="101"/>
                  <a:pt x="688" y="101"/>
                </a:cubicBezTo>
                <a:close/>
                <a:moveTo>
                  <a:pt x="723" y="101"/>
                </a:moveTo>
                <a:cubicBezTo>
                  <a:pt x="723" y="101"/>
                  <a:pt x="722" y="101"/>
                  <a:pt x="722" y="101"/>
                </a:cubicBezTo>
                <a:cubicBezTo>
                  <a:pt x="722" y="101"/>
                  <a:pt x="722" y="101"/>
                  <a:pt x="723" y="101"/>
                </a:cubicBezTo>
                <a:close/>
                <a:moveTo>
                  <a:pt x="1495" y="13"/>
                </a:moveTo>
                <a:cubicBezTo>
                  <a:pt x="1495" y="13"/>
                  <a:pt x="1495" y="13"/>
                  <a:pt x="1495" y="12"/>
                </a:cubicBezTo>
                <a:cubicBezTo>
                  <a:pt x="1495" y="12"/>
                  <a:pt x="1495" y="12"/>
                  <a:pt x="1495" y="13"/>
                </a:cubicBezTo>
                <a:close/>
                <a:moveTo>
                  <a:pt x="793" y="101"/>
                </a:moveTo>
                <a:cubicBezTo>
                  <a:pt x="793" y="101"/>
                  <a:pt x="793" y="101"/>
                  <a:pt x="792" y="101"/>
                </a:cubicBezTo>
                <a:cubicBezTo>
                  <a:pt x="793" y="101"/>
                  <a:pt x="793" y="101"/>
                  <a:pt x="793" y="101"/>
                </a:cubicBezTo>
                <a:close/>
                <a:moveTo>
                  <a:pt x="980" y="101"/>
                </a:moveTo>
                <a:cubicBezTo>
                  <a:pt x="980" y="101"/>
                  <a:pt x="980" y="101"/>
                  <a:pt x="980" y="101"/>
                </a:cubicBezTo>
                <a:cubicBezTo>
                  <a:pt x="980" y="101"/>
                  <a:pt x="980" y="101"/>
                  <a:pt x="980" y="101"/>
                </a:cubicBezTo>
                <a:close/>
                <a:moveTo>
                  <a:pt x="874" y="49"/>
                </a:moveTo>
                <a:cubicBezTo>
                  <a:pt x="874" y="49"/>
                  <a:pt x="874" y="50"/>
                  <a:pt x="874" y="50"/>
                </a:cubicBezTo>
                <a:cubicBezTo>
                  <a:pt x="874" y="50"/>
                  <a:pt x="874" y="50"/>
                  <a:pt x="874" y="49"/>
                </a:cubicBezTo>
                <a:close/>
                <a:moveTo>
                  <a:pt x="1047" y="101"/>
                </a:moveTo>
                <a:cubicBezTo>
                  <a:pt x="1047" y="101"/>
                  <a:pt x="1047" y="101"/>
                  <a:pt x="1047" y="101"/>
                </a:cubicBezTo>
                <a:cubicBezTo>
                  <a:pt x="1047" y="101"/>
                  <a:pt x="1047" y="101"/>
                  <a:pt x="1047" y="101"/>
                </a:cubicBezTo>
                <a:close/>
                <a:moveTo>
                  <a:pt x="800" y="43"/>
                </a:moveTo>
                <a:cubicBezTo>
                  <a:pt x="800" y="43"/>
                  <a:pt x="800" y="43"/>
                  <a:pt x="800" y="43"/>
                </a:cubicBezTo>
                <a:cubicBezTo>
                  <a:pt x="800" y="43"/>
                  <a:pt x="800" y="43"/>
                  <a:pt x="800" y="43"/>
                </a:cubicBezTo>
                <a:close/>
                <a:moveTo>
                  <a:pt x="1183" y="101"/>
                </a:moveTo>
                <a:cubicBezTo>
                  <a:pt x="1183" y="101"/>
                  <a:pt x="1182" y="101"/>
                  <a:pt x="1182" y="101"/>
                </a:cubicBezTo>
                <a:cubicBezTo>
                  <a:pt x="1182" y="101"/>
                  <a:pt x="1182" y="101"/>
                  <a:pt x="1183" y="101"/>
                </a:cubicBezTo>
                <a:close/>
                <a:moveTo>
                  <a:pt x="1225" y="101"/>
                </a:moveTo>
                <a:cubicBezTo>
                  <a:pt x="1225" y="101"/>
                  <a:pt x="1225" y="101"/>
                  <a:pt x="1225" y="101"/>
                </a:cubicBezTo>
                <a:cubicBezTo>
                  <a:pt x="1225" y="101"/>
                  <a:pt x="1225" y="101"/>
                  <a:pt x="1225" y="101"/>
                </a:cubicBezTo>
                <a:close/>
                <a:moveTo>
                  <a:pt x="1253" y="101"/>
                </a:moveTo>
                <a:cubicBezTo>
                  <a:pt x="1253" y="101"/>
                  <a:pt x="1253" y="101"/>
                  <a:pt x="1252" y="101"/>
                </a:cubicBezTo>
                <a:cubicBezTo>
                  <a:pt x="1253" y="101"/>
                  <a:pt x="1253" y="101"/>
                  <a:pt x="1253" y="101"/>
                </a:cubicBezTo>
                <a:close/>
                <a:moveTo>
                  <a:pt x="1429" y="101"/>
                </a:moveTo>
                <a:cubicBezTo>
                  <a:pt x="1428" y="101"/>
                  <a:pt x="1428" y="101"/>
                  <a:pt x="1428" y="101"/>
                </a:cubicBezTo>
                <a:cubicBezTo>
                  <a:pt x="1428" y="101"/>
                  <a:pt x="1428" y="101"/>
                  <a:pt x="1429" y="101"/>
                </a:cubicBezTo>
                <a:close/>
                <a:moveTo>
                  <a:pt x="1451" y="101"/>
                </a:moveTo>
                <a:cubicBezTo>
                  <a:pt x="1451" y="101"/>
                  <a:pt x="1451" y="101"/>
                  <a:pt x="1450" y="101"/>
                </a:cubicBezTo>
                <a:cubicBezTo>
                  <a:pt x="1451" y="101"/>
                  <a:pt x="1451" y="101"/>
                  <a:pt x="1451" y="101"/>
                </a:cubicBezTo>
                <a:close/>
                <a:moveTo>
                  <a:pt x="1675" y="101"/>
                </a:moveTo>
                <a:cubicBezTo>
                  <a:pt x="1675" y="101"/>
                  <a:pt x="1675" y="101"/>
                  <a:pt x="1674" y="101"/>
                </a:cubicBezTo>
                <a:cubicBezTo>
                  <a:pt x="1674" y="101"/>
                  <a:pt x="1674" y="101"/>
                  <a:pt x="1675" y="101"/>
                </a:cubicBezTo>
                <a:close/>
                <a:moveTo>
                  <a:pt x="900" y="50"/>
                </a:moveTo>
                <a:cubicBezTo>
                  <a:pt x="900" y="50"/>
                  <a:pt x="900" y="49"/>
                  <a:pt x="899" y="49"/>
                </a:cubicBezTo>
                <a:cubicBezTo>
                  <a:pt x="899" y="50"/>
                  <a:pt x="899" y="50"/>
                  <a:pt x="900" y="50"/>
                </a:cubicBezTo>
                <a:close/>
                <a:moveTo>
                  <a:pt x="840" y="43"/>
                </a:moveTo>
                <a:cubicBezTo>
                  <a:pt x="839" y="43"/>
                  <a:pt x="839" y="43"/>
                  <a:pt x="839" y="43"/>
                </a:cubicBezTo>
                <a:cubicBezTo>
                  <a:pt x="839" y="43"/>
                  <a:pt x="839" y="43"/>
                  <a:pt x="840" y="43"/>
                </a:cubicBezTo>
                <a:close/>
                <a:moveTo>
                  <a:pt x="663" y="101"/>
                </a:moveTo>
                <a:cubicBezTo>
                  <a:pt x="663" y="101"/>
                  <a:pt x="663" y="101"/>
                  <a:pt x="663" y="101"/>
                </a:cubicBezTo>
                <a:cubicBezTo>
                  <a:pt x="663" y="101"/>
                  <a:pt x="663" y="102"/>
                  <a:pt x="663" y="101"/>
                </a:cubicBezTo>
                <a:close/>
                <a:moveTo>
                  <a:pt x="687" y="101"/>
                </a:moveTo>
                <a:cubicBezTo>
                  <a:pt x="687" y="101"/>
                  <a:pt x="686" y="101"/>
                  <a:pt x="686" y="101"/>
                </a:cubicBezTo>
                <a:cubicBezTo>
                  <a:pt x="687" y="102"/>
                  <a:pt x="687" y="101"/>
                  <a:pt x="687" y="101"/>
                </a:cubicBezTo>
                <a:close/>
                <a:moveTo>
                  <a:pt x="723" y="101"/>
                </a:moveTo>
                <a:cubicBezTo>
                  <a:pt x="723" y="101"/>
                  <a:pt x="723" y="101"/>
                  <a:pt x="723" y="101"/>
                </a:cubicBezTo>
                <a:cubicBezTo>
                  <a:pt x="723" y="101"/>
                  <a:pt x="723" y="101"/>
                  <a:pt x="723" y="101"/>
                </a:cubicBezTo>
                <a:close/>
                <a:moveTo>
                  <a:pt x="742" y="101"/>
                </a:moveTo>
                <a:cubicBezTo>
                  <a:pt x="741" y="101"/>
                  <a:pt x="741" y="101"/>
                  <a:pt x="741" y="102"/>
                </a:cubicBezTo>
                <a:cubicBezTo>
                  <a:pt x="741" y="102"/>
                  <a:pt x="742" y="101"/>
                  <a:pt x="742" y="101"/>
                </a:cubicBezTo>
                <a:close/>
                <a:moveTo>
                  <a:pt x="766" y="101"/>
                </a:moveTo>
                <a:cubicBezTo>
                  <a:pt x="766" y="101"/>
                  <a:pt x="766" y="101"/>
                  <a:pt x="765" y="101"/>
                </a:cubicBezTo>
                <a:cubicBezTo>
                  <a:pt x="766" y="101"/>
                  <a:pt x="766" y="102"/>
                  <a:pt x="766" y="101"/>
                </a:cubicBezTo>
                <a:close/>
                <a:moveTo>
                  <a:pt x="972" y="13"/>
                </a:moveTo>
                <a:cubicBezTo>
                  <a:pt x="973" y="13"/>
                  <a:pt x="973" y="13"/>
                  <a:pt x="973" y="13"/>
                </a:cubicBezTo>
                <a:cubicBezTo>
                  <a:pt x="973" y="13"/>
                  <a:pt x="972" y="13"/>
                  <a:pt x="972" y="13"/>
                </a:cubicBezTo>
                <a:close/>
                <a:moveTo>
                  <a:pt x="870" y="43"/>
                </a:moveTo>
                <a:cubicBezTo>
                  <a:pt x="870" y="43"/>
                  <a:pt x="870" y="43"/>
                  <a:pt x="870" y="43"/>
                </a:cubicBezTo>
                <a:cubicBezTo>
                  <a:pt x="870" y="43"/>
                  <a:pt x="870" y="43"/>
                  <a:pt x="870" y="43"/>
                </a:cubicBezTo>
                <a:close/>
                <a:moveTo>
                  <a:pt x="882" y="43"/>
                </a:moveTo>
                <a:cubicBezTo>
                  <a:pt x="882" y="43"/>
                  <a:pt x="882" y="43"/>
                  <a:pt x="882" y="43"/>
                </a:cubicBezTo>
                <a:cubicBezTo>
                  <a:pt x="882" y="43"/>
                  <a:pt x="882" y="43"/>
                  <a:pt x="882" y="43"/>
                </a:cubicBezTo>
                <a:close/>
                <a:moveTo>
                  <a:pt x="909" y="43"/>
                </a:moveTo>
                <a:cubicBezTo>
                  <a:pt x="909" y="43"/>
                  <a:pt x="909" y="43"/>
                  <a:pt x="910" y="43"/>
                </a:cubicBezTo>
                <a:cubicBezTo>
                  <a:pt x="910" y="43"/>
                  <a:pt x="909" y="43"/>
                  <a:pt x="909" y="43"/>
                </a:cubicBezTo>
                <a:close/>
                <a:moveTo>
                  <a:pt x="1033" y="50"/>
                </a:moveTo>
                <a:cubicBezTo>
                  <a:pt x="1033" y="50"/>
                  <a:pt x="1033" y="50"/>
                  <a:pt x="1033" y="49"/>
                </a:cubicBezTo>
                <a:cubicBezTo>
                  <a:pt x="1033" y="49"/>
                  <a:pt x="1033" y="50"/>
                  <a:pt x="1033" y="50"/>
                </a:cubicBezTo>
                <a:close/>
                <a:moveTo>
                  <a:pt x="1183" y="102"/>
                </a:moveTo>
                <a:cubicBezTo>
                  <a:pt x="1183" y="101"/>
                  <a:pt x="1183" y="101"/>
                  <a:pt x="1183" y="101"/>
                </a:cubicBezTo>
                <a:cubicBezTo>
                  <a:pt x="1183" y="101"/>
                  <a:pt x="1183" y="102"/>
                  <a:pt x="1183" y="102"/>
                </a:cubicBezTo>
                <a:close/>
                <a:moveTo>
                  <a:pt x="1202" y="101"/>
                </a:moveTo>
                <a:cubicBezTo>
                  <a:pt x="1202" y="101"/>
                  <a:pt x="1201" y="101"/>
                  <a:pt x="1201" y="101"/>
                </a:cubicBezTo>
                <a:cubicBezTo>
                  <a:pt x="1201" y="101"/>
                  <a:pt x="1202" y="101"/>
                  <a:pt x="1202" y="101"/>
                </a:cubicBezTo>
                <a:close/>
                <a:moveTo>
                  <a:pt x="1290" y="43"/>
                </a:moveTo>
                <a:cubicBezTo>
                  <a:pt x="1290" y="43"/>
                  <a:pt x="1290" y="43"/>
                  <a:pt x="1290" y="43"/>
                </a:cubicBezTo>
                <a:cubicBezTo>
                  <a:pt x="1290" y="43"/>
                  <a:pt x="1290" y="43"/>
                  <a:pt x="1290" y="43"/>
                </a:cubicBezTo>
                <a:close/>
                <a:moveTo>
                  <a:pt x="1252" y="101"/>
                </a:moveTo>
                <a:cubicBezTo>
                  <a:pt x="1252" y="101"/>
                  <a:pt x="1251" y="101"/>
                  <a:pt x="1251" y="101"/>
                </a:cubicBezTo>
                <a:cubicBezTo>
                  <a:pt x="1252" y="102"/>
                  <a:pt x="1252" y="101"/>
                  <a:pt x="1252" y="101"/>
                </a:cubicBezTo>
                <a:close/>
                <a:moveTo>
                  <a:pt x="1429" y="101"/>
                </a:moveTo>
                <a:cubicBezTo>
                  <a:pt x="1429" y="101"/>
                  <a:pt x="1429" y="101"/>
                  <a:pt x="1429" y="101"/>
                </a:cubicBezTo>
                <a:cubicBezTo>
                  <a:pt x="1429" y="101"/>
                  <a:pt x="1429" y="102"/>
                  <a:pt x="1429" y="101"/>
                </a:cubicBezTo>
                <a:close/>
                <a:moveTo>
                  <a:pt x="1450" y="101"/>
                </a:moveTo>
                <a:cubicBezTo>
                  <a:pt x="1450" y="101"/>
                  <a:pt x="1450" y="101"/>
                  <a:pt x="1449" y="102"/>
                </a:cubicBezTo>
                <a:cubicBezTo>
                  <a:pt x="1450" y="102"/>
                  <a:pt x="1450" y="101"/>
                  <a:pt x="1450" y="101"/>
                </a:cubicBezTo>
                <a:close/>
                <a:moveTo>
                  <a:pt x="1396" y="43"/>
                </a:moveTo>
                <a:cubicBezTo>
                  <a:pt x="1395" y="43"/>
                  <a:pt x="1395" y="43"/>
                  <a:pt x="1395" y="43"/>
                </a:cubicBezTo>
                <a:cubicBezTo>
                  <a:pt x="1396" y="43"/>
                  <a:pt x="1396" y="43"/>
                  <a:pt x="1396" y="43"/>
                </a:cubicBezTo>
                <a:close/>
                <a:moveTo>
                  <a:pt x="1568" y="43"/>
                </a:moveTo>
                <a:cubicBezTo>
                  <a:pt x="1568" y="43"/>
                  <a:pt x="1568" y="43"/>
                  <a:pt x="1568" y="43"/>
                </a:cubicBezTo>
                <a:cubicBezTo>
                  <a:pt x="1568" y="43"/>
                  <a:pt x="1568" y="43"/>
                  <a:pt x="1568" y="43"/>
                </a:cubicBezTo>
                <a:close/>
                <a:moveTo>
                  <a:pt x="1683" y="43"/>
                </a:moveTo>
                <a:cubicBezTo>
                  <a:pt x="1682" y="43"/>
                  <a:pt x="1682" y="43"/>
                  <a:pt x="1682" y="43"/>
                </a:cubicBezTo>
                <a:cubicBezTo>
                  <a:pt x="1683" y="43"/>
                  <a:pt x="1683" y="43"/>
                  <a:pt x="1683" y="43"/>
                </a:cubicBezTo>
                <a:close/>
                <a:moveTo>
                  <a:pt x="686" y="102"/>
                </a:moveTo>
                <a:cubicBezTo>
                  <a:pt x="686" y="102"/>
                  <a:pt x="685" y="102"/>
                  <a:pt x="685" y="102"/>
                </a:cubicBezTo>
                <a:cubicBezTo>
                  <a:pt x="686" y="102"/>
                  <a:pt x="686" y="102"/>
                  <a:pt x="686" y="102"/>
                </a:cubicBezTo>
                <a:close/>
                <a:moveTo>
                  <a:pt x="1494" y="13"/>
                </a:moveTo>
                <a:cubicBezTo>
                  <a:pt x="1494" y="13"/>
                  <a:pt x="1494" y="13"/>
                  <a:pt x="1494" y="13"/>
                </a:cubicBezTo>
                <a:cubicBezTo>
                  <a:pt x="1494" y="13"/>
                  <a:pt x="1494" y="13"/>
                  <a:pt x="1494" y="13"/>
                </a:cubicBezTo>
                <a:close/>
                <a:moveTo>
                  <a:pt x="741" y="102"/>
                </a:moveTo>
                <a:cubicBezTo>
                  <a:pt x="741" y="101"/>
                  <a:pt x="740" y="102"/>
                  <a:pt x="740" y="102"/>
                </a:cubicBezTo>
                <a:cubicBezTo>
                  <a:pt x="741" y="102"/>
                  <a:pt x="741" y="102"/>
                  <a:pt x="741" y="102"/>
                </a:cubicBezTo>
                <a:close/>
                <a:moveTo>
                  <a:pt x="767" y="102"/>
                </a:moveTo>
                <a:cubicBezTo>
                  <a:pt x="767" y="102"/>
                  <a:pt x="767" y="101"/>
                  <a:pt x="766" y="102"/>
                </a:cubicBezTo>
                <a:cubicBezTo>
                  <a:pt x="767" y="102"/>
                  <a:pt x="767" y="102"/>
                  <a:pt x="767" y="102"/>
                </a:cubicBezTo>
                <a:close/>
                <a:moveTo>
                  <a:pt x="1736" y="43"/>
                </a:moveTo>
                <a:cubicBezTo>
                  <a:pt x="1736" y="43"/>
                  <a:pt x="1737" y="43"/>
                  <a:pt x="1737" y="43"/>
                </a:cubicBezTo>
                <a:cubicBezTo>
                  <a:pt x="1736" y="43"/>
                  <a:pt x="1736" y="43"/>
                  <a:pt x="1736" y="43"/>
                </a:cubicBezTo>
                <a:close/>
                <a:moveTo>
                  <a:pt x="678" y="62"/>
                </a:moveTo>
                <a:cubicBezTo>
                  <a:pt x="679" y="62"/>
                  <a:pt x="679" y="62"/>
                  <a:pt x="679" y="62"/>
                </a:cubicBezTo>
                <a:cubicBezTo>
                  <a:pt x="679" y="62"/>
                  <a:pt x="679" y="62"/>
                  <a:pt x="678" y="62"/>
                </a:cubicBezTo>
                <a:close/>
                <a:moveTo>
                  <a:pt x="641" y="44"/>
                </a:moveTo>
                <a:cubicBezTo>
                  <a:pt x="641" y="44"/>
                  <a:pt x="641" y="43"/>
                  <a:pt x="641" y="43"/>
                </a:cubicBezTo>
                <a:cubicBezTo>
                  <a:pt x="641" y="43"/>
                  <a:pt x="641" y="44"/>
                  <a:pt x="641" y="44"/>
                </a:cubicBezTo>
                <a:close/>
                <a:moveTo>
                  <a:pt x="1746" y="48"/>
                </a:moveTo>
                <a:cubicBezTo>
                  <a:pt x="1745" y="48"/>
                  <a:pt x="1745" y="49"/>
                  <a:pt x="1745" y="49"/>
                </a:cubicBezTo>
                <a:cubicBezTo>
                  <a:pt x="1746" y="49"/>
                  <a:pt x="1746" y="49"/>
                  <a:pt x="1746" y="48"/>
                </a:cubicBezTo>
                <a:close/>
                <a:moveTo>
                  <a:pt x="660" y="44"/>
                </a:moveTo>
                <a:cubicBezTo>
                  <a:pt x="661" y="44"/>
                  <a:pt x="661" y="43"/>
                  <a:pt x="661" y="43"/>
                </a:cubicBezTo>
                <a:cubicBezTo>
                  <a:pt x="660" y="43"/>
                  <a:pt x="660" y="43"/>
                  <a:pt x="660" y="44"/>
                </a:cubicBezTo>
                <a:close/>
                <a:moveTo>
                  <a:pt x="676" y="43"/>
                </a:moveTo>
                <a:cubicBezTo>
                  <a:pt x="675" y="43"/>
                  <a:pt x="675" y="43"/>
                  <a:pt x="675" y="43"/>
                </a:cubicBezTo>
                <a:cubicBezTo>
                  <a:pt x="675" y="43"/>
                  <a:pt x="675" y="43"/>
                  <a:pt x="676" y="43"/>
                </a:cubicBezTo>
                <a:close/>
                <a:moveTo>
                  <a:pt x="1184" y="102"/>
                </a:moveTo>
                <a:cubicBezTo>
                  <a:pt x="1184" y="102"/>
                  <a:pt x="1184" y="102"/>
                  <a:pt x="1183" y="102"/>
                </a:cubicBezTo>
                <a:cubicBezTo>
                  <a:pt x="1184" y="102"/>
                  <a:pt x="1184" y="102"/>
                  <a:pt x="1184" y="102"/>
                </a:cubicBezTo>
                <a:close/>
                <a:moveTo>
                  <a:pt x="1201" y="102"/>
                </a:moveTo>
                <a:cubicBezTo>
                  <a:pt x="1201" y="102"/>
                  <a:pt x="1200" y="102"/>
                  <a:pt x="1200" y="102"/>
                </a:cubicBezTo>
                <a:cubicBezTo>
                  <a:pt x="1200" y="102"/>
                  <a:pt x="1201" y="102"/>
                  <a:pt x="1201" y="102"/>
                </a:cubicBezTo>
                <a:close/>
                <a:moveTo>
                  <a:pt x="971" y="14"/>
                </a:moveTo>
                <a:cubicBezTo>
                  <a:pt x="972" y="14"/>
                  <a:pt x="972" y="14"/>
                  <a:pt x="972" y="13"/>
                </a:cubicBezTo>
                <a:cubicBezTo>
                  <a:pt x="972" y="13"/>
                  <a:pt x="971" y="14"/>
                  <a:pt x="971" y="14"/>
                </a:cubicBezTo>
                <a:close/>
                <a:moveTo>
                  <a:pt x="829" y="44"/>
                </a:moveTo>
                <a:cubicBezTo>
                  <a:pt x="829" y="44"/>
                  <a:pt x="829" y="43"/>
                  <a:pt x="829" y="43"/>
                </a:cubicBezTo>
                <a:cubicBezTo>
                  <a:pt x="829" y="43"/>
                  <a:pt x="829" y="43"/>
                  <a:pt x="829" y="44"/>
                </a:cubicBezTo>
                <a:close/>
                <a:moveTo>
                  <a:pt x="839" y="43"/>
                </a:moveTo>
                <a:cubicBezTo>
                  <a:pt x="839" y="43"/>
                  <a:pt x="838" y="43"/>
                  <a:pt x="838" y="43"/>
                </a:cubicBezTo>
                <a:cubicBezTo>
                  <a:pt x="838" y="43"/>
                  <a:pt x="839" y="43"/>
                  <a:pt x="839" y="43"/>
                </a:cubicBezTo>
                <a:close/>
                <a:moveTo>
                  <a:pt x="1449" y="101"/>
                </a:moveTo>
                <a:cubicBezTo>
                  <a:pt x="1449" y="101"/>
                  <a:pt x="1449" y="102"/>
                  <a:pt x="1449" y="102"/>
                </a:cubicBezTo>
                <a:cubicBezTo>
                  <a:pt x="1449" y="102"/>
                  <a:pt x="1449" y="102"/>
                  <a:pt x="1449" y="101"/>
                </a:cubicBezTo>
                <a:close/>
                <a:moveTo>
                  <a:pt x="1291" y="53"/>
                </a:moveTo>
                <a:cubicBezTo>
                  <a:pt x="1290" y="53"/>
                  <a:pt x="1290" y="54"/>
                  <a:pt x="1290" y="54"/>
                </a:cubicBezTo>
                <a:cubicBezTo>
                  <a:pt x="1291" y="54"/>
                  <a:pt x="1291" y="53"/>
                  <a:pt x="1291" y="53"/>
                </a:cubicBezTo>
                <a:close/>
                <a:moveTo>
                  <a:pt x="1493" y="14"/>
                </a:moveTo>
                <a:cubicBezTo>
                  <a:pt x="1493" y="14"/>
                  <a:pt x="1493" y="14"/>
                  <a:pt x="1494" y="13"/>
                </a:cubicBezTo>
                <a:cubicBezTo>
                  <a:pt x="1493" y="13"/>
                  <a:pt x="1493" y="14"/>
                  <a:pt x="1493" y="14"/>
                </a:cubicBezTo>
                <a:close/>
                <a:moveTo>
                  <a:pt x="851" y="43"/>
                </a:moveTo>
                <a:cubicBezTo>
                  <a:pt x="851" y="43"/>
                  <a:pt x="851" y="43"/>
                  <a:pt x="850" y="43"/>
                </a:cubicBezTo>
                <a:cubicBezTo>
                  <a:pt x="851" y="43"/>
                  <a:pt x="851" y="43"/>
                  <a:pt x="851" y="43"/>
                </a:cubicBezTo>
                <a:close/>
                <a:moveTo>
                  <a:pt x="867" y="43"/>
                </a:moveTo>
                <a:cubicBezTo>
                  <a:pt x="867" y="43"/>
                  <a:pt x="867" y="44"/>
                  <a:pt x="867" y="44"/>
                </a:cubicBezTo>
                <a:cubicBezTo>
                  <a:pt x="867" y="43"/>
                  <a:pt x="867" y="43"/>
                  <a:pt x="867" y="43"/>
                </a:cubicBezTo>
                <a:close/>
                <a:moveTo>
                  <a:pt x="725" y="102"/>
                </a:moveTo>
                <a:cubicBezTo>
                  <a:pt x="725" y="102"/>
                  <a:pt x="725" y="102"/>
                  <a:pt x="724" y="102"/>
                </a:cubicBezTo>
                <a:cubicBezTo>
                  <a:pt x="725" y="102"/>
                  <a:pt x="725" y="102"/>
                  <a:pt x="725" y="102"/>
                </a:cubicBezTo>
                <a:close/>
                <a:moveTo>
                  <a:pt x="882" y="43"/>
                </a:moveTo>
                <a:cubicBezTo>
                  <a:pt x="881" y="43"/>
                  <a:pt x="881" y="43"/>
                  <a:pt x="881" y="43"/>
                </a:cubicBezTo>
                <a:cubicBezTo>
                  <a:pt x="881" y="43"/>
                  <a:pt x="882" y="43"/>
                  <a:pt x="882" y="43"/>
                </a:cubicBezTo>
                <a:close/>
                <a:moveTo>
                  <a:pt x="894" y="43"/>
                </a:moveTo>
                <a:cubicBezTo>
                  <a:pt x="894" y="43"/>
                  <a:pt x="893" y="43"/>
                  <a:pt x="893" y="43"/>
                </a:cubicBezTo>
                <a:cubicBezTo>
                  <a:pt x="893" y="43"/>
                  <a:pt x="894" y="43"/>
                  <a:pt x="894" y="43"/>
                </a:cubicBezTo>
                <a:close/>
                <a:moveTo>
                  <a:pt x="1123" y="43"/>
                </a:moveTo>
                <a:cubicBezTo>
                  <a:pt x="1122" y="43"/>
                  <a:pt x="1122" y="43"/>
                  <a:pt x="1122" y="43"/>
                </a:cubicBezTo>
                <a:cubicBezTo>
                  <a:pt x="1122" y="43"/>
                  <a:pt x="1122" y="43"/>
                  <a:pt x="1123" y="43"/>
                </a:cubicBezTo>
                <a:close/>
                <a:moveTo>
                  <a:pt x="1670" y="56"/>
                </a:moveTo>
                <a:cubicBezTo>
                  <a:pt x="1670" y="56"/>
                  <a:pt x="1670" y="56"/>
                  <a:pt x="1669" y="57"/>
                </a:cubicBezTo>
                <a:cubicBezTo>
                  <a:pt x="1670" y="57"/>
                  <a:pt x="1670" y="57"/>
                  <a:pt x="1670" y="56"/>
                </a:cubicBezTo>
                <a:close/>
                <a:moveTo>
                  <a:pt x="1135" y="43"/>
                </a:moveTo>
                <a:cubicBezTo>
                  <a:pt x="1135" y="43"/>
                  <a:pt x="1135" y="43"/>
                  <a:pt x="1135" y="43"/>
                </a:cubicBezTo>
                <a:cubicBezTo>
                  <a:pt x="1135" y="43"/>
                  <a:pt x="1135" y="43"/>
                  <a:pt x="1135" y="43"/>
                </a:cubicBezTo>
                <a:close/>
                <a:moveTo>
                  <a:pt x="1151" y="43"/>
                </a:moveTo>
                <a:cubicBezTo>
                  <a:pt x="1151" y="43"/>
                  <a:pt x="1152" y="44"/>
                  <a:pt x="1152" y="44"/>
                </a:cubicBezTo>
                <a:cubicBezTo>
                  <a:pt x="1152" y="43"/>
                  <a:pt x="1152" y="43"/>
                  <a:pt x="1151" y="43"/>
                </a:cubicBezTo>
                <a:close/>
                <a:moveTo>
                  <a:pt x="1492" y="14"/>
                </a:moveTo>
                <a:cubicBezTo>
                  <a:pt x="1493" y="14"/>
                  <a:pt x="1493" y="14"/>
                  <a:pt x="1493" y="14"/>
                </a:cubicBezTo>
                <a:cubicBezTo>
                  <a:pt x="1493" y="14"/>
                  <a:pt x="1492" y="14"/>
                  <a:pt x="1492" y="14"/>
                </a:cubicBezTo>
                <a:close/>
                <a:moveTo>
                  <a:pt x="1260" y="43"/>
                </a:moveTo>
                <a:cubicBezTo>
                  <a:pt x="1260" y="43"/>
                  <a:pt x="1260" y="44"/>
                  <a:pt x="1260" y="44"/>
                </a:cubicBezTo>
                <a:cubicBezTo>
                  <a:pt x="1260" y="43"/>
                  <a:pt x="1260" y="43"/>
                  <a:pt x="1260" y="43"/>
                </a:cubicBezTo>
                <a:close/>
                <a:moveTo>
                  <a:pt x="1384" y="44"/>
                </a:moveTo>
                <a:cubicBezTo>
                  <a:pt x="1384" y="44"/>
                  <a:pt x="1384" y="43"/>
                  <a:pt x="1384" y="43"/>
                </a:cubicBezTo>
                <a:cubicBezTo>
                  <a:pt x="1384" y="43"/>
                  <a:pt x="1384" y="43"/>
                  <a:pt x="1384" y="44"/>
                </a:cubicBezTo>
                <a:close/>
                <a:moveTo>
                  <a:pt x="725" y="14"/>
                </a:moveTo>
                <a:cubicBezTo>
                  <a:pt x="725" y="15"/>
                  <a:pt x="725" y="15"/>
                  <a:pt x="725" y="15"/>
                </a:cubicBezTo>
                <a:cubicBezTo>
                  <a:pt x="725" y="14"/>
                  <a:pt x="725" y="14"/>
                  <a:pt x="725" y="14"/>
                </a:cubicBezTo>
                <a:close/>
                <a:moveTo>
                  <a:pt x="1580" y="43"/>
                </a:moveTo>
                <a:cubicBezTo>
                  <a:pt x="1580" y="43"/>
                  <a:pt x="1580" y="43"/>
                  <a:pt x="1580" y="44"/>
                </a:cubicBezTo>
                <a:cubicBezTo>
                  <a:pt x="1580" y="44"/>
                  <a:pt x="1580" y="43"/>
                  <a:pt x="1580" y="43"/>
                </a:cubicBezTo>
                <a:close/>
                <a:moveTo>
                  <a:pt x="596" y="44"/>
                </a:moveTo>
                <a:cubicBezTo>
                  <a:pt x="596" y="44"/>
                  <a:pt x="596" y="43"/>
                  <a:pt x="596" y="43"/>
                </a:cubicBezTo>
                <a:cubicBezTo>
                  <a:pt x="596" y="44"/>
                  <a:pt x="596" y="44"/>
                  <a:pt x="596" y="44"/>
                </a:cubicBezTo>
                <a:close/>
                <a:moveTo>
                  <a:pt x="1492" y="15"/>
                </a:moveTo>
                <a:cubicBezTo>
                  <a:pt x="1492" y="15"/>
                  <a:pt x="1492" y="14"/>
                  <a:pt x="1492" y="14"/>
                </a:cubicBezTo>
                <a:cubicBezTo>
                  <a:pt x="1492" y="14"/>
                  <a:pt x="1492" y="14"/>
                  <a:pt x="1492" y="15"/>
                </a:cubicBezTo>
                <a:close/>
                <a:moveTo>
                  <a:pt x="1211" y="50"/>
                </a:moveTo>
                <a:cubicBezTo>
                  <a:pt x="1211" y="50"/>
                  <a:pt x="1211" y="50"/>
                  <a:pt x="1211" y="49"/>
                </a:cubicBezTo>
                <a:cubicBezTo>
                  <a:pt x="1211" y="49"/>
                  <a:pt x="1211" y="50"/>
                  <a:pt x="1211" y="50"/>
                </a:cubicBezTo>
                <a:close/>
                <a:moveTo>
                  <a:pt x="629" y="102"/>
                </a:moveTo>
                <a:cubicBezTo>
                  <a:pt x="629" y="102"/>
                  <a:pt x="629" y="103"/>
                  <a:pt x="629" y="103"/>
                </a:cubicBezTo>
                <a:cubicBezTo>
                  <a:pt x="629" y="103"/>
                  <a:pt x="629" y="102"/>
                  <a:pt x="629" y="102"/>
                </a:cubicBezTo>
                <a:close/>
                <a:moveTo>
                  <a:pt x="1293" y="49"/>
                </a:moveTo>
                <a:cubicBezTo>
                  <a:pt x="1293" y="49"/>
                  <a:pt x="1292" y="50"/>
                  <a:pt x="1292" y="50"/>
                </a:cubicBezTo>
                <a:cubicBezTo>
                  <a:pt x="1293" y="50"/>
                  <a:pt x="1293" y="50"/>
                  <a:pt x="1293" y="49"/>
                </a:cubicBezTo>
                <a:close/>
                <a:moveTo>
                  <a:pt x="577" y="57"/>
                </a:moveTo>
                <a:cubicBezTo>
                  <a:pt x="577" y="57"/>
                  <a:pt x="577" y="57"/>
                  <a:pt x="577" y="57"/>
                </a:cubicBezTo>
                <a:cubicBezTo>
                  <a:pt x="577" y="57"/>
                  <a:pt x="577" y="57"/>
                  <a:pt x="577" y="57"/>
                </a:cubicBezTo>
                <a:close/>
                <a:moveTo>
                  <a:pt x="724" y="15"/>
                </a:moveTo>
                <a:cubicBezTo>
                  <a:pt x="724" y="15"/>
                  <a:pt x="724" y="15"/>
                  <a:pt x="725" y="15"/>
                </a:cubicBezTo>
                <a:cubicBezTo>
                  <a:pt x="724" y="15"/>
                  <a:pt x="724" y="15"/>
                  <a:pt x="724" y="15"/>
                </a:cubicBezTo>
                <a:close/>
                <a:moveTo>
                  <a:pt x="970" y="15"/>
                </a:moveTo>
                <a:cubicBezTo>
                  <a:pt x="970" y="15"/>
                  <a:pt x="970" y="15"/>
                  <a:pt x="970" y="14"/>
                </a:cubicBezTo>
                <a:cubicBezTo>
                  <a:pt x="970" y="15"/>
                  <a:pt x="970" y="15"/>
                  <a:pt x="970" y="15"/>
                </a:cubicBezTo>
                <a:close/>
                <a:moveTo>
                  <a:pt x="1392" y="15"/>
                </a:moveTo>
                <a:cubicBezTo>
                  <a:pt x="1392" y="15"/>
                  <a:pt x="1392" y="15"/>
                  <a:pt x="1392" y="15"/>
                </a:cubicBezTo>
                <a:cubicBezTo>
                  <a:pt x="1392" y="15"/>
                  <a:pt x="1392" y="15"/>
                  <a:pt x="1392" y="15"/>
                </a:cubicBezTo>
                <a:close/>
                <a:moveTo>
                  <a:pt x="1263" y="48"/>
                </a:moveTo>
                <a:cubicBezTo>
                  <a:pt x="1263" y="48"/>
                  <a:pt x="1263" y="48"/>
                  <a:pt x="1263" y="48"/>
                </a:cubicBezTo>
                <a:cubicBezTo>
                  <a:pt x="1263" y="48"/>
                  <a:pt x="1263" y="48"/>
                  <a:pt x="1263" y="48"/>
                </a:cubicBezTo>
                <a:close/>
                <a:moveTo>
                  <a:pt x="634" y="63"/>
                </a:moveTo>
                <a:cubicBezTo>
                  <a:pt x="634" y="63"/>
                  <a:pt x="634" y="62"/>
                  <a:pt x="634" y="62"/>
                </a:cubicBezTo>
                <a:cubicBezTo>
                  <a:pt x="634" y="62"/>
                  <a:pt x="634" y="63"/>
                  <a:pt x="634" y="63"/>
                </a:cubicBezTo>
                <a:close/>
                <a:moveTo>
                  <a:pt x="873" y="52"/>
                </a:moveTo>
                <a:cubicBezTo>
                  <a:pt x="873" y="52"/>
                  <a:pt x="873" y="52"/>
                  <a:pt x="873" y="52"/>
                </a:cubicBezTo>
                <a:cubicBezTo>
                  <a:pt x="873" y="52"/>
                  <a:pt x="873" y="52"/>
                  <a:pt x="873" y="52"/>
                </a:cubicBezTo>
                <a:close/>
                <a:moveTo>
                  <a:pt x="679" y="62"/>
                </a:moveTo>
                <a:cubicBezTo>
                  <a:pt x="679" y="62"/>
                  <a:pt x="679" y="63"/>
                  <a:pt x="680" y="63"/>
                </a:cubicBezTo>
                <a:cubicBezTo>
                  <a:pt x="680" y="62"/>
                  <a:pt x="679" y="62"/>
                  <a:pt x="679" y="62"/>
                </a:cubicBezTo>
                <a:close/>
                <a:moveTo>
                  <a:pt x="1380" y="62"/>
                </a:moveTo>
                <a:cubicBezTo>
                  <a:pt x="1380" y="62"/>
                  <a:pt x="1380" y="62"/>
                  <a:pt x="1380" y="63"/>
                </a:cubicBezTo>
                <a:cubicBezTo>
                  <a:pt x="1380" y="63"/>
                  <a:pt x="1380" y="62"/>
                  <a:pt x="1380" y="62"/>
                </a:cubicBezTo>
                <a:close/>
                <a:moveTo>
                  <a:pt x="611" y="53"/>
                </a:moveTo>
                <a:cubicBezTo>
                  <a:pt x="611" y="53"/>
                  <a:pt x="611" y="53"/>
                  <a:pt x="611" y="54"/>
                </a:cubicBezTo>
                <a:cubicBezTo>
                  <a:pt x="611" y="53"/>
                  <a:pt x="611" y="53"/>
                  <a:pt x="611" y="53"/>
                </a:cubicBezTo>
                <a:close/>
                <a:moveTo>
                  <a:pt x="1491" y="15"/>
                </a:moveTo>
                <a:cubicBezTo>
                  <a:pt x="1491" y="15"/>
                  <a:pt x="1491" y="15"/>
                  <a:pt x="1492" y="15"/>
                </a:cubicBezTo>
                <a:cubicBezTo>
                  <a:pt x="1491" y="15"/>
                  <a:pt x="1491" y="15"/>
                  <a:pt x="1491" y="15"/>
                </a:cubicBezTo>
                <a:close/>
                <a:moveTo>
                  <a:pt x="1733" y="49"/>
                </a:moveTo>
                <a:cubicBezTo>
                  <a:pt x="1733" y="49"/>
                  <a:pt x="1733" y="49"/>
                  <a:pt x="1733" y="48"/>
                </a:cubicBezTo>
                <a:cubicBezTo>
                  <a:pt x="1733" y="48"/>
                  <a:pt x="1733" y="49"/>
                  <a:pt x="1733" y="49"/>
                </a:cubicBezTo>
                <a:close/>
                <a:moveTo>
                  <a:pt x="601" y="57"/>
                </a:moveTo>
                <a:cubicBezTo>
                  <a:pt x="601" y="57"/>
                  <a:pt x="601" y="57"/>
                  <a:pt x="601" y="57"/>
                </a:cubicBezTo>
                <a:cubicBezTo>
                  <a:pt x="601" y="57"/>
                  <a:pt x="601" y="57"/>
                  <a:pt x="601" y="57"/>
                </a:cubicBezTo>
                <a:close/>
                <a:moveTo>
                  <a:pt x="1653" y="62"/>
                </a:moveTo>
                <a:cubicBezTo>
                  <a:pt x="1653" y="62"/>
                  <a:pt x="1652" y="62"/>
                  <a:pt x="1652" y="62"/>
                </a:cubicBezTo>
                <a:cubicBezTo>
                  <a:pt x="1652" y="63"/>
                  <a:pt x="1653" y="63"/>
                  <a:pt x="1653" y="62"/>
                </a:cubicBezTo>
                <a:close/>
                <a:moveTo>
                  <a:pt x="647" y="56"/>
                </a:moveTo>
                <a:cubicBezTo>
                  <a:pt x="647" y="57"/>
                  <a:pt x="647" y="57"/>
                  <a:pt x="647" y="57"/>
                </a:cubicBezTo>
                <a:cubicBezTo>
                  <a:pt x="647" y="57"/>
                  <a:pt x="647" y="57"/>
                  <a:pt x="647" y="56"/>
                </a:cubicBezTo>
                <a:close/>
                <a:moveTo>
                  <a:pt x="965" y="39"/>
                </a:moveTo>
                <a:cubicBezTo>
                  <a:pt x="965" y="39"/>
                  <a:pt x="965" y="40"/>
                  <a:pt x="965" y="40"/>
                </a:cubicBezTo>
                <a:cubicBezTo>
                  <a:pt x="965" y="40"/>
                  <a:pt x="965" y="39"/>
                  <a:pt x="965" y="39"/>
                </a:cubicBezTo>
                <a:close/>
                <a:moveTo>
                  <a:pt x="618" y="103"/>
                </a:moveTo>
                <a:cubicBezTo>
                  <a:pt x="618" y="103"/>
                  <a:pt x="618" y="103"/>
                  <a:pt x="618" y="103"/>
                </a:cubicBezTo>
                <a:cubicBezTo>
                  <a:pt x="618" y="103"/>
                  <a:pt x="617" y="103"/>
                  <a:pt x="618" y="103"/>
                </a:cubicBezTo>
                <a:close/>
                <a:moveTo>
                  <a:pt x="852" y="44"/>
                </a:moveTo>
                <a:cubicBezTo>
                  <a:pt x="852" y="43"/>
                  <a:pt x="851" y="43"/>
                  <a:pt x="851" y="43"/>
                </a:cubicBezTo>
                <a:cubicBezTo>
                  <a:pt x="851" y="44"/>
                  <a:pt x="851" y="44"/>
                  <a:pt x="852" y="44"/>
                </a:cubicBezTo>
                <a:close/>
                <a:moveTo>
                  <a:pt x="671" y="57"/>
                </a:moveTo>
                <a:cubicBezTo>
                  <a:pt x="671" y="57"/>
                  <a:pt x="671" y="57"/>
                  <a:pt x="671" y="57"/>
                </a:cubicBezTo>
                <a:cubicBezTo>
                  <a:pt x="671" y="57"/>
                  <a:pt x="671" y="57"/>
                  <a:pt x="671" y="57"/>
                </a:cubicBezTo>
                <a:close/>
                <a:moveTo>
                  <a:pt x="749" y="54"/>
                </a:moveTo>
                <a:cubicBezTo>
                  <a:pt x="750" y="53"/>
                  <a:pt x="750" y="53"/>
                  <a:pt x="750" y="53"/>
                </a:cubicBezTo>
                <a:cubicBezTo>
                  <a:pt x="749" y="53"/>
                  <a:pt x="749" y="53"/>
                  <a:pt x="749" y="54"/>
                </a:cubicBezTo>
                <a:close/>
                <a:moveTo>
                  <a:pt x="680" y="63"/>
                </a:moveTo>
                <a:cubicBezTo>
                  <a:pt x="680" y="63"/>
                  <a:pt x="680" y="63"/>
                  <a:pt x="680" y="63"/>
                </a:cubicBezTo>
                <a:cubicBezTo>
                  <a:pt x="680" y="63"/>
                  <a:pt x="680" y="63"/>
                  <a:pt x="680" y="63"/>
                </a:cubicBezTo>
                <a:close/>
                <a:moveTo>
                  <a:pt x="638" y="52"/>
                </a:moveTo>
                <a:cubicBezTo>
                  <a:pt x="638" y="52"/>
                  <a:pt x="638" y="52"/>
                  <a:pt x="638" y="52"/>
                </a:cubicBezTo>
                <a:cubicBezTo>
                  <a:pt x="638" y="52"/>
                  <a:pt x="638" y="52"/>
                  <a:pt x="638" y="52"/>
                </a:cubicBezTo>
                <a:close/>
                <a:moveTo>
                  <a:pt x="1577" y="49"/>
                </a:moveTo>
                <a:cubicBezTo>
                  <a:pt x="1577" y="49"/>
                  <a:pt x="1576" y="50"/>
                  <a:pt x="1576" y="50"/>
                </a:cubicBezTo>
                <a:cubicBezTo>
                  <a:pt x="1577" y="50"/>
                  <a:pt x="1577" y="50"/>
                  <a:pt x="1577" y="49"/>
                </a:cubicBezTo>
                <a:close/>
                <a:moveTo>
                  <a:pt x="574" y="55"/>
                </a:moveTo>
                <a:cubicBezTo>
                  <a:pt x="574" y="55"/>
                  <a:pt x="575" y="55"/>
                  <a:pt x="575" y="55"/>
                </a:cubicBezTo>
                <a:cubicBezTo>
                  <a:pt x="575" y="55"/>
                  <a:pt x="575" y="55"/>
                  <a:pt x="574" y="55"/>
                </a:cubicBezTo>
                <a:close/>
                <a:moveTo>
                  <a:pt x="723" y="15"/>
                </a:moveTo>
                <a:cubicBezTo>
                  <a:pt x="723" y="15"/>
                  <a:pt x="723" y="15"/>
                  <a:pt x="723" y="15"/>
                </a:cubicBezTo>
                <a:cubicBezTo>
                  <a:pt x="723" y="15"/>
                  <a:pt x="723" y="15"/>
                  <a:pt x="723" y="15"/>
                </a:cubicBezTo>
                <a:close/>
                <a:moveTo>
                  <a:pt x="1564" y="62"/>
                </a:moveTo>
                <a:cubicBezTo>
                  <a:pt x="1564" y="62"/>
                  <a:pt x="1564" y="63"/>
                  <a:pt x="1564" y="63"/>
                </a:cubicBezTo>
                <a:cubicBezTo>
                  <a:pt x="1564" y="63"/>
                  <a:pt x="1564" y="63"/>
                  <a:pt x="1564" y="62"/>
                </a:cubicBezTo>
                <a:close/>
                <a:moveTo>
                  <a:pt x="1744" y="51"/>
                </a:moveTo>
                <a:cubicBezTo>
                  <a:pt x="1743" y="51"/>
                  <a:pt x="1743" y="52"/>
                  <a:pt x="1743" y="52"/>
                </a:cubicBezTo>
                <a:cubicBezTo>
                  <a:pt x="1743" y="52"/>
                  <a:pt x="1744" y="52"/>
                  <a:pt x="1744" y="51"/>
                </a:cubicBezTo>
                <a:close/>
                <a:moveTo>
                  <a:pt x="895" y="44"/>
                </a:moveTo>
                <a:cubicBezTo>
                  <a:pt x="894" y="43"/>
                  <a:pt x="894" y="43"/>
                  <a:pt x="894" y="43"/>
                </a:cubicBezTo>
                <a:cubicBezTo>
                  <a:pt x="894" y="44"/>
                  <a:pt x="894" y="44"/>
                  <a:pt x="895" y="44"/>
                </a:cubicBezTo>
                <a:close/>
                <a:moveTo>
                  <a:pt x="752" y="48"/>
                </a:moveTo>
                <a:cubicBezTo>
                  <a:pt x="752" y="48"/>
                  <a:pt x="752" y="48"/>
                  <a:pt x="752" y="48"/>
                </a:cubicBezTo>
                <a:cubicBezTo>
                  <a:pt x="752" y="48"/>
                  <a:pt x="752" y="48"/>
                  <a:pt x="752" y="48"/>
                </a:cubicBezTo>
                <a:close/>
                <a:moveTo>
                  <a:pt x="1654" y="63"/>
                </a:moveTo>
                <a:cubicBezTo>
                  <a:pt x="1654" y="63"/>
                  <a:pt x="1653" y="63"/>
                  <a:pt x="1653" y="63"/>
                </a:cubicBezTo>
                <a:cubicBezTo>
                  <a:pt x="1653" y="63"/>
                  <a:pt x="1653" y="63"/>
                  <a:pt x="1654" y="63"/>
                </a:cubicBezTo>
                <a:close/>
                <a:moveTo>
                  <a:pt x="1490" y="15"/>
                </a:moveTo>
                <a:cubicBezTo>
                  <a:pt x="1490" y="15"/>
                  <a:pt x="1491" y="15"/>
                  <a:pt x="1491" y="15"/>
                </a:cubicBezTo>
                <a:cubicBezTo>
                  <a:pt x="1491" y="15"/>
                  <a:pt x="1490" y="15"/>
                  <a:pt x="1490" y="15"/>
                </a:cubicBezTo>
                <a:close/>
                <a:moveTo>
                  <a:pt x="1732" y="62"/>
                </a:moveTo>
                <a:cubicBezTo>
                  <a:pt x="1732" y="62"/>
                  <a:pt x="1732" y="63"/>
                  <a:pt x="1732" y="63"/>
                </a:cubicBezTo>
                <a:cubicBezTo>
                  <a:pt x="1732" y="63"/>
                  <a:pt x="1732" y="63"/>
                  <a:pt x="1732" y="62"/>
                </a:cubicBezTo>
                <a:close/>
                <a:moveTo>
                  <a:pt x="604" y="64"/>
                </a:moveTo>
                <a:cubicBezTo>
                  <a:pt x="604" y="63"/>
                  <a:pt x="604" y="63"/>
                  <a:pt x="603" y="63"/>
                </a:cubicBezTo>
                <a:cubicBezTo>
                  <a:pt x="603" y="63"/>
                  <a:pt x="603" y="63"/>
                  <a:pt x="604" y="64"/>
                </a:cubicBezTo>
                <a:close/>
                <a:moveTo>
                  <a:pt x="910" y="43"/>
                </a:moveTo>
                <a:cubicBezTo>
                  <a:pt x="910" y="44"/>
                  <a:pt x="910" y="44"/>
                  <a:pt x="910" y="44"/>
                </a:cubicBezTo>
                <a:cubicBezTo>
                  <a:pt x="910" y="44"/>
                  <a:pt x="910" y="44"/>
                  <a:pt x="910" y="43"/>
                </a:cubicBezTo>
                <a:close/>
                <a:moveTo>
                  <a:pt x="722" y="16"/>
                </a:moveTo>
                <a:cubicBezTo>
                  <a:pt x="722" y="16"/>
                  <a:pt x="722" y="16"/>
                  <a:pt x="722" y="15"/>
                </a:cubicBezTo>
                <a:cubicBezTo>
                  <a:pt x="722" y="15"/>
                  <a:pt x="722" y="15"/>
                  <a:pt x="722" y="16"/>
                </a:cubicBezTo>
                <a:close/>
                <a:moveTo>
                  <a:pt x="1489" y="16"/>
                </a:moveTo>
                <a:cubicBezTo>
                  <a:pt x="1490" y="16"/>
                  <a:pt x="1490" y="16"/>
                  <a:pt x="1490" y="15"/>
                </a:cubicBezTo>
                <a:cubicBezTo>
                  <a:pt x="1490" y="15"/>
                  <a:pt x="1490" y="15"/>
                  <a:pt x="1489" y="16"/>
                </a:cubicBezTo>
                <a:close/>
                <a:moveTo>
                  <a:pt x="562" y="48"/>
                </a:moveTo>
                <a:cubicBezTo>
                  <a:pt x="562" y="48"/>
                  <a:pt x="562" y="48"/>
                  <a:pt x="563" y="48"/>
                </a:cubicBezTo>
                <a:cubicBezTo>
                  <a:pt x="563" y="48"/>
                  <a:pt x="562" y="48"/>
                  <a:pt x="562" y="48"/>
                </a:cubicBezTo>
                <a:close/>
                <a:moveTo>
                  <a:pt x="1680" y="47"/>
                </a:moveTo>
                <a:cubicBezTo>
                  <a:pt x="1680" y="47"/>
                  <a:pt x="1680" y="48"/>
                  <a:pt x="1680" y="48"/>
                </a:cubicBezTo>
                <a:cubicBezTo>
                  <a:pt x="1680" y="48"/>
                  <a:pt x="1680" y="48"/>
                  <a:pt x="1680" y="47"/>
                </a:cubicBezTo>
                <a:close/>
                <a:moveTo>
                  <a:pt x="654" y="39"/>
                </a:moveTo>
                <a:cubicBezTo>
                  <a:pt x="654" y="39"/>
                  <a:pt x="654" y="39"/>
                  <a:pt x="654" y="40"/>
                </a:cubicBezTo>
                <a:cubicBezTo>
                  <a:pt x="654" y="39"/>
                  <a:pt x="654" y="39"/>
                  <a:pt x="654" y="39"/>
                </a:cubicBezTo>
                <a:close/>
                <a:moveTo>
                  <a:pt x="606" y="39"/>
                </a:moveTo>
                <a:cubicBezTo>
                  <a:pt x="606" y="39"/>
                  <a:pt x="606" y="39"/>
                  <a:pt x="606" y="40"/>
                </a:cubicBezTo>
                <a:cubicBezTo>
                  <a:pt x="606" y="39"/>
                  <a:pt x="606" y="39"/>
                  <a:pt x="606" y="39"/>
                </a:cubicBezTo>
                <a:close/>
                <a:moveTo>
                  <a:pt x="594" y="40"/>
                </a:moveTo>
                <a:cubicBezTo>
                  <a:pt x="594" y="39"/>
                  <a:pt x="594" y="39"/>
                  <a:pt x="594" y="39"/>
                </a:cubicBezTo>
                <a:cubicBezTo>
                  <a:pt x="594" y="39"/>
                  <a:pt x="594" y="39"/>
                  <a:pt x="594" y="40"/>
                </a:cubicBezTo>
                <a:close/>
                <a:moveTo>
                  <a:pt x="1381" y="48"/>
                </a:moveTo>
                <a:cubicBezTo>
                  <a:pt x="1381" y="48"/>
                  <a:pt x="1382" y="48"/>
                  <a:pt x="1382" y="47"/>
                </a:cubicBezTo>
                <a:cubicBezTo>
                  <a:pt x="1381" y="47"/>
                  <a:pt x="1381" y="48"/>
                  <a:pt x="1381" y="48"/>
                </a:cubicBezTo>
                <a:close/>
                <a:moveTo>
                  <a:pt x="1575" y="51"/>
                </a:moveTo>
                <a:cubicBezTo>
                  <a:pt x="1575" y="52"/>
                  <a:pt x="1575" y="52"/>
                  <a:pt x="1575" y="52"/>
                </a:cubicBezTo>
                <a:cubicBezTo>
                  <a:pt x="1575" y="52"/>
                  <a:pt x="1575" y="52"/>
                  <a:pt x="1575" y="51"/>
                </a:cubicBezTo>
                <a:close/>
                <a:moveTo>
                  <a:pt x="1212" y="48"/>
                </a:moveTo>
                <a:cubicBezTo>
                  <a:pt x="1212" y="48"/>
                  <a:pt x="1212" y="48"/>
                  <a:pt x="1212" y="47"/>
                </a:cubicBezTo>
                <a:cubicBezTo>
                  <a:pt x="1212" y="47"/>
                  <a:pt x="1212" y="48"/>
                  <a:pt x="1212" y="48"/>
                </a:cubicBezTo>
                <a:close/>
                <a:moveTo>
                  <a:pt x="647" y="56"/>
                </a:moveTo>
                <a:cubicBezTo>
                  <a:pt x="647" y="56"/>
                  <a:pt x="647" y="56"/>
                  <a:pt x="647" y="56"/>
                </a:cubicBezTo>
                <a:cubicBezTo>
                  <a:pt x="647" y="56"/>
                  <a:pt x="647" y="56"/>
                  <a:pt x="647" y="56"/>
                </a:cubicBezTo>
                <a:close/>
                <a:moveTo>
                  <a:pt x="1085" y="47"/>
                </a:moveTo>
                <a:cubicBezTo>
                  <a:pt x="1085" y="48"/>
                  <a:pt x="1085" y="48"/>
                  <a:pt x="1085" y="48"/>
                </a:cubicBezTo>
                <a:cubicBezTo>
                  <a:pt x="1085" y="48"/>
                  <a:pt x="1085" y="47"/>
                  <a:pt x="1085" y="47"/>
                </a:cubicBezTo>
                <a:close/>
                <a:moveTo>
                  <a:pt x="1034" y="48"/>
                </a:moveTo>
                <a:cubicBezTo>
                  <a:pt x="1034" y="48"/>
                  <a:pt x="1035" y="48"/>
                  <a:pt x="1035" y="47"/>
                </a:cubicBezTo>
                <a:cubicBezTo>
                  <a:pt x="1034" y="47"/>
                  <a:pt x="1034" y="48"/>
                  <a:pt x="1034" y="48"/>
                </a:cubicBezTo>
                <a:close/>
                <a:moveTo>
                  <a:pt x="899" y="48"/>
                </a:moveTo>
                <a:cubicBezTo>
                  <a:pt x="899" y="48"/>
                  <a:pt x="899" y="47"/>
                  <a:pt x="898" y="47"/>
                </a:cubicBezTo>
                <a:cubicBezTo>
                  <a:pt x="898" y="47"/>
                  <a:pt x="898" y="48"/>
                  <a:pt x="899" y="48"/>
                </a:cubicBezTo>
                <a:close/>
                <a:moveTo>
                  <a:pt x="636" y="56"/>
                </a:moveTo>
                <a:cubicBezTo>
                  <a:pt x="637" y="56"/>
                  <a:pt x="637" y="56"/>
                  <a:pt x="637" y="56"/>
                </a:cubicBezTo>
                <a:cubicBezTo>
                  <a:pt x="636" y="56"/>
                  <a:pt x="636" y="56"/>
                  <a:pt x="636" y="56"/>
                </a:cubicBezTo>
                <a:close/>
                <a:moveTo>
                  <a:pt x="1210" y="52"/>
                </a:moveTo>
                <a:cubicBezTo>
                  <a:pt x="1210" y="52"/>
                  <a:pt x="1210" y="52"/>
                  <a:pt x="1210" y="51"/>
                </a:cubicBezTo>
                <a:cubicBezTo>
                  <a:pt x="1210" y="52"/>
                  <a:pt x="1210" y="52"/>
                  <a:pt x="1210" y="52"/>
                </a:cubicBezTo>
                <a:close/>
                <a:moveTo>
                  <a:pt x="617" y="104"/>
                </a:moveTo>
                <a:cubicBezTo>
                  <a:pt x="617" y="104"/>
                  <a:pt x="618" y="104"/>
                  <a:pt x="618" y="103"/>
                </a:cubicBezTo>
                <a:cubicBezTo>
                  <a:pt x="617" y="103"/>
                  <a:pt x="617" y="104"/>
                  <a:pt x="617" y="104"/>
                </a:cubicBezTo>
                <a:close/>
                <a:moveTo>
                  <a:pt x="628" y="104"/>
                </a:moveTo>
                <a:cubicBezTo>
                  <a:pt x="628" y="104"/>
                  <a:pt x="628" y="104"/>
                  <a:pt x="628" y="105"/>
                </a:cubicBezTo>
                <a:cubicBezTo>
                  <a:pt x="628" y="104"/>
                  <a:pt x="628" y="104"/>
                  <a:pt x="628" y="104"/>
                </a:cubicBezTo>
                <a:close/>
                <a:moveTo>
                  <a:pt x="617" y="105"/>
                </a:moveTo>
                <a:cubicBezTo>
                  <a:pt x="617" y="105"/>
                  <a:pt x="617" y="105"/>
                  <a:pt x="617" y="104"/>
                </a:cubicBezTo>
                <a:cubicBezTo>
                  <a:pt x="617" y="104"/>
                  <a:pt x="617" y="105"/>
                  <a:pt x="617" y="105"/>
                </a:cubicBezTo>
                <a:close/>
                <a:moveTo>
                  <a:pt x="721" y="16"/>
                </a:moveTo>
                <a:cubicBezTo>
                  <a:pt x="721" y="16"/>
                  <a:pt x="721" y="16"/>
                  <a:pt x="721" y="16"/>
                </a:cubicBezTo>
                <a:cubicBezTo>
                  <a:pt x="721" y="16"/>
                  <a:pt x="721" y="16"/>
                  <a:pt x="721" y="16"/>
                </a:cubicBezTo>
                <a:close/>
                <a:moveTo>
                  <a:pt x="616" y="106"/>
                </a:moveTo>
                <a:cubicBezTo>
                  <a:pt x="617" y="106"/>
                  <a:pt x="617" y="105"/>
                  <a:pt x="617" y="105"/>
                </a:cubicBezTo>
                <a:cubicBezTo>
                  <a:pt x="616" y="105"/>
                  <a:pt x="616" y="105"/>
                  <a:pt x="616" y="106"/>
                </a:cubicBezTo>
                <a:close/>
                <a:moveTo>
                  <a:pt x="616" y="107"/>
                </a:moveTo>
                <a:cubicBezTo>
                  <a:pt x="616" y="106"/>
                  <a:pt x="616" y="106"/>
                  <a:pt x="617" y="106"/>
                </a:cubicBezTo>
                <a:cubicBezTo>
                  <a:pt x="616" y="106"/>
                  <a:pt x="616" y="106"/>
                  <a:pt x="616" y="107"/>
                </a:cubicBezTo>
                <a:close/>
                <a:moveTo>
                  <a:pt x="628" y="106"/>
                </a:moveTo>
                <a:cubicBezTo>
                  <a:pt x="627" y="106"/>
                  <a:pt x="627" y="106"/>
                  <a:pt x="627" y="106"/>
                </a:cubicBezTo>
                <a:cubicBezTo>
                  <a:pt x="628" y="106"/>
                  <a:pt x="628" y="106"/>
                  <a:pt x="628" y="106"/>
                </a:cubicBezTo>
                <a:close/>
                <a:moveTo>
                  <a:pt x="1745" y="49"/>
                </a:moveTo>
                <a:cubicBezTo>
                  <a:pt x="1745" y="49"/>
                  <a:pt x="1745" y="50"/>
                  <a:pt x="1745" y="50"/>
                </a:cubicBezTo>
                <a:cubicBezTo>
                  <a:pt x="1745" y="50"/>
                  <a:pt x="1745" y="50"/>
                  <a:pt x="1745" y="49"/>
                </a:cubicBezTo>
                <a:close/>
                <a:moveTo>
                  <a:pt x="616" y="107"/>
                </a:moveTo>
                <a:cubicBezTo>
                  <a:pt x="616" y="107"/>
                  <a:pt x="616" y="107"/>
                  <a:pt x="616" y="107"/>
                </a:cubicBezTo>
                <a:cubicBezTo>
                  <a:pt x="616" y="107"/>
                  <a:pt x="616" y="107"/>
                  <a:pt x="616" y="107"/>
                </a:cubicBezTo>
                <a:close/>
                <a:moveTo>
                  <a:pt x="615" y="108"/>
                </a:moveTo>
                <a:cubicBezTo>
                  <a:pt x="616" y="108"/>
                  <a:pt x="616" y="108"/>
                  <a:pt x="616" y="107"/>
                </a:cubicBezTo>
                <a:cubicBezTo>
                  <a:pt x="615" y="108"/>
                  <a:pt x="615" y="108"/>
                  <a:pt x="615" y="108"/>
                </a:cubicBezTo>
                <a:close/>
                <a:moveTo>
                  <a:pt x="627" y="107"/>
                </a:moveTo>
                <a:cubicBezTo>
                  <a:pt x="627" y="108"/>
                  <a:pt x="627" y="108"/>
                  <a:pt x="627" y="108"/>
                </a:cubicBezTo>
                <a:cubicBezTo>
                  <a:pt x="627" y="108"/>
                  <a:pt x="627" y="108"/>
                  <a:pt x="627" y="107"/>
                </a:cubicBezTo>
                <a:close/>
                <a:moveTo>
                  <a:pt x="615" y="109"/>
                </a:moveTo>
                <a:cubicBezTo>
                  <a:pt x="615" y="109"/>
                  <a:pt x="615" y="109"/>
                  <a:pt x="615" y="108"/>
                </a:cubicBezTo>
                <a:cubicBezTo>
                  <a:pt x="615" y="109"/>
                  <a:pt x="615" y="109"/>
                  <a:pt x="615" y="109"/>
                </a:cubicBezTo>
                <a:close/>
                <a:moveTo>
                  <a:pt x="626" y="108"/>
                </a:moveTo>
                <a:cubicBezTo>
                  <a:pt x="626" y="109"/>
                  <a:pt x="626" y="109"/>
                  <a:pt x="626" y="109"/>
                </a:cubicBezTo>
                <a:cubicBezTo>
                  <a:pt x="627" y="109"/>
                  <a:pt x="627" y="109"/>
                  <a:pt x="626" y="108"/>
                </a:cubicBezTo>
                <a:close/>
                <a:moveTo>
                  <a:pt x="615" y="110"/>
                </a:moveTo>
                <a:cubicBezTo>
                  <a:pt x="615" y="110"/>
                  <a:pt x="615" y="109"/>
                  <a:pt x="615" y="109"/>
                </a:cubicBezTo>
                <a:cubicBezTo>
                  <a:pt x="615" y="109"/>
                  <a:pt x="615" y="110"/>
                  <a:pt x="615" y="110"/>
                </a:cubicBezTo>
                <a:close/>
                <a:moveTo>
                  <a:pt x="626" y="109"/>
                </a:moveTo>
                <a:cubicBezTo>
                  <a:pt x="626" y="109"/>
                  <a:pt x="626" y="110"/>
                  <a:pt x="626" y="110"/>
                </a:cubicBezTo>
                <a:cubicBezTo>
                  <a:pt x="626" y="110"/>
                  <a:pt x="626" y="109"/>
                  <a:pt x="626" y="109"/>
                </a:cubicBezTo>
                <a:close/>
                <a:moveTo>
                  <a:pt x="614" y="111"/>
                </a:moveTo>
                <a:cubicBezTo>
                  <a:pt x="615" y="111"/>
                  <a:pt x="615" y="110"/>
                  <a:pt x="615" y="110"/>
                </a:cubicBezTo>
                <a:cubicBezTo>
                  <a:pt x="614" y="110"/>
                  <a:pt x="614" y="110"/>
                  <a:pt x="614" y="111"/>
                </a:cubicBezTo>
                <a:close/>
                <a:moveTo>
                  <a:pt x="626" y="110"/>
                </a:moveTo>
                <a:cubicBezTo>
                  <a:pt x="626" y="110"/>
                  <a:pt x="625" y="111"/>
                  <a:pt x="625" y="111"/>
                </a:cubicBezTo>
                <a:cubicBezTo>
                  <a:pt x="626" y="111"/>
                  <a:pt x="626" y="110"/>
                  <a:pt x="626" y="110"/>
                </a:cubicBezTo>
                <a:close/>
                <a:moveTo>
                  <a:pt x="614" y="112"/>
                </a:moveTo>
                <a:cubicBezTo>
                  <a:pt x="614" y="111"/>
                  <a:pt x="614" y="111"/>
                  <a:pt x="614" y="111"/>
                </a:cubicBezTo>
                <a:cubicBezTo>
                  <a:pt x="614" y="111"/>
                  <a:pt x="614" y="111"/>
                  <a:pt x="614" y="112"/>
                </a:cubicBezTo>
                <a:close/>
                <a:moveTo>
                  <a:pt x="625" y="111"/>
                </a:moveTo>
                <a:cubicBezTo>
                  <a:pt x="625" y="111"/>
                  <a:pt x="625" y="111"/>
                  <a:pt x="625" y="112"/>
                </a:cubicBezTo>
                <a:cubicBezTo>
                  <a:pt x="625" y="111"/>
                  <a:pt x="625" y="111"/>
                  <a:pt x="625" y="111"/>
                </a:cubicBezTo>
                <a:close/>
                <a:moveTo>
                  <a:pt x="614" y="112"/>
                </a:moveTo>
                <a:cubicBezTo>
                  <a:pt x="614" y="112"/>
                  <a:pt x="614" y="112"/>
                  <a:pt x="614" y="112"/>
                </a:cubicBezTo>
                <a:cubicBezTo>
                  <a:pt x="614" y="112"/>
                  <a:pt x="614" y="112"/>
                  <a:pt x="614" y="112"/>
                </a:cubicBezTo>
                <a:close/>
                <a:moveTo>
                  <a:pt x="625" y="112"/>
                </a:moveTo>
                <a:cubicBezTo>
                  <a:pt x="625" y="112"/>
                  <a:pt x="625" y="112"/>
                  <a:pt x="625" y="113"/>
                </a:cubicBezTo>
                <a:cubicBezTo>
                  <a:pt x="625" y="112"/>
                  <a:pt x="625" y="112"/>
                  <a:pt x="625" y="112"/>
                </a:cubicBezTo>
                <a:close/>
                <a:moveTo>
                  <a:pt x="613" y="113"/>
                </a:moveTo>
                <a:cubicBezTo>
                  <a:pt x="614" y="113"/>
                  <a:pt x="614" y="113"/>
                  <a:pt x="614" y="112"/>
                </a:cubicBezTo>
                <a:cubicBezTo>
                  <a:pt x="613" y="113"/>
                  <a:pt x="613" y="113"/>
                  <a:pt x="613" y="113"/>
                </a:cubicBezTo>
                <a:close/>
                <a:moveTo>
                  <a:pt x="625" y="113"/>
                </a:moveTo>
                <a:cubicBezTo>
                  <a:pt x="625" y="113"/>
                  <a:pt x="624" y="113"/>
                  <a:pt x="624" y="113"/>
                </a:cubicBezTo>
                <a:cubicBezTo>
                  <a:pt x="625" y="113"/>
                  <a:pt x="625" y="113"/>
                  <a:pt x="625" y="113"/>
                </a:cubicBezTo>
                <a:close/>
                <a:moveTo>
                  <a:pt x="613" y="114"/>
                </a:moveTo>
                <a:cubicBezTo>
                  <a:pt x="613" y="114"/>
                  <a:pt x="613" y="114"/>
                  <a:pt x="613" y="113"/>
                </a:cubicBezTo>
                <a:cubicBezTo>
                  <a:pt x="613" y="114"/>
                  <a:pt x="613" y="114"/>
                  <a:pt x="613" y="114"/>
                </a:cubicBezTo>
                <a:close/>
                <a:moveTo>
                  <a:pt x="624" y="114"/>
                </a:moveTo>
                <a:cubicBezTo>
                  <a:pt x="624" y="114"/>
                  <a:pt x="624" y="114"/>
                  <a:pt x="624" y="114"/>
                </a:cubicBezTo>
                <a:cubicBezTo>
                  <a:pt x="624" y="114"/>
                  <a:pt x="624" y="114"/>
                  <a:pt x="624" y="114"/>
                </a:cubicBezTo>
                <a:close/>
                <a:moveTo>
                  <a:pt x="613" y="115"/>
                </a:moveTo>
                <a:cubicBezTo>
                  <a:pt x="613" y="115"/>
                  <a:pt x="613" y="114"/>
                  <a:pt x="613" y="114"/>
                </a:cubicBezTo>
                <a:cubicBezTo>
                  <a:pt x="613" y="114"/>
                  <a:pt x="613" y="114"/>
                  <a:pt x="613" y="115"/>
                </a:cubicBezTo>
                <a:close/>
                <a:moveTo>
                  <a:pt x="624" y="114"/>
                </a:moveTo>
                <a:cubicBezTo>
                  <a:pt x="624" y="115"/>
                  <a:pt x="624" y="115"/>
                  <a:pt x="624" y="115"/>
                </a:cubicBezTo>
                <a:cubicBezTo>
                  <a:pt x="624" y="115"/>
                  <a:pt x="624" y="115"/>
                  <a:pt x="624" y="114"/>
                </a:cubicBezTo>
                <a:close/>
                <a:moveTo>
                  <a:pt x="612" y="116"/>
                </a:moveTo>
                <a:cubicBezTo>
                  <a:pt x="613" y="115"/>
                  <a:pt x="613" y="115"/>
                  <a:pt x="613" y="115"/>
                </a:cubicBezTo>
                <a:cubicBezTo>
                  <a:pt x="612" y="115"/>
                  <a:pt x="612" y="115"/>
                  <a:pt x="612" y="116"/>
                </a:cubicBezTo>
                <a:close/>
                <a:moveTo>
                  <a:pt x="624" y="115"/>
                </a:moveTo>
                <a:cubicBezTo>
                  <a:pt x="623" y="115"/>
                  <a:pt x="623" y="115"/>
                  <a:pt x="623" y="116"/>
                </a:cubicBezTo>
                <a:cubicBezTo>
                  <a:pt x="624" y="116"/>
                  <a:pt x="624" y="115"/>
                  <a:pt x="624" y="115"/>
                </a:cubicBezTo>
                <a:close/>
                <a:moveTo>
                  <a:pt x="612" y="116"/>
                </a:moveTo>
                <a:cubicBezTo>
                  <a:pt x="612" y="116"/>
                  <a:pt x="612" y="116"/>
                  <a:pt x="612" y="115"/>
                </a:cubicBezTo>
                <a:cubicBezTo>
                  <a:pt x="612" y="116"/>
                  <a:pt x="612" y="116"/>
                  <a:pt x="612" y="116"/>
                </a:cubicBezTo>
                <a:close/>
                <a:moveTo>
                  <a:pt x="623" y="116"/>
                </a:moveTo>
                <a:cubicBezTo>
                  <a:pt x="623" y="116"/>
                  <a:pt x="623" y="116"/>
                  <a:pt x="623" y="116"/>
                </a:cubicBezTo>
                <a:cubicBezTo>
                  <a:pt x="623" y="116"/>
                  <a:pt x="623" y="116"/>
                  <a:pt x="623" y="116"/>
                </a:cubicBezTo>
                <a:close/>
                <a:moveTo>
                  <a:pt x="612" y="117"/>
                </a:moveTo>
                <a:cubicBezTo>
                  <a:pt x="612" y="117"/>
                  <a:pt x="612" y="116"/>
                  <a:pt x="612" y="116"/>
                </a:cubicBezTo>
                <a:cubicBezTo>
                  <a:pt x="612" y="116"/>
                  <a:pt x="612" y="117"/>
                  <a:pt x="612" y="117"/>
                </a:cubicBezTo>
                <a:close/>
                <a:moveTo>
                  <a:pt x="623" y="116"/>
                </a:moveTo>
                <a:cubicBezTo>
                  <a:pt x="623" y="117"/>
                  <a:pt x="623" y="117"/>
                  <a:pt x="623" y="117"/>
                </a:cubicBezTo>
                <a:cubicBezTo>
                  <a:pt x="623" y="117"/>
                  <a:pt x="623" y="117"/>
                  <a:pt x="623" y="116"/>
                </a:cubicBezTo>
                <a:close/>
                <a:moveTo>
                  <a:pt x="611" y="118"/>
                </a:moveTo>
                <a:cubicBezTo>
                  <a:pt x="611" y="117"/>
                  <a:pt x="612" y="117"/>
                  <a:pt x="612" y="117"/>
                </a:cubicBezTo>
                <a:cubicBezTo>
                  <a:pt x="611" y="117"/>
                  <a:pt x="611" y="117"/>
                  <a:pt x="611" y="118"/>
                </a:cubicBezTo>
                <a:close/>
                <a:moveTo>
                  <a:pt x="623" y="117"/>
                </a:moveTo>
                <a:cubicBezTo>
                  <a:pt x="622" y="117"/>
                  <a:pt x="622" y="118"/>
                  <a:pt x="622" y="118"/>
                </a:cubicBezTo>
                <a:cubicBezTo>
                  <a:pt x="623" y="118"/>
                  <a:pt x="623" y="117"/>
                  <a:pt x="623" y="117"/>
                </a:cubicBezTo>
                <a:close/>
                <a:moveTo>
                  <a:pt x="611" y="119"/>
                </a:moveTo>
                <a:cubicBezTo>
                  <a:pt x="611" y="118"/>
                  <a:pt x="611" y="118"/>
                  <a:pt x="611" y="118"/>
                </a:cubicBezTo>
                <a:cubicBezTo>
                  <a:pt x="611" y="118"/>
                  <a:pt x="611" y="118"/>
                  <a:pt x="611" y="119"/>
                </a:cubicBezTo>
                <a:close/>
                <a:moveTo>
                  <a:pt x="622" y="118"/>
                </a:moveTo>
                <a:cubicBezTo>
                  <a:pt x="622" y="118"/>
                  <a:pt x="622" y="118"/>
                  <a:pt x="622" y="119"/>
                </a:cubicBezTo>
                <a:cubicBezTo>
                  <a:pt x="622" y="118"/>
                  <a:pt x="622" y="118"/>
                  <a:pt x="622" y="118"/>
                </a:cubicBezTo>
                <a:close/>
                <a:moveTo>
                  <a:pt x="622" y="119"/>
                </a:moveTo>
                <a:cubicBezTo>
                  <a:pt x="622" y="119"/>
                  <a:pt x="622" y="119"/>
                  <a:pt x="622" y="119"/>
                </a:cubicBezTo>
                <a:cubicBezTo>
                  <a:pt x="622" y="119"/>
                  <a:pt x="622" y="119"/>
                  <a:pt x="622" y="119"/>
                </a:cubicBezTo>
                <a:close/>
                <a:moveTo>
                  <a:pt x="622" y="119"/>
                </a:moveTo>
                <a:cubicBezTo>
                  <a:pt x="621" y="119"/>
                  <a:pt x="621" y="120"/>
                  <a:pt x="621" y="120"/>
                </a:cubicBezTo>
                <a:cubicBezTo>
                  <a:pt x="622" y="120"/>
                  <a:pt x="622" y="120"/>
                  <a:pt x="622" y="119"/>
                </a:cubicBezTo>
                <a:close/>
                <a:moveTo>
                  <a:pt x="621" y="120"/>
                </a:moveTo>
                <a:cubicBezTo>
                  <a:pt x="621" y="120"/>
                  <a:pt x="621" y="121"/>
                  <a:pt x="621" y="121"/>
                </a:cubicBezTo>
                <a:cubicBezTo>
                  <a:pt x="621" y="121"/>
                  <a:pt x="621" y="121"/>
                  <a:pt x="621" y="120"/>
                </a:cubicBezTo>
                <a:close/>
                <a:moveTo>
                  <a:pt x="621" y="121"/>
                </a:moveTo>
                <a:cubicBezTo>
                  <a:pt x="620" y="121"/>
                  <a:pt x="620" y="121"/>
                  <a:pt x="620" y="122"/>
                </a:cubicBezTo>
                <a:cubicBezTo>
                  <a:pt x="621" y="122"/>
                  <a:pt x="621" y="121"/>
                  <a:pt x="621" y="121"/>
                </a:cubicBezTo>
                <a:close/>
                <a:moveTo>
                  <a:pt x="614" y="63"/>
                </a:moveTo>
                <a:cubicBezTo>
                  <a:pt x="614" y="63"/>
                  <a:pt x="614" y="63"/>
                  <a:pt x="615" y="64"/>
                </a:cubicBezTo>
                <a:cubicBezTo>
                  <a:pt x="615" y="63"/>
                  <a:pt x="615" y="63"/>
                  <a:pt x="614" y="63"/>
                </a:cubicBezTo>
                <a:close/>
                <a:moveTo>
                  <a:pt x="606" y="122"/>
                </a:moveTo>
                <a:cubicBezTo>
                  <a:pt x="606" y="122"/>
                  <a:pt x="607" y="122"/>
                  <a:pt x="607" y="122"/>
                </a:cubicBezTo>
                <a:cubicBezTo>
                  <a:pt x="606" y="122"/>
                  <a:pt x="606" y="122"/>
                  <a:pt x="606" y="122"/>
                </a:cubicBezTo>
                <a:close/>
                <a:moveTo>
                  <a:pt x="620" y="122"/>
                </a:moveTo>
                <a:cubicBezTo>
                  <a:pt x="620" y="122"/>
                  <a:pt x="620" y="122"/>
                  <a:pt x="619" y="123"/>
                </a:cubicBezTo>
                <a:cubicBezTo>
                  <a:pt x="620" y="123"/>
                  <a:pt x="620" y="122"/>
                  <a:pt x="620" y="122"/>
                </a:cubicBezTo>
                <a:close/>
                <a:moveTo>
                  <a:pt x="1209" y="54"/>
                </a:moveTo>
                <a:cubicBezTo>
                  <a:pt x="1210" y="54"/>
                  <a:pt x="1210" y="53"/>
                  <a:pt x="1210" y="53"/>
                </a:cubicBezTo>
                <a:cubicBezTo>
                  <a:pt x="1209" y="53"/>
                  <a:pt x="1209" y="54"/>
                  <a:pt x="1209" y="54"/>
                </a:cubicBezTo>
                <a:close/>
                <a:moveTo>
                  <a:pt x="605" y="123"/>
                </a:moveTo>
                <a:cubicBezTo>
                  <a:pt x="606" y="123"/>
                  <a:pt x="606" y="123"/>
                  <a:pt x="606" y="122"/>
                </a:cubicBezTo>
                <a:cubicBezTo>
                  <a:pt x="606" y="122"/>
                  <a:pt x="605" y="122"/>
                  <a:pt x="605" y="123"/>
                </a:cubicBezTo>
                <a:close/>
                <a:moveTo>
                  <a:pt x="1136" y="44"/>
                </a:moveTo>
                <a:cubicBezTo>
                  <a:pt x="1136" y="43"/>
                  <a:pt x="1136" y="43"/>
                  <a:pt x="1135" y="43"/>
                </a:cubicBezTo>
                <a:cubicBezTo>
                  <a:pt x="1136" y="44"/>
                  <a:pt x="1136" y="44"/>
                  <a:pt x="1136" y="44"/>
                </a:cubicBezTo>
                <a:close/>
                <a:moveTo>
                  <a:pt x="605" y="123"/>
                </a:moveTo>
                <a:cubicBezTo>
                  <a:pt x="605" y="123"/>
                  <a:pt x="605" y="123"/>
                  <a:pt x="605" y="123"/>
                </a:cubicBezTo>
                <a:cubicBezTo>
                  <a:pt x="605" y="123"/>
                  <a:pt x="605" y="123"/>
                  <a:pt x="605" y="123"/>
                </a:cubicBezTo>
                <a:close/>
                <a:moveTo>
                  <a:pt x="1489" y="16"/>
                </a:moveTo>
                <a:cubicBezTo>
                  <a:pt x="1489" y="16"/>
                  <a:pt x="1489" y="16"/>
                  <a:pt x="1490" y="16"/>
                </a:cubicBezTo>
                <a:cubicBezTo>
                  <a:pt x="1489" y="16"/>
                  <a:pt x="1489" y="16"/>
                  <a:pt x="1489" y="16"/>
                </a:cubicBezTo>
                <a:close/>
                <a:moveTo>
                  <a:pt x="566" y="50"/>
                </a:moveTo>
                <a:cubicBezTo>
                  <a:pt x="566" y="50"/>
                  <a:pt x="566" y="50"/>
                  <a:pt x="566" y="50"/>
                </a:cubicBezTo>
                <a:cubicBezTo>
                  <a:pt x="566" y="50"/>
                  <a:pt x="566" y="50"/>
                  <a:pt x="566" y="50"/>
                </a:cubicBezTo>
                <a:close/>
                <a:moveTo>
                  <a:pt x="662" y="64"/>
                </a:moveTo>
                <a:cubicBezTo>
                  <a:pt x="662" y="63"/>
                  <a:pt x="662" y="63"/>
                  <a:pt x="661" y="63"/>
                </a:cubicBezTo>
                <a:cubicBezTo>
                  <a:pt x="661" y="63"/>
                  <a:pt x="661" y="63"/>
                  <a:pt x="662" y="64"/>
                </a:cubicBezTo>
                <a:close/>
                <a:moveTo>
                  <a:pt x="719" y="16"/>
                </a:moveTo>
                <a:cubicBezTo>
                  <a:pt x="720" y="16"/>
                  <a:pt x="720" y="16"/>
                  <a:pt x="720" y="16"/>
                </a:cubicBezTo>
                <a:cubicBezTo>
                  <a:pt x="720" y="16"/>
                  <a:pt x="720" y="16"/>
                  <a:pt x="719" y="16"/>
                </a:cubicBezTo>
                <a:close/>
                <a:moveTo>
                  <a:pt x="681" y="63"/>
                </a:moveTo>
                <a:cubicBezTo>
                  <a:pt x="681" y="63"/>
                  <a:pt x="681" y="63"/>
                  <a:pt x="682" y="63"/>
                </a:cubicBezTo>
                <a:cubicBezTo>
                  <a:pt x="681" y="63"/>
                  <a:pt x="681" y="63"/>
                  <a:pt x="681" y="63"/>
                </a:cubicBezTo>
                <a:close/>
                <a:moveTo>
                  <a:pt x="607" y="41"/>
                </a:moveTo>
                <a:cubicBezTo>
                  <a:pt x="607" y="41"/>
                  <a:pt x="607" y="42"/>
                  <a:pt x="607" y="42"/>
                </a:cubicBezTo>
                <a:cubicBezTo>
                  <a:pt x="607" y="41"/>
                  <a:pt x="607" y="41"/>
                  <a:pt x="607" y="41"/>
                </a:cubicBezTo>
                <a:close/>
                <a:moveTo>
                  <a:pt x="613" y="129"/>
                </a:moveTo>
                <a:cubicBezTo>
                  <a:pt x="613" y="129"/>
                  <a:pt x="613" y="129"/>
                  <a:pt x="613" y="130"/>
                </a:cubicBezTo>
                <a:cubicBezTo>
                  <a:pt x="613" y="130"/>
                  <a:pt x="613" y="130"/>
                  <a:pt x="613" y="129"/>
                </a:cubicBezTo>
                <a:close/>
                <a:moveTo>
                  <a:pt x="612" y="130"/>
                </a:moveTo>
                <a:cubicBezTo>
                  <a:pt x="612" y="130"/>
                  <a:pt x="612" y="130"/>
                  <a:pt x="612" y="130"/>
                </a:cubicBezTo>
                <a:cubicBezTo>
                  <a:pt x="612" y="130"/>
                  <a:pt x="612" y="130"/>
                  <a:pt x="612" y="130"/>
                </a:cubicBezTo>
                <a:close/>
                <a:moveTo>
                  <a:pt x="610" y="131"/>
                </a:moveTo>
                <a:cubicBezTo>
                  <a:pt x="610" y="131"/>
                  <a:pt x="610" y="131"/>
                  <a:pt x="610" y="131"/>
                </a:cubicBezTo>
                <a:cubicBezTo>
                  <a:pt x="610" y="131"/>
                  <a:pt x="610" y="131"/>
                  <a:pt x="610" y="131"/>
                </a:cubicBezTo>
                <a:close/>
                <a:moveTo>
                  <a:pt x="609" y="131"/>
                </a:moveTo>
                <a:cubicBezTo>
                  <a:pt x="609" y="131"/>
                  <a:pt x="609" y="132"/>
                  <a:pt x="609" y="132"/>
                </a:cubicBezTo>
                <a:cubicBezTo>
                  <a:pt x="609" y="132"/>
                  <a:pt x="609" y="132"/>
                  <a:pt x="609" y="131"/>
                </a:cubicBezTo>
                <a:close/>
                <a:moveTo>
                  <a:pt x="609" y="132"/>
                </a:moveTo>
                <a:cubicBezTo>
                  <a:pt x="608" y="132"/>
                  <a:pt x="608" y="132"/>
                  <a:pt x="608" y="132"/>
                </a:cubicBezTo>
                <a:cubicBezTo>
                  <a:pt x="608" y="132"/>
                  <a:pt x="609" y="132"/>
                  <a:pt x="609" y="132"/>
                </a:cubicBezTo>
                <a:close/>
                <a:moveTo>
                  <a:pt x="1290" y="44"/>
                </a:moveTo>
                <a:cubicBezTo>
                  <a:pt x="1290" y="44"/>
                  <a:pt x="1290" y="44"/>
                  <a:pt x="1290" y="43"/>
                </a:cubicBezTo>
                <a:cubicBezTo>
                  <a:pt x="1290" y="44"/>
                  <a:pt x="1290" y="44"/>
                  <a:pt x="1290" y="44"/>
                </a:cubicBezTo>
                <a:close/>
                <a:moveTo>
                  <a:pt x="653" y="42"/>
                </a:moveTo>
                <a:cubicBezTo>
                  <a:pt x="653" y="42"/>
                  <a:pt x="653" y="42"/>
                  <a:pt x="653" y="42"/>
                </a:cubicBezTo>
                <a:cubicBezTo>
                  <a:pt x="653" y="42"/>
                  <a:pt x="653" y="42"/>
                  <a:pt x="653" y="42"/>
                </a:cubicBezTo>
                <a:close/>
                <a:moveTo>
                  <a:pt x="751" y="87"/>
                </a:moveTo>
                <a:cubicBezTo>
                  <a:pt x="751" y="87"/>
                  <a:pt x="751" y="87"/>
                  <a:pt x="750" y="87"/>
                </a:cubicBezTo>
                <a:cubicBezTo>
                  <a:pt x="750" y="87"/>
                  <a:pt x="751" y="87"/>
                  <a:pt x="751" y="87"/>
                </a:cubicBezTo>
                <a:close/>
                <a:moveTo>
                  <a:pt x="1364" y="74"/>
                </a:moveTo>
                <a:cubicBezTo>
                  <a:pt x="1364" y="74"/>
                  <a:pt x="1364" y="74"/>
                  <a:pt x="1364" y="74"/>
                </a:cubicBezTo>
                <a:cubicBezTo>
                  <a:pt x="1364" y="74"/>
                  <a:pt x="1364" y="74"/>
                  <a:pt x="1364" y="74"/>
                </a:cubicBezTo>
                <a:close/>
                <a:moveTo>
                  <a:pt x="796" y="39"/>
                </a:moveTo>
                <a:cubicBezTo>
                  <a:pt x="796" y="39"/>
                  <a:pt x="796" y="39"/>
                  <a:pt x="796" y="39"/>
                </a:cubicBezTo>
                <a:cubicBezTo>
                  <a:pt x="796" y="39"/>
                  <a:pt x="796" y="39"/>
                  <a:pt x="796" y="39"/>
                </a:cubicBezTo>
                <a:close/>
                <a:moveTo>
                  <a:pt x="1535" y="74"/>
                </a:moveTo>
                <a:cubicBezTo>
                  <a:pt x="1535" y="74"/>
                  <a:pt x="1535" y="74"/>
                  <a:pt x="1535" y="74"/>
                </a:cubicBezTo>
                <a:cubicBezTo>
                  <a:pt x="1535" y="74"/>
                  <a:pt x="1535" y="74"/>
                  <a:pt x="1535" y="74"/>
                </a:cubicBezTo>
                <a:close/>
                <a:moveTo>
                  <a:pt x="833" y="39"/>
                </a:moveTo>
                <a:cubicBezTo>
                  <a:pt x="833" y="39"/>
                  <a:pt x="833" y="39"/>
                  <a:pt x="833" y="39"/>
                </a:cubicBezTo>
                <a:cubicBezTo>
                  <a:pt x="833" y="39"/>
                  <a:pt x="833" y="39"/>
                  <a:pt x="833" y="39"/>
                </a:cubicBezTo>
                <a:close/>
                <a:moveTo>
                  <a:pt x="1703" y="74"/>
                </a:moveTo>
                <a:cubicBezTo>
                  <a:pt x="1703" y="74"/>
                  <a:pt x="1704" y="74"/>
                  <a:pt x="1704" y="74"/>
                </a:cubicBezTo>
                <a:cubicBezTo>
                  <a:pt x="1703" y="74"/>
                  <a:pt x="1703" y="74"/>
                  <a:pt x="1703" y="74"/>
                </a:cubicBezTo>
                <a:close/>
                <a:moveTo>
                  <a:pt x="1717" y="74"/>
                </a:moveTo>
                <a:cubicBezTo>
                  <a:pt x="1717" y="74"/>
                  <a:pt x="1716" y="74"/>
                  <a:pt x="1716" y="74"/>
                </a:cubicBezTo>
                <a:cubicBezTo>
                  <a:pt x="1717" y="74"/>
                  <a:pt x="1717" y="74"/>
                  <a:pt x="1717" y="74"/>
                </a:cubicBezTo>
                <a:close/>
                <a:moveTo>
                  <a:pt x="864" y="39"/>
                </a:moveTo>
                <a:cubicBezTo>
                  <a:pt x="864" y="39"/>
                  <a:pt x="864" y="39"/>
                  <a:pt x="864" y="39"/>
                </a:cubicBezTo>
                <a:cubicBezTo>
                  <a:pt x="864" y="39"/>
                  <a:pt x="864" y="39"/>
                  <a:pt x="864" y="39"/>
                </a:cubicBezTo>
                <a:close/>
                <a:moveTo>
                  <a:pt x="874" y="39"/>
                </a:moveTo>
                <a:cubicBezTo>
                  <a:pt x="874" y="39"/>
                  <a:pt x="874" y="39"/>
                  <a:pt x="874" y="39"/>
                </a:cubicBezTo>
                <a:cubicBezTo>
                  <a:pt x="874" y="39"/>
                  <a:pt x="874" y="39"/>
                  <a:pt x="874" y="39"/>
                </a:cubicBezTo>
                <a:close/>
                <a:moveTo>
                  <a:pt x="1042" y="39"/>
                </a:moveTo>
                <a:cubicBezTo>
                  <a:pt x="1042" y="39"/>
                  <a:pt x="1042" y="39"/>
                  <a:pt x="1042" y="39"/>
                </a:cubicBezTo>
                <a:cubicBezTo>
                  <a:pt x="1042" y="39"/>
                  <a:pt x="1042" y="39"/>
                  <a:pt x="1042" y="39"/>
                </a:cubicBezTo>
                <a:close/>
                <a:moveTo>
                  <a:pt x="1115" y="39"/>
                </a:moveTo>
                <a:cubicBezTo>
                  <a:pt x="1116" y="39"/>
                  <a:pt x="1116" y="39"/>
                  <a:pt x="1116" y="39"/>
                </a:cubicBezTo>
                <a:cubicBezTo>
                  <a:pt x="1115" y="39"/>
                  <a:pt x="1115" y="39"/>
                  <a:pt x="1115" y="39"/>
                </a:cubicBezTo>
                <a:close/>
                <a:moveTo>
                  <a:pt x="1148" y="39"/>
                </a:moveTo>
                <a:cubicBezTo>
                  <a:pt x="1148" y="39"/>
                  <a:pt x="1148" y="39"/>
                  <a:pt x="1149" y="39"/>
                </a:cubicBezTo>
                <a:cubicBezTo>
                  <a:pt x="1149" y="39"/>
                  <a:pt x="1148" y="39"/>
                  <a:pt x="1148" y="39"/>
                </a:cubicBezTo>
                <a:close/>
                <a:moveTo>
                  <a:pt x="1220" y="39"/>
                </a:moveTo>
                <a:cubicBezTo>
                  <a:pt x="1220" y="39"/>
                  <a:pt x="1220" y="39"/>
                  <a:pt x="1220" y="39"/>
                </a:cubicBezTo>
                <a:cubicBezTo>
                  <a:pt x="1220" y="39"/>
                  <a:pt x="1220" y="39"/>
                  <a:pt x="1220" y="39"/>
                </a:cubicBezTo>
                <a:close/>
                <a:moveTo>
                  <a:pt x="1351" y="75"/>
                </a:moveTo>
                <a:cubicBezTo>
                  <a:pt x="1351" y="75"/>
                  <a:pt x="1351" y="75"/>
                  <a:pt x="1351" y="74"/>
                </a:cubicBezTo>
                <a:cubicBezTo>
                  <a:pt x="1351" y="74"/>
                  <a:pt x="1351" y="75"/>
                  <a:pt x="1351" y="75"/>
                </a:cubicBezTo>
                <a:close/>
                <a:moveTo>
                  <a:pt x="1364" y="74"/>
                </a:moveTo>
                <a:cubicBezTo>
                  <a:pt x="1364" y="74"/>
                  <a:pt x="1364" y="74"/>
                  <a:pt x="1364" y="75"/>
                </a:cubicBezTo>
                <a:cubicBezTo>
                  <a:pt x="1364" y="75"/>
                  <a:pt x="1364" y="75"/>
                  <a:pt x="1364" y="74"/>
                </a:cubicBezTo>
                <a:close/>
                <a:moveTo>
                  <a:pt x="1535" y="75"/>
                </a:moveTo>
                <a:cubicBezTo>
                  <a:pt x="1535" y="75"/>
                  <a:pt x="1535" y="75"/>
                  <a:pt x="1535" y="74"/>
                </a:cubicBezTo>
                <a:cubicBezTo>
                  <a:pt x="1535" y="74"/>
                  <a:pt x="1535" y="75"/>
                  <a:pt x="1535" y="75"/>
                </a:cubicBezTo>
                <a:close/>
                <a:moveTo>
                  <a:pt x="1548" y="74"/>
                </a:moveTo>
                <a:cubicBezTo>
                  <a:pt x="1548" y="74"/>
                  <a:pt x="1548" y="74"/>
                  <a:pt x="1548" y="75"/>
                </a:cubicBezTo>
                <a:cubicBezTo>
                  <a:pt x="1548" y="75"/>
                  <a:pt x="1548" y="74"/>
                  <a:pt x="1548" y="74"/>
                </a:cubicBezTo>
                <a:close/>
                <a:moveTo>
                  <a:pt x="1256" y="39"/>
                </a:moveTo>
                <a:cubicBezTo>
                  <a:pt x="1256" y="39"/>
                  <a:pt x="1256" y="39"/>
                  <a:pt x="1256" y="39"/>
                </a:cubicBezTo>
                <a:cubicBezTo>
                  <a:pt x="1256" y="39"/>
                  <a:pt x="1256" y="39"/>
                  <a:pt x="1256" y="39"/>
                </a:cubicBezTo>
                <a:close/>
                <a:moveTo>
                  <a:pt x="1703" y="75"/>
                </a:moveTo>
                <a:cubicBezTo>
                  <a:pt x="1703" y="75"/>
                  <a:pt x="1703" y="75"/>
                  <a:pt x="1703" y="74"/>
                </a:cubicBezTo>
                <a:cubicBezTo>
                  <a:pt x="1703" y="74"/>
                  <a:pt x="1703" y="75"/>
                  <a:pt x="1703" y="75"/>
                </a:cubicBezTo>
                <a:close/>
                <a:moveTo>
                  <a:pt x="1716" y="74"/>
                </a:moveTo>
                <a:cubicBezTo>
                  <a:pt x="1716" y="74"/>
                  <a:pt x="1716" y="74"/>
                  <a:pt x="1716" y="75"/>
                </a:cubicBezTo>
                <a:cubicBezTo>
                  <a:pt x="1716" y="75"/>
                  <a:pt x="1716" y="74"/>
                  <a:pt x="1716" y="74"/>
                </a:cubicBezTo>
                <a:close/>
                <a:moveTo>
                  <a:pt x="551" y="39"/>
                </a:moveTo>
                <a:cubicBezTo>
                  <a:pt x="551" y="39"/>
                  <a:pt x="551" y="39"/>
                  <a:pt x="551" y="39"/>
                </a:cubicBezTo>
                <a:cubicBezTo>
                  <a:pt x="551" y="39"/>
                  <a:pt x="551" y="39"/>
                  <a:pt x="551" y="39"/>
                </a:cubicBezTo>
                <a:close/>
                <a:moveTo>
                  <a:pt x="664" y="39"/>
                </a:moveTo>
                <a:cubicBezTo>
                  <a:pt x="664" y="39"/>
                  <a:pt x="664" y="39"/>
                  <a:pt x="664" y="39"/>
                </a:cubicBezTo>
                <a:cubicBezTo>
                  <a:pt x="664" y="39"/>
                  <a:pt x="664" y="39"/>
                  <a:pt x="664" y="39"/>
                </a:cubicBezTo>
                <a:close/>
                <a:moveTo>
                  <a:pt x="698" y="75"/>
                </a:moveTo>
                <a:cubicBezTo>
                  <a:pt x="698" y="75"/>
                  <a:pt x="698" y="75"/>
                  <a:pt x="698" y="75"/>
                </a:cubicBezTo>
                <a:cubicBezTo>
                  <a:pt x="698" y="75"/>
                  <a:pt x="698" y="75"/>
                  <a:pt x="698" y="75"/>
                </a:cubicBezTo>
                <a:close/>
                <a:moveTo>
                  <a:pt x="796" y="39"/>
                </a:moveTo>
                <a:cubicBezTo>
                  <a:pt x="796" y="39"/>
                  <a:pt x="797" y="39"/>
                  <a:pt x="797" y="39"/>
                </a:cubicBezTo>
                <a:cubicBezTo>
                  <a:pt x="797" y="39"/>
                  <a:pt x="797" y="39"/>
                  <a:pt x="796" y="39"/>
                </a:cubicBezTo>
                <a:close/>
                <a:moveTo>
                  <a:pt x="1350" y="75"/>
                </a:moveTo>
                <a:cubicBezTo>
                  <a:pt x="1350" y="75"/>
                  <a:pt x="1351" y="75"/>
                  <a:pt x="1351" y="75"/>
                </a:cubicBezTo>
                <a:cubicBezTo>
                  <a:pt x="1350" y="75"/>
                  <a:pt x="1350" y="75"/>
                  <a:pt x="1350" y="75"/>
                </a:cubicBezTo>
                <a:close/>
                <a:moveTo>
                  <a:pt x="832" y="39"/>
                </a:moveTo>
                <a:cubicBezTo>
                  <a:pt x="832" y="39"/>
                  <a:pt x="833" y="39"/>
                  <a:pt x="833" y="39"/>
                </a:cubicBezTo>
                <a:cubicBezTo>
                  <a:pt x="832" y="39"/>
                  <a:pt x="832" y="39"/>
                  <a:pt x="832" y="39"/>
                </a:cubicBezTo>
                <a:close/>
                <a:moveTo>
                  <a:pt x="864" y="39"/>
                </a:moveTo>
                <a:cubicBezTo>
                  <a:pt x="864" y="39"/>
                  <a:pt x="864" y="39"/>
                  <a:pt x="864" y="39"/>
                </a:cubicBezTo>
                <a:cubicBezTo>
                  <a:pt x="864" y="39"/>
                  <a:pt x="864" y="39"/>
                  <a:pt x="864" y="39"/>
                </a:cubicBezTo>
                <a:close/>
                <a:moveTo>
                  <a:pt x="1534" y="75"/>
                </a:moveTo>
                <a:cubicBezTo>
                  <a:pt x="1535" y="75"/>
                  <a:pt x="1535" y="75"/>
                  <a:pt x="1535" y="75"/>
                </a:cubicBezTo>
                <a:cubicBezTo>
                  <a:pt x="1535" y="75"/>
                  <a:pt x="1534" y="75"/>
                  <a:pt x="1534" y="75"/>
                </a:cubicBezTo>
                <a:close/>
                <a:moveTo>
                  <a:pt x="1548" y="75"/>
                </a:moveTo>
                <a:cubicBezTo>
                  <a:pt x="1548" y="75"/>
                  <a:pt x="1548" y="75"/>
                  <a:pt x="1548" y="75"/>
                </a:cubicBezTo>
                <a:cubicBezTo>
                  <a:pt x="1548" y="75"/>
                  <a:pt x="1548" y="75"/>
                  <a:pt x="1548" y="75"/>
                </a:cubicBezTo>
                <a:close/>
                <a:moveTo>
                  <a:pt x="873" y="39"/>
                </a:moveTo>
                <a:cubicBezTo>
                  <a:pt x="874" y="39"/>
                  <a:pt x="874" y="39"/>
                  <a:pt x="874" y="39"/>
                </a:cubicBezTo>
                <a:cubicBezTo>
                  <a:pt x="874" y="39"/>
                  <a:pt x="873" y="39"/>
                  <a:pt x="873" y="39"/>
                </a:cubicBezTo>
                <a:close/>
                <a:moveTo>
                  <a:pt x="1703" y="75"/>
                </a:moveTo>
                <a:cubicBezTo>
                  <a:pt x="1703" y="75"/>
                  <a:pt x="1703" y="75"/>
                  <a:pt x="1703" y="75"/>
                </a:cubicBezTo>
                <a:cubicBezTo>
                  <a:pt x="1703" y="75"/>
                  <a:pt x="1703" y="75"/>
                  <a:pt x="1703" y="75"/>
                </a:cubicBezTo>
                <a:close/>
                <a:moveTo>
                  <a:pt x="1716" y="75"/>
                </a:moveTo>
                <a:cubicBezTo>
                  <a:pt x="1716" y="75"/>
                  <a:pt x="1716" y="75"/>
                  <a:pt x="1716" y="75"/>
                </a:cubicBezTo>
                <a:cubicBezTo>
                  <a:pt x="1716" y="75"/>
                  <a:pt x="1716" y="75"/>
                  <a:pt x="1716" y="75"/>
                </a:cubicBezTo>
                <a:close/>
                <a:moveTo>
                  <a:pt x="1041" y="39"/>
                </a:moveTo>
                <a:cubicBezTo>
                  <a:pt x="1042" y="39"/>
                  <a:pt x="1042" y="39"/>
                  <a:pt x="1042" y="39"/>
                </a:cubicBezTo>
                <a:cubicBezTo>
                  <a:pt x="1042" y="39"/>
                  <a:pt x="1042" y="39"/>
                  <a:pt x="1041" y="39"/>
                </a:cubicBezTo>
                <a:close/>
                <a:moveTo>
                  <a:pt x="1115" y="39"/>
                </a:moveTo>
                <a:cubicBezTo>
                  <a:pt x="1115" y="39"/>
                  <a:pt x="1115" y="39"/>
                  <a:pt x="1115" y="39"/>
                </a:cubicBezTo>
                <a:cubicBezTo>
                  <a:pt x="1115" y="39"/>
                  <a:pt x="1115" y="39"/>
                  <a:pt x="1115" y="39"/>
                </a:cubicBezTo>
                <a:close/>
                <a:moveTo>
                  <a:pt x="1219" y="39"/>
                </a:moveTo>
                <a:cubicBezTo>
                  <a:pt x="1220" y="39"/>
                  <a:pt x="1220" y="39"/>
                  <a:pt x="1220" y="39"/>
                </a:cubicBezTo>
                <a:cubicBezTo>
                  <a:pt x="1220" y="39"/>
                  <a:pt x="1219" y="39"/>
                  <a:pt x="1219" y="39"/>
                </a:cubicBezTo>
                <a:close/>
                <a:moveTo>
                  <a:pt x="1293" y="39"/>
                </a:moveTo>
                <a:cubicBezTo>
                  <a:pt x="1293" y="39"/>
                  <a:pt x="1293" y="39"/>
                  <a:pt x="1293" y="39"/>
                </a:cubicBezTo>
                <a:cubicBezTo>
                  <a:pt x="1293" y="39"/>
                  <a:pt x="1293" y="39"/>
                  <a:pt x="1293" y="39"/>
                </a:cubicBezTo>
                <a:close/>
                <a:moveTo>
                  <a:pt x="1350" y="75"/>
                </a:moveTo>
                <a:cubicBezTo>
                  <a:pt x="1350" y="75"/>
                  <a:pt x="1350" y="75"/>
                  <a:pt x="1350" y="75"/>
                </a:cubicBezTo>
                <a:cubicBezTo>
                  <a:pt x="1350" y="75"/>
                  <a:pt x="1350" y="75"/>
                  <a:pt x="1350" y="75"/>
                </a:cubicBezTo>
                <a:close/>
                <a:moveTo>
                  <a:pt x="663" y="40"/>
                </a:moveTo>
                <a:cubicBezTo>
                  <a:pt x="664" y="40"/>
                  <a:pt x="664" y="39"/>
                  <a:pt x="664" y="39"/>
                </a:cubicBezTo>
                <a:cubicBezTo>
                  <a:pt x="664" y="39"/>
                  <a:pt x="664" y="39"/>
                  <a:pt x="663" y="40"/>
                </a:cubicBezTo>
                <a:close/>
                <a:moveTo>
                  <a:pt x="759" y="40"/>
                </a:moveTo>
                <a:cubicBezTo>
                  <a:pt x="759" y="40"/>
                  <a:pt x="759" y="39"/>
                  <a:pt x="759" y="39"/>
                </a:cubicBezTo>
                <a:cubicBezTo>
                  <a:pt x="759" y="39"/>
                  <a:pt x="759" y="39"/>
                  <a:pt x="759" y="40"/>
                </a:cubicBezTo>
                <a:close/>
                <a:moveTo>
                  <a:pt x="797" y="39"/>
                </a:moveTo>
                <a:cubicBezTo>
                  <a:pt x="797" y="39"/>
                  <a:pt x="797" y="40"/>
                  <a:pt x="797" y="40"/>
                </a:cubicBezTo>
                <a:cubicBezTo>
                  <a:pt x="797" y="39"/>
                  <a:pt x="797" y="39"/>
                  <a:pt x="797" y="39"/>
                </a:cubicBezTo>
                <a:close/>
                <a:moveTo>
                  <a:pt x="832" y="40"/>
                </a:moveTo>
                <a:cubicBezTo>
                  <a:pt x="832" y="40"/>
                  <a:pt x="832" y="39"/>
                  <a:pt x="832" y="39"/>
                </a:cubicBezTo>
                <a:cubicBezTo>
                  <a:pt x="832" y="39"/>
                  <a:pt x="832" y="39"/>
                  <a:pt x="832" y="40"/>
                </a:cubicBezTo>
                <a:close/>
                <a:moveTo>
                  <a:pt x="873" y="40"/>
                </a:moveTo>
                <a:cubicBezTo>
                  <a:pt x="873" y="40"/>
                  <a:pt x="873" y="39"/>
                  <a:pt x="873" y="39"/>
                </a:cubicBezTo>
                <a:cubicBezTo>
                  <a:pt x="873" y="39"/>
                  <a:pt x="873" y="39"/>
                  <a:pt x="873" y="40"/>
                </a:cubicBezTo>
                <a:close/>
                <a:moveTo>
                  <a:pt x="1115" y="40"/>
                </a:moveTo>
                <a:cubicBezTo>
                  <a:pt x="1115" y="40"/>
                  <a:pt x="1115" y="39"/>
                  <a:pt x="1115" y="39"/>
                </a:cubicBezTo>
                <a:cubicBezTo>
                  <a:pt x="1115" y="39"/>
                  <a:pt x="1115" y="39"/>
                  <a:pt x="1115" y="40"/>
                </a:cubicBezTo>
                <a:close/>
                <a:moveTo>
                  <a:pt x="682" y="76"/>
                </a:moveTo>
                <a:cubicBezTo>
                  <a:pt x="682" y="75"/>
                  <a:pt x="682" y="75"/>
                  <a:pt x="682" y="75"/>
                </a:cubicBezTo>
                <a:cubicBezTo>
                  <a:pt x="682" y="76"/>
                  <a:pt x="682" y="76"/>
                  <a:pt x="682" y="76"/>
                </a:cubicBezTo>
                <a:close/>
                <a:moveTo>
                  <a:pt x="698" y="75"/>
                </a:moveTo>
                <a:cubicBezTo>
                  <a:pt x="698" y="76"/>
                  <a:pt x="698" y="76"/>
                  <a:pt x="698" y="76"/>
                </a:cubicBezTo>
                <a:cubicBezTo>
                  <a:pt x="698" y="76"/>
                  <a:pt x="698" y="76"/>
                  <a:pt x="698" y="75"/>
                </a:cubicBezTo>
                <a:close/>
                <a:moveTo>
                  <a:pt x="1292" y="40"/>
                </a:moveTo>
                <a:cubicBezTo>
                  <a:pt x="1293" y="40"/>
                  <a:pt x="1293" y="39"/>
                  <a:pt x="1293" y="39"/>
                </a:cubicBezTo>
                <a:cubicBezTo>
                  <a:pt x="1293" y="39"/>
                  <a:pt x="1293" y="39"/>
                  <a:pt x="1292" y="40"/>
                </a:cubicBezTo>
                <a:close/>
                <a:moveTo>
                  <a:pt x="663" y="40"/>
                </a:moveTo>
                <a:cubicBezTo>
                  <a:pt x="663" y="40"/>
                  <a:pt x="663" y="40"/>
                  <a:pt x="663" y="40"/>
                </a:cubicBezTo>
                <a:cubicBezTo>
                  <a:pt x="663" y="40"/>
                  <a:pt x="663" y="40"/>
                  <a:pt x="663" y="40"/>
                </a:cubicBezTo>
                <a:close/>
                <a:moveTo>
                  <a:pt x="1350" y="76"/>
                </a:moveTo>
                <a:cubicBezTo>
                  <a:pt x="1350" y="76"/>
                  <a:pt x="1350" y="76"/>
                  <a:pt x="1350" y="75"/>
                </a:cubicBezTo>
                <a:cubicBezTo>
                  <a:pt x="1350" y="76"/>
                  <a:pt x="1350" y="76"/>
                  <a:pt x="1350" y="76"/>
                </a:cubicBezTo>
                <a:close/>
                <a:moveTo>
                  <a:pt x="1363" y="75"/>
                </a:moveTo>
                <a:cubicBezTo>
                  <a:pt x="1363" y="75"/>
                  <a:pt x="1362" y="76"/>
                  <a:pt x="1362" y="76"/>
                </a:cubicBezTo>
                <a:cubicBezTo>
                  <a:pt x="1363" y="76"/>
                  <a:pt x="1363" y="76"/>
                  <a:pt x="1363" y="75"/>
                </a:cubicBezTo>
                <a:close/>
                <a:moveTo>
                  <a:pt x="758" y="40"/>
                </a:moveTo>
                <a:cubicBezTo>
                  <a:pt x="759" y="40"/>
                  <a:pt x="759" y="40"/>
                  <a:pt x="759" y="40"/>
                </a:cubicBezTo>
                <a:cubicBezTo>
                  <a:pt x="759" y="40"/>
                  <a:pt x="759" y="40"/>
                  <a:pt x="758" y="40"/>
                </a:cubicBezTo>
                <a:close/>
                <a:moveTo>
                  <a:pt x="797" y="40"/>
                </a:moveTo>
                <a:cubicBezTo>
                  <a:pt x="797" y="40"/>
                  <a:pt x="797" y="40"/>
                  <a:pt x="797" y="40"/>
                </a:cubicBezTo>
                <a:cubicBezTo>
                  <a:pt x="797" y="40"/>
                  <a:pt x="797" y="40"/>
                  <a:pt x="797" y="40"/>
                </a:cubicBezTo>
                <a:close/>
                <a:moveTo>
                  <a:pt x="832" y="40"/>
                </a:moveTo>
                <a:cubicBezTo>
                  <a:pt x="832" y="40"/>
                  <a:pt x="832" y="40"/>
                  <a:pt x="832" y="40"/>
                </a:cubicBezTo>
                <a:cubicBezTo>
                  <a:pt x="832" y="40"/>
                  <a:pt x="832" y="40"/>
                  <a:pt x="832" y="40"/>
                </a:cubicBezTo>
                <a:close/>
                <a:moveTo>
                  <a:pt x="873" y="40"/>
                </a:moveTo>
                <a:cubicBezTo>
                  <a:pt x="873" y="40"/>
                  <a:pt x="873" y="40"/>
                  <a:pt x="873" y="40"/>
                </a:cubicBezTo>
                <a:cubicBezTo>
                  <a:pt x="873" y="40"/>
                  <a:pt x="873" y="40"/>
                  <a:pt x="873" y="40"/>
                </a:cubicBezTo>
                <a:close/>
                <a:moveTo>
                  <a:pt x="907" y="40"/>
                </a:moveTo>
                <a:cubicBezTo>
                  <a:pt x="907" y="40"/>
                  <a:pt x="907" y="40"/>
                  <a:pt x="907" y="40"/>
                </a:cubicBezTo>
                <a:cubicBezTo>
                  <a:pt x="907" y="40"/>
                  <a:pt x="907" y="40"/>
                  <a:pt x="907" y="40"/>
                </a:cubicBezTo>
                <a:close/>
                <a:moveTo>
                  <a:pt x="1114" y="40"/>
                </a:moveTo>
                <a:cubicBezTo>
                  <a:pt x="1114" y="40"/>
                  <a:pt x="1115" y="40"/>
                  <a:pt x="1115" y="40"/>
                </a:cubicBezTo>
                <a:cubicBezTo>
                  <a:pt x="1114" y="40"/>
                  <a:pt x="1114" y="40"/>
                  <a:pt x="1114" y="40"/>
                </a:cubicBezTo>
                <a:close/>
                <a:moveTo>
                  <a:pt x="1292" y="40"/>
                </a:moveTo>
                <a:cubicBezTo>
                  <a:pt x="1292" y="40"/>
                  <a:pt x="1292" y="40"/>
                  <a:pt x="1292" y="40"/>
                </a:cubicBezTo>
                <a:cubicBezTo>
                  <a:pt x="1292" y="40"/>
                  <a:pt x="1292" y="40"/>
                  <a:pt x="1292" y="40"/>
                </a:cubicBezTo>
                <a:close/>
                <a:moveTo>
                  <a:pt x="1362" y="76"/>
                </a:moveTo>
                <a:cubicBezTo>
                  <a:pt x="1362" y="76"/>
                  <a:pt x="1362" y="76"/>
                  <a:pt x="1362" y="76"/>
                </a:cubicBezTo>
                <a:cubicBezTo>
                  <a:pt x="1362" y="76"/>
                  <a:pt x="1362" y="76"/>
                  <a:pt x="1362" y="76"/>
                </a:cubicBezTo>
                <a:close/>
                <a:moveTo>
                  <a:pt x="663" y="40"/>
                </a:moveTo>
                <a:cubicBezTo>
                  <a:pt x="663" y="40"/>
                  <a:pt x="663" y="40"/>
                  <a:pt x="663" y="40"/>
                </a:cubicBezTo>
                <a:cubicBezTo>
                  <a:pt x="663" y="40"/>
                  <a:pt x="663" y="40"/>
                  <a:pt x="663" y="40"/>
                </a:cubicBezTo>
                <a:close/>
                <a:moveTo>
                  <a:pt x="758" y="40"/>
                </a:moveTo>
                <a:cubicBezTo>
                  <a:pt x="758" y="40"/>
                  <a:pt x="758" y="40"/>
                  <a:pt x="758" y="40"/>
                </a:cubicBezTo>
                <a:cubicBezTo>
                  <a:pt x="758" y="40"/>
                  <a:pt x="758" y="40"/>
                  <a:pt x="758" y="40"/>
                </a:cubicBezTo>
                <a:close/>
                <a:moveTo>
                  <a:pt x="797" y="40"/>
                </a:moveTo>
                <a:cubicBezTo>
                  <a:pt x="797" y="40"/>
                  <a:pt x="798" y="40"/>
                  <a:pt x="798" y="40"/>
                </a:cubicBezTo>
                <a:cubicBezTo>
                  <a:pt x="798" y="40"/>
                  <a:pt x="798" y="40"/>
                  <a:pt x="797" y="40"/>
                </a:cubicBezTo>
                <a:close/>
                <a:moveTo>
                  <a:pt x="831" y="40"/>
                </a:moveTo>
                <a:cubicBezTo>
                  <a:pt x="831" y="40"/>
                  <a:pt x="832" y="40"/>
                  <a:pt x="832" y="40"/>
                </a:cubicBezTo>
                <a:cubicBezTo>
                  <a:pt x="831" y="40"/>
                  <a:pt x="831" y="40"/>
                  <a:pt x="831" y="40"/>
                </a:cubicBezTo>
                <a:close/>
                <a:moveTo>
                  <a:pt x="872" y="40"/>
                </a:moveTo>
                <a:cubicBezTo>
                  <a:pt x="873" y="40"/>
                  <a:pt x="873" y="40"/>
                  <a:pt x="873" y="40"/>
                </a:cubicBezTo>
                <a:cubicBezTo>
                  <a:pt x="873" y="40"/>
                  <a:pt x="872" y="40"/>
                  <a:pt x="872" y="40"/>
                </a:cubicBezTo>
                <a:close/>
                <a:moveTo>
                  <a:pt x="907" y="40"/>
                </a:moveTo>
                <a:cubicBezTo>
                  <a:pt x="907" y="40"/>
                  <a:pt x="908" y="40"/>
                  <a:pt x="908" y="40"/>
                </a:cubicBezTo>
                <a:cubicBezTo>
                  <a:pt x="908" y="40"/>
                  <a:pt x="908" y="40"/>
                  <a:pt x="907" y="40"/>
                </a:cubicBezTo>
                <a:close/>
                <a:moveTo>
                  <a:pt x="1114" y="40"/>
                </a:moveTo>
                <a:cubicBezTo>
                  <a:pt x="1114" y="40"/>
                  <a:pt x="1114" y="40"/>
                  <a:pt x="1114" y="40"/>
                </a:cubicBezTo>
                <a:cubicBezTo>
                  <a:pt x="1114" y="40"/>
                  <a:pt x="1114" y="40"/>
                  <a:pt x="1114" y="40"/>
                </a:cubicBezTo>
                <a:close/>
                <a:moveTo>
                  <a:pt x="1362" y="76"/>
                </a:moveTo>
                <a:cubicBezTo>
                  <a:pt x="1362" y="76"/>
                  <a:pt x="1362" y="76"/>
                  <a:pt x="1362" y="76"/>
                </a:cubicBezTo>
                <a:cubicBezTo>
                  <a:pt x="1362" y="76"/>
                  <a:pt x="1362" y="76"/>
                  <a:pt x="1362" y="76"/>
                </a:cubicBezTo>
                <a:close/>
                <a:moveTo>
                  <a:pt x="1149" y="40"/>
                </a:moveTo>
                <a:cubicBezTo>
                  <a:pt x="1149" y="40"/>
                  <a:pt x="1149" y="40"/>
                  <a:pt x="1150" y="40"/>
                </a:cubicBezTo>
                <a:cubicBezTo>
                  <a:pt x="1150" y="40"/>
                  <a:pt x="1149" y="40"/>
                  <a:pt x="1149" y="40"/>
                </a:cubicBezTo>
                <a:close/>
                <a:moveTo>
                  <a:pt x="1533" y="77"/>
                </a:moveTo>
                <a:cubicBezTo>
                  <a:pt x="1534" y="76"/>
                  <a:pt x="1534" y="76"/>
                  <a:pt x="1534" y="76"/>
                </a:cubicBezTo>
                <a:cubicBezTo>
                  <a:pt x="1534" y="76"/>
                  <a:pt x="1533" y="76"/>
                  <a:pt x="1533" y="77"/>
                </a:cubicBezTo>
                <a:close/>
                <a:moveTo>
                  <a:pt x="1546" y="76"/>
                </a:moveTo>
                <a:cubicBezTo>
                  <a:pt x="1546" y="76"/>
                  <a:pt x="1546" y="76"/>
                  <a:pt x="1546" y="76"/>
                </a:cubicBezTo>
                <a:cubicBezTo>
                  <a:pt x="1546" y="76"/>
                  <a:pt x="1546" y="76"/>
                  <a:pt x="1546" y="76"/>
                </a:cubicBezTo>
                <a:close/>
                <a:moveTo>
                  <a:pt x="1218" y="40"/>
                </a:moveTo>
                <a:cubicBezTo>
                  <a:pt x="1218" y="40"/>
                  <a:pt x="1218" y="40"/>
                  <a:pt x="1218" y="40"/>
                </a:cubicBezTo>
                <a:cubicBezTo>
                  <a:pt x="1218" y="40"/>
                  <a:pt x="1218" y="40"/>
                  <a:pt x="1218" y="40"/>
                </a:cubicBezTo>
                <a:close/>
                <a:moveTo>
                  <a:pt x="662" y="41"/>
                </a:moveTo>
                <a:cubicBezTo>
                  <a:pt x="663" y="41"/>
                  <a:pt x="663" y="41"/>
                  <a:pt x="663" y="40"/>
                </a:cubicBezTo>
                <a:cubicBezTo>
                  <a:pt x="663" y="40"/>
                  <a:pt x="662" y="40"/>
                  <a:pt x="662" y="41"/>
                </a:cubicBezTo>
                <a:close/>
                <a:moveTo>
                  <a:pt x="1701" y="77"/>
                </a:moveTo>
                <a:cubicBezTo>
                  <a:pt x="1702" y="76"/>
                  <a:pt x="1702" y="76"/>
                  <a:pt x="1702" y="76"/>
                </a:cubicBezTo>
                <a:cubicBezTo>
                  <a:pt x="1702" y="76"/>
                  <a:pt x="1702" y="76"/>
                  <a:pt x="1701" y="77"/>
                </a:cubicBezTo>
                <a:close/>
                <a:moveTo>
                  <a:pt x="1714" y="76"/>
                </a:moveTo>
                <a:cubicBezTo>
                  <a:pt x="1714" y="76"/>
                  <a:pt x="1714" y="76"/>
                  <a:pt x="1714" y="76"/>
                </a:cubicBezTo>
                <a:cubicBezTo>
                  <a:pt x="1714" y="76"/>
                  <a:pt x="1714" y="76"/>
                  <a:pt x="1714" y="76"/>
                </a:cubicBezTo>
                <a:close/>
                <a:moveTo>
                  <a:pt x="684" y="77"/>
                </a:moveTo>
                <a:cubicBezTo>
                  <a:pt x="684" y="77"/>
                  <a:pt x="683" y="76"/>
                  <a:pt x="683" y="76"/>
                </a:cubicBezTo>
                <a:cubicBezTo>
                  <a:pt x="683" y="77"/>
                  <a:pt x="684" y="77"/>
                  <a:pt x="684" y="77"/>
                </a:cubicBezTo>
                <a:close/>
                <a:moveTo>
                  <a:pt x="967" y="76"/>
                </a:moveTo>
                <a:cubicBezTo>
                  <a:pt x="967" y="77"/>
                  <a:pt x="967" y="77"/>
                  <a:pt x="968" y="77"/>
                </a:cubicBezTo>
                <a:cubicBezTo>
                  <a:pt x="968" y="77"/>
                  <a:pt x="968" y="77"/>
                  <a:pt x="967" y="76"/>
                </a:cubicBezTo>
                <a:close/>
                <a:moveTo>
                  <a:pt x="758" y="41"/>
                </a:moveTo>
                <a:cubicBezTo>
                  <a:pt x="758" y="41"/>
                  <a:pt x="758" y="40"/>
                  <a:pt x="758" y="40"/>
                </a:cubicBezTo>
                <a:cubicBezTo>
                  <a:pt x="758" y="40"/>
                  <a:pt x="758" y="40"/>
                  <a:pt x="758" y="41"/>
                </a:cubicBezTo>
                <a:close/>
                <a:moveTo>
                  <a:pt x="798" y="40"/>
                </a:moveTo>
                <a:cubicBezTo>
                  <a:pt x="798" y="40"/>
                  <a:pt x="798" y="41"/>
                  <a:pt x="798" y="41"/>
                </a:cubicBezTo>
                <a:cubicBezTo>
                  <a:pt x="798" y="40"/>
                  <a:pt x="798" y="40"/>
                  <a:pt x="798" y="40"/>
                </a:cubicBezTo>
                <a:close/>
                <a:moveTo>
                  <a:pt x="1349" y="77"/>
                </a:moveTo>
                <a:cubicBezTo>
                  <a:pt x="1349" y="77"/>
                  <a:pt x="1349" y="77"/>
                  <a:pt x="1349" y="76"/>
                </a:cubicBezTo>
                <a:cubicBezTo>
                  <a:pt x="1349" y="77"/>
                  <a:pt x="1349" y="77"/>
                  <a:pt x="1349" y="77"/>
                </a:cubicBezTo>
                <a:close/>
                <a:moveTo>
                  <a:pt x="1362" y="76"/>
                </a:moveTo>
                <a:cubicBezTo>
                  <a:pt x="1361" y="76"/>
                  <a:pt x="1361" y="77"/>
                  <a:pt x="1361" y="77"/>
                </a:cubicBezTo>
                <a:cubicBezTo>
                  <a:pt x="1361" y="77"/>
                  <a:pt x="1362" y="77"/>
                  <a:pt x="1362" y="76"/>
                </a:cubicBezTo>
                <a:close/>
                <a:moveTo>
                  <a:pt x="1533" y="77"/>
                </a:moveTo>
                <a:cubicBezTo>
                  <a:pt x="1533" y="77"/>
                  <a:pt x="1533" y="77"/>
                  <a:pt x="1533" y="76"/>
                </a:cubicBezTo>
                <a:cubicBezTo>
                  <a:pt x="1533" y="77"/>
                  <a:pt x="1533" y="77"/>
                  <a:pt x="1533" y="77"/>
                </a:cubicBezTo>
                <a:close/>
                <a:moveTo>
                  <a:pt x="1546" y="76"/>
                </a:moveTo>
                <a:cubicBezTo>
                  <a:pt x="1546" y="76"/>
                  <a:pt x="1546" y="77"/>
                  <a:pt x="1545" y="77"/>
                </a:cubicBezTo>
                <a:cubicBezTo>
                  <a:pt x="1546" y="77"/>
                  <a:pt x="1546" y="77"/>
                  <a:pt x="1546" y="76"/>
                </a:cubicBezTo>
                <a:close/>
                <a:moveTo>
                  <a:pt x="1701" y="77"/>
                </a:moveTo>
                <a:cubicBezTo>
                  <a:pt x="1701" y="77"/>
                  <a:pt x="1701" y="77"/>
                  <a:pt x="1701" y="76"/>
                </a:cubicBezTo>
                <a:cubicBezTo>
                  <a:pt x="1701" y="77"/>
                  <a:pt x="1701" y="77"/>
                  <a:pt x="1701" y="77"/>
                </a:cubicBezTo>
                <a:close/>
                <a:moveTo>
                  <a:pt x="1714" y="76"/>
                </a:moveTo>
                <a:cubicBezTo>
                  <a:pt x="1714" y="76"/>
                  <a:pt x="1714" y="77"/>
                  <a:pt x="1714" y="77"/>
                </a:cubicBezTo>
                <a:cubicBezTo>
                  <a:pt x="1714" y="77"/>
                  <a:pt x="1714" y="77"/>
                  <a:pt x="1714" y="76"/>
                </a:cubicBezTo>
                <a:close/>
                <a:moveTo>
                  <a:pt x="865" y="40"/>
                </a:moveTo>
                <a:cubicBezTo>
                  <a:pt x="865" y="40"/>
                  <a:pt x="865" y="41"/>
                  <a:pt x="865" y="41"/>
                </a:cubicBezTo>
                <a:cubicBezTo>
                  <a:pt x="865" y="41"/>
                  <a:pt x="865" y="40"/>
                  <a:pt x="865" y="40"/>
                </a:cubicBezTo>
                <a:close/>
                <a:moveTo>
                  <a:pt x="872" y="41"/>
                </a:moveTo>
                <a:cubicBezTo>
                  <a:pt x="872" y="41"/>
                  <a:pt x="872" y="40"/>
                  <a:pt x="872" y="40"/>
                </a:cubicBezTo>
                <a:cubicBezTo>
                  <a:pt x="872" y="40"/>
                  <a:pt x="872" y="41"/>
                  <a:pt x="872" y="41"/>
                </a:cubicBezTo>
                <a:close/>
                <a:moveTo>
                  <a:pt x="1040" y="41"/>
                </a:moveTo>
                <a:cubicBezTo>
                  <a:pt x="1040" y="41"/>
                  <a:pt x="1040" y="41"/>
                  <a:pt x="1040" y="40"/>
                </a:cubicBezTo>
                <a:cubicBezTo>
                  <a:pt x="1040" y="40"/>
                  <a:pt x="1040" y="40"/>
                  <a:pt x="1040" y="41"/>
                </a:cubicBezTo>
                <a:close/>
                <a:moveTo>
                  <a:pt x="1114" y="41"/>
                </a:moveTo>
                <a:cubicBezTo>
                  <a:pt x="1114" y="41"/>
                  <a:pt x="1114" y="40"/>
                  <a:pt x="1114" y="40"/>
                </a:cubicBezTo>
                <a:cubicBezTo>
                  <a:pt x="1114" y="40"/>
                  <a:pt x="1114" y="40"/>
                  <a:pt x="1114" y="41"/>
                </a:cubicBezTo>
                <a:close/>
                <a:moveTo>
                  <a:pt x="1150" y="40"/>
                </a:moveTo>
                <a:cubicBezTo>
                  <a:pt x="1150" y="40"/>
                  <a:pt x="1150" y="41"/>
                  <a:pt x="1150" y="41"/>
                </a:cubicBezTo>
                <a:cubicBezTo>
                  <a:pt x="1150" y="40"/>
                  <a:pt x="1150" y="40"/>
                  <a:pt x="1150" y="40"/>
                </a:cubicBezTo>
                <a:close/>
                <a:moveTo>
                  <a:pt x="1218" y="41"/>
                </a:moveTo>
                <a:cubicBezTo>
                  <a:pt x="1218" y="41"/>
                  <a:pt x="1218" y="41"/>
                  <a:pt x="1218" y="40"/>
                </a:cubicBezTo>
                <a:cubicBezTo>
                  <a:pt x="1218" y="40"/>
                  <a:pt x="1218" y="40"/>
                  <a:pt x="1218" y="41"/>
                </a:cubicBezTo>
                <a:close/>
                <a:moveTo>
                  <a:pt x="1349" y="77"/>
                </a:moveTo>
                <a:cubicBezTo>
                  <a:pt x="1349" y="77"/>
                  <a:pt x="1349" y="77"/>
                  <a:pt x="1349" y="77"/>
                </a:cubicBezTo>
                <a:cubicBezTo>
                  <a:pt x="1349" y="77"/>
                  <a:pt x="1349" y="77"/>
                  <a:pt x="1349" y="77"/>
                </a:cubicBezTo>
                <a:close/>
                <a:moveTo>
                  <a:pt x="1361" y="77"/>
                </a:moveTo>
                <a:cubicBezTo>
                  <a:pt x="1361" y="77"/>
                  <a:pt x="1361" y="77"/>
                  <a:pt x="1361" y="77"/>
                </a:cubicBezTo>
                <a:cubicBezTo>
                  <a:pt x="1361" y="77"/>
                  <a:pt x="1361" y="77"/>
                  <a:pt x="1361" y="77"/>
                </a:cubicBezTo>
                <a:close/>
                <a:moveTo>
                  <a:pt x="552" y="41"/>
                </a:moveTo>
                <a:cubicBezTo>
                  <a:pt x="552" y="41"/>
                  <a:pt x="553" y="41"/>
                  <a:pt x="553" y="41"/>
                </a:cubicBezTo>
                <a:cubicBezTo>
                  <a:pt x="553" y="41"/>
                  <a:pt x="553" y="41"/>
                  <a:pt x="552" y="41"/>
                </a:cubicBezTo>
                <a:close/>
                <a:moveTo>
                  <a:pt x="1545" y="77"/>
                </a:moveTo>
                <a:cubicBezTo>
                  <a:pt x="1545" y="77"/>
                  <a:pt x="1545" y="77"/>
                  <a:pt x="1545" y="77"/>
                </a:cubicBezTo>
                <a:cubicBezTo>
                  <a:pt x="1545" y="77"/>
                  <a:pt x="1545" y="77"/>
                  <a:pt x="1545" y="77"/>
                </a:cubicBezTo>
                <a:close/>
                <a:moveTo>
                  <a:pt x="757" y="41"/>
                </a:moveTo>
                <a:cubicBezTo>
                  <a:pt x="758" y="41"/>
                  <a:pt x="758" y="41"/>
                  <a:pt x="758" y="41"/>
                </a:cubicBezTo>
                <a:cubicBezTo>
                  <a:pt x="758" y="41"/>
                  <a:pt x="758" y="41"/>
                  <a:pt x="757" y="41"/>
                </a:cubicBezTo>
                <a:close/>
                <a:moveTo>
                  <a:pt x="798" y="41"/>
                </a:moveTo>
                <a:cubicBezTo>
                  <a:pt x="798" y="41"/>
                  <a:pt x="798" y="41"/>
                  <a:pt x="798" y="41"/>
                </a:cubicBezTo>
                <a:cubicBezTo>
                  <a:pt x="798" y="41"/>
                  <a:pt x="798" y="41"/>
                  <a:pt x="798" y="41"/>
                </a:cubicBezTo>
                <a:close/>
                <a:moveTo>
                  <a:pt x="872" y="41"/>
                </a:moveTo>
                <a:cubicBezTo>
                  <a:pt x="872" y="41"/>
                  <a:pt x="872" y="41"/>
                  <a:pt x="872" y="41"/>
                </a:cubicBezTo>
                <a:cubicBezTo>
                  <a:pt x="872" y="41"/>
                  <a:pt x="872" y="41"/>
                  <a:pt x="872" y="41"/>
                </a:cubicBezTo>
                <a:close/>
                <a:moveTo>
                  <a:pt x="1714" y="77"/>
                </a:moveTo>
                <a:cubicBezTo>
                  <a:pt x="1713" y="77"/>
                  <a:pt x="1713" y="77"/>
                  <a:pt x="1713" y="77"/>
                </a:cubicBezTo>
                <a:cubicBezTo>
                  <a:pt x="1713" y="77"/>
                  <a:pt x="1713" y="77"/>
                  <a:pt x="1714" y="77"/>
                </a:cubicBezTo>
                <a:close/>
                <a:moveTo>
                  <a:pt x="1039" y="41"/>
                </a:moveTo>
                <a:cubicBezTo>
                  <a:pt x="1040" y="41"/>
                  <a:pt x="1040" y="41"/>
                  <a:pt x="1040" y="41"/>
                </a:cubicBezTo>
                <a:cubicBezTo>
                  <a:pt x="1040" y="41"/>
                  <a:pt x="1039" y="41"/>
                  <a:pt x="1039" y="41"/>
                </a:cubicBezTo>
                <a:close/>
                <a:moveTo>
                  <a:pt x="1113" y="41"/>
                </a:moveTo>
                <a:cubicBezTo>
                  <a:pt x="1113" y="41"/>
                  <a:pt x="1114" y="41"/>
                  <a:pt x="1114" y="41"/>
                </a:cubicBezTo>
                <a:cubicBezTo>
                  <a:pt x="1113" y="41"/>
                  <a:pt x="1113" y="41"/>
                  <a:pt x="1113" y="41"/>
                </a:cubicBezTo>
                <a:close/>
                <a:moveTo>
                  <a:pt x="685" y="77"/>
                </a:moveTo>
                <a:cubicBezTo>
                  <a:pt x="685" y="77"/>
                  <a:pt x="685" y="77"/>
                  <a:pt x="684" y="77"/>
                </a:cubicBezTo>
                <a:cubicBezTo>
                  <a:pt x="684" y="77"/>
                  <a:pt x="685" y="77"/>
                  <a:pt x="685" y="77"/>
                </a:cubicBezTo>
                <a:close/>
                <a:moveTo>
                  <a:pt x="1217" y="41"/>
                </a:moveTo>
                <a:cubicBezTo>
                  <a:pt x="1217" y="41"/>
                  <a:pt x="1218" y="41"/>
                  <a:pt x="1218" y="41"/>
                </a:cubicBezTo>
                <a:cubicBezTo>
                  <a:pt x="1217" y="41"/>
                  <a:pt x="1217" y="41"/>
                  <a:pt x="1217" y="41"/>
                </a:cubicBezTo>
                <a:close/>
                <a:moveTo>
                  <a:pt x="1258" y="41"/>
                </a:moveTo>
                <a:cubicBezTo>
                  <a:pt x="1258" y="41"/>
                  <a:pt x="1258" y="41"/>
                  <a:pt x="1258" y="41"/>
                </a:cubicBezTo>
                <a:cubicBezTo>
                  <a:pt x="1258" y="41"/>
                  <a:pt x="1258" y="41"/>
                  <a:pt x="1258" y="41"/>
                </a:cubicBezTo>
                <a:close/>
                <a:moveTo>
                  <a:pt x="1361" y="77"/>
                </a:moveTo>
                <a:cubicBezTo>
                  <a:pt x="1361" y="77"/>
                  <a:pt x="1361" y="77"/>
                  <a:pt x="1361" y="77"/>
                </a:cubicBezTo>
                <a:cubicBezTo>
                  <a:pt x="1361" y="77"/>
                  <a:pt x="1361" y="77"/>
                  <a:pt x="1361" y="77"/>
                </a:cubicBezTo>
                <a:close/>
                <a:moveTo>
                  <a:pt x="1291" y="41"/>
                </a:moveTo>
                <a:cubicBezTo>
                  <a:pt x="1292" y="41"/>
                  <a:pt x="1292" y="41"/>
                  <a:pt x="1292" y="41"/>
                </a:cubicBezTo>
                <a:cubicBezTo>
                  <a:pt x="1292" y="41"/>
                  <a:pt x="1292" y="41"/>
                  <a:pt x="1291" y="41"/>
                </a:cubicBezTo>
                <a:close/>
                <a:moveTo>
                  <a:pt x="1545" y="77"/>
                </a:moveTo>
                <a:cubicBezTo>
                  <a:pt x="1545" y="77"/>
                  <a:pt x="1545" y="77"/>
                  <a:pt x="1545" y="77"/>
                </a:cubicBezTo>
                <a:cubicBezTo>
                  <a:pt x="1545" y="77"/>
                  <a:pt x="1545" y="77"/>
                  <a:pt x="1545" y="77"/>
                </a:cubicBezTo>
                <a:close/>
                <a:moveTo>
                  <a:pt x="1713" y="77"/>
                </a:moveTo>
                <a:cubicBezTo>
                  <a:pt x="1713" y="77"/>
                  <a:pt x="1713" y="77"/>
                  <a:pt x="1713" y="77"/>
                </a:cubicBezTo>
                <a:cubicBezTo>
                  <a:pt x="1713" y="77"/>
                  <a:pt x="1713" y="77"/>
                  <a:pt x="1713" y="77"/>
                </a:cubicBezTo>
                <a:close/>
                <a:moveTo>
                  <a:pt x="553" y="41"/>
                </a:moveTo>
                <a:cubicBezTo>
                  <a:pt x="553" y="41"/>
                  <a:pt x="553" y="41"/>
                  <a:pt x="553" y="41"/>
                </a:cubicBezTo>
                <a:cubicBezTo>
                  <a:pt x="553" y="41"/>
                  <a:pt x="553" y="41"/>
                  <a:pt x="553" y="41"/>
                </a:cubicBezTo>
                <a:close/>
                <a:moveTo>
                  <a:pt x="757" y="41"/>
                </a:moveTo>
                <a:cubicBezTo>
                  <a:pt x="757" y="41"/>
                  <a:pt x="757" y="41"/>
                  <a:pt x="757" y="41"/>
                </a:cubicBezTo>
                <a:cubicBezTo>
                  <a:pt x="757" y="41"/>
                  <a:pt x="757" y="41"/>
                  <a:pt x="757" y="41"/>
                </a:cubicBezTo>
                <a:close/>
                <a:moveTo>
                  <a:pt x="798" y="41"/>
                </a:moveTo>
                <a:cubicBezTo>
                  <a:pt x="798" y="41"/>
                  <a:pt x="799" y="41"/>
                  <a:pt x="799" y="41"/>
                </a:cubicBezTo>
                <a:cubicBezTo>
                  <a:pt x="799" y="41"/>
                  <a:pt x="799" y="41"/>
                  <a:pt x="798" y="41"/>
                </a:cubicBezTo>
                <a:close/>
                <a:moveTo>
                  <a:pt x="871" y="41"/>
                </a:moveTo>
                <a:cubicBezTo>
                  <a:pt x="872" y="41"/>
                  <a:pt x="872" y="41"/>
                  <a:pt x="872" y="41"/>
                </a:cubicBezTo>
                <a:cubicBezTo>
                  <a:pt x="871" y="41"/>
                  <a:pt x="871" y="41"/>
                  <a:pt x="871" y="41"/>
                </a:cubicBezTo>
                <a:close/>
                <a:moveTo>
                  <a:pt x="908" y="41"/>
                </a:moveTo>
                <a:cubicBezTo>
                  <a:pt x="908" y="41"/>
                  <a:pt x="908" y="41"/>
                  <a:pt x="908" y="41"/>
                </a:cubicBezTo>
                <a:cubicBezTo>
                  <a:pt x="908" y="41"/>
                  <a:pt x="908" y="41"/>
                  <a:pt x="908" y="41"/>
                </a:cubicBezTo>
                <a:close/>
                <a:moveTo>
                  <a:pt x="1361" y="77"/>
                </a:moveTo>
                <a:cubicBezTo>
                  <a:pt x="1360" y="77"/>
                  <a:pt x="1360" y="78"/>
                  <a:pt x="1360" y="78"/>
                </a:cubicBezTo>
                <a:cubicBezTo>
                  <a:pt x="1360" y="78"/>
                  <a:pt x="1361" y="78"/>
                  <a:pt x="1361" y="77"/>
                </a:cubicBezTo>
                <a:close/>
                <a:moveTo>
                  <a:pt x="1039" y="41"/>
                </a:moveTo>
                <a:cubicBezTo>
                  <a:pt x="1039" y="41"/>
                  <a:pt x="1039" y="41"/>
                  <a:pt x="1039" y="41"/>
                </a:cubicBezTo>
                <a:cubicBezTo>
                  <a:pt x="1039" y="41"/>
                  <a:pt x="1039" y="41"/>
                  <a:pt x="1039" y="41"/>
                </a:cubicBezTo>
                <a:close/>
                <a:moveTo>
                  <a:pt x="1532" y="78"/>
                </a:moveTo>
                <a:cubicBezTo>
                  <a:pt x="1533" y="78"/>
                  <a:pt x="1533" y="78"/>
                  <a:pt x="1533" y="77"/>
                </a:cubicBezTo>
                <a:cubicBezTo>
                  <a:pt x="1532" y="78"/>
                  <a:pt x="1532" y="78"/>
                  <a:pt x="1532" y="78"/>
                </a:cubicBezTo>
                <a:close/>
                <a:moveTo>
                  <a:pt x="1545" y="77"/>
                </a:moveTo>
                <a:cubicBezTo>
                  <a:pt x="1545" y="77"/>
                  <a:pt x="1544" y="78"/>
                  <a:pt x="1544" y="78"/>
                </a:cubicBezTo>
                <a:cubicBezTo>
                  <a:pt x="1545" y="78"/>
                  <a:pt x="1545" y="78"/>
                  <a:pt x="1545" y="77"/>
                </a:cubicBezTo>
                <a:close/>
                <a:moveTo>
                  <a:pt x="1080" y="41"/>
                </a:moveTo>
                <a:cubicBezTo>
                  <a:pt x="1080" y="41"/>
                  <a:pt x="1081" y="41"/>
                  <a:pt x="1081" y="41"/>
                </a:cubicBezTo>
                <a:cubicBezTo>
                  <a:pt x="1081" y="41"/>
                  <a:pt x="1081" y="41"/>
                  <a:pt x="1080" y="41"/>
                </a:cubicBezTo>
                <a:close/>
                <a:moveTo>
                  <a:pt x="1217" y="41"/>
                </a:moveTo>
                <a:cubicBezTo>
                  <a:pt x="1217" y="41"/>
                  <a:pt x="1217" y="41"/>
                  <a:pt x="1217" y="41"/>
                </a:cubicBezTo>
                <a:cubicBezTo>
                  <a:pt x="1217" y="41"/>
                  <a:pt x="1217" y="41"/>
                  <a:pt x="1217" y="41"/>
                </a:cubicBezTo>
                <a:close/>
                <a:moveTo>
                  <a:pt x="1700" y="78"/>
                </a:moveTo>
                <a:cubicBezTo>
                  <a:pt x="1701" y="78"/>
                  <a:pt x="1701" y="78"/>
                  <a:pt x="1701" y="77"/>
                </a:cubicBezTo>
                <a:cubicBezTo>
                  <a:pt x="1701" y="78"/>
                  <a:pt x="1700" y="78"/>
                  <a:pt x="1700" y="78"/>
                </a:cubicBezTo>
                <a:close/>
                <a:moveTo>
                  <a:pt x="1713" y="77"/>
                </a:moveTo>
                <a:cubicBezTo>
                  <a:pt x="1713" y="77"/>
                  <a:pt x="1713" y="78"/>
                  <a:pt x="1713" y="78"/>
                </a:cubicBezTo>
                <a:cubicBezTo>
                  <a:pt x="1713" y="78"/>
                  <a:pt x="1713" y="78"/>
                  <a:pt x="1713" y="77"/>
                </a:cubicBezTo>
                <a:close/>
                <a:moveTo>
                  <a:pt x="1258" y="41"/>
                </a:moveTo>
                <a:cubicBezTo>
                  <a:pt x="1258" y="41"/>
                  <a:pt x="1258" y="41"/>
                  <a:pt x="1259" y="41"/>
                </a:cubicBezTo>
                <a:cubicBezTo>
                  <a:pt x="1259" y="41"/>
                  <a:pt x="1258" y="41"/>
                  <a:pt x="1258" y="41"/>
                </a:cubicBezTo>
                <a:close/>
                <a:moveTo>
                  <a:pt x="553" y="41"/>
                </a:moveTo>
                <a:cubicBezTo>
                  <a:pt x="553" y="41"/>
                  <a:pt x="553" y="42"/>
                  <a:pt x="553" y="42"/>
                </a:cubicBezTo>
                <a:cubicBezTo>
                  <a:pt x="553" y="42"/>
                  <a:pt x="553" y="41"/>
                  <a:pt x="553" y="41"/>
                </a:cubicBezTo>
                <a:close/>
                <a:moveTo>
                  <a:pt x="662" y="42"/>
                </a:moveTo>
                <a:cubicBezTo>
                  <a:pt x="662" y="42"/>
                  <a:pt x="662" y="41"/>
                  <a:pt x="662" y="41"/>
                </a:cubicBezTo>
                <a:cubicBezTo>
                  <a:pt x="662" y="41"/>
                  <a:pt x="662" y="42"/>
                  <a:pt x="662" y="42"/>
                </a:cubicBezTo>
                <a:close/>
                <a:moveTo>
                  <a:pt x="757" y="42"/>
                </a:moveTo>
                <a:cubicBezTo>
                  <a:pt x="757" y="42"/>
                  <a:pt x="757" y="41"/>
                  <a:pt x="757" y="41"/>
                </a:cubicBezTo>
                <a:cubicBezTo>
                  <a:pt x="757" y="41"/>
                  <a:pt x="757" y="42"/>
                  <a:pt x="757" y="42"/>
                </a:cubicBezTo>
                <a:close/>
                <a:moveTo>
                  <a:pt x="1348" y="78"/>
                </a:moveTo>
                <a:cubicBezTo>
                  <a:pt x="1348" y="78"/>
                  <a:pt x="1348" y="78"/>
                  <a:pt x="1348" y="78"/>
                </a:cubicBezTo>
                <a:cubicBezTo>
                  <a:pt x="1348" y="78"/>
                  <a:pt x="1348" y="78"/>
                  <a:pt x="1348" y="78"/>
                </a:cubicBezTo>
                <a:close/>
                <a:moveTo>
                  <a:pt x="1360" y="78"/>
                </a:moveTo>
                <a:cubicBezTo>
                  <a:pt x="1360" y="78"/>
                  <a:pt x="1360" y="78"/>
                  <a:pt x="1360" y="78"/>
                </a:cubicBezTo>
                <a:cubicBezTo>
                  <a:pt x="1360" y="78"/>
                  <a:pt x="1360" y="78"/>
                  <a:pt x="1360" y="78"/>
                </a:cubicBezTo>
                <a:close/>
                <a:moveTo>
                  <a:pt x="830" y="42"/>
                </a:moveTo>
                <a:cubicBezTo>
                  <a:pt x="830" y="42"/>
                  <a:pt x="830" y="41"/>
                  <a:pt x="831" y="41"/>
                </a:cubicBezTo>
                <a:cubicBezTo>
                  <a:pt x="830" y="41"/>
                  <a:pt x="830" y="42"/>
                  <a:pt x="830" y="42"/>
                </a:cubicBezTo>
                <a:close/>
                <a:moveTo>
                  <a:pt x="1544" y="78"/>
                </a:moveTo>
                <a:cubicBezTo>
                  <a:pt x="1544" y="78"/>
                  <a:pt x="1544" y="78"/>
                  <a:pt x="1544" y="78"/>
                </a:cubicBezTo>
                <a:cubicBezTo>
                  <a:pt x="1544" y="78"/>
                  <a:pt x="1544" y="78"/>
                  <a:pt x="1544" y="78"/>
                </a:cubicBezTo>
                <a:close/>
                <a:moveTo>
                  <a:pt x="866" y="41"/>
                </a:moveTo>
                <a:cubicBezTo>
                  <a:pt x="866" y="41"/>
                  <a:pt x="866" y="42"/>
                  <a:pt x="866" y="42"/>
                </a:cubicBezTo>
                <a:cubicBezTo>
                  <a:pt x="866" y="42"/>
                  <a:pt x="866" y="41"/>
                  <a:pt x="866" y="41"/>
                </a:cubicBezTo>
                <a:close/>
                <a:moveTo>
                  <a:pt x="1713" y="78"/>
                </a:moveTo>
                <a:cubicBezTo>
                  <a:pt x="1712" y="78"/>
                  <a:pt x="1712" y="78"/>
                  <a:pt x="1712" y="78"/>
                </a:cubicBezTo>
                <a:cubicBezTo>
                  <a:pt x="1712" y="78"/>
                  <a:pt x="1713" y="78"/>
                  <a:pt x="1713" y="78"/>
                </a:cubicBezTo>
                <a:close/>
                <a:moveTo>
                  <a:pt x="1039" y="42"/>
                </a:moveTo>
                <a:cubicBezTo>
                  <a:pt x="1039" y="42"/>
                  <a:pt x="1039" y="42"/>
                  <a:pt x="1039" y="41"/>
                </a:cubicBezTo>
                <a:cubicBezTo>
                  <a:pt x="1039" y="41"/>
                  <a:pt x="1039" y="42"/>
                  <a:pt x="1039" y="42"/>
                </a:cubicBezTo>
                <a:close/>
                <a:moveTo>
                  <a:pt x="686" y="79"/>
                </a:moveTo>
                <a:cubicBezTo>
                  <a:pt x="686" y="78"/>
                  <a:pt x="686" y="78"/>
                  <a:pt x="686" y="78"/>
                </a:cubicBezTo>
                <a:cubicBezTo>
                  <a:pt x="686" y="78"/>
                  <a:pt x="686" y="78"/>
                  <a:pt x="686" y="79"/>
                </a:cubicBezTo>
                <a:close/>
                <a:moveTo>
                  <a:pt x="968" y="78"/>
                </a:moveTo>
                <a:cubicBezTo>
                  <a:pt x="968" y="78"/>
                  <a:pt x="968" y="79"/>
                  <a:pt x="969" y="79"/>
                </a:cubicBezTo>
                <a:cubicBezTo>
                  <a:pt x="969" y="78"/>
                  <a:pt x="969" y="78"/>
                  <a:pt x="968" y="78"/>
                </a:cubicBezTo>
                <a:close/>
                <a:moveTo>
                  <a:pt x="1081" y="41"/>
                </a:moveTo>
                <a:cubicBezTo>
                  <a:pt x="1081" y="42"/>
                  <a:pt x="1081" y="42"/>
                  <a:pt x="1081" y="42"/>
                </a:cubicBezTo>
                <a:cubicBezTo>
                  <a:pt x="1081" y="42"/>
                  <a:pt x="1081" y="41"/>
                  <a:pt x="1081" y="41"/>
                </a:cubicBezTo>
                <a:close/>
                <a:moveTo>
                  <a:pt x="1150" y="41"/>
                </a:moveTo>
                <a:cubicBezTo>
                  <a:pt x="1150" y="42"/>
                  <a:pt x="1150" y="42"/>
                  <a:pt x="1151" y="42"/>
                </a:cubicBezTo>
                <a:cubicBezTo>
                  <a:pt x="1151" y="42"/>
                  <a:pt x="1151" y="41"/>
                  <a:pt x="1150" y="41"/>
                </a:cubicBezTo>
                <a:close/>
                <a:moveTo>
                  <a:pt x="1217" y="42"/>
                </a:moveTo>
                <a:cubicBezTo>
                  <a:pt x="1217" y="42"/>
                  <a:pt x="1217" y="42"/>
                  <a:pt x="1217" y="41"/>
                </a:cubicBezTo>
                <a:cubicBezTo>
                  <a:pt x="1217" y="41"/>
                  <a:pt x="1217" y="42"/>
                  <a:pt x="1217" y="42"/>
                </a:cubicBezTo>
                <a:close/>
                <a:moveTo>
                  <a:pt x="1259" y="41"/>
                </a:moveTo>
                <a:cubicBezTo>
                  <a:pt x="1259" y="42"/>
                  <a:pt x="1259" y="42"/>
                  <a:pt x="1259" y="42"/>
                </a:cubicBezTo>
                <a:cubicBezTo>
                  <a:pt x="1259" y="42"/>
                  <a:pt x="1259" y="41"/>
                  <a:pt x="1259" y="41"/>
                </a:cubicBezTo>
                <a:close/>
                <a:moveTo>
                  <a:pt x="1360" y="78"/>
                </a:moveTo>
                <a:cubicBezTo>
                  <a:pt x="1360" y="78"/>
                  <a:pt x="1360" y="78"/>
                  <a:pt x="1360" y="78"/>
                </a:cubicBezTo>
                <a:cubicBezTo>
                  <a:pt x="1360" y="78"/>
                  <a:pt x="1360" y="78"/>
                  <a:pt x="1360" y="78"/>
                </a:cubicBezTo>
                <a:close/>
                <a:moveTo>
                  <a:pt x="1544" y="78"/>
                </a:moveTo>
                <a:cubicBezTo>
                  <a:pt x="1544" y="78"/>
                  <a:pt x="1544" y="78"/>
                  <a:pt x="1544" y="79"/>
                </a:cubicBezTo>
                <a:cubicBezTo>
                  <a:pt x="1544" y="78"/>
                  <a:pt x="1544" y="78"/>
                  <a:pt x="1544" y="78"/>
                </a:cubicBezTo>
                <a:close/>
                <a:moveTo>
                  <a:pt x="661" y="42"/>
                </a:moveTo>
                <a:cubicBezTo>
                  <a:pt x="662" y="42"/>
                  <a:pt x="662" y="42"/>
                  <a:pt x="662" y="42"/>
                </a:cubicBezTo>
                <a:cubicBezTo>
                  <a:pt x="662" y="42"/>
                  <a:pt x="661" y="42"/>
                  <a:pt x="661" y="42"/>
                </a:cubicBezTo>
                <a:close/>
                <a:moveTo>
                  <a:pt x="1712" y="78"/>
                </a:moveTo>
                <a:cubicBezTo>
                  <a:pt x="1712" y="78"/>
                  <a:pt x="1712" y="78"/>
                  <a:pt x="1712" y="79"/>
                </a:cubicBezTo>
                <a:cubicBezTo>
                  <a:pt x="1712" y="78"/>
                  <a:pt x="1712" y="78"/>
                  <a:pt x="1712" y="78"/>
                </a:cubicBezTo>
                <a:close/>
                <a:moveTo>
                  <a:pt x="756" y="42"/>
                </a:moveTo>
                <a:cubicBezTo>
                  <a:pt x="757" y="42"/>
                  <a:pt x="757" y="42"/>
                  <a:pt x="757" y="42"/>
                </a:cubicBezTo>
                <a:cubicBezTo>
                  <a:pt x="757" y="42"/>
                  <a:pt x="756" y="42"/>
                  <a:pt x="756" y="42"/>
                </a:cubicBezTo>
                <a:close/>
                <a:moveTo>
                  <a:pt x="830" y="42"/>
                </a:moveTo>
                <a:cubicBezTo>
                  <a:pt x="830" y="42"/>
                  <a:pt x="830" y="42"/>
                  <a:pt x="830" y="42"/>
                </a:cubicBezTo>
                <a:cubicBezTo>
                  <a:pt x="830" y="42"/>
                  <a:pt x="830" y="42"/>
                  <a:pt x="830" y="42"/>
                </a:cubicBezTo>
                <a:close/>
                <a:moveTo>
                  <a:pt x="686" y="79"/>
                </a:moveTo>
                <a:cubicBezTo>
                  <a:pt x="686" y="79"/>
                  <a:pt x="686" y="79"/>
                  <a:pt x="686" y="79"/>
                </a:cubicBezTo>
                <a:cubicBezTo>
                  <a:pt x="686" y="79"/>
                  <a:pt x="686" y="79"/>
                  <a:pt x="686" y="79"/>
                </a:cubicBezTo>
                <a:close/>
                <a:moveTo>
                  <a:pt x="1038" y="42"/>
                </a:moveTo>
                <a:cubicBezTo>
                  <a:pt x="1039" y="42"/>
                  <a:pt x="1039" y="42"/>
                  <a:pt x="1039" y="42"/>
                </a:cubicBezTo>
                <a:cubicBezTo>
                  <a:pt x="1039" y="42"/>
                  <a:pt x="1038" y="42"/>
                  <a:pt x="1038" y="42"/>
                </a:cubicBezTo>
                <a:close/>
                <a:moveTo>
                  <a:pt x="1081" y="42"/>
                </a:moveTo>
                <a:cubicBezTo>
                  <a:pt x="1081" y="42"/>
                  <a:pt x="1081" y="42"/>
                  <a:pt x="1081" y="42"/>
                </a:cubicBezTo>
                <a:cubicBezTo>
                  <a:pt x="1081" y="42"/>
                  <a:pt x="1081" y="42"/>
                  <a:pt x="1081" y="42"/>
                </a:cubicBezTo>
                <a:close/>
                <a:moveTo>
                  <a:pt x="1360" y="78"/>
                </a:moveTo>
                <a:cubicBezTo>
                  <a:pt x="1359" y="78"/>
                  <a:pt x="1359" y="79"/>
                  <a:pt x="1359" y="79"/>
                </a:cubicBezTo>
                <a:cubicBezTo>
                  <a:pt x="1359" y="79"/>
                  <a:pt x="1360" y="79"/>
                  <a:pt x="1360" y="78"/>
                </a:cubicBezTo>
                <a:close/>
                <a:moveTo>
                  <a:pt x="1216" y="42"/>
                </a:moveTo>
                <a:cubicBezTo>
                  <a:pt x="1216" y="42"/>
                  <a:pt x="1217" y="42"/>
                  <a:pt x="1217" y="42"/>
                </a:cubicBezTo>
                <a:cubicBezTo>
                  <a:pt x="1216" y="42"/>
                  <a:pt x="1216" y="42"/>
                  <a:pt x="1216" y="42"/>
                </a:cubicBezTo>
                <a:close/>
                <a:moveTo>
                  <a:pt x="1291" y="42"/>
                </a:moveTo>
                <a:cubicBezTo>
                  <a:pt x="1291" y="42"/>
                  <a:pt x="1291" y="42"/>
                  <a:pt x="1291" y="42"/>
                </a:cubicBezTo>
                <a:cubicBezTo>
                  <a:pt x="1291" y="42"/>
                  <a:pt x="1291" y="42"/>
                  <a:pt x="1291" y="42"/>
                </a:cubicBezTo>
                <a:close/>
                <a:moveTo>
                  <a:pt x="1532" y="79"/>
                </a:moveTo>
                <a:cubicBezTo>
                  <a:pt x="1532" y="79"/>
                  <a:pt x="1532" y="79"/>
                  <a:pt x="1532" y="79"/>
                </a:cubicBezTo>
                <a:cubicBezTo>
                  <a:pt x="1532" y="79"/>
                  <a:pt x="1532" y="79"/>
                  <a:pt x="1532" y="79"/>
                </a:cubicBezTo>
                <a:close/>
                <a:moveTo>
                  <a:pt x="1544" y="79"/>
                </a:moveTo>
                <a:cubicBezTo>
                  <a:pt x="1544" y="79"/>
                  <a:pt x="1543" y="79"/>
                  <a:pt x="1543" y="79"/>
                </a:cubicBezTo>
                <a:cubicBezTo>
                  <a:pt x="1544" y="79"/>
                  <a:pt x="1544" y="79"/>
                  <a:pt x="1544" y="79"/>
                </a:cubicBezTo>
                <a:close/>
                <a:moveTo>
                  <a:pt x="756" y="42"/>
                </a:moveTo>
                <a:cubicBezTo>
                  <a:pt x="756" y="42"/>
                  <a:pt x="756" y="42"/>
                  <a:pt x="756" y="42"/>
                </a:cubicBezTo>
                <a:cubicBezTo>
                  <a:pt x="756" y="42"/>
                  <a:pt x="756" y="42"/>
                  <a:pt x="756" y="42"/>
                </a:cubicBezTo>
                <a:close/>
                <a:moveTo>
                  <a:pt x="1700" y="79"/>
                </a:moveTo>
                <a:cubicBezTo>
                  <a:pt x="1700" y="79"/>
                  <a:pt x="1700" y="79"/>
                  <a:pt x="1700" y="79"/>
                </a:cubicBezTo>
                <a:cubicBezTo>
                  <a:pt x="1700" y="79"/>
                  <a:pt x="1700" y="79"/>
                  <a:pt x="1700" y="79"/>
                </a:cubicBezTo>
                <a:close/>
                <a:moveTo>
                  <a:pt x="1712" y="79"/>
                </a:moveTo>
                <a:cubicBezTo>
                  <a:pt x="1712" y="79"/>
                  <a:pt x="1712" y="79"/>
                  <a:pt x="1712" y="79"/>
                </a:cubicBezTo>
                <a:cubicBezTo>
                  <a:pt x="1712" y="79"/>
                  <a:pt x="1712" y="79"/>
                  <a:pt x="1712" y="79"/>
                </a:cubicBezTo>
                <a:close/>
                <a:moveTo>
                  <a:pt x="799" y="42"/>
                </a:moveTo>
                <a:cubicBezTo>
                  <a:pt x="799" y="42"/>
                  <a:pt x="799" y="42"/>
                  <a:pt x="800" y="42"/>
                </a:cubicBezTo>
                <a:cubicBezTo>
                  <a:pt x="799" y="42"/>
                  <a:pt x="799" y="42"/>
                  <a:pt x="799" y="42"/>
                </a:cubicBezTo>
                <a:close/>
                <a:moveTo>
                  <a:pt x="687" y="79"/>
                </a:moveTo>
                <a:cubicBezTo>
                  <a:pt x="687" y="79"/>
                  <a:pt x="687" y="79"/>
                  <a:pt x="686" y="79"/>
                </a:cubicBezTo>
                <a:cubicBezTo>
                  <a:pt x="687" y="79"/>
                  <a:pt x="687" y="79"/>
                  <a:pt x="687" y="79"/>
                </a:cubicBezTo>
                <a:close/>
                <a:moveTo>
                  <a:pt x="871" y="42"/>
                </a:moveTo>
                <a:cubicBezTo>
                  <a:pt x="871" y="42"/>
                  <a:pt x="871" y="42"/>
                  <a:pt x="871" y="42"/>
                </a:cubicBezTo>
                <a:cubicBezTo>
                  <a:pt x="871" y="42"/>
                  <a:pt x="871" y="42"/>
                  <a:pt x="871" y="42"/>
                </a:cubicBezTo>
                <a:close/>
                <a:moveTo>
                  <a:pt x="1112" y="42"/>
                </a:moveTo>
                <a:cubicBezTo>
                  <a:pt x="1112" y="42"/>
                  <a:pt x="1112" y="42"/>
                  <a:pt x="1112" y="42"/>
                </a:cubicBezTo>
                <a:cubicBezTo>
                  <a:pt x="1112" y="42"/>
                  <a:pt x="1112" y="42"/>
                  <a:pt x="1112" y="42"/>
                </a:cubicBezTo>
                <a:close/>
                <a:moveTo>
                  <a:pt x="1347" y="79"/>
                </a:moveTo>
                <a:cubicBezTo>
                  <a:pt x="1347" y="79"/>
                  <a:pt x="1347" y="79"/>
                  <a:pt x="1347" y="79"/>
                </a:cubicBezTo>
                <a:cubicBezTo>
                  <a:pt x="1347" y="79"/>
                  <a:pt x="1347" y="79"/>
                  <a:pt x="1347" y="79"/>
                </a:cubicBezTo>
                <a:close/>
                <a:moveTo>
                  <a:pt x="1359" y="79"/>
                </a:moveTo>
                <a:cubicBezTo>
                  <a:pt x="1359" y="79"/>
                  <a:pt x="1359" y="79"/>
                  <a:pt x="1359" y="79"/>
                </a:cubicBezTo>
                <a:cubicBezTo>
                  <a:pt x="1359" y="79"/>
                  <a:pt x="1359" y="79"/>
                  <a:pt x="1359" y="79"/>
                </a:cubicBezTo>
                <a:close/>
                <a:moveTo>
                  <a:pt x="1216" y="42"/>
                </a:moveTo>
                <a:cubicBezTo>
                  <a:pt x="1216" y="42"/>
                  <a:pt x="1216" y="42"/>
                  <a:pt x="1216" y="42"/>
                </a:cubicBezTo>
                <a:cubicBezTo>
                  <a:pt x="1216" y="42"/>
                  <a:pt x="1216" y="42"/>
                  <a:pt x="1216" y="42"/>
                </a:cubicBezTo>
                <a:close/>
                <a:moveTo>
                  <a:pt x="1543" y="79"/>
                </a:moveTo>
                <a:cubicBezTo>
                  <a:pt x="1543" y="79"/>
                  <a:pt x="1543" y="79"/>
                  <a:pt x="1543" y="79"/>
                </a:cubicBezTo>
                <a:cubicBezTo>
                  <a:pt x="1543" y="79"/>
                  <a:pt x="1543" y="79"/>
                  <a:pt x="1543" y="79"/>
                </a:cubicBezTo>
                <a:close/>
                <a:moveTo>
                  <a:pt x="554" y="42"/>
                </a:moveTo>
                <a:cubicBezTo>
                  <a:pt x="554" y="43"/>
                  <a:pt x="555" y="43"/>
                  <a:pt x="555" y="43"/>
                </a:cubicBezTo>
                <a:cubicBezTo>
                  <a:pt x="555" y="43"/>
                  <a:pt x="555" y="42"/>
                  <a:pt x="554" y="42"/>
                </a:cubicBezTo>
                <a:close/>
                <a:moveTo>
                  <a:pt x="756" y="43"/>
                </a:moveTo>
                <a:cubicBezTo>
                  <a:pt x="756" y="43"/>
                  <a:pt x="756" y="43"/>
                  <a:pt x="756" y="42"/>
                </a:cubicBezTo>
                <a:cubicBezTo>
                  <a:pt x="756" y="42"/>
                  <a:pt x="756" y="43"/>
                  <a:pt x="756" y="43"/>
                </a:cubicBezTo>
                <a:close/>
                <a:moveTo>
                  <a:pt x="1712" y="79"/>
                </a:moveTo>
                <a:cubicBezTo>
                  <a:pt x="1711" y="79"/>
                  <a:pt x="1711" y="79"/>
                  <a:pt x="1711" y="79"/>
                </a:cubicBezTo>
                <a:cubicBezTo>
                  <a:pt x="1711" y="79"/>
                  <a:pt x="1711" y="79"/>
                  <a:pt x="1712" y="79"/>
                </a:cubicBezTo>
                <a:close/>
                <a:moveTo>
                  <a:pt x="800" y="42"/>
                </a:moveTo>
                <a:cubicBezTo>
                  <a:pt x="800" y="43"/>
                  <a:pt x="800" y="43"/>
                  <a:pt x="800" y="43"/>
                </a:cubicBezTo>
                <a:cubicBezTo>
                  <a:pt x="800" y="43"/>
                  <a:pt x="800" y="42"/>
                  <a:pt x="800" y="42"/>
                </a:cubicBezTo>
                <a:close/>
                <a:moveTo>
                  <a:pt x="870" y="43"/>
                </a:moveTo>
                <a:cubicBezTo>
                  <a:pt x="870" y="43"/>
                  <a:pt x="871" y="43"/>
                  <a:pt x="871" y="42"/>
                </a:cubicBezTo>
                <a:cubicBezTo>
                  <a:pt x="870" y="42"/>
                  <a:pt x="870" y="43"/>
                  <a:pt x="870" y="43"/>
                </a:cubicBezTo>
                <a:close/>
                <a:moveTo>
                  <a:pt x="555" y="43"/>
                </a:moveTo>
                <a:cubicBezTo>
                  <a:pt x="555" y="43"/>
                  <a:pt x="555" y="43"/>
                  <a:pt x="555" y="43"/>
                </a:cubicBezTo>
                <a:cubicBezTo>
                  <a:pt x="555" y="43"/>
                  <a:pt x="555" y="43"/>
                  <a:pt x="555" y="43"/>
                </a:cubicBezTo>
                <a:close/>
                <a:moveTo>
                  <a:pt x="661" y="43"/>
                </a:moveTo>
                <a:cubicBezTo>
                  <a:pt x="661" y="43"/>
                  <a:pt x="661" y="43"/>
                  <a:pt x="661" y="43"/>
                </a:cubicBezTo>
                <a:cubicBezTo>
                  <a:pt x="661" y="43"/>
                  <a:pt x="661" y="43"/>
                  <a:pt x="661" y="43"/>
                </a:cubicBezTo>
                <a:close/>
                <a:moveTo>
                  <a:pt x="755" y="43"/>
                </a:moveTo>
                <a:cubicBezTo>
                  <a:pt x="756" y="43"/>
                  <a:pt x="756" y="43"/>
                  <a:pt x="756" y="43"/>
                </a:cubicBezTo>
                <a:cubicBezTo>
                  <a:pt x="756" y="43"/>
                  <a:pt x="755" y="43"/>
                  <a:pt x="755" y="43"/>
                </a:cubicBezTo>
                <a:close/>
                <a:moveTo>
                  <a:pt x="969" y="79"/>
                </a:moveTo>
                <a:cubicBezTo>
                  <a:pt x="969" y="79"/>
                  <a:pt x="969" y="80"/>
                  <a:pt x="969" y="80"/>
                </a:cubicBezTo>
                <a:cubicBezTo>
                  <a:pt x="969" y="79"/>
                  <a:pt x="969" y="79"/>
                  <a:pt x="969" y="79"/>
                </a:cubicBezTo>
                <a:close/>
                <a:moveTo>
                  <a:pt x="829" y="43"/>
                </a:moveTo>
                <a:cubicBezTo>
                  <a:pt x="829" y="43"/>
                  <a:pt x="829" y="43"/>
                  <a:pt x="829" y="43"/>
                </a:cubicBezTo>
                <a:cubicBezTo>
                  <a:pt x="829" y="43"/>
                  <a:pt x="829" y="43"/>
                  <a:pt x="829" y="43"/>
                </a:cubicBezTo>
                <a:close/>
                <a:moveTo>
                  <a:pt x="1082" y="43"/>
                </a:moveTo>
                <a:cubicBezTo>
                  <a:pt x="1082" y="43"/>
                  <a:pt x="1082" y="43"/>
                  <a:pt x="1082" y="43"/>
                </a:cubicBezTo>
                <a:cubicBezTo>
                  <a:pt x="1082" y="43"/>
                  <a:pt x="1082" y="43"/>
                  <a:pt x="1082" y="43"/>
                </a:cubicBezTo>
                <a:close/>
                <a:moveTo>
                  <a:pt x="1359" y="79"/>
                </a:moveTo>
                <a:cubicBezTo>
                  <a:pt x="1359" y="79"/>
                  <a:pt x="1359" y="79"/>
                  <a:pt x="1359" y="80"/>
                </a:cubicBezTo>
                <a:cubicBezTo>
                  <a:pt x="1359" y="80"/>
                  <a:pt x="1359" y="79"/>
                  <a:pt x="1359" y="79"/>
                </a:cubicBezTo>
                <a:close/>
                <a:moveTo>
                  <a:pt x="1260" y="43"/>
                </a:moveTo>
                <a:cubicBezTo>
                  <a:pt x="1260" y="43"/>
                  <a:pt x="1260" y="43"/>
                  <a:pt x="1260" y="43"/>
                </a:cubicBezTo>
                <a:cubicBezTo>
                  <a:pt x="1260" y="43"/>
                  <a:pt x="1260" y="43"/>
                  <a:pt x="1260" y="43"/>
                </a:cubicBezTo>
                <a:close/>
                <a:moveTo>
                  <a:pt x="1037" y="43"/>
                </a:moveTo>
                <a:cubicBezTo>
                  <a:pt x="1037" y="43"/>
                  <a:pt x="1038" y="43"/>
                  <a:pt x="1038" y="43"/>
                </a:cubicBezTo>
                <a:cubicBezTo>
                  <a:pt x="1038" y="43"/>
                  <a:pt x="1037" y="43"/>
                  <a:pt x="1037" y="43"/>
                </a:cubicBezTo>
                <a:close/>
                <a:moveTo>
                  <a:pt x="675" y="43"/>
                </a:moveTo>
                <a:cubicBezTo>
                  <a:pt x="674" y="43"/>
                  <a:pt x="674" y="43"/>
                  <a:pt x="674" y="44"/>
                </a:cubicBezTo>
                <a:cubicBezTo>
                  <a:pt x="674" y="44"/>
                  <a:pt x="674" y="44"/>
                  <a:pt x="675" y="43"/>
                </a:cubicBezTo>
                <a:close/>
                <a:moveTo>
                  <a:pt x="800" y="43"/>
                </a:moveTo>
                <a:cubicBezTo>
                  <a:pt x="800" y="44"/>
                  <a:pt x="800" y="44"/>
                  <a:pt x="801" y="44"/>
                </a:cubicBezTo>
                <a:cubicBezTo>
                  <a:pt x="801" y="44"/>
                  <a:pt x="800" y="43"/>
                  <a:pt x="800" y="43"/>
                </a:cubicBezTo>
                <a:close/>
                <a:moveTo>
                  <a:pt x="838" y="43"/>
                </a:moveTo>
                <a:cubicBezTo>
                  <a:pt x="838" y="43"/>
                  <a:pt x="837" y="43"/>
                  <a:pt x="837" y="44"/>
                </a:cubicBezTo>
                <a:cubicBezTo>
                  <a:pt x="838" y="44"/>
                  <a:pt x="838" y="44"/>
                  <a:pt x="838" y="43"/>
                </a:cubicBezTo>
                <a:close/>
                <a:moveTo>
                  <a:pt x="870" y="44"/>
                </a:moveTo>
                <a:cubicBezTo>
                  <a:pt x="870" y="44"/>
                  <a:pt x="870" y="44"/>
                  <a:pt x="870" y="43"/>
                </a:cubicBezTo>
                <a:cubicBezTo>
                  <a:pt x="870" y="43"/>
                  <a:pt x="870" y="44"/>
                  <a:pt x="870" y="44"/>
                </a:cubicBezTo>
                <a:close/>
                <a:moveTo>
                  <a:pt x="881" y="43"/>
                </a:moveTo>
                <a:cubicBezTo>
                  <a:pt x="880" y="43"/>
                  <a:pt x="880" y="43"/>
                  <a:pt x="880" y="44"/>
                </a:cubicBezTo>
                <a:cubicBezTo>
                  <a:pt x="880" y="44"/>
                  <a:pt x="881" y="44"/>
                  <a:pt x="881" y="43"/>
                </a:cubicBezTo>
                <a:close/>
                <a:moveTo>
                  <a:pt x="1037" y="44"/>
                </a:moveTo>
                <a:cubicBezTo>
                  <a:pt x="1037" y="44"/>
                  <a:pt x="1037" y="44"/>
                  <a:pt x="1037" y="43"/>
                </a:cubicBezTo>
                <a:cubicBezTo>
                  <a:pt x="1037" y="43"/>
                  <a:pt x="1037" y="44"/>
                  <a:pt x="1037" y="44"/>
                </a:cubicBezTo>
                <a:close/>
                <a:moveTo>
                  <a:pt x="1359" y="80"/>
                </a:moveTo>
                <a:cubicBezTo>
                  <a:pt x="1358" y="80"/>
                  <a:pt x="1358" y="80"/>
                  <a:pt x="1358" y="80"/>
                </a:cubicBezTo>
                <a:cubicBezTo>
                  <a:pt x="1358" y="80"/>
                  <a:pt x="1358" y="80"/>
                  <a:pt x="1359" y="80"/>
                </a:cubicBezTo>
                <a:close/>
                <a:moveTo>
                  <a:pt x="1531" y="80"/>
                </a:moveTo>
                <a:cubicBezTo>
                  <a:pt x="1531" y="80"/>
                  <a:pt x="1531" y="80"/>
                  <a:pt x="1531" y="80"/>
                </a:cubicBezTo>
                <a:cubicBezTo>
                  <a:pt x="1531" y="80"/>
                  <a:pt x="1531" y="80"/>
                  <a:pt x="1531" y="80"/>
                </a:cubicBezTo>
                <a:close/>
                <a:moveTo>
                  <a:pt x="1111" y="44"/>
                </a:moveTo>
                <a:cubicBezTo>
                  <a:pt x="1111" y="44"/>
                  <a:pt x="1111" y="44"/>
                  <a:pt x="1111" y="43"/>
                </a:cubicBezTo>
                <a:cubicBezTo>
                  <a:pt x="1111" y="43"/>
                  <a:pt x="1111" y="44"/>
                  <a:pt x="1111" y="44"/>
                </a:cubicBezTo>
                <a:close/>
                <a:moveTo>
                  <a:pt x="1699" y="80"/>
                </a:moveTo>
                <a:cubicBezTo>
                  <a:pt x="1699" y="80"/>
                  <a:pt x="1699" y="80"/>
                  <a:pt x="1699" y="80"/>
                </a:cubicBezTo>
                <a:cubicBezTo>
                  <a:pt x="1699" y="80"/>
                  <a:pt x="1699" y="80"/>
                  <a:pt x="1699" y="80"/>
                </a:cubicBezTo>
                <a:close/>
                <a:moveTo>
                  <a:pt x="1122" y="43"/>
                </a:moveTo>
                <a:cubicBezTo>
                  <a:pt x="1121" y="43"/>
                  <a:pt x="1121" y="43"/>
                  <a:pt x="1121" y="44"/>
                </a:cubicBezTo>
                <a:cubicBezTo>
                  <a:pt x="1121" y="44"/>
                  <a:pt x="1121" y="44"/>
                  <a:pt x="1122" y="43"/>
                </a:cubicBezTo>
                <a:close/>
                <a:moveTo>
                  <a:pt x="687" y="80"/>
                </a:moveTo>
                <a:cubicBezTo>
                  <a:pt x="687" y="80"/>
                  <a:pt x="687" y="80"/>
                  <a:pt x="687" y="80"/>
                </a:cubicBezTo>
                <a:cubicBezTo>
                  <a:pt x="687" y="80"/>
                  <a:pt x="687" y="80"/>
                  <a:pt x="687" y="80"/>
                </a:cubicBezTo>
                <a:close/>
                <a:moveTo>
                  <a:pt x="1215" y="44"/>
                </a:moveTo>
                <a:cubicBezTo>
                  <a:pt x="1215" y="44"/>
                  <a:pt x="1215" y="44"/>
                  <a:pt x="1215" y="43"/>
                </a:cubicBezTo>
                <a:cubicBezTo>
                  <a:pt x="1215" y="44"/>
                  <a:pt x="1215" y="44"/>
                  <a:pt x="1215" y="44"/>
                </a:cubicBezTo>
                <a:close/>
                <a:moveTo>
                  <a:pt x="556" y="44"/>
                </a:moveTo>
                <a:cubicBezTo>
                  <a:pt x="556" y="44"/>
                  <a:pt x="556" y="44"/>
                  <a:pt x="557" y="44"/>
                </a:cubicBezTo>
                <a:cubicBezTo>
                  <a:pt x="556" y="44"/>
                  <a:pt x="556" y="44"/>
                  <a:pt x="556" y="44"/>
                </a:cubicBezTo>
                <a:close/>
                <a:moveTo>
                  <a:pt x="828" y="44"/>
                </a:moveTo>
                <a:cubicBezTo>
                  <a:pt x="829" y="44"/>
                  <a:pt x="829" y="44"/>
                  <a:pt x="829" y="44"/>
                </a:cubicBezTo>
                <a:cubicBezTo>
                  <a:pt x="829" y="44"/>
                  <a:pt x="829" y="44"/>
                  <a:pt x="828" y="44"/>
                </a:cubicBezTo>
                <a:close/>
                <a:moveTo>
                  <a:pt x="1121" y="44"/>
                </a:moveTo>
                <a:cubicBezTo>
                  <a:pt x="1121" y="44"/>
                  <a:pt x="1120" y="44"/>
                  <a:pt x="1120" y="44"/>
                </a:cubicBezTo>
                <a:cubicBezTo>
                  <a:pt x="1121" y="44"/>
                  <a:pt x="1121" y="44"/>
                  <a:pt x="1121" y="44"/>
                </a:cubicBezTo>
                <a:close/>
                <a:moveTo>
                  <a:pt x="1215" y="44"/>
                </a:moveTo>
                <a:cubicBezTo>
                  <a:pt x="1215" y="44"/>
                  <a:pt x="1215" y="44"/>
                  <a:pt x="1215" y="44"/>
                </a:cubicBezTo>
                <a:cubicBezTo>
                  <a:pt x="1215" y="44"/>
                  <a:pt x="1215" y="44"/>
                  <a:pt x="1215" y="44"/>
                </a:cubicBezTo>
                <a:close/>
                <a:moveTo>
                  <a:pt x="1260" y="44"/>
                </a:moveTo>
                <a:cubicBezTo>
                  <a:pt x="1260" y="44"/>
                  <a:pt x="1261" y="44"/>
                  <a:pt x="1261" y="44"/>
                </a:cubicBezTo>
                <a:cubicBezTo>
                  <a:pt x="1261" y="44"/>
                  <a:pt x="1261" y="44"/>
                  <a:pt x="1260" y="44"/>
                </a:cubicBezTo>
                <a:close/>
                <a:moveTo>
                  <a:pt x="674" y="44"/>
                </a:moveTo>
                <a:cubicBezTo>
                  <a:pt x="673" y="44"/>
                  <a:pt x="673" y="44"/>
                  <a:pt x="673" y="44"/>
                </a:cubicBezTo>
                <a:cubicBezTo>
                  <a:pt x="673" y="44"/>
                  <a:pt x="673" y="44"/>
                  <a:pt x="674" y="44"/>
                </a:cubicBezTo>
                <a:close/>
                <a:moveTo>
                  <a:pt x="754" y="44"/>
                </a:moveTo>
                <a:cubicBezTo>
                  <a:pt x="755" y="44"/>
                  <a:pt x="755" y="44"/>
                  <a:pt x="755" y="44"/>
                </a:cubicBezTo>
                <a:cubicBezTo>
                  <a:pt x="754" y="44"/>
                  <a:pt x="754" y="44"/>
                  <a:pt x="754" y="44"/>
                </a:cubicBezTo>
                <a:close/>
                <a:moveTo>
                  <a:pt x="853" y="44"/>
                </a:moveTo>
                <a:cubicBezTo>
                  <a:pt x="853" y="44"/>
                  <a:pt x="853" y="44"/>
                  <a:pt x="852" y="44"/>
                </a:cubicBezTo>
                <a:cubicBezTo>
                  <a:pt x="853" y="44"/>
                  <a:pt x="853" y="44"/>
                  <a:pt x="853" y="44"/>
                </a:cubicBezTo>
                <a:close/>
                <a:moveTo>
                  <a:pt x="896" y="44"/>
                </a:moveTo>
                <a:cubicBezTo>
                  <a:pt x="896" y="44"/>
                  <a:pt x="895" y="44"/>
                  <a:pt x="895" y="44"/>
                </a:cubicBezTo>
                <a:cubicBezTo>
                  <a:pt x="895" y="44"/>
                  <a:pt x="896" y="44"/>
                  <a:pt x="896" y="44"/>
                </a:cubicBezTo>
                <a:close/>
                <a:moveTo>
                  <a:pt x="970" y="80"/>
                </a:moveTo>
                <a:cubicBezTo>
                  <a:pt x="970" y="80"/>
                  <a:pt x="970" y="81"/>
                  <a:pt x="970" y="81"/>
                </a:cubicBezTo>
                <a:cubicBezTo>
                  <a:pt x="970" y="81"/>
                  <a:pt x="970" y="80"/>
                  <a:pt x="970" y="80"/>
                </a:cubicBezTo>
                <a:close/>
                <a:moveTo>
                  <a:pt x="1120" y="44"/>
                </a:moveTo>
                <a:cubicBezTo>
                  <a:pt x="1120" y="44"/>
                  <a:pt x="1120" y="44"/>
                  <a:pt x="1120" y="44"/>
                </a:cubicBezTo>
                <a:cubicBezTo>
                  <a:pt x="1120" y="44"/>
                  <a:pt x="1120" y="44"/>
                  <a:pt x="1120" y="44"/>
                </a:cubicBezTo>
                <a:close/>
                <a:moveTo>
                  <a:pt x="1531" y="81"/>
                </a:moveTo>
                <a:cubicBezTo>
                  <a:pt x="1531" y="81"/>
                  <a:pt x="1531" y="80"/>
                  <a:pt x="1531" y="80"/>
                </a:cubicBezTo>
                <a:cubicBezTo>
                  <a:pt x="1531" y="80"/>
                  <a:pt x="1531" y="81"/>
                  <a:pt x="1531" y="81"/>
                </a:cubicBezTo>
                <a:close/>
                <a:moveTo>
                  <a:pt x="1542" y="80"/>
                </a:moveTo>
                <a:cubicBezTo>
                  <a:pt x="1542" y="80"/>
                  <a:pt x="1542" y="80"/>
                  <a:pt x="1542" y="81"/>
                </a:cubicBezTo>
                <a:cubicBezTo>
                  <a:pt x="1542" y="81"/>
                  <a:pt x="1542" y="80"/>
                  <a:pt x="1542" y="80"/>
                </a:cubicBezTo>
                <a:close/>
                <a:moveTo>
                  <a:pt x="1699" y="81"/>
                </a:moveTo>
                <a:cubicBezTo>
                  <a:pt x="1699" y="81"/>
                  <a:pt x="1699" y="80"/>
                  <a:pt x="1699" y="80"/>
                </a:cubicBezTo>
                <a:cubicBezTo>
                  <a:pt x="1699" y="80"/>
                  <a:pt x="1699" y="81"/>
                  <a:pt x="1699" y="81"/>
                </a:cubicBezTo>
                <a:close/>
                <a:moveTo>
                  <a:pt x="1710" y="80"/>
                </a:moveTo>
                <a:cubicBezTo>
                  <a:pt x="1710" y="80"/>
                  <a:pt x="1710" y="80"/>
                  <a:pt x="1710" y="81"/>
                </a:cubicBezTo>
                <a:cubicBezTo>
                  <a:pt x="1710" y="81"/>
                  <a:pt x="1710" y="80"/>
                  <a:pt x="1710" y="80"/>
                </a:cubicBezTo>
                <a:close/>
                <a:moveTo>
                  <a:pt x="1137" y="44"/>
                </a:moveTo>
                <a:cubicBezTo>
                  <a:pt x="1137" y="44"/>
                  <a:pt x="1137" y="44"/>
                  <a:pt x="1137" y="44"/>
                </a:cubicBezTo>
                <a:cubicBezTo>
                  <a:pt x="1137" y="44"/>
                  <a:pt x="1137" y="44"/>
                  <a:pt x="1137" y="44"/>
                </a:cubicBezTo>
                <a:close/>
                <a:moveTo>
                  <a:pt x="557" y="44"/>
                </a:moveTo>
                <a:cubicBezTo>
                  <a:pt x="557" y="45"/>
                  <a:pt x="557" y="45"/>
                  <a:pt x="558" y="45"/>
                </a:cubicBezTo>
                <a:cubicBezTo>
                  <a:pt x="558" y="45"/>
                  <a:pt x="557" y="45"/>
                  <a:pt x="557" y="44"/>
                </a:cubicBezTo>
                <a:close/>
                <a:moveTo>
                  <a:pt x="688" y="81"/>
                </a:moveTo>
                <a:cubicBezTo>
                  <a:pt x="688" y="81"/>
                  <a:pt x="688" y="81"/>
                  <a:pt x="688" y="80"/>
                </a:cubicBezTo>
                <a:cubicBezTo>
                  <a:pt x="688" y="81"/>
                  <a:pt x="688" y="81"/>
                  <a:pt x="688" y="81"/>
                </a:cubicBezTo>
                <a:close/>
                <a:moveTo>
                  <a:pt x="801" y="44"/>
                </a:moveTo>
                <a:cubicBezTo>
                  <a:pt x="801" y="45"/>
                  <a:pt x="801" y="45"/>
                  <a:pt x="801" y="45"/>
                </a:cubicBezTo>
                <a:cubicBezTo>
                  <a:pt x="801" y="45"/>
                  <a:pt x="801" y="45"/>
                  <a:pt x="801" y="44"/>
                </a:cubicBezTo>
                <a:close/>
                <a:moveTo>
                  <a:pt x="970" y="81"/>
                </a:moveTo>
                <a:cubicBezTo>
                  <a:pt x="970" y="81"/>
                  <a:pt x="970" y="81"/>
                  <a:pt x="970" y="81"/>
                </a:cubicBezTo>
                <a:cubicBezTo>
                  <a:pt x="970" y="81"/>
                  <a:pt x="970" y="81"/>
                  <a:pt x="970" y="81"/>
                </a:cubicBezTo>
                <a:close/>
                <a:moveTo>
                  <a:pt x="836" y="44"/>
                </a:moveTo>
                <a:cubicBezTo>
                  <a:pt x="836" y="44"/>
                  <a:pt x="836" y="45"/>
                  <a:pt x="836" y="45"/>
                </a:cubicBezTo>
                <a:cubicBezTo>
                  <a:pt x="836" y="45"/>
                  <a:pt x="836" y="45"/>
                  <a:pt x="836" y="44"/>
                </a:cubicBezTo>
                <a:close/>
                <a:moveTo>
                  <a:pt x="869" y="45"/>
                </a:moveTo>
                <a:cubicBezTo>
                  <a:pt x="869" y="45"/>
                  <a:pt x="869" y="45"/>
                  <a:pt x="869" y="44"/>
                </a:cubicBezTo>
                <a:cubicBezTo>
                  <a:pt x="869" y="45"/>
                  <a:pt x="869" y="45"/>
                  <a:pt x="869" y="45"/>
                </a:cubicBezTo>
                <a:close/>
                <a:moveTo>
                  <a:pt x="836" y="45"/>
                </a:moveTo>
                <a:cubicBezTo>
                  <a:pt x="836" y="45"/>
                  <a:pt x="835" y="45"/>
                  <a:pt x="835" y="45"/>
                </a:cubicBezTo>
                <a:cubicBezTo>
                  <a:pt x="836" y="45"/>
                  <a:pt x="836" y="45"/>
                  <a:pt x="836" y="45"/>
                </a:cubicBezTo>
                <a:close/>
                <a:moveTo>
                  <a:pt x="1358" y="81"/>
                </a:moveTo>
                <a:cubicBezTo>
                  <a:pt x="1358" y="81"/>
                  <a:pt x="1357" y="81"/>
                  <a:pt x="1357" y="81"/>
                </a:cubicBezTo>
                <a:cubicBezTo>
                  <a:pt x="1358" y="81"/>
                  <a:pt x="1358" y="81"/>
                  <a:pt x="1358" y="81"/>
                </a:cubicBezTo>
                <a:close/>
                <a:moveTo>
                  <a:pt x="854" y="45"/>
                </a:moveTo>
                <a:cubicBezTo>
                  <a:pt x="854" y="45"/>
                  <a:pt x="854" y="45"/>
                  <a:pt x="853" y="45"/>
                </a:cubicBezTo>
                <a:cubicBezTo>
                  <a:pt x="854" y="45"/>
                  <a:pt x="854" y="45"/>
                  <a:pt x="854" y="45"/>
                </a:cubicBezTo>
                <a:close/>
                <a:moveTo>
                  <a:pt x="1542" y="81"/>
                </a:moveTo>
                <a:cubicBezTo>
                  <a:pt x="1542" y="81"/>
                  <a:pt x="1542" y="81"/>
                  <a:pt x="1542" y="81"/>
                </a:cubicBezTo>
                <a:cubicBezTo>
                  <a:pt x="1542" y="81"/>
                  <a:pt x="1542" y="81"/>
                  <a:pt x="1542" y="81"/>
                </a:cubicBezTo>
                <a:close/>
                <a:moveTo>
                  <a:pt x="1678" y="81"/>
                </a:moveTo>
                <a:cubicBezTo>
                  <a:pt x="1678" y="81"/>
                  <a:pt x="1678" y="81"/>
                  <a:pt x="1678" y="81"/>
                </a:cubicBezTo>
                <a:cubicBezTo>
                  <a:pt x="1678" y="81"/>
                  <a:pt x="1678" y="81"/>
                  <a:pt x="1678" y="81"/>
                </a:cubicBezTo>
                <a:close/>
                <a:moveTo>
                  <a:pt x="879" y="45"/>
                </a:moveTo>
                <a:cubicBezTo>
                  <a:pt x="878" y="45"/>
                  <a:pt x="878" y="45"/>
                  <a:pt x="878" y="45"/>
                </a:cubicBezTo>
                <a:cubicBezTo>
                  <a:pt x="878" y="45"/>
                  <a:pt x="878" y="45"/>
                  <a:pt x="879" y="45"/>
                </a:cubicBezTo>
                <a:close/>
                <a:moveTo>
                  <a:pt x="1710" y="81"/>
                </a:moveTo>
                <a:cubicBezTo>
                  <a:pt x="1710" y="81"/>
                  <a:pt x="1710" y="81"/>
                  <a:pt x="1710" y="81"/>
                </a:cubicBezTo>
                <a:cubicBezTo>
                  <a:pt x="1710" y="81"/>
                  <a:pt x="1710" y="81"/>
                  <a:pt x="1710" y="81"/>
                </a:cubicBezTo>
                <a:close/>
                <a:moveTo>
                  <a:pt x="897" y="45"/>
                </a:moveTo>
                <a:cubicBezTo>
                  <a:pt x="897" y="45"/>
                  <a:pt x="897" y="45"/>
                  <a:pt x="896" y="45"/>
                </a:cubicBezTo>
                <a:cubicBezTo>
                  <a:pt x="896" y="45"/>
                  <a:pt x="897" y="45"/>
                  <a:pt x="897" y="45"/>
                </a:cubicBezTo>
                <a:close/>
                <a:moveTo>
                  <a:pt x="1036" y="45"/>
                </a:moveTo>
                <a:cubicBezTo>
                  <a:pt x="1036" y="45"/>
                  <a:pt x="1036" y="45"/>
                  <a:pt x="1036" y="45"/>
                </a:cubicBezTo>
                <a:cubicBezTo>
                  <a:pt x="1036" y="45"/>
                  <a:pt x="1036" y="45"/>
                  <a:pt x="1036" y="45"/>
                </a:cubicBezTo>
                <a:close/>
                <a:moveTo>
                  <a:pt x="1083" y="45"/>
                </a:moveTo>
                <a:cubicBezTo>
                  <a:pt x="1083" y="45"/>
                  <a:pt x="1083" y="45"/>
                  <a:pt x="1084" y="45"/>
                </a:cubicBezTo>
                <a:cubicBezTo>
                  <a:pt x="1084" y="45"/>
                  <a:pt x="1083" y="45"/>
                  <a:pt x="1083" y="45"/>
                </a:cubicBezTo>
                <a:close/>
                <a:moveTo>
                  <a:pt x="1119" y="45"/>
                </a:moveTo>
                <a:cubicBezTo>
                  <a:pt x="1119" y="45"/>
                  <a:pt x="1119" y="45"/>
                  <a:pt x="1119" y="45"/>
                </a:cubicBezTo>
                <a:cubicBezTo>
                  <a:pt x="1119" y="45"/>
                  <a:pt x="1119" y="45"/>
                  <a:pt x="1119" y="45"/>
                </a:cubicBezTo>
                <a:close/>
                <a:moveTo>
                  <a:pt x="1138" y="45"/>
                </a:moveTo>
                <a:cubicBezTo>
                  <a:pt x="1138" y="45"/>
                  <a:pt x="1138" y="45"/>
                  <a:pt x="1138" y="45"/>
                </a:cubicBezTo>
                <a:cubicBezTo>
                  <a:pt x="1138" y="45"/>
                  <a:pt x="1138" y="45"/>
                  <a:pt x="1138" y="45"/>
                </a:cubicBezTo>
                <a:close/>
                <a:moveTo>
                  <a:pt x="1358" y="81"/>
                </a:moveTo>
                <a:cubicBezTo>
                  <a:pt x="1357" y="81"/>
                  <a:pt x="1357" y="81"/>
                  <a:pt x="1357" y="81"/>
                </a:cubicBezTo>
                <a:cubicBezTo>
                  <a:pt x="1357" y="81"/>
                  <a:pt x="1357" y="81"/>
                  <a:pt x="1358" y="81"/>
                </a:cubicBezTo>
                <a:close/>
                <a:moveTo>
                  <a:pt x="1214" y="45"/>
                </a:moveTo>
                <a:cubicBezTo>
                  <a:pt x="1214" y="45"/>
                  <a:pt x="1214" y="45"/>
                  <a:pt x="1214" y="45"/>
                </a:cubicBezTo>
                <a:cubicBezTo>
                  <a:pt x="1214" y="45"/>
                  <a:pt x="1214" y="45"/>
                  <a:pt x="1214" y="45"/>
                </a:cubicBezTo>
                <a:close/>
                <a:moveTo>
                  <a:pt x="1312" y="45"/>
                </a:moveTo>
                <a:cubicBezTo>
                  <a:pt x="1312" y="45"/>
                  <a:pt x="1311" y="45"/>
                  <a:pt x="1311" y="45"/>
                </a:cubicBezTo>
                <a:cubicBezTo>
                  <a:pt x="1311" y="45"/>
                  <a:pt x="1311" y="45"/>
                  <a:pt x="1312" y="45"/>
                </a:cubicBezTo>
                <a:close/>
                <a:moveTo>
                  <a:pt x="1567" y="45"/>
                </a:moveTo>
                <a:cubicBezTo>
                  <a:pt x="1567" y="45"/>
                  <a:pt x="1567" y="45"/>
                  <a:pt x="1567" y="45"/>
                </a:cubicBezTo>
                <a:cubicBezTo>
                  <a:pt x="1567" y="45"/>
                  <a:pt x="1567" y="45"/>
                  <a:pt x="1567" y="45"/>
                </a:cubicBezTo>
                <a:close/>
                <a:moveTo>
                  <a:pt x="1735" y="45"/>
                </a:moveTo>
                <a:cubicBezTo>
                  <a:pt x="1735" y="45"/>
                  <a:pt x="1736" y="45"/>
                  <a:pt x="1736" y="45"/>
                </a:cubicBezTo>
                <a:cubicBezTo>
                  <a:pt x="1735" y="45"/>
                  <a:pt x="1735" y="45"/>
                  <a:pt x="1735" y="45"/>
                </a:cubicBezTo>
                <a:close/>
                <a:moveTo>
                  <a:pt x="558" y="45"/>
                </a:moveTo>
                <a:cubicBezTo>
                  <a:pt x="558" y="45"/>
                  <a:pt x="558" y="45"/>
                  <a:pt x="559" y="45"/>
                </a:cubicBezTo>
                <a:cubicBezTo>
                  <a:pt x="559" y="45"/>
                  <a:pt x="558" y="45"/>
                  <a:pt x="558" y="45"/>
                </a:cubicBezTo>
                <a:close/>
                <a:moveTo>
                  <a:pt x="801" y="45"/>
                </a:moveTo>
                <a:cubicBezTo>
                  <a:pt x="801" y="45"/>
                  <a:pt x="801" y="45"/>
                  <a:pt x="802" y="46"/>
                </a:cubicBezTo>
                <a:cubicBezTo>
                  <a:pt x="802" y="45"/>
                  <a:pt x="801" y="45"/>
                  <a:pt x="801" y="45"/>
                </a:cubicBezTo>
                <a:close/>
                <a:moveTo>
                  <a:pt x="835" y="45"/>
                </a:moveTo>
                <a:cubicBezTo>
                  <a:pt x="835" y="45"/>
                  <a:pt x="835" y="45"/>
                  <a:pt x="835" y="45"/>
                </a:cubicBezTo>
                <a:cubicBezTo>
                  <a:pt x="835" y="45"/>
                  <a:pt x="835" y="45"/>
                  <a:pt x="835" y="45"/>
                </a:cubicBezTo>
                <a:close/>
                <a:moveTo>
                  <a:pt x="854" y="45"/>
                </a:moveTo>
                <a:cubicBezTo>
                  <a:pt x="854" y="45"/>
                  <a:pt x="854" y="45"/>
                  <a:pt x="854" y="45"/>
                </a:cubicBezTo>
                <a:cubicBezTo>
                  <a:pt x="854" y="45"/>
                  <a:pt x="854" y="45"/>
                  <a:pt x="854" y="45"/>
                </a:cubicBezTo>
                <a:close/>
                <a:moveTo>
                  <a:pt x="878" y="45"/>
                </a:moveTo>
                <a:cubicBezTo>
                  <a:pt x="878" y="45"/>
                  <a:pt x="878" y="45"/>
                  <a:pt x="878" y="45"/>
                </a:cubicBezTo>
                <a:cubicBezTo>
                  <a:pt x="878" y="45"/>
                  <a:pt x="878" y="45"/>
                  <a:pt x="878" y="45"/>
                </a:cubicBezTo>
                <a:close/>
                <a:moveTo>
                  <a:pt x="1346" y="82"/>
                </a:moveTo>
                <a:cubicBezTo>
                  <a:pt x="1346" y="82"/>
                  <a:pt x="1346" y="82"/>
                  <a:pt x="1346" y="81"/>
                </a:cubicBezTo>
                <a:cubicBezTo>
                  <a:pt x="1346" y="81"/>
                  <a:pt x="1346" y="82"/>
                  <a:pt x="1346" y="82"/>
                </a:cubicBezTo>
                <a:close/>
                <a:moveTo>
                  <a:pt x="897" y="45"/>
                </a:moveTo>
                <a:cubicBezTo>
                  <a:pt x="897" y="45"/>
                  <a:pt x="897" y="45"/>
                  <a:pt x="897" y="45"/>
                </a:cubicBezTo>
                <a:cubicBezTo>
                  <a:pt x="897" y="45"/>
                  <a:pt x="897" y="45"/>
                  <a:pt x="897" y="45"/>
                </a:cubicBezTo>
                <a:close/>
                <a:moveTo>
                  <a:pt x="1139" y="45"/>
                </a:moveTo>
                <a:cubicBezTo>
                  <a:pt x="1139" y="45"/>
                  <a:pt x="1138" y="45"/>
                  <a:pt x="1138" y="45"/>
                </a:cubicBezTo>
                <a:cubicBezTo>
                  <a:pt x="1138" y="45"/>
                  <a:pt x="1138" y="45"/>
                  <a:pt x="1139" y="45"/>
                </a:cubicBezTo>
                <a:close/>
                <a:moveTo>
                  <a:pt x="1297" y="45"/>
                </a:moveTo>
                <a:cubicBezTo>
                  <a:pt x="1297" y="45"/>
                  <a:pt x="1297" y="45"/>
                  <a:pt x="1297" y="45"/>
                </a:cubicBezTo>
                <a:cubicBezTo>
                  <a:pt x="1297" y="45"/>
                  <a:pt x="1297" y="45"/>
                  <a:pt x="1297" y="45"/>
                </a:cubicBezTo>
                <a:close/>
                <a:moveTo>
                  <a:pt x="753" y="46"/>
                </a:moveTo>
                <a:cubicBezTo>
                  <a:pt x="754" y="46"/>
                  <a:pt x="754" y="46"/>
                  <a:pt x="754" y="45"/>
                </a:cubicBezTo>
                <a:cubicBezTo>
                  <a:pt x="753" y="46"/>
                  <a:pt x="753" y="46"/>
                  <a:pt x="753" y="46"/>
                </a:cubicBezTo>
                <a:close/>
                <a:moveTo>
                  <a:pt x="855" y="46"/>
                </a:moveTo>
                <a:cubicBezTo>
                  <a:pt x="855" y="46"/>
                  <a:pt x="854" y="45"/>
                  <a:pt x="854" y="45"/>
                </a:cubicBezTo>
                <a:cubicBezTo>
                  <a:pt x="854" y="46"/>
                  <a:pt x="854" y="46"/>
                  <a:pt x="855" y="46"/>
                </a:cubicBezTo>
                <a:close/>
                <a:moveTo>
                  <a:pt x="897" y="46"/>
                </a:moveTo>
                <a:cubicBezTo>
                  <a:pt x="897" y="46"/>
                  <a:pt x="897" y="45"/>
                  <a:pt x="897" y="45"/>
                </a:cubicBezTo>
                <a:cubicBezTo>
                  <a:pt x="897" y="46"/>
                  <a:pt x="897" y="46"/>
                  <a:pt x="897" y="46"/>
                </a:cubicBezTo>
                <a:close/>
                <a:moveTo>
                  <a:pt x="957" y="82"/>
                </a:moveTo>
                <a:cubicBezTo>
                  <a:pt x="957" y="82"/>
                  <a:pt x="957" y="82"/>
                  <a:pt x="957" y="82"/>
                </a:cubicBezTo>
                <a:cubicBezTo>
                  <a:pt x="957" y="82"/>
                  <a:pt x="957" y="82"/>
                  <a:pt x="957" y="82"/>
                </a:cubicBezTo>
                <a:close/>
                <a:moveTo>
                  <a:pt x="1139" y="46"/>
                </a:moveTo>
                <a:cubicBezTo>
                  <a:pt x="1139" y="46"/>
                  <a:pt x="1139" y="45"/>
                  <a:pt x="1139" y="45"/>
                </a:cubicBezTo>
                <a:cubicBezTo>
                  <a:pt x="1139" y="46"/>
                  <a:pt x="1139" y="46"/>
                  <a:pt x="1139" y="46"/>
                </a:cubicBezTo>
                <a:close/>
                <a:moveTo>
                  <a:pt x="1261" y="45"/>
                </a:moveTo>
                <a:cubicBezTo>
                  <a:pt x="1261" y="46"/>
                  <a:pt x="1262" y="46"/>
                  <a:pt x="1262" y="46"/>
                </a:cubicBezTo>
                <a:cubicBezTo>
                  <a:pt x="1262" y="46"/>
                  <a:pt x="1262" y="46"/>
                  <a:pt x="1261" y="45"/>
                </a:cubicBezTo>
                <a:close/>
                <a:moveTo>
                  <a:pt x="1297" y="45"/>
                </a:moveTo>
                <a:cubicBezTo>
                  <a:pt x="1296" y="45"/>
                  <a:pt x="1296" y="46"/>
                  <a:pt x="1296" y="46"/>
                </a:cubicBezTo>
                <a:cubicBezTo>
                  <a:pt x="1296" y="46"/>
                  <a:pt x="1297" y="46"/>
                  <a:pt x="1297" y="45"/>
                </a:cubicBezTo>
                <a:close/>
                <a:moveTo>
                  <a:pt x="1541" y="82"/>
                </a:moveTo>
                <a:cubicBezTo>
                  <a:pt x="1541" y="82"/>
                  <a:pt x="1541" y="82"/>
                  <a:pt x="1541" y="82"/>
                </a:cubicBezTo>
                <a:cubicBezTo>
                  <a:pt x="1541" y="82"/>
                  <a:pt x="1541" y="82"/>
                  <a:pt x="1541" y="82"/>
                </a:cubicBezTo>
                <a:close/>
                <a:moveTo>
                  <a:pt x="1567" y="46"/>
                </a:moveTo>
                <a:cubicBezTo>
                  <a:pt x="1567" y="46"/>
                  <a:pt x="1567" y="46"/>
                  <a:pt x="1567" y="45"/>
                </a:cubicBezTo>
                <a:cubicBezTo>
                  <a:pt x="1567" y="46"/>
                  <a:pt x="1567" y="46"/>
                  <a:pt x="1567" y="46"/>
                </a:cubicBezTo>
                <a:close/>
                <a:moveTo>
                  <a:pt x="1709" y="82"/>
                </a:moveTo>
                <a:cubicBezTo>
                  <a:pt x="1709" y="82"/>
                  <a:pt x="1709" y="82"/>
                  <a:pt x="1709" y="82"/>
                </a:cubicBezTo>
                <a:cubicBezTo>
                  <a:pt x="1709" y="82"/>
                  <a:pt x="1709" y="82"/>
                  <a:pt x="1709" y="82"/>
                </a:cubicBezTo>
                <a:close/>
                <a:moveTo>
                  <a:pt x="1735" y="46"/>
                </a:moveTo>
                <a:cubicBezTo>
                  <a:pt x="1735" y="46"/>
                  <a:pt x="1735" y="46"/>
                  <a:pt x="1735" y="45"/>
                </a:cubicBezTo>
                <a:cubicBezTo>
                  <a:pt x="1735" y="46"/>
                  <a:pt x="1735" y="46"/>
                  <a:pt x="1735" y="46"/>
                </a:cubicBezTo>
                <a:close/>
                <a:moveTo>
                  <a:pt x="559" y="46"/>
                </a:moveTo>
                <a:cubicBezTo>
                  <a:pt x="559" y="46"/>
                  <a:pt x="560" y="46"/>
                  <a:pt x="560" y="46"/>
                </a:cubicBezTo>
                <a:cubicBezTo>
                  <a:pt x="560" y="46"/>
                  <a:pt x="559" y="46"/>
                  <a:pt x="559" y="46"/>
                </a:cubicBezTo>
                <a:close/>
                <a:moveTo>
                  <a:pt x="696" y="46"/>
                </a:moveTo>
                <a:cubicBezTo>
                  <a:pt x="695" y="46"/>
                  <a:pt x="695" y="46"/>
                  <a:pt x="695" y="46"/>
                </a:cubicBezTo>
                <a:cubicBezTo>
                  <a:pt x="695" y="46"/>
                  <a:pt x="695" y="46"/>
                  <a:pt x="696" y="46"/>
                </a:cubicBezTo>
                <a:close/>
                <a:moveTo>
                  <a:pt x="855" y="46"/>
                </a:moveTo>
                <a:cubicBezTo>
                  <a:pt x="855" y="46"/>
                  <a:pt x="855" y="46"/>
                  <a:pt x="855" y="46"/>
                </a:cubicBezTo>
                <a:cubicBezTo>
                  <a:pt x="855" y="46"/>
                  <a:pt x="855" y="46"/>
                  <a:pt x="855" y="46"/>
                </a:cubicBezTo>
                <a:close/>
                <a:moveTo>
                  <a:pt x="971" y="82"/>
                </a:moveTo>
                <a:cubicBezTo>
                  <a:pt x="971" y="82"/>
                  <a:pt x="971" y="82"/>
                  <a:pt x="971" y="82"/>
                </a:cubicBezTo>
                <a:cubicBezTo>
                  <a:pt x="971" y="82"/>
                  <a:pt x="971" y="82"/>
                  <a:pt x="971" y="82"/>
                </a:cubicBezTo>
                <a:close/>
                <a:moveTo>
                  <a:pt x="898" y="46"/>
                </a:moveTo>
                <a:cubicBezTo>
                  <a:pt x="898" y="46"/>
                  <a:pt x="898" y="46"/>
                  <a:pt x="897" y="46"/>
                </a:cubicBezTo>
                <a:cubicBezTo>
                  <a:pt x="897" y="46"/>
                  <a:pt x="898" y="46"/>
                  <a:pt x="898" y="46"/>
                </a:cubicBezTo>
                <a:close/>
                <a:moveTo>
                  <a:pt x="1357" y="82"/>
                </a:moveTo>
                <a:cubicBezTo>
                  <a:pt x="1357" y="82"/>
                  <a:pt x="1357" y="82"/>
                  <a:pt x="1357" y="82"/>
                </a:cubicBezTo>
                <a:cubicBezTo>
                  <a:pt x="1357" y="82"/>
                  <a:pt x="1357" y="82"/>
                  <a:pt x="1357" y="82"/>
                </a:cubicBezTo>
                <a:close/>
                <a:moveTo>
                  <a:pt x="1035" y="46"/>
                </a:moveTo>
                <a:cubicBezTo>
                  <a:pt x="1035" y="46"/>
                  <a:pt x="1036" y="46"/>
                  <a:pt x="1036" y="46"/>
                </a:cubicBezTo>
                <a:cubicBezTo>
                  <a:pt x="1035" y="46"/>
                  <a:pt x="1035" y="46"/>
                  <a:pt x="1035" y="46"/>
                </a:cubicBezTo>
                <a:close/>
                <a:moveTo>
                  <a:pt x="1118" y="46"/>
                </a:moveTo>
                <a:cubicBezTo>
                  <a:pt x="1117" y="46"/>
                  <a:pt x="1117" y="46"/>
                  <a:pt x="1117" y="46"/>
                </a:cubicBezTo>
                <a:cubicBezTo>
                  <a:pt x="1117" y="46"/>
                  <a:pt x="1118" y="46"/>
                  <a:pt x="1118" y="46"/>
                </a:cubicBezTo>
                <a:close/>
                <a:moveTo>
                  <a:pt x="1139" y="46"/>
                </a:moveTo>
                <a:cubicBezTo>
                  <a:pt x="1139" y="46"/>
                  <a:pt x="1139" y="46"/>
                  <a:pt x="1139" y="46"/>
                </a:cubicBezTo>
                <a:cubicBezTo>
                  <a:pt x="1139" y="46"/>
                  <a:pt x="1139" y="46"/>
                  <a:pt x="1139" y="46"/>
                </a:cubicBezTo>
                <a:close/>
                <a:moveTo>
                  <a:pt x="1382" y="46"/>
                </a:moveTo>
                <a:cubicBezTo>
                  <a:pt x="1383" y="46"/>
                  <a:pt x="1383" y="46"/>
                  <a:pt x="1383" y="46"/>
                </a:cubicBezTo>
                <a:cubicBezTo>
                  <a:pt x="1382" y="46"/>
                  <a:pt x="1382" y="46"/>
                  <a:pt x="1382" y="46"/>
                </a:cubicBezTo>
                <a:close/>
                <a:moveTo>
                  <a:pt x="671" y="46"/>
                </a:moveTo>
                <a:cubicBezTo>
                  <a:pt x="671" y="46"/>
                  <a:pt x="671" y="46"/>
                  <a:pt x="671" y="46"/>
                </a:cubicBezTo>
                <a:cubicBezTo>
                  <a:pt x="671" y="46"/>
                  <a:pt x="671" y="46"/>
                  <a:pt x="671" y="46"/>
                </a:cubicBezTo>
                <a:close/>
                <a:moveTo>
                  <a:pt x="855" y="47"/>
                </a:moveTo>
                <a:cubicBezTo>
                  <a:pt x="855" y="46"/>
                  <a:pt x="855" y="46"/>
                  <a:pt x="855" y="46"/>
                </a:cubicBezTo>
                <a:cubicBezTo>
                  <a:pt x="855" y="46"/>
                  <a:pt x="855" y="46"/>
                  <a:pt x="855" y="47"/>
                </a:cubicBezTo>
                <a:close/>
                <a:moveTo>
                  <a:pt x="1117" y="46"/>
                </a:moveTo>
                <a:cubicBezTo>
                  <a:pt x="1117" y="46"/>
                  <a:pt x="1117" y="46"/>
                  <a:pt x="1117" y="46"/>
                </a:cubicBezTo>
                <a:cubicBezTo>
                  <a:pt x="1117" y="46"/>
                  <a:pt x="1117" y="46"/>
                  <a:pt x="1117" y="46"/>
                </a:cubicBezTo>
                <a:close/>
                <a:moveTo>
                  <a:pt x="1140" y="47"/>
                </a:moveTo>
                <a:cubicBezTo>
                  <a:pt x="1140" y="46"/>
                  <a:pt x="1140" y="46"/>
                  <a:pt x="1139" y="46"/>
                </a:cubicBezTo>
                <a:cubicBezTo>
                  <a:pt x="1139" y="46"/>
                  <a:pt x="1139" y="46"/>
                  <a:pt x="1140" y="47"/>
                </a:cubicBezTo>
                <a:close/>
                <a:moveTo>
                  <a:pt x="957" y="83"/>
                </a:moveTo>
                <a:cubicBezTo>
                  <a:pt x="957" y="82"/>
                  <a:pt x="957" y="82"/>
                  <a:pt x="957" y="82"/>
                </a:cubicBezTo>
                <a:cubicBezTo>
                  <a:pt x="957" y="82"/>
                  <a:pt x="957" y="83"/>
                  <a:pt x="957" y="83"/>
                </a:cubicBezTo>
                <a:close/>
                <a:moveTo>
                  <a:pt x="971" y="82"/>
                </a:moveTo>
                <a:cubicBezTo>
                  <a:pt x="971" y="83"/>
                  <a:pt x="972" y="83"/>
                  <a:pt x="972" y="83"/>
                </a:cubicBezTo>
                <a:cubicBezTo>
                  <a:pt x="972" y="83"/>
                  <a:pt x="972" y="82"/>
                  <a:pt x="971" y="82"/>
                </a:cubicBezTo>
                <a:close/>
                <a:moveTo>
                  <a:pt x="1262" y="46"/>
                </a:moveTo>
                <a:cubicBezTo>
                  <a:pt x="1262" y="46"/>
                  <a:pt x="1262" y="47"/>
                  <a:pt x="1262" y="47"/>
                </a:cubicBezTo>
                <a:cubicBezTo>
                  <a:pt x="1262" y="46"/>
                  <a:pt x="1262" y="46"/>
                  <a:pt x="1262" y="46"/>
                </a:cubicBezTo>
                <a:close/>
                <a:moveTo>
                  <a:pt x="1296" y="46"/>
                </a:moveTo>
                <a:cubicBezTo>
                  <a:pt x="1295" y="46"/>
                  <a:pt x="1295" y="46"/>
                  <a:pt x="1295" y="47"/>
                </a:cubicBezTo>
                <a:cubicBezTo>
                  <a:pt x="1295" y="46"/>
                  <a:pt x="1295" y="46"/>
                  <a:pt x="1296" y="46"/>
                </a:cubicBezTo>
                <a:close/>
                <a:moveTo>
                  <a:pt x="671" y="46"/>
                </a:moveTo>
                <a:cubicBezTo>
                  <a:pt x="671" y="47"/>
                  <a:pt x="671" y="47"/>
                  <a:pt x="671" y="47"/>
                </a:cubicBezTo>
                <a:cubicBezTo>
                  <a:pt x="671" y="47"/>
                  <a:pt x="671" y="47"/>
                  <a:pt x="671" y="46"/>
                </a:cubicBezTo>
                <a:close/>
                <a:moveTo>
                  <a:pt x="1117" y="46"/>
                </a:moveTo>
                <a:cubicBezTo>
                  <a:pt x="1117" y="46"/>
                  <a:pt x="1117" y="47"/>
                  <a:pt x="1117" y="47"/>
                </a:cubicBezTo>
                <a:cubicBezTo>
                  <a:pt x="1117" y="47"/>
                  <a:pt x="1117" y="47"/>
                  <a:pt x="1117" y="46"/>
                </a:cubicBezTo>
                <a:close/>
                <a:moveTo>
                  <a:pt x="1140" y="47"/>
                </a:moveTo>
                <a:cubicBezTo>
                  <a:pt x="1140" y="47"/>
                  <a:pt x="1140" y="47"/>
                  <a:pt x="1140" y="46"/>
                </a:cubicBezTo>
                <a:cubicBezTo>
                  <a:pt x="1140" y="47"/>
                  <a:pt x="1140" y="47"/>
                  <a:pt x="1140" y="47"/>
                </a:cubicBezTo>
                <a:close/>
                <a:moveTo>
                  <a:pt x="1295" y="47"/>
                </a:moveTo>
                <a:cubicBezTo>
                  <a:pt x="1295" y="47"/>
                  <a:pt x="1295" y="47"/>
                  <a:pt x="1295" y="47"/>
                </a:cubicBezTo>
                <a:cubicBezTo>
                  <a:pt x="1295" y="47"/>
                  <a:pt x="1295" y="47"/>
                  <a:pt x="1295" y="47"/>
                </a:cubicBezTo>
                <a:close/>
                <a:moveTo>
                  <a:pt x="1566" y="47"/>
                </a:moveTo>
                <a:cubicBezTo>
                  <a:pt x="1566" y="47"/>
                  <a:pt x="1566" y="47"/>
                  <a:pt x="1566" y="47"/>
                </a:cubicBezTo>
                <a:cubicBezTo>
                  <a:pt x="1566" y="47"/>
                  <a:pt x="1566" y="47"/>
                  <a:pt x="1566" y="47"/>
                </a:cubicBezTo>
                <a:close/>
                <a:moveTo>
                  <a:pt x="972" y="83"/>
                </a:moveTo>
                <a:cubicBezTo>
                  <a:pt x="972" y="83"/>
                  <a:pt x="972" y="83"/>
                  <a:pt x="972" y="83"/>
                </a:cubicBezTo>
                <a:cubicBezTo>
                  <a:pt x="972" y="83"/>
                  <a:pt x="972" y="83"/>
                  <a:pt x="972" y="83"/>
                </a:cubicBezTo>
                <a:close/>
                <a:moveTo>
                  <a:pt x="1734" y="47"/>
                </a:moveTo>
                <a:cubicBezTo>
                  <a:pt x="1734" y="47"/>
                  <a:pt x="1735" y="47"/>
                  <a:pt x="1735" y="47"/>
                </a:cubicBezTo>
                <a:cubicBezTo>
                  <a:pt x="1734" y="47"/>
                  <a:pt x="1734" y="47"/>
                  <a:pt x="1734" y="47"/>
                </a:cubicBezTo>
                <a:close/>
                <a:moveTo>
                  <a:pt x="561" y="47"/>
                </a:moveTo>
                <a:cubicBezTo>
                  <a:pt x="561" y="47"/>
                  <a:pt x="561" y="47"/>
                  <a:pt x="561" y="47"/>
                </a:cubicBezTo>
                <a:cubicBezTo>
                  <a:pt x="561" y="47"/>
                  <a:pt x="561" y="47"/>
                  <a:pt x="561" y="47"/>
                </a:cubicBezTo>
                <a:close/>
                <a:moveTo>
                  <a:pt x="898" y="47"/>
                </a:moveTo>
                <a:cubicBezTo>
                  <a:pt x="898" y="47"/>
                  <a:pt x="898" y="47"/>
                  <a:pt x="898" y="47"/>
                </a:cubicBezTo>
                <a:cubicBezTo>
                  <a:pt x="898" y="47"/>
                  <a:pt x="898" y="47"/>
                  <a:pt x="898" y="47"/>
                </a:cubicBezTo>
                <a:close/>
                <a:moveTo>
                  <a:pt x="1356" y="83"/>
                </a:moveTo>
                <a:cubicBezTo>
                  <a:pt x="1356" y="83"/>
                  <a:pt x="1356" y="83"/>
                  <a:pt x="1356" y="83"/>
                </a:cubicBezTo>
                <a:cubicBezTo>
                  <a:pt x="1356" y="83"/>
                  <a:pt x="1356" y="83"/>
                  <a:pt x="1356" y="83"/>
                </a:cubicBezTo>
                <a:close/>
                <a:moveTo>
                  <a:pt x="1035" y="47"/>
                </a:moveTo>
                <a:cubicBezTo>
                  <a:pt x="1035" y="47"/>
                  <a:pt x="1035" y="47"/>
                  <a:pt x="1035" y="47"/>
                </a:cubicBezTo>
                <a:cubicBezTo>
                  <a:pt x="1035" y="47"/>
                  <a:pt x="1035" y="47"/>
                  <a:pt x="1035" y="47"/>
                </a:cubicBezTo>
                <a:close/>
                <a:moveTo>
                  <a:pt x="1117" y="47"/>
                </a:moveTo>
                <a:cubicBezTo>
                  <a:pt x="1116" y="47"/>
                  <a:pt x="1116" y="47"/>
                  <a:pt x="1116" y="47"/>
                </a:cubicBezTo>
                <a:cubicBezTo>
                  <a:pt x="1116" y="47"/>
                  <a:pt x="1117" y="47"/>
                  <a:pt x="1117" y="47"/>
                </a:cubicBezTo>
                <a:close/>
                <a:moveTo>
                  <a:pt x="1212" y="47"/>
                </a:moveTo>
                <a:cubicBezTo>
                  <a:pt x="1213" y="47"/>
                  <a:pt x="1213" y="47"/>
                  <a:pt x="1213" y="47"/>
                </a:cubicBezTo>
                <a:cubicBezTo>
                  <a:pt x="1213" y="47"/>
                  <a:pt x="1213" y="47"/>
                  <a:pt x="1212" y="47"/>
                </a:cubicBezTo>
                <a:close/>
                <a:moveTo>
                  <a:pt x="1262" y="47"/>
                </a:moveTo>
                <a:cubicBezTo>
                  <a:pt x="1262" y="47"/>
                  <a:pt x="1262" y="47"/>
                  <a:pt x="1262" y="47"/>
                </a:cubicBezTo>
                <a:cubicBezTo>
                  <a:pt x="1262" y="47"/>
                  <a:pt x="1262" y="47"/>
                  <a:pt x="1262" y="47"/>
                </a:cubicBezTo>
                <a:close/>
                <a:moveTo>
                  <a:pt x="1295" y="47"/>
                </a:moveTo>
                <a:cubicBezTo>
                  <a:pt x="1295" y="47"/>
                  <a:pt x="1295" y="47"/>
                  <a:pt x="1295" y="47"/>
                </a:cubicBezTo>
                <a:cubicBezTo>
                  <a:pt x="1295" y="47"/>
                  <a:pt x="1295" y="47"/>
                  <a:pt x="1295" y="47"/>
                </a:cubicBezTo>
                <a:close/>
                <a:moveTo>
                  <a:pt x="1382" y="47"/>
                </a:moveTo>
                <a:cubicBezTo>
                  <a:pt x="1382" y="47"/>
                  <a:pt x="1382" y="47"/>
                  <a:pt x="1382" y="47"/>
                </a:cubicBezTo>
                <a:cubicBezTo>
                  <a:pt x="1382" y="47"/>
                  <a:pt x="1382" y="47"/>
                  <a:pt x="1382" y="47"/>
                </a:cubicBezTo>
                <a:close/>
                <a:moveTo>
                  <a:pt x="1681" y="47"/>
                </a:moveTo>
                <a:cubicBezTo>
                  <a:pt x="1680" y="47"/>
                  <a:pt x="1680" y="47"/>
                  <a:pt x="1680" y="47"/>
                </a:cubicBezTo>
                <a:cubicBezTo>
                  <a:pt x="1680" y="47"/>
                  <a:pt x="1680" y="47"/>
                  <a:pt x="1681" y="47"/>
                </a:cubicBezTo>
                <a:close/>
                <a:moveTo>
                  <a:pt x="752" y="48"/>
                </a:moveTo>
                <a:cubicBezTo>
                  <a:pt x="752" y="48"/>
                  <a:pt x="753" y="47"/>
                  <a:pt x="753" y="47"/>
                </a:cubicBezTo>
                <a:cubicBezTo>
                  <a:pt x="752" y="47"/>
                  <a:pt x="752" y="47"/>
                  <a:pt x="752" y="48"/>
                </a:cubicBezTo>
                <a:close/>
                <a:moveTo>
                  <a:pt x="972" y="83"/>
                </a:moveTo>
                <a:cubicBezTo>
                  <a:pt x="972" y="83"/>
                  <a:pt x="972" y="83"/>
                  <a:pt x="972" y="83"/>
                </a:cubicBezTo>
                <a:cubicBezTo>
                  <a:pt x="972" y="83"/>
                  <a:pt x="972" y="83"/>
                  <a:pt x="972" y="83"/>
                </a:cubicBezTo>
                <a:close/>
                <a:moveTo>
                  <a:pt x="833" y="47"/>
                </a:moveTo>
                <a:cubicBezTo>
                  <a:pt x="833" y="47"/>
                  <a:pt x="833" y="47"/>
                  <a:pt x="833" y="48"/>
                </a:cubicBezTo>
                <a:cubicBezTo>
                  <a:pt x="833" y="47"/>
                  <a:pt x="833" y="47"/>
                  <a:pt x="833" y="47"/>
                </a:cubicBezTo>
                <a:close/>
                <a:moveTo>
                  <a:pt x="876" y="47"/>
                </a:moveTo>
                <a:cubicBezTo>
                  <a:pt x="876" y="47"/>
                  <a:pt x="876" y="47"/>
                  <a:pt x="876" y="48"/>
                </a:cubicBezTo>
                <a:cubicBezTo>
                  <a:pt x="876" y="47"/>
                  <a:pt x="876" y="47"/>
                  <a:pt x="876" y="47"/>
                </a:cubicBezTo>
                <a:close/>
                <a:moveTo>
                  <a:pt x="1116" y="47"/>
                </a:moveTo>
                <a:cubicBezTo>
                  <a:pt x="1116" y="47"/>
                  <a:pt x="1116" y="47"/>
                  <a:pt x="1116" y="48"/>
                </a:cubicBezTo>
                <a:cubicBezTo>
                  <a:pt x="1116" y="47"/>
                  <a:pt x="1116" y="47"/>
                  <a:pt x="1116" y="47"/>
                </a:cubicBezTo>
                <a:close/>
                <a:moveTo>
                  <a:pt x="1295" y="47"/>
                </a:moveTo>
                <a:cubicBezTo>
                  <a:pt x="1294" y="47"/>
                  <a:pt x="1294" y="47"/>
                  <a:pt x="1294" y="48"/>
                </a:cubicBezTo>
                <a:cubicBezTo>
                  <a:pt x="1294" y="47"/>
                  <a:pt x="1294" y="47"/>
                  <a:pt x="1295" y="47"/>
                </a:cubicBezTo>
                <a:close/>
                <a:moveTo>
                  <a:pt x="833" y="47"/>
                </a:moveTo>
                <a:cubicBezTo>
                  <a:pt x="833" y="48"/>
                  <a:pt x="833" y="48"/>
                  <a:pt x="833" y="48"/>
                </a:cubicBezTo>
                <a:cubicBezTo>
                  <a:pt x="833" y="48"/>
                  <a:pt x="833" y="48"/>
                  <a:pt x="833" y="47"/>
                </a:cubicBezTo>
                <a:close/>
                <a:moveTo>
                  <a:pt x="856" y="48"/>
                </a:moveTo>
                <a:cubicBezTo>
                  <a:pt x="856" y="48"/>
                  <a:pt x="856" y="48"/>
                  <a:pt x="856" y="47"/>
                </a:cubicBezTo>
                <a:cubicBezTo>
                  <a:pt x="856" y="48"/>
                  <a:pt x="856" y="48"/>
                  <a:pt x="856" y="48"/>
                </a:cubicBezTo>
                <a:close/>
                <a:moveTo>
                  <a:pt x="876" y="47"/>
                </a:moveTo>
                <a:cubicBezTo>
                  <a:pt x="876" y="48"/>
                  <a:pt x="875" y="48"/>
                  <a:pt x="875" y="48"/>
                </a:cubicBezTo>
                <a:cubicBezTo>
                  <a:pt x="876" y="48"/>
                  <a:pt x="876" y="48"/>
                  <a:pt x="876" y="47"/>
                </a:cubicBezTo>
                <a:close/>
                <a:moveTo>
                  <a:pt x="1116" y="47"/>
                </a:moveTo>
                <a:cubicBezTo>
                  <a:pt x="1116" y="48"/>
                  <a:pt x="1116" y="48"/>
                  <a:pt x="1116" y="48"/>
                </a:cubicBezTo>
                <a:cubicBezTo>
                  <a:pt x="1116" y="48"/>
                  <a:pt x="1116" y="48"/>
                  <a:pt x="1116" y="47"/>
                </a:cubicBezTo>
                <a:close/>
                <a:moveTo>
                  <a:pt x="761" y="83"/>
                </a:moveTo>
                <a:cubicBezTo>
                  <a:pt x="761" y="84"/>
                  <a:pt x="761" y="84"/>
                  <a:pt x="762" y="84"/>
                </a:cubicBezTo>
                <a:cubicBezTo>
                  <a:pt x="762" y="84"/>
                  <a:pt x="761" y="84"/>
                  <a:pt x="761" y="83"/>
                </a:cubicBezTo>
                <a:close/>
                <a:moveTo>
                  <a:pt x="1141" y="48"/>
                </a:moveTo>
                <a:cubicBezTo>
                  <a:pt x="1141" y="48"/>
                  <a:pt x="1141" y="48"/>
                  <a:pt x="1140" y="47"/>
                </a:cubicBezTo>
                <a:cubicBezTo>
                  <a:pt x="1140" y="48"/>
                  <a:pt x="1141" y="48"/>
                  <a:pt x="1141" y="48"/>
                </a:cubicBezTo>
                <a:close/>
                <a:moveTo>
                  <a:pt x="972" y="83"/>
                </a:moveTo>
                <a:cubicBezTo>
                  <a:pt x="972" y="84"/>
                  <a:pt x="973" y="84"/>
                  <a:pt x="973" y="84"/>
                </a:cubicBezTo>
                <a:cubicBezTo>
                  <a:pt x="973" y="84"/>
                  <a:pt x="973" y="84"/>
                  <a:pt x="972" y="83"/>
                </a:cubicBezTo>
                <a:close/>
                <a:moveTo>
                  <a:pt x="1294" y="48"/>
                </a:moveTo>
                <a:cubicBezTo>
                  <a:pt x="1294" y="48"/>
                  <a:pt x="1294" y="48"/>
                  <a:pt x="1294" y="48"/>
                </a:cubicBezTo>
                <a:cubicBezTo>
                  <a:pt x="1294" y="48"/>
                  <a:pt x="1294" y="48"/>
                  <a:pt x="1294" y="48"/>
                </a:cubicBezTo>
                <a:close/>
                <a:moveTo>
                  <a:pt x="1394" y="47"/>
                </a:moveTo>
                <a:cubicBezTo>
                  <a:pt x="1393" y="48"/>
                  <a:pt x="1393" y="48"/>
                  <a:pt x="1393" y="48"/>
                </a:cubicBezTo>
                <a:cubicBezTo>
                  <a:pt x="1394" y="48"/>
                  <a:pt x="1394" y="48"/>
                  <a:pt x="1394" y="47"/>
                </a:cubicBezTo>
                <a:close/>
                <a:moveTo>
                  <a:pt x="1565" y="48"/>
                </a:moveTo>
                <a:cubicBezTo>
                  <a:pt x="1566" y="48"/>
                  <a:pt x="1566" y="48"/>
                  <a:pt x="1566" y="48"/>
                </a:cubicBezTo>
                <a:cubicBezTo>
                  <a:pt x="1566" y="48"/>
                  <a:pt x="1565" y="48"/>
                  <a:pt x="1565" y="48"/>
                </a:cubicBezTo>
                <a:close/>
                <a:moveTo>
                  <a:pt x="1734" y="48"/>
                </a:moveTo>
                <a:cubicBezTo>
                  <a:pt x="1734" y="48"/>
                  <a:pt x="1734" y="48"/>
                  <a:pt x="1734" y="48"/>
                </a:cubicBezTo>
                <a:cubicBezTo>
                  <a:pt x="1734" y="48"/>
                  <a:pt x="1734" y="48"/>
                  <a:pt x="1734" y="48"/>
                </a:cubicBezTo>
                <a:close/>
                <a:moveTo>
                  <a:pt x="563" y="48"/>
                </a:moveTo>
                <a:cubicBezTo>
                  <a:pt x="563" y="48"/>
                  <a:pt x="563" y="48"/>
                  <a:pt x="563" y="48"/>
                </a:cubicBezTo>
                <a:cubicBezTo>
                  <a:pt x="563" y="48"/>
                  <a:pt x="563" y="48"/>
                  <a:pt x="563" y="48"/>
                </a:cubicBezTo>
                <a:close/>
                <a:moveTo>
                  <a:pt x="833" y="48"/>
                </a:moveTo>
                <a:cubicBezTo>
                  <a:pt x="832" y="48"/>
                  <a:pt x="832" y="48"/>
                  <a:pt x="832" y="48"/>
                </a:cubicBezTo>
                <a:cubicBezTo>
                  <a:pt x="832" y="48"/>
                  <a:pt x="832" y="48"/>
                  <a:pt x="833" y="48"/>
                </a:cubicBezTo>
                <a:close/>
                <a:moveTo>
                  <a:pt x="875" y="48"/>
                </a:moveTo>
                <a:cubicBezTo>
                  <a:pt x="875" y="48"/>
                  <a:pt x="875" y="48"/>
                  <a:pt x="875" y="48"/>
                </a:cubicBezTo>
                <a:cubicBezTo>
                  <a:pt x="875" y="48"/>
                  <a:pt x="875" y="48"/>
                  <a:pt x="875" y="48"/>
                </a:cubicBezTo>
                <a:close/>
                <a:moveTo>
                  <a:pt x="973" y="84"/>
                </a:moveTo>
                <a:cubicBezTo>
                  <a:pt x="973" y="84"/>
                  <a:pt x="973" y="84"/>
                  <a:pt x="973" y="84"/>
                </a:cubicBezTo>
                <a:cubicBezTo>
                  <a:pt x="973" y="84"/>
                  <a:pt x="973" y="84"/>
                  <a:pt x="973" y="84"/>
                </a:cubicBezTo>
                <a:close/>
                <a:moveTo>
                  <a:pt x="899" y="48"/>
                </a:moveTo>
                <a:cubicBezTo>
                  <a:pt x="899" y="48"/>
                  <a:pt x="899" y="48"/>
                  <a:pt x="899" y="48"/>
                </a:cubicBezTo>
                <a:cubicBezTo>
                  <a:pt x="899" y="48"/>
                  <a:pt x="899" y="48"/>
                  <a:pt x="899" y="48"/>
                </a:cubicBezTo>
                <a:close/>
                <a:moveTo>
                  <a:pt x="1116" y="48"/>
                </a:moveTo>
                <a:cubicBezTo>
                  <a:pt x="1115" y="48"/>
                  <a:pt x="1115" y="48"/>
                  <a:pt x="1115" y="48"/>
                </a:cubicBezTo>
                <a:cubicBezTo>
                  <a:pt x="1115" y="48"/>
                  <a:pt x="1116" y="48"/>
                  <a:pt x="1116" y="48"/>
                </a:cubicBezTo>
                <a:close/>
                <a:moveTo>
                  <a:pt x="1381" y="48"/>
                </a:moveTo>
                <a:cubicBezTo>
                  <a:pt x="1381" y="48"/>
                  <a:pt x="1381" y="48"/>
                  <a:pt x="1381" y="48"/>
                </a:cubicBezTo>
                <a:cubicBezTo>
                  <a:pt x="1381" y="48"/>
                  <a:pt x="1381" y="48"/>
                  <a:pt x="1381" y="48"/>
                </a:cubicBezTo>
                <a:close/>
                <a:moveTo>
                  <a:pt x="1565" y="48"/>
                </a:moveTo>
                <a:cubicBezTo>
                  <a:pt x="1565" y="48"/>
                  <a:pt x="1565" y="48"/>
                  <a:pt x="1565" y="48"/>
                </a:cubicBezTo>
                <a:cubicBezTo>
                  <a:pt x="1565" y="48"/>
                  <a:pt x="1565" y="48"/>
                  <a:pt x="1565" y="48"/>
                </a:cubicBezTo>
                <a:close/>
                <a:moveTo>
                  <a:pt x="1680" y="48"/>
                </a:moveTo>
                <a:cubicBezTo>
                  <a:pt x="1680" y="48"/>
                  <a:pt x="1680" y="48"/>
                  <a:pt x="1680" y="48"/>
                </a:cubicBezTo>
                <a:cubicBezTo>
                  <a:pt x="1680" y="48"/>
                  <a:pt x="1680" y="48"/>
                  <a:pt x="1680" y="48"/>
                </a:cubicBezTo>
                <a:close/>
                <a:moveTo>
                  <a:pt x="1733" y="48"/>
                </a:moveTo>
                <a:cubicBezTo>
                  <a:pt x="1733" y="48"/>
                  <a:pt x="1734" y="48"/>
                  <a:pt x="1734" y="48"/>
                </a:cubicBezTo>
                <a:cubicBezTo>
                  <a:pt x="1733" y="48"/>
                  <a:pt x="1733" y="48"/>
                  <a:pt x="1733" y="48"/>
                </a:cubicBezTo>
                <a:close/>
                <a:moveTo>
                  <a:pt x="1115" y="48"/>
                </a:moveTo>
                <a:cubicBezTo>
                  <a:pt x="1115" y="48"/>
                  <a:pt x="1115" y="48"/>
                  <a:pt x="1115" y="49"/>
                </a:cubicBezTo>
                <a:cubicBezTo>
                  <a:pt x="1115" y="48"/>
                  <a:pt x="1115" y="48"/>
                  <a:pt x="1115" y="48"/>
                </a:cubicBezTo>
                <a:close/>
                <a:moveTo>
                  <a:pt x="1381" y="49"/>
                </a:moveTo>
                <a:cubicBezTo>
                  <a:pt x="1381" y="49"/>
                  <a:pt x="1381" y="48"/>
                  <a:pt x="1381" y="48"/>
                </a:cubicBezTo>
                <a:cubicBezTo>
                  <a:pt x="1381" y="48"/>
                  <a:pt x="1381" y="48"/>
                  <a:pt x="1381" y="49"/>
                </a:cubicBezTo>
                <a:close/>
                <a:moveTo>
                  <a:pt x="1393" y="48"/>
                </a:moveTo>
                <a:cubicBezTo>
                  <a:pt x="1393" y="48"/>
                  <a:pt x="1393" y="48"/>
                  <a:pt x="1393" y="49"/>
                </a:cubicBezTo>
                <a:cubicBezTo>
                  <a:pt x="1393" y="48"/>
                  <a:pt x="1393" y="48"/>
                  <a:pt x="1393" y="48"/>
                </a:cubicBezTo>
                <a:close/>
                <a:moveTo>
                  <a:pt x="899" y="49"/>
                </a:moveTo>
                <a:cubicBezTo>
                  <a:pt x="899" y="49"/>
                  <a:pt x="899" y="49"/>
                  <a:pt x="899" y="48"/>
                </a:cubicBezTo>
                <a:cubicBezTo>
                  <a:pt x="899" y="49"/>
                  <a:pt x="899" y="49"/>
                  <a:pt x="899" y="49"/>
                </a:cubicBezTo>
                <a:close/>
                <a:moveTo>
                  <a:pt x="762" y="84"/>
                </a:moveTo>
                <a:cubicBezTo>
                  <a:pt x="762" y="84"/>
                  <a:pt x="762" y="84"/>
                  <a:pt x="762" y="85"/>
                </a:cubicBezTo>
                <a:cubicBezTo>
                  <a:pt x="762" y="84"/>
                  <a:pt x="762" y="84"/>
                  <a:pt x="762" y="84"/>
                </a:cubicBezTo>
                <a:close/>
                <a:moveTo>
                  <a:pt x="958" y="84"/>
                </a:moveTo>
                <a:cubicBezTo>
                  <a:pt x="958" y="84"/>
                  <a:pt x="958" y="84"/>
                  <a:pt x="958" y="84"/>
                </a:cubicBezTo>
                <a:cubicBezTo>
                  <a:pt x="958" y="84"/>
                  <a:pt x="958" y="84"/>
                  <a:pt x="958" y="84"/>
                </a:cubicBezTo>
                <a:close/>
                <a:moveTo>
                  <a:pt x="973" y="84"/>
                </a:moveTo>
                <a:cubicBezTo>
                  <a:pt x="973" y="84"/>
                  <a:pt x="973" y="84"/>
                  <a:pt x="974" y="85"/>
                </a:cubicBezTo>
                <a:cubicBezTo>
                  <a:pt x="973" y="84"/>
                  <a:pt x="973" y="84"/>
                  <a:pt x="973" y="84"/>
                </a:cubicBezTo>
                <a:close/>
                <a:moveTo>
                  <a:pt x="1141" y="49"/>
                </a:moveTo>
                <a:cubicBezTo>
                  <a:pt x="1141" y="49"/>
                  <a:pt x="1141" y="49"/>
                  <a:pt x="1141" y="49"/>
                </a:cubicBezTo>
                <a:cubicBezTo>
                  <a:pt x="1141" y="49"/>
                  <a:pt x="1141" y="49"/>
                  <a:pt x="1141" y="49"/>
                </a:cubicBezTo>
                <a:close/>
                <a:moveTo>
                  <a:pt x="1293" y="48"/>
                </a:moveTo>
                <a:cubicBezTo>
                  <a:pt x="1293" y="49"/>
                  <a:pt x="1293" y="49"/>
                  <a:pt x="1293" y="49"/>
                </a:cubicBezTo>
                <a:cubicBezTo>
                  <a:pt x="1293" y="49"/>
                  <a:pt x="1293" y="49"/>
                  <a:pt x="1293" y="48"/>
                </a:cubicBezTo>
                <a:close/>
                <a:moveTo>
                  <a:pt x="565" y="49"/>
                </a:moveTo>
                <a:cubicBezTo>
                  <a:pt x="565" y="49"/>
                  <a:pt x="565" y="49"/>
                  <a:pt x="565" y="49"/>
                </a:cubicBezTo>
                <a:cubicBezTo>
                  <a:pt x="565" y="49"/>
                  <a:pt x="565" y="49"/>
                  <a:pt x="565" y="49"/>
                </a:cubicBezTo>
                <a:close/>
                <a:moveTo>
                  <a:pt x="832" y="49"/>
                </a:moveTo>
                <a:cubicBezTo>
                  <a:pt x="832" y="49"/>
                  <a:pt x="832" y="49"/>
                  <a:pt x="832" y="49"/>
                </a:cubicBezTo>
                <a:cubicBezTo>
                  <a:pt x="832" y="49"/>
                  <a:pt x="832" y="49"/>
                  <a:pt x="832" y="49"/>
                </a:cubicBezTo>
                <a:close/>
                <a:moveTo>
                  <a:pt x="875" y="49"/>
                </a:moveTo>
                <a:cubicBezTo>
                  <a:pt x="874" y="49"/>
                  <a:pt x="874" y="49"/>
                  <a:pt x="874" y="49"/>
                </a:cubicBezTo>
                <a:cubicBezTo>
                  <a:pt x="875" y="49"/>
                  <a:pt x="875" y="49"/>
                  <a:pt x="875" y="49"/>
                </a:cubicBezTo>
                <a:close/>
                <a:moveTo>
                  <a:pt x="1293" y="49"/>
                </a:moveTo>
                <a:cubicBezTo>
                  <a:pt x="1293" y="49"/>
                  <a:pt x="1293" y="49"/>
                  <a:pt x="1293" y="49"/>
                </a:cubicBezTo>
                <a:cubicBezTo>
                  <a:pt x="1293" y="49"/>
                  <a:pt x="1293" y="49"/>
                  <a:pt x="1293" y="49"/>
                </a:cubicBezTo>
                <a:close/>
                <a:moveTo>
                  <a:pt x="1564" y="49"/>
                </a:moveTo>
                <a:cubicBezTo>
                  <a:pt x="1565" y="49"/>
                  <a:pt x="1565" y="49"/>
                  <a:pt x="1565" y="49"/>
                </a:cubicBezTo>
                <a:cubicBezTo>
                  <a:pt x="1565" y="49"/>
                  <a:pt x="1564" y="49"/>
                  <a:pt x="1564" y="49"/>
                </a:cubicBezTo>
                <a:close/>
                <a:moveTo>
                  <a:pt x="1577" y="49"/>
                </a:moveTo>
                <a:cubicBezTo>
                  <a:pt x="1577" y="49"/>
                  <a:pt x="1577" y="49"/>
                  <a:pt x="1577" y="49"/>
                </a:cubicBezTo>
                <a:cubicBezTo>
                  <a:pt x="1577" y="49"/>
                  <a:pt x="1577" y="49"/>
                  <a:pt x="1577" y="49"/>
                </a:cubicBezTo>
                <a:close/>
                <a:moveTo>
                  <a:pt x="1679" y="49"/>
                </a:moveTo>
                <a:cubicBezTo>
                  <a:pt x="1679" y="49"/>
                  <a:pt x="1679" y="49"/>
                  <a:pt x="1679" y="49"/>
                </a:cubicBezTo>
                <a:cubicBezTo>
                  <a:pt x="1679" y="49"/>
                  <a:pt x="1679" y="49"/>
                  <a:pt x="1679" y="49"/>
                </a:cubicBezTo>
                <a:close/>
                <a:moveTo>
                  <a:pt x="1732" y="49"/>
                </a:moveTo>
                <a:cubicBezTo>
                  <a:pt x="1733" y="49"/>
                  <a:pt x="1733" y="49"/>
                  <a:pt x="1733" y="49"/>
                </a:cubicBezTo>
                <a:cubicBezTo>
                  <a:pt x="1733" y="49"/>
                  <a:pt x="1733" y="49"/>
                  <a:pt x="1732" y="49"/>
                </a:cubicBezTo>
                <a:close/>
                <a:moveTo>
                  <a:pt x="974" y="84"/>
                </a:moveTo>
                <a:cubicBezTo>
                  <a:pt x="974" y="85"/>
                  <a:pt x="974" y="85"/>
                  <a:pt x="974" y="85"/>
                </a:cubicBezTo>
                <a:cubicBezTo>
                  <a:pt x="974" y="85"/>
                  <a:pt x="974" y="85"/>
                  <a:pt x="974" y="84"/>
                </a:cubicBezTo>
                <a:close/>
                <a:moveTo>
                  <a:pt x="1745" y="49"/>
                </a:moveTo>
                <a:cubicBezTo>
                  <a:pt x="1745" y="49"/>
                  <a:pt x="1745" y="49"/>
                  <a:pt x="1745" y="49"/>
                </a:cubicBezTo>
                <a:cubicBezTo>
                  <a:pt x="1745" y="49"/>
                  <a:pt x="1745" y="49"/>
                  <a:pt x="1745" y="49"/>
                </a:cubicBezTo>
                <a:close/>
                <a:moveTo>
                  <a:pt x="1222" y="84"/>
                </a:moveTo>
                <a:cubicBezTo>
                  <a:pt x="1222" y="85"/>
                  <a:pt x="1222" y="85"/>
                  <a:pt x="1222" y="85"/>
                </a:cubicBezTo>
                <a:cubicBezTo>
                  <a:pt x="1222" y="85"/>
                  <a:pt x="1222" y="85"/>
                  <a:pt x="1222" y="84"/>
                </a:cubicBezTo>
                <a:close/>
                <a:moveTo>
                  <a:pt x="565" y="49"/>
                </a:moveTo>
                <a:cubicBezTo>
                  <a:pt x="565" y="50"/>
                  <a:pt x="565" y="50"/>
                  <a:pt x="566" y="50"/>
                </a:cubicBezTo>
                <a:cubicBezTo>
                  <a:pt x="566" y="49"/>
                  <a:pt x="565" y="49"/>
                  <a:pt x="565" y="49"/>
                </a:cubicBezTo>
                <a:close/>
                <a:moveTo>
                  <a:pt x="1142" y="50"/>
                </a:moveTo>
                <a:cubicBezTo>
                  <a:pt x="1142" y="49"/>
                  <a:pt x="1142" y="49"/>
                  <a:pt x="1141" y="49"/>
                </a:cubicBezTo>
                <a:cubicBezTo>
                  <a:pt x="1141" y="49"/>
                  <a:pt x="1142" y="50"/>
                  <a:pt x="1142" y="50"/>
                </a:cubicBezTo>
                <a:close/>
                <a:moveTo>
                  <a:pt x="1393" y="49"/>
                </a:moveTo>
                <a:cubicBezTo>
                  <a:pt x="1392" y="49"/>
                  <a:pt x="1392" y="49"/>
                  <a:pt x="1392" y="50"/>
                </a:cubicBezTo>
                <a:cubicBezTo>
                  <a:pt x="1392" y="50"/>
                  <a:pt x="1393" y="49"/>
                  <a:pt x="1393" y="49"/>
                </a:cubicBezTo>
                <a:close/>
                <a:moveTo>
                  <a:pt x="1564" y="50"/>
                </a:moveTo>
                <a:cubicBezTo>
                  <a:pt x="1564" y="50"/>
                  <a:pt x="1564" y="50"/>
                  <a:pt x="1564" y="49"/>
                </a:cubicBezTo>
                <a:cubicBezTo>
                  <a:pt x="1564" y="49"/>
                  <a:pt x="1564" y="50"/>
                  <a:pt x="1564" y="50"/>
                </a:cubicBezTo>
                <a:close/>
                <a:moveTo>
                  <a:pt x="974" y="85"/>
                </a:moveTo>
                <a:cubicBezTo>
                  <a:pt x="974" y="85"/>
                  <a:pt x="974" y="85"/>
                  <a:pt x="974" y="85"/>
                </a:cubicBezTo>
                <a:cubicBezTo>
                  <a:pt x="974" y="85"/>
                  <a:pt x="974" y="85"/>
                  <a:pt x="974" y="85"/>
                </a:cubicBezTo>
                <a:close/>
                <a:moveTo>
                  <a:pt x="1679" y="49"/>
                </a:moveTo>
                <a:cubicBezTo>
                  <a:pt x="1679" y="49"/>
                  <a:pt x="1678" y="49"/>
                  <a:pt x="1678" y="50"/>
                </a:cubicBezTo>
                <a:cubicBezTo>
                  <a:pt x="1679" y="50"/>
                  <a:pt x="1679" y="49"/>
                  <a:pt x="1679" y="49"/>
                </a:cubicBezTo>
                <a:close/>
                <a:moveTo>
                  <a:pt x="1732" y="50"/>
                </a:moveTo>
                <a:cubicBezTo>
                  <a:pt x="1732" y="50"/>
                  <a:pt x="1732" y="50"/>
                  <a:pt x="1732" y="49"/>
                </a:cubicBezTo>
                <a:cubicBezTo>
                  <a:pt x="1732" y="49"/>
                  <a:pt x="1732" y="50"/>
                  <a:pt x="1732" y="50"/>
                </a:cubicBezTo>
                <a:close/>
                <a:moveTo>
                  <a:pt x="1114" y="50"/>
                </a:moveTo>
                <a:cubicBezTo>
                  <a:pt x="1114" y="50"/>
                  <a:pt x="1114" y="50"/>
                  <a:pt x="1114" y="50"/>
                </a:cubicBezTo>
                <a:cubicBezTo>
                  <a:pt x="1114" y="50"/>
                  <a:pt x="1114" y="50"/>
                  <a:pt x="1114" y="50"/>
                </a:cubicBezTo>
                <a:close/>
                <a:moveTo>
                  <a:pt x="1379" y="50"/>
                </a:moveTo>
                <a:cubicBezTo>
                  <a:pt x="1380" y="50"/>
                  <a:pt x="1380" y="50"/>
                  <a:pt x="1380" y="50"/>
                </a:cubicBezTo>
                <a:cubicBezTo>
                  <a:pt x="1380" y="50"/>
                  <a:pt x="1380" y="50"/>
                  <a:pt x="1379" y="50"/>
                </a:cubicBezTo>
                <a:close/>
                <a:moveTo>
                  <a:pt x="1564" y="50"/>
                </a:moveTo>
                <a:cubicBezTo>
                  <a:pt x="1564" y="50"/>
                  <a:pt x="1564" y="50"/>
                  <a:pt x="1564" y="50"/>
                </a:cubicBezTo>
                <a:cubicBezTo>
                  <a:pt x="1564" y="50"/>
                  <a:pt x="1564" y="50"/>
                  <a:pt x="1564" y="50"/>
                </a:cubicBezTo>
                <a:close/>
                <a:moveTo>
                  <a:pt x="1678" y="50"/>
                </a:moveTo>
                <a:cubicBezTo>
                  <a:pt x="1678" y="50"/>
                  <a:pt x="1678" y="50"/>
                  <a:pt x="1678" y="50"/>
                </a:cubicBezTo>
                <a:cubicBezTo>
                  <a:pt x="1678" y="50"/>
                  <a:pt x="1678" y="50"/>
                  <a:pt x="1678" y="50"/>
                </a:cubicBezTo>
                <a:close/>
                <a:moveTo>
                  <a:pt x="1732" y="50"/>
                </a:moveTo>
                <a:cubicBezTo>
                  <a:pt x="1732" y="50"/>
                  <a:pt x="1732" y="50"/>
                  <a:pt x="1732" y="50"/>
                </a:cubicBezTo>
                <a:cubicBezTo>
                  <a:pt x="1732" y="50"/>
                  <a:pt x="1732" y="50"/>
                  <a:pt x="1732" y="50"/>
                </a:cubicBezTo>
                <a:close/>
                <a:moveTo>
                  <a:pt x="874" y="50"/>
                </a:moveTo>
                <a:cubicBezTo>
                  <a:pt x="874" y="50"/>
                  <a:pt x="874" y="50"/>
                  <a:pt x="874" y="50"/>
                </a:cubicBezTo>
                <a:cubicBezTo>
                  <a:pt x="874" y="50"/>
                  <a:pt x="874" y="50"/>
                  <a:pt x="874" y="50"/>
                </a:cubicBezTo>
                <a:close/>
                <a:moveTo>
                  <a:pt x="1292" y="50"/>
                </a:moveTo>
                <a:cubicBezTo>
                  <a:pt x="1292" y="50"/>
                  <a:pt x="1292" y="50"/>
                  <a:pt x="1292" y="50"/>
                </a:cubicBezTo>
                <a:cubicBezTo>
                  <a:pt x="1292" y="50"/>
                  <a:pt x="1292" y="50"/>
                  <a:pt x="1292" y="50"/>
                </a:cubicBezTo>
                <a:close/>
                <a:moveTo>
                  <a:pt x="1379" y="50"/>
                </a:moveTo>
                <a:cubicBezTo>
                  <a:pt x="1379" y="50"/>
                  <a:pt x="1379" y="50"/>
                  <a:pt x="1379" y="50"/>
                </a:cubicBezTo>
                <a:cubicBezTo>
                  <a:pt x="1379" y="50"/>
                  <a:pt x="1379" y="50"/>
                  <a:pt x="1379" y="50"/>
                </a:cubicBezTo>
                <a:close/>
                <a:moveTo>
                  <a:pt x="1563" y="50"/>
                </a:moveTo>
                <a:cubicBezTo>
                  <a:pt x="1564" y="50"/>
                  <a:pt x="1564" y="50"/>
                  <a:pt x="1564" y="50"/>
                </a:cubicBezTo>
                <a:cubicBezTo>
                  <a:pt x="1563" y="50"/>
                  <a:pt x="1563" y="50"/>
                  <a:pt x="1563" y="50"/>
                </a:cubicBezTo>
                <a:close/>
                <a:moveTo>
                  <a:pt x="762" y="85"/>
                </a:moveTo>
                <a:cubicBezTo>
                  <a:pt x="762" y="85"/>
                  <a:pt x="762" y="86"/>
                  <a:pt x="763" y="86"/>
                </a:cubicBezTo>
                <a:cubicBezTo>
                  <a:pt x="763" y="85"/>
                  <a:pt x="762" y="85"/>
                  <a:pt x="762" y="85"/>
                </a:cubicBezTo>
                <a:close/>
                <a:moveTo>
                  <a:pt x="959" y="86"/>
                </a:moveTo>
                <a:cubicBezTo>
                  <a:pt x="959" y="85"/>
                  <a:pt x="959" y="85"/>
                  <a:pt x="959" y="85"/>
                </a:cubicBezTo>
                <a:cubicBezTo>
                  <a:pt x="959" y="85"/>
                  <a:pt x="959" y="85"/>
                  <a:pt x="959" y="86"/>
                </a:cubicBezTo>
                <a:close/>
                <a:moveTo>
                  <a:pt x="974" y="85"/>
                </a:moveTo>
                <a:cubicBezTo>
                  <a:pt x="974" y="85"/>
                  <a:pt x="974" y="85"/>
                  <a:pt x="975" y="85"/>
                </a:cubicBezTo>
                <a:cubicBezTo>
                  <a:pt x="975" y="85"/>
                  <a:pt x="974" y="85"/>
                  <a:pt x="974" y="85"/>
                </a:cubicBezTo>
                <a:close/>
                <a:moveTo>
                  <a:pt x="1576" y="50"/>
                </a:moveTo>
                <a:cubicBezTo>
                  <a:pt x="1576" y="50"/>
                  <a:pt x="1576" y="50"/>
                  <a:pt x="1576" y="50"/>
                </a:cubicBezTo>
                <a:cubicBezTo>
                  <a:pt x="1576" y="50"/>
                  <a:pt x="1576" y="50"/>
                  <a:pt x="1576" y="50"/>
                </a:cubicBezTo>
                <a:close/>
                <a:moveTo>
                  <a:pt x="1731" y="50"/>
                </a:moveTo>
                <a:cubicBezTo>
                  <a:pt x="1732" y="50"/>
                  <a:pt x="1732" y="50"/>
                  <a:pt x="1732" y="50"/>
                </a:cubicBezTo>
                <a:cubicBezTo>
                  <a:pt x="1732" y="50"/>
                  <a:pt x="1731" y="50"/>
                  <a:pt x="1731" y="50"/>
                </a:cubicBezTo>
                <a:close/>
                <a:moveTo>
                  <a:pt x="1745" y="50"/>
                </a:moveTo>
                <a:cubicBezTo>
                  <a:pt x="1744" y="50"/>
                  <a:pt x="1744" y="50"/>
                  <a:pt x="1744" y="50"/>
                </a:cubicBezTo>
                <a:cubicBezTo>
                  <a:pt x="1744" y="50"/>
                  <a:pt x="1744" y="50"/>
                  <a:pt x="1745" y="50"/>
                </a:cubicBezTo>
                <a:close/>
                <a:moveTo>
                  <a:pt x="1379" y="51"/>
                </a:moveTo>
                <a:cubicBezTo>
                  <a:pt x="1379" y="51"/>
                  <a:pt x="1379" y="51"/>
                  <a:pt x="1379" y="50"/>
                </a:cubicBezTo>
                <a:cubicBezTo>
                  <a:pt x="1379" y="50"/>
                  <a:pt x="1379" y="51"/>
                  <a:pt x="1379" y="51"/>
                </a:cubicBezTo>
                <a:close/>
                <a:moveTo>
                  <a:pt x="1392" y="50"/>
                </a:moveTo>
                <a:cubicBezTo>
                  <a:pt x="1392" y="50"/>
                  <a:pt x="1392" y="50"/>
                  <a:pt x="1392" y="51"/>
                </a:cubicBezTo>
                <a:cubicBezTo>
                  <a:pt x="1392" y="51"/>
                  <a:pt x="1392" y="50"/>
                  <a:pt x="1392" y="50"/>
                </a:cubicBezTo>
                <a:close/>
                <a:moveTo>
                  <a:pt x="568" y="51"/>
                </a:moveTo>
                <a:cubicBezTo>
                  <a:pt x="568" y="51"/>
                  <a:pt x="568" y="51"/>
                  <a:pt x="568" y="51"/>
                </a:cubicBezTo>
                <a:cubicBezTo>
                  <a:pt x="568" y="51"/>
                  <a:pt x="568" y="51"/>
                  <a:pt x="568" y="51"/>
                </a:cubicBezTo>
                <a:close/>
                <a:moveTo>
                  <a:pt x="1113" y="51"/>
                </a:moveTo>
                <a:cubicBezTo>
                  <a:pt x="1113" y="51"/>
                  <a:pt x="1113" y="51"/>
                  <a:pt x="1113" y="51"/>
                </a:cubicBezTo>
                <a:cubicBezTo>
                  <a:pt x="1113" y="51"/>
                  <a:pt x="1113" y="51"/>
                  <a:pt x="1113" y="51"/>
                </a:cubicBezTo>
                <a:close/>
                <a:moveTo>
                  <a:pt x="1378" y="51"/>
                </a:moveTo>
                <a:cubicBezTo>
                  <a:pt x="1379" y="51"/>
                  <a:pt x="1379" y="51"/>
                  <a:pt x="1379" y="51"/>
                </a:cubicBezTo>
                <a:cubicBezTo>
                  <a:pt x="1379" y="51"/>
                  <a:pt x="1379" y="51"/>
                  <a:pt x="1378" y="51"/>
                </a:cubicBezTo>
                <a:close/>
                <a:moveTo>
                  <a:pt x="1378" y="51"/>
                </a:moveTo>
                <a:cubicBezTo>
                  <a:pt x="1378" y="51"/>
                  <a:pt x="1378" y="51"/>
                  <a:pt x="1379" y="51"/>
                </a:cubicBezTo>
                <a:cubicBezTo>
                  <a:pt x="1378" y="51"/>
                  <a:pt x="1378" y="51"/>
                  <a:pt x="1378" y="51"/>
                </a:cubicBezTo>
                <a:close/>
                <a:moveTo>
                  <a:pt x="1045" y="85"/>
                </a:moveTo>
                <a:cubicBezTo>
                  <a:pt x="1045" y="86"/>
                  <a:pt x="1045" y="86"/>
                  <a:pt x="1045" y="86"/>
                </a:cubicBezTo>
                <a:cubicBezTo>
                  <a:pt x="1045" y="86"/>
                  <a:pt x="1045" y="86"/>
                  <a:pt x="1045" y="85"/>
                </a:cubicBezTo>
                <a:close/>
                <a:moveTo>
                  <a:pt x="1576" y="51"/>
                </a:moveTo>
                <a:cubicBezTo>
                  <a:pt x="1576" y="51"/>
                  <a:pt x="1575" y="51"/>
                  <a:pt x="1575" y="51"/>
                </a:cubicBezTo>
                <a:cubicBezTo>
                  <a:pt x="1576" y="51"/>
                  <a:pt x="1576" y="51"/>
                  <a:pt x="1576" y="51"/>
                </a:cubicBezTo>
                <a:close/>
                <a:moveTo>
                  <a:pt x="1222" y="86"/>
                </a:moveTo>
                <a:cubicBezTo>
                  <a:pt x="1222" y="86"/>
                  <a:pt x="1223" y="86"/>
                  <a:pt x="1223" y="86"/>
                </a:cubicBezTo>
                <a:cubicBezTo>
                  <a:pt x="1223" y="86"/>
                  <a:pt x="1223" y="86"/>
                  <a:pt x="1222" y="86"/>
                </a:cubicBezTo>
                <a:close/>
                <a:moveTo>
                  <a:pt x="1744" y="51"/>
                </a:moveTo>
                <a:cubicBezTo>
                  <a:pt x="1744" y="51"/>
                  <a:pt x="1744" y="51"/>
                  <a:pt x="1744" y="51"/>
                </a:cubicBezTo>
                <a:cubicBezTo>
                  <a:pt x="1744" y="51"/>
                  <a:pt x="1744" y="51"/>
                  <a:pt x="1744" y="51"/>
                </a:cubicBezTo>
                <a:close/>
                <a:moveTo>
                  <a:pt x="1378" y="52"/>
                </a:moveTo>
                <a:cubicBezTo>
                  <a:pt x="1378" y="52"/>
                  <a:pt x="1378" y="52"/>
                  <a:pt x="1378" y="51"/>
                </a:cubicBezTo>
                <a:cubicBezTo>
                  <a:pt x="1378" y="51"/>
                  <a:pt x="1378" y="52"/>
                  <a:pt x="1378" y="52"/>
                </a:cubicBezTo>
                <a:close/>
                <a:moveTo>
                  <a:pt x="1391" y="51"/>
                </a:moveTo>
                <a:cubicBezTo>
                  <a:pt x="1391" y="51"/>
                  <a:pt x="1391" y="52"/>
                  <a:pt x="1391" y="52"/>
                </a:cubicBezTo>
                <a:cubicBezTo>
                  <a:pt x="1391" y="52"/>
                  <a:pt x="1391" y="52"/>
                  <a:pt x="1391" y="51"/>
                </a:cubicBezTo>
                <a:close/>
                <a:moveTo>
                  <a:pt x="569" y="52"/>
                </a:moveTo>
                <a:cubicBezTo>
                  <a:pt x="569" y="52"/>
                  <a:pt x="570" y="52"/>
                  <a:pt x="570" y="52"/>
                </a:cubicBezTo>
                <a:cubicBezTo>
                  <a:pt x="570" y="52"/>
                  <a:pt x="570" y="52"/>
                  <a:pt x="569" y="52"/>
                </a:cubicBezTo>
                <a:close/>
                <a:moveTo>
                  <a:pt x="1377" y="52"/>
                </a:moveTo>
                <a:cubicBezTo>
                  <a:pt x="1378" y="52"/>
                  <a:pt x="1378" y="52"/>
                  <a:pt x="1378" y="52"/>
                </a:cubicBezTo>
                <a:cubicBezTo>
                  <a:pt x="1378" y="52"/>
                  <a:pt x="1377" y="52"/>
                  <a:pt x="1377" y="52"/>
                </a:cubicBezTo>
                <a:close/>
                <a:moveTo>
                  <a:pt x="570" y="52"/>
                </a:moveTo>
                <a:cubicBezTo>
                  <a:pt x="570" y="52"/>
                  <a:pt x="570" y="52"/>
                  <a:pt x="570" y="52"/>
                </a:cubicBezTo>
                <a:cubicBezTo>
                  <a:pt x="570" y="52"/>
                  <a:pt x="570" y="52"/>
                  <a:pt x="570" y="52"/>
                </a:cubicBezTo>
                <a:close/>
                <a:moveTo>
                  <a:pt x="1377" y="53"/>
                </a:moveTo>
                <a:cubicBezTo>
                  <a:pt x="1377" y="52"/>
                  <a:pt x="1377" y="52"/>
                  <a:pt x="1377" y="52"/>
                </a:cubicBezTo>
                <a:cubicBezTo>
                  <a:pt x="1377" y="52"/>
                  <a:pt x="1377" y="52"/>
                  <a:pt x="1377" y="53"/>
                </a:cubicBezTo>
                <a:close/>
                <a:moveTo>
                  <a:pt x="1575" y="52"/>
                </a:moveTo>
                <a:cubicBezTo>
                  <a:pt x="1575" y="52"/>
                  <a:pt x="1575" y="52"/>
                  <a:pt x="1575" y="52"/>
                </a:cubicBezTo>
                <a:cubicBezTo>
                  <a:pt x="1575" y="52"/>
                  <a:pt x="1575" y="52"/>
                  <a:pt x="1575" y="52"/>
                </a:cubicBezTo>
                <a:close/>
                <a:moveTo>
                  <a:pt x="1743" y="52"/>
                </a:moveTo>
                <a:cubicBezTo>
                  <a:pt x="1743" y="52"/>
                  <a:pt x="1743" y="52"/>
                  <a:pt x="1743" y="52"/>
                </a:cubicBezTo>
                <a:cubicBezTo>
                  <a:pt x="1743" y="52"/>
                  <a:pt x="1743" y="52"/>
                  <a:pt x="1743" y="52"/>
                </a:cubicBezTo>
                <a:close/>
                <a:moveTo>
                  <a:pt x="1045" y="86"/>
                </a:moveTo>
                <a:cubicBezTo>
                  <a:pt x="1045" y="86"/>
                  <a:pt x="1045" y="86"/>
                  <a:pt x="1045" y="86"/>
                </a:cubicBezTo>
                <a:cubicBezTo>
                  <a:pt x="1045" y="86"/>
                  <a:pt x="1045" y="86"/>
                  <a:pt x="1045" y="86"/>
                </a:cubicBezTo>
                <a:close/>
                <a:moveTo>
                  <a:pt x="1377" y="53"/>
                </a:moveTo>
                <a:cubicBezTo>
                  <a:pt x="1377" y="53"/>
                  <a:pt x="1377" y="53"/>
                  <a:pt x="1377" y="53"/>
                </a:cubicBezTo>
                <a:cubicBezTo>
                  <a:pt x="1377" y="53"/>
                  <a:pt x="1377" y="53"/>
                  <a:pt x="1377" y="53"/>
                </a:cubicBezTo>
                <a:close/>
                <a:moveTo>
                  <a:pt x="1575" y="52"/>
                </a:moveTo>
                <a:cubicBezTo>
                  <a:pt x="1574" y="52"/>
                  <a:pt x="1574" y="53"/>
                  <a:pt x="1574" y="53"/>
                </a:cubicBezTo>
                <a:cubicBezTo>
                  <a:pt x="1575" y="53"/>
                  <a:pt x="1575" y="53"/>
                  <a:pt x="1575" y="52"/>
                </a:cubicBezTo>
                <a:close/>
                <a:moveTo>
                  <a:pt x="1676" y="52"/>
                </a:moveTo>
                <a:cubicBezTo>
                  <a:pt x="1675" y="52"/>
                  <a:pt x="1675" y="53"/>
                  <a:pt x="1675" y="53"/>
                </a:cubicBezTo>
                <a:cubicBezTo>
                  <a:pt x="1675" y="53"/>
                  <a:pt x="1676" y="53"/>
                  <a:pt x="1676" y="52"/>
                </a:cubicBezTo>
                <a:close/>
                <a:moveTo>
                  <a:pt x="1743" y="52"/>
                </a:moveTo>
                <a:cubicBezTo>
                  <a:pt x="1743" y="52"/>
                  <a:pt x="1743" y="53"/>
                  <a:pt x="1742" y="53"/>
                </a:cubicBezTo>
                <a:cubicBezTo>
                  <a:pt x="1743" y="53"/>
                  <a:pt x="1743" y="53"/>
                  <a:pt x="1743" y="52"/>
                </a:cubicBezTo>
                <a:close/>
                <a:moveTo>
                  <a:pt x="571" y="53"/>
                </a:moveTo>
                <a:cubicBezTo>
                  <a:pt x="571" y="53"/>
                  <a:pt x="571" y="53"/>
                  <a:pt x="572" y="53"/>
                </a:cubicBezTo>
                <a:cubicBezTo>
                  <a:pt x="571" y="53"/>
                  <a:pt x="571" y="53"/>
                  <a:pt x="571" y="53"/>
                </a:cubicBezTo>
                <a:close/>
                <a:moveTo>
                  <a:pt x="1376" y="53"/>
                </a:moveTo>
                <a:cubicBezTo>
                  <a:pt x="1377" y="53"/>
                  <a:pt x="1377" y="53"/>
                  <a:pt x="1377" y="53"/>
                </a:cubicBezTo>
                <a:cubicBezTo>
                  <a:pt x="1377" y="53"/>
                  <a:pt x="1376" y="53"/>
                  <a:pt x="1376" y="53"/>
                </a:cubicBezTo>
                <a:close/>
                <a:moveTo>
                  <a:pt x="1390" y="53"/>
                </a:moveTo>
                <a:cubicBezTo>
                  <a:pt x="1390" y="53"/>
                  <a:pt x="1390" y="53"/>
                  <a:pt x="1390" y="53"/>
                </a:cubicBezTo>
                <a:cubicBezTo>
                  <a:pt x="1390" y="53"/>
                  <a:pt x="1390" y="53"/>
                  <a:pt x="1390" y="53"/>
                </a:cubicBezTo>
                <a:close/>
                <a:moveTo>
                  <a:pt x="1574" y="53"/>
                </a:moveTo>
                <a:cubicBezTo>
                  <a:pt x="1574" y="53"/>
                  <a:pt x="1574" y="53"/>
                  <a:pt x="1574" y="53"/>
                </a:cubicBezTo>
                <a:cubicBezTo>
                  <a:pt x="1574" y="53"/>
                  <a:pt x="1574" y="53"/>
                  <a:pt x="1574" y="53"/>
                </a:cubicBezTo>
                <a:close/>
                <a:moveTo>
                  <a:pt x="763" y="86"/>
                </a:moveTo>
                <a:cubicBezTo>
                  <a:pt x="763" y="86"/>
                  <a:pt x="763" y="87"/>
                  <a:pt x="763" y="87"/>
                </a:cubicBezTo>
                <a:cubicBezTo>
                  <a:pt x="763" y="86"/>
                  <a:pt x="763" y="86"/>
                  <a:pt x="763" y="86"/>
                </a:cubicBezTo>
                <a:close/>
                <a:moveTo>
                  <a:pt x="1675" y="53"/>
                </a:moveTo>
                <a:cubicBezTo>
                  <a:pt x="1675" y="53"/>
                  <a:pt x="1675" y="53"/>
                  <a:pt x="1675" y="53"/>
                </a:cubicBezTo>
                <a:cubicBezTo>
                  <a:pt x="1675" y="53"/>
                  <a:pt x="1675" y="53"/>
                  <a:pt x="1675" y="53"/>
                </a:cubicBezTo>
                <a:close/>
                <a:moveTo>
                  <a:pt x="960" y="87"/>
                </a:moveTo>
                <a:cubicBezTo>
                  <a:pt x="960" y="86"/>
                  <a:pt x="960" y="86"/>
                  <a:pt x="959" y="86"/>
                </a:cubicBezTo>
                <a:cubicBezTo>
                  <a:pt x="959" y="86"/>
                  <a:pt x="959" y="86"/>
                  <a:pt x="960" y="87"/>
                </a:cubicBezTo>
                <a:close/>
                <a:moveTo>
                  <a:pt x="976" y="86"/>
                </a:moveTo>
                <a:cubicBezTo>
                  <a:pt x="976" y="86"/>
                  <a:pt x="976" y="87"/>
                  <a:pt x="976" y="87"/>
                </a:cubicBezTo>
                <a:cubicBezTo>
                  <a:pt x="976" y="86"/>
                  <a:pt x="976" y="86"/>
                  <a:pt x="976" y="86"/>
                </a:cubicBezTo>
                <a:close/>
                <a:moveTo>
                  <a:pt x="1743" y="53"/>
                </a:moveTo>
                <a:cubicBezTo>
                  <a:pt x="1742" y="53"/>
                  <a:pt x="1742" y="53"/>
                  <a:pt x="1742" y="53"/>
                </a:cubicBezTo>
                <a:cubicBezTo>
                  <a:pt x="1742" y="53"/>
                  <a:pt x="1742" y="53"/>
                  <a:pt x="1743" y="53"/>
                </a:cubicBezTo>
                <a:close/>
                <a:moveTo>
                  <a:pt x="1741" y="54"/>
                </a:moveTo>
                <a:cubicBezTo>
                  <a:pt x="1741" y="54"/>
                  <a:pt x="1741" y="54"/>
                  <a:pt x="1741" y="54"/>
                </a:cubicBezTo>
                <a:cubicBezTo>
                  <a:pt x="1741" y="54"/>
                  <a:pt x="1741" y="54"/>
                  <a:pt x="1741" y="54"/>
                </a:cubicBezTo>
                <a:close/>
                <a:moveTo>
                  <a:pt x="1083" y="86"/>
                </a:moveTo>
                <a:cubicBezTo>
                  <a:pt x="1083" y="87"/>
                  <a:pt x="1083" y="87"/>
                  <a:pt x="1083" y="87"/>
                </a:cubicBezTo>
                <a:cubicBezTo>
                  <a:pt x="1083" y="87"/>
                  <a:pt x="1083" y="87"/>
                  <a:pt x="1083" y="87"/>
                </a:cubicBezTo>
                <a:cubicBezTo>
                  <a:pt x="1083" y="87"/>
                  <a:pt x="1083" y="87"/>
                  <a:pt x="1083" y="86"/>
                </a:cubicBezTo>
                <a:close/>
                <a:moveTo>
                  <a:pt x="1375" y="54"/>
                </a:moveTo>
                <a:cubicBezTo>
                  <a:pt x="1376" y="54"/>
                  <a:pt x="1376" y="54"/>
                  <a:pt x="1376" y="54"/>
                </a:cubicBezTo>
                <a:cubicBezTo>
                  <a:pt x="1375" y="54"/>
                  <a:pt x="1375" y="54"/>
                  <a:pt x="1375" y="54"/>
                </a:cubicBezTo>
                <a:close/>
                <a:moveTo>
                  <a:pt x="1375" y="55"/>
                </a:moveTo>
                <a:cubicBezTo>
                  <a:pt x="1375" y="55"/>
                  <a:pt x="1375" y="55"/>
                  <a:pt x="1375" y="55"/>
                </a:cubicBezTo>
                <a:cubicBezTo>
                  <a:pt x="1375" y="55"/>
                  <a:pt x="1375" y="55"/>
                  <a:pt x="1375" y="55"/>
                </a:cubicBezTo>
                <a:close/>
                <a:moveTo>
                  <a:pt x="1559" y="55"/>
                </a:moveTo>
                <a:cubicBezTo>
                  <a:pt x="1559" y="55"/>
                  <a:pt x="1559" y="55"/>
                  <a:pt x="1559" y="55"/>
                </a:cubicBezTo>
                <a:cubicBezTo>
                  <a:pt x="1559" y="55"/>
                  <a:pt x="1559" y="55"/>
                  <a:pt x="1559" y="55"/>
                </a:cubicBezTo>
                <a:close/>
                <a:moveTo>
                  <a:pt x="1573" y="54"/>
                </a:moveTo>
                <a:cubicBezTo>
                  <a:pt x="1573" y="54"/>
                  <a:pt x="1573" y="55"/>
                  <a:pt x="1573" y="55"/>
                </a:cubicBezTo>
                <a:cubicBezTo>
                  <a:pt x="1573" y="55"/>
                  <a:pt x="1573" y="55"/>
                  <a:pt x="1573" y="54"/>
                </a:cubicBezTo>
                <a:close/>
                <a:moveTo>
                  <a:pt x="1727" y="55"/>
                </a:moveTo>
                <a:cubicBezTo>
                  <a:pt x="1727" y="55"/>
                  <a:pt x="1727" y="55"/>
                  <a:pt x="1727" y="55"/>
                </a:cubicBezTo>
                <a:cubicBezTo>
                  <a:pt x="1727" y="55"/>
                  <a:pt x="1727" y="55"/>
                  <a:pt x="1727" y="55"/>
                </a:cubicBezTo>
                <a:close/>
                <a:moveTo>
                  <a:pt x="1741" y="54"/>
                </a:moveTo>
                <a:cubicBezTo>
                  <a:pt x="1741" y="54"/>
                  <a:pt x="1741" y="55"/>
                  <a:pt x="1741" y="55"/>
                </a:cubicBezTo>
                <a:cubicBezTo>
                  <a:pt x="1741" y="55"/>
                  <a:pt x="1741" y="55"/>
                  <a:pt x="1741" y="54"/>
                </a:cubicBezTo>
                <a:close/>
                <a:moveTo>
                  <a:pt x="1558" y="55"/>
                </a:moveTo>
                <a:cubicBezTo>
                  <a:pt x="1559" y="55"/>
                  <a:pt x="1559" y="55"/>
                  <a:pt x="1559" y="55"/>
                </a:cubicBezTo>
                <a:cubicBezTo>
                  <a:pt x="1559" y="55"/>
                  <a:pt x="1558" y="55"/>
                  <a:pt x="1558" y="55"/>
                </a:cubicBezTo>
                <a:close/>
                <a:moveTo>
                  <a:pt x="763" y="87"/>
                </a:moveTo>
                <a:cubicBezTo>
                  <a:pt x="763" y="87"/>
                  <a:pt x="763" y="87"/>
                  <a:pt x="764" y="87"/>
                </a:cubicBezTo>
                <a:cubicBezTo>
                  <a:pt x="764" y="87"/>
                  <a:pt x="763" y="87"/>
                  <a:pt x="763" y="87"/>
                </a:cubicBezTo>
                <a:close/>
                <a:moveTo>
                  <a:pt x="800" y="87"/>
                </a:moveTo>
                <a:cubicBezTo>
                  <a:pt x="800" y="87"/>
                  <a:pt x="801" y="87"/>
                  <a:pt x="801" y="87"/>
                </a:cubicBezTo>
                <a:cubicBezTo>
                  <a:pt x="800" y="87"/>
                  <a:pt x="800" y="87"/>
                  <a:pt x="800" y="87"/>
                </a:cubicBezTo>
                <a:close/>
                <a:moveTo>
                  <a:pt x="1573" y="55"/>
                </a:moveTo>
                <a:cubicBezTo>
                  <a:pt x="1572" y="55"/>
                  <a:pt x="1572" y="55"/>
                  <a:pt x="1572" y="55"/>
                </a:cubicBezTo>
                <a:cubicBezTo>
                  <a:pt x="1572" y="55"/>
                  <a:pt x="1573" y="55"/>
                  <a:pt x="1573" y="55"/>
                </a:cubicBezTo>
                <a:close/>
                <a:moveTo>
                  <a:pt x="960" y="87"/>
                </a:moveTo>
                <a:cubicBezTo>
                  <a:pt x="960" y="87"/>
                  <a:pt x="960" y="87"/>
                  <a:pt x="960" y="87"/>
                </a:cubicBezTo>
                <a:cubicBezTo>
                  <a:pt x="960" y="87"/>
                  <a:pt x="960" y="87"/>
                  <a:pt x="960" y="87"/>
                </a:cubicBezTo>
                <a:close/>
                <a:moveTo>
                  <a:pt x="976" y="87"/>
                </a:moveTo>
                <a:cubicBezTo>
                  <a:pt x="976" y="87"/>
                  <a:pt x="976" y="87"/>
                  <a:pt x="976" y="87"/>
                </a:cubicBezTo>
                <a:cubicBezTo>
                  <a:pt x="976" y="87"/>
                  <a:pt x="976" y="87"/>
                  <a:pt x="976" y="87"/>
                </a:cubicBezTo>
                <a:close/>
                <a:moveTo>
                  <a:pt x="1673" y="55"/>
                </a:moveTo>
                <a:cubicBezTo>
                  <a:pt x="1672" y="55"/>
                  <a:pt x="1672" y="55"/>
                  <a:pt x="1672" y="55"/>
                </a:cubicBezTo>
                <a:cubicBezTo>
                  <a:pt x="1672" y="55"/>
                  <a:pt x="1672" y="55"/>
                  <a:pt x="1673" y="55"/>
                </a:cubicBezTo>
                <a:close/>
                <a:moveTo>
                  <a:pt x="1083" y="87"/>
                </a:moveTo>
                <a:cubicBezTo>
                  <a:pt x="1083" y="87"/>
                  <a:pt x="1083" y="87"/>
                  <a:pt x="1083" y="87"/>
                </a:cubicBezTo>
                <a:cubicBezTo>
                  <a:pt x="1083" y="87"/>
                  <a:pt x="1083" y="87"/>
                  <a:pt x="1083" y="87"/>
                </a:cubicBezTo>
                <a:close/>
                <a:moveTo>
                  <a:pt x="1727" y="55"/>
                </a:moveTo>
                <a:cubicBezTo>
                  <a:pt x="1727" y="55"/>
                  <a:pt x="1727" y="55"/>
                  <a:pt x="1727" y="55"/>
                </a:cubicBezTo>
                <a:cubicBezTo>
                  <a:pt x="1727" y="55"/>
                  <a:pt x="1727" y="55"/>
                  <a:pt x="1727" y="55"/>
                </a:cubicBezTo>
                <a:close/>
                <a:moveTo>
                  <a:pt x="1741" y="55"/>
                </a:moveTo>
                <a:cubicBezTo>
                  <a:pt x="1741" y="55"/>
                  <a:pt x="1740" y="55"/>
                  <a:pt x="1740" y="55"/>
                </a:cubicBezTo>
                <a:cubicBezTo>
                  <a:pt x="1741" y="55"/>
                  <a:pt x="1741" y="55"/>
                  <a:pt x="1741" y="55"/>
                </a:cubicBezTo>
                <a:close/>
                <a:moveTo>
                  <a:pt x="575" y="55"/>
                </a:moveTo>
                <a:cubicBezTo>
                  <a:pt x="575" y="55"/>
                  <a:pt x="575" y="56"/>
                  <a:pt x="575" y="56"/>
                </a:cubicBezTo>
                <a:cubicBezTo>
                  <a:pt x="575" y="55"/>
                  <a:pt x="575" y="55"/>
                  <a:pt x="575" y="55"/>
                </a:cubicBezTo>
                <a:close/>
                <a:moveTo>
                  <a:pt x="1388" y="55"/>
                </a:moveTo>
                <a:cubicBezTo>
                  <a:pt x="1388" y="55"/>
                  <a:pt x="1388" y="55"/>
                  <a:pt x="1388" y="55"/>
                </a:cubicBezTo>
                <a:cubicBezTo>
                  <a:pt x="1388" y="55"/>
                  <a:pt x="1388" y="55"/>
                  <a:pt x="1388" y="55"/>
                </a:cubicBezTo>
                <a:close/>
                <a:moveTo>
                  <a:pt x="1558" y="56"/>
                </a:moveTo>
                <a:cubicBezTo>
                  <a:pt x="1558" y="56"/>
                  <a:pt x="1558" y="55"/>
                  <a:pt x="1558" y="55"/>
                </a:cubicBezTo>
                <a:cubicBezTo>
                  <a:pt x="1558" y="55"/>
                  <a:pt x="1558" y="55"/>
                  <a:pt x="1558" y="56"/>
                </a:cubicBezTo>
                <a:close/>
                <a:moveTo>
                  <a:pt x="1572" y="55"/>
                </a:moveTo>
                <a:cubicBezTo>
                  <a:pt x="1572" y="55"/>
                  <a:pt x="1572" y="55"/>
                  <a:pt x="1572" y="56"/>
                </a:cubicBezTo>
                <a:cubicBezTo>
                  <a:pt x="1572" y="55"/>
                  <a:pt x="1572" y="55"/>
                  <a:pt x="1572" y="55"/>
                </a:cubicBezTo>
                <a:close/>
                <a:moveTo>
                  <a:pt x="1672" y="55"/>
                </a:moveTo>
                <a:cubicBezTo>
                  <a:pt x="1672" y="55"/>
                  <a:pt x="1672" y="55"/>
                  <a:pt x="1671" y="56"/>
                </a:cubicBezTo>
                <a:cubicBezTo>
                  <a:pt x="1672" y="56"/>
                  <a:pt x="1672" y="55"/>
                  <a:pt x="1672" y="55"/>
                </a:cubicBezTo>
                <a:close/>
                <a:moveTo>
                  <a:pt x="1726" y="56"/>
                </a:moveTo>
                <a:cubicBezTo>
                  <a:pt x="1726" y="56"/>
                  <a:pt x="1726" y="55"/>
                  <a:pt x="1727" y="55"/>
                </a:cubicBezTo>
                <a:cubicBezTo>
                  <a:pt x="1726" y="55"/>
                  <a:pt x="1726" y="55"/>
                  <a:pt x="1726" y="56"/>
                </a:cubicBezTo>
                <a:close/>
                <a:moveTo>
                  <a:pt x="764" y="87"/>
                </a:moveTo>
                <a:cubicBezTo>
                  <a:pt x="764" y="87"/>
                  <a:pt x="764" y="87"/>
                  <a:pt x="764" y="87"/>
                </a:cubicBezTo>
                <a:cubicBezTo>
                  <a:pt x="764" y="87"/>
                  <a:pt x="764" y="87"/>
                  <a:pt x="764" y="87"/>
                </a:cubicBezTo>
                <a:close/>
                <a:moveTo>
                  <a:pt x="800" y="87"/>
                </a:moveTo>
                <a:cubicBezTo>
                  <a:pt x="800" y="87"/>
                  <a:pt x="800" y="87"/>
                  <a:pt x="800" y="87"/>
                </a:cubicBezTo>
                <a:cubicBezTo>
                  <a:pt x="800" y="87"/>
                  <a:pt x="800" y="87"/>
                  <a:pt x="800" y="87"/>
                </a:cubicBezTo>
                <a:close/>
                <a:moveTo>
                  <a:pt x="1740" y="55"/>
                </a:moveTo>
                <a:cubicBezTo>
                  <a:pt x="1740" y="55"/>
                  <a:pt x="1740" y="55"/>
                  <a:pt x="1740" y="56"/>
                </a:cubicBezTo>
                <a:cubicBezTo>
                  <a:pt x="1740" y="55"/>
                  <a:pt x="1740" y="55"/>
                  <a:pt x="1740" y="55"/>
                </a:cubicBezTo>
                <a:close/>
                <a:moveTo>
                  <a:pt x="1388" y="55"/>
                </a:moveTo>
                <a:cubicBezTo>
                  <a:pt x="1388" y="56"/>
                  <a:pt x="1387" y="56"/>
                  <a:pt x="1387" y="56"/>
                </a:cubicBezTo>
                <a:cubicBezTo>
                  <a:pt x="1388" y="56"/>
                  <a:pt x="1388" y="56"/>
                  <a:pt x="1388" y="55"/>
                </a:cubicBezTo>
                <a:close/>
                <a:moveTo>
                  <a:pt x="1572" y="56"/>
                </a:moveTo>
                <a:cubicBezTo>
                  <a:pt x="1572" y="56"/>
                  <a:pt x="1572" y="56"/>
                  <a:pt x="1572" y="56"/>
                </a:cubicBezTo>
                <a:cubicBezTo>
                  <a:pt x="1572" y="56"/>
                  <a:pt x="1572" y="56"/>
                  <a:pt x="1572" y="56"/>
                </a:cubicBezTo>
                <a:close/>
                <a:moveTo>
                  <a:pt x="1505" y="6"/>
                </a:moveTo>
                <a:cubicBezTo>
                  <a:pt x="1505" y="6"/>
                  <a:pt x="1505" y="6"/>
                  <a:pt x="1506" y="5"/>
                </a:cubicBezTo>
                <a:cubicBezTo>
                  <a:pt x="1505" y="6"/>
                  <a:pt x="1505" y="6"/>
                  <a:pt x="1505" y="6"/>
                </a:cubicBezTo>
                <a:close/>
                <a:moveTo>
                  <a:pt x="1046" y="87"/>
                </a:moveTo>
                <a:cubicBezTo>
                  <a:pt x="1046" y="87"/>
                  <a:pt x="1046" y="87"/>
                  <a:pt x="1046" y="87"/>
                </a:cubicBezTo>
                <a:cubicBezTo>
                  <a:pt x="1046" y="87"/>
                  <a:pt x="1046" y="87"/>
                  <a:pt x="1046" y="87"/>
                </a:cubicBezTo>
                <a:close/>
                <a:moveTo>
                  <a:pt x="1505" y="6"/>
                </a:moveTo>
                <a:cubicBezTo>
                  <a:pt x="1505" y="6"/>
                  <a:pt x="1505" y="6"/>
                  <a:pt x="1505" y="6"/>
                </a:cubicBezTo>
                <a:cubicBezTo>
                  <a:pt x="1505" y="6"/>
                  <a:pt x="1505" y="6"/>
                  <a:pt x="1505" y="6"/>
                </a:cubicBezTo>
                <a:close/>
                <a:moveTo>
                  <a:pt x="1740" y="56"/>
                </a:moveTo>
                <a:cubicBezTo>
                  <a:pt x="1740" y="56"/>
                  <a:pt x="1740" y="56"/>
                  <a:pt x="1740" y="56"/>
                </a:cubicBezTo>
                <a:cubicBezTo>
                  <a:pt x="1740" y="56"/>
                  <a:pt x="1740" y="56"/>
                  <a:pt x="1740" y="56"/>
                </a:cubicBezTo>
                <a:close/>
                <a:moveTo>
                  <a:pt x="1224" y="87"/>
                </a:moveTo>
                <a:cubicBezTo>
                  <a:pt x="1224" y="87"/>
                  <a:pt x="1224" y="87"/>
                  <a:pt x="1224" y="87"/>
                </a:cubicBezTo>
                <a:cubicBezTo>
                  <a:pt x="1224" y="87"/>
                  <a:pt x="1224" y="87"/>
                  <a:pt x="1224" y="87"/>
                </a:cubicBezTo>
                <a:close/>
                <a:moveTo>
                  <a:pt x="1504" y="7"/>
                </a:moveTo>
                <a:cubicBezTo>
                  <a:pt x="1504" y="7"/>
                  <a:pt x="1504" y="7"/>
                  <a:pt x="1504" y="7"/>
                </a:cubicBezTo>
                <a:cubicBezTo>
                  <a:pt x="1504" y="7"/>
                  <a:pt x="1504" y="7"/>
                  <a:pt x="1504" y="7"/>
                </a:cubicBezTo>
                <a:close/>
                <a:moveTo>
                  <a:pt x="1503" y="7"/>
                </a:moveTo>
                <a:cubicBezTo>
                  <a:pt x="1504" y="7"/>
                  <a:pt x="1504" y="7"/>
                  <a:pt x="1504" y="7"/>
                </a:cubicBezTo>
                <a:cubicBezTo>
                  <a:pt x="1504" y="7"/>
                  <a:pt x="1503" y="7"/>
                  <a:pt x="1503" y="7"/>
                </a:cubicBezTo>
                <a:close/>
                <a:moveTo>
                  <a:pt x="1503" y="7"/>
                </a:moveTo>
                <a:cubicBezTo>
                  <a:pt x="1503" y="7"/>
                  <a:pt x="1503" y="7"/>
                  <a:pt x="1503" y="7"/>
                </a:cubicBezTo>
                <a:cubicBezTo>
                  <a:pt x="1503" y="7"/>
                  <a:pt x="1503" y="7"/>
                  <a:pt x="1503" y="7"/>
                </a:cubicBezTo>
                <a:close/>
                <a:moveTo>
                  <a:pt x="1727" y="55"/>
                </a:moveTo>
                <a:cubicBezTo>
                  <a:pt x="1727" y="55"/>
                  <a:pt x="1728" y="54"/>
                  <a:pt x="1728" y="54"/>
                </a:cubicBezTo>
                <a:cubicBezTo>
                  <a:pt x="1727" y="54"/>
                  <a:pt x="1727" y="54"/>
                  <a:pt x="1727" y="55"/>
                </a:cubicBezTo>
                <a:close/>
                <a:moveTo>
                  <a:pt x="1502" y="8"/>
                </a:moveTo>
                <a:cubicBezTo>
                  <a:pt x="1502" y="8"/>
                  <a:pt x="1502" y="8"/>
                  <a:pt x="1502" y="8"/>
                </a:cubicBezTo>
                <a:cubicBezTo>
                  <a:pt x="1502" y="8"/>
                  <a:pt x="1502" y="8"/>
                  <a:pt x="1502" y="8"/>
                </a:cubicBezTo>
                <a:close/>
                <a:moveTo>
                  <a:pt x="1373" y="56"/>
                </a:moveTo>
                <a:cubicBezTo>
                  <a:pt x="1373" y="56"/>
                  <a:pt x="1373" y="56"/>
                  <a:pt x="1373" y="56"/>
                </a:cubicBezTo>
                <a:cubicBezTo>
                  <a:pt x="1373" y="56"/>
                  <a:pt x="1373" y="56"/>
                  <a:pt x="1373" y="56"/>
                </a:cubicBezTo>
                <a:close/>
                <a:moveTo>
                  <a:pt x="1387" y="56"/>
                </a:moveTo>
                <a:cubicBezTo>
                  <a:pt x="1387" y="56"/>
                  <a:pt x="1387" y="56"/>
                  <a:pt x="1387" y="56"/>
                </a:cubicBezTo>
                <a:cubicBezTo>
                  <a:pt x="1387" y="56"/>
                  <a:pt x="1387" y="56"/>
                  <a:pt x="1387" y="56"/>
                </a:cubicBezTo>
                <a:close/>
                <a:moveTo>
                  <a:pt x="977" y="87"/>
                </a:moveTo>
                <a:cubicBezTo>
                  <a:pt x="977" y="87"/>
                  <a:pt x="977" y="88"/>
                  <a:pt x="977" y="88"/>
                </a:cubicBezTo>
                <a:cubicBezTo>
                  <a:pt x="977" y="87"/>
                  <a:pt x="977" y="87"/>
                  <a:pt x="977" y="87"/>
                </a:cubicBezTo>
                <a:close/>
                <a:moveTo>
                  <a:pt x="1572" y="56"/>
                </a:moveTo>
                <a:cubicBezTo>
                  <a:pt x="1571" y="56"/>
                  <a:pt x="1571" y="56"/>
                  <a:pt x="1571" y="56"/>
                </a:cubicBezTo>
                <a:cubicBezTo>
                  <a:pt x="1571" y="56"/>
                  <a:pt x="1571" y="56"/>
                  <a:pt x="1572" y="56"/>
                </a:cubicBezTo>
                <a:close/>
                <a:moveTo>
                  <a:pt x="1033" y="88"/>
                </a:moveTo>
                <a:cubicBezTo>
                  <a:pt x="1033" y="87"/>
                  <a:pt x="1033" y="87"/>
                  <a:pt x="1033" y="87"/>
                </a:cubicBezTo>
                <a:cubicBezTo>
                  <a:pt x="1033" y="87"/>
                  <a:pt x="1033" y="87"/>
                  <a:pt x="1033" y="88"/>
                </a:cubicBezTo>
                <a:close/>
                <a:moveTo>
                  <a:pt x="1046" y="87"/>
                </a:moveTo>
                <a:cubicBezTo>
                  <a:pt x="1046" y="87"/>
                  <a:pt x="1046" y="88"/>
                  <a:pt x="1046" y="88"/>
                </a:cubicBezTo>
                <a:cubicBezTo>
                  <a:pt x="1046" y="87"/>
                  <a:pt x="1046" y="87"/>
                  <a:pt x="1046" y="87"/>
                </a:cubicBezTo>
                <a:close/>
                <a:moveTo>
                  <a:pt x="1082" y="88"/>
                </a:moveTo>
                <a:cubicBezTo>
                  <a:pt x="1082" y="88"/>
                  <a:pt x="1082" y="88"/>
                  <a:pt x="1082" y="87"/>
                </a:cubicBezTo>
                <a:cubicBezTo>
                  <a:pt x="1082" y="87"/>
                  <a:pt x="1082" y="87"/>
                  <a:pt x="1082" y="88"/>
                </a:cubicBezTo>
                <a:close/>
                <a:moveTo>
                  <a:pt x="1384" y="9"/>
                </a:moveTo>
                <a:cubicBezTo>
                  <a:pt x="1384" y="9"/>
                  <a:pt x="1384" y="9"/>
                  <a:pt x="1385" y="9"/>
                </a:cubicBezTo>
                <a:cubicBezTo>
                  <a:pt x="1385" y="9"/>
                  <a:pt x="1384" y="9"/>
                  <a:pt x="1384" y="9"/>
                </a:cubicBezTo>
                <a:close/>
                <a:moveTo>
                  <a:pt x="1740" y="56"/>
                </a:moveTo>
                <a:cubicBezTo>
                  <a:pt x="1740" y="56"/>
                  <a:pt x="1739" y="56"/>
                  <a:pt x="1739" y="56"/>
                </a:cubicBezTo>
                <a:cubicBezTo>
                  <a:pt x="1739" y="56"/>
                  <a:pt x="1740" y="56"/>
                  <a:pt x="1740" y="56"/>
                </a:cubicBezTo>
                <a:close/>
                <a:moveTo>
                  <a:pt x="1224" y="87"/>
                </a:moveTo>
                <a:cubicBezTo>
                  <a:pt x="1224" y="87"/>
                  <a:pt x="1224" y="88"/>
                  <a:pt x="1224" y="88"/>
                </a:cubicBezTo>
                <a:cubicBezTo>
                  <a:pt x="1224" y="87"/>
                  <a:pt x="1224" y="87"/>
                  <a:pt x="1224" y="87"/>
                </a:cubicBezTo>
                <a:close/>
                <a:moveTo>
                  <a:pt x="1259" y="88"/>
                </a:moveTo>
                <a:cubicBezTo>
                  <a:pt x="1260" y="88"/>
                  <a:pt x="1260" y="87"/>
                  <a:pt x="1260" y="87"/>
                </a:cubicBezTo>
                <a:cubicBezTo>
                  <a:pt x="1260" y="87"/>
                  <a:pt x="1260" y="87"/>
                  <a:pt x="1259" y="88"/>
                </a:cubicBezTo>
                <a:close/>
                <a:moveTo>
                  <a:pt x="576" y="56"/>
                </a:moveTo>
                <a:cubicBezTo>
                  <a:pt x="576" y="57"/>
                  <a:pt x="577" y="57"/>
                  <a:pt x="577" y="57"/>
                </a:cubicBezTo>
                <a:cubicBezTo>
                  <a:pt x="577" y="56"/>
                  <a:pt x="576" y="56"/>
                  <a:pt x="576" y="56"/>
                </a:cubicBezTo>
                <a:close/>
                <a:moveTo>
                  <a:pt x="1501" y="9"/>
                </a:moveTo>
                <a:cubicBezTo>
                  <a:pt x="1501" y="9"/>
                  <a:pt x="1501" y="9"/>
                  <a:pt x="1501" y="9"/>
                </a:cubicBezTo>
                <a:cubicBezTo>
                  <a:pt x="1501" y="9"/>
                  <a:pt x="1501" y="9"/>
                  <a:pt x="1501" y="9"/>
                </a:cubicBezTo>
                <a:close/>
                <a:moveTo>
                  <a:pt x="671" y="56"/>
                </a:moveTo>
                <a:cubicBezTo>
                  <a:pt x="671" y="56"/>
                  <a:pt x="671" y="57"/>
                  <a:pt x="671" y="57"/>
                </a:cubicBezTo>
                <a:cubicBezTo>
                  <a:pt x="671" y="57"/>
                  <a:pt x="671" y="56"/>
                  <a:pt x="671" y="56"/>
                </a:cubicBezTo>
                <a:close/>
                <a:moveTo>
                  <a:pt x="1455" y="9"/>
                </a:moveTo>
                <a:cubicBezTo>
                  <a:pt x="1455" y="9"/>
                  <a:pt x="1455" y="9"/>
                  <a:pt x="1455" y="9"/>
                </a:cubicBezTo>
                <a:cubicBezTo>
                  <a:pt x="1455" y="9"/>
                  <a:pt x="1455" y="9"/>
                  <a:pt x="1455" y="9"/>
                </a:cubicBezTo>
                <a:close/>
                <a:moveTo>
                  <a:pt x="1501" y="9"/>
                </a:moveTo>
                <a:cubicBezTo>
                  <a:pt x="1501" y="9"/>
                  <a:pt x="1501" y="9"/>
                  <a:pt x="1501" y="9"/>
                </a:cubicBezTo>
                <a:cubicBezTo>
                  <a:pt x="1501" y="9"/>
                  <a:pt x="1501" y="9"/>
                  <a:pt x="1501" y="9"/>
                </a:cubicBezTo>
                <a:close/>
                <a:moveTo>
                  <a:pt x="1426" y="10"/>
                </a:moveTo>
                <a:cubicBezTo>
                  <a:pt x="1427" y="10"/>
                  <a:pt x="1427" y="10"/>
                  <a:pt x="1427" y="9"/>
                </a:cubicBezTo>
                <a:cubicBezTo>
                  <a:pt x="1427" y="9"/>
                  <a:pt x="1427" y="9"/>
                  <a:pt x="1426" y="10"/>
                </a:cubicBezTo>
                <a:close/>
                <a:moveTo>
                  <a:pt x="1570" y="9"/>
                </a:moveTo>
                <a:cubicBezTo>
                  <a:pt x="1570" y="10"/>
                  <a:pt x="1570" y="10"/>
                  <a:pt x="1570" y="10"/>
                </a:cubicBezTo>
                <a:cubicBezTo>
                  <a:pt x="1570" y="9"/>
                  <a:pt x="1570" y="9"/>
                  <a:pt x="1570" y="9"/>
                </a:cubicBezTo>
                <a:close/>
                <a:moveTo>
                  <a:pt x="1738" y="9"/>
                </a:moveTo>
                <a:cubicBezTo>
                  <a:pt x="1738" y="10"/>
                  <a:pt x="1738" y="10"/>
                  <a:pt x="1738" y="10"/>
                </a:cubicBezTo>
                <a:cubicBezTo>
                  <a:pt x="1738" y="9"/>
                  <a:pt x="1738" y="9"/>
                  <a:pt x="1738" y="9"/>
                </a:cubicBezTo>
                <a:close/>
                <a:moveTo>
                  <a:pt x="1373" y="57"/>
                </a:moveTo>
                <a:cubicBezTo>
                  <a:pt x="1373" y="57"/>
                  <a:pt x="1373" y="56"/>
                  <a:pt x="1373" y="56"/>
                </a:cubicBezTo>
                <a:cubicBezTo>
                  <a:pt x="1373" y="56"/>
                  <a:pt x="1373" y="57"/>
                  <a:pt x="1373" y="57"/>
                </a:cubicBezTo>
                <a:close/>
                <a:moveTo>
                  <a:pt x="1387" y="56"/>
                </a:moveTo>
                <a:cubicBezTo>
                  <a:pt x="1387" y="56"/>
                  <a:pt x="1387" y="56"/>
                  <a:pt x="1387" y="57"/>
                </a:cubicBezTo>
                <a:cubicBezTo>
                  <a:pt x="1387" y="57"/>
                  <a:pt x="1387" y="56"/>
                  <a:pt x="1387" y="56"/>
                </a:cubicBezTo>
                <a:close/>
                <a:moveTo>
                  <a:pt x="1557" y="57"/>
                </a:moveTo>
                <a:cubicBezTo>
                  <a:pt x="1557" y="57"/>
                  <a:pt x="1557" y="57"/>
                  <a:pt x="1557" y="56"/>
                </a:cubicBezTo>
                <a:cubicBezTo>
                  <a:pt x="1557" y="56"/>
                  <a:pt x="1557" y="56"/>
                  <a:pt x="1557" y="57"/>
                </a:cubicBezTo>
                <a:close/>
                <a:moveTo>
                  <a:pt x="751" y="88"/>
                </a:moveTo>
                <a:cubicBezTo>
                  <a:pt x="751" y="88"/>
                  <a:pt x="751" y="88"/>
                  <a:pt x="751" y="87"/>
                </a:cubicBezTo>
                <a:cubicBezTo>
                  <a:pt x="751" y="88"/>
                  <a:pt x="751" y="88"/>
                  <a:pt x="751" y="88"/>
                </a:cubicBezTo>
                <a:close/>
                <a:moveTo>
                  <a:pt x="799" y="88"/>
                </a:moveTo>
                <a:cubicBezTo>
                  <a:pt x="799" y="88"/>
                  <a:pt x="799" y="88"/>
                  <a:pt x="799" y="88"/>
                </a:cubicBezTo>
                <a:cubicBezTo>
                  <a:pt x="799" y="88"/>
                  <a:pt x="799" y="88"/>
                  <a:pt x="799" y="88"/>
                </a:cubicBezTo>
                <a:close/>
                <a:moveTo>
                  <a:pt x="961" y="88"/>
                </a:moveTo>
                <a:cubicBezTo>
                  <a:pt x="961" y="88"/>
                  <a:pt x="961" y="88"/>
                  <a:pt x="960" y="87"/>
                </a:cubicBezTo>
                <a:cubicBezTo>
                  <a:pt x="960" y="88"/>
                  <a:pt x="961" y="88"/>
                  <a:pt x="961" y="88"/>
                </a:cubicBezTo>
                <a:close/>
                <a:moveTo>
                  <a:pt x="1571" y="56"/>
                </a:moveTo>
                <a:cubicBezTo>
                  <a:pt x="1571" y="56"/>
                  <a:pt x="1571" y="56"/>
                  <a:pt x="1571" y="57"/>
                </a:cubicBezTo>
                <a:cubicBezTo>
                  <a:pt x="1571" y="56"/>
                  <a:pt x="1571" y="56"/>
                  <a:pt x="1571" y="56"/>
                </a:cubicBezTo>
                <a:close/>
                <a:moveTo>
                  <a:pt x="549" y="10"/>
                </a:moveTo>
                <a:cubicBezTo>
                  <a:pt x="549" y="10"/>
                  <a:pt x="550" y="10"/>
                  <a:pt x="550" y="10"/>
                </a:cubicBezTo>
                <a:cubicBezTo>
                  <a:pt x="549" y="10"/>
                  <a:pt x="549" y="10"/>
                  <a:pt x="549" y="10"/>
                </a:cubicBezTo>
                <a:close/>
                <a:moveTo>
                  <a:pt x="1046" y="88"/>
                </a:moveTo>
                <a:cubicBezTo>
                  <a:pt x="1046" y="88"/>
                  <a:pt x="1046" y="88"/>
                  <a:pt x="1047" y="88"/>
                </a:cubicBezTo>
                <a:cubicBezTo>
                  <a:pt x="1047" y="88"/>
                  <a:pt x="1046" y="88"/>
                  <a:pt x="1046" y="88"/>
                </a:cubicBezTo>
                <a:close/>
                <a:moveTo>
                  <a:pt x="1725" y="57"/>
                </a:moveTo>
                <a:cubicBezTo>
                  <a:pt x="1725" y="57"/>
                  <a:pt x="1725" y="57"/>
                  <a:pt x="1725" y="56"/>
                </a:cubicBezTo>
                <a:cubicBezTo>
                  <a:pt x="1725" y="56"/>
                  <a:pt x="1725" y="56"/>
                  <a:pt x="1725" y="57"/>
                </a:cubicBezTo>
                <a:close/>
                <a:moveTo>
                  <a:pt x="1224" y="88"/>
                </a:moveTo>
                <a:cubicBezTo>
                  <a:pt x="1224" y="88"/>
                  <a:pt x="1224" y="88"/>
                  <a:pt x="1225" y="88"/>
                </a:cubicBezTo>
                <a:cubicBezTo>
                  <a:pt x="1224" y="88"/>
                  <a:pt x="1224" y="88"/>
                  <a:pt x="1224" y="88"/>
                </a:cubicBezTo>
                <a:close/>
                <a:moveTo>
                  <a:pt x="1739" y="56"/>
                </a:moveTo>
                <a:cubicBezTo>
                  <a:pt x="1739" y="56"/>
                  <a:pt x="1739" y="56"/>
                  <a:pt x="1739" y="57"/>
                </a:cubicBezTo>
                <a:cubicBezTo>
                  <a:pt x="1739" y="56"/>
                  <a:pt x="1739" y="56"/>
                  <a:pt x="1739" y="56"/>
                </a:cubicBezTo>
                <a:close/>
                <a:moveTo>
                  <a:pt x="1500" y="10"/>
                </a:moveTo>
                <a:cubicBezTo>
                  <a:pt x="1500" y="10"/>
                  <a:pt x="1500" y="10"/>
                  <a:pt x="1500" y="10"/>
                </a:cubicBezTo>
                <a:cubicBezTo>
                  <a:pt x="1500" y="10"/>
                  <a:pt x="1500" y="10"/>
                  <a:pt x="1500" y="10"/>
                </a:cubicBezTo>
                <a:close/>
                <a:moveTo>
                  <a:pt x="659" y="88"/>
                </a:moveTo>
                <a:cubicBezTo>
                  <a:pt x="659" y="88"/>
                  <a:pt x="659" y="88"/>
                  <a:pt x="660" y="88"/>
                </a:cubicBezTo>
                <a:cubicBezTo>
                  <a:pt x="660" y="88"/>
                  <a:pt x="659" y="88"/>
                  <a:pt x="659" y="88"/>
                </a:cubicBezTo>
                <a:close/>
                <a:moveTo>
                  <a:pt x="1537" y="10"/>
                </a:moveTo>
                <a:cubicBezTo>
                  <a:pt x="1537" y="10"/>
                  <a:pt x="1538" y="10"/>
                  <a:pt x="1538" y="10"/>
                </a:cubicBezTo>
                <a:cubicBezTo>
                  <a:pt x="1537" y="10"/>
                  <a:pt x="1537" y="10"/>
                  <a:pt x="1537" y="10"/>
                </a:cubicBezTo>
                <a:close/>
                <a:moveTo>
                  <a:pt x="1705" y="10"/>
                </a:moveTo>
                <a:cubicBezTo>
                  <a:pt x="1705" y="10"/>
                  <a:pt x="1706" y="10"/>
                  <a:pt x="1706" y="10"/>
                </a:cubicBezTo>
                <a:cubicBezTo>
                  <a:pt x="1706" y="10"/>
                  <a:pt x="1705" y="10"/>
                  <a:pt x="1705" y="10"/>
                </a:cubicBezTo>
                <a:close/>
                <a:moveTo>
                  <a:pt x="549" y="10"/>
                </a:moveTo>
                <a:cubicBezTo>
                  <a:pt x="549" y="10"/>
                  <a:pt x="549" y="10"/>
                  <a:pt x="549" y="10"/>
                </a:cubicBezTo>
                <a:cubicBezTo>
                  <a:pt x="549" y="10"/>
                  <a:pt x="549" y="10"/>
                  <a:pt x="549" y="10"/>
                </a:cubicBezTo>
                <a:close/>
                <a:moveTo>
                  <a:pt x="961" y="88"/>
                </a:moveTo>
                <a:cubicBezTo>
                  <a:pt x="961" y="88"/>
                  <a:pt x="961" y="88"/>
                  <a:pt x="961" y="88"/>
                </a:cubicBezTo>
                <a:cubicBezTo>
                  <a:pt x="961" y="88"/>
                  <a:pt x="961" y="88"/>
                  <a:pt x="961" y="88"/>
                </a:cubicBezTo>
                <a:close/>
                <a:moveTo>
                  <a:pt x="978" y="88"/>
                </a:moveTo>
                <a:cubicBezTo>
                  <a:pt x="978" y="88"/>
                  <a:pt x="978" y="88"/>
                  <a:pt x="978" y="88"/>
                </a:cubicBezTo>
                <a:cubicBezTo>
                  <a:pt x="978" y="88"/>
                  <a:pt x="978" y="88"/>
                  <a:pt x="978" y="88"/>
                </a:cubicBezTo>
                <a:close/>
                <a:moveTo>
                  <a:pt x="1018" y="88"/>
                </a:moveTo>
                <a:cubicBezTo>
                  <a:pt x="1018" y="88"/>
                  <a:pt x="1019" y="88"/>
                  <a:pt x="1019" y="88"/>
                </a:cubicBezTo>
                <a:cubicBezTo>
                  <a:pt x="1018" y="88"/>
                  <a:pt x="1018" y="88"/>
                  <a:pt x="1018" y="88"/>
                </a:cubicBezTo>
                <a:close/>
                <a:moveTo>
                  <a:pt x="1033" y="88"/>
                </a:moveTo>
                <a:cubicBezTo>
                  <a:pt x="1033" y="88"/>
                  <a:pt x="1033" y="88"/>
                  <a:pt x="1033" y="88"/>
                </a:cubicBezTo>
                <a:cubicBezTo>
                  <a:pt x="1033" y="88"/>
                  <a:pt x="1033" y="88"/>
                  <a:pt x="1033" y="88"/>
                </a:cubicBezTo>
                <a:close/>
                <a:moveTo>
                  <a:pt x="1047" y="88"/>
                </a:moveTo>
                <a:cubicBezTo>
                  <a:pt x="1047" y="88"/>
                  <a:pt x="1047" y="88"/>
                  <a:pt x="1047" y="88"/>
                </a:cubicBezTo>
                <a:cubicBezTo>
                  <a:pt x="1047" y="88"/>
                  <a:pt x="1047" y="88"/>
                  <a:pt x="1047" y="88"/>
                </a:cubicBezTo>
                <a:close/>
                <a:moveTo>
                  <a:pt x="1080" y="88"/>
                </a:moveTo>
                <a:cubicBezTo>
                  <a:pt x="1081" y="88"/>
                  <a:pt x="1081" y="88"/>
                  <a:pt x="1081" y="88"/>
                </a:cubicBezTo>
                <a:cubicBezTo>
                  <a:pt x="1081" y="88"/>
                  <a:pt x="1081" y="88"/>
                  <a:pt x="1080" y="88"/>
                </a:cubicBezTo>
                <a:close/>
                <a:moveTo>
                  <a:pt x="1352" y="10"/>
                </a:moveTo>
                <a:cubicBezTo>
                  <a:pt x="1353" y="10"/>
                  <a:pt x="1353" y="10"/>
                  <a:pt x="1353" y="10"/>
                </a:cubicBezTo>
                <a:cubicBezTo>
                  <a:pt x="1353" y="10"/>
                  <a:pt x="1352" y="10"/>
                  <a:pt x="1352" y="10"/>
                </a:cubicBezTo>
                <a:close/>
                <a:moveTo>
                  <a:pt x="1224" y="88"/>
                </a:moveTo>
                <a:cubicBezTo>
                  <a:pt x="1225" y="88"/>
                  <a:pt x="1225" y="88"/>
                  <a:pt x="1225" y="88"/>
                </a:cubicBezTo>
                <a:cubicBezTo>
                  <a:pt x="1225" y="88"/>
                  <a:pt x="1225" y="88"/>
                  <a:pt x="1224" y="88"/>
                </a:cubicBezTo>
                <a:close/>
                <a:moveTo>
                  <a:pt x="1258" y="88"/>
                </a:moveTo>
                <a:cubicBezTo>
                  <a:pt x="1259" y="88"/>
                  <a:pt x="1259" y="88"/>
                  <a:pt x="1259" y="88"/>
                </a:cubicBezTo>
                <a:cubicBezTo>
                  <a:pt x="1259" y="88"/>
                  <a:pt x="1258" y="88"/>
                  <a:pt x="1258" y="88"/>
                </a:cubicBezTo>
                <a:close/>
                <a:moveTo>
                  <a:pt x="1387" y="10"/>
                </a:moveTo>
                <a:cubicBezTo>
                  <a:pt x="1387" y="10"/>
                  <a:pt x="1387" y="10"/>
                  <a:pt x="1387" y="10"/>
                </a:cubicBezTo>
                <a:cubicBezTo>
                  <a:pt x="1387" y="10"/>
                  <a:pt x="1387" y="10"/>
                  <a:pt x="1387" y="10"/>
                </a:cubicBezTo>
                <a:close/>
                <a:moveTo>
                  <a:pt x="1739" y="10"/>
                </a:moveTo>
                <a:cubicBezTo>
                  <a:pt x="1739" y="10"/>
                  <a:pt x="1739" y="10"/>
                  <a:pt x="1739" y="10"/>
                </a:cubicBezTo>
                <a:cubicBezTo>
                  <a:pt x="1739" y="10"/>
                  <a:pt x="1739" y="10"/>
                  <a:pt x="1739" y="10"/>
                </a:cubicBezTo>
                <a:close/>
                <a:moveTo>
                  <a:pt x="1425" y="11"/>
                </a:moveTo>
                <a:cubicBezTo>
                  <a:pt x="1425" y="11"/>
                  <a:pt x="1425" y="11"/>
                  <a:pt x="1425" y="10"/>
                </a:cubicBezTo>
                <a:cubicBezTo>
                  <a:pt x="1425" y="10"/>
                  <a:pt x="1425" y="11"/>
                  <a:pt x="1425" y="11"/>
                </a:cubicBezTo>
                <a:close/>
                <a:moveTo>
                  <a:pt x="1387" y="57"/>
                </a:moveTo>
                <a:cubicBezTo>
                  <a:pt x="1387" y="57"/>
                  <a:pt x="1386" y="57"/>
                  <a:pt x="1386" y="57"/>
                </a:cubicBezTo>
                <a:cubicBezTo>
                  <a:pt x="1387" y="57"/>
                  <a:pt x="1387" y="57"/>
                  <a:pt x="1387" y="57"/>
                </a:cubicBezTo>
                <a:close/>
                <a:moveTo>
                  <a:pt x="1682" y="88"/>
                </a:moveTo>
                <a:cubicBezTo>
                  <a:pt x="1682" y="88"/>
                  <a:pt x="1682" y="88"/>
                  <a:pt x="1682" y="88"/>
                </a:cubicBezTo>
                <a:cubicBezTo>
                  <a:pt x="1682" y="88"/>
                  <a:pt x="1682" y="88"/>
                  <a:pt x="1682" y="88"/>
                </a:cubicBezTo>
                <a:close/>
                <a:moveTo>
                  <a:pt x="1556" y="57"/>
                </a:moveTo>
                <a:cubicBezTo>
                  <a:pt x="1557" y="57"/>
                  <a:pt x="1557" y="57"/>
                  <a:pt x="1557" y="57"/>
                </a:cubicBezTo>
                <a:cubicBezTo>
                  <a:pt x="1557" y="57"/>
                  <a:pt x="1556" y="57"/>
                  <a:pt x="1556" y="57"/>
                </a:cubicBezTo>
                <a:close/>
                <a:moveTo>
                  <a:pt x="1571" y="57"/>
                </a:moveTo>
                <a:cubicBezTo>
                  <a:pt x="1571" y="57"/>
                  <a:pt x="1571" y="57"/>
                  <a:pt x="1571" y="57"/>
                </a:cubicBezTo>
                <a:cubicBezTo>
                  <a:pt x="1571" y="57"/>
                  <a:pt x="1571" y="57"/>
                  <a:pt x="1571" y="57"/>
                </a:cubicBezTo>
                <a:close/>
                <a:moveTo>
                  <a:pt x="1457" y="10"/>
                </a:moveTo>
                <a:cubicBezTo>
                  <a:pt x="1457" y="11"/>
                  <a:pt x="1457" y="11"/>
                  <a:pt x="1457" y="11"/>
                </a:cubicBezTo>
                <a:cubicBezTo>
                  <a:pt x="1457" y="11"/>
                  <a:pt x="1457" y="10"/>
                  <a:pt x="1457" y="10"/>
                </a:cubicBezTo>
                <a:close/>
                <a:moveTo>
                  <a:pt x="1724" y="57"/>
                </a:moveTo>
                <a:cubicBezTo>
                  <a:pt x="1725" y="57"/>
                  <a:pt x="1725" y="57"/>
                  <a:pt x="1725" y="57"/>
                </a:cubicBezTo>
                <a:cubicBezTo>
                  <a:pt x="1725" y="57"/>
                  <a:pt x="1725" y="57"/>
                  <a:pt x="1724" y="57"/>
                </a:cubicBezTo>
                <a:close/>
                <a:moveTo>
                  <a:pt x="751" y="89"/>
                </a:moveTo>
                <a:cubicBezTo>
                  <a:pt x="752" y="88"/>
                  <a:pt x="751" y="88"/>
                  <a:pt x="751" y="88"/>
                </a:cubicBezTo>
                <a:cubicBezTo>
                  <a:pt x="751" y="88"/>
                  <a:pt x="751" y="89"/>
                  <a:pt x="751" y="89"/>
                </a:cubicBezTo>
                <a:close/>
                <a:moveTo>
                  <a:pt x="798" y="89"/>
                </a:moveTo>
                <a:cubicBezTo>
                  <a:pt x="798" y="89"/>
                  <a:pt x="798" y="89"/>
                  <a:pt x="798" y="88"/>
                </a:cubicBezTo>
                <a:cubicBezTo>
                  <a:pt x="798" y="88"/>
                  <a:pt x="798" y="88"/>
                  <a:pt x="798" y="89"/>
                </a:cubicBezTo>
                <a:close/>
                <a:moveTo>
                  <a:pt x="1739" y="57"/>
                </a:moveTo>
                <a:cubicBezTo>
                  <a:pt x="1739" y="57"/>
                  <a:pt x="1739" y="57"/>
                  <a:pt x="1739" y="57"/>
                </a:cubicBezTo>
                <a:cubicBezTo>
                  <a:pt x="1739" y="57"/>
                  <a:pt x="1739" y="57"/>
                  <a:pt x="1739" y="57"/>
                </a:cubicBezTo>
                <a:close/>
                <a:moveTo>
                  <a:pt x="979" y="88"/>
                </a:moveTo>
                <a:cubicBezTo>
                  <a:pt x="979" y="89"/>
                  <a:pt x="979" y="89"/>
                  <a:pt x="979" y="89"/>
                </a:cubicBezTo>
                <a:cubicBezTo>
                  <a:pt x="979" y="88"/>
                  <a:pt x="979" y="88"/>
                  <a:pt x="979" y="88"/>
                </a:cubicBezTo>
                <a:close/>
                <a:moveTo>
                  <a:pt x="1017" y="89"/>
                </a:moveTo>
                <a:cubicBezTo>
                  <a:pt x="1018" y="89"/>
                  <a:pt x="1018" y="89"/>
                  <a:pt x="1018" y="88"/>
                </a:cubicBezTo>
                <a:cubicBezTo>
                  <a:pt x="1018" y="88"/>
                  <a:pt x="1018" y="88"/>
                  <a:pt x="1017" y="89"/>
                </a:cubicBezTo>
                <a:close/>
                <a:moveTo>
                  <a:pt x="1047" y="88"/>
                </a:moveTo>
                <a:cubicBezTo>
                  <a:pt x="1047" y="89"/>
                  <a:pt x="1047" y="89"/>
                  <a:pt x="1047" y="89"/>
                </a:cubicBezTo>
                <a:cubicBezTo>
                  <a:pt x="1047" y="89"/>
                  <a:pt x="1047" y="88"/>
                  <a:pt x="1047" y="88"/>
                </a:cubicBezTo>
                <a:close/>
                <a:moveTo>
                  <a:pt x="577" y="57"/>
                </a:moveTo>
                <a:cubicBezTo>
                  <a:pt x="577" y="57"/>
                  <a:pt x="578" y="57"/>
                  <a:pt x="578" y="57"/>
                </a:cubicBezTo>
                <a:cubicBezTo>
                  <a:pt x="578" y="57"/>
                  <a:pt x="578" y="57"/>
                  <a:pt x="577" y="57"/>
                </a:cubicBezTo>
                <a:close/>
                <a:moveTo>
                  <a:pt x="548" y="11"/>
                </a:moveTo>
                <a:cubicBezTo>
                  <a:pt x="548" y="11"/>
                  <a:pt x="548" y="11"/>
                  <a:pt x="548" y="11"/>
                </a:cubicBezTo>
                <a:cubicBezTo>
                  <a:pt x="548" y="11"/>
                  <a:pt x="548" y="11"/>
                  <a:pt x="548" y="11"/>
                </a:cubicBezTo>
                <a:close/>
                <a:moveTo>
                  <a:pt x="1225" y="88"/>
                </a:moveTo>
                <a:cubicBezTo>
                  <a:pt x="1225" y="89"/>
                  <a:pt x="1225" y="89"/>
                  <a:pt x="1225" y="89"/>
                </a:cubicBezTo>
                <a:cubicBezTo>
                  <a:pt x="1225" y="88"/>
                  <a:pt x="1225" y="88"/>
                  <a:pt x="1225" y="88"/>
                </a:cubicBezTo>
                <a:close/>
                <a:moveTo>
                  <a:pt x="1388" y="11"/>
                </a:moveTo>
                <a:cubicBezTo>
                  <a:pt x="1388" y="11"/>
                  <a:pt x="1388" y="11"/>
                  <a:pt x="1388" y="11"/>
                </a:cubicBezTo>
                <a:cubicBezTo>
                  <a:pt x="1388" y="11"/>
                  <a:pt x="1388" y="11"/>
                  <a:pt x="1388" y="11"/>
                </a:cubicBezTo>
                <a:close/>
                <a:moveTo>
                  <a:pt x="1386" y="57"/>
                </a:moveTo>
                <a:cubicBezTo>
                  <a:pt x="1386" y="57"/>
                  <a:pt x="1386" y="57"/>
                  <a:pt x="1386" y="57"/>
                </a:cubicBezTo>
                <a:cubicBezTo>
                  <a:pt x="1386" y="57"/>
                  <a:pt x="1386" y="57"/>
                  <a:pt x="1386" y="57"/>
                </a:cubicBezTo>
                <a:close/>
                <a:moveTo>
                  <a:pt x="1556" y="57"/>
                </a:moveTo>
                <a:cubicBezTo>
                  <a:pt x="1556" y="57"/>
                  <a:pt x="1556" y="57"/>
                  <a:pt x="1556" y="57"/>
                </a:cubicBezTo>
                <a:cubicBezTo>
                  <a:pt x="1556" y="57"/>
                  <a:pt x="1556" y="57"/>
                  <a:pt x="1556" y="57"/>
                </a:cubicBezTo>
                <a:close/>
                <a:moveTo>
                  <a:pt x="1571" y="57"/>
                </a:moveTo>
                <a:cubicBezTo>
                  <a:pt x="1570" y="57"/>
                  <a:pt x="1570" y="57"/>
                  <a:pt x="1570" y="57"/>
                </a:cubicBezTo>
                <a:cubicBezTo>
                  <a:pt x="1570" y="57"/>
                  <a:pt x="1570" y="57"/>
                  <a:pt x="1571" y="57"/>
                </a:cubicBezTo>
                <a:close/>
                <a:moveTo>
                  <a:pt x="1424" y="11"/>
                </a:moveTo>
                <a:cubicBezTo>
                  <a:pt x="1425" y="11"/>
                  <a:pt x="1425" y="11"/>
                  <a:pt x="1425" y="11"/>
                </a:cubicBezTo>
                <a:cubicBezTo>
                  <a:pt x="1425" y="11"/>
                  <a:pt x="1424" y="11"/>
                  <a:pt x="1424" y="11"/>
                </a:cubicBezTo>
                <a:close/>
                <a:moveTo>
                  <a:pt x="1724" y="57"/>
                </a:moveTo>
                <a:cubicBezTo>
                  <a:pt x="1724" y="57"/>
                  <a:pt x="1724" y="57"/>
                  <a:pt x="1724" y="57"/>
                </a:cubicBezTo>
                <a:cubicBezTo>
                  <a:pt x="1724" y="57"/>
                  <a:pt x="1724" y="57"/>
                  <a:pt x="1724" y="57"/>
                </a:cubicBezTo>
                <a:close/>
                <a:moveTo>
                  <a:pt x="1739" y="57"/>
                </a:moveTo>
                <a:cubicBezTo>
                  <a:pt x="1738" y="57"/>
                  <a:pt x="1738" y="57"/>
                  <a:pt x="1738" y="57"/>
                </a:cubicBezTo>
                <a:cubicBezTo>
                  <a:pt x="1738" y="57"/>
                  <a:pt x="1739" y="57"/>
                  <a:pt x="1739" y="57"/>
                </a:cubicBezTo>
                <a:close/>
                <a:moveTo>
                  <a:pt x="578" y="57"/>
                </a:moveTo>
                <a:cubicBezTo>
                  <a:pt x="578" y="58"/>
                  <a:pt x="578" y="58"/>
                  <a:pt x="578" y="58"/>
                </a:cubicBezTo>
                <a:cubicBezTo>
                  <a:pt x="578" y="58"/>
                  <a:pt x="578" y="57"/>
                  <a:pt x="578" y="57"/>
                </a:cubicBezTo>
                <a:close/>
                <a:moveTo>
                  <a:pt x="1498" y="11"/>
                </a:moveTo>
                <a:cubicBezTo>
                  <a:pt x="1498" y="11"/>
                  <a:pt x="1498" y="11"/>
                  <a:pt x="1498" y="11"/>
                </a:cubicBezTo>
                <a:cubicBezTo>
                  <a:pt x="1498" y="11"/>
                  <a:pt x="1498" y="11"/>
                  <a:pt x="1498" y="11"/>
                </a:cubicBezTo>
                <a:close/>
                <a:moveTo>
                  <a:pt x="1535" y="11"/>
                </a:moveTo>
                <a:cubicBezTo>
                  <a:pt x="1536" y="11"/>
                  <a:pt x="1536" y="11"/>
                  <a:pt x="1536" y="11"/>
                </a:cubicBezTo>
                <a:cubicBezTo>
                  <a:pt x="1536" y="11"/>
                  <a:pt x="1535" y="11"/>
                  <a:pt x="1535" y="11"/>
                </a:cubicBezTo>
                <a:close/>
                <a:moveTo>
                  <a:pt x="1572" y="11"/>
                </a:moveTo>
                <a:cubicBezTo>
                  <a:pt x="1572" y="11"/>
                  <a:pt x="1572" y="11"/>
                  <a:pt x="1572" y="11"/>
                </a:cubicBezTo>
                <a:cubicBezTo>
                  <a:pt x="1572" y="11"/>
                  <a:pt x="1572" y="11"/>
                  <a:pt x="1572" y="11"/>
                </a:cubicBezTo>
                <a:close/>
                <a:moveTo>
                  <a:pt x="1034" y="89"/>
                </a:moveTo>
                <a:cubicBezTo>
                  <a:pt x="1034" y="89"/>
                  <a:pt x="1034" y="89"/>
                  <a:pt x="1034" y="88"/>
                </a:cubicBezTo>
                <a:cubicBezTo>
                  <a:pt x="1034" y="89"/>
                  <a:pt x="1034" y="89"/>
                  <a:pt x="1034" y="89"/>
                </a:cubicBezTo>
                <a:close/>
                <a:moveTo>
                  <a:pt x="1047" y="89"/>
                </a:moveTo>
                <a:cubicBezTo>
                  <a:pt x="1047" y="89"/>
                  <a:pt x="1048" y="89"/>
                  <a:pt x="1048" y="89"/>
                </a:cubicBezTo>
                <a:cubicBezTo>
                  <a:pt x="1048" y="89"/>
                  <a:pt x="1047" y="89"/>
                  <a:pt x="1047" y="89"/>
                </a:cubicBezTo>
                <a:close/>
                <a:moveTo>
                  <a:pt x="1079" y="89"/>
                </a:moveTo>
                <a:cubicBezTo>
                  <a:pt x="1080" y="89"/>
                  <a:pt x="1080" y="89"/>
                  <a:pt x="1080" y="89"/>
                </a:cubicBezTo>
                <a:cubicBezTo>
                  <a:pt x="1080" y="89"/>
                  <a:pt x="1080" y="89"/>
                  <a:pt x="1079" y="89"/>
                </a:cubicBezTo>
                <a:close/>
                <a:moveTo>
                  <a:pt x="671" y="57"/>
                </a:moveTo>
                <a:cubicBezTo>
                  <a:pt x="671" y="58"/>
                  <a:pt x="672" y="58"/>
                  <a:pt x="672" y="58"/>
                </a:cubicBezTo>
                <a:cubicBezTo>
                  <a:pt x="672" y="58"/>
                  <a:pt x="672" y="57"/>
                  <a:pt x="671" y="57"/>
                </a:cubicBezTo>
                <a:close/>
                <a:moveTo>
                  <a:pt x="1225" y="89"/>
                </a:moveTo>
                <a:cubicBezTo>
                  <a:pt x="1225" y="89"/>
                  <a:pt x="1225" y="89"/>
                  <a:pt x="1226" y="89"/>
                </a:cubicBezTo>
                <a:cubicBezTo>
                  <a:pt x="1226" y="89"/>
                  <a:pt x="1225" y="89"/>
                  <a:pt x="1225" y="89"/>
                </a:cubicBezTo>
                <a:close/>
                <a:moveTo>
                  <a:pt x="1257" y="89"/>
                </a:moveTo>
                <a:cubicBezTo>
                  <a:pt x="1257" y="89"/>
                  <a:pt x="1258" y="89"/>
                  <a:pt x="1258" y="89"/>
                </a:cubicBezTo>
                <a:cubicBezTo>
                  <a:pt x="1258" y="89"/>
                  <a:pt x="1257" y="89"/>
                  <a:pt x="1257" y="89"/>
                </a:cubicBezTo>
                <a:close/>
                <a:moveTo>
                  <a:pt x="1704" y="11"/>
                </a:moveTo>
                <a:cubicBezTo>
                  <a:pt x="1704" y="11"/>
                  <a:pt x="1704" y="11"/>
                  <a:pt x="1704" y="11"/>
                </a:cubicBezTo>
                <a:cubicBezTo>
                  <a:pt x="1704" y="11"/>
                  <a:pt x="1704" y="11"/>
                  <a:pt x="1704" y="11"/>
                </a:cubicBezTo>
                <a:close/>
                <a:moveTo>
                  <a:pt x="1740" y="11"/>
                </a:moveTo>
                <a:cubicBezTo>
                  <a:pt x="1740" y="11"/>
                  <a:pt x="1740" y="11"/>
                  <a:pt x="1740" y="11"/>
                </a:cubicBezTo>
                <a:cubicBezTo>
                  <a:pt x="1740" y="11"/>
                  <a:pt x="1740" y="11"/>
                  <a:pt x="1740" y="11"/>
                </a:cubicBezTo>
                <a:close/>
                <a:moveTo>
                  <a:pt x="1371" y="58"/>
                </a:moveTo>
                <a:cubicBezTo>
                  <a:pt x="1371" y="58"/>
                  <a:pt x="1371" y="58"/>
                  <a:pt x="1372" y="57"/>
                </a:cubicBezTo>
                <a:cubicBezTo>
                  <a:pt x="1371" y="57"/>
                  <a:pt x="1371" y="58"/>
                  <a:pt x="1371" y="58"/>
                </a:cubicBezTo>
                <a:close/>
                <a:moveTo>
                  <a:pt x="1386" y="57"/>
                </a:moveTo>
                <a:cubicBezTo>
                  <a:pt x="1386" y="57"/>
                  <a:pt x="1386" y="57"/>
                  <a:pt x="1386" y="58"/>
                </a:cubicBezTo>
                <a:cubicBezTo>
                  <a:pt x="1386" y="58"/>
                  <a:pt x="1386" y="57"/>
                  <a:pt x="1386" y="57"/>
                </a:cubicBezTo>
                <a:close/>
                <a:moveTo>
                  <a:pt x="1388" y="11"/>
                </a:moveTo>
                <a:cubicBezTo>
                  <a:pt x="1388" y="11"/>
                  <a:pt x="1388" y="11"/>
                  <a:pt x="1389" y="11"/>
                </a:cubicBezTo>
                <a:cubicBezTo>
                  <a:pt x="1388" y="11"/>
                  <a:pt x="1388" y="11"/>
                  <a:pt x="1388" y="11"/>
                </a:cubicBezTo>
                <a:close/>
                <a:moveTo>
                  <a:pt x="1570" y="57"/>
                </a:moveTo>
                <a:cubicBezTo>
                  <a:pt x="1570" y="57"/>
                  <a:pt x="1570" y="57"/>
                  <a:pt x="1570" y="58"/>
                </a:cubicBezTo>
                <a:cubicBezTo>
                  <a:pt x="1570" y="58"/>
                  <a:pt x="1570" y="57"/>
                  <a:pt x="1570" y="57"/>
                </a:cubicBezTo>
                <a:close/>
                <a:moveTo>
                  <a:pt x="661" y="89"/>
                </a:moveTo>
                <a:cubicBezTo>
                  <a:pt x="661" y="89"/>
                  <a:pt x="661" y="89"/>
                  <a:pt x="661" y="89"/>
                </a:cubicBezTo>
                <a:cubicBezTo>
                  <a:pt x="661" y="89"/>
                  <a:pt x="661" y="89"/>
                  <a:pt x="661" y="89"/>
                </a:cubicBezTo>
                <a:close/>
                <a:moveTo>
                  <a:pt x="687" y="89"/>
                </a:moveTo>
                <a:cubicBezTo>
                  <a:pt x="687" y="89"/>
                  <a:pt x="687" y="89"/>
                  <a:pt x="687" y="89"/>
                </a:cubicBezTo>
                <a:cubicBezTo>
                  <a:pt x="687" y="89"/>
                  <a:pt x="687" y="89"/>
                  <a:pt x="687" y="89"/>
                </a:cubicBezTo>
                <a:close/>
                <a:moveTo>
                  <a:pt x="766" y="89"/>
                </a:moveTo>
                <a:cubicBezTo>
                  <a:pt x="766" y="89"/>
                  <a:pt x="766" y="89"/>
                  <a:pt x="766" y="89"/>
                </a:cubicBezTo>
                <a:cubicBezTo>
                  <a:pt x="766" y="89"/>
                  <a:pt x="766" y="89"/>
                  <a:pt x="766" y="89"/>
                </a:cubicBezTo>
                <a:close/>
                <a:moveTo>
                  <a:pt x="797" y="89"/>
                </a:moveTo>
                <a:cubicBezTo>
                  <a:pt x="797" y="89"/>
                  <a:pt x="797" y="89"/>
                  <a:pt x="797" y="89"/>
                </a:cubicBezTo>
                <a:cubicBezTo>
                  <a:pt x="797" y="89"/>
                  <a:pt x="797" y="89"/>
                  <a:pt x="797" y="89"/>
                </a:cubicBezTo>
                <a:close/>
                <a:moveTo>
                  <a:pt x="1672" y="11"/>
                </a:moveTo>
                <a:cubicBezTo>
                  <a:pt x="1673" y="11"/>
                  <a:pt x="1673" y="11"/>
                  <a:pt x="1673" y="11"/>
                </a:cubicBezTo>
                <a:cubicBezTo>
                  <a:pt x="1673" y="11"/>
                  <a:pt x="1673" y="11"/>
                  <a:pt x="1672" y="11"/>
                </a:cubicBezTo>
                <a:close/>
                <a:moveTo>
                  <a:pt x="546" y="12"/>
                </a:moveTo>
                <a:cubicBezTo>
                  <a:pt x="547" y="12"/>
                  <a:pt x="547" y="12"/>
                  <a:pt x="547" y="11"/>
                </a:cubicBezTo>
                <a:cubicBezTo>
                  <a:pt x="547" y="11"/>
                  <a:pt x="547" y="12"/>
                  <a:pt x="546" y="12"/>
                </a:cubicBezTo>
                <a:close/>
                <a:moveTo>
                  <a:pt x="1738" y="57"/>
                </a:moveTo>
                <a:cubicBezTo>
                  <a:pt x="1738" y="57"/>
                  <a:pt x="1738" y="57"/>
                  <a:pt x="1738" y="58"/>
                </a:cubicBezTo>
                <a:cubicBezTo>
                  <a:pt x="1738" y="58"/>
                  <a:pt x="1738" y="57"/>
                  <a:pt x="1738" y="57"/>
                </a:cubicBezTo>
                <a:close/>
                <a:moveTo>
                  <a:pt x="1048" y="89"/>
                </a:moveTo>
                <a:cubicBezTo>
                  <a:pt x="1048" y="89"/>
                  <a:pt x="1048" y="89"/>
                  <a:pt x="1048" y="89"/>
                </a:cubicBezTo>
                <a:cubicBezTo>
                  <a:pt x="1048" y="89"/>
                  <a:pt x="1048" y="89"/>
                  <a:pt x="1048" y="89"/>
                </a:cubicBezTo>
                <a:close/>
                <a:moveTo>
                  <a:pt x="1350" y="12"/>
                </a:moveTo>
                <a:cubicBezTo>
                  <a:pt x="1350" y="12"/>
                  <a:pt x="1351" y="12"/>
                  <a:pt x="1351" y="11"/>
                </a:cubicBezTo>
                <a:cubicBezTo>
                  <a:pt x="1350" y="11"/>
                  <a:pt x="1350" y="12"/>
                  <a:pt x="1350" y="12"/>
                </a:cubicBezTo>
                <a:close/>
                <a:moveTo>
                  <a:pt x="1458" y="11"/>
                </a:moveTo>
                <a:cubicBezTo>
                  <a:pt x="1458" y="12"/>
                  <a:pt x="1458" y="12"/>
                  <a:pt x="1458" y="12"/>
                </a:cubicBezTo>
                <a:cubicBezTo>
                  <a:pt x="1458" y="12"/>
                  <a:pt x="1458" y="11"/>
                  <a:pt x="1458" y="11"/>
                </a:cubicBezTo>
                <a:close/>
                <a:moveTo>
                  <a:pt x="1226" y="89"/>
                </a:moveTo>
                <a:cubicBezTo>
                  <a:pt x="1226" y="89"/>
                  <a:pt x="1226" y="89"/>
                  <a:pt x="1226" y="89"/>
                </a:cubicBezTo>
                <a:cubicBezTo>
                  <a:pt x="1226" y="89"/>
                  <a:pt x="1226" y="89"/>
                  <a:pt x="1226" y="89"/>
                </a:cubicBezTo>
                <a:close/>
                <a:moveTo>
                  <a:pt x="1497" y="12"/>
                </a:moveTo>
                <a:cubicBezTo>
                  <a:pt x="1497" y="12"/>
                  <a:pt x="1497" y="12"/>
                  <a:pt x="1497" y="11"/>
                </a:cubicBezTo>
                <a:cubicBezTo>
                  <a:pt x="1497" y="11"/>
                  <a:pt x="1497" y="12"/>
                  <a:pt x="1497" y="12"/>
                </a:cubicBezTo>
                <a:close/>
                <a:moveTo>
                  <a:pt x="672" y="58"/>
                </a:moveTo>
                <a:cubicBezTo>
                  <a:pt x="672" y="58"/>
                  <a:pt x="672" y="58"/>
                  <a:pt x="672" y="58"/>
                </a:cubicBezTo>
                <a:cubicBezTo>
                  <a:pt x="672" y="58"/>
                  <a:pt x="672" y="58"/>
                  <a:pt x="672" y="58"/>
                </a:cubicBezTo>
                <a:close/>
                <a:moveTo>
                  <a:pt x="1674" y="54"/>
                </a:moveTo>
                <a:cubicBezTo>
                  <a:pt x="1673" y="54"/>
                  <a:pt x="1673" y="54"/>
                  <a:pt x="1673" y="54"/>
                </a:cubicBezTo>
                <a:cubicBezTo>
                  <a:pt x="1673" y="54"/>
                  <a:pt x="1674" y="54"/>
                  <a:pt x="1674" y="54"/>
                </a:cubicBezTo>
                <a:close/>
                <a:moveTo>
                  <a:pt x="1534" y="12"/>
                </a:moveTo>
                <a:cubicBezTo>
                  <a:pt x="1535" y="12"/>
                  <a:pt x="1535" y="12"/>
                  <a:pt x="1535" y="11"/>
                </a:cubicBezTo>
                <a:cubicBezTo>
                  <a:pt x="1535" y="11"/>
                  <a:pt x="1534" y="12"/>
                  <a:pt x="1534" y="12"/>
                </a:cubicBezTo>
                <a:close/>
                <a:moveTo>
                  <a:pt x="1573" y="11"/>
                </a:moveTo>
                <a:cubicBezTo>
                  <a:pt x="1573" y="12"/>
                  <a:pt x="1573" y="12"/>
                  <a:pt x="1573" y="12"/>
                </a:cubicBezTo>
                <a:cubicBezTo>
                  <a:pt x="1573" y="12"/>
                  <a:pt x="1573" y="11"/>
                  <a:pt x="1573" y="11"/>
                </a:cubicBezTo>
                <a:close/>
                <a:moveTo>
                  <a:pt x="1703" y="12"/>
                </a:moveTo>
                <a:cubicBezTo>
                  <a:pt x="1703" y="12"/>
                  <a:pt x="1703" y="12"/>
                  <a:pt x="1703" y="11"/>
                </a:cubicBezTo>
                <a:cubicBezTo>
                  <a:pt x="1703" y="11"/>
                  <a:pt x="1703" y="12"/>
                  <a:pt x="1703" y="12"/>
                </a:cubicBezTo>
                <a:close/>
                <a:moveTo>
                  <a:pt x="1423" y="12"/>
                </a:moveTo>
                <a:cubicBezTo>
                  <a:pt x="1423" y="12"/>
                  <a:pt x="1423" y="12"/>
                  <a:pt x="1423" y="12"/>
                </a:cubicBezTo>
                <a:cubicBezTo>
                  <a:pt x="1423" y="12"/>
                  <a:pt x="1423" y="12"/>
                  <a:pt x="1423" y="12"/>
                </a:cubicBezTo>
                <a:close/>
                <a:moveTo>
                  <a:pt x="1371" y="58"/>
                </a:moveTo>
                <a:cubicBezTo>
                  <a:pt x="1371" y="58"/>
                  <a:pt x="1371" y="58"/>
                  <a:pt x="1371" y="58"/>
                </a:cubicBezTo>
                <a:cubicBezTo>
                  <a:pt x="1371" y="58"/>
                  <a:pt x="1371" y="58"/>
                  <a:pt x="1371" y="58"/>
                </a:cubicBezTo>
                <a:close/>
                <a:moveTo>
                  <a:pt x="1386" y="58"/>
                </a:moveTo>
                <a:cubicBezTo>
                  <a:pt x="1385" y="58"/>
                  <a:pt x="1385" y="58"/>
                  <a:pt x="1385" y="58"/>
                </a:cubicBezTo>
                <a:cubicBezTo>
                  <a:pt x="1385" y="58"/>
                  <a:pt x="1386" y="58"/>
                  <a:pt x="1386" y="58"/>
                </a:cubicBezTo>
                <a:close/>
                <a:moveTo>
                  <a:pt x="766" y="89"/>
                </a:moveTo>
                <a:cubicBezTo>
                  <a:pt x="766" y="90"/>
                  <a:pt x="766" y="90"/>
                  <a:pt x="766" y="90"/>
                </a:cubicBezTo>
                <a:cubicBezTo>
                  <a:pt x="766" y="90"/>
                  <a:pt x="766" y="89"/>
                  <a:pt x="766" y="89"/>
                </a:cubicBezTo>
                <a:close/>
                <a:moveTo>
                  <a:pt x="1555" y="58"/>
                </a:moveTo>
                <a:cubicBezTo>
                  <a:pt x="1555" y="58"/>
                  <a:pt x="1555" y="58"/>
                  <a:pt x="1555" y="58"/>
                </a:cubicBezTo>
                <a:cubicBezTo>
                  <a:pt x="1555" y="58"/>
                  <a:pt x="1555" y="58"/>
                  <a:pt x="1555" y="58"/>
                </a:cubicBezTo>
                <a:close/>
                <a:moveTo>
                  <a:pt x="962" y="90"/>
                </a:moveTo>
                <a:cubicBezTo>
                  <a:pt x="962" y="89"/>
                  <a:pt x="962" y="89"/>
                  <a:pt x="962" y="89"/>
                </a:cubicBezTo>
                <a:cubicBezTo>
                  <a:pt x="962" y="89"/>
                  <a:pt x="962" y="90"/>
                  <a:pt x="962" y="90"/>
                </a:cubicBezTo>
                <a:close/>
                <a:moveTo>
                  <a:pt x="1570" y="58"/>
                </a:moveTo>
                <a:cubicBezTo>
                  <a:pt x="1570" y="58"/>
                  <a:pt x="1570" y="58"/>
                  <a:pt x="1569" y="58"/>
                </a:cubicBezTo>
                <a:cubicBezTo>
                  <a:pt x="1570" y="58"/>
                  <a:pt x="1570" y="58"/>
                  <a:pt x="1570" y="58"/>
                </a:cubicBezTo>
                <a:close/>
                <a:moveTo>
                  <a:pt x="1458" y="12"/>
                </a:moveTo>
                <a:cubicBezTo>
                  <a:pt x="1458" y="12"/>
                  <a:pt x="1459" y="12"/>
                  <a:pt x="1459" y="12"/>
                </a:cubicBezTo>
                <a:cubicBezTo>
                  <a:pt x="1459" y="12"/>
                  <a:pt x="1459" y="12"/>
                  <a:pt x="1458" y="12"/>
                </a:cubicBezTo>
                <a:close/>
                <a:moveTo>
                  <a:pt x="1723" y="58"/>
                </a:moveTo>
                <a:cubicBezTo>
                  <a:pt x="1723" y="58"/>
                  <a:pt x="1723" y="58"/>
                  <a:pt x="1723" y="58"/>
                </a:cubicBezTo>
                <a:cubicBezTo>
                  <a:pt x="1723" y="58"/>
                  <a:pt x="1723" y="58"/>
                  <a:pt x="1723" y="58"/>
                </a:cubicBezTo>
                <a:close/>
                <a:moveTo>
                  <a:pt x="1738" y="58"/>
                </a:moveTo>
                <a:cubicBezTo>
                  <a:pt x="1738" y="58"/>
                  <a:pt x="1738" y="58"/>
                  <a:pt x="1738" y="58"/>
                </a:cubicBezTo>
                <a:cubicBezTo>
                  <a:pt x="1738" y="58"/>
                  <a:pt x="1738" y="58"/>
                  <a:pt x="1738" y="58"/>
                </a:cubicBezTo>
                <a:close/>
                <a:moveTo>
                  <a:pt x="672" y="58"/>
                </a:moveTo>
                <a:cubicBezTo>
                  <a:pt x="672" y="58"/>
                  <a:pt x="672" y="58"/>
                  <a:pt x="672" y="58"/>
                </a:cubicBezTo>
                <a:cubicBezTo>
                  <a:pt x="672" y="58"/>
                  <a:pt x="672" y="58"/>
                  <a:pt x="672" y="58"/>
                </a:cubicBezTo>
                <a:close/>
                <a:moveTo>
                  <a:pt x="1212" y="90"/>
                </a:moveTo>
                <a:cubicBezTo>
                  <a:pt x="1212" y="89"/>
                  <a:pt x="1212" y="89"/>
                  <a:pt x="1212" y="89"/>
                </a:cubicBezTo>
                <a:cubicBezTo>
                  <a:pt x="1212" y="89"/>
                  <a:pt x="1212" y="90"/>
                  <a:pt x="1212" y="90"/>
                </a:cubicBezTo>
                <a:close/>
                <a:moveTo>
                  <a:pt x="1534" y="12"/>
                </a:moveTo>
                <a:cubicBezTo>
                  <a:pt x="1534" y="12"/>
                  <a:pt x="1534" y="12"/>
                  <a:pt x="1534" y="12"/>
                </a:cubicBezTo>
                <a:cubicBezTo>
                  <a:pt x="1534" y="12"/>
                  <a:pt x="1534" y="12"/>
                  <a:pt x="1534" y="12"/>
                </a:cubicBezTo>
                <a:close/>
                <a:moveTo>
                  <a:pt x="1573" y="12"/>
                </a:moveTo>
                <a:cubicBezTo>
                  <a:pt x="1573" y="12"/>
                  <a:pt x="1573" y="12"/>
                  <a:pt x="1574" y="12"/>
                </a:cubicBezTo>
                <a:cubicBezTo>
                  <a:pt x="1574" y="12"/>
                  <a:pt x="1573" y="12"/>
                  <a:pt x="1573" y="12"/>
                </a:cubicBezTo>
                <a:close/>
                <a:moveTo>
                  <a:pt x="1416" y="90"/>
                </a:moveTo>
                <a:cubicBezTo>
                  <a:pt x="1416" y="89"/>
                  <a:pt x="1416" y="89"/>
                  <a:pt x="1416" y="89"/>
                </a:cubicBezTo>
                <a:cubicBezTo>
                  <a:pt x="1416" y="89"/>
                  <a:pt x="1416" y="90"/>
                  <a:pt x="1416" y="90"/>
                </a:cubicBezTo>
                <a:close/>
                <a:moveTo>
                  <a:pt x="1463" y="89"/>
                </a:moveTo>
                <a:cubicBezTo>
                  <a:pt x="1463" y="89"/>
                  <a:pt x="1463" y="89"/>
                  <a:pt x="1463" y="90"/>
                </a:cubicBezTo>
                <a:cubicBezTo>
                  <a:pt x="1463" y="90"/>
                  <a:pt x="1463" y="89"/>
                  <a:pt x="1463" y="89"/>
                </a:cubicBezTo>
                <a:close/>
                <a:moveTo>
                  <a:pt x="1702" y="12"/>
                </a:moveTo>
                <a:cubicBezTo>
                  <a:pt x="1702" y="12"/>
                  <a:pt x="1702" y="12"/>
                  <a:pt x="1703" y="12"/>
                </a:cubicBezTo>
                <a:cubicBezTo>
                  <a:pt x="1702" y="12"/>
                  <a:pt x="1702" y="12"/>
                  <a:pt x="1702" y="12"/>
                </a:cubicBezTo>
                <a:close/>
                <a:moveTo>
                  <a:pt x="1741" y="12"/>
                </a:moveTo>
                <a:cubicBezTo>
                  <a:pt x="1741" y="12"/>
                  <a:pt x="1742" y="12"/>
                  <a:pt x="1742" y="12"/>
                </a:cubicBezTo>
                <a:cubicBezTo>
                  <a:pt x="1742" y="12"/>
                  <a:pt x="1742" y="12"/>
                  <a:pt x="1741" y="12"/>
                </a:cubicBezTo>
                <a:close/>
                <a:moveTo>
                  <a:pt x="1555" y="58"/>
                </a:moveTo>
                <a:cubicBezTo>
                  <a:pt x="1555" y="58"/>
                  <a:pt x="1555" y="58"/>
                  <a:pt x="1555" y="58"/>
                </a:cubicBezTo>
                <a:cubicBezTo>
                  <a:pt x="1555" y="58"/>
                  <a:pt x="1555" y="58"/>
                  <a:pt x="1555" y="58"/>
                </a:cubicBezTo>
                <a:close/>
                <a:moveTo>
                  <a:pt x="1569" y="58"/>
                </a:moveTo>
                <a:cubicBezTo>
                  <a:pt x="1569" y="58"/>
                  <a:pt x="1569" y="58"/>
                  <a:pt x="1569" y="58"/>
                </a:cubicBezTo>
                <a:cubicBezTo>
                  <a:pt x="1569" y="58"/>
                  <a:pt x="1569" y="58"/>
                  <a:pt x="1569" y="58"/>
                </a:cubicBezTo>
                <a:close/>
                <a:moveTo>
                  <a:pt x="963" y="90"/>
                </a:moveTo>
                <a:cubicBezTo>
                  <a:pt x="962" y="90"/>
                  <a:pt x="962" y="90"/>
                  <a:pt x="962" y="90"/>
                </a:cubicBezTo>
                <a:cubicBezTo>
                  <a:pt x="962" y="90"/>
                  <a:pt x="962" y="90"/>
                  <a:pt x="963" y="90"/>
                </a:cubicBezTo>
                <a:close/>
                <a:moveTo>
                  <a:pt x="974" y="12"/>
                </a:moveTo>
                <a:cubicBezTo>
                  <a:pt x="974" y="12"/>
                  <a:pt x="974" y="12"/>
                  <a:pt x="974" y="12"/>
                </a:cubicBezTo>
                <a:cubicBezTo>
                  <a:pt x="974" y="12"/>
                  <a:pt x="974" y="12"/>
                  <a:pt x="974" y="12"/>
                </a:cubicBezTo>
                <a:close/>
                <a:moveTo>
                  <a:pt x="1723" y="58"/>
                </a:moveTo>
                <a:cubicBezTo>
                  <a:pt x="1723" y="58"/>
                  <a:pt x="1723" y="58"/>
                  <a:pt x="1723" y="58"/>
                </a:cubicBezTo>
                <a:cubicBezTo>
                  <a:pt x="1723" y="58"/>
                  <a:pt x="1723" y="58"/>
                  <a:pt x="1723" y="58"/>
                </a:cubicBezTo>
                <a:close/>
                <a:moveTo>
                  <a:pt x="1738" y="58"/>
                </a:moveTo>
                <a:cubicBezTo>
                  <a:pt x="1737" y="58"/>
                  <a:pt x="1737" y="58"/>
                  <a:pt x="1737" y="58"/>
                </a:cubicBezTo>
                <a:cubicBezTo>
                  <a:pt x="1737" y="58"/>
                  <a:pt x="1738" y="58"/>
                  <a:pt x="1738" y="58"/>
                </a:cubicBezTo>
                <a:close/>
                <a:moveTo>
                  <a:pt x="1049" y="90"/>
                </a:moveTo>
                <a:cubicBezTo>
                  <a:pt x="1049" y="90"/>
                  <a:pt x="1049" y="90"/>
                  <a:pt x="1049" y="90"/>
                </a:cubicBezTo>
                <a:cubicBezTo>
                  <a:pt x="1049" y="90"/>
                  <a:pt x="1049" y="90"/>
                  <a:pt x="1049" y="90"/>
                </a:cubicBezTo>
                <a:close/>
                <a:moveTo>
                  <a:pt x="1078" y="90"/>
                </a:moveTo>
                <a:cubicBezTo>
                  <a:pt x="1078" y="90"/>
                  <a:pt x="1078" y="90"/>
                  <a:pt x="1078" y="90"/>
                </a:cubicBezTo>
                <a:cubicBezTo>
                  <a:pt x="1078" y="90"/>
                  <a:pt x="1078" y="90"/>
                  <a:pt x="1078" y="90"/>
                </a:cubicBezTo>
                <a:close/>
                <a:moveTo>
                  <a:pt x="579" y="58"/>
                </a:moveTo>
                <a:cubicBezTo>
                  <a:pt x="579" y="59"/>
                  <a:pt x="579" y="59"/>
                  <a:pt x="580" y="59"/>
                </a:cubicBezTo>
                <a:cubicBezTo>
                  <a:pt x="579" y="59"/>
                  <a:pt x="579" y="58"/>
                  <a:pt x="579" y="58"/>
                </a:cubicBezTo>
                <a:close/>
                <a:moveTo>
                  <a:pt x="1349" y="12"/>
                </a:moveTo>
                <a:cubicBezTo>
                  <a:pt x="1349" y="12"/>
                  <a:pt x="1350" y="12"/>
                  <a:pt x="1350" y="12"/>
                </a:cubicBezTo>
                <a:cubicBezTo>
                  <a:pt x="1349" y="12"/>
                  <a:pt x="1349" y="12"/>
                  <a:pt x="1349" y="12"/>
                </a:cubicBezTo>
                <a:close/>
                <a:moveTo>
                  <a:pt x="1389" y="12"/>
                </a:moveTo>
                <a:cubicBezTo>
                  <a:pt x="1390" y="12"/>
                  <a:pt x="1390" y="12"/>
                  <a:pt x="1390" y="12"/>
                </a:cubicBezTo>
                <a:cubicBezTo>
                  <a:pt x="1390" y="12"/>
                  <a:pt x="1390" y="12"/>
                  <a:pt x="1389" y="12"/>
                </a:cubicBezTo>
                <a:close/>
                <a:moveTo>
                  <a:pt x="1423" y="12"/>
                </a:moveTo>
                <a:cubicBezTo>
                  <a:pt x="1423" y="12"/>
                  <a:pt x="1423" y="12"/>
                  <a:pt x="1423" y="12"/>
                </a:cubicBezTo>
                <a:cubicBezTo>
                  <a:pt x="1423" y="12"/>
                  <a:pt x="1423" y="12"/>
                  <a:pt x="1423" y="12"/>
                </a:cubicBezTo>
                <a:close/>
                <a:moveTo>
                  <a:pt x="672" y="58"/>
                </a:moveTo>
                <a:cubicBezTo>
                  <a:pt x="673" y="59"/>
                  <a:pt x="673" y="59"/>
                  <a:pt x="673" y="59"/>
                </a:cubicBezTo>
                <a:cubicBezTo>
                  <a:pt x="673" y="59"/>
                  <a:pt x="673" y="58"/>
                  <a:pt x="672" y="58"/>
                </a:cubicBezTo>
                <a:close/>
                <a:moveTo>
                  <a:pt x="1459" y="12"/>
                </a:moveTo>
                <a:cubicBezTo>
                  <a:pt x="1459" y="12"/>
                  <a:pt x="1459" y="12"/>
                  <a:pt x="1459" y="12"/>
                </a:cubicBezTo>
                <a:cubicBezTo>
                  <a:pt x="1459" y="12"/>
                  <a:pt x="1459" y="12"/>
                  <a:pt x="1459" y="12"/>
                </a:cubicBezTo>
                <a:close/>
                <a:moveTo>
                  <a:pt x="1574" y="12"/>
                </a:moveTo>
                <a:cubicBezTo>
                  <a:pt x="1574" y="12"/>
                  <a:pt x="1574" y="12"/>
                  <a:pt x="1574" y="12"/>
                </a:cubicBezTo>
                <a:cubicBezTo>
                  <a:pt x="1574" y="12"/>
                  <a:pt x="1574" y="12"/>
                  <a:pt x="1574" y="12"/>
                </a:cubicBezTo>
                <a:close/>
                <a:moveTo>
                  <a:pt x="586" y="90"/>
                </a:moveTo>
                <a:cubicBezTo>
                  <a:pt x="586" y="90"/>
                  <a:pt x="586" y="90"/>
                  <a:pt x="586" y="90"/>
                </a:cubicBezTo>
                <a:cubicBezTo>
                  <a:pt x="586" y="90"/>
                  <a:pt x="586" y="90"/>
                  <a:pt x="586" y="90"/>
                </a:cubicBezTo>
                <a:close/>
                <a:moveTo>
                  <a:pt x="1370" y="59"/>
                </a:moveTo>
                <a:cubicBezTo>
                  <a:pt x="1370" y="59"/>
                  <a:pt x="1370" y="59"/>
                  <a:pt x="1370" y="58"/>
                </a:cubicBezTo>
                <a:cubicBezTo>
                  <a:pt x="1370" y="58"/>
                  <a:pt x="1370" y="59"/>
                  <a:pt x="1370" y="59"/>
                </a:cubicBezTo>
                <a:close/>
                <a:moveTo>
                  <a:pt x="662" y="90"/>
                </a:moveTo>
                <a:cubicBezTo>
                  <a:pt x="662" y="90"/>
                  <a:pt x="663" y="90"/>
                  <a:pt x="663" y="90"/>
                </a:cubicBezTo>
                <a:cubicBezTo>
                  <a:pt x="663" y="90"/>
                  <a:pt x="663" y="90"/>
                  <a:pt x="662" y="90"/>
                </a:cubicBezTo>
                <a:close/>
                <a:moveTo>
                  <a:pt x="686" y="90"/>
                </a:moveTo>
                <a:cubicBezTo>
                  <a:pt x="687" y="90"/>
                  <a:pt x="687" y="90"/>
                  <a:pt x="687" y="90"/>
                </a:cubicBezTo>
                <a:cubicBezTo>
                  <a:pt x="687" y="90"/>
                  <a:pt x="686" y="90"/>
                  <a:pt x="686" y="90"/>
                </a:cubicBezTo>
                <a:close/>
                <a:moveTo>
                  <a:pt x="1674" y="12"/>
                </a:moveTo>
                <a:cubicBezTo>
                  <a:pt x="1674" y="12"/>
                  <a:pt x="1674" y="12"/>
                  <a:pt x="1675" y="12"/>
                </a:cubicBezTo>
                <a:cubicBezTo>
                  <a:pt x="1675" y="12"/>
                  <a:pt x="1674" y="12"/>
                  <a:pt x="1674" y="12"/>
                </a:cubicBezTo>
                <a:close/>
                <a:moveTo>
                  <a:pt x="1569" y="58"/>
                </a:moveTo>
                <a:cubicBezTo>
                  <a:pt x="1569" y="58"/>
                  <a:pt x="1569" y="58"/>
                  <a:pt x="1569" y="59"/>
                </a:cubicBezTo>
                <a:cubicBezTo>
                  <a:pt x="1569" y="59"/>
                  <a:pt x="1569" y="58"/>
                  <a:pt x="1569" y="58"/>
                </a:cubicBezTo>
                <a:close/>
                <a:moveTo>
                  <a:pt x="1742" y="12"/>
                </a:moveTo>
                <a:cubicBezTo>
                  <a:pt x="1742" y="12"/>
                  <a:pt x="1742" y="12"/>
                  <a:pt x="1742" y="12"/>
                </a:cubicBezTo>
                <a:cubicBezTo>
                  <a:pt x="1742" y="12"/>
                  <a:pt x="1742" y="12"/>
                  <a:pt x="1742" y="12"/>
                </a:cubicBezTo>
                <a:close/>
                <a:moveTo>
                  <a:pt x="545" y="13"/>
                </a:moveTo>
                <a:cubicBezTo>
                  <a:pt x="545" y="13"/>
                  <a:pt x="545" y="13"/>
                  <a:pt x="546" y="12"/>
                </a:cubicBezTo>
                <a:cubicBezTo>
                  <a:pt x="545" y="12"/>
                  <a:pt x="545" y="13"/>
                  <a:pt x="545" y="13"/>
                </a:cubicBezTo>
                <a:close/>
                <a:moveTo>
                  <a:pt x="963" y="90"/>
                </a:moveTo>
                <a:cubicBezTo>
                  <a:pt x="963" y="90"/>
                  <a:pt x="963" y="90"/>
                  <a:pt x="962" y="90"/>
                </a:cubicBezTo>
                <a:cubicBezTo>
                  <a:pt x="963" y="90"/>
                  <a:pt x="963" y="90"/>
                  <a:pt x="963" y="90"/>
                </a:cubicBezTo>
                <a:close/>
                <a:moveTo>
                  <a:pt x="1737" y="58"/>
                </a:moveTo>
                <a:cubicBezTo>
                  <a:pt x="1737" y="58"/>
                  <a:pt x="1737" y="58"/>
                  <a:pt x="1737" y="59"/>
                </a:cubicBezTo>
                <a:cubicBezTo>
                  <a:pt x="1737" y="59"/>
                  <a:pt x="1737" y="58"/>
                  <a:pt x="1737" y="58"/>
                </a:cubicBezTo>
                <a:close/>
                <a:moveTo>
                  <a:pt x="580" y="59"/>
                </a:moveTo>
                <a:cubicBezTo>
                  <a:pt x="580" y="59"/>
                  <a:pt x="580" y="59"/>
                  <a:pt x="580" y="59"/>
                </a:cubicBezTo>
                <a:cubicBezTo>
                  <a:pt x="580" y="59"/>
                  <a:pt x="580" y="59"/>
                  <a:pt x="580" y="59"/>
                </a:cubicBezTo>
                <a:close/>
                <a:moveTo>
                  <a:pt x="1049" y="90"/>
                </a:moveTo>
                <a:cubicBezTo>
                  <a:pt x="1049" y="90"/>
                  <a:pt x="1049" y="90"/>
                  <a:pt x="1049" y="90"/>
                </a:cubicBezTo>
                <a:cubicBezTo>
                  <a:pt x="1049" y="90"/>
                  <a:pt x="1049" y="90"/>
                  <a:pt x="1049" y="90"/>
                </a:cubicBezTo>
                <a:close/>
                <a:moveTo>
                  <a:pt x="1077" y="90"/>
                </a:moveTo>
                <a:cubicBezTo>
                  <a:pt x="1077" y="90"/>
                  <a:pt x="1077" y="90"/>
                  <a:pt x="1077" y="90"/>
                </a:cubicBezTo>
                <a:cubicBezTo>
                  <a:pt x="1077" y="90"/>
                  <a:pt x="1077" y="90"/>
                  <a:pt x="1077" y="90"/>
                </a:cubicBezTo>
                <a:close/>
                <a:moveTo>
                  <a:pt x="1227" y="90"/>
                </a:moveTo>
                <a:cubicBezTo>
                  <a:pt x="1227" y="90"/>
                  <a:pt x="1227" y="90"/>
                  <a:pt x="1227" y="90"/>
                </a:cubicBezTo>
                <a:cubicBezTo>
                  <a:pt x="1227" y="90"/>
                  <a:pt x="1227" y="90"/>
                  <a:pt x="1227" y="90"/>
                </a:cubicBezTo>
                <a:close/>
                <a:moveTo>
                  <a:pt x="1255" y="90"/>
                </a:moveTo>
                <a:cubicBezTo>
                  <a:pt x="1255" y="90"/>
                  <a:pt x="1255" y="90"/>
                  <a:pt x="1255" y="90"/>
                </a:cubicBezTo>
                <a:cubicBezTo>
                  <a:pt x="1255" y="90"/>
                  <a:pt x="1255" y="90"/>
                  <a:pt x="1255" y="90"/>
                </a:cubicBezTo>
                <a:close/>
                <a:moveTo>
                  <a:pt x="1349" y="13"/>
                </a:moveTo>
                <a:cubicBezTo>
                  <a:pt x="1349" y="13"/>
                  <a:pt x="1349" y="13"/>
                  <a:pt x="1349" y="12"/>
                </a:cubicBezTo>
                <a:cubicBezTo>
                  <a:pt x="1349" y="13"/>
                  <a:pt x="1349" y="13"/>
                  <a:pt x="1349" y="13"/>
                </a:cubicBezTo>
                <a:close/>
                <a:moveTo>
                  <a:pt x="1390" y="12"/>
                </a:moveTo>
                <a:cubicBezTo>
                  <a:pt x="1390" y="13"/>
                  <a:pt x="1390" y="13"/>
                  <a:pt x="1390" y="13"/>
                </a:cubicBezTo>
                <a:cubicBezTo>
                  <a:pt x="1390" y="13"/>
                  <a:pt x="1390" y="12"/>
                  <a:pt x="1390" y="12"/>
                </a:cubicBezTo>
                <a:close/>
                <a:moveTo>
                  <a:pt x="1422" y="13"/>
                </a:moveTo>
                <a:cubicBezTo>
                  <a:pt x="1422" y="13"/>
                  <a:pt x="1423" y="13"/>
                  <a:pt x="1423" y="12"/>
                </a:cubicBezTo>
                <a:cubicBezTo>
                  <a:pt x="1423" y="13"/>
                  <a:pt x="1422" y="13"/>
                  <a:pt x="1422" y="13"/>
                </a:cubicBezTo>
                <a:close/>
                <a:moveTo>
                  <a:pt x="1459" y="12"/>
                </a:moveTo>
                <a:cubicBezTo>
                  <a:pt x="1459" y="13"/>
                  <a:pt x="1459" y="13"/>
                  <a:pt x="1460" y="13"/>
                </a:cubicBezTo>
                <a:cubicBezTo>
                  <a:pt x="1459" y="13"/>
                  <a:pt x="1459" y="13"/>
                  <a:pt x="1459" y="12"/>
                </a:cubicBezTo>
                <a:close/>
                <a:moveTo>
                  <a:pt x="1369" y="59"/>
                </a:moveTo>
                <a:cubicBezTo>
                  <a:pt x="1370" y="59"/>
                  <a:pt x="1370" y="59"/>
                  <a:pt x="1370" y="59"/>
                </a:cubicBezTo>
                <a:cubicBezTo>
                  <a:pt x="1370" y="59"/>
                  <a:pt x="1369" y="59"/>
                  <a:pt x="1369" y="59"/>
                </a:cubicBezTo>
                <a:close/>
                <a:moveTo>
                  <a:pt x="686" y="91"/>
                </a:moveTo>
                <a:cubicBezTo>
                  <a:pt x="686" y="91"/>
                  <a:pt x="686" y="91"/>
                  <a:pt x="686" y="90"/>
                </a:cubicBezTo>
                <a:cubicBezTo>
                  <a:pt x="686" y="90"/>
                  <a:pt x="686" y="91"/>
                  <a:pt x="686" y="91"/>
                </a:cubicBezTo>
                <a:close/>
                <a:moveTo>
                  <a:pt x="1554" y="59"/>
                </a:moveTo>
                <a:cubicBezTo>
                  <a:pt x="1554" y="59"/>
                  <a:pt x="1554" y="59"/>
                  <a:pt x="1554" y="59"/>
                </a:cubicBezTo>
                <a:cubicBezTo>
                  <a:pt x="1554" y="59"/>
                  <a:pt x="1554" y="59"/>
                  <a:pt x="1554" y="59"/>
                </a:cubicBezTo>
                <a:close/>
                <a:moveTo>
                  <a:pt x="1569" y="59"/>
                </a:moveTo>
                <a:cubicBezTo>
                  <a:pt x="1569" y="59"/>
                  <a:pt x="1568" y="59"/>
                  <a:pt x="1568" y="59"/>
                </a:cubicBezTo>
                <a:cubicBezTo>
                  <a:pt x="1569" y="59"/>
                  <a:pt x="1569" y="59"/>
                  <a:pt x="1569" y="59"/>
                </a:cubicBezTo>
                <a:close/>
                <a:moveTo>
                  <a:pt x="1722" y="59"/>
                </a:moveTo>
                <a:cubicBezTo>
                  <a:pt x="1722" y="59"/>
                  <a:pt x="1722" y="59"/>
                  <a:pt x="1722" y="59"/>
                </a:cubicBezTo>
                <a:cubicBezTo>
                  <a:pt x="1722" y="59"/>
                  <a:pt x="1722" y="59"/>
                  <a:pt x="1722" y="59"/>
                </a:cubicBezTo>
                <a:close/>
                <a:moveTo>
                  <a:pt x="963" y="91"/>
                </a:moveTo>
                <a:cubicBezTo>
                  <a:pt x="963" y="90"/>
                  <a:pt x="963" y="90"/>
                  <a:pt x="963" y="90"/>
                </a:cubicBezTo>
                <a:cubicBezTo>
                  <a:pt x="963" y="91"/>
                  <a:pt x="963" y="91"/>
                  <a:pt x="963" y="91"/>
                </a:cubicBezTo>
                <a:close/>
                <a:moveTo>
                  <a:pt x="1737" y="59"/>
                </a:moveTo>
                <a:cubicBezTo>
                  <a:pt x="1737" y="59"/>
                  <a:pt x="1737" y="59"/>
                  <a:pt x="1736" y="59"/>
                </a:cubicBezTo>
                <a:cubicBezTo>
                  <a:pt x="1737" y="59"/>
                  <a:pt x="1737" y="59"/>
                  <a:pt x="1737" y="59"/>
                </a:cubicBezTo>
                <a:close/>
                <a:moveTo>
                  <a:pt x="580" y="59"/>
                </a:moveTo>
                <a:cubicBezTo>
                  <a:pt x="580" y="59"/>
                  <a:pt x="580" y="59"/>
                  <a:pt x="580" y="59"/>
                </a:cubicBezTo>
                <a:cubicBezTo>
                  <a:pt x="580" y="59"/>
                  <a:pt x="580" y="59"/>
                  <a:pt x="580" y="59"/>
                </a:cubicBezTo>
                <a:close/>
                <a:moveTo>
                  <a:pt x="1035" y="91"/>
                </a:moveTo>
                <a:cubicBezTo>
                  <a:pt x="1035" y="91"/>
                  <a:pt x="1035" y="90"/>
                  <a:pt x="1035" y="90"/>
                </a:cubicBezTo>
                <a:cubicBezTo>
                  <a:pt x="1035" y="90"/>
                  <a:pt x="1035" y="91"/>
                  <a:pt x="1035" y="91"/>
                </a:cubicBezTo>
                <a:close/>
                <a:moveTo>
                  <a:pt x="1533" y="13"/>
                </a:moveTo>
                <a:cubicBezTo>
                  <a:pt x="1533" y="13"/>
                  <a:pt x="1533" y="13"/>
                  <a:pt x="1533" y="12"/>
                </a:cubicBezTo>
                <a:cubicBezTo>
                  <a:pt x="1533" y="12"/>
                  <a:pt x="1533" y="13"/>
                  <a:pt x="1533" y="13"/>
                </a:cubicBezTo>
                <a:close/>
                <a:moveTo>
                  <a:pt x="1574" y="12"/>
                </a:moveTo>
                <a:cubicBezTo>
                  <a:pt x="1574" y="13"/>
                  <a:pt x="1574" y="13"/>
                  <a:pt x="1574" y="13"/>
                </a:cubicBezTo>
                <a:cubicBezTo>
                  <a:pt x="1574" y="13"/>
                  <a:pt x="1574" y="13"/>
                  <a:pt x="1574" y="12"/>
                </a:cubicBezTo>
                <a:close/>
                <a:moveTo>
                  <a:pt x="1187" y="90"/>
                </a:moveTo>
                <a:cubicBezTo>
                  <a:pt x="1187" y="91"/>
                  <a:pt x="1187" y="91"/>
                  <a:pt x="1188" y="91"/>
                </a:cubicBezTo>
                <a:cubicBezTo>
                  <a:pt x="1188" y="91"/>
                  <a:pt x="1187" y="90"/>
                  <a:pt x="1187" y="90"/>
                </a:cubicBezTo>
                <a:close/>
                <a:moveTo>
                  <a:pt x="1701" y="13"/>
                </a:moveTo>
                <a:cubicBezTo>
                  <a:pt x="1701" y="13"/>
                  <a:pt x="1701" y="13"/>
                  <a:pt x="1702" y="12"/>
                </a:cubicBezTo>
                <a:cubicBezTo>
                  <a:pt x="1701" y="12"/>
                  <a:pt x="1701" y="13"/>
                  <a:pt x="1701" y="13"/>
                </a:cubicBezTo>
                <a:close/>
                <a:moveTo>
                  <a:pt x="673" y="59"/>
                </a:moveTo>
                <a:cubicBezTo>
                  <a:pt x="674" y="59"/>
                  <a:pt x="674" y="59"/>
                  <a:pt x="674" y="59"/>
                </a:cubicBezTo>
                <a:cubicBezTo>
                  <a:pt x="674" y="59"/>
                  <a:pt x="674" y="59"/>
                  <a:pt x="673" y="59"/>
                </a:cubicBezTo>
                <a:close/>
                <a:moveTo>
                  <a:pt x="1742" y="12"/>
                </a:moveTo>
                <a:cubicBezTo>
                  <a:pt x="1742" y="13"/>
                  <a:pt x="1742" y="13"/>
                  <a:pt x="1743" y="13"/>
                </a:cubicBezTo>
                <a:cubicBezTo>
                  <a:pt x="1742" y="13"/>
                  <a:pt x="1742" y="13"/>
                  <a:pt x="1742" y="12"/>
                </a:cubicBezTo>
                <a:close/>
                <a:moveTo>
                  <a:pt x="1384" y="59"/>
                </a:moveTo>
                <a:cubicBezTo>
                  <a:pt x="1384" y="59"/>
                  <a:pt x="1384" y="59"/>
                  <a:pt x="1384" y="59"/>
                </a:cubicBezTo>
                <a:cubicBezTo>
                  <a:pt x="1384" y="59"/>
                  <a:pt x="1384" y="59"/>
                  <a:pt x="1384" y="59"/>
                </a:cubicBezTo>
                <a:close/>
                <a:moveTo>
                  <a:pt x="1553" y="59"/>
                </a:moveTo>
                <a:cubicBezTo>
                  <a:pt x="1553" y="59"/>
                  <a:pt x="1554" y="59"/>
                  <a:pt x="1554" y="59"/>
                </a:cubicBezTo>
                <a:cubicBezTo>
                  <a:pt x="1553" y="59"/>
                  <a:pt x="1553" y="59"/>
                  <a:pt x="1553" y="59"/>
                </a:cubicBezTo>
                <a:close/>
                <a:moveTo>
                  <a:pt x="545" y="13"/>
                </a:moveTo>
                <a:cubicBezTo>
                  <a:pt x="545" y="13"/>
                  <a:pt x="545" y="13"/>
                  <a:pt x="545" y="13"/>
                </a:cubicBezTo>
                <a:cubicBezTo>
                  <a:pt x="545" y="13"/>
                  <a:pt x="545" y="13"/>
                  <a:pt x="545" y="13"/>
                </a:cubicBezTo>
                <a:close/>
                <a:moveTo>
                  <a:pt x="1390" y="13"/>
                </a:moveTo>
                <a:cubicBezTo>
                  <a:pt x="1390" y="13"/>
                  <a:pt x="1390" y="13"/>
                  <a:pt x="1391" y="13"/>
                </a:cubicBezTo>
                <a:cubicBezTo>
                  <a:pt x="1391" y="13"/>
                  <a:pt x="1390" y="13"/>
                  <a:pt x="1390" y="13"/>
                </a:cubicBezTo>
                <a:close/>
                <a:moveTo>
                  <a:pt x="1721" y="59"/>
                </a:moveTo>
                <a:cubicBezTo>
                  <a:pt x="1721" y="59"/>
                  <a:pt x="1722" y="59"/>
                  <a:pt x="1722" y="59"/>
                </a:cubicBezTo>
                <a:cubicBezTo>
                  <a:pt x="1722" y="59"/>
                  <a:pt x="1721" y="59"/>
                  <a:pt x="1721" y="59"/>
                </a:cubicBezTo>
                <a:close/>
                <a:moveTo>
                  <a:pt x="686" y="91"/>
                </a:moveTo>
                <a:cubicBezTo>
                  <a:pt x="686" y="91"/>
                  <a:pt x="686" y="91"/>
                  <a:pt x="686" y="91"/>
                </a:cubicBezTo>
                <a:cubicBezTo>
                  <a:pt x="686" y="91"/>
                  <a:pt x="686" y="91"/>
                  <a:pt x="686" y="91"/>
                </a:cubicBezTo>
                <a:close/>
                <a:moveTo>
                  <a:pt x="768" y="91"/>
                </a:moveTo>
                <a:cubicBezTo>
                  <a:pt x="768" y="91"/>
                  <a:pt x="768" y="91"/>
                  <a:pt x="769" y="91"/>
                </a:cubicBezTo>
                <a:cubicBezTo>
                  <a:pt x="768" y="91"/>
                  <a:pt x="768" y="91"/>
                  <a:pt x="768" y="91"/>
                </a:cubicBezTo>
                <a:close/>
                <a:moveTo>
                  <a:pt x="1422" y="13"/>
                </a:moveTo>
                <a:cubicBezTo>
                  <a:pt x="1422" y="13"/>
                  <a:pt x="1422" y="13"/>
                  <a:pt x="1422" y="13"/>
                </a:cubicBezTo>
                <a:cubicBezTo>
                  <a:pt x="1422" y="13"/>
                  <a:pt x="1422" y="13"/>
                  <a:pt x="1422" y="13"/>
                </a:cubicBezTo>
                <a:close/>
                <a:moveTo>
                  <a:pt x="964" y="91"/>
                </a:moveTo>
                <a:cubicBezTo>
                  <a:pt x="963" y="91"/>
                  <a:pt x="963" y="91"/>
                  <a:pt x="963" y="91"/>
                </a:cubicBezTo>
                <a:cubicBezTo>
                  <a:pt x="963" y="91"/>
                  <a:pt x="963" y="91"/>
                  <a:pt x="964" y="91"/>
                </a:cubicBezTo>
                <a:close/>
                <a:moveTo>
                  <a:pt x="1459" y="13"/>
                </a:moveTo>
                <a:cubicBezTo>
                  <a:pt x="1460" y="13"/>
                  <a:pt x="1460" y="13"/>
                  <a:pt x="1460" y="13"/>
                </a:cubicBezTo>
                <a:cubicBezTo>
                  <a:pt x="1460" y="13"/>
                  <a:pt x="1460" y="13"/>
                  <a:pt x="1459" y="13"/>
                </a:cubicBezTo>
                <a:close/>
                <a:moveTo>
                  <a:pt x="1494" y="13"/>
                </a:moveTo>
                <a:cubicBezTo>
                  <a:pt x="1495" y="13"/>
                  <a:pt x="1495" y="13"/>
                  <a:pt x="1495" y="13"/>
                </a:cubicBezTo>
                <a:cubicBezTo>
                  <a:pt x="1495" y="13"/>
                  <a:pt x="1494" y="13"/>
                  <a:pt x="1494" y="13"/>
                </a:cubicBezTo>
                <a:close/>
                <a:moveTo>
                  <a:pt x="1533" y="13"/>
                </a:moveTo>
                <a:cubicBezTo>
                  <a:pt x="1533" y="13"/>
                  <a:pt x="1533" y="13"/>
                  <a:pt x="1533" y="13"/>
                </a:cubicBezTo>
                <a:cubicBezTo>
                  <a:pt x="1533" y="13"/>
                  <a:pt x="1533" y="13"/>
                  <a:pt x="1533" y="13"/>
                </a:cubicBezTo>
                <a:close/>
                <a:moveTo>
                  <a:pt x="1574" y="13"/>
                </a:moveTo>
                <a:cubicBezTo>
                  <a:pt x="1574" y="13"/>
                  <a:pt x="1575" y="13"/>
                  <a:pt x="1575" y="13"/>
                </a:cubicBezTo>
                <a:cubicBezTo>
                  <a:pt x="1575" y="13"/>
                  <a:pt x="1575" y="13"/>
                  <a:pt x="1574" y="13"/>
                </a:cubicBezTo>
                <a:close/>
                <a:moveTo>
                  <a:pt x="1701" y="13"/>
                </a:moveTo>
                <a:cubicBezTo>
                  <a:pt x="1701" y="13"/>
                  <a:pt x="1701" y="13"/>
                  <a:pt x="1701" y="13"/>
                </a:cubicBezTo>
                <a:cubicBezTo>
                  <a:pt x="1701" y="13"/>
                  <a:pt x="1701" y="13"/>
                  <a:pt x="1701" y="13"/>
                </a:cubicBezTo>
                <a:close/>
                <a:moveTo>
                  <a:pt x="1368" y="60"/>
                </a:moveTo>
                <a:cubicBezTo>
                  <a:pt x="1369" y="60"/>
                  <a:pt x="1369" y="60"/>
                  <a:pt x="1369" y="59"/>
                </a:cubicBezTo>
                <a:cubicBezTo>
                  <a:pt x="1369" y="59"/>
                  <a:pt x="1368" y="60"/>
                  <a:pt x="1368" y="60"/>
                </a:cubicBezTo>
                <a:close/>
                <a:moveTo>
                  <a:pt x="1384" y="59"/>
                </a:moveTo>
                <a:cubicBezTo>
                  <a:pt x="1383" y="59"/>
                  <a:pt x="1383" y="60"/>
                  <a:pt x="1383" y="60"/>
                </a:cubicBezTo>
                <a:cubicBezTo>
                  <a:pt x="1383" y="60"/>
                  <a:pt x="1384" y="60"/>
                  <a:pt x="1384" y="59"/>
                </a:cubicBezTo>
                <a:close/>
                <a:moveTo>
                  <a:pt x="1743" y="13"/>
                </a:moveTo>
                <a:cubicBezTo>
                  <a:pt x="1743" y="13"/>
                  <a:pt x="1743" y="13"/>
                  <a:pt x="1743" y="13"/>
                </a:cubicBezTo>
                <a:cubicBezTo>
                  <a:pt x="1743" y="13"/>
                  <a:pt x="1743" y="13"/>
                  <a:pt x="1743" y="13"/>
                </a:cubicBezTo>
                <a:close/>
                <a:moveTo>
                  <a:pt x="544" y="13"/>
                </a:moveTo>
                <a:cubicBezTo>
                  <a:pt x="545" y="13"/>
                  <a:pt x="545" y="13"/>
                  <a:pt x="545" y="13"/>
                </a:cubicBezTo>
                <a:cubicBezTo>
                  <a:pt x="545" y="13"/>
                  <a:pt x="545" y="13"/>
                  <a:pt x="544" y="13"/>
                </a:cubicBezTo>
                <a:close/>
                <a:moveTo>
                  <a:pt x="972" y="13"/>
                </a:moveTo>
                <a:cubicBezTo>
                  <a:pt x="972" y="13"/>
                  <a:pt x="972" y="13"/>
                  <a:pt x="972" y="13"/>
                </a:cubicBezTo>
                <a:cubicBezTo>
                  <a:pt x="972" y="13"/>
                  <a:pt x="972" y="13"/>
                  <a:pt x="972" y="13"/>
                </a:cubicBezTo>
                <a:close/>
                <a:moveTo>
                  <a:pt x="1391" y="13"/>
                </a:moveTo>
                <a:cubicBezTo>
                  <a:pt x="1391" y="13"/>
                  <a:pt x="1391" y="13"/>
                  <a:pt x="1391" y="14"/>
                </a:cubicBezTo>
                <a:cubicBezTo>
                  <a:pt x="1391" y="13"/>
                  <a:pt x="1391" y="13"/>
                  <a:pt x="1391" y="13"/>
                </a:cubicBezTo>
                <a:close/>
                <a:moveTo>
                  <a:pt x="1422" y="13"/>
                </a:moveTo>
                <a:cubicBezTo>
                  <a:pt x="1422" y="13"/>
                  <a:pt x="1422" y="13"/>
                  <a:pt x="1422" y="13"/>
                </a:cubicBezTo>
                <a:cubicBezTo>
                  <a:pt x="1422" y="13"/>
                  <a:pt x="1422" y="13"/>
                  <a:pt x="1422" y="13"/>
                </a:cubicBezTo>
                <a:close/>
                <a:moveTo>
                  <a:pt x="685" y="91"/>
                </a:moveTo>
                <a:cubicBezTo>
                  <a:pt x="686" y="91"/>
                  <a:pt x="686" y="91"/>
                  <a:pt x="686" y="91"/>
                </a:cubicBezTo>
                <a:cubicBezTo>
                  <a:pt x="686" y="91"/>
                  <a:pt x="685" y="91"/>
                  <a:pt x="685" y="91"/>
                </a:cubicBezTo>
                <a:close/>
                <a:moveTo>
                  <a:pt x="675" y="60"/>
                </a:moveTo>
                <a:cubicBezTo>
                  <a:pt x="675" y="60"/>
                  <a:pt x="675" y="60"/>
                  <a:pt x="675" y="60"/>
                </a:cubicBezTo>
                <a:cubicBezTo>
                  <a:pt x="675" y="60"/>
                  <a:pt x="675" y="60"/>
                  <a:pt x="675" y="60"/>
                </a:cubicBezTo>
                <a:close/>
                <a:moveTo>
                  <a:pt x="728" y="91"/>
                </a:moveTo>
                <a:cubicBezTo>
                  <a:pt x="728" y="91"/>
                  <a:pt x="728" y="91"/>
                  <a:pt x="728" y="91"/>
                </a:cubicBezTo>
                <a:cubicBezTo>
                  <a:pt x="728" y="91"/>
                  <a:pt x="728" y="91"/>
                  <a:pt x="728" y="91"/>
                </a:cubicBezTo>
                <a:close/>
                <a:moveTo>
                  <a:pt x="1368" y="60"/>
                </a:moveTo>
                <a:cubicBezTo>
                  <a:pt x="1368" y="60"/>
                  <a:pt x="1368" y="60"/>
                  <a:pt x="1368" y="60"/>
                </a:cubicBezTo>
                <a:cubicBezTo>
                  <a:pt x="1368" y="60"/>
                  <a:pt x="1368" y="60"/>
                  <a:pt x="1368" y="60"/>
                </a:cubicBezTo>
                <a:close/>
                <a:moveTo>
                  <a:pt x="1383" y="60"/>
                </a:moveTo>
                <a:cubicBezTo>
                  <a:pt x="1383" y="60"/>
                  <a:pt x="1383" y="60"/>
                  <a:pt x="1383" y="60"/>
                </a:cubicBezTo>
                <a:cubicBezTo>
                  <a:pt x="1383" y="60"/>
                  <a:pt x="1383" y="60"/>
                  <a:pt x="1383" y="60"/>
                </a:cubicBezTo>
                <a:close/>
                <a:moveTo>
                  <a:pt x="1552" y="60"/>
                </a:moveTo>
                <a:cubicBezTo>
                  <a:pt x="1552" y="60"/>
                  <a:pt x="1552" y="60"/>
                  <a:pt x="1553" y="60"/>
                </a:cubicBezTo>
                <a:cubicBezTo>
                  <a:pt x="1552" y="60"/>
                  <a:pt x="1552" y="60"/>
                  <a:pt x="1552" y="60"/>
                </a:cubicBezTo>
                <a:close/>
                <a:moveTo>
                  <a:pt x="964" y="91"/>
                </a:moveTo>
                <a:cubicBezTo>
                  <a:pt x="964" y="91"/>
                  <a:pt x="964" y="91"/>
                  <a:pt x="964" y="91"/>
                </a:cubicBezTo>
                <a:cubicBezTo>
                  <a:pt x="964" y="91"/>
                  <a:pt x="964" y="91"/>
                  <a:pt x="964" y="91"/>
                </a:cubicBezTo>
                <a:close/>
                <a:moveTo>
                  <a:pt x="1666" y="60"/>
                </a:moveTo>
                <a:cubicBezTo>
                  <a:pt x="1666" y="60"/>
                  <a:pt x="1666" y="60"/>
                  <a:pt x="1666" y="60"/>
                </a:cubicBezTo>
                <a:cubicBezTo>
                  <a:pt x="1666" y="60"/>
                  <a:pt x="1666" y="60"/>
                  <a:pt x="1666" y="60"/>
                </a:cubicBezTo>
                <a:close/>
                <a:moveTo>
                  <a:pt x="1720" y="60"/>
                </a:moveTo>
                <a:cubicBezTo>
                  <a:pt x="1720" y="60"/>
                  <a:pt x="1721" y="60"/>
                  <a:pt x="1721" y="60"/>
                </a:cubicBezTo>
                <a:cubicBezTo>
                  <a:pt x="1720" y="60"/>
                  <a:pt x="1720" y="60"/>
                  <a:pt x="1720" y="60"/>
                </a:cubicBezTo>
                <a:close/>
                <a:moveTo>
                  <a:pt x="1051" y="91"/>
                </a:moveTo>
                <a:cubicBezTo>
                  <a:pt x="1051" y="91"/>
                  <a:pt x="1051" y="91"/>
                  <a:pt x="1051" y="91"/>
                </a:cubicBezTo>
                <a:cubicBezTo>
                  <a:pt x="1051" y="91"/>
                  <a:pt x="1051" y="91"/>
                  <a:pt x="1051" y="91"/>
                </a:cubicBezTo>
                <a:close/>
                <a:moveTo>
                  <a:pt x="1736" y="60"/>
                </a:moveTo>
                <a:cubicBezTo>
                  <a:pt x="1735" y="60"/>
                  <a:pt x="1735" y="60"/>
                  <a:pt x="1735" y="60"/>
                </a:cubicBezTo>
                <a:cubicBezTo>
                  <a:pt x="1735" y="60"/>
                  <a:pt x="1735" y="60"/>
                  <a:pt x="1736" y="60"/>
                </a:cubicBezTo>
                <a:close/>
                <a:moveTo>
                  <a:pt x="581" y="60"/>
                </a:moveTo>
                <a:cubicBezTo>
                  <a:pt x="581" y="60"/>
                  <a:pt x="581" y="61"/>
                  <a:pt x="582" y="61"/>
                </a:cubicBezTo>
                <a:cubicBezTo>
                  <a:pt x="582" y="60"/>
                  <a:pt x="581" y="60"/>
                  <a:pt x="581" y="60"/>
                </a:cubicBezTo>
                <a:close/>
                <a:moveTo>
                  <a:pt x="1229" y="91"/>
                </a:moveTo>
                <a:cubicBezTo>
                  <a:pt x="1229" y="91"/>
                  <a:pt x="1229" y="91"/>
                  <a:pt x="1229" y="91"/>
                </a:cubicBezTo>
                <a:cubicBezTo>
                  <a:pt x="1229" y="91"/>
                  <a:pt x="1229" y="91"/>
                  <a:pt x="1229" y="91"/>
                </a:cubicBezTo>
                <a:close/>
                <a:moveTo>
                  <a:pt x="1460" y="13"/>
                </a:moveTo>
                <a:cubicBezTo>
                  <a:pt x="1460" y="13"/>
                  <a:pt x="1460" y="13"/>
                  <a:pt x="1460" y="13"/>
                </a:cubicBezTo>
                <a:cubicBezTo>
                  <a:pt x="1460" y="13"/>
                  <a:pt x="1460" y="13"/>
                  <a:pt x="1460" y="13"/>
                </a:cubicBezTo>
                <a:close/>
                <a:moveTo>
                  <a:pt x="1417" y="91"/>
                </a:moveTo>
                <a:cubicBezTo>
                  <a:pt x="1417" y="91"/>
                  <a:pt x="1417" y="91"/>
                  <a:pt x="1417" y="91"/>
                </a:cubicBezTo>
                <a:cubicBezTo>
                  <a:pt x="1417" y="91"/>
                  <a:pt x="1417" y="91"/>
                  <a:pt x="1417" y="91"/>
                </a:cubicBezTo>
                <a:close/>
                <a:moveTo>
                  <a:pt x="1532" y="13"/>
                </a:moveTo>
                <a:cubicBezTo>
                  <a:pt x="1532" y="13"/>
                  <a:pt x="1533" y="13"/>
                  <a:pt x="1533" y="13"/>
                </a:cubicBezTo>
                <a:cubicBezTo>
                  <a:pt x="1533" y="13"/>
                  <a:pt x="1532" y="13"/>
                  <a:pt x="1532" y="13"/>
                </a:cubicBezTo>
                <a:close/>
                <a:moveTo>
                  <a:pt x="1575" y="13"/>
                </a:moveTo>
                <a:cubicBezTo>
                  <a:pt x="1575" y="13"/>
                  <a:pt x="1575" y="13"/>
                  <a:pt x="1575" y="13"/>
                </a:cubicBezTo>
                <a:cubicBezTo>
                  <a:pt x="1575" y="13"/>
                  <a:pt x="1575" y="13"/>
                  <a:pt x="1575" y="13"/>
                </a:cubicBezTo>
                <a:close/>
                <a:moveTo>
                  <a:pt x="1676" y="13"/>
                </a:moveTo>
                <a:cubicBezTo>
                  <a:pt x="1676" y="13"/>
                  <a:pt x="1676" y="13"/>
                  <a:pt x="1676" y="13"/>
                </a:cubicBezTo>
                <a:cubicBezTo>
                  <a:pt x="1676" y="13"/>
                  <a:pt x="1676" y="13"/>
                  <a:pt x="1676" y="13"/>
                </a:cubicBezTo>
                <a:close/>
                <a:moveTo>
                  <a:pt x="1573" y="54"/>
                </a:moveTo>
                <a:cubicBezTo>
                  <a:pt x="1573" y="54"/>
                  <a:pt x="1573" y="54"/>
                  <a:pt x="1573" y="54"/>
                </a:cubicBezTo>
                <a:cubicBezTo>
                  <a:pt x="1573" y="54"/>
                  <a:pt x="1573" y="54"/>
                  <a:pt x="1573" y="54"/>
                </a:cubicBezTo>
                <a:close/>
                <a:moveTo>
                  <a:pt x="1559" y="55"/>
                </a:moveTo>
                <a:cubicBezTo>
                  <a:pt x="1559" y="55"/>
                  <a:pt x="1559" y="54"/>
                  <a:pt x="1560" y="54"/>
                </a:cubicBezTo>
                <a:cubicBezTo>
                  <a:pt x="1559" y="54"/>
                  <a:pt x="1559" y="54"/>
                  <a:pt x="1559" y="55"/>
                </a:cubicBezTo>
                <a:close/>
                <a:moveTo>
                  <a:pt x="1700" y="13"/>
                </a:moveTo>
                <a:cubicBezTo>
                  <a:pt x="1701" y="13"/>
                  <a:pt x="1701" y="13"/>
                  <a:pt x="1701" y="13"/>
                </a:cubicBezTo>
                <a:cubicBezTo>
                  <a:pt x="1701" y="13"/>
                  <a:pt x="1701" y="13"/>
                  <a:pt x="1700" y="13"/>
                </a:cubicBezTo>
                <a:close/>
                <a:moveTo>
                  <a:pt x="728" y="91"/>
                </a:moveTo>
                <a:cubicBezTo>
                  <a:pt x="728" y="92"/>
                  <a:pt x="728" y="92"/>
                  <a:pt x="729" y="92"/>
                </a:cubicBezTo>
                <a:cubicBezTo>
                  <a:pt x="728" y="92"/>
                  <a:pt x="728" y="92"/>
                  <a:pt x="728" y="91"/>
                </a:cubicBezTo>
                <a:close/>
                <a:moveTo>
                  <a:pt x="1743" y="13"/>
                </a:moveTo>
                <a:cubicBezTo>
                  <a:pt x="1743" y="13"/>
                  <a:pt x="1743" y="13"/>
                  <a:pt x="1743" y="13"/>
                </a:cubicBezTo>
                <a:cubicBezTo>
                  <a:pt x="1743" y="13"/>
                  <a:pt x="1743" y="13"/>
                  <a:pt x="1743" y="13"/>
                </a:cubicBezTo>
                <a:close/>
                <a:moveTo>
                  <a:pt x="1383" y="60"/>
                </a:moveTo>
                <a:cubicBezTo>
                  <a:pt x="1383" y="60"/>
                  <a:pt x="1383" y="60"/>
                  <a:pt x="1383" y="60"/>
                </a:cubicBezTo>
                <a:cubicBezTo>
                  <a:pt x="1383" y="60"/>
                  <a:pt x="1383" y="60"/>
                  <a:pt x="1383" y="60"/>
                </a:cubicBezTo>
                <a:close/>
                <a:moveTo>
                  <a:pt x="1552" y="60"/>
                </a:moveTo>
                <a:cubicBezTo>
                  <a:pt x="1552" y="60"/>
                  <a:pt x="1552" y="60"/>
                  <a:pt x="1552" y="60"/>
                </a:cubicBezTo>
                <a:cubicBezTo>
                  <a:pt x="1552" y="60"/>
                  <a:pt x="1552" y="60"/>
                  <a:pt x="1552" y="60"/>
                </a:cubicBezTo>
                <a:close/>
                <a:moveTo>
                  <a:pt x="964" y="92"/>
                </a:moveTo>
                <a:cubicBezTo>
                  <a:pt x="964" y="92"/>
                  <a:pt x="964" y="91"/>
                  <a:pt x="964" y="91"/>
                </a:cubicBezTo>
                <a:cubicBezTo>
                  <a:pt x="964" y="92"/>
                  <a:pt x="964" y="92"/>
                  <a:pt x="964" y="92"/>
                </a:cubicBezTo>
                <a:close/>
                <a:moveTo>
                  <a:pt x="1567" y="60"/>
                </a:moveTo>
                <a:cubicBezTo>
                  <a:pt x="1567" y="60"/>
                  <a:pt x="1567" y="60"/>
                  <a:pt x="1567" y="60"/>
                </a:cubicBezTo>
                <a:cubicBezTo>
                  <a:pt x="1567" y="60"/>
                  <a:pt x="1567" y="60"/>
                  <a:pt x="1567" y="60"/>
                </a:cubicBezTo>
                <a:close/>
                <a:moveTo>
                  <a:pt x="544" y="14"/>
                </a:moveTo>
                <a:cubicBezTo>
                  <a:pt x="544" y="14"/>
                  <a:pt x="544" y="14"/>
                  <a:pt x="544" y="13"/>
                </a:cubicBezTo>
                <a:cubicBezTo>
                  <a:pt x="544" y="14"/>
                  <a:pt x="544" y="14"/>
                  <a:pt x="544" y="14"/>
                </a:cubicBezTo>
                <a:close/>
                <a:moveTo>
                  <a:pt x="1036" y="92"/>
                </a:moveTo>
                <a:cubicBezTo>
                  <a:pt x="1036" y="92"/>
                  <a:pt x="1035" y="91"/>
                  <a:pt x="1035" y="91"/>
                </a:cubicBezTo>
                <a:cubicBezTo>
                  <a:pt x="1035" y="92"/>
                  <a:pt x="1035" y="92"/>
                  <a:pt x="1036" y="92"/>
                </a:cubicBezTo>
                <a:close/>
                <a:moveTo>
                  <a:pt x="1347" y="14"/>
                </a:moveTo>
                <a:cubicBezTo>
                  <a:pt x="1348" y="14"/>
                  <a:pt x="1348" y="14"/>
                  <a:pt x="1348" y="14"/>
                </a:cubicBezTo>
                <a:cubicBezTo>
                  <a:pt x="1348" y="14"/>
                  <a:pt x="1348" y="14"/>
                  <a:pt x="1347" y="14"/>
                </a:cubicBezTo>
                <a:close/>
                <a:moveTo>
                  <a:pt x="1735" y="60"/>
                </a:moveTo>
                <a:cubicBezTo>
                  <a:pt x="1735" y="60"/>
                  <a:pt x="1735" y="60"/>
                  <a:pt x="1735" y="60"/>
                </a:cubicBezTo>
                <a:cubicBezTo>
                  <a:pt x="1735" y="60"/>
                  <a:pt x="1735" y="60"/>
                  <a:pt x="1735" y="60"/>
                </a:cubicBezTo>
                <a:close/>
                <a:moveTo>
                  <a:pt x="582" y="61"/>
                </a:moveTo>
                <a:cubicBezTo>
                  <a:pt x="582" y="61"/>
                  <a:pt x="582" y="61"/>
                  <a:pt x="582" y="61"/>
                </a:cubicBezTo>
                <a:cubicBezTo>
                  <a:pt x="582" y="61"/>
                  <a:pt x="582" y="61"/>
                  <a:pt x="582" y="61"/>
                </a:cubicBezTo>
                <a:close/>
                <a:moveTo>
                  <a:pt x="1213" y="92"/>
                </a:moveTo>
                <a:cubicBezTo>
                  <a:pt x="1213" y="92"/>
                  <a:pt x="1213" y="91"/>
                  <a:pt x="1213" y="91"/>
                </a:cubicBezTo>
                <a:cubicBezTo>
                  <a:pt x="1213" y="92"/>
                  <a:pt x="1213" y="92"/>
                  <a:pt x="1213" y="92"/>
                </a:cubicBezTo>
                <a:close/>
                <a:moveTo>
                  <a:pt x="1391" y="13"/>
                </a:moveTo>
                <a:cubicBezTo>
                  <a:pt x="1391" y="14"/>
                  <a:pt x="1391" y="14"/>
                  <a:pt x="1391" y="14"/>
                </a:cubicBezTo>
                <a:cubicBezTo>
                  <a:pt x="1391" y="14"/>
                  <a:pt x="1391" y="14"/>
                  <a:pt x="1391" y="13"/>
                </a:cubicBezTo>
                <a:close/>
                <a:moveTo>
                  <a:pt x="1421" y="14"/>
                </a:moveTo>
                <a:cubicBezTo>
                  <a:pt x="1421" y="14"/>
                  <a:pt x="1422" y="14"/>
                  <a:pt x="1422" y="13"/>
                </a:cubicBezTo>
                <a:cubicBezTo>
                  <a:pt x="1421" y="14"/>
                  <a:pt x="1421" y="14"/>
                  <a:pt x="1421" y="14"/>
                </a:cubicBezTo>
                <a:close/>
                <a:moveTo>
                  <a:pt x="1375" y="55"/>
                </a:moveTo>
                <a:cubicBezTo>
                  <a:pt x="1375" y="55"/>
                  <a:pt x="1375" y="54"/>
                  <a:pt x="1375" y="54"/>
                </a:cubicBezTo>
                <a:cubicBezTo>
                  <a:pt x="1375" y="54"/>
                  <a:pt x="1375" y="54"/>
                  <a:pt x="1375" y="55"/>
                </a:cubicBezTo>
                <a:close/>
                <a:moveTo>
                  <a:pt x="1462" y="91"/>
                </a:moveTo>
                <a:cubicBezTo>
                  <a:pt x="1462" y="91"/>
                  <a:pt x="1462" y="92"/>
                  <a:pt x="1462" y="92"/>
                </a:cubicBezTo>
                <a:cubicBezTo>
                  <a:pt x="1462" y="92"/>
                  <a:pt x="1462" y="92"/>
                  <a:pt x="1462" y="91"/>
                </a:cubicBezTo>
                <a:close/>
                <a:moveTo>
                  <a:pt x="573" y="54"/>
                </a:moveTo>
                <a:cubicBezTo>
                  <a:pt x="573" y="54"/>
                  <a:pt x="573" y="54"/>
                  <a:pt x="573" y="54"/>
                </a:cubicBezTo>
                <a:cubicBezTo>
                  <a:pt x="573" y="54"/>
                  <a:pt x="573" y="54"/>
                  <a:pt x="573" y="54"/>
                </a:cubicBezTo>
                <a:close/>
                <a:moveTo>
                  <a:pt x="1367" y="61"/>
                </a:moveTo>
                <a:cubicBezTo>
                  <a:pt x="1367" y="61"/>
                  <a:pt x="1367" y="61"/>
                  <a:pt x="1367" y="60"/>
                </a:cubicBezTo>
                <a:cubicBezTo>
                  <a:pt x="1367" y="61"/>
                  <a:pt x="1367" y="61"/>
                  <a:pt x="1367" y="61"/>
                </a:cubicBezTo>
                <a:close/>
                <a:moveTo>
                  <a:pt x="1460" y="13"/>
                </a:moveTo>
                <a:cubicBezTo>
                  <a:pt x="1460" y="14"/>
                  <a:pt x="1460" y="14"/>
                  <a:pt x="1461" y="14"/>
                </a:cubicBezTo>
                <a:cubicBezTo>
                  <a:pt x="1460" y="14"/>
                  <a:pt x="1460" y="14"/>
                  <a:pt x="1460" y="13"/>
                </a:cubicBezTo>
                <a:close/>
                <a:moveTo>
                  <a:pt x="1390" y="53"/>
                </a:moveTo>
                <a:cubicBezTo>
                  <a:pt x="1389" y="54"/>
                  <a:pt x="1389" y="54"/>
                  <a:pt x="1389" y="54"/>
                </a:cubicBezTo>
                <a:cubicBezTo>
                  <a:pt x="1389" y="54"/>
                  <a:pt x="1389" y="54"/>
                  <a:pt x="1390" y="53"/>
                </a:cubicBezTo>
                <a:close/>
                <a:moveTo>
                  <a:pt x="585" y="92"/>
                </a:moveTo>
                <a:cubicBezTo>
                  <a:pt x="585" y="92"/>
                  <a:pt x="585" y="92"/>
                  <a:pt x="585" y="92"/>
                </a:cubicBezTo>
                <a:cubicBezTo>
                  <a:pt x="585" y="92"/>
                  <a:pt x="585" y="92"/>
                  <a:pt x="585" y="92"/>
                </a:cubicBezTo>
                <a:close/>
                <a:moveTo>
                  <a:pt x="1575" y="13"/>
                </a:moveTo>
                <a:cubicBezTo>
                  <a:pt x="1575" y="14"/>
                  <a:pt x="1575" y="14"/>
                  <a:pt x="1575" y="14"/>
                </a:cubicBezTo>
                <a:cubicBezTo>
                  <a:pt x="1575" y="14"/>
                  <a:pt x="1575" y="14"/>
                  <a:pt x="1575" y="13"/>
                </a:cubicBezTo>
                <a:close/>
                <a:moveTo>
                  <a:pt x="1567" y="60"/>
                </a:moveTo>
                <a:cubicBezTo>
                  <a:pt x="1567" y="60"/>
                  <a:pt x="1566" y="61"/>
                  <a:pt x="1566" y="61"/>
                </a:cubicBezTo>
                <a:cubicBezTo>
                  <a:pt x="1567" y="61"/>
                  <a:pt x="1567" y="61"/>
                  <a:pt x="1567" y="60"/>
                </a:cubicBezTo>
                <a:close/>
                <a:moveTo>
                  <a:pt x="684" y="92"/>
                </a:moveTo>
                <a:cubicBezTo>
                  <a:pt x="685" y="92"/>
                  <a:pt x="685" y="92"/>
                  <a:pt x="685" y="92"/>
                </a:cubicBezTo>
                <a:cubicBezTo>
                  <a:pt x="685" y="92"/>
                  <a:pt x="684" y="92"/>
                  <a:pt x="684" y="92"/>
                </a:cubicBezTo>
                <a:close/>
                <a:moveTo>
                  <a:pt x="1735" y="60"/>
                </a:moveTo>
                <a:cubicBezTo>
                  <a:pt x="1735" y="60"/>
                  <a:pt x="1734" y="61"/>
                  <a:pt x="1734" y="61"/>
                </a:cubicBezTo>
                <a:cubicBezTo>
                  <a:pt x="1735" y="61"/>
                  <a:pt x="1735" y="61"/>
                  <a:pt x="1735" y="60"/>
                </a:cubicBezTo>
                <a:close/>
                <a:moveTo>
                  <a:pt x="582" y="61"/>
                </a:moveTo>
                <a:cubicBezTo>
                  <a:pt x="582" y="61"/>
                  <a:pt x="582" y="61"/>
                  <a:pt x="582" y="61"/>
                </a:cubicBezTo>
                <a:cubicBezTo>
                  <a:pt x="582" y="61"/>
                  <a:pt x="582" y="61"/>
                  <a:pt x="582" y="61"/>
                </a:cubicBezTo>
                <a:close/>
                <a:moveTo>
                  <a:pt x="1676" y="13"/>
                </a:moveTo>
                <a:cubicBezTo>
                  <a:pt x="1676" y="14"/>
                  <a:pt x="1676" y="14"/>
                  <a:pt x="1676" y="14"/>
                </a:cubicBezTo>
                <a:cubicBezTo>
                  <a:pt x="1676" y="14"/>
                  <a:pt x="1676" y="14"/>
                  <a:pt x="1676" y="13"/>
                </a:cubicBezTo>
                <a:close/>
                <a:moveTo>
                  <a:pt x="1376" y="54"/>
                </a:moveTo>
                <a:cubicBezTo>
                  <a:pt x="1376" y="54"/>
                  <a:pt x="1376" y="54"/>
                  <a:pt x="1376" y="54"/>
                </a:cubicBezTo>
                <a:cubicBezTo>
                  <a:pt x="1376" y="54"/>
                  <a:pt x="1376" y="54"/>
                  <a:pt x="1376" y="54"/>
                </a:cubicBezTo>
                <a:close/>
                <a:moveTo>
                  <a:pt x="1743" y="13"/>
                </a:moveTo>
                <a:cubicBezTo>
                  <a:pt x="1743" y="14"/>
                  <a:pt x="1743" y="14"/>
                  <a:pt x="1744" y="14"/>
                </a:cubicBezTo>
                <a:cubicBezTo>
                  <a:pt x="1743" y="14"/>
                  <a:pt x="1743" y="14"/>
                  <a:pt x="1743" y="13"/>
                </a:cubicBezTo>
                <a:close/>
                <a:moveTo>
                  <a:pt x="660" y="61"/>
                </a:moveTo>
                <a:cubicBezTo>
                  <a:pt x="660" y="61"/>
                  <a:pt x="660" y="61"/>
                  <a:pt x="660" y="61"/>
                </a:cubicBezTo>
                <a:cubicBezTo>
                  <a:pt x="660" y="61"/>
                  <a:pt x="660" y="61"/>
                  <a:pt x="660" y="61"/>
                </a:cubicBezTo>
                <a:close/>
                <a:moveTo>
                  <a:pt x="965" y="92"/>
                </a:moveTo>
                <a:cubicBezTo>
                  <a:pt x="965" y="92"/>
                  <a:pt x="964" y="92"/>
                  <a:pt x="964" y="92"/>
                </a:cubicBezTo>
                <a:cubicBezTo>
                  <a:pt x="964" y="92"/>
                  <a:pt x="964" y="92"/>
                  <a:pt x="965" y="92"/>
                </a:cubicBezTo>
                <a:close/>
                <a:moveTo>
                  <a:pt x="544" y="14"/>
                </a:moveTo>
                <a:cubicBezTo>
                  <a:pt x="544" y="14"/>
                  <a:pt x="544" y="14"/>
                  <a:pt x="544" y="14"/>
                </a:cubicBezTo>
                <a:cubicBezTo>
                  <a:pt x="544" y="14"/>
                  <a:pt x="544" y="14"/>
                  <a:pt x="544" y="14"/>
                </a:cubicBezTo>
                <a:close/>
                <a:moveTo>
                  <a:pt x="971" y="14"/>
                </a:moveTo>
                <a:cubicBezTo>
                  <a:pt x="971" y="14"/>
                  <a:pt x="971" y="14"/>
                  <a:pt x="971" y="14"/>
                </a:cubicBezTo>
                <a:cubicBezTo>
                  <a:pt x="971" y="14"/>
                  <a:pt x="971" y="14"/>
                  <a:pt x="971" y="14"/>
                </a:cubicBezTo>
                <a:close/>
                <a:moveTo>
                  <a:pt x="1347" y="14"/>
                </a:moveTo>
                <a:cubicBezTo>
                  <a:pt x="1347" y="14"/>
                  <a:pt x="1347" y="14"/>
                  <a:pt x="1348" y="14"/>
                </a:cubicBezTo>
                <a:cubicBezTo>
                  <a:pt x="1347" y="14"/>
                  <a:pt x="1347" y="14"/>
                  <a:pt x="1347" y="14"/>
                </a:cubicBezTo>
                <a:close/>
                <a:moveTo>
                  <a:pt x="1551" y="61"/>
                </a:moveTo>
                <a:cubicBezTo>
                  <a:pt x="1551" y="61"/>
                  <a:pt x="1551" y="61"/>
                  <a:pt x="1551" y="61"/>
                </a:cubicBezTo>
                <a:cubicBezTo>
                  <a:pt x="1551" y="61"/>
                  <a:pt x="1551" y="61"/>
                  <a:pt x="1551" y="61"/>
                </a:cubicBezTo>
                <a:close/>
                <a:moveTo>
                  <a:pt x="1566" y="61"/>
                </a:moveTo>
                <a:cubicBezTo>
                  <a:pt x="1566" y="61"/>
                  <a:pt x="1566" y="61"/>
                  <a:pt x="1566" y="61"/>
                </a:cubicBezTo>
                <a:cubicBezTo>
                  <a:pt x="1566" y="61"/>
                  <a:pt x="1566" y="61"/>
                  <a:pt x="1566" y="61"/>
                </a:cubicBezTo>
                <a:close/>
                <a:moveTo>
                  <a:pt x="1189" y="92"/>
                </a:moveTo>
                <a:cubicBezTo>
                  <a:pt x="1189" y="92"/>
                  <a:pt x="1189" y="92"/>
                  <a:pt x="1189" y="92"/>
                </a:cubicBezTo>
                <a:cubicBezTo>
                  <a:pt x="1189" y="92"/>
                  <a:pt x="1189" y="92"/>
                  <a:pt x="1189" y="92"/>
                </a:cubicBezTo>
                <a:close/>
                <a:moveTo>
                  <a:pt x="1201" y="92"/>
                </a:moveTo>
                <a:cubicBezTo>
                  <a:pt x="1201" y="92"/>
                  <a:pt x="1202" y="92"/>
                  <a:pt x="1202" y="92"/>
                </a:cubicBezTo>
                <a:cubicBezTo>
                  <a:pt x="1202" y="92"/>
                  <a:pt x="1201" y="92"/>
                  <a:pt x="1201" y="92"/>
                </a:cubicBezTo>
                <a:close/>
                <a:moveTo>
                  <a:pt x="1667" y="61"/>
                </a:moveTo>
                <a:cubicBezTo>
                  <a:pt x="1667" y="61"/>
                  <a:pt x="1667" y="61"/>
                  <a:pt x="1667" y="61"/>
                </a:cubicBezTo>
                <a:cubicBezTo>
                  <a:pt x="1667" y="61"/>
                  <a:pt x="1667" y="61"/>
                  <a:pt x="1667" y="61"/>
                </a:cubicBezTo>
                <a:close/>
                <a:moveTo>
                  <a:pt x="1719" y="61"/>
                </a:moveTo>
                <a:cubicBezTo>
                  <a:pt x="1719" y="61"/>
                  <a:pt x="1719" y="61"/>
                  <a:pt x="1719" y="61"/>
                </a:cubicBezTo>
                <a:cubicBezTo>
                  <a:pt x="1719" y="61"/>
                  <a:pt x="1719" y="61"/>
                  <a:pt x="1719" y="61"/>
                </a:cubicBezTo>
                <a:close/>
                <a:moveTo>
                  <a:pt x="1734" y="61"/>
                </a:moveTo>
                <a:cubicBezTo>
                  <a:pt x="1734" y="61"/>
                  <a:pt x="1734" y="61"/>
                  <a:pt x="1734" y="61"/>
                </a:cubicBezTo>
                <a:cubicBezTo>
                  <a:pt x="1734" y="61"/>
                  <a:pt x="1734" y="61"/>
                  <a:pt x="1734" y="61"/>
                </a:cubicBezTo>
                <a:close/>
                <a:moveTo>
                  <a:pt x="582" y="61"/>
                </a:moveTo>
                <a:cubicBezTo>
                  <a:pt x="582" y="61"/>
                  <a:pt x="582" y="62"/>
                  <a:pt x="583" y="62"/>
                </a:cubicBezTo>
                <a:cubicBezTo>
                  <a:pt x="583" y="61"/>
                  <a:pt x="582" y="61"/>
                  <a:pt x="582" y="61"/>
                </a:cubicBezTo>
                <a:close/>
                <a:moveTo>
                  <a:pt x="1391" y="14"/>
                </a:moveTo>
                <a:cubicBezTo>
                  <a:pt x="1391" y="14"/>
                  <a:pt x="1391" y="14"/>
                  <a:pt x="1392" y="14"/>
                </a:cubicBezTo>
                <a:cubicBezTo>
                  <a:pt x="1392" y="14"/>
                  <a:pt x="1391" y="14"/>
                  <a:pt x="1391" y="14"/>
                </a:cubicBezTo>
                <a:close/>
                <a:moveTo>
                  <a:pt x="1421" y="14"/>
                </a:moveTo>
                <a:cubicBezTo>
                  <a:pt x="1421" y="14"/>
                  <a:pt x="1421" y="14"/>
                  <a:pt x="1421" y="14"/>
                </a:cubicBezTo>
                <a:cubicBezTo>
                  <a:pt x="1421" y="14"/>
                  <a:pt x="1421" y="14"/>
                  <a:pt x="1421" y="14"/>
                </a:cubicBezTo>
                <a:close/>
                <a:moveTo>
                  <a:pt x="1461" y="14"/>
                </a:moveTo>
                <a:cubicBezTo>
                  <a:pt x="1461" y="14"/>
                  <a:pt x="1461" y="14"/>
                  <a:pt x="1461" y="14"/>
                </a:cubicBezTo>
                <a:cubicBezTo>
                  <a:pt x="1461" y="14"/>
                  <a:pt x="1461" y="14"/>
                  <a:pt x="1461" y="14"/>
                </a:cubicBezTo>
                <a:close/>
                <a:moveTo>
                  <a:pt x="585" y="92"/>
                </a:moveTo>
                <a:cubicBezTo>
                  <a:pt x="585" y="92"/>
                  <a:pt x="585" y="92"/>
                  <a:pt x="585" y="92"/>
                </a:cubicBezTo>
                <a:cubicBezTo>
                  <a:pt x="585" y="92"/>
                  <a:pt x="585" y="92"/>
                  <a:pt x="585" y="92"/>
                </a:cubicBezTo>
                <a:close/>
                <a:moveTo>
                  <a:pt x="1575" y="14"/>
                </a:moveTo>
                <a:cubicBezTo>
                  <a:pt x="1575" y="14"/>
                  <a:pt x="1576" y="14"/>
                  <a:pt x="1576" y="14"/>
                </a:cubicBezTo>
                <a:cubicBezTo>
                  <a:pt x="1576" y="14"/>
                  <a:pt x="1576" y="14"/>
                  <a:pt x="1575" y="14"/>
                </a:cubicBezTo>
                <a:close/>
                <a:moveTo>
                  <a:pt x="1744" y="14"/>
                </a:moveTo>
                <a:cubicBezTo>
                  <a:pt x="1744" y="14"/>
                  <a:pt x="1744" y="14"/>
                  <a:pt x="1744" y="14"/>
                </a:cubicBezTo>
                <a:cubicBezTo>
                  <a:pt x="1744" y="14"/>
                  <a:pt x="1744" y="14"/>
                  <a:pt x="1744" y="14"/>
                </a:cubicBezTo>
                <a:close/>
                <a:moveTo>
                  <a:pt x="1382" y="61"/>
                </a:moveTo>
                <a:cubicBezTo>
                  <a:pt x="1381" y="61"/>
                  <a:pt x="1381" y="61"/>
                  <a:pt x="1381" y="61"/>
                </a:cubicBezTo>
                <a:cubicBezTo>
                  <a:pt x="1381" y="61"/>
                  <a:pt x="1381" y="61"/>
                  <a:pt x="1382" y="61"/>
                </a:cubicBezTo>
                <a:close/>
                <a:moveTo>
                  <a:pt x="729" y="92"/>
                </a:moveTo>
                <a:cubicBezTo>
                  <a:pt x="729" y="92"/>
                  <a:pt x="729" y="92"/>
                  <a:pt x="730" y="92"/>
                </a:cubicBezTo>
                <a:cubicBezTo>
                  <a:pt x="729" y="92"/>
                  <a:pt x="729" y="92"/>
                  <a:pt x="729" y="92"/>
                </a:cubicBezTo>
                <a:close/>
                <a:moveTo>
                  <a:pt x="543" y="14"/>
                </a:moveTo>
                <a:cubicBezTo>
                  <a:pt x="544" y="14"/>
                  <a:pt x="544" y="14"/>
                  <a:pt x="544" y="14"/>
                </a:cubicBezTo>
                <a:cubicBezTo>
                  <a:pt x="544" y="14"/>
                  <a:pt x="543" y="14"/>
                  <a:pt x="543" y="14"/>
                </a:cubicBezTo>
                <a:close/>
                <a:moveTo>
                  <a:pt x="754" y="92"/>
                </a:moveTo>
                <a:cubicBezTo>
                  <a:pt x="754" y="92"/>
                  <a:pt x="754" y="92"/>
                  <a:pt x="754" y="92"/>
                </a:cubicBezTo>
                <a:cubicBezTo>
                  <a:pt x="754" y="92"/>
                  <a:pt x="754" y="92"/>
                  <a:pt x="754" y="92"/>
                </a:cubicBezTo>
                <a:close/>
                <a:moveTo>
                  <a:pt x="970" y="14"/>
                </a:moveTo>
                <a:cubicBezTo>
                  <a:pt x="971" y="14"/>
                  <a:pt x="971" y="14"/>
                  <a:pt x="971" y="14"/>
                </a:cubicBezTo>
                <a:cubicBezTo>
                  <a:pt x="971" y="14"/>
                  <a:pt x="971" y="14"/>
                  <a:pt x="970" y="14"/>
                </a:cubicBezTo>
                <a:close/>
                <a:moveTo>
                  <a:pt x="1667" y="61"/>
                </a:moveTo>
                <a:cubicBezTo>
                  <a:pt x="1667" y="61"/>
                  <a:pt x="1667" y="62"/>
                  <a:pt x="1668" y="62"/>
                </a:cubicBezTo>
                <a:cubicBezTo>
                  <a:pt x="1668" y="61"/>
                  <a:pt x="1667" y="61"/>
                  <a:pt x="1667" y="61"/>
                </a:cubicBezTo>
                <a:close/>
                <a:moveTo>
                  <a:pt x="965" y="92"/>
                </a:moveTo>
                <a:cubicBezTo>
                  <a:pt x="965" y="92"/>
                  <a:pt x="965" y="92"/>
                  <a:pt x="965" y="92"/>
                </a:cubicBezTo>
                <a:cubicBezTo>
                  <a:pt x="965" y="92"/>
                  <a:pt x="965" y="92"/>
                  <a:pt x="965" y="92"/>
                </a:cubicBezTo>
                <a:close/>
                <a:moveTo>
                  <a:pt x="1347" y="15"/>
                </a:moveTo>
                <a:cubicBezTo>
                  <a:pt x="1347" y="15"/>
                  <a:pt x="1347" y="14"/>
                  <a:pt x="1347" y="14"/>
                </a:cubicBezTo>
                <a:cubicBezTo>
                  <a:pt x="1347" y="14"/>
                  <a:pt x="1347" y="14"/>
                  <a:pt x="1347" y="15"/>
                </a:cubicBezTo>
                <a:close/>
                <a:moveTo>
                  <a:pt x="1392" y="14"/>
                </a:moveTo>
                <a:cubicBezTo>
                  <a:pt x="1392" y="14"/>
                  <a:pt x="1392" y="15"/>
                  <a:pt x="1392" y="15"/>
                </a:cubicBezTo>
                <a:cubicBezTo>
                  <a:pt x="1392" y="14"/>
                  <a:pt x="1392" y="14"/>
                  <a:pt x="1392" y="14"/>
                </a:cubicBezTo>
                <a:close/>
                <a:moveTo>
                  <a:pt x="583" y="62"/>
                </a:moveTo>
                <a:cubicBezTo>
                  <a:pt x="583" y="62"/>
                  <a:pt x="583" y="62"/>
                  <a:pt x="583" y="62"/>
                </a:cubicBezTo>
                <a:cubicBezTo>
                  <a:pt x="583" y="62"/>
                  <a:pt x="583" y="62"/>
                  <a:pt x="583" y="62"/>
                </a:cubicBezTo>
                <a:close/>
                <a:moveTo>
                  <a:pt x="661" y="62"/>
                </a:moveTo>
                <a:cubicBezTo>
                  <a:pt x="661" y="62"/>
                  <a:pt x="661" y="61"/>
                  <a:pt x="660" y="61"/>
                </a:cubicBezTo>
                <a:cubicBezTo>
                  <a:pt x="660" y="62"/>
                  <a:pt x="660" y="62"/>
                  <a:pt x="661" y="62"/>
                </a:cubicBezTo>
                <a:close/>
                <a:moveTo>
                  <a:pt x="1421" y="15"/>
                </a:moveTo>
                <a:cubicBezTo>
                  <a:pt x="1421" y="15"/>
                  <a:pt x="1421" y="14"/>
                  <a:pt x="1421" y="14"/>
                </a:cubicBezTo>
                <a:cubicBezTo>
                  <a:pt x="1421" y="14"/>
                  <a:pt x="1421" y="14"/>
                  <a:pt x="1421" y="15"/>
                </a:cubicBezTo>
                <a:close/>
                <a:moveTo>
                  <a:pt x="1576" y="14"/>
                </a:moveTo>
                <a:cubicBezTo>
                  <a:pt x="1576" y="14"/>
                  <a:pt x="1576" y="14"/>
                  <a:pt x="1576" y="15"/>
                </a:cubicBezTo>
                <a:cubicBezTo>
                  <a:pt x="1576" y="14"/>
                  <a:pt x="1576" y="14"/>
                  <a:pt x="1576" y="14"/>
                </a:cubicBezTo>
                <a:close/>
                <a:moveTo>
                  <a:pt x="1366" y="62"/>
                </a:moveTo>
                <a:cubicBezTo>
                  <a:pt x="1366" y="62"/>
                  <a:pt x="1366" y="62"/>
                  <a:pt x="1366" y="62"/>
                </a:cubicBezTo>
                <a:cubicBezTo>
                  <a:pt x="1366" y="62"/>
                  <a:pt x="1366" y="62"/>
                  <a:pt x="1366" y="62"/>
                </a:cubicBezTo>
                <a:close/>
                <a:moveTo>
                  <a:pt x="1381" y="61"/>
                </a:moveTo>
                <a:cubicBezTo>
                  <a:pt x="1381" y="61"/>
                  <a:pt x="1381" y="62"/>
                  <a:pt x="1381" y="62"/>
                </a:cubicBezTo>
                <a:cubicBezTo>
                  <a:pt x="1381" y="62"/>
                  <a:pt x="1381" y="62"/>
                  <a:pt x="1381" y="61"/>
                </a:cubicBezTo>
                <a:close/>
                <a:moveTo>
                  <a:pt x="1744" y="14"/>
                </a:moveTo>
                <a:cubicBezTo>
                  <a:pt x="1744" y="14"/>
                  <a:pt x="1744" y="14"/>
                  <a:pt x="1744" y="15"/>
                </a:cubicBezTo>
                <a:cubicBezTo>
                  <a:pt x="1744" y="14"/>
                  <a:pt x="1744" y="14"/>
                  <a:pt x="1744" y="14"/>
                </a:cubicBezTo>
                <a:close/>
                <a:moveTo>
                  <a:pt x="1418" y="92"/>
                </a:moveTo>
                <a:cubicBezTo>
                  <a:pt x="1418" y="92"/>
                  <a:pt x="1418" y="92"/>
                  <a:pt x="1418" y="92"/>
                </a:cubicBezTo>
                <a:cubicBezTo>
                  <a:pt x="1418" y="92"/>
                  <a:pt x="1418" y="92"/>
                  <a:pt x="1418" y="92"/>
                </a:cubicBezTo>
                <a:close/>
                <a:moveTo>
                  <a:pt x="1668" y="62"/>
                </a:moveTo>
                <a:cubicBezTo>
                  <a:pt x="1668" y="62"/>
                  <a:pt x="1668" y="62"/>
                  <a:pt x="1668" y="62"/>
                </a:cubicBezTo>
                <a:cubicBezTo>
                  <a:pt x="1668" y="62"/>
                  <a:pt x="1668" y="62"/>
                  <a:pt x="1668" y="62"/>
                </a:cubicBezTo>
                <a:close/>
                <a:moveTo>
                  <a:pt x="583" y="62"/>
                </a:moveTo>
                <a:cubicBezTo>
                  <a:pt x="583" y="62"/>
                  <a:pt x="583" y="62"/>
                  <a:pt x="583" y="62"/>
                </a:cubicBezTo>
                <a:cubicBezTo>
                  <a:pt x="583" y="62"/>
                  <a:pt x="583" y="62"/>
                  <a:pt x="583" y="62"/>
                </a:cubicBezTo>
                <a:close/>
                <a:moveTo>
                  <a:pt x="543" y="15"/>
                </a:moveTo>
                <a:cubicBezTo>
                  <a:pt x="543" y="15"/>
                  <a:pt x="543" y="15"/>
                  <a:pt x="543" y="14"/>
                </a:cubicBezTo>
                <a:cubicBezTo>
                  <a:pt x="543" y="15"/>
                  <a:pt x="543" y="15"/>
                  <a:pt x="543" y="15"/>
                </a:cubicBezTo>
                <a:close/>
                <a:moveTo>
                  <a:pt x="1420" y="15"/>
                </a:moveTo>
                <a:cubicBezTo>
                  <a:pt x="1420" y="15"/>
                  <a:pt x="1421" y="15"/>
                  <a:pt x="1421" y="15"/>
                </a:cubicBezTo>
                <a:cubicBezTo>
                  <a:pt x="1420" y="15"/>
                  <a:pt x="1420" y="15"/>
                  <a:pt x="1420" y="15"/>
                </a:cubicBezTo>
                <a:close/>
                <a:moveTo>
                  <a:pt x="1576" y="15"/>
                </a:moveTo>
                <a:cubicBezTo>
                  <a:pt x="1576" y="15"/>
                  <a:pt x="1576" y="15"/>
                  <a:pt x="1576" y="15"/>
                </a:cubicBezTo>
                <a:cubicBezTo>
                  <a:pt x="1576" y="15"/>
                  <a:pt x="1576" y="15"/>
                  <a:pt x="1576" y="15"/>
                </a:cubicBezTo>
                <a:close/>
                <a:moveTo>
                  <a:pt x="1744" y="15"/>
                </a:moveTo>
                <a:cubicBezTo>
                  <a:pt x="1744" y="15"/>
                  <a:pt x="1744" y="15"/>
                  <a:pt x="1745" y="15"/>
                </a:cubicBezTo>
                <a:cubicBezTo>
                  <a:pt x="1745" y="15"/>
                  <a:pt x="1744" y="15"/>
                  <a:pt x="1744" y="15"/>
                </a:cubicBezTo>
                <a:close/>
                <a:moveTo>
                  <a:pt x="543" y="15"/>
                </a:moveTo>
                <a:cubicBezTo>
                  <a:pt x="543" y="15"/>
                  <a:pt x="543" y="15"/>
                  <a:pt x="543" y="15"/>
                </a:cubicBezTo>
                <a:cubicBezTo>
                  <a:pt x="543" y="15"/>
                  <a:pt x="543" y="15"/>
                  <a:pt x="543" y="15"/>
                </a:cubicBezTo>
                <a:close/>
                <a:moveTo>
                  <a:pt x="969" y="15"/>
                </a:moveTo>
                <a:cubicBezTo>
                  <a:pt x="970" y="15"/>
                  <a:pt x="970" y="15"/>
                  <a:pt x="970" y="15"/>
                </a:cubicBezTo>
                <a:cubicBezTo>
                  <a:pt x="970" y="15"/>
                  <a:pt x="969" y="15"/>
                  <a:pt x="969" y="15"/>
                </a:cubicBezTo>
                <a:close/>
                <a:moveTo>
                  <a:pt x="542" y="16"/>
                </a:moveTo>
                <a:cubicBezTo>
                  <a:pt x="543" y="16"/>
                  <a:pt x="543" y="15"/>
                  <a:pt x="543" y="15"/>
                </a:cubicBezTo>
                <a:cubicBezTo>
                  <a:pt x="543" y="15"/>
                  <a:pt x="542" y="15"/>
                  <a:pt x="542" y="16"/>
                </a:cubicBezTo>
                <a:close/>
                <a:moveTo>
                  <a:pt x="1381" y="62"/>
                </a:moveTo>
                <a:cubicBezTo>
                  <a:pt x="1381" y="62"/>
                  <a:pt x="1380" y="62"/>
                  <a:pt x="1380" y="62"/>
                </a:cubicBezTo>
                <a:cubicBezTo>
                  <a:pt x="1381" y="62"/>
                  <a:pt x="1381" y="62"/>
                  <a:pt x="1381" y="62"/>
                </a:cubicBezTo>
                <a:close/>
                <a:moveTo>
                  <a:pt x="1549" y="62"/>
                </a:moveTo>
                <a:cubicBezTo>
                  <a:pt x="1550" y="62"/>
                  <a:pt x="1550" y="62"/>
                  <a:pt x="1550" y="62"/>
                </a:cubicBezTo>
                <a:cubicBezTo>
                  <a:pt x="1550" y="62"/>
                  <a:pt x="1549" y="62"/>
                  <a:pt x="1549" y="62"/>
                </a:cubicBezTo>
                <a:close/>
                <a:moveTo>
                  <a:pt x="1565" y="62"/>
                </a:moveTo>
                <a:cubicBezTo>
                  <a:pt x="1565" y="62"/>
                  <a:pt x="1565" y="62"/>
                  <a:pt x="1565" y="62"/>
                </a:cubicBezTo>
                <a:cubicBezTo>
                  <a:pt x="1565" y="62"/>
                  <a:pt x="1565" y="62"/>
                  <a:pt x="1565" y="62"/>
                </a:cubicBezTo>
                <a:close/>
                <a:moveTo>
                  <a:pt x="1392" y="15"/>
                </a:moveTo>
                <a:cubicBezTo>
                  <a:pt x="1392" y="15"/>
                  <a:pt x="1392" y="16"/>
                  <a:pt x="1393" y="16"/>
                </a:cubicBezTo>
                <a:cubicBezTo>
                  <a:pt x="1393" y="15"/>
                  <a:pt x="1392" y="15"/>
                  <a:pt x="1392" y="15"/>
                </a:cubicBezTo>
                <a:close/>
                <a:moveTo>
                  <a:pt x="965" y="93"/>
                </a:moveTo>
                <a:cubicBezTo>
                  <a:pt x="965" y="93"/>
                  <a:pt x="965" y="92"/>
                  <a:pt x="965" y="92"/>
                </a:cubicBezTo>
                <a:cubicBezTo>
                  <a:pt x="965" y="93"/>
                  <a:pt x="965" y="93"/>
                  <a:pt x="965" y="93"/>
                </a:cubicBezTo>
                <a:close/>
                <a:moveTo>
                  <a:pt x="1462" y="15"/>
                </a:moveTo>
                <a:cubicBezTo>
                  <a:pt x="1462" y="15"/>
                  <a:pt x="1462" y="16"/>
                  <a:pt x="1462" y="16"/>
                </a:cubicBezTo>
                <a:cubicBezTo>
                  <a:pt x="1462" y="15"/>
                  <a:pt x="1462" y="15"/>
                  <a:pt x="1462" y="15"/>
                </a:cubicBezTo>
                <a:close/>
                <a:moveTo>
                  <a:pt x="1668" y="62"/>
                </a:moveTo>
                <a:cubicBezTo>
                  <a:pt x="1668" y="62"/>
                  <a:pt x="1668" y="62"/>
                  <a:pt x="1668" y="62"/>
                </a:cubicBezTo>
                <a:cubicBezTo>
                  <a:pt x="1668" y="62"/>
                  <a:pt x="1668" y="62"/>
                  <a:pt x="1668" y="62"/>
                </a:cubicBezTo>
                <a:close/>
                <a:moveTo>
                  <a:pt x="1036" y="93"/>
                </a:moveTo>
                <a:cubicBezTo>
                  <a:pt x="1036" y="93"/>
                  <a:pt x="1036" y="92"/>
                  <a:pt x="1036" y="92"/>
                </a:cubicBezTo>
                <a:cubicBezTo>
                  <a:pt x="1036" y="93"/>
                  <a:pt x="1036" y="93"/>
                  <a:pt x="1036" y="93"/>
                </a:cubicBezTo>
                <a:close/>
                <a:moveTo>
                  <a:pt x="1717" y="62"/>
                </a:moveTo>
                <a:cubicBezTo>
                  <a:pt x="1718" y="62"/>
                  <a:pt x="1718" y="62"/>
                  <a:pt x="1718" y="62"/>
                </a:cubicBezTo>
                <a:cubicBezTo>
                  <a:pt x="1718" y="62"/>
                  <a:pt x="1718" y="62"/>
                  <a:pt x="1717" y="62"/>
                </a:cubicBezTo>
                <a:close/>
                <a:moveTo>
                  <a:pt x="1733" y="62"/>
                </a:moveTo>
                <a:cubicBezTo>
                  <a:pt x="1733" y="62"/>
                  <a:pt x="1733" y="62"/>
                  <a:pt x="1733" y="62"/>
                </a:cubicBezTo>
                <a:cubicBezTo>
                  <a:pt x="1733" y="62"/>
                  <a:pt x="1733" y="62"/>
                  <a:pt x="1733" y="62"/>
                </a:cubicBezTo>
                <a:close/>
                <a:moveTo>
                  <a:pt x="542" y="16"/>
                </a:moveTo>
                <a:cubicBezTo>
                  <a:pt x="542" y="16"/>
                  <a:pt x="542" y="16"/>
                  <a:pt x="542" y="16"/>
                </a:cubicBezTo>
                <a:cubicBezTo>
                  <a:pt x="542" y="16"/>
                  <a:pt x="542" y="16"/>
                  <a:pt x="542" y="16"/>
                </a:cubicBezTo>
                <a:close/>
                <a:moveTo>
                  <a:pt x="1393" y="16"/>
                </a:moveTo>
                <a:cubicBezTo>
                  <a:pt x="1393" y="16"/>
                  <a:pt x="1393" y="16"/>
                  <a:pt x="1393" y="16"/>
                </a:cubicBezTo>
                <a:cubicBezTo>
                  <a:pt x="1393" y="16"/>
                  <a:pt x="1393" y="16"/>
                  <a:pt x="1393" y="16"/>
                </a:cubicBezTo>
                <a:close/>
                <a:moveTo>
                  <a:pt x="1214" y="93"/>
                </a:moveTo>
                <a:cubicBezTo>
                  <a:pt x="1214" y="93"/>
                  <a:pt x="1214" y="92"/>
                  <a:pt x="1214" y="92"/>
                </a:cubicBezTo>
                <a:cubicBezTo>
                  <a:pt x="1214" y="93"/>
                  <a:pt x="1214" y="93"/>
                  <a:pt x="1214" y="93"/>
                </a:cubicBezTo>
                <a:close/>
                <a:moveTo>
                  <a:pt x="1462" y="16"/>
                </a:moveTo>
                <a:cubicBezTo>
                  <a:pt x="1462" y="16"/>
                  <a:pt x="1462" y="16"/>
                  <a:pt x="1462" y="16"/>
                </a:cubicBezTo>
                <a:cubicBezTo>
                  <a:pt x="1462" y="16"/>
                  <a:pt x="1462" y="16"/>
                  <a:pt x="1462" y="16"/>
                </a:cubicBezTo>
                <a:close/>
                <a:moveTo>
                  <a:pt x="542" y="16"/>
                </a:moveTo>
                <a:cubicBezTo>
                  <a:pt x="542" y="16"/>
                  <a:pt x="542" y="16"/>
                  <a:pt x="542" y="16"/>
                </a:cubicBezTo>
                <a:cubicBezTo>
                  <a:pt x="542" y="16"/>
                  <a:pt x="542" y="16"/>
                  <a:pt x="542" y="16"/>
                </a:cubicBezTo>
                <a:close/>
                <a:moveTo>
                  <a:pt x="968" y="16"/>
                </a:moveTo>
                <a:cubicBezTo>
                  <a:pt x="968" y="16"/>
                  <a:pt x="968" y="16"/>
                  <a:pt x="968" y="16"/>
                </a:cubicBezTo>
                <a:cubicBezTo>
                  <a:pt x="968" y="16"/>
                  <a:pt x="968" y="16"/>
                  <a:pt x="968" y="16"/>
                </a:cubicBezTo>
                <a:close/>
                <a:moveTo>
                  <a:pt x="1461" y="92"/>
                </a:moveTo>
                <a:cubicBezTo>
                  <a:pt x="1461" y="92"/>
                  <a:pt x="1461" y="93"/>
                  <a:pt x="1461" y="93"/>
                </a:cubicBezTo>
                <a:cubicBezTo>
                  <a:pt x="1461" y="93"/>
                  <a:pt x="1461" y="93"/>
                  <a:pt x="1461" y="92"/>
                </a:cubicBezTo>
                <a:close/>
                <a:moveTo>
                  <a:pt x="1419" y="16"/>
                </a:moveTo>
                <a:cubicBezTo>
                  <a:pt x="1419" y="16"/>
                  <a:pt x="1419" y="16"/>
                  <a:pt x="1419" y="16"/>
                </a:cubicBezTo>
                <a:cubicBezTo>
                  <a:pt x="1419" y="16"/>
                  <a:pt x="1419" y="16"/>
                  <a:pt x="1419" y="16"/>
                </a:cubicBezTo>
                <a:close/>
                <a:moveTo>
                  <a:pt x="1565" y="62"/>
                </a:moveTo>
                <a:cubicBezTo>
                  <a:pt x="1564" y="62"/>
                  <a:pt x="1564" y="62"/>
                  <a:pt x="1564" y="62"/>
                </a:cubicBezTo>
                <a:cubicBezTo>
                  <a:pt x="1564" y="62"/>
                  <a:pt x="1565" y="62"/>
                  <a:pt x="1565" y="62"/>
                </a:cubicBezTo>
                <a:close/>
                <a:moveTo>
                  <a:pt x="1577" y="16"/>
                </a:moveTo>
                <a:cubicBezTo>
                  <a:pt x="1577" y="16"/>
                  <a:pt x="1577" y="16"/>
                  <a:pt x="1577" y="16"/>
                </a:cubicBezTo>
                <a:cubicBezTo>
                  <a:pt x="1577" y="16"/>
                  <a:pt x="1577" y="16"/>
                  <a:pt x="1577" y="16"/>
                </a:cubicBezTo>
                <a:close/>
                <a:moveTo>
                  <a:pt x="1745" y="16"/>
                </a:moveTo>
                <a:cubicBezTo>
                  <a:pt x="1745" y="16"/>
                  <a:pt x="1745" y="16"/>
                  <a:pt x="1746" y="16"/>
                </a:cubicBezTo>
                <a:cubicBezTo>
                  <a:pt x="1746" y="16"/>
                  <a:pt x="1745" y="16"/>
                  <a:pt x="1745" y="16"/>
                </a:cubicBezTo>
                <a:close/>
                <a:moveTo>
                  <a:pt x="968" y="17"/>
                </a:moveTo>
                <a:cubicBezTo>
                  <a:pt x="968" y="17"/>
                  <a:pt x="968" y="16"/>
                  <a:pt x="968" y="16"/>
                </a:cubicBezTo>
                <a:cubicBezTo>
                  <a:pt x="968" y="16"/>
                  <a:pt x="968" y="16"/>
                  <a:pt x="968" y="17"/>
                </a:cubicBezTo>
                <a:close/>
                <a:moveTo>
                  <a:pt x="1733" y="62"/>
                </a:moveTo>
                <a:cubicBezTo>
                  <a:pt x="1733" y="62"/>
                  <a:pt x="1732" y="62"/>
                  <a:pt x="1732" y="62"/>
                </a:cubicBezTo>
                <a:cubicBezTo>
                  <a:pt x="1733" y="62"/>
                  <a:pt x="1733" y="62"/>
                  <a:pt x="1733" y="62"/>
                </a:cubicBezTo>
                <a:close/>
                <a:moveTo>
                  <a:pt x="1419" y="17"/>
                </a:moveTo>
                <a:cubicBezTo>
                  <a:pt x="1419" y="17"/>
                  <a:pt x="1419" y="16"/>
                  <a:pt x="1419" y="16"/>
                </a:cubicBezTo>
                <a:cubicBezTo>
                  <a:pt x="1419" y="16"/>
                  <a:pt x="1419" y="16"/>
                  <a:pt x="1419" y="17"/>
                </a:cubicBezTo>
                <a:close/>
                <a:moveTo>
                  <a:pt x="661" y="63"/>
                </a:moveTo>
                <a:cubicBezTo>
                  <a:pt x="661" y="63"/>
                  <a:pt x="661" y="63"/>
                  <a:pt x="661" y="62"/>
                </a:cubicBezTo>
                <a:cubicBezTo>
                  <a:pt x="661" y="63"/>
                  <a:pt x="661" y="63"/>
                  <a:pt x="661" y="63"/>
                </a:cubicBezTo>
                <a:close/>
                <a:moveTo>
                  <a:pt x="1037" y="93"/>
                </a:moveTo>
                <a:cubicBezTo>
                  <a:pt x="1037" y="93"/>
                  <a:pt x="1036" y="93"/>
                  <a:pt x="1036" y="93"/>
                </a:cubicBezTo>
                <a:cubicBezTo>
                  <a:pt x="1036" y="93"/>
                  <a:pt x="1036" y="93"/>
                  <a:pt x="1037" y="93"/>
                </a:cubicBezTo>
                <a:close/>
                <a:moveTo>
                  <a:pt x="1679" y="16"/>
                </a:moveTo>
                <a:cubicBezTo>
                  <a:pt x="1679" y="16"/>
                  <a:pt x="1679" y="17"/>
                  <a:pt x="1679" y="17"/>
                </a:cubicBezTo>
                <a:cubicBezTo>
                  <a:pt x="1679" y="16"/>
                  <a:pt x="1679" y="16"/>
                  <a:pt x="1679" y="16"/>
                </a:cubicBezTo>
                <a:close/>
                <a:moveTo>
                  <a:pt x="1364" y="63"/>
                </a:moveTo>
                <a:cubicBezTo>
                  <a:pt x="1364" y="63"/>
                  <a:pt x="1365" y="63"/>
                  <a:pt x="1365" y="63"/>
                </a:cubicBezTo>
                <a:cubicBezTo>
                  <a:pt x="1364" y="63"/>
                  <a:pt x="1364" y="63"/>
                  <a:pt x="1364" y="63"/>
                </a:cubicBezTo>
                <a:close/>
                <a:moveTo>
                  <a:pt x="1380" y="63"/>
                </a:moveTo>
                <a:cubicBezTo>
                  <a:pt x="1380" y="63"/>
                  <a:pt x="1379" y="63"/>
                  <a:pt x="1379" y="63"/>
                </a:cubicBezTo>
                <a:cubicBezTo>
                  <a:pt x="1380" y="63"/>
                  <a:pt x="1380" y="63"/>
                  <a:pt x="1380" y="63"/>
                </a:cubicBezTo>
                <a:close/>
                <a:moveTo>
                  <a:pt x="967" y="17"/>
                </a:moveTo>
                <a:cubicBezTo>
                  <a:pt x="968" y="17"/>
                  <a:pt x="968" y="17"/>
                  <a:pt x="968" y="17"/>
                </a:cubicBezTo>
                <a:cubicBezTo>
                  <a:pt x="968" y="17"/>
                  <a:pt x="967" y="17"/>
                  <a:pt x="967" y="17"/>
                </a:cubicBezTo>
                <a:close/>
                <a:moveTo>
                  <a:pt x="1214" y="93"/>
                </a:moveTo>
                <a:cubicBezTo>
                  <a:pt x="1214" y="93"/>
                  <a:pt x="1214" y="93"/>
                  <a:pt x="1214" y="93"/>
                </a:cubicBezTo>
                <a:cubicBezTo>
                  <a:pt x="1214" y="93"/>
                  <a:pt x="1214" y="93"/>
                  <a:pt x="1214" y="93"/>
                </a:cubicBezTo>
                <a:close/>
                <a:moveTo>
                  <a:pt x="1393" y="17"/>
                </a:moveTo>
                <a:cubicBezTo>
                  <a:pt x="1393" y="17"/>
                  <a:pt x="1393" y="17"/>
                  <a:pt x="1394" y="17"/>
                </a:cubicBezTo>
                <a:cubicBezTo>
                  <a:pt x="1394" y="17"/>
                  <a:pt x="1393" y="17"/>
                  <a:pt x="1393" y="17"/>
                </a:cubicBezTo>
                <a:close/>
                <a:moveTo>
                  <a:pt x="1463" y="17"/>
                </a:moveTo>
                <a:cubicBezTo>
                  <a:pt x="1463" y="17"/>
                  <a:pt x="1463" y="17"/>
                  <a:pt x="1463" y="17"/>
                </a:cubicBezTo>
                <a:cubicBezTo>
                  <a:pt x="1463" y="17"/>
                  <a:pt x="1463" y="17"/>
                  <a:pt x="1463" y="17"/>
                </a:cubicBezTo>
                <a:close/>
                <a:moveTo>
                  <a:pt x="1461" y="93"/>
                </a:moveTo>
                <a:cubicBezTo>
                  <a:pt x="1461" y="93"/>
                  <a:pt x="1461" y="93"/>
                  <a:pt x="1461" y="93"/>
                </a:cubicBezTo>
                <a:cubicBezTo>
                  <a:pt x="1461" y="93"/>
                  <a:pt x="1461" y="93"/>
                  <a:pt x="1461" y="93"/>
                </a:cubicBezTo>
                <a:close/>
                <a:moveTo>
                  <a:pt x="1679" y="17"/>
                </a:moveTo>
                <a:cubicBezTo>
                  <a:pt x="1679" y="17"/>
                  <a:pt x="1679" y="17"/>
                  <a:pt x="1679" y="17"/>
                </a:cubicBezTo>
                <a:cubicBezTo>
                  <a:pt x="1679" y="17"/>
                  <a:pt x="1679" y="17"/>
                  <a:pt x="1679" y="17"/>
                </a:cubicBezTo>
                <a:close/>
                <a:moveTo>
                  <a:pt x="541" y="17"/>
                </a:moveTo>
                <a:cubicBezTo>
                  <a:pt x="541" y="17"/>
                  <a:pt x="541" y="17"/>
                  <a:pt x="541" y="17"/>
                </a:cubicBezTo>
                <a:cubicBezTo>
                  <a:pt x="541" y="17"/>
                  <a:pt x="541" y="17"/>
                  <a:pt x="541" y="17"/>
                </a:cubicBezTo>
                <a:close/>
                <a:moveTo>
                  <a:pt x="584" y="93"/>
                </a:moveTo>
                <a:cubicBezTo>
                  <a:pt x="584" y="93"/>
                  <a:pt x="584" y="93"/>
                  <a:pt x="584" y="93"/>
                </a:cubicBezTo>
                <a:cubicBezTo>
                  <a:pt x="584" y="93"/>
                  <a:pt x="584" y="93"/>
                  <a:pt x="584" y="93"/>
                </a:cubicBezTo>
                <a:close/>
                <a:moveTo>
                  <a:pt x="1578" y="17"/>
                </a:moveTo>
                <a:cubicBezTo>
                  <a:pt x="1578" y="17"/>
                  <a:pt x="1578" y="17"/>
                  <a:pt x="1578" y="17"/>
                </a:cubicBezTo>
                <a:cubicBezTo>
                  <a:pt x="1578" y="17"/>
                  <a:pt x="1578" y="17"/>
                  <a:pt x="1578" y="17"/>
                </a:cubicBezTo>
                <a:close/>
                <a:moveTo>
                  <a:pt x="1679" y="17"/>
                </a:moveTo>
                <a:cubicBezTo>
                  <a:pt x="1679" y="17"/>
                  <a:pt x="1680" y="17"/>
                  <a:pt x="1680" y="17"/>
                </a:cubicBezTo>
                <a:cubicBezTo>
                  <a:pt x="1680" y="17"/>
                  <a:pt x="1680" y="17"/>
                  <a:pt x="1679" y="17"/>
                </a:cubicBezTo>
                <a:close/>
                <a:moveTo>
                  <a:pt x="1746" y="17"/>
                </a:moveTo>
                <a:cubicBezTo>
                  <a:pt x="1746" y="17"/>
                  <a:pt x="1746" y="17"/>
                  <a:pt x="1746" y="17"/>
                </a:cubicBezTo>
                <a:cubicBezTo>
                  <a:pt x="1746" y="17"/>
                  <a:pt x="1746" y="17"/>
                  <a:pt x="1746" y="17"/>
                </a:cubicBezTo>
                <a:close/>
                <a:moveTo>
                  <a:pt x="697" y="93"/>
                </a:moveTo>
                <a:cubicBezTo>
                  <a:pt x="697" y="93"/>
                  <a:pt x="697" y="93"/>
                  <a:pt x="697" y="94"/>
                </a:cubicBezTo>
                <a:cubicBezTo>
                  <a:pt x="697" y="93"/>
                  <a:pt x="697" y="93"/>
                  <a:pt x="697" y="93"/>
                </a:cubicBezTo>
                <a:close/>
                <a:moveTo>
                  <a:pt x="541" y="18"/>
                </a:moveTo>
                <a:cubicBezTo>
                  <a:pt x="541" y="18"/>
                  <a:pt x="541" y="17"/>
                  <a:pt x="541" y="17"/>
                </a:cubicBezTo>
                <a:cubicBezTo>
                  <a:pt x="541" y="17"/>
                  <a:pt x="541" y="18"/>
                  <a:pt x="541" y="18"/>
                </a:cubicBezTo>
                <a:close/>
                <a:moveTo>
                  <a:pt x="1418" y="18"/>
                </a:moveTo>
                <a:cubicBezTo>
                  <a:pt x="1418" y="18"/>
                  <a:pt x="1418" y="17"/>
                  <a:pt x="1418" y="17"/>
                </a:cubicBezTo>
                <a:cubicBezTo>
                  <a:pt x="1418" y="17"/>
                  <a:pt x="1418" y="18"/>
                  <a:pt x="1418" y="18"/>
                </a:cubicBezTo>
                <a:close/>
                <a:moveTo>
                  <a:pt x="966" y="18"/>
                </a:moveTo>
                <a:cubicBezTo>
                  <a:pt x="966" y="18"/>
                  <a:pt x="966" y="18"/>
                  <a:pt x="966" y="18"/>
                </a:cubicBezTo>
                <a:cubicBezTo>
                  <a:pt x="966" y="18"/>
                  <a:pt x="966" y="18"/>
                  <a:pt x="966" y="18"/>
                </a:cubicBezTo>
                <a:close/>
                <a:moveTo>
                  <a:pt x="1380" y="18"/>
                </a:moveTo>
                <a:cubicBezTo>
                  <a:pt x="1379" y="18"/>
                  <a:pt x="1379" y="18"/>
                  <a:pt x="1379" y="18"/>
                </a:cubicBezTo>
                <a:cubicBezTo>
                  <a:pt x="1379" y="18"/>
                  <a:pt x="1379" y="18"/>
                  <a:pt x="1380" y="18"/>
                </a:cubicBezTo>
                <a:close/>
                <a:moveTo>
                  <a:pt x="1037" y="94"/>
                </a:moveTo>
                <a:cubicBezTo>
                  <a:pt x="1037" y="93"/>
                  <a:pt x="1037" y="93"/>
                  <a:pt x="1037" y="93"/>
                </a:cubicBezTo>
                <a:cubicBezTo>
                  <a:pt x="1037" y="93"/>
                  <a:pt x="1037" y="93"/>
                  <a:pt x="1037" y="94"/>
                </a:cubicBezTo>
                <a:close/>
                <a:moveTo>
                  <a:pt x="1564" y="18"/>
                </a:moveTo>
                <a:cubicBezTo>
                  <a:pt x="1564" y="18"/>
                  <a:pt x="1563" y="18"/>
                  <a:pt x="1563" y="18"/>
                </a:cubicBezTo>
                <a:cubicBezTo>
                  <a:pt x="1563" y="18"/>
                  <a:pt x="1563" y="18"/>
                  <a:pt x="1564" y="18"/>
                </a:cubicBezTo>
                <a:close/>
                <a:moveTo>
                  <a:pt x="1379" y="63"/>
                </a:moveTo>
                <a:cubicBezTo>
                  <a:pt x="1379" y="63"/>
                  <a:pt x="1379" y="63"/>
                  <a:pt x="1379" y="63"/>
                </a:cubicBezTo>
                <a:cubicBezTo>
                  <a:pt x="1379" y="63"/>
                  <a:pt x="1379" y="63"/>
                  <a:pt x="1379" y="63"/>
                </a:cubicBezTo>
                <a:close/>
                <a:moveTo>
                  <a:pt x="1548" y="63"/>
                </a:moveTo>
                <a:cubicBezTo>
                  <a:pt x="1548" y="63"/>
                  <a:pt x="1548" y="63"/>
                  <a:pt x="1548" y="63"/>
                </a:cubicBezTo>
                <a:cubicBezTo>
                  <a:pt x="1548" y="63"/>
                  <a:pt x="1548" y="63"/>
                  <a:pt x="1548" y="63"/>
                </a:cubicBezTo>
                <a:close/>
                <a:moveTo>
                  <a:pt x="1564" y="63"/>
                </a:moveTo>
                <a:cubicBezTo>
                  <a:pt x="1563" y="63"/>
                  <a:pt x="1563" y="63"/>
                  <a:pt x="1563" y="63"/>
                </a:cubicBezTo>
                <a:cubicBezTo>
                  <a:pt x="1563" y="63"/>
                  <a:pt x="1563" y="63"/>
                  <a:pt x="1564" y="63"/>
                </a:cubicBezTo>
                <a:close/>
                <a:moveTo>
                  <a:pt x="1654" y="63"/>
                </a:moveTo>
                <a:cubicBezTo>
                  <a:pt x="1654" y="63"/>
                  <a:pt x="1654" y="63"/>
                  <a:pt x="1654" y="63"/>
                </a:cubicBezTo>
                <a:cubicBezTo>
                  <a:pt x="1654" y="63"/>
                  <a:pt x="1654" y="63"/>
                  <a:pt x="1654" y="63"/>
                </a:cubicBezTo>
                <a:close/>
                <a:moveTo>
                  <a:pt x="1716" y="63"/>
                </a:moveTo>
                <a:cubicBezTo>
                  <a:pt x="1716" y="63"/>
                  <a:pt x="1716" y="63"/>
                  <a:pt x="1716" y="63"/>
                </a:cubicBezTo>
                <a:cubicBezTo>
                  <a:pt x="1716" y="63"/>
                  <a:pt x="1716" y="63"/>
                  <a:pt x="1716" y="63"/>
                </a:cubicBezTo>
                <a:close/>
                <a:moveTo>
                  <a:pt x="1732" y="63"/>
                </a:moveTo>
                <a:cubicBezTo>
                  <a:pt x="1732" y="63"/>
                  <a:pt x="1731" y="63"/>
                  <a:pt x="1731" y="63"/>
                </a:cubicBezTo>
                <a:cubicBezTo>
                  <a:pt x="1731" y="63"/>
                  <a:pt x="1732" y="63"/>
                  <a:pt x="1732" y="63"/>
                </a:cubicBezTo>
                <a:close/>
                <a:moveTo>
                  <a:pt x="584" y="63"/>
                </a:moveTo>
                <a:cubicBezTo>
                  <a:pt x="584" y="63"/>
                  <a:pt x="584" y="64"/>
                  <a:pt x="584" y="64"/>
                </a:cubicBezTo>
                <a:cubicBezTo>
                  <a:pt x="584" y="63"/>
                  <a:pt x="584" y="63"/>
                  <a:pt x="584" y="63"/>
                </a:cubicBezTo>
                <a:close/>
                <a:moveTo>
                  <a:pt x="1732" y="18"/>
                </a:moveTo>
                <a:cubicBezTo>
                  <a:pt x="1732" y="18"/>
                  <a:pt x="1732" y="18"/>
                  <a:pt x="1731" y="18"/>
                </a:cubicBezTo>
                <a:cubicBezTo>
                  <a:pt x="1731" y="18"/>
                  <a:pt x="1732" y="18"/>
                  <a:pt x="1732" y="18"/>
                </a:cubicBezTo>
                <a:close/>
                <a:moveTo>
                  <a:pt x="584" y="93"/>
                </a:moveTo>
                <a:cubicBezTo>
                  <a:pt x="584" y="93"/>
                  <a:pt x="584" y="94"/>
                  <a:pt x="584" y="94"/>
                </a:cubicBezTo>
                <a:cubicBezTo>
                  <a:pt x="584" y="94"/>
                  <a:pt x="584" y="94"/>
                  <a:pt x="584" y="93"/>
                </a:cubicBezTo>
                <a:close/>
                <a:moveTo>
                  <a:pt x="966" y="18"/>
                </a:moveTo>
                <a:cubicBezTo>
                  <a:pt x="966" y="18"/>
                  <a:pt x="966" y="18"/>
                  <a:pt x="966" y="18"/>
                </a:cubicBezTo>
                <a:cubicBezTo>
                  <a:pt x="966" y="18"/>
                  <a:pt x="966" y="18"/>
                  <a:pt x="966" y="18"/>
                </a:cubicBezTo>
                <a:close/>
                <a:moveTo>
                  <a:pt x="1680" y="18"/>
                </a:moveTo>
                <a:cubicBezTo>
                  <a:pt x="1680" y="18"/>
                  <a:pt x="1680" y="18"/>
                  <a:pt x="1681" y="18"/>
                </a:cubicBezTo>
                <a:cubicBezTo>
                  <a:pt x="1680" y="18"/>
                  <a:pt x="1680" y="18"/>
                  <a:pt x="1680" y="18"/>
                </a:cubicBezTo>
                <a:close/>
                <a:moveTo>
                  <a:pt x="1563" y="63"/>
                </a:moveTo>
                <a:cubicBezTo>
                  <a:pt x="1563" y="63"/>
                  <a:pt x="1563" y="63"/>
                  <a:pt x="1563" y="64"/>
                </a:cubicBezTo>
                <a:cubicBezTo>
                  <a:pt x="1563" y="63"/>
                  <a:pt x="1563" y="63"/>
                  <a:pt x="1563" y="63"/>
                </a:cubicBezTo>
                <a:close/>
                <a:moveTo>
                  <a:pt x="1655" y="64"/>
                </a:moveTo>
                <a:cubicBezTo>
                  <a:pt x="1655" y="63"/>
                  <a:pt x="1655" y="63"/>
                  <a:pt x="1654" y="63"/>
                </a:cubicBezTo>
                <a:cubicBezTo>
                  <a:pt x="1655" y="63"/>
                  <a:pt x="1655" y="64"/>
                  <a:pt x="1655" y="64"/>
                </a:cubicBezTo>
                <a:close/>
                <a:moveTo>
                  <a:pt x="1669" y="63"/>
                </a:moveTo>
                <a:cubicBezTo>
                  <a:pt x="1669" y="63"/>
                  <a:pt x="1669" y="64"/>
                  <a:pt x="1669" y="64"/>
                </a:cubicBezTo>
                <a:cubicBezTo>
                  <a:pt x="1669" y="63"/>
                  <a:pt x="1669" y="63"/>
                  <a:pt x="1669" y="63"/>
                </a:cubicBezTo>
                <a:close/>
                <a:moveTo>
                  <a:pt x="755" y="94"/>
                </a:moveTo>
                <a:cubicBezTo>
                  <a:pt x="755" y="94"/>
                  <a:pt x="755" y="93"/>
                  <a:pt x="755" y="93"/>
                </a:cubicBezTo>
                <a:cubicBezTo>
                  <a:pt x="755" y="94"/>
                  <a:pt x="755" y="94"/>
                  <a:pt x="755" y="94"/>
                </a:cubicBezTo>
                <a:close/>
                <a:moveTo>
                  <a:pt x="965" y="19"/>
                </a:moveTo>
                <a:cubicBezTo>
                  <a:pt x="965" y="19"/>
                  <a:pt x="966" y="19"/>
                  <a:pt x="966" y="18"/>
                </a:cubicBezTo>
                <a:cubicBezTo>
                  <a:pt x="965" y="18"/>
                  <a:pt x="965" y="19"/>
                  <a:pt x="965" y="19"/>
                </a:cubicBezTo>
                <a:close/>
                <a:moveTo>
                  <a:pt x="967" y="94"/>
                </a:moveTo>
                <a:cubicBezTo>
                  <a:pt x="967" y="94"/>
                  <a:pt x="966" y="94"/>
                  <a:pt x="966" y="94"/>
                </a:cubicBezTo>
                <a:cubicBezTo>
                  <a:pt x="966" y="94"/>
                  <a:pt x="967" y="94"/>
                  <a:pt x="967" y="94"/>
                </a:cubicBezTo>
                <a:close/>
                <a:moveTo>
                  <a:pt x="1731" y="63"/>
                </a:moveTo>
                <a:cubicBezTo>
                  <a:pt x="1731" y="63"/>
                  <a:pt x="1731" y="63"/>
                  <a:pt x="1731" y="64"/>
                </a:cubicBezTo>
                <a:cubicBezTo>
                  <a:pt x="1731" y="63"/>
                  <a:pt x="1731" y="63"/>
                  <a:pt x="1731" y="63"/>
                </a:cubicBezTo>
                <a:close/>
                <a:moveTo>
                  <a:pt x="574" y="55"/>
                </a:moveTo>
                <a:cubicBezTo>
                  <a:pt x="574" y="55"/>
                  <a:pt x="574" y="55"/>
                  <a:pt x="574" y="55"/>
                </a:cubicBezTo>
                <a:cubicBezTo>
                  <a:pt x="574" y="55"/>
                  <a:pt x="574" y="55"/>
                  <a:pt x="574" y="55"/>
                </a:cubicBezTo>
                <a:close/>
                <a:moveTo>
                  <a:pt x="584" y="64"/>
                </a:moveTo>
                <a:cubicBezTo>
                  <a:pt x="584" y="64"/>
                  <a:pt x="585" y="64"/>
                  <a:pt x="585" y="64"/>
                </a:cubicBezTo>
                <a:cubicBezTo>
                  <a:pt x="585" y="64"/>
                  <a:pt x="585" y="64"/>
                  <a:pt x="584" y="64"/>
                </a:cubicBezTo>
                <a:close/>
                <a:moveTo>
                  <a:pt x="1394" y="18"/>
                </a:moveTo>
                <a:cubicBezTo>
                  <a:pt x="1394" y="19"/>
                  <a:pt x="1395" y="19"/>
                  <a:pt x="1395" y="19"/>
                </a:cubicBezTo>
                <a:cubicBezTo>
                  <a:pt x="1395" y="19"/>
                  <a:pt x="1395" y="18"/>
                  <a:pt x="1394" y="18"/>
                </a:cubicBezTo>
                <a:close/>
                <a:moveTo>
                  <a:pt x="1417" y="19"/>
                </a:moveTo>
                <a:cubicBezTo>
                  <a:pt x="1418" y="19"/>
                  <a:pt x="1418" y="19"/>
                  <a:pt x="1418" y="18"/>
                </a:cubicBezTo>
                <a:cubicBezTo>
                  <a:pt x="1418" y="18"/>
                  <a:pt x="1417" y="19"/>
                  <a:pt x="1417" y="19"/>
                </a:cubicBezTo>
                <a:close/>
                <a:moveTo>
                  <a:pt x="1419" y="94"/>
                </a:moveTo>
                <a:cubicBezTo>
                  <a:pt x="1419" y="94"/>
                  <a:pt x="1419" y="93"/>
                  <a:pt x="1419" y="93"/>
                </a:cubicBezTo>
                <a:cubicBezTo>
                  <a:pt x="1419" y="94"/>
                  <a:pt x="1419" y="94"/>
                  <a:pt x="1419" y="94"/>
                </a:cubicBezTo>
                <a:close/>
                <a:moveTo>
                  <a:pt x="662" y="64"/>
                </a:moveTo>
                <a:cubicBezTo>
                  <a:pt x="662" y="64"/>
                  <a:pt x="662" y="64"/>
                  <a:pt x="662" y="63"/>
                </a:cubicBezTo>
                <a:cubicBezTo>
                  <a:pt x="662" y="64"/>
                  <a:pt x="662" y="64"/>
                  <a:pt x="662" y="64"/>
                </a:cubicBezTo>
                <a:close/>
                <a:moveTo>
                  <a:pt x="1464" y="18"/>
                </a:moveTo>
                <a:cubicBezTo>
                  <a:pt x="1464" y="19"/>
                  <a:pt x="1464" y="19"/>
                  <a:pt x="1464" y="19"/>
                </a:cubicBezTo>
                <a:cubicBezTo>
                  <a:pt x="1464" y="19"/>
                  <a:pt x="1464" y="18"/>
                  <a:pt x="1464" y="18"/>
                </a:cubicBezTo>
                <a:close/>
                <a:moveTo>
                  <a:pt x="584" y="94"/>
                </a:moveTo>
                <a:cubicBezTo>
                  <a:pt x="583" y="94"/>
                  <a:pt x="583" y="94"/>
                  <a:pt x="583" y="94"/>
                </a:cubicBezTo>
                <a:cubicBezTo>
                  <a:pt x="584" y="94"/>
                  <a:pt x="584" y="94"/>
                  <a:pt x="584" y="94"/>
                </a:cubicBezTo>
                <a:close/>
                <a:moveTo>
                  <a:pt x="1363" y="64"/>
                </a:moveTo>
                <a:cubicBezTo>
                  <a:pt x="1363" y="64"/>
                  <a:pt x="1363" y="64"/>
                  <a:pt x="1363" y="64"/>
                </a:cubicBezTo>
                <a:cubicBezTo>
                  <a:pt x="1363" y="64"/>
                  <a:pt x="1363" y="64"/>
                  <a:pt x="1363" y="64"/>
                </a:cubicBezTo>
                <a:close/>
                <a:moveTo>
                  <a:pt x="755" y="94"/>
                </a:moveTo>
                <a:cubicBezTo>
                  <a:pt x="755" y="94"/>
                  <a:pt x="755" y="94"/>
                  <a:pt x="755" y="94"/>
                </a:cubicBezTo>
                <a:cubicBezTo>
                  <a:pt x="755" y="94"/>
                  <a:pt x="755" y="94"/>
                  <a:pt x="755" y="94"/>
                </a:cubicBezTo>
                <a:close/>
                <a:moveTo>
                  <a:pt x="967" y="94"/>
                </a:moveTo>
                <a:cubicBezTo>
                  <a:pt x="967" y="94"/>
                  <a:pt x="967" y="94"/>
                  <a:pt x="967" y="94"/>
                </a:cubicBezTo>
                <a:cubicBezTo>
                  <a:pt x="967" y="94"/>
                  <a:pt x="967" y="94"/>
                  <a:pt x="967" y="94"/>
                </a:cubicBezTo>
                <a:close/>
                <a:moveTo>
                  <a:pt x="1419" y="94"/>
                </a:moveTo>
                <a:cubicBezTo>
                  <a:pt x="1419" y="94"/>
                  <a:pt x="1419" y="94"/>
                  <a:pt x="1419" y="94"/>
                </a:cubicBezTo>
                <a:cubicBezTo>
                  <a:pt x="1419" y="94"/>
                  <a:pt x="1419" y="94"/>
                  <a:pt x="1419" y="94"/>
                </a:cubicBezTo>
                <a:close/>
                <a:moveTo>
                  <a:pt x="1460" y="94"/>
                </a:moveTo>
                <a:cubicBezTo>
                  <a:pt x="1460" y="94"/>
                  <a:pt x="1460" y="94"/>
                  <a:pt x="1460" y="94"/>
                </a:cubicBezTo>
                <a:cubicBezTo>
                  <a:pt x="1460" y="94"/>
                  <a:pt x="1460" y="94"/>
                  <a:pt x="1460" y="94"/>
                </a:cubicBezTo>
                <a:close/>
                <a:moveTo>
                  <a:pt x="583" y="94"/>
                </a:moveTo>
                <a:cubicBezTo>
                  <a:pt x="583" y="94"/>
                  <a:pt x="583" y="94"/>
                  <a:pt x="583" y="95"/>
                </a:cubicBezTo>
                <a:cubicBezTo>
                  <a:pt x="583" y="94"/>
                  <a:pt x="583" y="94"/>
                  <a:pt x="583" y="94"/>
                </a:cubicBezTo>
                <a:close/>
                <a:moveTo>
                  <a:pt x="1378" y="64"/>
                </a:moveTo>
                <a:cubicBezTo>
                  <a:pt x="1378" y="64"/>
                  <a:pt x="1378" y="64"/>
                  <a:pt x="1378" y="64"/>
                </a:cubicBezTo>
                <a:cubicBezTo>
                  <a:pt x="1378" y="64"/>
                  <a:pt x="1378" y="64"/>
                  <a:pt x="1378" y="64"/>
                </a:cubicBezTo>
                <a:close/>
                <a:moveTo>
                  <a:pt x="696" y="94"/>
                </a:moveTo>
                <a:cubicBezTo>
                  <a:pt x="696" y="94"/>
                  <a:pt x="696" y="94"/>
                  <a:pt x="696" y="95"/>
                </a:cubicBezTo>
                <a:cubicBezTo>
                  <a:pt x="696" y="94"/>
                  <a:pt x="696" y="94"/>
                  <a:pt x="696" y="94"/>
                </a:cubicBezTo>
                <a:close/>
                <a:moveTo>
                  <a:pt x="1565" y="19"/>
                </a:moveTo>
                <a:cubicBezTo>
                  <a:pt x="1565" y="18"/>
                  <a:pt x="1565" y="18"/>
                  <a:pt x="1564" y="18"/>
                </a:cubicBezTo>
                <a:cubicBezTo>
                  <a:pt x="1564" y="18"/>
                  <a:pt x="1565" y="19"/>
                  <a:pt x="1565" y="19"/>
                </a:cubicBezTo>
                <a:close/>
                <a:moveTo>
                  <a:pt x="756" y="95"/>
                </a:moveTo>
                <a:cubicBezTo>
                  <a:pt x="756" y="94"/>
                  <a:pt x="756" y="94"/>
                  <a:pt x="755" y="94"/>
                </a:cubicBezTo>
                <a:cubicBezTo>
                  <a:pt x="755" y="94"/>
                  <a:pt x="756" y="94"/>
                  <a:pt x="756" y="95"/>
                </a:cubicBezTo>
                <a:close/>
                <a:moveTo>
                  <a:pt x="967" y="94"/>
                </a:moveTo>
                <a:cubicBezTo>
                  <a:pt x="967" y="94"/>
                  <a:pt x="967" y="94"/>
                  <a:pt x="967" y="94"/>
                </a:cubicBezTo>
                <a:cubicBezTo>
                  <a:pt x="967" y="94"/>
                  <a:pt x="967" y="94"/>
                  <a:pt x="967" y="94"/>
                </a:cubicBezTo>
                <a:close/>
                <a:moveTo>
                  <a:pt x="1733" y="19"/>
                </a:moveTo>
                <a:cubicBezTo>
                  <a:pt x="1733" y="18"/>
                  <a:pt x="1733" y="18"/>
                  <a:pt x="1732" y="18"/>
                </a:cubicBezTo>
                <a:cubicBezTo>
                  <a:pt x="1733" y="18"/>
                  <a:pt x="1733" y="19"/>
                  <a:pt x="1733" y="19"/>
                </a:cubicBezTo>
                <a:close/>
                <a:moveTo>
                  <a:pt x="1216" y="94"/>
                </a:moveTo>
                <a:cubicBezTo>
                  <a:pt x="1216" y="94"/>
                  <a:pt x="1215" y="94"/>
                  <a:pt x="1215" y="94"/>
                </a:cubicBezTo>
                <a:cubicBezTo>
                  <a:pt x="1215" y="94"/>
                  <a:pt x="1215" y="94"/>
                  <a:pt x="1216" y="94"/>
                </a:cubicBezTo>
                <a:close/>
                <a:moveTo>
                  <a:pt x="1669" y="64"/>
                </a:moveTo>
                <a:cubicBezTo>
                  <a:pt x="1669" y="64"/>
                  <a:pt x="1669" y="64"/>
                  <a:pt x="1670" y="64"/>
                </a:cubicBezTo>
                <a:cubicBezTo>
                  <a:pt x="1670" y="64"/>
                  <a:pt x="1670" y="64"/>
                  <a:pt x="1669" y="64"/>
                </a:cubicBezTo>
                <a:close/>
                <a:moveTo>
                  <a:pt x="1460" y="94"/>
                </a:moveTo>
                <a:cubicBezTo>
                  <a:pt x="1460" y="94"/>
                  <a:pt x="1459" y="94"/>
                  <a:pt x="1459" y="95"/>
                </a:cubicBezTo>
                <a:cubicBezTo>
                  <a:pt x="1460" y="94"/>
                  <a:pt x="1460" y="94"/>
                  <a:pt x="1460" y="94"/>
                </a:cubicBezTo>
                <a:close/>
                <a:moveTo>
                  <a:pt x="965" y="19"/>
                </a:moveTo>
                <a:cubicBezTo>
                  <a:pt x="965" y="19"/>
                  <a:pt x="965" y="19"/>
                  <a:pt x="965" y="19"/>
                </a:cubicBezTo>
                <a:cubicBezTo>
                  <a:pt x="965" y="19"/>
                  <a:pt x="965" y="19"/>
                  <a:pt x="965" y="19"/>
                </a:cubicBezTo>
                <a:close/>
                <a:moveTo>
                  <a:pt x="583" y="95"/>
                </a:moveTo>
                <a:cubicBezTo>
                  <a:pt x="583" y="95"/>
                  <a:pt x="583" y="95"/>
                  <a:pt x="583" y="95"/>
                </a:cubicBezTo>
                <a:cubicBezTo>
                  <a:pt x="583" y="95"/>
                  <a:pt x="583" y="95"/>
                  <a:pt x="583" y="95"/>
                </a:cubicBezTo>
                <a:close/>
                <a:moveTo>
                  <a:pt x="696" y="95"/>
                </a:moveTo>
                <a:cubicBezTo>
                  <a:pt x="696" y="95"/>
                  <a:pt x="696" y="95"/>
                  <a:pt x="696" y="95"/>
                </a:cubicBezTo>
                <a:cubicBezTo>
                  <a:pt x="696" y="95"/>
                  <a:pt x="696" y="95"/>
                  <a:pt x="696" y="95"/>
                </a:cubicBezTo>
                <a:close/>
                <a:moveTo>
                  <a:pt x="756" y="95"/>
                </a:moveTo>
                <a:cubicBezTo>
                  <a:pt x="756" y="95"/>
                  <a:pt x="756" y="95"/>
                  <a:pt x="756" y="95"/>
                </a:cubicBezTo>
                <a:cubicBezTo>
                  <a:pt x="756" y="95"/>
                  <a:pt x="756" y="95"/>
                  <a:pt x="756" y="95"/>
                </a:cubicBezTo>
                <a:close/>
                <a:moveTo>
                  <a:pt x="1381" y="19"/>
                </a:moveTo>
                <a:cubicBezTo>
                  <a:pt x="1381" y="19"/>
                  <a:pt x="1381" y="19"/>
                  <a:pt x="1381" y="19"/>
                </a:cubicBezTo>
                <a:cubicBezTo>
                  <a:pt x="1381" y="19"/>
                  <a:pt x="1381" y="19"/>
                  <a:pt x="1381" y="19"/>
                </a:cubicBezTo>
                <a:close/>
                <a:moveTo>
                  <a:pt x="1038" y="95"/>
                </a:moveTo>
                <a:cubicBezTo>
                  <a:pt x="1038" y="95"/>
                  <a:pt x="1038" y="94"/>
                  <a:pt x="1038" y="94"/>
                </a:cubicBezTo>
                <a:cubicBezTo>
                  <a:pt x="1038" y="95"/>
                  <a:pt x="1038" y="95"/>
                  <a:pt x="1038" y="95"/>
                </a:cubicBezTo>
                <a:close/>
                <a:moveTo>
                  <a:pt x="1216" y="95"/>
                </a:moveTo>
                <a:cubicBezTo>
                  <a:pt x="1216" y="95"/>
                  <a:pt x="1216" y="95"/>
                  <a:pt x="1216" y="94"/>
                </a:cubicBezTo>
                <a:cubicBezTo>
                  <a:pt x="1216" y="95"/>
                  <a:pt x="1216" y="95"/>
                  <a:pt x="1216" y="95"/>
                </a:cubicBezTo>
                <a:close/>
                <a:moveTo>
                  <a:pt x="1459" y="94"/>
                </a:moveTo>
                <a:cubicBezTo>
                  <a:pt x="1459" y="95"/>
                  <a:pt x="1459" y="95"/>
                  <a:pt x="1459" y="95"/>
                </a:cubicBezTo>
                <a:cubicBezTo>
                  <a:pt x="1459" y="95"/>
                  <a:pt x="1459" y="95"/>
                  <a:pt x="1459" y="94"/>
                </a:cubicBezTo>
                <a:close/>
                <a:moveTo>
                  <a:pt x="1541" y="19"/>
                </a:moveTo>
                <a:cubicBezTo>
                  <a:pt x="1540" y="19"/>
                  <a:pt x="1540" y="19"/>
                  <a:pt x="1540" y="19"/>
                </a:cubicBezTo>
                <a:cubicBezTo>
                  <a:pt x="1540" y="19"/>
                  <a:pt x="1541" y="19"/>
                  <a:pt x="1541" y="19"/>
                </a:cubicBezTo>
                <a:close/>
                <a:moveTo>
                  <a:pt x="583" y="95"/>
                </a:moveTo>
                <a:cubicBezTo>
                  <a:pt x="582" y="95"/>
                  <a:pt x="582" y="95"/>
                  <a:pt x="582" y="95"/>
                </a:cubicBezTo>
                <a:cubicBezTo>
                  <a:pt x="582" y="95"/>
                  <a:pt x="583" y="95"/>
                  <a:pt x="583" y="95"/>
                </a:cubicBezTo>
                <a:close/>
                <a:moveTo>
                  <a:pt x="1565" y="19"/>
                </a:moveTo>
                <a:cubicBezTo>
                  <a:pt x="1565" y="19"/>
                  <a:pt x="1565" y="19"/>
                  <a:pt x="1565" y="19"/>
                </a:cubicBezTo>
                <a:cubicBezTo>
                  <a:pt x="1565" y="19"/>
                  <a:pt x="1565" y="19"/>
                  <a:pt x="1565" y="19"/>
                </a:cubicBezTo>
                <a:close/>
                <a:moveTo>
                  <a:pt x="662" y="64"/>
                </a:moveTo>
                <a:cubicBezTo>
                  <a:pt x="662" y="64"/>
                  <a:pt x="662" y="64"/>
                  <a:pt x="662" y="64"/>
                </a:cubicBezTo>
                <a:cubicBezTo>
                  <a:pt x="662" y="64"/>
                  <a:pt x="662" y="64"/>
                  <a:pt x="662" y="64"/>
                </a:cubicBezTo>
                <a:close/>
                <a:moveTo>
                  <a:pt x="1709" y="19"/>
                </a:moveTo>
                <a:cubicBezTo>
                  <a:pt x="1709" y="19"/>
                  <a:pt x="1708" y="19"/>
                  <a:pt x="1708" y="19"/>
                </a:cubicBezTo>
                <a:cubicBezTo>
                  <a:pt x="1709" y="19"/>
                  <a:pt x="1709" y="19"/>
                  <a:pt x="1709" y="19"/>
                </a:cubicBezTo>
                <a:close/>
                <a:moveTo>
                  <a:pt x="756" y="95"/>
                </a:moveTo>
                <a:cubicBezTo>
                  <a:pt x="756" y="95"/>
                  <a:pt x="756" y="95"/>
                  <a:pt x="756" y="95"/>
                </a:cubicBezTo>
                <a:cubicBezTo>
                  <a:pt x="756" y="95"/>
                  <a:pt x="756" y="95"/>
                  <a:pt x="756" y="95"/>
                </a:cubicBezTo>
                <a:close/>
                <a:moveTo>
                  <a:pt x="968" y="95"/>
                </a:moveTo>
                <a:cubicBezTo>
                  <a:pt x="968" y="95"/>
                  <a:pt x="968" y="95"/>
                  <a:pt x="968" y="95"/>
                </a:cubicBezTo>
                <a:cubicBezTo>
                  <a:pt x="968" y="95"/>
                  <a:pt x="968" y="95"/>
                  <a:pt x="968" y="95"/>
                </a:cubicBezTo>
                <a:close/>
                <a:moveTo>
                  <a:pt x="1038" y="95"/>
                </a:moveTo>
                <a:cubicBezTo>
                  <a:pt x="1038" y="95"/>
                  <a:pt x="1038" y="95"/>
                  <a:pt x="1038" y="95"/>
                </a:cubicBezTo>
                <a:cubicBezTo>
                  <a:pt x="1038" y="95"/>
                  <a:pt x="1038" y="95"/>
                  <a:pt x="1038" y="95"/>
                </a:cubicBezTo>
                <a:close/>
                <a:moveTo>
                  <a:pt x="1733" y="19"/>
                </a:moveTo>
                <a:cubicBezTo>
                  <a:pt x="1733" y="19"/>
                  <a:pt x="1733" y="19"/>
                  <a:pt x="1733" y="19"/>
                </a:cubicBezTo>
                <a:cubicBezTo>
                  <a:pt x="1733" y="19"/>
                  <a:pt x="1733" y="19"/>
                  <a:pt x="1733" y="19"/>
                </a:cubicBezTo>
                <a:close/>
                <a:moveTo>
                  <a:pt x="1216" y="95"/>
                </a:moveTo>
                <a:cubicBezTo>
                  <a:pt x="1216" y="95"/>
                  <a:pt x="1216" y="95"/>
                  <a:pt x="1216" y="95"/>
                </a:cubicBezTo>
                <a:cubicBezTo>
                  <a:pt x="1216" y="95"/>
                  <a:pt x="1216" y="95"/>
                  <a:pt x="1216" y="95"/>
                </a:cubicBezTo>
                <a:close/>
                <a:moveTo>
                  <a:pt x="1459" y="95"/>
                </a:moveTo>
                <a:cubicBezTo>
                  <a:pt x="1459" y="95"/>
                  <a:pt x="1459" y="95"/>
                  <a:pt x="1459" y="95"/>
                </a:cubicBezTo>
                <a:cubicBezTo>
                  <a:pt x="1459" y="95"/>
                  <a:pt x="1459" y="95"/>
                  <a:pt x="1459" y="95"/>
                </a:cubicBezTo>
                <a:close/>
                <a:moveTo>
                  <a:pt x="582" y="95"/>
                </a:moveTo>
                <a:cubicBezTo>
                  <a:pt x="582" y="95"/>
                  <a:pt x="582" y="95"/>
                  <a:pt x="582" y="96"/>
                </a:cubicBezTo>
                <a:cubicBezTo>
                  <a:pt x="582" y="96"/>
                  <a:pt x="582" y="95"/>
                  <a:pt x="582" y="95"/>
                </a:cubicBezTo>
                <a:close/>
                <a:moveTo>
                  <a:pt x="1362" y="64"/>
                </a:moveTo>
                <a:cubicBezTo>
                  <a:pt x="1363" y="64"/>
                  <a:pt x="1363" y="64"/>
                  <a:pt x="1363" y="64"/>
                </a:cubicBezTo>
                <a:cubicBezTo>
                  <a:pt x="1363" y="64"/>
                  <a:pt x="1363" y="64"/>
                  <a:pt x="1362" y="64"/>
                </a:cubicBezTo>
                <a:close/>
                <a:moveTo>
                  <a:pt x="757" y="96"/>
                </a:moveTo>
                <a:cubicBezTo>
                  <a:pt x="757" y="95"/>
                  <a:pt x="757" y="95"/>
                  <a:pt x="756" y="95"/>
                </a:cubicBezTo>
                <a:cubicBezTo>
                  <a:pt x="756" y="95"/>
                  <a:pt x="757" y="95"/>
                  <a:pt x="757" y="96"/>
                </a:cubicBezTo>
                <a:close/>
                <a:moveTo>
                  <a:pt x="1378" y="64"/>
                </a:moveTo>
                <a:cubicBezTo>
                  <a:pt x="1378" y="64"/>
                  <a:pt x="1378" y="64"/>
                  <a:pt x="1378" y="64"/>
                </a:cubicBezTo>
                <a:cubicBezTo>
                  <a:pt x="1378" y="64"/>
                  <a:pt x="1378" y="64"/>
                  <a:pt x="1378" y="64"/>
                </a:cubicBezTo>
                <a:close/>
                <a:moveTo>
                  <a:pt x="1039" y="96"/>
                </a:moveTo>
                <a:cubicBezTo>
                  <a:pt x="1039" y="95"/>
                  <a:pt x="1039" y="95"/>
                  <a:pt x="1038" y="95"/>
                </a:cubicBezTo>
                <a:cubicBezTo>
                  <a:pt x="1038" y="95"/>
                  <a:pt x="1039" y="96"/>
                  <a:pt x="1039" y="96"/>
                </a:cubicBezTo>
                <a:close/>
                <a:moveTo>
                  <a:pt x="1217" y="96"/>
                </a:moveTo>
                <a:cubicBezTo>
                  <a:pt x="1217" y="95"/>
                  <a:pt x="1216" y="95"/>
                  <a:pt x="1216" y="95"/>
                </a:cubicBezTo>
                <a:cubicBezTo>
                  <a:pt x="1216" y="95"/>
                  <a:pt x="1216" y="96"/>
                  <a:pt x="1217" y="96"/>
                </a:cubicBezTo>
                <a:close/>
                <a:moveTo>
                  <a:pt x="1421" y="96"/>
                </a:moveTo>
                <a:cubicBezTo>
                  <a:pt x="1421" y="95"/>
                  <a:pt x="1420" y="95"/>
                  <a:pt x="1420" y="95"/>
                </a:cubicBezTo>
                <a:cubicBezTo>
                  <a:pt x="1420" y="95"/>
                  <a:pt x="1420" y="95"/>
                  <a:pt x="1421" y="96"/>
                </a:cubicBezTo>
                <a:close/>
                <a:moveTo>
                  <a:pt x="1459" y="95"/>
                </a:moveTo>
                <a:cubicBezTo>
                  <a:pt x="1459" y="95"/>
                  <a:pt x="1458" y="95"/>
                  <a:pt x="1458" y="96"/>
                </a:cubicBezTo>
                <a:cubicBezTo>
                  <a:pt x="1459" y="95"/>
                  <a:pt x="1459" y="95"/>
                  <a:pt x="1459" y="95"/>
                </a:cubicBezTo>
                <a:close/>
                <a:moveTo>
                  <a:pt x="1547" y="64"/>
                </a:moveTo>
                <a:cubicBezTo>
                  <a:pt x="1547" y="64"/>
                  <a:pt x="1547" y="64"/>
                  <a:pt x="1547" y="64"/>
                </a:cubicBezTo>
                <a:cubicBezTo>
                  <a:pt x="1547" y="64"/>
                  <a:pt x="1547" y="64"/>
                  <a:pt x="1547" y="64"/>
                </a:cubicBezTo>
                <a:close/>
                <a:moveTo>
                  <a:pt x="1685" y="95"/>
                </a:moveTo>
                <a:cubicBezTo>
                  <a:pt x="1685" y="95"/>
                  <a:pt x="1685" y="96"/>
                  <a:pt x="1685" y="96"/>
                </a:cubicBezTo>
                <a:cubicBezTo>
                  <a:pt x="1685" y="96"/>
                  <a:pt x="1685" y="95"/>
                  <a:pt x="1685" y="95"/>
                </a:cubicBezTo>
                <a:close/>
                <a:moveTo>
                  <a:pt x="582" y="96"/>
                </a:moveTo>
                <a:cubicBezTo>
                  <a:pt x="582" y="96"/>
                  <a:pt x="582" y="96"/>
                  <a:pt x="582" y="96"/>
                </a:cubicBezTo>
                <a:cubicBezTo>
                  <a:pt x="582" y="96"/>
                  <a:pt x="582" y="96"/>
                  <a:pt x="582" y="96"/>
                </a:cubicBezTo>
                <a:close/>
                <a:moveTo>
                  <a:pt x="1562" y="64"/>
                </a:moveTo>
                <a:cubicBezTo>
                  <a:pt x="1562" y="64"/>
                  <a:pt x="1562" y="64"/>
                  <a:pt x="1562" y="64"/>
                </a:cubicBezTo>
                <a:cubicBezTo>
                  <a:pt x="1562" y="64"/>
                  <a:pt x="1562" y="64"/>
                  <a:pt x="1562" y="64"/>
                </a:cubicBezTo>
                <a:close/>
                <a:moveTo>
                  <a:pt x="1656" y="64"/>
                </a:moveTo>
                <a:cubicBezTo>
                  <a:pt x="1656" y="64"/>
                  <a:pt x="1656" y="64"/>
                  <a:pt x="1655" y="64"/>
                </a:cubicBezTo>
                <a:cubicBezTo>
                  <a:pt x="1656" y="64"/>
                  <a:pt x="1656" y="64"/>
                  <a:pt x="1656" y="64"/>
                </a:cubicBezTo>
                <a:close/>
                <a:moveTo>
                  <a:pt x="757" y="96"/>
                </a:moveTo>
                <a:cubicBezTo>
                  <a:pt x="757" y="96"/>
                  <a:pt x="757" y="96"/>
                  <a:pt x="757" y="96"/>
                </a:cubicBezTo>
                <a:cubicBezTo>
                  <a:pt x="757" y="96"/>
                  <a:pt x="757" y="96"/>
                  <a:pt x="757" y="96"/>
                </a:cubicBezTo>
                <a:close/>
                <a:moveTo>
                  <a:pt x="1039" y="96"/>
                </a:moveTo>
                <a:cubicBezTo>
                  <a:pt x="1039" y="96"/>
                  <a:pt x="1039" y="96"/>
                  <a:pt x="1039" y="96"/>
                </a:cubicBezTo>
                <a:cubicBezTo>
                  <a:pt x="1039" y="96"/>
                  <a:pt x="1039" y="96"/>
                  <a:pt x="1039" y="96"/>
                </a:cubicBezTo>
                <a:close/>
                <a:moveTo>
                  <a:pt x="1177" y="96"/>
                </a:moveTo>
                <a:cubicBezTo>
                  <a:pt x="1177" y="96"/>
                  <a:pt x="1177" y="96"/>
                  <a:pt x="1177" y="96"/>
                </a:cubicBezTo>
                <a:cubicBezTo>
                  <a:pt x="1177" y="96"/>
                  <a:pt x="1177" y="96"/>
                  <a:pt x="1177" y="96"/>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82" y="96"/>
                </a:moveTo>
                <a:cubicBezTo>
                  <a:pt x="581" y="96"/>
                  <a:pt x="581" y="96"/>
                  <a:pt x="581" y="96"/>
                </a:cubicBezTo>
                <a:cubicBezTo>
                  <a:pt x="581" y="96"/>
                  <a:pt x="582" y="96"/>
                  <a:pt x="582" y="96"/>
                </a:cubicBezTo>
                <a:close/>
                <a:moveTo>
                  <a:pt x="540" y="19"/>
                </a:moveTo>
                <a:cubicBezTo>
                  <a:pt x="540" y="19"/>
                  <a:pt x="540" y="19"/>
                  <a:pt x="540" y="19"/>
                </a:cubicBezTo>
                <a:cubicBezTo>
                  <a:pt x="540" y="19"/>
                  <a:pt x="540" y="19"/>
                  <a:pt x="540" y="19"/>
                </a:cubicBezTo>
                <a:close/>
                <a:moveTo>
                  <a:pt x="695" y="96"/>
                </a:moveTo>
                <a:cubicBezTo>
                  <a:pt x="695" y="96"/>
                  <a:pt x="695" y="96"/>
                  <a:pt x="695" y="96"/>
                </a:cubicBezTo>
                <a:cubicBezTo>
                  <a:pt x="695" y="96"/>
                  <a:pt x="695" y="96"/>
                  <a:pt x="695" y="96"/>
                </a:cubicBezTo>
                <a:close/>
                <a:moveTo>
                  <a:pt x="757" y="96"/>
                </a:moveTo>
                <a:cubicBezTo>
                  <a:pt x="757" y="96"/>
                  <a:pt x="757" y="96"/>
                  <a:pt x="757" y="96"/>
                </a:cubicBezTo>
                <a:cubicBezTo>
                  <a:pt x="757" y="96"/>
                  <a:pt x="757" y="96"/>
                  <a:pt x="757" y="96"/>
                </a:cubicBezTo>
                <a:close/>
                <a:moveTo>
                  <a:pt x="1715" y="64"/>
                </a:moveTo>
                <a:cubicBezTo>
                  <a:pt x="1715" y="64"/>
                  <a:pt x="1715" y="64"/>
                  <a:pt x="1715" y="64"/>
                </a:cubicBezTo>
                <a:cubicBezTo>
                  <a:pt x="1715" y="64"/>
                  <a:pt x="1715" y="64"/>
                  <a:pt x="1715" y="64"/>
                </a:cubicBezTo>
                <a:close/>
                <a:moveTo>
                  <a:pt x="1039" y="96"/>
                </a:moveTo>
                <a:cubicBezTo>
                  <a:pt x="1039" y="96"/>
                  <a:pt x="1039" y="96"/>
                  <a:pt x="1039" y="96"/>
                </a:cubicBezTo>
                <a:cubicBezTo>
                  <a:pt x="1039" y="96"/>
                  <a:pt x="1039" y="96"/>
                  <a:pt x="1039" y="96"/>
                </a:cubicBezTo>
                <a:close/>
                <a:moveTo>
                  <a:pt x="1730" y="64"/>
                </a:moveTo>
                <a:cubicBezTo>
                  <a:pt x="1730" y="64"/>
                  <a:pt x="1730" y="64"/>
                  <a:pt x="1730" y="64"/>
                </a:cubicBezTo>
                <a:cubicBezTo>
                  <a:pt x="1730" y="64"/>
                  <a:pt x="1730" y="64"/>
                  <a:pt x="1730" y="64"/>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54" y="19"/>
                </a:moveTo>
                <a:cubicBezTo>
                  <a:pt x="554" y="19"/>
                  <a:pt x="554" y="19"/>
                  <a:pt x="554" y="19"/>
                </a:cubicBezTo>
                <a:cubicBezTo>
                  <a:pt x="554" y="19"/>
                  <a:pt x="554" y="19"/>
                  <a:pt x="554" y="19"/>
                </a:cubicBezTo>
                <a:close/>
                <a:moveTo>
                  <a:pt x="663" y="65"/>
                </a:moveTo>
                <a:cubicBezTo>
                  <a:pt x="663" y="64"/>
                  <a:pt x="663" y="64"/>
                  <a:pt x="662" y="64"/>
                </a:cubicBezTo>
                <a:cubicBezTo>
                  <a:pt x="663" y="64"/>
                  <a:pt x="663" y="64"/>
                  <a:pt x="663" y="65"/>
                </a:cubicBezTo>
                <a:close/>
                <a:moveTo>
                  <a:pt x="965" y="19"/>
                </a:moveTo>
                <a:cubicBezTo>
                  <a:pt x="965" y="19"/>
                  <a:pt x="965" y="19"/>
                  <a:pt x="965" y="19"/>
                </a:cubicBezTo>
                <a:cubicBezTo>
                  <a:pt x="965" y="19"/>
                  <a:pt x="965" y="19"/>
                  <a:pt x="965" y="19"/>
                </a:cubicBezTo>
                <a:close/>
                <a:moveTo>
                  <a:pt x="695" y="96"/>
                </a:moveTo>
                <a:cubicBezTo>
                  <a:pt x="694" y="96"/>
                  <a:pt x="694" y="96"/>
                  <a:pt x="694" y="97"/>
                </a:cubicBezTo>
                <a:cubicBezTo>
                  <a:pt x="695" y="97"/>
                  <a:pt x="695" y="96"/>
                  <a:pt x="695" y="96"/>
                </a:cubicBezTo>
                <a:close/>
                <a:moveTo>
                  <a:pt x="1356" y="19"/>
                </a:moveTo>
                <a:cubicBezTo>
                  <a:pt x="1356" y="19"/>
                  <a:pt x="1355" y="19"/>
                  <a:pt x="1355" y="19"/>
                </a:cubicBezTo>
                <a:cubicBezTo>
                  <a:pt x="1356" y="19"/>
                  <a:pt x="1356" y="19"/>
                  <a:pt x="1356" y="19"/>
                </a:cubicBezTo>
                <a:close/>
                <a:moveTo>
                  <a:pt x="758" y="97"/>
                </a:moveTo>
                <a:cubicBezTo>
                  <a:pt x="758" y="96"/>
                  <a:pt x="758" y="96"/>
                  <a:pt x="757" y="96"/>
                </a:cubicBezTo>
                <a:cubicBezTo>
                  <a:pt x="758" y="96"/>
                  <a:pt x="758" y="96"/>
                  <a:pt x="758" y="97"/>
                </a:cubicBezTo>
                <a:close/>
                <a:moveTo>
                  <a:pt x="1381" y="19"/>
                </a:moveTo>
                <a:cubicBezTo>
                  <a:pt x="1381" y="19"/>
                  <a:pt x="1381" y="19"/>
                  <a:pt x="1381" y="19"/>
                </a:cubicBezTo>
                <a:cubicBezTo>
                  <a:pt x="1381" y="19"/>
                  <a:pt x="1381" y="19"/>
                  <a:pt x="1381" y="19"/>
                </a:cubicBezTo>
                <a:close/>
                <a:moveTo>
                  <a:pt x="1218" y="97"/>
                </a:moveTo>
                <a:cubicBezTo>
                  <a:pt x="1218" y="96"/>
                  <a:pt x="1218" y="96"/>
                  <a:pt x="1217" y="96"/>
                </a:cubicBezTo>
                <a:cubicBezTo>
                  <a:pt x="1217" y="96"/>
                  <a:pt x="1217" y="97"/>
                  <a:pt x="1218" y="97"/>
                </a:cubicBezTo>
                <a:close/>
                <a:moveTo>
                  <a:pt x="1422" y="97"/>
                </a:moveTo>
                <a:cubicBezTo>
                  <a:pt x="1422" y="96"/>
                  <a:pt x="1421" y="96"/>
                  <a:pt x="1421" y="96"/>
                </a:cubicBezTo>
                <a:cubicBezTo>
                  <a:pt x="1421" y="96"/>
                  <a:pt x="1421" y="97"/>
                  <a:pt x="1422" y="97"/>
                </a:cubicBezTo>
                <a:close/>
                <a:moveTo>
                  <a:pt x="1458" y="96"/>
                </a:moveTo>
                <a:cubicBezTo>
                  <a:pt x="1458" y="96"/>
                  <a:pt x="1457" y="96"/>
                  <a:pt x="1457" y="97"/>
                </a:cubicBezTo>
                <a:cubicBezTo>
                  <a:pt x="1458" y="97"/>
                  <a:pt x="1458" y="96"/>
                  <a:pt x="1458" y="96"/>
                </a:cubicBezTo>
                <a:close/>
                <a:moveTo>
                  <a:pt x="581" y="97"/>
                </a:moveTo>
                <a:cubicBezTo>
                  <a:pt x="580" y="97"/>
                  <a:pt x="580" y="97"/>
                  <a:pt x="580" y="97"/>
                </a:cubicBezTo>
                <a:cubicBezTo>
                  <a:pt x="580" y="97"/>
                  <a:pt x="580" y="97"/>
                  <a:pt x="581" y="97"/>
                </a:cubicBezTo>
                <a:close/>
                <a:moveTo>
                  <a:pt x="1395" y="19"/>
                </a:moveTo>
                <a:cubicBezTo>
                  <a:pt x="1395" y="19"/>
                  <a:pt x="1395" y="19"/>
                  <a:pt x="1395" y="20"/>
                </a:cubicBezTo>
                <a:cubicBezTo>
                  <a:pt x="1395" y="19"/>
                  <a:pt x="1395" y="19"/>
                  <a:pt x="1395" y="19"/>
                </a:cubicBezTo>
                <a:close/>
                <a:moveTo>
                  <a:pt x="1546" y="65"/>
                </a:moveTo>
                <a:cubicBezTo>
                  <a:pt x="1546" y="65"/>
                  <a:pt x="1547" y="64"/>
                  <a:pt x="1547" y="64"/>
                </a:cubicBezTo>
                <a:cubicBezTo>
                  <a:pt x="1546" y="64"/>
                  <a:pt x="1546" y="64"/>
                  <a:pt x="1546" y="65"/>
                </a:cubicBezTo>
                <a:close/>
                <a:moveTo>
                  <a:pt x="758" y="97"/>
                </a:moveTo>
                <a:cubicBezTo>
                  <a:pt x="758" y="97"/>
                  <a:pt x="758" y="97"/>
                  <a:pt x="758" y="97"/>
                </a:cubicBezTo>
                <a:cubicBezTo>
                  <a:pt x="758" y="97"/>
                  <a:pt x="758" y="97"/>
                  <a:pt x="758" y="97"/>
                </a:cubicBezTo>
                <a:close/>
                <a:moveTo>
                  <a:pt x="1562" y="64"/>
                </a:moveTo>
                <a:cubicBezTo>
                  <a:pt x="1562" y="64"/>
                  <a:pt x="1561" y="64"/>
                  <a:pt x="1561" y="65"/>
                </a:cubicBezTo>
                <a:cubicBezTo>
                  <a:pt x="1562" y="65"/>
                  <a:pt x="1562" y="64"/>
                  <a:pt x="1562" y="64"/>
                </a:cubicBezTo>
                <a:close/>
                <a:moveTo>
                  <a:pt x="1083" y="97"/>
                </a:moveTo>
                <a:cubicBezTo>
                  <a:pt x="1083" y="97"/>
                  <a:pt x="1083" y="97"/>
                  <a:pt x="1083" y="97"/>
                </a:cubicBezTo>
                <a:cubicBezTo>
                  <a:pt x="1083" y="97"/>
                  <a:pt x="1083" y="97"/>
                  <a:pt x="1083" y="97"/>
                </a:cubicBezTo>
                <a:close/>
                <a:moveTo>
                  <a:pt x="1178" y="97"/>
                </a:moveTo>
                <a:cubicBezTo>
                  <a:pt x="1178" y="97"/>
                  <a:pt x="1178" y="97"/>
                  <a:pt x="1178" y="97"/>
                </a:cubicBezTo>
                <a:cubicBezTo>
                  <a:pt x="1178" y="97"/>
                  <a:pt x="1178" y="97"/>
                  <a:pt x="1178" y="97"/>
                </a:cubicBezTo>
                <a:close/>
                <a:moveTo>
                  <a:pt x="1656" y="65"/>
                </a:moveTo>
                <a:cubicBezTo>
                  <a:pt x="1656" y="64"/>
                  <a:pt x="1656" y="64"/>
                  <a:pt x="1656" y="64"/>
                </a:cubicBezTo>
                <a:cubicBezTo>
                  <a:pt x="1656" y="64"/>
                  <a:pt x="1656" y="65"/>
                  <a:pt x="1656" y="65"/>
                </a:cubicBezTo>
                <a:close/>
                <a:moveTo>
                  <a:pt x="1422" y="97"/>
                </a:moveTo>
                <a:cubicBezTo>
                  <a:pt x="1422" y="97"/>
                  <a:pt x="1422" y="97"/>
                  <a:pt x="1422" y="97"/>
                </a:cubicBezTo>
                <a:cubicBezTo>
                  <a:pt x="1422" y="97"/>
                  <a:pt x="1422" y="97"/>
                  <a:pt x="1422" y="97"/>
                </a:cubicBezTo>
                <a:close/>
                <a:moveTo>
                  <a:pt x="1457" y="97"/>
                </a:moveTo>
                <a:cubicBezTo>
                  <a:pt x="1457" y="97"/>
                  <a:pt x="1457" y="97"/>
                  <a:pt x="1457" y="97"/>
                </a:cubicBezTo>
                <a:cubicBezTo>
                  <a:pt x="1457" y="97"/>
                  <a:pt x="1457" y="97"/>
                  <a:pt x="1457" y="97"/>
                </a:cubicBezTo>
                <a:close/>
                <a:moveTo>
                  <a:pt x="1714" y="65"/>
                </a:moveTo>
                <a:cubicBezTo>
                  <a:pt x="1715" y="65"/>
                  <a:pt x="1715" y="64"/>
                  <a:pt x="1715" y="64"/>
                </a:cubicBezTo>
                <a:cubicBezTo>
                  <a:pt x="1715" y="64"/>
                  <a:pt x="1714" y="64"/>
                  <a:pt x="1714" y="65"/>
                </a:cubicBezTo>
                <a:close/>
                <a:moveTo>
                  <a:pt x="580" y="97"/>
                </a:moveTo>
                <a:cubicBezTo>
                  <a:pt x="580" y="97"/>
                  <a:pt x="580" y="97"/>
                  <a:pt x="580" y="97"/>
                </a:cubicBezTo>
                <a:cubicBezTo>
                  <a:pt x="580" y="97"/>
                  <a:pt x="580" y="97"/>
                  <a:pt x="580" y="97"/>
                </a:cubicBezTo>
                <a:close/>
                <a:moveTo>
                  <a:pt x="1730" y="64"/>
                </a:moveTo>
                <a:cubicBezTo>
                  <a:pt x="1730" y="64"/>
                  <a:pt x="1730" y="64"/>
                  <a:pt x="1730" y="65"/>
                </a:cubicBezTo>
                <a:cubicBezTo>
                  <a:pt x="1730" y="65"/>
                  <a:pt x="1730" y="64"/>
                  <a:pt x="1730" y="64"/>
                </a:cubicBezTo>
                <a:close/>
                <a:moveTo>
                  <a:pt x="554" y="19"/>
                </a:moveTo>
                <a:cubicBezTo>
                  <a:pt x="554" y="19"/>
                  <a:pt x="554" y="19"/>
                  <a:pt x="554" y="20"/>
                </a:cubicBezTo>
                <a:cubicBezTo>
                  <a:pt x="554" y="20"/>
                  <a:pt x="554" y="20"/>
                  <a:pt x="554" y="19"/>
                </a:cubicBezTo>
                <a:close/>
                <a:moveTo>
                  <a:pt x="972" y="97"/>
                </a:moveTo>
                <a:cubicBezTo>
                  <a:pt x="972" y="97"/>
                  <a:pt x="971" y="97"/>
                  <a:pt x="971" y="97"/>
                </a:cubicBezTo>
                <a:cubicBezTo>
                  <a:pt x="971" y="97"/>
                  <a:pt x="971" y="97"/>
                  <a:pt x="972" y="97"/>
                </a:cubicBezTo>
                <a:close/>
                <a:moveTo>
                  <a:pt x="1041" y="97"/>
                </a:moveTo>
                <a:cubicBezTo>
                  <a:pt x="1041" y="97"/>
                  <a:pt x="1041" y="97"/>
                  <a:pt x="1040" y="97"/>
                </a:cubicBezTo>
                <a:cubicBezTo>
                  <a:pt x="1041" y="97"/>
                  <a:pt x="1041" y="97"/>
                  <a:pt x="1041" y="97"/>
                </a:cubicBezTo>
                <a:close/>
                <a:moveTo>
                  <a:pt x="1083" y="97"/>
                </a:moveTo>
                <a:cubicBezTo>
                  <a:pt x="1083" y="97"/>
                  <a:pt x="1083" y="97"/>
                  <a:pt x="1082" y="97"/>
                </a:cubicBezTo>
                <a:cubicBezTo>
                  <a:pt x="1083" y="97"/>
                  <a:pt x="1083" y="97"/>
                  <a:pt x="1083" y="97"/>
                </a:cubicBezTo>
                <a:close/>
                <a:moveTo>
                  <a:pt x="964" y="20"/>
                </a:moveTo>
                <a:cubicBezTo>
                  <a:pt x="964" y="20"/>
                  <a:pt x="965" y="20"/>
                  <a:pt x="965" y="19"/>
                </a:cubicBezTo>
                <a:cubicBezTo>
                  <a:pt x="964" y="19"/>
                  <a:pt x="964" y="20"/>
                  <a:pt x="964" y="20"/>
                </a:cubicBezTo>
                <a:close/>
                <a:moveTo>
                  <a:pt x="663" y="65"/>
                </a:moveTo>
                <a:cubicBezTo>
                  <a:pt x="663" y="65"/>
                  <a:pt x="663" y="65"/>
                  <a:pt x="663" y="65"/>
                </a:cubicBezTo>
                <a:cubicBezTo>
                  <a:pt x="663" y="65"/>
                  <a:pt x="663" y="65"/>
                  <a:pt x="663" y="65"/>
                </a:cubicBezTo>
                <a:close/>
                <a:moveTo>
                  <a:pt x="1382" y="20"/>
                </a:moveTo>
                <a:cubicBezTo>
                  <a:pt x="1382" y="19"/>
                  <a:pt x="1381" y="19"/>
                  <a:pt x="1381" y="19"/>
                </a:cubicBezTo>
                <a:cubicBezTo>
                  <a:pt x="1381" y="20"/>
                  <a:pt x="1381" y="20"/>
                  <a:pt x="1382" y="20"/>
                </a:cubicBezTo>
                <a:close/>
                <a:moveTo>
                  <a:pt x="1457" y="97"/>
                </a:moveTo>
                <a:cubicBezTo>
                  <a:pt x="1457" y="97"/>
                  <a:pt x="1457" y="97"/>
                  <a:pt x="1457" y="97"/>
                </a:cubicBezTo>
                <a:cubicBezTo>
                  <a:pt x="1457" y="97"/>
                  <a:pt x="1457" y="97"/>
                  <a:pt x="1457" y="97"/>
                </a:cubicBezTo>
                <a:close/>
                <a:moveTo>
                  <a:pt x="1361" y="65"/>
                </a:moveTo>
                <a:cubicBezTo>
                  <a:pt x="1362" y="65"/>
                  <a:pt x="1362" y="65"/>
                  <a:pt x="1362" y="65"/>
                </a:cubicBezTo>
                <a:cubicBezTo>
                  <a:pt x="1362" y="65"/>
                  <a:pt x="1361" y="65"/>
                  <a:pt x="1361" y="65"/>
                </a:cubicBezTo>
                <a:close/>
                <a:moveTo>
                  <a:pt x="1377" y="65"/>
                </a:moveTo>
                <a:cubicBezTo>
                  <a:pt x="1377" y="65"/>
                  <a:pt x="1377" y="65"/>
                  <a:pt x="1377" y="65"/>
                </a:cubicBezTo>
                <a:cubicBezTo>
                  <a:pt x="1377" y="65"/>
                  <a:pt x="1377" y="65"/>
                  <a:pt x="1377" y="65"/>
                </a:cubicBezTo>
                <a:close/>
                <a:moveTo>
                  <a:pt x="583" y="20"/>
                </a:moveTo>
                <a:cubicBezTo>
                  <a:pt x="583" y="20"/>
                  <a:pt x="583" y="20"/>
                  <a:pt x="582" y="20"/>
                </a:cubicBezTo>
                <a:cubicBezTo>
                  <a:pt x="582" y="20"/>
                  <a:pt x="583" y="20"/>
                  <a:pt x="583" y="20"/>
                </a:cubicBezTo>
                <a:close/>
                <a:moveTo>
                  <a:pt x="718" y="98"/>
                </a:moveTo>
                <a:cubicBezTo>
                  <a:pt x="718" y="97"/>
                  <a:pt x="718" y="97"/>
                  <a:pt x="718" y="97"/>
                </a:cubicBezTo>
                <a:cubicBezTo>
                  <a:pt x="718" y="97"/>
                  <a:pt x="718" y="98"/>
                  <a:pt x="718" y="98"/>
                </a:cubicBezTo>
                <a:close/>
                <a:moveTo>
                  <a:pt x="800" y="97"/>
                </a:moveTo>
                <a:cubicBezTo>
                  <a:pt x="800" y="97"/>
                  <a:pt x="800" y="97"/>
                  <a:pt x="800" y="98"/>
                </a:cubicBezTo>
                <a:cubicBezTo>
                  <a:pt x="800" y="98"/>
                  <a:pt x="800" y="98"/>
                  <a:pt x="800" y="97"/>
                </a:cubicBezTo>
                <a:close/>
                <a:moveTo>
                  <a:pt x="964" y="20"/>
                </a:moveTo>
                <a:cubicBezTo>
                  <a:pt x="964" y="20"/>
                  <a:pt x="964" y="20"/>
                  <a:pt x="964" y="20"/>
                </a:cubicBezTo>
                <a:cubicBezTo>
                  <a:pt x="964" y="20"/>
                  <a:pt x="964" y="20"/>
                  <a:pt x="964" y="20"/>
                </a:cubicBezTo>
                <a:close/>
                <a:moveTo>
                  <a:pt x="1041" y="98"/>
                </a:moveTo>
                <a:cubicBezTo>
                  <a:pt x="1041" y="97"/>
                  <a:pt x="1041" y="97"/>
                  <a:pt x="1041" y="97"/>
                </a:cubicBezTo>
                <a:cubicBezTo>
                  <a:pt x="1041" y="97"/>
                  <a:pt x="1041" y="98"/>
                  <a:pt x="1041" y="98"/>
                </a:cubicBezTo>
                <a:close/>
                <a:moveTo>
                  <a:pt x="1382" y="20"/>
                </a:moveTo>
                <a:cubicBezTo>
                  <a:pt x="1382" y="20"/>
                  <a:pt x="1382" y="20"/>
                  <a:pt x="1382" y="20"/>
                </a:cubicBezTo>
                <a:cubicBezTo>
                  <a:pt x="1382" y="20"/>
                  <a:pt x="1382" y="20"/>
                  <a:pt x="1382" y="20"/>
                </a:cubicBezTo>
                <a:close/>
                <a:moveTo>
                  <a:pt x="1219" y="98"/>
                </a:moveTo>
                <a:cubicBezTo>
                  <a:pt x="1219" y="97"/>
                  <a:pt x="1219" y="97"/>
                  <a:pt x="1219" y="97"/>
                </a:cubicBezTo>
                <a:cubicBezTo>
                  <a:pt x="1219" y="97"/>
                  <a:pt x="1219" y="98"/>
                  <a:pt x="1219" y="98"/>
                </a:cubicBezTo>
                <a:close/>
                <a:moveTo>
                  <a:pt x="1260" y="97"/>
                </a:moveTo>
                <a:cubicBezTo>
                  <a:pt x="1260" y="97"/>
                  <a:pt x="1260" y="97"/>
                  <a:pt x="1260" y="98"/>
                </a:cubicBezTo>
                <a:cubicBezTo>
                  <a:pt x="1260" y="98"/>
                  <a:pt x="1260" y="97"/>
                  <a:pt x="1260" y="97"/>
                </a:cubicBezTo>
                <a:close/>
                <a:moveTo>
                  <a:pt x="1670" y="65"/>
                </a:moveTo>
                <a:cubicBezTo>
                  <a:pt x="1670" y="65"/>
                  <a:pt x="1670" y="65"/>
                  <a:pt x="1670" y="65"/>
                </a:cubicBezTo>
                <a:cubicBezTo>
                  <a:pt x="1670" y="65"/>
                  <a:pt x="1670" y="65"/>
                  <a:pt x="1670" y="65"/>
                </a:cubicBezTo>
                <a:close/>
                <a:moveTo>
                  <a:pt x="1539" y="20"/>
                </a:moveTo>
                <a:cubicBezTo>
                  <a:pt x="1539" y="20"/>
                  <a:pt x="1539" y="20"/>
                  <a:pt x="1538" y="20"/>
                </a:cubicBezTo>
                <a:cubicBezTo>
                  <a:pt x="1539" y="20"/>
                  <a:pt x="1539" y="20"/>
                  <a:pt x="1539" y="20"/>
                </a:cubicBezTo>
                <a:close/>
                <a:moveTo>
                  <a:pt x="579" y="98"/>
                </a:moveTo>
                <a:cubicBezTo>
                  <a:pt x="579" y="98"/>
                  <a:pt x="579" y="98"/>
                  <a:pt x="579" y="98"/>
                </a:cubicBezTo>
                <a:cubicBezTo>
                  <a:pt x="579" y="98"/>
                  <a:pt x="579" y="98"/>
                  <a:pt x="579" y="98"/>
                </a:cubicBezTo>
                <a:close/>
                <a:moveTo>
                  <a:pt x="1681" y="20"/>
                </a:moveTo>
                <a:cubicBezTo>
                  <a:pt x="1681" y="20"/>
                  <a:pt x="1681" y="20"/>
                  <a:pt x="1682" y="20"/>
                </a:cubicBezTo>
                <a:cubicBezTo>
                  <a:pt x="1681" y="20"/>
                  <a:pt x="1681" y="20"/>
                  <a:pt x="1681" y="20"/>
                </a:cubicBezTo>
                <a:close/>
                <a:moveTo>
                  <a:pt x="693" y="98"/>
                </a:moveTo>
                <a:cubicBezTo>
                  <a:pt x="693" y="98"/>
                  <a:pt x="693" y="98"/>
                  <a:pt x="693" y="98"/>
                </a:cubicBezTo>
                <a:cubicBezTo>
                  <a:pt x="693" y="98"/>
                  <a:pt x="693" y="98"/>
                  <a:pt x="693" y="98"/>
                </a:cubicBezTo>
                <a:close/>
                <a:moveTo>
                  <a:pt x="719" y="98"/>
                </a:moveTo>
                <a:cubicBezTo>
                  <a:pt x="719" y="98"/>
                  <a:pt x="719" y="98"/>
                  <a:pt x="718" y="98"/>
                </a:cubicBezTo>
                <a:cubicBezTo>
                  <a:pt x="719" y="98"/>
                  <a:pt x="719" y="98"/>
                  <a:pt x="719" y="98"/>
                </a:cubicBezTo>
                <a:close/>
                <a:moveTo>
                  <a:pt x="760" y="98"/>
                </a:moveTo>
                <a:cubicBezTo>
                  <a:pt x="760" y="98"/>
                  <a:pt x="759" y="98"/>
                  <a:pt x="759" y="98"/>
                </a:cubicBezTo>
                <a:cubicBezTo>
                  <a:pt x="759" y="98"/>
                  <a:pt x="759" y="98"/>
                  <a:pt x="760" y="98"/>
                </a:cubicBezTo>
                <a:close/>
                <a:moveTo>
                  <a:pt x="585" y="65"/>
                </a:moveTo>
                <a:cubicBezTo>
                  <a:pt x="585" y="65"/>
                  <a:pt x="586" y="65"/>
                  <a:pt x="586" y="65"/>
                </a:cubicBezTo>
                <a:cubicBezTo>
                  <a:pt x="586" y="65"/>
                  <a:pt x="586" y="65"/>
                  <a:pt x="585" y="65"/>
                </a:cubicBezTo>
                <a:close/>
                <a:moveTo>
                  <a:pt x="1707" y="20"/>
                </a:moveTo>
                <a:cubicBezTo>
                  <a:pt x="1707" y="20"/>
                  <a:pt x="1707" y="20"/>
                  <a:pt x="1707" y="20"/>
                </a:cubicBezTo>
                <a:cubicBezTo>
                  <a:pt x="1707" y="20"/>
                  <a:pt x="1707" y="20"/>
                  <a:pt x="1707" y="20"/>
                </a:cubicBezTo>
                <a:close/>
                <a:moveTo>
                  <a:pt x="1021" y="98"/>
                </a:moveTo>
                <a:cubicBezTo>
                  <a:pt x="1021" y="98"/>
                  <a:pt x="1021" y="98"/>
                  <a:pt x="1020" y="98"/>
                </a:cubicBezTo>
                <a:cubicBezTo>
                  <a:pt x="1021" y="98"/>
                  <a:pt x="1021" y="98"/>
                  <a:pt x="1021" y="98"/>
                </a:cubicBezTo>
                <a:close/>
                <a:moveTo>
                  <a:pt x="663" y="65"/>
                </a:moveTo>
                <a:cubicBezTo>
                  <a:pt x="663" y="65"/>
                  <a:pt x="663" y="65"/>
                  <a:pt x="663" y="65"/>
                </a:cubicBezTo>
                <a:cubicBezTo>
                  <a:pt x="663" y="65"/>
                  <a:pt x="663" y="65"/>
                  <a:pt x="663" y="65"/>
                </a:cubicBezTo>
                <a:close/>
                <a:moveTo>
                  <a:pt x="964" y="21"/>
                </a:moveTo>
                <a:cubicBezTo>
                  <a:pt x="964" y="20"/>
                  <a:pt x="964" y="20"/>
                  <a:pt x="964" y="20"/>
                </a:cubicBezTo>
                <a:cubicBezTo>
                  <a:pt x="964" y="20"/>
                  <a:pt x="964" y="20"/>
                  <a:pt x="964" y="21"/>
                </a:cubicBezTo>
                <a:close/>
                <a:moveTo>
                  <a:pt x="1179" y="98"/>
                </a:moveTo>
                <a:cubicBezTo>
                  <a:pt x="1179" y="98"/>
                  <a:pt x="1179" y="98"/>
                  <a:pt x="1178" y="98"/>
                </a:cubicBezTo>
                <a:cubicBezTo>
                  <a:pt x="1178" y="98"/>
                  <a:pt x="1178" y="98"/>
                  <a:pt x="1179" y="98"/>
                </a:cubicBezTo>
                <a:close/>
                <a:moveTo>
                  <a:pt x="1219" y="98"/>
                </a:moveTo>
                <a:cubicBezTo>
                  <a:pt x="1219" y="98"/>
                  <a:pt x="1219" y="98"/>
                  <a:pt x="1219" y="98"/>
                </a:cubicBezTo>
                <a:cubicBezTo>
                  <a:pt x="1219" y="98"/>
                  <a:pt x="1219" y="98"/>
                  <a:pt x="1219" y="98"/>
                </a:cubicBezTo>
                <a:close/>
                <a:moveTo>
                  <a:pt x="1382" y="20"/>
                </a:moveTo>
                <a:cubicBezTo>
                  <a:pt x="1382" y="20"/>
                  <a:pt x="1382" y="20"/>
                  <a:pt x="1382" y="20"/>
                </a:cubicBezTo>
                <a:cubicBezTo>
                  <a:pt x="1382" y="20"/>
                  <a:pt x="1382" y="20"/>
                  <a:pt x="1382" y="20"/>
                </a:cubicBezTo>
                <a:close/>
                <a:moveTo>
                  <a:pt x="1423" y="98"/>
                </a:moveTo>
                <a:cubicBezTo>
                  <a:pt x="1423" y="98"/>
                  <a:pt x="1423" y="98"/>
                  <a:pt x="1423" y="98"/>
                </a:cubicBezTo>
                <a:cubicBezTo>
                  <a:pt x="1423" y="98"/>
                  <a:pt x="1423" y="98"/>
                  <a:pt x="1423" y="98"/>
                </a:cubicBezTo>
                <a:close/>
                <a:moveTo>
                  <a:pt x="1361" y="65"/>
                </a:moveTo>
                <a:cubicBezTo>
                  <a:pt x="1361" y="65"/>
                  <a:pt x="1361" y="65"/>
                  <a:pt x="1361" y="65"/>
                </a:cubicBezTo>
                <a:cubicBezTo>
                  <a:pt x="1361" y="65"/>
                  <a:pt x="1361" y="65"/>
                  <a:pt x="1361" y="65"/>
                </a:cubicBezTo>
                <a:close/>
                <a:moveTo>
                  <a:pt x="1377" y="65"/>
                </a:moveTo>
                <a:cubicBezTo>
                  <a:pt x="1376" y="65"/>
                  <a:pt x="1376" y="65"/>
                  <a:pt x="1376" y="65"/>
                </a:cubicBezTo>
                <a:cubicBezTo>
                  <a:pt x="1376" y="65"/>
                  <a:pt x="1377" y="65"/>
                  <a:pt x="1377" y="65"/>
                </a:cubicBezTo>
                <a:close/>
                <a:moveTo>
                  <a:pt x="693" y="98"/>
                </a:moveTo>
                <a:cubicBezTo>
                  <a:pt x="692" y="98"/>
                  <a:pt x="692" y="98"/>
                  <a:pt x="692" y="98"/>
                </a:cubicBezTo>
                <a:cubicBezTo>
                  <a:pt x="692" y="98"/>
                  <a:pt x="693" y="98"/>
                  <a:pt x="693" y="98"/>
                </a:cubicBezTo>
                <a:close/>
                <a:moveTo>
                  <a:pt x="1545" y="65"/>
                </a:moveTo>
                <a:cubicBezTo>
                  <a:pt x="1545" y="65"/>
                  <a:pt x="1546" y="65"/>
                  <a:pt x="1546" y="65"/>
                </a:cubicBezTo>
                <a:cubicBezTo>
                  <a:pt x="1545" y="65"/>
                  <a:pt x="1545" y="65"/>
                  <a:pt x="1545" y="65"/>
                </a:cubicBezTo>
                <a:close/>
                <a:moveTo>
                  <a:pt x="1561" y="65"/>
                </a:moveTo>
                <a:cubicBezTo>
                  <a:pt x="1561" y="65"/>
                  <a:pt x="1560" y="65"/>
                  <a:pt x="1560" y="65"/>
                </a:cubicBezTo>
                <a:cubicBezTo>
                  <a:pt x="1561" y="65"/>
                  <a:pt x="1561" y="65"/>
                  <a:pt x="1561" y="65"/>
                </a:cubicBezTo>
                <a:close/>
                <a:moveTo>
                  <a:pt x="1416" y="21"/>
                </a:moveTo>
                <a:cubicBezTo>
                  <a:pt x="1417" y="20"/>
                  <a:pt x="1417" y="20"/>
                  <a:pt x="1417" y="20"/>
                </a:cubicBezTo>
                <a:cubicBezTo>
                  <a:pt x="1417" y="20"/>
                  <a:pt x="1416" y="20"/>
                  <a:pt x="1416" y="21"/>
                </a:cubicBezTo>
                <a:close/>
                <a:moveTo>
                  <a:pt x="1713" y="65"/>
                </a:moveTo>
                <a:cubicBezTo>
                  <a:pt x="1714" y="65"/>
                  <a:pt x="1714" y="65"/>
                  <a:pt x="1714" y="65"/>
                </a:cubicBezTo>
                <a:cubicBezTo>
                  <a:pt x="1714" y="65"/>
                  <a:pt x="1713" y="65"/>
                  <a:pt x="1713" y="65"/>
                </a:cubicBezTo>
                <a:close/>
                <a:moveTo>
                  <a:pt x="1020" y="98"/>
                </a:moveTo>
                <a:cubicBezTo>
                  <a:pt x="1020" y="98"/>
                  <a:pt x="1020" y="98"/>
                  <a:pt x="1020" y="98"/>
                </a:cubicBezTo>
                <a:cubicBezTo>
                  <a:pt x="1020" y="98"/>
                  <a:pt x="1020" y="98"/>
                  <a:pt x="1020" y="98"/>
                </a:cubicBezTo>
                <a:close/>
                <a:moveTo>
                  <a:pt x="1042" y="98"/>
                </a:moveTo>
                <a:cubicBezTo>
                  <a:pt x="1042" y="98"/>
                  <a:pt x="1042" y="98"/>
                  <a:pt x="1042" y="98"/>
                </a:cubicBezTo>
                <a:cubicBezTo>
                  <a:pt x="1042" y="98"/>
                  <a:pt x="1042" y="98"/>
                  <a:pt x="1042" y="98"/>
                </a:cubicBezTo>
                <a:close/>
                <a:moveTo>
                  <a:pt x="1081" y="98"/>
                </a:moveTo>
                <a:cubicBezTo>
                  <a:pt x="1081" y="98"/>
                  <a:pt x="1081" y="98"/>
                  <a:pt x="1081" y="98"/>
                </a:cubicBezTo>
                <a:cubicBezTo>
                  <a:pt x="1081" y="98"/>
                  <a:pt x="1081" y="98"/>
                  <a:pt x="1081" y="98"/>
                </a:cubicBezTo>
                <a:close/>
                <a:moveTo>
                  <a:pt x="1179" y="98"/>
                </a:moveTo>
                <a:cubicBezTo>
                  <a:pt x="1179" y="98"/>
                  <a:pt x="1179" y="98"/>
                  <a:pt x="1179" y="98"/>
                </a:cubicBezTo>
                <a:cubicBezTo>
                  <a:pt x="1179" y="98"/>
                  <a:pt x="1179" y="98"/>
                  <a:pt x="1179" y="98"/>
                </a:cubicBezTo>
                <a:close/>
                <a:moveTo>
                  <a:pt x="1729" y="65"/>
                </a:moveTo>
                <a:cubicBezTo>
                  <a:pt x="1729" y="65"/>
                  <a:pt x="1729" y="65"/>
                  <a:pt x="1729" y="65"/>
                </a:cubicBezTo>
                <a:cubicBezTo>
                  <a:pt x="1729" y="65"/>
                  <a:pt x="1729" y="65"/>
                  <a:pt x="1729" y="65"/>
                </a:cubicBezTo>
                <a:close/>
                <a:moveTo>
                  <a:pt x="1259" y="98"/>
                </a:moveTo>
                <a:cubicBezTo>
                  <a:pt x="1259" y="98"/>
                  <a:pt x="1259" y="98"/>
                  <a:pt x="1259" y="98"/>
                </a:cubicBezTo>
                <a:cubicBezTo>
                  <a:pt x="1259" y="98"/>
                  <a:pt x="1259" y="98"/>
                  <a:pt x="1259" y="98"/>
                </a:cubicBezTo>
                <a:close/>
                <a:moveTo>
                  <a:pt x="1424" y="98"/>
                </a:moveTo>
                <a:cubicBezTo>
                  <a:pt x="1424" y="98"/>
                  <a:pt x="1424" y="98"/>
                  <a:pt x="1423" y="98"/>
                </a:cubicBezTo>
                <a:cubicBezTo>
                  <a:pt x="1423" y="98"/>
                  <a:pt x="1424" y="98"/>
                  <a:pt x="1424" y="98"/>
                </a:cubicBezTo>
                <a:close/>
                <a:moveTo>
                  <a:pt x="1456" y="98"/>
                </a:moveTo>
                <a:cubicBezTo>
                  <a:pt x="1455" y="98"/>
                  <a:pt x="1455" y="98"/>
                  <a:pt x="1455" y="98"/>
                </a:cubicBezTo>
                <a:cubicBezTo>
                  <a:pt x="1455" y="98"/>
                  <a:pt x="1456" y="98"/>
                  <a:pt x="1456" y="98"/>
                </a:cubicBezTo>
                <a:close/>
                <a:moveTo>
                  <a:pt x="553" y="20"/>
                </a:moveTo>
                <a:cubicBezTo>
                  <a:pt x="553" y="20"/>
                  <a:pt x="552" y="21"/>
                  <a:pt x="552" y="21"/>
                </a:cubicBezTo>
                <a:cubicBezTo>
                  <a:pt x="553" y="21"/>
                  <a:pt x="553" y="21"/>
                  <a:pt x="553" y="20"/>
                </a:cubicBezTo>
                <a:close/>
                <a:moveTo>
                  <a:pt x="578" y="98"/>
                </a:moveTo>
                <a:cubicBezTo>
                  <a:pt x="578" y="98"/>
                  <a:pt x="578" y="98"/>
                  <a:pt x="578" y="99"/>
                </a:cubicBezTo>
                <a:cubicBezTo>
                  <a:pt x="578" y="99"/>
                  <a:pt x="578" y="99"/>
                  <a:pt x="578" y="98"/>
                </a:cubicBezTo>
                <a:close/>
                <a:moveTo>
                  <a:pt x="1354" y="20"/>
                </a:moveTo>
                <a:cubicBezTo>
                  <a:pt x="1353" y="20"/>
                  <a:pt x="1353" y="20"/>
                  <a:pt x="1353" y="21"/>
                </a:cubicBezTo>
                <a:cubicBezTo>
                  <a:pt x="1353" y="21"/>
                  <a:pt x="1354" y="21"/>
                  <a:pt x="1354" y="20"/>
                </a:cubicBezTo>
                <a:close/>
                <a:moveTo>
                  <a:pt x="1383" y="21"/>
                </a:moveTo>
                <a:cubicBezTo>
                  <a:pt x="1383" y="21"/>
                  <a:pt x="1382" y="20"/>
                  <a:pt x="1382" y="20"/>
                </a:cubicBezTo>
                <a:cubicBezTo>
                  <a:pt x="1382" y="21"/>
                  <a:pt x="1382" y="21"/>
                  <a:pt x="1383" y="21"/>
                </a:cubicBezTo>
                <a:close/>
                <a:moveTo>
                  <a:pt x="798" y="98"/>
                </a:moveTo>
                <a:cubicBezTo>
                  <a:pt x="798" y="98"/>
                  <a:pt x="798" y="98"/>
                  <a:pt x="798" y="99"/>
                </a:cubicBezTo>
                <a:cubicBezTo>
                  <a:pt x="798" y="99"/>
                  <a:pt x="798" y="99"/>
                  <a:pt x="798" y="98"/>
                </a:cubicBezTo>
                <a:close/>
                <a:moveTo>
                  <a:pt x="664" y="66"/>
                </a:moveTo>
                <a:cubicBezTo>
                  <a:pt x="664" y="65"/>
                  <a:pt x="664" y="65"/>
                  <a:pt x="663" y="65"/>
                </a:cubicBezTo>
                <a:cubicBezTo>
                  <a:pt x="664" y="65"/>
                  <a:pt x="664" y="66"/>
                  <a:pt x="664" y="66"/>
                </a:cubicBezTo>
                <a:close/>
                <a:moveTo>
                  <a:pt x="1020" y="98"/>
                </a:moveTo>
                <a:cubicBezTo>
                  <a:pt x="1019" y="98"/>
                  <a:pt x="1019" y="98"/>
                  <a:pt x="1019" y="99"/>
                </a:cubicBezTo>
                <a:cubicBezTo>
                  <a:pt x="1019" y="99"/>
                  <a:pt x="1019" y="99"/>
                  <a:pt x="1020" y="98"/>
                </a:cubicBezTo>
                <a:close/>
                <a:moveTo>
                  <a:pt x="1538" y="20"/>
                </a:moveTo>
                <a:cubicBezTo>
                  <a:pt x="1538" y="20"/>
                  <a:pt x="1537" y="21"/>
                  <a:pt x="1537" y="21"/>
                </a:cubicBezTo>
                <a:cubicBezTo>
                  <a:pt x="1538" y="21"/>
                  <a:pt x="1538" y="21"/>
                  <a:pt x="1538" y="20"/>
                </a:cubicBezTo>
                <a:close/>
                <a:moveTo>
                  <a:pt x="1706" y="20"/>
                </a:moveTo>
                <a:cubicBezTo>
                  <a:pt x="1706" y="20"/>
                  <a:pt x="1706" y="21"/>
                  <a:pt x="1706" y="21"/>
                </a:cubicBezTo>
                <a:cubicBezTo>
                  <a:pt x="1706" y="21"/>
                  <a:pt x="1706" y="21"/>
                  <a:pt x="1706" y="20"/>
                </a:cubicBezTo>
                <a:close/>
                <a:moveTo>
                  <a:pt x="1179" y="99"/>
                </a:moveTo>
                <a:cubicBezTo>
                  <a:pt x="1179" y="99"/>
                  <a:pt x="1179" y="98"/>
                  <a:pt x="1179" y="98"/>
                </a:cubicBezTo>
                <a:cubicBezTo>
                  <a:pt x="1179" y="99"/>
                  <a:pt x="1179" y="99"/>
                  <a:pt x="1179" y="99"/>
                </a:cubicBezTo>
                <a:close/>
                <a:moveTo>
                  <a:pt x="1220" y="99"/>
                </a:moveTo>
                <a:cubicBezTo>
                  <a:pt x="1220" y="98"/>
                  <a:pt x="1220" y="98"/>
                  <a:pt x="1220" y="98"/>
                </a:cubicBezTo>
                <a:cubicBezTo>
                  <a:pt x="1220" y="99"/>
                  <a:pt x="1220" y="99"/>
                  <a:pt x="1220" y="99"/>
                </a:cubicBezTo>
                <a:close/>
                <a:moveTo>
                  <a:pt x="552" y="21"/>
                </a:moveTo>
                <a:cubicBezTo>
                  <a:pt x="552" y="21"/>
                  <a:pt x="552" y="21"/>
                  <a:pt x="552" y="21"/>
                </a:cubicBezTo>
                <a:cubicBezTo>
                  <a:pt x="552" y="21"/>
                  <a:pt x="552" y="21"/>
                  <a:pt x="552" y="21"/>
                </a:cubicBezTo>
                <a:close/>
                <a:moveTo>
                  <a:pt x="1545" y="66"/>
                </a:moveTo>
                <a:cubicBezTo>
                  <a:pt x="1545" y="66"/>
                  <a:pt x="1545" y="66"/>
                  <a:pt x="1545" y="65"/>
                </a:cubicBezTo>
                <a:cubicBezTo>
                  <a:pt x="1545" y="65"/>
                  <a:pt x="1545" y="65"/>
                  <a:pt x="1545" y="66"/>
                </a:cubicBezTo>
                <a:close/>
                <a:moveTo>
                  <a:pt x="1560" y="65"/>
                </a:moveTo>
                <a:cubicBezTo>
                  <a:pt x="1560" y="65"/>
                  <a:pt x="1560" y="65"/>
                  <a:pt x="1560" y="66"/>
                </a:cubicBezTo>
                <a:cubicBezTo>
                  <a:pt x="1560" y="66"/>
                  <a:pt x="1560" y="65"/>
                  <a:pt x="1560" y="65"/>
                </a:cubicBezTo>
                <a:close/>
                <a:moveTo>
                  <a:pt x="1713" y="66"/>
                </a:moveTo>
                <a:cubicBezTo>
                  <a:pt x="1713" y="66"/>
                  <a:pt x="1713" y="66"/>
                  <a:pt x="1713" y="65"/>
                </a:cubicBezTo>
                <a:cubicBezTo>
                  <a:pt x="1713" y="65"/>
                  <a:pt x="1713" y="65"/>
                  <a:pt x="1713" y="66"/>
                </a:cubicBezTo>
                <a:close/>
                <a:moveTo>
                  <a:pt x="584" y="21"/>
                </a:moveTo>
                <a:cubicBezTo>
                  <a:pt x="584" y="21"/>
                  <a:pt x="584" y="21"/>
                  <a:pt x="584" y="21"/>
                </a:cubicBezTo>
                <a:cubicBezTo>
                  <a:pt x="584" y="21"/>
                  <a:pt x="584" y="21"/>
                  <a:pt x="584" y="21"/>
                </a:cubicBezTo>
                <a:close/>
                <a:moveTo>
                  <a:pt x="980" y="21"/>
                </a:moveTo>
                <a:cubicBezTo>
                  <a:pt x="980" y="21"/>
                  <a:pt x="979" y="21"/>
                  <a:pt x="979" y="21"/>
                </a:cubicBezTo>
                <a:cubicBezTo>
                  <a:pt x="980" y="21"/>
                  <a:pt x="980" y="21"/>
                  <a:pt x="980" y="21"/>
                </a:cubicBezTo>
                <a:close/>
                <a:moveTo>
                  <a:pt x="692" y="99"/>
                </a:moveTo>
                <a:cubicBezTo>
                  <a:pt x="691" y="99"/>
                  <a:pt x="691" y="99"/>
                  <a:pt x="691" y="99"/>
                </a:cubicBezTo>
                <a:cubicBezTo>
                  <a:pt x="691" y="99"/>
                  <a:pt x="691" y="99"/>
                  <a:pt x="692" y="99"/>
                </a:cubicBezTo>
                <a:close/>
                <a:moveTo>
                  <a:pt x="1383" y="21"/>
                </a:moveTo>
                <a:cubicBezTo>
                  <a:pt x="1383" y="21"/>
                  <a:pt x="1383" y="21"/>
                  <a:pt x="1383" y="21"/>
                </a:cubicBezTo>
                <a:cubicBezTo>
                  <a:pt x="1383" y="21"/>
                  <a:pt x="1383" y="21"/>
                  <a:pt x="1383" y="21"/>
                </a:cubicBezTo>
                <a:close/>
                <a:moveTo>
                  <a:pt x="664" y="66"/>
                </a:moveTo>
                <a:cubicBezTo>
                  <a:pt x="664" y="66"/>
                  <a:pt x="664" y="66"/>
                  <a:pt x="664" y="66"/>
                </a:cubicBezTo>
                <a:cubicBezTo>
                  <a:pt x="664" y="66"/>
                  <a:pt x="664" y="66"/>
                  <a:pt x="664" y="66"/>
                </a:cubicBezTo>
                <a:close/>
                <a:moveTo>
                  <a:pt x="1416" y="21"/>
                </a:moveTo>
                <a:cubicBezTo>
                  <a:pt x="1416" y="21"/>
                  <a:pt x="1416" y="21"/>
                  <a:pt x="1416" y="21"/>
                </a:cubicBezTo>
                <a:cubicBezTo>
                  <a:pt x="1416" y="21"/>
                  <a:pt x="1416" y="21"/>
                  <a:pt x="1416" y="21"/>
                </a:cubicBezTo>
                <a:close/>
                <a:moveTo>
                  <a:pt x="1567" y="21"/>
                </a:moveTo>
                <a:cubicBezTo>
                  <a:pt x="1567" y="21"/>
                  <a:pt x="1567" y="21"/>
                  <a:pt x="1567" y="21"/>
                </a:cubicBezTo>
                <a:cubicBezTo>
                  <a:pt x="1567" y="21"/>
                  <a:pt x="1567" y="21"/>
                  <a:pt x="1567" y="21"/>
                </a:cubicBezTo>
                <a:close/>
                <a:moveTo>
                  <a:pt x="1043" y="99"/>
                </a:moveTo>
                <a:cubicBezTo>
                  <a:pt x="1043" y="99"/>
                  <a:pt x="1043" y="99"/>
                  <a:pt x="1043" y="99"/>
                </a:cubicBezTo>
                <a:cubicBezTo>
                  <a:pt x="1043" y="99"/>
                  <a:pt x="1043" y="99"/>
                  <a:pt x="1043" y="99"/>
                </a:cubicBezTo>
                <a:close/>
                <a:moveTo>
                  <a:pt x="1376" y="66"/>
                </a:moveTo>
                <a:cubicBezTo>
                  <a:pt x="1375" y="66"/>
                  <a:pt x="1375" y="66"/>
                  <a:pt x="1375" y="66"/>
                </a:cubicBezTo>
                <a:cubicBezTo>
                  <a:pt x="1375" y="66"/>
                  <a:pt x="1376" y="66"/>
                  <a:pt x="1376" y="66"/>
                </a:cubicBezTo>
                <a:close/>
                <a:moveTo>
                  <a:pt x="1180" y="99"/>
                </a:moveTo>
                <a:cubicBezTo>
                  <a:pt x="1180" y="99"/>
                  <a:pt x="1180" y="99"/>
                  <a:pt x="1179" y="99"/>
                </a:cubicBezTo>
                <a:cubicBezTo>
                  <a:pt x="1179" y="99"/>
                  <a:pt x="1180" y="99"/>
                  <a:pt x="1180" y="99"/>
                </a:cubicBezTo>
                <a:close/>
                <a:moveTo>
                  <a:pt x="1544" y="66"/>
                </a:moveTo>
                <a:cubicBezTo>
                  <a:pt x="1545" y="66"/>
                  <a:pt x="1545" y="66"/>
                  <a:pt x="1545" y="66"/>
                </a:cubicBezTo>
                <a:cubicBezTo>
                  <a:pt x="1545" y="66"/>
                  <a:pt x="1545" y="66"/>
                  <a:pt x="1544" y="66"/>
                </a:cubicBezTo>
                <a:close/>
                <a:moveTo>
                  <a:pt x="1735" y="21"/>
                </a:moveTo>
                <a:cubicBezTo>
                  <a:pt x="1735" y="21"/>
                  <a:pt x="1735" y="21"/>
                  <a:pt x="1735" y="21"/>
                </a:cubicBezTo>
                <a:cubicBezTo>
                  <a:pt x="1735" y="21"/>
                  <a:pt x="1735" y="21"/>
                  <a:pt x="1735" y="21"/>
                </a:cubicBezTo>
                <a:close/>
                <a:moveTo>
                  <a:pt x="1455" y="99"/>
                </a:moveTo>
                <a:cubicBezTo>
                  <a:pt x="1454" y="99"/>
                  <a:pt x="1454" y="99"/>
                  <a:pt x="1454" y="99"/>
                </a:cubicBezTo>
                <a:cubicBezTo>
                  <a:pt x="1454" y="99"/>
                  <a:pt x="1455" y="99"/>
                  <a:pt x="1455" y="99"/>
                </a:cubicBezTo>
                <a:close/>
                <a:moveTo>
                  <a:pt x="552" y="21"/>
                </a:moveTo>
                <a:cubicBezTo>
                  <a:pt x="552" y="21"/>
                  <a:pt x="552" y="21"/>
                  <a:pt x="552" y="21"/>
                </a:cubicBezTo>
                <a:cubicBezTo>
                  <a:pt x="552" y="21"/>
                  <a:pt x="552" y="21"/>
                  <a:pt x="552" y="21"/>
                </a:cubicBezTo>
                <a:close/>
                <a:moveTo>
                  <a:pt x="585" y="21"/>
                </a:moveTo>
                <a:cubicBezTo>
                  <a:pt x="585" y="21"/>
                  <a:pt x="585" y="21"/>
                  <a:pt x="584" y="21"/>
                </a:cubicBezTo>
                <a:cubicBezTo>
                  <a:pt x="585" y="21"/>
                  <a:pt x="585" y="21"/>
                  <a:pt x="585" y="21"/>
                </a:cubicBezTo>
                <a:close/>
                <a:moveTo>
                  <a:pt x="659" y="99"/>
                </a:moveTo>
                <a:cubicBezTo>
                  <a:pt x="659" y="99"/>
                  <a:pt x="658" y="99"/>
                  <a:pt x="658" y="99"/>
                </a:cubicBezTo>
                <a:cubicBezTo>
                  <a:pt x="658" y="99"/>
                  <a:pt x="658" y="99"/>
                  <a:pt x="659" y="99"/>
                </a:cubicBezTo>
                <a:close/>
                <a:moveTo>
                  <a:pt x="1353" y="21"/>
                </a:moveTo>
                <a:cubicBezTo>
                  <a:pt x="1352" y="21"/>
                  <a:pt x="1352" y="21"/>
                  <a:pt x="1352" y="21"/>
                </a:cubicBezTo>
                <a:cubicBezTo>
                  <a:pt x="1352" y="21"/>
                  <a:pt x="1353" y="21"/>
                  <a:pt x="1353" y="21"/>
                </a:cubicBezTo>
                <a:close/>
                <a:moveTo>
                  <a:pt x="762" y="99"/>
                </a:moveTo>
                <a:cubicBezTo>
                  <a:pt x="762" y="99"/>
                  <a:pt x="761" y="99"/>
                  <a:pt x="761" y="99"/>
                </a:cubicBezTo>
                <a:cubicBezTo>
                  <a:pt x="761" y="99"/>
                  <a:pt x="762" y="99"/>
                  <a:pt x="762" y="99"/>
                </a:cubicBezTo>
                <a:close/>
                <a:moveTo>
                  <a:pt x="1498" y="21"/>
                </a:moveTo>
                <a:cubicBezTo>
                  <a:pt x="1498" y="21"/>
                  <a:pt x="1498" y="21"/>
                  <a:pt x="1498" y="21"/>
                </a:cubicBezTo>
                <a:cubicBezTo>
                  <a:pt x="1498" y="21"/>
                  <a:pt x="1498" y="21"/>
                  <a:pt x="1498" y="21"/>
                </a:cubicBezTo>
                <a:close/>
                <a:moveTo>
                  <a:pt x="665" y="66"/>
                </a:moveTo>
                <a:cubicBezTo>
                  <a:pt x="665" y="66"/>
                  <a:pt x="664" y="66"/>
                  <a:pt x="664" y="66"/>
                </a:cubicBezTo>
                <a:cubicBezTo>
                  <a:pt x="664" y="66"/>
                  <a:pt x="664" y="66"/>
                  <a:pt x="665" y="66"/>
                </a:cubicBezTo>
                <a:close/>
                <a:moveTo>
                  <a:pt x="1567" y="21"/>
                </a:moveTo>
                <a:cubicBezTo>
                  <a:pt x="1567" y="21"/>
                  <a:pt x="1567" y="21"/>
                  <a:pt x="1567" y="21"/>
                </a:cubicBezTo>
                <a:cubicBezTo>
                  <a:pt x="1567" y="21"/>
                  <a:pt x="1567" y="21"/>
                  <a:pt x="1567" y="21"/>
                </a:cubicBezTo>
                <a:close/>
                <a:moveTo>
                  <a:pt x="1736" y="21"/>
                </a:moveTo>
                <a:cubicBezTo>
                  <a:pt x="1736" y="21"/>
                  <a:pt x="1735" y="21"/>
                  <a:pt x="1735" y="21"/>
                </a:cubicBezTo>
                <a:cubicBezTo>
                  <a:pt x="1735" y="21"/>
                  <a:pt x="1735" y="21"/>
                  <a:pt x="1736" y="21"/>
                </a:cubicBezTo>
                <a:close/>
                <a:moveTo>
                  <a:pt x="1360" y="66"/>
                </a:moveTo>
                <a:cubicBezTo>
                  <a:pt x="1360" y="66"/>
                  <a:pt x="1360" y="66"/>
                  <a:pt x="1360" y="66"/>
                </a:cubicBezTo>
                <a:cubicBezTo>
                  <a:pt x="1360" y="66"/>
                  <a:pt x="1360" y="66"/>
                  <a:pt x="1360" y="66"/>
                </a:cubicBezTo>
                <a:close/>
                <a:moveTo>
                  <a:pt x="1180" y="99"/>
                </a:moveTo>
                <a:cubicBezTo>
                  <a:pt x="1180" y="99"/>
                  <a:pt x="1180" y="99"/>
                  <a:pt x="1180" y="99"/>
                </a:cubicBezTo>
                <a:cubicBezTo>
                  <a:pt x="1180" y="99"/>
                  <a:pt x="1180" y="99"/>
                  <a:pt x="1180" y="99"/>
                </a:cubicBezTo>
                <a:close/>
                <a:moveTo>
                  <a:pt x="962" y="22"/>
                </a:moveTo>
                <a:cubicBezTo>
                  <a:pt x="963" y="22"/>
                  <a:pt x="963" y="22"/>
                  <a:pt x="963" y="21"/>
                </a:cubicBezTo>
                <a:cubicBezTo>
                  <a:pt x="963" y="22"/>
                  <a:pt x="963" y="22"/>
                  <a:pt x="962" y="22"/>
                </a:cubicBezTo>
                <a:close/>
                <a:moveTo>
                  <a:pt x="1021" y="22"/>
                </a:moveTo>
                <a:cubicBezTo>
                  <a:pt x="1021" y="22"/>
                  <a:pt x="1021" y="21"/>
                  <a:pt x="1021" y="21"/>
                </a:cubicBezTo>
                <a:cubicBezTo>
                  <a:pt x="1021" y="21"/>
                  <a:pt x="1021" y="21"/>
                  <a:pt x="1021" y="21"/>
                </a:cubicBezTo>
                <a:cubicBezTo>
                  <a:pt x="1021" y="21"/>
                  <a:pt x="1021" y="22"/>
                  <a:pt x="1021" y="22"/>
                </a:cubicBezTo>
                <a:close/>
                <a:moveTo>
                  <a:pt x="1425" y="99"/>
                </a:moveTo>
                <a:cubicBezTo>
                  <a:pt x="1425" y="99"/>
                  <a:pt x="1425" y="99"/>
                  <a:pt x="1425" y="99"/>
                </a:cubicBezTo>
                <a:cubicBezTo>
                  <a:pt x="1425" y="99"/>
                  <a:pt x="1425" y="99"/>
                  <a:pt x="1425" y="99"/>
                </a:cubicBezTo>
                <a:close/>
                <a:moveTo>
                  <a:pt x="1352" y="21"/>
                </a:moveTo>
                <a:cubicBezTo>
                  <a:pt x="1352" y="21"/>
                  <a:pt x="1352" y="21"/>
                  <a:pt x="1352" y="22"/>
                </a:cubicBezTo>
                <a:cubicBezTo>
                  <a:pt x="1352" y="22"/>
                  <a:pt x="1352" y="22"/>
                  <a:pt x="1352" y="21"/>
                </a:cubicBezTo>
                <a:close/>
                <a:moveTo>
                  <a:pt x="1559" y="66"/>
                </a:moveTo>
                <a:cubicBezTo>
                  <a:pt x="1559" y="66"/>
                  <a:pt x="1559" y="66"/>
                  <a:pt x="1559" y="66"/>
                </a:cubicBezTo>
                <a:cubicBezTo>
                  <a:pt x="1559" y="66"/>
                  <a:pt x="1559" y="66"/>
                  <a:pt x="1559" y="66"/>
                </a:cubicBezTo>
                <a:close/>
                <a:moveTo>
                  <a:pt x="1728" y="66"/>
                </a:moveTo>
                <a:cubicBezTo>
                  <a:pt x="1727" y="66"/>
                  <a:pt x="1727" y="66"/>
                  <a:pt x="1727" y="66"/>
                </a:cubicBezTo>
                <a:cubicBezTo>
                  <a:pt x="1727" y="66"/>
                  <a:pt x="1727" y="66"/>
                  <a:pt x="1728" y="66"/>
                </a:cubicBezTo>
                <a:close/>
                <a:moveTo>
                  <a:pt x="1536" y="21"/>
                </a:moveTo>
                <a:cubicBezTo>
                  <a:pt x="1536" y="21"/>
                  <a:pt x="1536" y="22"/>
                  <a:pt x="1536" y="22"/>
                </a:cubicBezTo>
                <a:cubicBezTo>
                  <a:pt x="1536" y="22"/>
                  <a:pt x="1536" y="22"/>
                  <a:pt x="1536" y="21"/>
                </a:cubicBezTo>
                <a:close/>
                <a:moveTo>
                  <a:pt x="1705" y="21"/>
                </a:moveTo>
                <a:cubicBezTo>
                  <a:pt x="1704" y="21"/>
                  <a:pt x="1704" y="22"/>
                  <a:pt x="1704" y="22"/>
                </a:cubicBezTo>
                <a:cubicBezTo>
                  <a:pt x="1704" y="22"/>
                  <a:pt x="1704" y="22"/>
                  <a:pt x="1705" y="21"/>
                </a:cubicBezTo>
                <a:close/>
                <a:moveTo>
                  <a:pt x="962" y="22"/>
                </a:moveTo>
                <a:cubicBezTo>
                  <a:pt x="962" y="22"/>
                  <a:pt x="962" y="22"/>
                  <a:pt x="962" y="22"/>
                </a:cubicBezTo>
                <a:cubicBezTo>
                  <a:pt x="962" y="22"/>
                  <a:pt x="962" y="22"/>
                  <a:pt x="962" y="22"/>
                </a:cubicBezTo>
                <a:close/>
                <a:moveTo>
                  <a:pt x="691" y="99"/>
                </a:moveTo>
                <a:cubicBezTo>
                  <a:pt x="690" y="99"/>
                  <a:pt x="690" y="100"/>
                  <a:pt x="690" y="100"/>
                </a:cubicBezTo>
                <a:cubicBezTo>
                  <a:pt x="690" y="100"/>
                  <a:pt x="690" y="100"/>
                  <a:pt x="691" y="99"/>
                </a:cubicBezTo>
                <a:close/>
                <a:moveTo>
                  <a:pt x="721" y="100"/>
                </a:moveTo>
                <a:cubicBezTo>
                  <a:pt x="721" y="100"/>
                  <a:pt x="720" y="99"/>
                  <a:pt x="720" y="99"/>
                </a:cubicBezTo>
                <a:cubicBezTo>
                  <a:pt x="720" y="100"/>
                  <a:pt x="720" y="100"/>
                  <a:pt x="721" y="100"/>
                </a:cubicBezTo>
                <a:close/>
                <a:moveTo>
                  <a:pt x="1359" y="67"/>
                </a:moveTo>
                <a:cubicBezTo>
                  <a:pt x="1359" y="67"/>
                  <a:pt x="1360" y="67"/>
                  <a:pt x="1360" y="66"/>
                </a:cubicBezTo>
                <a:cubicBezTo>
                  <a:pt x="1360" y="66"/>
                  <a:pt x="1359" y="67"/>
                  <a:pt x="1359" y="67"/>
                </a:cubicBezTo>
                <a:close/>
                <a:moveTo>
                  <a:pt x="1375" y="66"/>
                </a:moveTo>
                <a:cubicBezTo>
                  <a:pt x="1374" y="66"/>
                  <a:pt x="1374" y="66"/>
                  <a:pt x="1374" y="67"/>
                </a:cubicBezTo>
                <a:cubicBezTo>
                  <a:pt x="1374" y="67"/>
                  <a:pt x="1374" y="66"/>
                  <a:pt x="1375" y="66"/>
                </a:cubicBezTo>
                <a:close/>
                <a:moveTo>
                  <a:pt x="1384" y="22"/>
                </a:moveTo>
                <a:cubicBezTo>
                  <a:pt x="1384" y="22"/>
                  <a:pt x="1384" y="22"/>
                  <a:pt x="1383" y="22"/>
                </a:cubicBezTo>
                <a:cubicBezTo>
                  <a:pt x="1383" y="22"/>
                  <a:pt x="1383" y="22"/>
                  <a:pt x="1384" y="22"/>
                </a:cubicBezTo>
                <a:close/>
                <a:moveTo>
                  <a:pt x="1543" y="67"/>
                </a:moveTo>
                <a:cubicBezTo>
                  <a:pt x="1544" y="67"/>
                  <a:pt x="1544" y="67"/>
                  <a:pt x="1544" y="66"/>
                </a:cubicBezTo>
                <a:cubicBezTo>
                  <a:pt x="1544" y="66"/>
                  <a:pt x="1544" y="67"/>
                  <a:pt x="1543" y="67"/>
                </a:cubicBezTo>
                <a:close/>
                <a:moveTo>
                  <a:pt x="1536" y="22"/>
                </a:moveTo>
                <a:cubicBezTo>
                  <a:pt x="1536" y="22"/>
                  <a:pt x="1536" y="22"/>
                  <a:pt x="1536" y="22"/>
                </a:cubicBezTo>
                <a:cubicBezTo>
                  <a:pt x="1536" y="22"/>
                  <a:pt x="1536" y="22"/>
                  <a:pt x="1536" y="22"/>
                </a:cubicBezTo>
                <a:close/>
                <a:moveTo>
                  <a:pt x="1671" y="66"/>
                </a:moveTo>
                <a:cubicBezTo>
                  <a:pt x="1671" y="67"/>
                  <a:pt x="1671" y="67"/>
                  <a:pt x="1671" y="67"/>
                </a:cubicBezTo>
                <a:cubicBezTo>
                  <a:pt x="1671" y="67"/>
                  <a:pt x="1671" y="66"/>
                  <a:pt x="1671" y="66"/>
                </a:cubicBezTo>
                <a:close/>
                <a:moveTo>
                  <a:pt x="1180" y="100"/>
                </a:moveTo>
                <a:cubicBezTo>
                  <a:pt x="1180" y="99"/>
                  <a:pt x="1180" y="99"/>
                  <a:pt x="1180" y="99"/>
                </a:cubicBezTo>
                <a:cubicBezTo>
                  <a:pt x="1180" y="100"/>
                  <a:pt x="1180" y="100"/>
                  <a:pt x="1180" y="100"/>
                </a:cubicBezTo>
                <a:close/>
                <a:moveTo>
                  <a:pt x="1222" y="100"/>
                </a:moveTo>
                <a:cubicBezTo>
                  <a:pt x="1222" y="100"/>
                  <a:pt x="1222" y="99"/>
                  <a:pt x="1222" y="99"/>
                </a:cubicBezTo>
                <a:cubicBezTo>
                  <a:pt x="1222" y="100"/>
                  <a:pt x="1222" y="100"/>
                  <a:pt x="1222" y="100"/>
                </a:cubicBezTo>
                <a:close/>
                <a:moveTo>
                  <a:pt x="1712" y="67"/>
                </a:moveTo>
                <a:cubicBezTo>
                  <a:pt x="1712" y="67"/>
                  <a:pt x="1712" y="67"/>
                  <a:pt x="1712" y="66"/>
                </a:cubicBezTo>
                <a:cubicBezTo>
                  <a:pt x="1712" y="66"/>
                  <a:pt x="1712" y="67"/>
                  <a:pt x="1712" y="67"/>
                </a:cubicBezTo>
                <a:close/>
                <a:moveTo>
                  <a:pt x="1704" y="22"/>
                </a:moveTo>
                <a:cubicBezTo>
                  <a:pt x="1704" y="22"/>
                  <a:pt x="1704" y="22"/>
                  <a:pt x="1704" y="22"/>
                </a:cubicBezTo>
                <a:cubicBezTo>
                  <a:pt x="1704" y="22"/>
                  <a:pt x="1704" y="22"/>
                  <a:pt x="1704" y="22"/>
                </a:cubicBezTo>
                <a:close/>
                <a:moveTo>
                  <a:pt x="1454" y="99"/>
                </a:moveTo>
                <a:cubicBezTo>
                  <a:pt x="1453" y="99"/>
                  <a:pt x="1453" y="100"/>
                  <a:pt x="1453" y="100"/>
                </a:cubicBezTo>
                <a:cubicBezTo>
                  <a:pt x="1453" y="100"/>
                  <a:pt x="1454" y="100"/>
                  <a:pt x="1454" y="99"/>
                </a:cubicBezTo>
                <a:close/>
                <a:moveTo>
                  <a:pt x="587" y="67"/>
                </a:moveTo>
                <a:cubicBezTo>
                  <a:pt x="587" y="67"/>
                  <a:pt x="587" y="67"/>
                  <a:pt x="587" y="67"/>
                </a:cubicBezTo>
                <a:cubicBezTo>
                  <a:pt x="587" y="67"/>
                  <a:pt x="587" y="67"/>
                  <a:pt x="587" y="67"/>
                </a:cubicBezTo>
                <a:close/>
                <a:moveTo>
                  <a:pt x="962" y="23"/>
                </a:moveTo>
                <a:cubicBezTo>
                  <a:pt x="962" y="23"/>
                  <a:pt x="962" y="22"/>
                  <a:pt x="962" y="22"/>
                </a:cubicBezTo>
                <a:cubicBezTo>
                  <a:pt x="962" y="22"/>
                  <a:pt x="962" y="22"/>
                  <a:pt x="962" y="23"/>
                </a:cubicBezTo>
                <a:close/>
                <a:moveTo>
                  <a:pt x="978" y="22"/>
                </a:moveTo>
                <a:cubicBezTo>
                  <a:pt x="978" y="22"/>
                  <a:pt x="977" y="22"/>
                  <a:pt x="977" y="22"/>
                </a:cubicBezTo>
                <a:cubicBezTo>
                  <a:pt x="978" y="22"/>
                  <a:pt x="978" y="22"/>
                  <a:pt x="978" y="22"/>
                </a:cubicBezTo>
                <a:close/>
                <a:moveTo>
                  <a:pt x="690" y="100"/>
                </a:moveTo>
                <a:cubicBezTo>
                  <a:pt x="690" y="100"/>
                  <a:pt x="690" y="100"/>
                  <a:pt x="689" y="100"/>
                </a:cubicBezTo>
                <a:cubicBezTo>
                  <a:pt x="690" y="100"/>
                  <a:pt x="690" y="100"/>
                  <a:pt x="690" y="100"/>
                </a:cubicBezTo>
                <a:close/>
                <a:moveTo>
                  <a:pt x="721" y="100"/>
                </a:moveTo>
                <a:cubicBezTo>
                  <a:pt x="721" y="100"/>
                  <a:pt x="721" y="100"/>
                  <a:pt x="721" y="100"/>
                </a:cubicBezTo>
                <a:cubicBezTo>
                  <a:pt x="721" y="100"/>
                  <a:pt x="721" y="100"/>
                  <a:pt x="721" y="100"/>
                </a:cubicBezTo>
                <a:close/>
                <a:moveTo>
                  <a:pt x="666" y="67"/>
                </a:moveTo>
                <a:cubicBezTo>
                  <a:pt x="666" y="67"/>
                  <a:pt x="665" y="67"/>
                  <a:pt x="665" y="67"/>
                </a:cubicBezTo>
                <a:cubicBezTo>
                  <a:pt x="665" y="67"/>
                  <a:pt x="665" y="67"/>
                  <a:pt x="666" y="67"/>
                </a:cubicBezTo>
                <a:close/>
                <a:moveTo>
                  <a:pt x="689" y="67"/>
                </a:moveTo>
                <a:cubicBezTo>
                  <a:pt x="689" y="67"/>
                  <a:pt x="689" y="67"/>
                  <a:pt x="689" y="67"/>
                </a:cubicBezTo>
                <a:cubicBezTo>
                  <a:pt x="689" y="67"/>
                  <a:pt x="689" y="67"/>
                  <a:pt x="689" y="67"/>
                </a:cubicBezTo>
                <a:close/>
                <a:moveTo>
                  <a:pt x="1351" y="22"/>
                </a:moveTo>
                <a:cubicBezTo>
                  <a:pt x="1351" y="22"/>
                  <a:pt x="1351" y="22"/>
                  <a:pt x="1351" y="22"/>
                </a:cubicBezTo>
                <a:cubicBezTo>
                  <a:pt x="1351" y="22"/>
                  <a:pt x="1351" y="22"/>
                  <a:pt x="1351" y="22"/>
                </a:cubicBezTo>
                <a:close/>
                <a:moveTo>
                  <a:pt x="1374" y="67"/>
                </a:moveTo>
                <a:cubicBezTo>
                  <a:pt x="1374" y="67"/>
                  <a:pt x="1374" y="67"/>
                  <a:pt x="1374" y="67"/>
                </a:cubicBezTo>
                <a:cubicBezTo>
                  <a:pt x="1374" y="67"/>
                  <a:pt x="1374" y="67"/>
                  <a:pt x="1374" y="67"/>
                </a:cubicBezTo>
                <a:close/>
                <a:moveTo>
                  <a:pt x="1045" y="100"/>
                </a:moveTo>
                <a:cubicBezTo>
                  <a:pt x="1045" y="100"/>
                  <a:pt x="1045" y="100"/>
                  <a:pt x="1045" y="100"/>
                </a:cubicBezTo>
                <a:cubicBezTo>
                  <a:pt x="1045" y="100"/>
                  <a:pt x="1045" y="100"/>
                  <a:pt x="1045" y="100"/>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223" y="100"/>
                </a:moveTo>
                <a:cubicBezTo>
                  <a:pt x="1223" y="100"/>
                  <a:pt x="1223" y="100"/>
                  <a:pt x="1222" y="100"/>
                </a:cubicBezTo>
                <a:cubicBezTo>
                  <a:pt x="1223" y="100"/>
                  <a:pt x="1223" y="100"/>
                  <a:pt x="1223" y="100"/>
                </a:cubicBezTo>
                <a:close/>
                <a:moveTo>
                  <a:pt x="1659" y="67"/>
                </a:moveTo>
                <a:cubicBezTo>
                  <a:pt x="1659" y="67"/>
                  <a:pt x="1659" y="67"/>
                  <a:pt x="1658" y="67"/>
                </a:cubicBezTo>
                <a:cubicBezTo>
                  <a:pt x="1658" y="67"/>
                  <a:pt x="1658" y="67"/>
                  <a:pt x="1659" y="67"/>
                </a:cubicBezTo>
                <a:close/>
                <a:moveTo>
                  <a:pt x="1497" y="22"/>
                </a:moveTo>
                <a:cubicBezTo>
                  <a:pt x="1497" y="22"/>
                  <a:pt x="1497" y="22"/>
                  <a:pt x="1497" y="22"/>
                </a:cubicBezTo>
                <a:cubicBezTo>
                  <a:pt x="1497" y="22"/>
                  <a:pt x="1497" y="22"/>
                  <a:pt x="1497" y="22"/>
                </a:cubicBezTo>
                <a:close/>
                <a:moveTo>
                  <a:pt x="1711" y="67"/>
                </a:moveTo>
                <a:cubicBezTo>
                  <a:pt x="1711" y="67"/>
                  <a:pt x="1712" y="67"/>
                  <a:pt x="1712" y="67"/>
                </a:cubicBezTo>
                <a:cubicBezTo>
                  <a:pt x="1711" y="67"/>
                  <a:pt x="1711" y="67"/>
                  <a:pt x="1711" y="67"/>
                </a:cubicBezTo>
                <a:close/>
                <a:moveTo>
                  <a:pt x="1727" y="67"/>
                </a:moveTo>
                <a:cubicBezTo>
                  <a:pt x="1726" y="67"/>
                  <a:pt x="1726" y="67"/>
                  <a:pt x="1726" y="67"/>
                </a:cubicBezTo>
                <a:cubicBezTo>
                  <a:pt x="1726" y="67"/>
                  <a:pt x="1726" y="67"/>
                  <a:pt x="1727" y="67"/>
                </a:cubicBezTo>
                <a:close/>
                <a:moveTo>
                  <a:pt x="1568" y="23"/>
                </a:moveTo>
                <a:cubicBezTo>
                  <a:pt x="1568" y="22"/>
                  <a:pt x="1568" y="22"/>
                  <a:pt x="1568" y="22"/>
                </a:cubicBezTo>
                <a:cubicBezTo>
                  <a:pt x="1568" y="22"/>
                  <a:pt x="1568" y="22"/>
                  <a:pt x="1568" y="23"/>
                </a:cubicBezTo>
                <a:close/>
                <a:moveTo>
                  <a:pt x="666" y="67"/>
                </a:moveTo>
                <a:cubicBezTo>
                  <a:pt x="666" y="67"/>
                  <a:pt x="666" y="67"/>
                  <a:pt x="666" y="67"/>
                </a:cubicBezTo>
                <a:cubicBezTo>
                  <a:pt x="666" y="67"/>
                  <a:pt x="666" y="67"/>
                  <a:pt x="666" y="67"/>
                </a:cubicBezTo>
                <a:close/>
                <a:moveTo>
                  <a:pt x="1736" y="23"/>
                </a:moveTo>
                <a:cubicBezTo>
                  <a:pt x="1736" y="22"/>
                  <a:pt x="1736" y="22"/>
                  <a:pt x="1736" y="22"/>
                </a:cubicBezTo>
                <a:cubicBezTo>
                  <a:pt x="1736" y="22"/>
                  <a:pt x="1736" y="22"/>
                  <a:pt x="1736" y="23"/>
                </a:cubicBezTo>
                <a:close/>
                <a:moveTo>
                  <a:pt x="551" y="22"/>
                </a:moveTo>
                <a:cubicBezTo>
                  <a:pt x="551" y="22"/>
                  <a:pt x="551" y="23"/>
                  <a:pt x="551" y="23"/>
                </a:cubicBezTo>
                <a:cubicBezTo>
                  <a:pt x="551" y="23"/>
                  <a:pt x="551" y="23"/>
                  <a:pt x="551" y="22"/>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659" y="67"/>
                </a:moveTo>
                <a:cubicBezTo>
                  <a:pt x="1659" y="67"/>
                  <a:pt x="1659" y="67"/>
                  <a:pt x="1659" y="67"/>
                </a:cubicBezTo>
                <a:cubicBezTo>
                  <a:pt x="1659" y="67"/>
                  <a:pt x="1659" y="67"/>
                  <a:pt x="1659" y="67"/>
                </a:cubicBezTo>
                <a:close/>
                <a:moveTo>
                  <a:pt x="1711" y="67"/>
                </a:moveTo>
                <a:cubicBezTo>
                  <a:pt x="1711" y="67"/>
                  <a:pt x="1711" y="67"/>
                  <a:pt x="1711" y="67"/>
                </a:cubicBezTo>
                <a:cubicBezTo>
                  <a:pt x="1711" y="67"/>
                  <a:pt x="1711" y="67"/>
                  <a:pt x="1711" y="67"/>
                </a:cubicBezTo>
                <a:close/>
                <a:moveTo>
                  <a:pt x="1046" y="100"/>
                </a:moveTo>
                <a:cubicBezTo>
                  <a:pt x="1046" y="100"/>
                  <a:pt x="1046" y="100"/>
                  <a:pt x="1045" y="100"/>
                </a:cubicBezTo>
                <a:cubicBezTo>
                  <a:pt x="1045" y="100"/>
                  <a:pt x="1046" y="100"/>
                  <a:pt x="1046" y="100"/>
                </a:cubicBezTo>
                <a:close/>
                <a:moveTo>
                  <a:pt x="1726" y="67"/>
                </a:moveTo>
                <a:cubicBezTo>
                  <a:pt x="1726" y="67"/>
                  <a:pt x="1726" y="67"/>
                  <a:pt x="1726" y="67"/>
                </a:cubicBezTo>
                <a:cubicBezTo>
                  <a:pt x="1726" y="67"/>
                  <a:pt x="1726" y="67"/>
                  <a:pt x="1726" y="67"/>
                </a:cubicBezTo>
                <a:close/>
                <a:moveTo>
                  <a:pt x="1181" y="100"/>
                </a:moveTo>
                <a:cubicBezTo>
                  <a:pt x="1181" y="100"/>
                  <a:pt x="1181" y="100"/>
                  <a:pt x="1181" y="100"/>
                </a:cubicBezTo>
                <a:cubicBezTo>
                  <a:pt x="1181" y="100"/>
                  <a:pt x="1181" y="100"/>
                  <a:pt x="1181" y="100"/>
                </a:cubicBezTo>
                <a:close/>
                <a:moveTo>
                  <a:pt x="587" y="67"/>
                </a:moveTo>
                <a:cubicBezTo>
                  <a:pt x="587" y="68"/>
                  <a:pt x="587" y="68"/>
                  <a:pt x="587" y="68"/>
                </a:cubicBezTo>
                <a:cubicBezTo>
                  <a:pt x="587" y="68"/>
                  <a:pt x="587" y="68"/>
                  <a:pt x="587" y="67"/>
                </a:cubicBezTo>
                <a:close/>
                <a:moveTo>
                  <a:pt x="1351" y="22"/>
                </a:moveTo>
                <a:cubicBezTo>
                  <a:pt x="1351" y="22"/>
                  <a:pt x="1351" y="23"/>
                  <a:pt x="1351" y="23"/>
                </a:cubicBezTo>
                <a:cubicBezTo>
                  <a:pt x="1351" y="23"/>
                  <a:pt x="1351" y="23"/>
                  <a:pt x="1351" y="22"/>
                </a:cubicBezTo>
                <a:close/>
                <a:moveTo>
                  <a:pt x="1535" y="23"/>
                </a:moveTo>
                <a:cubicBezTo>
                  <a:pt x="1535" y="23"/>
                  <a:pt x="1535" y="23"/>
                  <a:pt x="1535" y="23"/>
                </a:cubicBezTo>
                <a:cubicBezTo>
                  <a:pt x="1535" y="23"/>
                  <a:pt x="1535" y="23"/>
                  <a:pt x="1535" y="23"/>
                </a:cubicBezTo>
                <a:close/>
                <a:moveTo>
                  <a:pt x="1703" y="23"/>
                </a:moveTo>
                <a:cubicBezTo>
                  <a:pt x="1703" y="23"/>
                  <a:pt x="1703" y="23"/>
                  <a:pt x="1703" y="23"/>
                </a:cubicBezTo>
                <a:cubicBezTo>
                  <a:pt x="1703" y="23"/>
                  <a:pt x="1703" y="23"/>
                  <a:pt x="1703" y="23"/>
                </a:cubicBezTo>
                <a:close/>
                <a:moveTo>
                  <a:pt x="977" y="23"/>
                </a:moveTo>
                <a:cubicBezTo>
                  <a:pt x="977" y="23"/>
                  <a:pt x="976" y="23"/>
                  <a:pt x="976" y="23"/>
                </a:cubicBezTo>
                <a:cubicBezTo>
                  <a:pt x="976" y="23"/>
                  <a:pt x="977" y="23"/>
                  <a:pt x="977" y="23"/>
                </a:cubicBezTo>
                <a:close/>
                <a:moveTo>
                  <a:pt x="1358" y="68"/>
                </a:moveTo>
                <a:cubicBezTo>
                  <a:pt x="1358" y="68"/>
                  <a:pt x="1358" y="68"/>
                  <a:pt x="1358" y="67"/>
                </a:cubicBezTo>
                <a:cubicBezTo>
                  <a:pt x="1358" y="67"/>
                  <a:pt x="1358" y="68"/>
                  <a:pt x="1358" y="68"/>
                </a:cubicBezTo>
                <a:close/>
                <a:moveTo>
                  <a:pt x="1373" y="67"/>
                </a:moveTo>
                <a:cubicBezTo>
                  <a:pt x="1373" y="67"/>
                  <a:pt x="1373" y="68"/>
                  <a:pt x="1373" y="68"/>
                </a:cubicBezTo>
                <a:cubicBezTo>
                  <a:pt x="1373" y="68"/>
                  <a:pt x="1373" y="68"/>
                  <a:pt x="1373" y="67"/>
                </a:cubicBezTo>
                <a:close/>
                <a:moveTo>
                  <a:pt x="1351" y="23"/>
                </a:moveTo>
                <a:cubicBezTo>
                  <a:pt x="1350" y="23"/>
                  <a:pt x="1350" y="23"/>
                  <a:pt x="1350" y="23"/>
                </a:cubicBezTo>
                <a:cubicBezTo>
                  <a:pt x="1350" y="23"/>
                  <a:pt x="1350" y="23"/>
                  <a:pt x="1351" y="23"/>
                </a:cubicBezTo>
                <a:close/>
                <a:moveTo>
                  <a:pt x="1496" y="23"/>
                </a:moveTo>
                <a:cubicBezTo>
                  <a:pt x="1496" y="23"/>
                  <a:pt x="1496" y="23"/>
                  <a:pt x="1496" y="23"/>
                </a:cubicBezTo>
                <a:cubicBezTo>
                  <a:pt x="1496" y="23"/>
                  <a:pt x="1496" y="23"/>
                  <a:pt x="1496" y="23"/>
                </a:cubicBezTo>
                <a:close/>
                <a:moveTo>
                  <a:pt x="1535" y="23"/>
                </a:moveTo>
                <a:cubicBezTo>
                  <a:pt x="1534" y="23"/>
                  <a:pt x="1534" y="23"/>
                  <a:pt x="1534" y="23"/>
                </a:cubicBezTo>
                <a:cubicBezTo>
                  <a:pt x="1534" y="23"/>
                  <a:pt x="1535" y="23"/>
                  <a:pt x="1535" y="23"/>
                </a:cubicBezTo>
                <a:close/>
                <a:moveTo>
                  <a:pt x="722" y="101"/>
                </a:moveTo>
                <a:cubicBezTo>
                  <a:pt x="722" y="101"/>
                  <a:pt x="722" y="100"/>
                  <a:pt x="722" y="100"/>
                </a:cubicBezTo>
                <a:cubicBezTo>
                  <a:pt x="722" y="101"/>
                  <a:pt x="722" y="101"/>
                  <a:pt x="722" y="101"/>
                </a:cubicBezTo>
                <a:close/>
                <a:moveTo>
                  <a:pt x="1703" y="23"/>
                </a:moveTo>
                <a:cubicBezTo>
                  <a:pt x="1703" y="23"/>
                  <a:pt x="1702" y="23"/>
                  <a:pt x="1702" y="23"/>
                </a:cubicBezTo>
                <a:cubicBezTo>
                  <a:pt x="1703" y="23"/>
                  <a:pt x="1703" y="23"/>
                  <a:pt x="1703" y="23"/>
                </a:cubicBezTo>
                <a:close/>
                <a:moveTo>
                  <a:pt x="976" y="23"/>
                </a:moveTo>
                <a:cubicBezTo>
                  <a:pt x="976" y="23"/>
                  <a:pt x="976" y="23"/>
                  <a:pt x="976" y="23"/>
                </a:cubicBezTo>
                <a:cubicBezTo>
                  <a:pt x="976" y="23"/>
                  <a:pt x="976" y="23"/>
                  <a:pt x="976" y="23"/>
                </a:cubicBezTo>
                <a:close/>
                <a:moveTo>
                  <a:pt x="1350" y="23"/>
                </a:moveTo>
                <a:cubicBezTo>
                  <a:pt x="1350" y="23"/>
                  <a:pt x="1350" y="23"/>
                  <a:pt x="1350" y="23"/>
                </a:cubicBezTo>
                <a:cubicBezTo>
                  <a:pt x="1350" y="23"/>
                  <a:pt x="1350" y="23"/>
                  <a:pt x="1350" y="23"/>
                </a:cubicBezTo>
                <a:close/>
                <a:moveTo>
                  <a:pt x="1534" y="23"/>
                </a:moveTo>
                <a:cubicBezTo>
                  <a:pt x="1534" y="23"/>
                  <a:pt x="1534" y="23"/>
                  <a:pt x="1534" y="24"/>
                </a:cubicBezTo>
                <a:cubicBezTo>
                  <a:pt x="1534" y="23"/>
                  <a:pt x="1534" y="23"/>
                  <a:pt x="1534" y="23"/>
                </a:cubicBezTo>
                <a:close/>
                <a:moveTo>
                  <a:pt x="1702" y="23"/>
                </a:moveTo>
                <a:cubicBezTo>
                  <a:pt x="1702" y="23"/>
                  <a:pt x="1702" y="23"/>
                  <a:pt x="1702" y="24"/>
                </a:cubicBezTo>
                <a:cubicBezTo>
                  <a:pt x="1702" y="23"/>
                  <a:pt x="1702" y="23"/>
                  <a:pt x="1702" y="23"/>
                </a:cubicBezTo>
                <a:close/>
                <a:moveTo>
                  <a:pt x="961" y="24"/>
                </a:moveTo>
                <a:cubicBezTo>
                  <a:pt x="961" y="24"/>
                  <a:pt x="961" y="24"/>
                  <a:pt x="961" y="24"/>
                </a:cubicBezTo>
                <a:cubicBezTo>
                  <a:pt x="961" y="24"/>
                  <a:pt x="961" y="24"/>
                  <a:pt x="961" y="24"/>
                </a:cubicBezTo>
                <a:close/>
                <a:moveTo>
                  <a:pt x="667" y="68"/>
                </a:moveTo>
                <a:cubicBezTo>
                  <a:pt x="667" y="68"/>
                  <a:pt x="667" y="68"/>
                  <a:pt x="667" y="68"/>
                </a:cubicBezTo>
                <a:cubicBezTo>
                  <a:pt x="667" y="68"/>
                  <a:pt x="667" y="68"/>
                  <a:pt x="667" y="68"/>
                </a:cubicBezTo>
                <a:close/>
                <a:moveTo>
                  <a:pt x="690" y="68"/>
                </a:moveTo>
                <a:cubicBezTo>
                  <a:pt x="691" y="68"/>
                  <a:pt x="691" y="68"/>
                  <a:pt x="691" y="68"/>
                </a:cubicBezTo>
                <a:cubicBezTo>
                  <a:pt x="691" y="68"/>
                  <a:pt x="691" y="68"/>
                  <a:pt x="690" y="68"/>
                </a:cubicBezTo>
                <a:close/>
                <a:moveTo>
                  <a:pt x="1495" y="24"/>
                </a:moveTo>
                <a:cubicBezTo>
                  <a:pt x="1495" y="24"/>
                  <a:pt x="1495" y="24"/>
                  <a:pt x="1495" y="24"/>
                </a:cubicBezTo>
                <a:cubicBezTo>
                  <a:pt x="1495" y="24"/>
                  <a:pt x="1495" y="24"/>
                  <a:pt x="1495" y="24"/>
                </a:cubicBezTo>
                <a:close/>
                <a:moveTo>
                  <a:pt x="1358" y="68"/>
                </a:moveTo>
                <a:cubicBezTo>
                  <a:pt x="1358" y="68"/>
                  <a:pt x="1358" y="68"/>
                  <a:pt x="1358" y="68"/>
                </a:cubicBezTo>
                <a:cubicBezTo>
                  <a:pt x="1358" y="68"/>
                  <a:pt x="1358" y="68"/>
                  <a:pt x="1358" y="68"/>
                </a:cubicBezTo>
                <a:close/>
                <a:moveTo>
                  <a:pt x="1534" y="23"/>
                </a:moveTo>
                <a:cubicBezTo>
                  <a:pt x="1534" y="24"/>
                  <a:pt x="1534" y="24"/>
                  <a:pt x="1534" y="24"/>
                </a:cubicBezTo>
                <a:cubicBezTo>
                  <a:pt x="1534" y="24"/>
                  <a:pt x="1534" y="24"/>
                  <a:pt x="1534" y="23"/>
                </a:cubicBezTo>
                <a:close/>
                <a:moveTo>
                  <a:pt x="1557" y="68"/>
                </a:moveTo>
                <a:cubicBezTo>
                  <a:pt x="1557" y="68"/>
                  <a:pt x="1557" y="68"/>
                  <a:pt x="1557" y="68"/>
                </a:cubicBezTo>
                <a:cubicBezTo>
                  <a:pt x="1557" y="68"/>
                  <a:pt x="1557" y="68"/>
                  <a:pt x="1557" y="68"/>
                </a:cubicBezTo>
                <a:close/>
                <a:moveTo>
                  <a:pt x="1710" y="68"/>
                </a:moveTo>
                <a:cubicBezTo>
                  <a:pt x="1710" y="68"/>
                  <a:pt x="1710" y="68"/>
                  <a:pt x="1710" y="68"/>
                </a:cubicBezTo>
                <a:cubicBezTo>
                  <a:pt x="1710" y="68"/>
                  <a:pt x="1710" y="68"/>
                  <a:pt x="1710" y="68"/>
                </a:cubicBezTo>
                <a:close/>
                <a:moveTo>
                  <a:pt x="1725" y="68"/>
                </a:moveTo>
                <a:cubicBezTo>
                  <a:pt x="1725" y="68"/>
                  <a:pt x="1725" y="68"/>
                  <a:pt x="1725" y="68"/>
                </a:cubicBezTo>
                <a:cubicBezTo>
                  <a:pt x="1725" y="68"/>
                  <a:pt x="1725" y="68"/>
                  <a:pt x="1725" y="68"/>
                </a:cubicBezTo>
                <a:close/>
                <a:moveTo>
                  <a:pt x="1702" y="23"/>
                </a:moveTo>
                <a:cubicBezTo>
                  <a:pt x="1702" y="24"/>
                  <a:pt x="1702" y="24"/>
                  <a:pt x="1702" y="24"/>
                </a:cubicBezTo>
                <a:cubicBezTo>
                  <a:pt x="1702" y="24"/>
                  <a:pt x="1702" y="24"/>
                  <a:pt x="1702" y="23"/>
                </a:cubicBezTo>
                <a:close/>
                <a:moveTo>
                  <a:pt x="960" y="24"/>
                </a:moveTo>
                <a:cubicBezTo>
                  <a:pt x="961" y="24"/>
                  <a:pt x="961" y="24"/>
                  <a:pt x="961" y="24"/>
                </a:cubicBezTo>
                <a:cubicBezTo>
                  <a:pt x="961" y="24"/>
                  <a:pt x="960" y="24"/>
                  <a:pt x="960" y="24"/>
                </a:cubicBezTo>
                <a:close/>
                <a:moveTo>
                  <a:pt x="1534" y="24"/>
                </a:moveTo>
                <a:cubicBezTo>
                  <a:pt x="1533" y="24"/>
                  <a:pt x="1533" y="24"/>
                  <a:pt x="1533" y="24"/>
                </a:cubicBezTo>
                <a:cubicBezTo>
                  <a:pt x="1533" y="24"/>
                  <a:pt x="1534" y="24"/>
                  <a:pt x="1534" y="24"/>
                </a:cubicBezTo>
                <a:close/>
                <a:moveTo>
                  <a:pt x="1702" y="24"/>
                </a:moveTo>
                <a:cubicBezTo>
                  <a:pt x="1702" y="24"/>
                  <a:pt x="1701" y="24"/>
                  <a:pt x="1701" y="24"/>
                </a:cubicBezTo>
                <a:cubicBezTo>
                  <a:pt x="1702" y="24"/>
                  <a:pt x="1702" y="24"/>
                  <a:pt x="1702" y="24"/>
                </a:cubicBezTo>
                <a:close/>
                <a:moveTo>
                  <a:pt x="1357" y="68"/>
                </a:moveTo>
                <a:cubicBezTo>
                  <a:pt x="1357" y="68"/>
                  <a:pt x="1358" y="68"/>
                  <a:pt x="1358" y="68"/>
                </a:cubicBezTo>
                <a:cubicBezTo>
                  <a:pt x="1357" y="68"/>
                  <a:pt x="1357" y="68"/>
                  <a:pt x="1357" y="68"/>
                </a:cubicBezTo>
                <a:close/>
                <a:moveTo>
                  <a:pt x="1541" y="68"/>
                </a:moveTo>
                <a:cubicBezTo>
                  <a:pt x="1542" y="68"/>
                  <a:pt x="1542" y="68"/>
                  <a:pt x="1542" y="68"/>
                </a:cubicBezTo>
                <a:cubicBezTo>
                  <a:pt x="1542" y="68"/>
                  <a:pt x="1541" y="68"/>
                  <a:pt x="1541" y="68"/>
                </a:cubicBezTo>
                <a:close/>
                <a:moveTo>
                  <a:pt x="975" y="24"/>
                </a:moveTo>
                <a:cubicBezTo>
                  <a:pt x="975" y="24"/>
                  <a:pt x="975" y="24"/>
                  <a:pt x="975" y="25"/>
                </a:cubicBezTo>
                <a:cubicBezTo>
                  <a:pt x="975" y="24"/>
                  <a:pt x="975" y="24"/>
                  <a:pt x="975" y="24"/>
                </a:cubicBezTo>
                <a:close/>
                <a:moveTo>
                  <a:pt x="1494" y="24"/>
                </a:moveTo>
                <a:cubicBezTo>
                  <a:pt x="1494" y="24"/>
                  <a:pt x="1494" y="24"/>
                  <a:pt x="1494" y="25"/>
                </a:cubicBezTo>
                <a:cubicBezTo>
                  <a:pt x="1494" y="25"/>
                  <a:pt x="1494" y="24"/>
                  <a:pt x="1494" y="24"/>
                </a:cubicBezTo>
                <a:close/>
                <a:moveTo>
                  <a:pt x="1202" y="101"/>
                </a:moveTo>
                <a:cubicBezTo>
                  <a:pt x="1202" y="101"/>
                  <a:pt x="1202" y="101"/>
                  <a:pt x="1202" y="101"/>
                </a:cubicBezTo>
                <a:cubicBezTo>
                  <a:pt x="1202" y="101"/>
                  <a:pt x="1202" y="101"/>
                  <a:pt x="1202" y="101"/>
                </a:cubicBezTo>
                <a:close/>
                <a:moveTo>
                  <a:pt x="1709" y="68"/>
                </a:moveTo>
                <a:cubicBezTo>
                  <a:pt x="1710" y="68"/>
                  <a:pt x="1710" y="68"/>
                  <a:pt x="1710" y="68"/>
                </a:cubicBezTo>
                <a:cubicBezTo>
                  <a:pt x="1710" y="68"/>
                  <a:pt x="1710" y="68"/>
                  <a:pt x="1709" y="68"/>
                </a:cubicBezTo>
                <a:close/>
                <a:moveTo>
                  <a:pt x="1533" y="24"/>
                </a:moveTo>
                <a:cubicBezTo>
                  <a:pt x="1533" y="24"/>
                  <a:pt x="1533" y="24"/>
                  <a:pt x="1533" y="25"/>
                </a:cubicBezTo>
                <a:cubicBezTo>
                  <a:pt x="1533" y="24"/>
                  <a:pt x="1533" y="24"/>
                  <a:pt x="1533" y="24"/>
                </a:cubicBezTo>
                <a:close/>
                <a:moveTo>
                  <a:pt x="1701" y="24"/>
                </a:moveTo>
                <a:cubicBezTo>
                  <a:pt x="1701" y="24"/>
                  <a:pt x="1701" y="24"/>
                  <a:pt x="1701" y="25"/>
                </a:cubicBezTo>
                <a:cubicBezTo>
                  <a:pt x="1701" y="24"/>
                  <a:pt x="1701" y="24"/>
                  <a:pt x="1701" y="24"/>
                </a:cubicBezTo>
                <a:close/>
                <a:moveTo>
                  <a:pt x="692" y="69"/>
                </a:moveTo>
                <a:cubicBezTo>
                  <a:pt x="692" y="69"/>
                  <a:pt x="692" y="69"/>
                  <a:pt x="692" y="69"/>
                </a:cubicBezTo>
                <a:cubicBezTo>
                  <a:pt x="692" y="69"/>
                  <a:pt x="692" y="69"/>
                  <a:pt x="692" y="69"/>
                </a:cubicBezTo>
                <a:close/>
                <a:moveTo>
                  <a:pt x="975" y="25"/>
                </a:moveTo>
                <a:cubicBezTo>
                  <a:pt x="974" y="25"/>
                  <a:pt x="974" y="25"/>
                  <a:pt x="974" y="25"/>
                </a:cubicBezTo>
                <a:cubicBezTo>
                  <a:pt x="974" y="25"/>
                  <a:pt x="975" y="25"/>
                  <a:pt x="975" y="25"/>
                </a:cubicBezTo>
                <a:close/>
                <a:moveTo>
                  <a:pt x="1675" y="53"/>
                </a:moveTo>
                <a:cubicBezTo>
                  <a:pt x="1675" y="53"/>
                  <a:pt x="1675" y="53"/>
                  <a:pt x="1675" y="53"/>
                </a:cubicBezTo>
                <a:cubicBezTo>
                  <a:pt x="1675" y="53"/>
                  <a:pt x="1675" y="53"/>
                  <a:pt x="1675" y="53"/>
                </a:cubicBezTo>
                <a:close/>
                <a:moveTo>
                  <a:pt x="1372" y="68"/>
                </a:moveTo>
                <a:cubicBezTo>
                  <a:pt x="1372" y="68"/>
                  <a:pt x="1371" y="69"/>
                  <a:pt x="1371" y="69"/>
                </a:cubicBezTo>
                <a:cubicBezTo>
                  <a:pt x="1372" y="69"/>
                  <a:pt x="1372" y="69"/>
                  <a:pt x="1372" y="68"/>
                </a:cubicBezTo>
                <a:close/>
                <a:moveTo>
                  <a:pt x="1541" y="69"/>
                </a:moveTo>
                <a:cubicBezTo>
                  <a:pt x="1541" y="69"/>
                  <a:pt x="1541" y="69"/>
                  <a:pt x="1541" y="68"/>
                </a:cubicBezTo>
                <a:cubicBezTo>
                  <a:pt x="1541" y="69"/>
                  <a:pt x="1541" y="69"/>
                  <a:pt x="1541" y="69"/>
                </a:cubicBezTo>
                <a:close/>
                <a:moveTo>
                  <a:pt x="1660" y="69"/>
                </a:moveTo>
                <a:cubicBezTo>
                  <a:pt x="1660" y="69"/>
                  <a:pt x="1660" y="68"/>
                  <a:pt x="1660" y="68"/>
                </a:cubicBezTo>
                <a:cubicBezTo>
                  <a:pt x="1660" y="69"/>
                  <a:pt x="1660" y="69"/>
                  <a:pt x="1660" y="69"/>
                </a:cubicBezTo>
                <a:close/>
                <a:moveTo>
                  <a:pt x="1709" y="69"/>
                </a:moveTo>
                <a:cubicBezTo>
                  <a:pt x="1709" y="69"/>
                  <a:pt x="1709" y="69"/>
                  <a:pt x="1710" y="68"/>
                </a:cubicBezTo>
                <a:cubicBezTo>
                  <a:pt x="1709" y="69"/>
                  <a:pt x="1709" y="69"/>
                  <a:pt x="1709" y="69"/>
                </a:cubicBezTo>
                <a:close/>
                <a:moveTo>
                  <a:pt x="1724" y="68"/>
                </a:moveTo>
                <a:cubicBezTo>
                  <a:pt x="1724" y="68"/>
                  <a:pt x="1724" y="69"/>
                  <a:pt x="1724" y="69"/>
                </a:cubicBezTo>
                <a:cubicBezTo>
                  <a:pt x="1724" y="69"/>
                  <a:pt x="1724" y="69"/>
                  <a:pt x="1724" y="68"/>
                </a:cubicBezTo>
                <a:close/>
                <a:moveTo>
                  <a:pt x="1533" y="24"/>
                </a:moveTo>
                <a:cubicBezTo>
                  <a:pt x="1533" y="25"/>
                  <a:pt x="1533" y="25"/>
                  <a:pt x="1533" y="25"/>
                </a:cubicBezTo>
                <a:cubicBezTo>
                  <a:pt x="1533" y="25"/>
                  <a:pt x="1533" y="25"/>
                  <a:pt x="1533" y="24"/>
                </a:cubicBezTo>
                <a:close/>
                <a:moveTo>
                  <a:pt x="1701" y="24"/>
                </a:moveTo>
                <a:cubicBezTo>
                  <a:pt x="1701" y="25"/>
                  <a:pt x="1701" y="25"/>
                  <a:pt x="1701" y="25"/>
                </a:cubicBezTo>
                <a:cubicBezTo>
                  <a:pt x="1701" y="25"/>
                  <a:pt x="1701" y="25"/>
                  <a:pt x="1701" y="24"/>
                </a:cubicBezTo>
                <a:close/>
                <a:moveTo>
                  <a:pt x="960" y="25"/>
                </a:moveTo>
                <a:cubicBezTo>
                  <a:pt x="960" y="25"/>
                  <a:pt x="960" y="25"/>
                  <a:pt x="960" y="25"/>
                </a:cubicBezTo>
                <a:cubicBezTo>
                  <a:pt x="960" y="25"/>
                  <a:pt x="960" y="25"/>
                  <a:pt x="960" y="25"/>
                </a:cubicBezTo>
                <a:close/>
                <a:moveTo>
                  <a:pt x="974" y="25"/>
                </a:moveTo>
                <a:cubicBezTo>
                  <a:pt x="974" y="25"/>
                  <a:pt x="974" y="25"/>
                  <a:pt x="974" y="25"/>
                </a:cubicBezTo>
                <a:cubicBezTo>
                  <a:pt x="974" y="25"/>
                  <a:pt x="974" y="25"/>
                  <a:pt x="974" y="25"/>
                </a:cubicBezTo>
                <a:close/>
                <a:moveTo>
                  <a:pt x="669" y="69"/>
                </a:moveTo>
                <a:cubicBezTo>
                  <a:pt x="669" y="69"/>
                  <a:pt x="669" y="69"/>
                  <a:pt x="668" y="69"/>
                </a:cubicBezTo>
                <a:cubicBezTo>
                  <a:pt x="668" y="69"/>
                  <a:pt x="669" y="69"/>
                  <a:pt x="669" y="69"/>
                </a:cubicBezTo>
                <a:close/>
                <a:moveTo>
                  <a:pt x="1533" y="25"/>
                </a:moveTo>
                <a:cubicBezTo>
                  <a:pt x="1532" y="25"/>
                  <a:pt x="1532" y="25"/>
                  <a:pt x="1532" y="25"/>
                </a:cubicBezTo>
                <a:cubicBezTo>
                  <a:pt x="1532" y="25"/>
                  <a:pt x="1533" y="25"/>
                  <a:pt x="1533" y="25"/>
                </a:cubicBezTo>
                <a:close/>
                <a:moveTo>
                  <a:pt x="1701" y="25"/>
                </a:moveTo>
                <a:cubicBezTo>
                  <a:pt x="1700" y="25"/>
                  <a:pt x="1700" y="25"/>
                  <a:pt x="1700" y="25"/>
                </a:cubicBezTo>
                <a:cubicBezTo>
                  <a:pt x="1701" y="25"/>
                  <a:pt x="1701" y="25"/>
                  <a:pt x="1701" y="25"/>
                </a:cubicBezTo>
                <a:close/>
                <a:moveTo>
                  <a:pt x="974" y="25"/>
                </a:moveTo>
                <a:cubicBezTo>
                  <a:pt x="974" y="25"/>
                  <a:pt x="974" y="25"/>
                  <a:pt x="974" y="26"/>
                </a:cubicBezTo>
                <a:cubicBezTo>
                  <a:pt x="974" y="25"/>
                  <a:pt x="974" y="25"/>
                  <a:pt x="974" y="25"/>
                </a:cubicBezTo>
                <a:close/>
                <a:moveTo>
                  <a:pt x="1532" y="25"/>
                </a:moveTo>
                <a:cubicBezTo>
                  <a:pt x="1532" y="25"/>
                  <a:pt x="1532" y="25"/>
                  <a:pt x="1532" y="26"/>
                </a:cubicBezTo>
                <a:cubicBezTo>
                  <a:pt x="1532" y="26"/>
                  <a:pt x="1532" y="25"/>
                  <a:pt x="1532" y="25"/>
                </a:cubicBezTo>
                <a:close/>
                <a:moveTo>
                  <a:pt x="1541" y="69"/>
                </a:moveTo>
                <a:cubicBezTo>
                  <a:pt x="1541" y="69"/>
                  <a:pt x="1541" y="69"/>
                  <a:pt x="1541" y="69"/>
                </a:cubicBezTo>
                <a:cubicBezTo>
                  <a:pt x="1541" y="69"/>
                  <a:pt x="1541" y="69"/>
                  <a:pt x="1541" y="69"/>
                </a:cubicBezTo>
                <a:close/>
                <a:moveTo>
                  <a:pt x="1556" y="69"/>
                </a:moveTo>
                <a:cubicBezTo>
                  <a:pt x="1555" y="69"/>
                  <a:pt x="1555" y="69"/>
                  <a:pt x="1555" y="69"/>
                </a:cubicBezTo>
                <a:cubicBezTo>
                  <a:pt x="1555" y="69"/>
                  <a:pt x="1556" y="69"/>
                  <a:pt x="1556" y="69"/>
                </a:cubicBezTo>
                <a:close/>
                <a:moveTo>
                  <a:pt x="1700" y="25"/>
                </a:moveTo>
                <a:cubicBezTo>
                  <a:pt x="1700" y="25"/>
                  <a:pt x="1700" y="25"/>
                  <a:pt x="1700" y="26"/>
                </a:cubicBezTo>
                <a:cubicBezTo>
                  <a:pt x="1700" y="26"/>
                  <a:pt x="1700" y="25"/>
                  <a:pt x="1700" y="25"/>
                </a:cubicBezTo>
                <a:close/>
                <a:moveTo>
                  <a:pt x="974" y="26"/>
                </a:moveTo>
                <a:cubicBezTo>
                  <a:pt x="973" y="26"/>
                  <a:pt x="973" y="26"/>
                  <a:pt x="973" y="26"/>
                </a:cubicBezTo>
                <a:cubicBezTo>
                  <a:pt x="973" y="26"/>
                  <a:pt x="973" y="26"/>
                  <a:pt x="974" y="26"/>
                </a:cubicBezTo>
                <a:close/>
                <a:moveTo>
                  <a:pt x="1709" y="69"/>
                </a:moveTo>
                <a:cubicBezTo>
                  <a:pt x="1709" y="69"/>
                  <a:pt x="1709" y="69"/>
                  <a:pt x="1709" y="69"/>
                </a:cubicBezTo>
                <a:cubicBezTo>
                  <a:pt x="1709" y="69"/>
                  <a:pt x="1709" y="69"/>
                  <a:pt x="1709" y="69"/>
                </a:cubicBezTo>
                <a:close/>
                <a:moveTo>
                  <a:pt x="1724" y="69"/>
                </a:moveTo>
                <a:cubicBezTo>
                  <a:pt x="1724" y="69"/>
                  <a:pt x="1723" y="69"/>
                  <a:pt x="1723" y="69"/>
                </a:cubicBezTo>
                <a:cubicBezTo>
                  <a:pt x="1723" y="69"/>
                  <a:pt x="1724" y="69"/>
                  <a:pt x="1724" y="69"/>
                </a:cubicBezTo>
                <a:close/>
                <a:moveTo>
                  <a:pt x="1492" y="26"/>
                </a:moveTo>
                <a:cubicBezTo>
                  <a:pt x="1491" y="26"/>
                  <a:pt x="1491" y="26"/>
                  <a:pt x="1491" y="26"/>
                </a:cubicBezTo>
                <a:cubicBezTo>
                  <a:pt x="1491" y="26"/>
                  <a:pt x="1491" y="26"/>
                  <a:pt x="1492" y="26"/>
                </a:cubicBezTo>
                <a:close/>
                <a:moveTo>
                  <a:pt x="1532" y="26"/>
                </a:moveTo>
                <a:cubicBezTo>
                  <a:pt x="1532" y="26"/>
                  <a:pt x="1532" y="26"/>
                  <a:pt x="1531" y="26"/>
                </a:cubicBezTo>
                <a:cubicBezTo>
                  <a:pt x="1532" y="26"/>
                  <a:pt x="1532" y="26"/>
                  <a:pt x="1532" y="26"/>
                </a:cubicBezTo>
                <a:close/>
                <a:moveTo>
                  <a:pt x="1356" y="70"/>
                </a:moveTo>
                <a:cubicBezTo>
                  <a:pt x="1356" y="70"/>
                  <a:pt x="1356" y="69"/>
                  <a:pt x="1356" y="69"/>
                </a:cubicBezTo>
                <a:cubicBezTo>
                  <a:pt x="1356" y="69"/>
                  <a:pt x="1356" y="69"/>
                  <a:pt x="1356" y="70"/>
                </a:cubicBezTo>
                <a:close/>
                <a:moveTo>
                  <a:pt x="1371" y="69"/>
                </a:moveTo>
                <a:cubicBezTo>
                  <a:pt x="1371" y="69"/>
                  <a:pt x="1370" y="69"/>
                  <a:pt x="1370" y="69"/>
                </a:cubicBezTo>
                <a:cubicBezTo>
                  <a:pt x="1371" y="69"/>
                  <a:pt x="1371" y="69"/>
                  <a:pt x="1371" y="69"/>
                </a:cubicBezTo>
                <a:close/>
                <a:moveTo>
                  <a:pt x="1700" y="26"/>
                </a:moveTo>
                <a:cubicBezTo>
                  <a:pt x="1700" y="26"/>
                  <a:pt x="1700" y="26"/>
                  <a:pt x="1700" y="26"/>
                </a:cubicBezTo>
                <a:cubicBezTo>
                  <a:pt x="1700" y="26"/>
                  <a:pt x="1700" y="26"/>
                  <a:pt x="1700" y="26"/>
                </a:cubicBezTo>
                <a:close/>
                <a:moveTo>
                  <a:pt x="959" y="26"/>
                </a:moveTo>
                <a:cubicBezTo>
                  <a:pt x="959" y="26"/>
                  <a:pt x="959" y="26"/>
                  <a:pt x="959" y="26"/>
                </a:cubicBezTo>
                <a:cubicBezTo>
                  <a:pt x="959" y="26"/>
                  <a:pt x="959" y="26"/>
                  <a:pt x="959" y="26"/>
                </a:cubicBezTo>
                <a:close/>
                <a:moveTo>
                  <a:pt x="973" y="26"/>
                </a:moveTo>
                <a:cubicBezTo>
                  <a:pt x="973" y="26"/>
                  <a:pt x="973" y="26"/>
                  <a:pt x="973" y="26"/>
                </a:cubicBezTo>
                <a:cubicBezTo>
                  <a:pt x="973" y="26"/>
                  <a:pt x="973" y="26"/>
                  <a:pt x="973" y="26"/>
                </a:cubicBezTo>
                <a:close/>
                <a:moveTo>
                  <a:pt x="1491" y="26"/>
                </a:moveTo>
                <a:cubicBezTo>
                  <a:pt x="1491" y="26"/>
                  <a:pt x="1490" y="26"/>
                  <a:pt x="1490" y="26"/>
                </a:cubicBezTo>
                <a:cubicBezTo>
                  <a:pt x="1491" y="26"/>
                  <a:pt x="1491" y="26"/>
                  <a:pt x="1491" y="26"/>
                </a:cubicBezTo>
                <a:close/>
                <a:moveTo>
                  <a:pt x="1532" y="26"/>
                </a:moveTo>
                <a:cubicBezTo>
                  <a:pt x="1531" y="26"/>
                  <a:pt x="1531" y="26"/>
                  <a:pt x="1531" y="26"/>
                </a:cubicBezTo>
                <a:cubicBezTo>
                  <a:pt x="1531" y="26"/>
                  <a:pt x="1531" y="26"/>
                  <a:pt x="1532" y="26"/>
                </a:cubicBezTo>
                <a:close/>
                <a:moveTo>
                  <a:pt x="1700" y="26"/>
                </a:moveTo>
                <a:cubicBezTo>
                  <a:pt x="1699" y="26"/>
                  <a:pt x="1699" y="26"/>
                  <a:pt x="1699" y="26"/>
                </a:cubicBezTo>
                <a:cubicBezTo>
                  <a:pt x="1699" y="26"/>
                  <a:pt x="1700" y="26"/>
                  <a:pt x="1700" y="26"/>
                </a:cubicBezTo>
                <a:close/>
                <a:moveTo>
                  <a:pt x="973" y="26"/>
                </a:moveTo>
                <a:cubicBezTo>
                  <a:pt x="973" y="26"/>
                  <a:pt x="973" y="26"/>
                  <a:pt x="973" y="27"/>
                </a:cubicBezTo>
                <a:cubicBezTo>
                  <a:pt x="973" y="27"/>
                  <a:pt x="973" y="26"/>
                  <a:pt x="973" y="26"/>
                </a:cubicBezTo>
                <a:close/>
                <a:moveTo>
                  <a:pt x="1390" y="53"/>
                </a:moveTo>
                <a:cubicBezTo>
                  <a:pt x="1390" y="53"/>
                  <a:pt x="1390" y="53"/>
                  <a:pt x="1390" y="53"/>
                </a:cubicBezTo>
                <a:cubicBezTo>
                  <a:pt x="1390" y="53"/>
                  <a:pt x="1390" y="53"/>
                  <a:pt x="1390" y="53"/>
                </a:cubicBezTo>
                <a:close/>
                <a:moveTo>
                  <a:pt x="693" y="70"/>
                </a:moveTo>
                <a:cubicBezTo>
                  <a:pt x="693" y="70"/>
                  <a:pt x="693" y="70"/>
                  <a:pt x="693" y="70"/>
                </a:cubicBezTo>
                <a:cubicBezTo>
                  <a:pt x="693" y="70"/>
                  <a:pt x="693" y="70"/>
                  <a:pt x="693" y="70"/>
                </a:cubicBezTo>
                <a:close/>
                <a:moveTo>
                  <a:pt x="973" y="27"/>
                </a:moveTo>
                <a:cubicBezTo>
                  <a:pt x="972" y="27"/>
                  <a:pt x="972" y="27"/>
                  <a:pt x="972" y="27"/>
                </a:cubicBezTo>
                <a:cubicBezTo>
                  <a:pt x="972" y="27"/>
                  <a:pt x="972" y="27"/>
                  <a:pt x="973" y="27"/>
                </a:cubicBezTo>
                <a:close/>
                <a:moveTo>
                  <a:pt x="958" y="27"/>
                </a:moveTo>
                <a:cubicBezTo>
                  <a:pt x="959" y="27"/>
                  <a:pt x="959" y="27"/>
                  <a:pt x="959" y="27"/>
                </a:cubicBezTo>
                <a:cubicBezTo>
                  <a:pt x="958" y="27"/>
                  <a:pt x="958" y="27"/>
                  <a:pt x="958" y="27"/>
                </a:cubicBezTo>
                <a:close/>
                <a:moveTo>
                  <a:pt x="1355" y="70"/>
                </a:moveTo>
                <a:cubicBezTo>
                  <a:pt x="1356" y="70"/>
                  <a:pt x="1356" y="70"/>
                  <a:pt x="1356" y="70"/>
                </a:cubicBezTo>
                <a:cubicBezTo>
                  <a:pt x="1356" y="70"/>
                  <a:pt x="1356" y="70"/>
                  <a:pt x="1355" y="70"/>
                </a:cubicBezTo>
                <a:close/>
                <a:moveTo>
                  <a:pt x="1370" y="69"/>
                </a:moveTo>
                <a:cubicBezTo>
                  <a:pt x="1370" y="69"/>
                  <a:pt x="1370" y="70"/>
                  <a:pt x="1370" y="70"/>
                </a:cubicBezTo>
                <a:cubicBezTo>
                  <a:pt x="1370" y="70"/>
                  <a:pt x="1370" y="70"/>
                  <a:pt x="1370" y="69"/>
                </a:cubicBezTo>
                <a:close/>
                <a:moveTo>
                  <a:pt x="971" y="28"/>
                </a:moveTo>
                <a:cubicBezTo>
                  <a:pt x="971" y="28"/>
                  <a:pt x="971" y="28"/>
                  <a:pt x="971" y="28"/>
                </a:cubicBezTo>
                <a:cubicBezTo>
                  <a:pt x="971" y="28"/>
                  <a:pt x="971" y="28"/>
                  <a:pt x="971" y="28"/>
                </a:cubicBezTo>
                <a:close/>
                <a:moveTo>
                  <a:pt x="1376" y="54"/>
                </a:moveTo>
                <a:cubicBezTo>
                  <a:pt x="1376" y="54"/>
                  <a:pt x="1376" y="53"/>
                  <a:pt x="1376" y="53"/>
                </a:cubicBezTo>
                <a:cubicBezTo>
                  <a:pt x="1376" y="53"/>
                  <a:pt x="1376" y="53"/>
                  <a:pt x="1376" y="54"/>
                </a:cubicBezTo>
                <a:close/>
                <a:moveTo>
                  <a:pt x="1555" y="70"/>
                </a:moveTo>
                <a:cubicBezTo>
                  <a:pt x="1554" y="70"/>
                  <a:pt x="1554" y="70"/>
                  <a:pt x="1554" y="70"/>
                </a:cubicBezTo>
                <a:cubicBezTo>
                  <a:pt x="1554" y="70"/>
                  <a:pt x="1554" y="70"/>
                  <a:pt x="1555" y="70"/>
                </a:cubicBezTo>
                <a:close/>
                <a:moveTo>
                  <a:pt x="1487" y="28"/>
                </a:moveTo>
                <a:cubicBezTo>
                  <a:pt x="1486" y="28"/>
                  <a:pt x="1486" y="28"/>
                  <a:pt x="1486" y="28"/>
                </a:cubicBezTo>
                <a:cubicBezTo>
                  <a:pt x="1486" y="28"/>
                  <a:pt x="1487" y="28"/>
                  <a:pt x="1487" y="28"/>
                </a:cubicBezTo>
                <a:close/>
                <a:moveTo>
                  <a:pt x="971" y="28"/>
                </a:moveTo>
                <a:cubicBezTo>
                  <a:pt x="971" y="28"/>
                  <a:pt x="971" y="29"/>
                  <a:pt x="971" y="29"/>
                </a:cubicBezTo>
                <a:cubicBezTo>
                  <a:pt x="971" y="29"/>
                  <a:pt x="971" y="29"/>
                  <a:pt x="971" y="28"/>
                </a:cubicBezTo>
                <a:close/>
                <a:moveTo>
                  <a:pt x="1723" y="70"/>
                </a:moveTo>
                <a:cubicBezTo>
                  <a:pt x="1722" y="70"/>
                  <a:pt x="1722" y="70"/>
                  <a:pt x="1722" y="70"/>
                </a:cubicBezTo>
                <a:cubicBezTo>
                  <a:pt x="1722" y="70"/>
                  <a:pt x="1723" y="70"/>
                  <a:pt x="1723" y="70"/>
                </a:cubicBezTo>
                <a:close/>
                <a:moveTo>
                  <a:pt x="957" y="30"/>
                </a:moveTo>
                <a:cubicBezTo>
                  <a:pt x="957" y="30"/>
                  <a:pt x="957" y="30"/>
                  <a:pt x="957" y="29"/>
                </a:cubicBezTo>
                <a:cubicBezTo>
                  <a:pt x="957" y="30"/>
                  <a:pt x="957" y="30"/>
                  <a:pt x="957" y="30"/>
                </a:cubicBezTo>
                <a:close/>
                <a:moveTo>
                  <a:pt x="970" y="30"/>
                </a:moveTo>
                <a:cubicBezTo>
                  <a:pt x="970" y="30"/>
                  <a:pt x="970" y="30"/>
                  <a:pt x="970" y="30"/>
                </a:cubicBezTo>
                <a:cubicBezTo>
                  <a:pt x="970" y="30"/>
                  <a:pt x="970" y="30"/>
                  <a:pt x="970" y="30"/>
                </a:cubicBezTo>
                <a:close/>
                <a:moveTo>
                  <a:pt x="957" y="31"/>
                </a:moveTo>
                <a:cubicBezTo>
                  <a:pt x="957" y="31"/>
                  <a:pt x="957" y="30"/>
                  <a:pt x="957" y="30"/>
                </a:cubicBezTo>
                <a:cubicBezTo>
                  <a:pt x="957" y="30"/>
                  <a:pt x="957" y="30"/>
                  <a:pt x="957" y="31"/>
                </a:cubicBezTo>
                <a:close/>
                <a:moveTo>
                  <a:pt x="969" y="31"/>
                </a:moveTo>
                <a:cubicBezTo>
                  <a:pt x="969" y="31"/>
                  <a:pt x="969" y="31"/>
                  <a:pt x="969" y="31"/>
                </a:cubicBezTo>
                <a:cubicBezTo>
                  <a:pt x="969" y="31"/>
                  <a:pt x="969" y="31"/>
                  <a:pt x="969" y="31"/>
                </a:cubicBezTo>
                <a:close/>
                <a:moveTo>
                  <a:pt x="693" y="70"/>
                </a:moveTo>
                <a:cubicBezTo>
                  <a:pt x="693" y="70"/>
                  <a:pt x="694" y="70"/>
                  <a:pt x="694" y="70"/>
                </a:cubicBezTo>
                <a:cubicBezTo>
                  <a:pt x="694" y="70"/>
                  <a:pt x="693" y="70"/>
                  <a:pt x="693" y="70"/>
                </a:cubicBezTo>
                <a:close/>
                <a:moveTo>
                  <a:pt x="969" y="32"/>
                </a:moveTo>
                <a:cubicBezTo>
                  <a:pt x="968" y="32"/>
                  <a:pt x="968" y="32"/>
                  <a:pt x="968" y="32"/>
                </a:cubicBezTo>
                <a:cubicBezTo>
                  <a:pt x="968" y="32"/>
                  <a:pt x="969" y="32"/>
                  <a:pt x="969" y="32"/>
                </a:cubicBezTo>
                <a:close/>
                <a:moveTo>
                  <a:pt x="1355" y="70"/>
                </a:moveTo>
                <a:cubicBezTo>
                  <a:pt x="1355" y="70"/>
                  <a:pt x="1355" y="70"/>
                  <a:pt x="1355" y="70"/>
                </a:cubicBezTo>
                <a:cubicBezTo>
                  <a:pt x="1355" y="70"/>
                  <a:pt x="1355" y="70"/>
                  <a:pt x="1355" y="70"/>
                </a:cubicBezTo>
                <a:close/>
                <a:moveTo>
                  <a:pt x="956" y="33"/>
                </a:moveTo>
                <a:cubicBezTo>
                  <a:pt x="956" y="33"/>
                  <a:pt x="956" y="32"/>
                  <a:pt x="956" y="32"/>
                </a:cubicBezTo>
                <a:cubicBezTo>
                  <a:pt x="956" y="32"/>
                  <a:pt x="956" y="33"/>
                  <a:pt x="956" y="33"/>
                </a:cubicBezTo>
                <a:close/>
                <a:moveTo>
                  <a:pt x="1539" y="70"/>
                </a:moveTo>
                <a:cubicBezTo>
                  <a:pt x="1539" y="70"/>
                  <a:pt x="1540" y="70"/>
                  <a:pt x="1540" y="70"/>
                </a:cubicBezTo>
                <a:cubicBezTo>
                  <a:pt x="1539" y="70"/>
                  <a:pt x="1539" y="70"/>
                  <a:pt x="1539" y="70"/>
                </a:cubicBezTo>
                <a:close/>
                <a:moveTo>
                  <a:pt x="1554" y="70"/>
                </a:moveTo>
                <a:cubicBezTo>
                  <a:pt x="1554" y="70"/>
                  <a:pt x="1554" y="70"/>
                  <a:pt x="1554" y="70"/>
                </a:cubicBezTo>
                <a:cubicBezTo>
                  <a:pt x="1554" y="70"/>
                  <a:pt x="1554" y="70"/>
                  <a:pt x="1554" y="70"/>
                </a:cubicBezTo>
                <a:close/>
                <a:moveTo>
                  <a:pt x="1707" y="70"/>
                </a:moveTo>
                <a:cubicBezTo>
                  <a:pt x="1708" y="70"/>
                  <a:pt x="1708" y="70"/>
                  <a:pt x="1708" y="70"/>
                </a:cubicBezTo>
                <a:cubicBezTo>
                  <a:pt x="1708" y="70"/>
                  <a:pt x="1707" y="70"/>
                  <a:pt x="1707" y="70"/>
                </a:cubicBezTo>
                <a:close/>
                <a:moveTo>
                  <a:pt x="1722" y="70"/>
                </a:moveTo>
                <a:cubicBezTo>
                  <a:pt x="1722" y="70"/>
                  <a:pt x="1722" y="70"/>
                  <a:pt x="1722" y="70"/>
                </a:cubicBezTo>
                <a:cubicBezTo>
                  <a:pt x="1722" y="70"/>
                  <a:pt x="1722" y="70"/>
                  <a:pt x="1722" y="70"/>
                </a:cubicBezTo>
                <a:close/>
                <a:moveTo>
                  <a:pt x="1143" y="35"/>
                </a:moveTo>
                <a:cubicBezTo>
                  <a:pt x="1143" y="35"/>
                  <a:pt x="1143" y="35"/>
                  <a:pt x="1143" y="35"/>
                </a:cubicBezTo>
                <a:cubicBezTo>
                  <a:pt x="1143" y="35"/>
                  <a:pt x="1143" y="35"/>
                  <a:pt x="1143" y="35"/>
                </a:cubicBezTo>
                <a:close/>
                <a:moveTo>
                  <a:pt x="669" y="35"/>
                </a:moveTo>
                <a:cubicBezTo>
                  <a:pt x="670" y="35"/>
                  <a:pt x="670" y="35"/>
                  <a:pt x="670" y="35"/>
                </a:cubicBezTo>
                <a:cubicBezTo>
                  <a:pt x="670" y="35"/>
                  <a:pt x="669" y="35"/>
                  <a:pt x="669" y="35"/>
                </a:cubicBezTo>
                <a:close/>
                <a:moveTo>
                  <a:pt x="1355" y="71"/>
                </a:moveTo>
                <a:cubicBezTo>
                  <a:pt x="1355" y="71"/>
                  <a:pt x="1355" y="70"/>
                  <a:pt x="1355" y="70"/>
                </a:cubicBezTo>
                <a:cubicBezTo>
                  <a:pt x="1355" y="70"/>
                  <a:pt x="1355" y="70"/>
                  <a:pt x="1355" y="71"/>
                </a:cubicBezTo>
                <a:close/>
                <a:moveTo>
                  <a:pt x="1369" y="70"/>
                </a:moveTo>
                <a:cubicBezTo>
                  <a:pt x="1369" y="70"/>
                  <a:pt x="1369" y="70"/>
                  <a:pt x="1369" y="71"/>
                </a:cubicBezTo>
                <a:cubicBezTo>
                  <a:pt x="1369" y="70"/>
                  <a:pt x="1369" y="70"/>
                  <a:pt x="1369" y="70"/>
                </a:cubicBezTo>
                <a:close/>
                <a:moveTo>
                  <a:pt x="1539" y="71"/>
                </a:moveTo>
                <a:cubicBezTo>
                  <a:pt x="1539" y="71"/>
                  <a:pt x="1539" y="70"/>
                  <a:pt x="1539" y="70"/>
                </a:cubicBezTo>
                <a:cubicBezTo>
                  <a:pt x="1539" y="70"/>
                  <a:pt x="1539" y="70"/>
                  <a:pt x="1539" y="71"/>
                </a:cubicBezTo>
                <a:close/>
                <a:moveTo>
                  <a:pt x="859" y="35"/>
                </a:moveTo>
                <a:cubicBezTo>
                  <a:pt x="859" y="35"/>
                  <a:pt x="859" y="35"/>
                  <a:pt x="859" y="35"/>
                </a:cubicBezTo>
                <a:cubicBezTo>
                  <a:pt x="859" y="35"/>
                  <a:pt x="859" y="35"/>
                  <a:pt x="859" y="35"/>
                </a:cubicBezTo>
                <a:close/>
                <a:moveTo>
                  <a:pt x="1661" y="71"/>
                </a:moveTo>
                <a:cubicBezTo>
                  <a:pt x="1661" y="70"/>
                  <a:pt x="1661" y="70"/>
                  <a:pt x="1661" y="70"/>
                </a:cubicBezTo>
                <a:cubicBezTo>
                  <a:pt x="1661" y="70"/>
                  <a:pt x="1661" y="70"/>
                  <a:pt x="1661" y="71"/>
                </a:cubicBezTo>
                <a:close/>
                <a:moveTo>
                  <a:pt x="879" y="35"/>
                </a:moveTo>
                <a:cubicBezTo>
                  <a:pt x="879" y="35"/>
                  <a:pt x="879" y="35"/>
                  <a:pt x="879" y="35"/>
                </a:cubicBezTo>
                <a:cubicBezTo>
                  <a:pt x="879" y="35"/>
                  <a:pt x="879" y="35"/>
                  <a:pt x="879" y="35"/>
                </a:cubicBezTo>
                <a:close/>
                <a:moveTo>
                  <a:pt x="1707" y="71"/>
                </a:moveTo>
                <a:cubicBezTo>
                  <a:pt x="1707" y="71"/>
                  <a:pt x="1707" y="70"/>
                  <a:pt x="1707" y="70"/>
                </a:cubicBezTo>
                <a:cubicBezTo>
                  <a:pt x="1707" y="70"/>
                  <a:pt x="1707" y="70"/>
                  <a:pt x="1707" y="71"/>
                </a:cubicBezTo>
                <a:close/>
                <a:moveTo>
                  <a:pt x="902" y="35"/>
                </a:moveTo>
                <a:cubicBezTo>
                  <a:pt x="902" y="35"/>
                  <a:pt x="902" y="35"/>
                  <a:pt x="902" y="35"/>
                </a:cubicBezTo>
                <a:cubicBezTo>
                  <a:pt x="902" y="35"/>
                  <a:pt x="902" y="35"/>
                  <a:pt x="902" y="35"/>
                </a:cubicBezTo>
                <a:close/>
                <a:moveTo>
                  <a:pt x="1144" y="35"/>
                </a:moveTo>
                <a:cubicBezTo>
                  <a:pt x="1144" y="35"/>
                  <a:pt x="1144" y="35"/>
                  <a:pt x="1144" y="35"/>
                </a:cubicBezTo>
                <a:cubicBezTo>
                  <a:pt x="1144" y="35"/>
                  <a:pt x="1144" y="35"/>
                  <a:pt x="1144" y="35"/>
                </a:cubicBezTo>
                <a:close/>
                <a:moveTo>
                  <a:pt x="1297" y="35"/>
                </a:moveTo>
                <a:cubicBezTo>
                  <a:pt x="1298" y="35"/>
                  <a:pt x="1298" y="35"/>
                  <a:pt x="1298" y="35"/>
                </a:cubicBezTo>
                <a:cubicBezTo>
                  <a:pt x="1298" y="35"/>
                  <a:pt x="1297" y="35"/>
                  <a:pt x="1297" y="35"/>
                </a:cubicBezTo>
                <a:close/>
                <a:moveTo>
                  <a:pt x="669" y="36"/>
                </a:moveTo>
                <a:cubicBezTo>
                  <a:pt x="669" y="36"/>
                  <a:pt x="669" y="36"/>
                  <a:pt x="669" y="35"/>
                </a:cubicBezTo>
                <a:cubicBezTo>
                  <a:pt x="669" y="35"/>
                  <a:pt x="669" y="36"/>
                  <a:pt x="669" y="36"/>
                </a:cubicBezTo>
                <a:close/>
                <a:moveTo>
                  <a:pt x="837" y="36"/>
                </a:moveTo>
                <a:cubicBezTo>
                  <a:pt x="837" y="36"/>
                  <a:pt x="837" y="36"/>
                  <a:pt x="837" y="35"/>
                </a:cubicBezTo>
                <a:cubicBezTo>
                  <a:pt x="837" y="36"/>
                  <a:pt x="837" y="36"/>
                  <a:pt x="837" y="36"/>
                </a:cubicBezTo>
                <a:close/>
                <a:moveTo>
                  <a:pt x="878" y="36"/>
                </a:moveTo>
                <a:cubicBezTo>
                  <a:pt x="878" y="36"/>
                  <a:pt x="878" y="36"/>
                  <a:pt x="878" y="35"/>
                </a:cubicBezTo>
                <a:cubicBezTo>
                  <a:pt x="878" y="35"/>
                  <a:pt x="878" y="36"/>
                  <a:pt x="878" y="36"/>
                </a:cubicBezTo>
                <a:close/>
                <a:moveTo>
                  <a:pt x="1354" y="71"/>
                </a:moveTo>
                <a:cubicBezTo>
                  <a:pt x="1355" y="71"/>
                  <a:pt x="1355" y="71"/>
                  <a:pt x="1355" y="71"/>
                </a:cubicBezTo>
                <a:cubicBezTo>
                  <a:pt x="1355" y="71"/>
                  <a:pt x="1355" y="71"/>
                  <a:pt x="1354" y="71"/>
                </a:cubicBezTo>
                <a:close/>
                <a:moveTo>
                  <a:pt x="1369" y="70"/>
                </a:moveTo>
                <a:cubicBezTo>
                  <a:pt x="1369" y="71"/>
                  <a:pt x="1369" y="71"/>
                  <a:pt x="1369" y="71"/>
                </a:cubicBezTo>
                <a:cubicBezTo>
                  <a:pt x="1369" y="71"/>
                  <a:pt x="1369" y="71"/>
                  <a:pt x="1369" y="70"/>
                </a:cubicBezTo>
                <a:close/>
                <a:moveTo>
                  <a:pt x="1539" y="71"/>
                </a:moveTo>
                <a:cubicBezTo>
                  <a:pt x="1539" y="71"/>
                  <a:pt x="1539" y="71"/>
                  <a:pt x="1539" y="71"/>
                </a:cubicBezTo>
                <a:cubicBezTo>
                  <a:pt x="1539" y="71"/>
                  <a:pt x="1539" y="71"/>
                  <a:pt x="1539" y="71"/>
                </a:cubicBezTo>
                <a:close/>
                <a:moveTo>
                  <a:pt x="1553" y="71"/>
                </a:moveTo>
                <a:cubicBezTo>
                  <a:pt x="1553" y="71"/>
                  <a:pt x="1553" y="71"/>
                  <a:pt x="1553" y="71"/>
                </a:cubicBezTo>
                <a:cubicBezTo>
                  <a:pt x="1553" y="71"/>
                  <a:pt x="1553" y="71"/>
                  <a:pt x="1553" y="71"/>
                </a:cubicBezTo>
                <a:close/>
                <a:moveTo>
                  <a:pt x="1707" y="71"/>
                </a:moveTo>
                <a:cubicBezTo>
                  <a:pt x="1707" y="71"/>
                  <a:pt x="1707" y="71"/>
                  <a:pt x="1707" y="71"/>
                </a:cubicBezTo>
                <a:cubicBezTo>
                  <a:pt x="1707" y="71"/>
                  <a:pt x="1707" y="71"/>
                  <a:pt x="1707" y="71"/>
                </a:cubicBezTo>
                <a:close/>
                <a:moveTo>
                  <a:pt x="1721" y="71"/>
                </a:moveTo>
                <a:cubicBezTo>
                  <a:pt x="1721" y="71"/>
                  <a:pt x="1721" y="71"/>
                  <a:pt x="1721" y="71"/>
                </a:cubicBezTo>
                <a:cubicBezTo>
                  <a:pt x="1721" y="71"/>
                  <a:pt x="1721" y="71"/>
                  <a:pt x="1721" y="71"/>
                </a:cubicBezTo>
                <a:close/>
                <a:moveTo>
                  <a:pt x="902" y="35"/>
                </a:moveTo>
                <a:cubicBezTo>
                  <a:pt x="903" y="36"/>
                  <a:pt x="903" y="36"/>
                  <a:pt x="903" y="36"/>
                </a:cubicBezTo>
                <a:cubicBezTo>
                  <a:pt x="903" y="36"/>
                  <a:pt x="903" y="35"/>
                  <a:pt x="902" y="35"/>
                </a:cubicBezTo>
                <a:close/>
                <a:moveTo>
                  <a:pt x="764" y="36"/>
                </a:moveTo>
                <a:cubicBezTo>
                  <a:pt x="764" y="36"/>
                  <a:pt x="764" y="36"/>
                  <a:pt x="764" y="36"/>
                </a:cubicBezTo>
                <a:cubicBezTo>
                  <a:pt x="764" y="36"/>
                  <a:pt x="764" y="36"/>
                  <a:pt x="764" y="36"/>
                </a:cubicBezTo>
                <a:close/>
                <a:moveTo>
                  <a:pt x="1074" y="36"/>
                </a:moveTo>
                <a:cubicBezTo>
                  <a:pt x="1074" y="36"/>
                  <a:pt x="1074" y="36"/>
                  <a:pt x="1075" y="36"/>
                </a:cubicBezTo>
                <a:cubicBezTo>
                  <a:pt x="1074" y="36"/>
                  <a:pt x="1074" y="36"/>
                  <a:pt x="1074" y="36"/>
                </a:cubicBezTo>
                <a:close/>
                <a:moveTo>
                  <a:pt x="1145" y="36"/>
                </a:moveTo>
                <a:cubicBezTo>
                  <a:pt x="1145" y="36"/>
                  <a:pt x="1145" y="36"/>
                  <a:pt x="1145" y="36"/>
                </a:cubicBezTo>
                <a:cubicBezTo>
                  <a:pt x="1145" y="36"/>
                  <a:pt x="1145" y="36"/>
                  <a:pt x="1145" y="36"/>
                </a:cubicBezTo>
                <a:close/>
                <a:moveTo>
                  <a:pt x="1252" y="36"/>
                </a:moveTo>
                <a:cubicBezTo>
                  <a:pt x="1252" y="36"/>
                  <a:pt x="1252" y="36"/>
                  <a:pt x="1252" y="36"/>
                </a:cubicBezTo>
                <a:cubicBezTo>
                  <a:pt x="1252" y="36"/>
                  <a:pt x="1252" y="36"/>
                  <a:pt x="1252" y="36"/>
                </a:cubicBezTo>
                <a:close/>
                <a:moveTo>
                  <a:pt x="763" y="36"/>
                </a:moveTo>
                <a:cubicBezTo>
                  <a:pt x="764" y="36"/>
                  <a:pt x="764" y="36"/>
                  <a:pt x="764" y="36"/>
                </a:cubicBezTo>
                <a:cubicBezTo>
                  <a:pt x="764" y="36"/>
                  <a:pt x="763" y="36"/>
                  <a:pt x="763" y="36"/>
                </a:cubicBezTo>
                <a:close/>
                <a:moveTo>
                  <a:pt x="861" y="36"/>
                </a:moveTo>
                <a:cubicBezTo>
                  <a:pt x="861" y="36"/>
                  <a:pt x="861" y="36"/>
                  <a:pt x="861" y="36"/>
                </a:cubicBezTo>
                <a:cubicBezTo>
                  <a:pt x="861" y="36"/>
                  <a:pt x="861" y="36"/>
                  <a:pt x="861" y="36"/>
                </a:cubicBezTo>
                <a:close/>
                <a:moveTo>
                  <a:pt x="904" y="36"/>
                </a:moveTo>
                <a:cubicBezTo>
                  <a:pt x="904" y="36"/>
                  <a:pt x="904" y="36"/>
                  <a:pt x="904" y="36"/>
                </a:cubicBezTo>
                <a:cubicBezTo>
                  <a:pt x="904" y="36"/>
                  <a:pt x="904" y="36"/>
                  <a:pt x="904" y="36"/>
                </a:cubicBezTo>
                <a:close/>
                <a:moveTo>
                  <a:pt x="1538" y="71"/>
                </a:moveTo>
                <a:cubicBezTo>
                  <a:pt x="1538" y="71"/>
                  <a:pt x="1539" y="71"/>
                  <a:pt x="1539" y="71"/>
                </a:cubicBezTo>
                <a:cubicBezTo>
                  <a:pt x="1538" y="71"/>
                  <a:pt x="1538" y="71"/>
                  <a:pt x="1538" y="71"/>
                </a:cubicBezTo>
                <a:close/>
                <a:moveTo>
                  <a:pt x="1553" y="71"/>
                </a:moveTo>
                <a:cubicBezTo>
                  <a:pt x="1553" y="71"/>
                  <a:pt x="1552" y="71"/>
                  <a:pt x="1552" y="71"/>
                </a:cubicBezTo>
                <a:cubicBezTo>
                  <a:pt x="1553" y="71"/>
                  <a:pt x="1553" y="71"/>
                  <a:pt x="1553" y="71"/>
                </a:cubicBezTo>
                <a:close/>
                <a:moveTo>
                  <a:pt x="1661" y="71"/>
                </a:moveTo>
                <a:cubicBezTo>
                  <a:pt x="1661" y="71"/>
                  <a:pt x="1661" y="71"/>
                  <a:pt x="1661" y="71"/>
                </a:cubicBezTo>
                <a:cubicBezTo>
                  <a:pt x="1661" y="71"/>
                  <a:pt x="1661" y="71"/>
                  <a:pt x="1661" y="71"/>
                </a:cubicBezTo>
                <a:close/>
                <a:moveTo>
                  <a:pt x="1075" y="36"/>
                </a:moveTo>
                <a:cubicBezTo>
                  <a:pt x="1075" y="36"/>
                  <a:pt x="1075" y="36"/>
                  <a:pt x="1075" y="36"/>
                </a:cubicBezTo>
                <a:cubicBezTo>
                  <a:pt x="1075" y="36"/>
                  <a:pt x="1075" y="36"/>
                  <a:pt x="1075" y="36"/>
                </a:cubicBezTo>
                <a:close/>
                <a:moveTo>
                  <a:pt x="1706" y="71"/>
                </a:moveTo>
                <a:cubicBezTo>
                  <a:pt x="1707" y="71"/>
                  <a:pt x="1707" y="71"/>
                  <a:pt x="1707" y="71"/>
                </a:cubicBezTo>
                <a:cubicBezTo>
                  <a:pt x="1707" y="71"/>
                  <a:pt x="1706" y="71"/>
                  <a:pt x="1706" y="71"/>
                </a:cubicBezTo>
                <a:close/>
                <a:moveTo>
                  <a:pt x="1721" y="71"/>
                </a:moveTo>
                <a:cubicBezTo>
                  <a:pt x="1721" y="71"/>
                  <a:pt x="1721" y="71"/>
                  <a:pt x="1720" y="71"/>
                </a:cubicBezTo>
                <a:cubicBezTo>
                  <a:pt x="1721" y="71"/>
                  <a:pt x="1721" y="71"/>
                  <a:pt x="1721" y="71"/>
                </a:cubicBezTo>
                <a:close/>
                <a:moveTo>
                  <a:pt x="1118" y="36"/>
                </a:moveTo>
                <a:cubicBezTo>
                  <a:pt x="1119" y="36"/>
                  <a:pt x="1119" y="36"/>
                  <a:pt x="1119" y="36"/>
                </a:cubicBezTo>
                <a:cubicBezTo>
                  <a:pt x="1119" y="36"/>
                  <a:pt x="1118" y="36"/>
                  <a:pt x="1118" y="36"/>
                </a:cubicBezTo>
                <a:close/>
                <a:moveTo>
                  <a:pt x="1368" y="71"/>
                </a:moveTo>
                <a:cubicBezTo>
                  <a:pt x="1368" y="71"/>
                  <a:pt x="1368" y="71"/>
                  <a:pt x="1368" y="72"/>
                </a:cubicBezTo>
                <a:cubicBezTo>
                  <a:pt x="1368" y="71"/>
                  <a:pt x="1368" y="71"/>
                  <a:pt x="1368" y="71"/>
                </a:cubicBezTo>
                <a:close/>
                <a:moveTo>
                  <a:pt x="1538" y="72"/>
                </a:moveTo>
                <a:cubicBezTo>
                  <a:pt x="1538" y="72"/>
                  <a:pt x="1538" y="71"/>
                  <a:pt x="1538" y="71"/>
                </a:cubicBezTo>
                <a:cubicBezTo>
                  <a:pt x="1538" y="71"/>
                  <a:pt x="1538" y="71"/>
                  <a:pt x="1538" y="72"/>
                </a:cubicBezTo>
                <a:close/>
                <a:moveTo>
                  <a:pt x="667" y="37"/>
                </a:moveTo>
                <a:cubicBezTo>
                  <a:pt x="667" y="37"/>
                  <a:pt x="667" y="37"/>
                  <a:pt x="667" y="36"/>
                </a:cubicBezTo>
                <a:cubicBezTo>
                  <a:pt x="667" y="36"/>
                  <a:pt x="667" y="37"/>
                  <a:pt x="667" y="37"/>
                </a:cubicBezTo>
                <a:close/>
                <a:moveTo>
                  <a:pt x="793" y="36"/>
                </a:moveTo>
                <a:cubicBezTo>
                  <a:pt x="793" y="37"/>
                  <a:pt x="793" y="37"/>
                  <a:pt x="794" y="37"/>
                </a:cubicBezTo>
                <a:cubicBezTo>
                  <a:pt x="794" y="37"/>
                  <a:pt x="793" y="36"/>
                  <a:pt x="793" y="36"/>
                </a:cubicBezTo>
                <a:close/>
                <a:moveTo>
                  <a:pt x="1706" y="72"/>
                </a:moveTo>
                <a:cubicBezTo>
                  <a:pt x="1706" y="72"/>
                  <a:pt x="1706" y="71"/>
                  <a:pt x="1706" y="71"/>
                </a:cubicBezTo>
                <a:cubicBezTo>
                  <a:pt x="1706" y="71"/>
                  <a:pt x="1706" y="71"/>
                  <a:pt x="1706" y="72"/>
                </a:cubicBezTo>
                <a:close/>
                <a:moveTo>
                  <a:pt x="861" y="36"/>
                </a:moveTo>
                <a:cubicBezTo>
                  <a:pt x="861" y="37"/>
                  <a:pt x="861" y="37"/>
                  <a:pt x="862" y="37"/>
                </a:cubicBezTo>
                <a:cubicBezTo>
                  <a:pt x="861" y="37"/>
                  <a:pt x="861" y="37"/>
                  <a:pt x="861" y="36"/>
                </a:cubicBezTo>
                <a:close/>
                <a:moveTo>
                  <a:pt x="904" y="36"/>
                </a:moveTo>
                <a:cubicBezTo>
                  <a:pt x="904" y="37"/>
                  <a:pt x="904" y="37"/>
                  <a:pt x="904" y="37"/>
                </a:cubicBezTo>
                <a:cubicBezTo>
                  <a:pt x="904" y="37"/>
                  <a:pt x="904" y="37"/>
                  <a:pt x="904" y="36"/>
                </a:cubicBezTo>
                <a:close/>
                <a:moveTo>
                  <a:pt x="1045" y="37"/>
                </a:moveTo>
                <a:cubicBezTo>
                  <a:pt x="1045" y="37"/>
                  <a:pt x="1045" y="37"/>
                  <a:pt x="1045" y="36"/>
                </a:cubicBezTo>
                <a:cubicBezTo>
                  <a:pt x="1045" y="37"/>
                  <a:pt x="1045" y="37"/>
                  <a:pt x="1045" y="37"/>
                </a:cubicBezTo>
                <a:close/>
                <a:moveTo>
                  <a:pt x="1146" y="36"/>
                </a:moveTo>
                <a:cubicBezTo>
                  <a:pt x="1146" y="37"/>
                  <a:pt x="1146" y="37"/>
                  <a:pt x="1146" y="37"/>
                </a:cubicBezTo>
                <a:cubicBezTo>
                  <a:pt x="1146" y="37"/>
                  <a:pt x="1146" y="36"/>
                  <a:pt x="1146" y="36"/>
                </a:cubicBezTo>
                <a:close/>
                <a:moveTo>
                  <a:pt x="1295" y="37"/>
                </a:moveTo>
                <a:cubicBezTo>
                  <a:pt x="1295" y="37"/>
                  <a:pt x="1296" y="37"/>
                  <a:pt x="1296" y="36"/>
                </a:cubicBezTo>
                <a:cubicBezTo>
                  <a:pt x="1295" y="36"/>
                  <a:pt x="1295" y="37"/>
                  <a:pt x="1295" y="37"/>
                </a:cubicBezTo>
                <a:close/>
                <a:moveTo>
                  <a:pt x="835" y="37"/>
                </a:moveTo>
                <a:cubicBezTo>
                  <a:pt x="835" y="37"/>
                  <a:pt x="835" y="37"/>
                  <a:pt x="835" y="37"/>
                </a:cubicBezTo>
                <a:cubicBezTo>
                  <a:pt x="835" y="37"/>
                  <a:pt x="835" y="37"/>
                  <a:pt x="835" y="37"/>
                </a:cubicBezTo>
                <a:close/>
                <a:moveTo>
                  <a:pt x="1368" y="72"/>
                </a:moveTo>
                <a:cubicBezTo>
                  <a:pt x="1367" y="72"/>
                  <a:pt x="1367" y="72"/>
                  <a:pt x="1367" y="72"/>
                </a:cubicBezTo>
                <a:cubicBezTo>
                  <a:pt x="1367" y="72"/>
                  <a:pt x="1368" y="72"/>
                  <a:pt x="1368" y="72"/>
                </a:cubicBezTo>
                <a:close/>
                <a:moveTo>
                  <a:pt x="1537" y="72"/>
                </a:moveTo>
                <a:cubicBezTo>
                  <a:pt x="1538" y="72"/>
                  <a:pt x="1538" y="72"/>
                  <a:pt x="1538" y="72"/>
                </a:cubicBezTo>
                <a:cubicBezTo>
                  <a:pt x="1538" y="72"/>
                  <a:pt x="1538" y="72"/>
                  <a:pt x="1537" y="72"/>
                </a:cubicBezTo>
                <a:close/>
                <a:moveTo>
                  <a:pt x="1552" y="72"/>
                </a:moveTo>
                <a:cubicBezTo>
                  <a:pt x="1552" y="72"/>
                  <a:pt x="1551" y="72"/>
                  <a:pt x="1551" y="72"/>
                </a:cubicBezTo>
                <a:cubicBezTo>
                  <a:pt x="1552" y="72"/>
                  <a:pt x="1552" y="72"/>
                  <a:pt x="1552" y="72"/>
                </a:cubicBezTo>
                <a:close/>
                <a:moveTo>
                  <a:pt x="876" y="37"/>
                </a:moveTo>
                <a:cubicBezTo>
                  <a:pt x="876" y="37"/>
                  <a:pt x="876" y="37"/>
                  <a:pt x="876" y="37"/>
                </a:cubicBezTo>
                <a:cubicBezTo>
                  <a:pt x="876" y="37"/>
                  <a:pt x="876" y="37"/>
                  <a:pt x="876" y="37"/>
                </a:cubicBezTo>
                <a:close/>
                <a:moveTo>
                  <a:pt x="1706" y="72"/>
                </a:moveTo>
                <a:cubicBezTo>
                  <a:pt x="1706" y="72"/>
                  <a:pt x="1706" y="72"/>
                  <a:pt x="1706" y="72"/>
                </a:cubicBezTo>
                <a:cubicBezTo>
                  <a:pt x="1706" y="72"/>
                  <a:pt x="1706" y="72"/>
                  <a:pt x="1706" y="72"/>
                </a:cubicBezTo>
                <a:close/>
                <a:moveTo>
                  <a:pt x="1720" y="72"/>
                </a:moveTo>
                <a:cubicBezTo>
                  <a:pt x="1720" y="72"/>
                  <a:pt x="1720" y="72"/>
                  <a:pt x="1720" y="72"/>
                </a:cubicBezTo>
                <a:cubicBezTo>
                  <a:pt x="1720" y="72"/>
                  <a:pt x="1720" y="72"/>
                  <a:pt x="1720" y="72"/>
                </a:cubicBezTo>
                <a:close/>
                <a:moveTo>
                  <a:pt x="1076" y="37"/>
                </a:moveTo>
                <a:cubicBezTo>
                  <a:pt x="1076" y="37"/>
                  <a:pt x="1076" y="37"/>
                  <a:pt x="1076" y="37"/>
                </a:cubicBezTo>
                <a:cubicBezTo>
                  <a:pt x="1076" y="37"/>
                  <a:pt x="1076" y="37"/>
                  <a:pt x="1076" y="37"/>
                </a:cubicBezTo>
                <a:close/>
                <a:moveTo>
                  <a:pt x="1117" y="37"/>
                </a:moveTo>
                <a:cubicBezTo>
                  <a:pt x="1118" y="37"/>
                  <a:pt x="1118" y="37"/>
                  <a:pt x="1118" y="37"/>
                </a:cubicBezTo>
                <a:cubicBezTo>
                  <a:pt x="1118" y="37"/>
                  <a:pt x="1117" y="37"/>
                  <a:pt x="1117" y="37"/>
                </a:cubicBezTo>
                <a:close/>
                <a:moveTo>
                  <a:pt x="1222" y="37"/>
                </a:moveTo>
                <a:cubicBezTo>
                  <a:pt x="1222" y="37"/>
                  <a:pt x="1222" y="37"/>
                  <a:pt x="1223" y="37"/>
                </a:cubicBezTo>
                <a:cubicBezTo>
                  <a:pt x="1222" y="37"/>
                  <a:pt x="1222" y="37"/>
                  <a:pt x="1222" y="37"/>
                </a:cubicBezTo>
                <a:close/>
                <a:moveTo>
                  <a:pt x="1254" y="37"/>
                </a:moveTo>
                <a:cubicBezTo>
                  <a:pt x="1254" y="37"/>
                  <a:pt x="1254" y="37"/>
                  <a:pt x="1254" y="37"/>
                </a:cubicBezTo>
                <a:cubicBezTo>
                  <a:pt x="1254" y="37"/>
                  <a:pt x="1254" y="37"/>
                  <a:pt x="1254" y="37"/>
                </a:cubicBezTo>
                <a:close/>
                <a:moveTo>
                  <a:pt x="1295" y="37"/>
                </a:moveTo>
                <a:cubicBezTo>
                  <a:pt x="1295" y="37"/>
                  <a:pt x="1295" y="37"/>
                  <a:pt x="1295" y="37"/>
                </a:cubicBezTo>
                <a:cubicBezTo>
                  <a:pt x="1295" y="37"/>
                  <a:pt x="1295" y="37"/>
                  <a:pt x="1295" y="37"/>
                </a:cubicBezTo>
                <a:close/>
                <a:moveTo>
                  <a:pt x="666" y="38"/>
                </a:moveTo>
                <a:cubicBezTo>
                  <a:pt x="666" y="37"/>
                  <a:pt x="666" y="37"/>
                  <a:pt x="666" y="37"/>
                </a:cubicBezTo>
                <a:cubicBezTo>
                  <a:pt x="666" y="37"/>
                  <a:pt x="666" y="37"/>
                  <a:pt x="666" y="38"/>
                </a:cubicBezTo>
                <a:close/>
                <a:moveTo>
                  <a:pt x="1537" y="72"/>
                </a:moveTo>
                <a:cubicBezTo>
                  <a:pt x="1537" y="72"/>
                  <a:pt x="1537" y="72"/>
                  <a:pt x="1538" y="72"/>
                </a:cubicBezTo>
                <a:cubicBezTo>
                  <a:pt x="1537" y="72"/>
                  <a:pt x="1537" y="72"/>
                  <a:pt x="1537" y="72"/>
                </a:cubicBezTo>
                <a:close/>
                <a:moveTo>
                  <a:pt x="1551" y="72"/>
                </a:moveTo>
                <a:cubicBezTo>
                  <a:pt x="1551" y="72"/>
                  <a:pt x="1551" y="72"/>
                  <a:pt x="1551" y="72"/>
                </a:cubicBezTo>
                <a:cubicBezTo>
                  <a:pt x="1551" y="72"/>
                  <a:pt x="1551" y="72"/>
                  <a:pt x="1551" y="72"/>
                </a:cubicBezTo>
                <a:close/>
                <a:moveTo>
                  <a:pt x="762" y="37"/>
                </a:moveTo>
                <a:cubicBezTo>
                  <a:pt x="762" y="37"/>
                  <a:pt x="762" y="37"/>
                  <a:pt x="762" y="37"/>
                </a:cubicBezTo>
                <a:cubicBezTo>
                  <a:pt x="762" y="37"/>
                  <a:pt x="762" y="37"/>
                  <a:pt x="762" y="37"/>
                </a:cubicBezTo>
                <a:close/>
                <a:moveTo>
                  <a:pt x="1705" y="72"/>
                </a:moveTo>
                <a:cubicBezTo>
                  <a:pt x="1705" y="72"/>
                  <a:pt x="1706" y="72"/>
                  <a:pt x="1706" y="72"/>
                </a:cubicBezTo>
                <a:cubicBezTo>
                  <a:pt x="1706" y="72"/>
                  <a:pt x="1705" y="72"/>
                  <a:pt x="1705" y="72"/>
                </a:cubicBezTo>
                <a:close/>
                <a:moveTo>
                  <a:pt x="1720" y="72"/>
                </a:moveTo>
                <a:cubicBezTo>
                  <a:pt x="1719" y="72"/>
                  <a:pt x="1719" y="72"/>
                  <a:pt x="1719" y="72"/>
                </a:cubicBezTo>
                <a:cubicBezTo>
                  <a:pt x="1719" y="72"/>
                  <a:pt x="1719" y="72"/>
                  <a:pt x="1720" y="72"/>
                </a:cubicBezTo>
                <a:close/>
                <a:moveTo>
                  <a:pt x="794" y="37"/>
                </a:moveTo>
                <a:cubicBezTo>
                  <a:pt x="794" y="37"/>
                  <a:pt x="794" y="37"/>
                  <a:pt x="795" y="37"/>
                </a:cubicBezTo>
                <a:cubicBezTo>
                  <a:pt x="795" y="37"/>
                  <a:pt x="794" y="37"/>
                  <a:pt x="794" y="37"/>
                </a:cubicBezTo>
                <a:close/>
                <a:moveTo>
                  <a:pt x="862" y="37"/>
                </a:moveTo>
                <a:cubicBezTo>
                  <a:pt x="862" y="37"/>
                  <a:pt x="862" y="38"/>
                  <a:pt x="862" y="38"/>
                </a:cubicBezTo>
                <a:cubicBezTo>
                  <a:pt x="862" y="37"/>
                  <a:pt x="862" y="37"/>
                  <a:pt x="862" y="37"/>
                </a:cubicBezTo>
                <a:close/>
                <a:moveTo>
                  <a:pt x="1117" y="37"/>
                </a:moveTo>
                <a:cubicBezTo>
                  <a:pt x="1117" y="37"/>
                  <a:pt x="1117" y="37"/>
                  <a:pt x="1117" y="37"/>
                </a:cubicBezTo>
                <a:cubicBezTo>
                  <a:pt x="1117" y="37"/>
                  <a:pt x="1117" y="37"/>
                  <a:pt x="1117" y="37"/>
                </a:cubicBezTo>
                <a:close/>
                <a:moveTo>
                  <a:pt x="1537" y="73"/>
                </a:moveTo>
                <a:cubicBezTo>
                  <a:pt x="1537" y="73"/>
                  <a:pt x="1537" y="72"/>
                  <a:pt x="1537" y="72"/>
                </a:cubicBezTo>
                <a:cubicBezTo>
                  <a:pt x="1537" y="72"/>
                  <a:pt x="1537" y="73"/>
                  <a:pt x="1537" y="73"/>
                </a:cubicBezTo>
                <a:close/>
                <a:moveTo>
                  <a:pt x="1254" y="37"/>
                </a:moveTo>
                <a:cubicBezTo>
                  <a:pt x="1254" y="37"/>
                  <a:pt x="1254" y="37"/>
                  <a:pt x="1255" y="37"/>
                </a:cubicBezTo>
                <a:cubicBezTo>
                  <a:pt x="1254" y="37"/>
                  <a:pt x="1254" y="37"/>
                  <a:pt x="1254" y="37"/>
                </a:cubicBezTo>
                <a:close/>
                <a:moveTo>
                  <a:pt x="1295" y="37"/>
                </a:moveTo>
                <a:cubicBezTo>
                  <a:pt x="1295" y="37"/>
                  <a:pt x="1295" y="37"/>
                  <a:pt x="1295" y="37"/>
                </a:cubicBezTo>
                <a:cubicBezTo>
                  <a:pt x="1295" y="37"/>
                  <a:pt x="1295" y="37"/>
                  <a:pt x="1295" y="37"/>
                </a:cubicBezTo>
                <a:close/>
                <a:moveTo>
                  <a:pt x="1705" y="73"/>
                </a:moveTo>
                <a:cubicBezTo>
                  <a:pt x="1705" y="73"/>
                  <a:pt x="1705" y="72"/>
                  <a:pt x="1705" y="72"/>
                </a:cubicBezTo>
                <a:cubicBezTo>
                  <a:pt x="1705" y="72"/>
                  <a:pt x="1705" y="72"/>
                  <a:pt x="1705" y="73"/>
                </a:cubicBezTo>
                <a:close/>
                <a:moveTo>
                  <a:pt x="666" y="38"/>
                </a:moveTo>
                <a:cubicBezTo>
                  <a:pt x="666" y="38"/>
                  <a:pt x="666" y="38"/>
                  <a:pt x="666" y="37"/>
                </a:cubicBezTo>
                <a:cubicBezTo>
                  <a:pt x="666" y="38"/>
                  <a:pt x="666" y="38"/>
                  <a:pt x="666" y="38"/>
                </a:cubicBezTo>
                <a:close/>
                <a:moveTo>
                  <a:pt x="795" y="37"/>
                </a:moveTo>
                <a:cubicBezTo>
                  <a:pt x="795" y="38"/>
                  <a:pt x="795" y="38"/>
                  <a:pt x="795" y="38"/>
                </a:cubicBezTo>
                <a:cubicBezTo>
                  <a:pt x="795" y="38"/>
                  <a:pt x="795" y="38"/>
                  <a:pt x="795" y="37"/>
                </a:cubicBezTo>
                <a:close/>
                <a:moveTo>
                  <a:pt x="862" y="38"/>
                </a:moveTo>
                <a:cubicBezTo>
                  <a:pt x="863" y="38"/>
                  <a:pt x="863" y="38"/>
                  <a:pt x="863" y="38"/>
                </a:cubicBezTo>
                <a:cubicBezTo>
                  <a:pt x="863" y="38"/>
                  <a:pt x="863" y="38"/>
                  <a:pt x="862" y="38"/>
                </a:cubicBezTo>
                <a:close/>
                <a:moveTo>
                  <a:pt x="875" y="38"/>
                </a:moveTo>
                <a:cubicBezTo>
                  <a:pt x="875" y="38"/>
                  <a:pt x="875" y="38"/>
                  <a:pt x="875" y="38"/>
                </a:cubicBezTo>
                <a:cubicBezTo>
                  <a:pt x="875" y="38"/>
                  <a:pt x="875" y="38"/>
                  <a:pt x="875" y="38"/>
                </a:cubicBezTo>
                <a:close/>
                <a:moveTo>
                  <a:pt x="905" y="38"/>
                </a:moveTo>
                <a:cubicBezTo>
                  <a:pt x="905" y="38"/>
                  <a:pt x="905" y="38"/>
                  <a:pt x="906" y="38"/>
                </a:cubicBezTo>
                <a:cubicBezTo>
                  <a:pt x="906" y="38"/>
                  <a:pt x="905" y="38"/>
                  <a:pt x="905" y="38"/>
                </a:cubicBezTo>
                <a:close/>
                <a:moveTo>
                  <a:pt x="696" y="73"/>
                </a:moveTo>
                <a:cubicBezTo>
                  <a:pt x="696" y="73"/>
                  <a:pt x="696" y="73"/>
                  <a:pt x="696" y="73"/>
                </a:cubicBezTo>
                <a:cubicBezTo>
                  <a:pt x="696" y="73"/>
                  <a:pt x="696" y="73"/>
                  <a:pt x="696" y="73"/>
                </a:cubicBezTo>
                <a:close/>
                <a:moveTo>
                  <a:pt x="1043" y="38"/>
                </a:moveTo>
                <a:cubicBezTo>
                  <a:pt x="1043" y="38"/>
                  <a:pt x="1044" y="38"/>
                  <a:pt x="1044" y="38"/>
                </a:cubicBezTo>
                <a:cubicBezTo>
                  <a:pt x="1043" y="38"/>
                  <a:pt x="1043" y="38"/>
                  <a:pt x="1043" y="38"/>
                </a:cubicBezTo>
                <a:close/>
                <a:moveTo>
                  <a:pt x="1366" y="73"/>
                </a:moveTo>
                <a:cubicBezTo>
                  <a:pt x="1366" y="73"/>
                  <a:pt x="1366" y="73"/>
                  <a:pt x="1366" y="73"/>
                </a:cubicBezTo>
                <a:cubicBezTo>
                  <a:pt x="1366" y="73"/>
                  <a:pt x="1366" y="73"/>
                  <a:pt x="1366" y="73"/>
                </a:cubicBezTo>
                <a:close/>
                <a:moveTo>
                  <a:pt x="1536" y="73"/>
                </a:moveTo>
                <a:cubicBezTo>
                  <a:pt x="1537" y="73"/>
                  <a:pt x="1537" y="73"/>
                  <a:pt x="1537" y="73"/>
                </a:cubicBezTo>
                <a:cubicBezTo>
                  <a:pt x="1537" y="73"/>
                  <a:pt x="1537" y="73"/>
                  <a:pt x="1536" y="73"/>
                </a:cubicBezTo>
                <a:close/>
                <a:moveTo>
                  <a:pt x="1705" y="73"/>
                </a:moveTo>
                <a:cubicBezTo>
                  <a:pt x="1705" y="73"/>
                  <a:pt x="1705" y="73"/>
                  <a:pt x="1705" y="73"/>
                </a:cubicBezTo>
                <a:cubicBezTo>
                  <a:pt x="1705" y="73"/>
                  <a:pt x="1705" y="73"/>
                  <a:pt x="1705" y="73"/>
                </a:cubicBezTo>
                <a:close/>
                <a:moveTo>
                  <a:pt x="1147" y="38"/>
                </a:moveTo>
                <a:cubicBezTo>
                  <a:pt x="1147" y="38"/>
                  <a:pt x="1147" y="38"/>
                  <a:pt x="1148" y="38"/>
                </a:cubicBezTo>
                <a:cubicBezTo>
                  <a:pt x="1148" y="38"/>
                  <a:pt x="1147" y="38"/>
                  <a:pt x="1147" y="38"/>
                </a:cubicBezTo>
                <a:close/>
                <a:moveTo>
                  <a:pt x="696" y="73"/>
                </a:moveTo>
                <a:cubicBezTo>
                  <a:pt x="696" y="73"/>
                  <a:pt x="697" y="73"/>
                  <a:pt x="697" y="73"/>
                </a:cubicBezTo>
                <a:cubicBezTo>
                  <a:pt x="697" y="73"/>
                  <a:pt x="697" y="73"/>
                  <a:pt x="696" y="73"/>
                </a:cubicBezTo>
                <a:close/>
                <a:moveTo>
                  <a:pt x="1366" y="73"/>
                </a:moveTo>
                <a:cubicBezTo>
                  <a:pt x="1366" y="73"/>
                  <a:pt x="1365" y="73"/>
                  <a:pt x="1365" y="73"/>
                </a:cubicBezTo>
                <a:cubicBezTo>
                  <a:pt x="1366" y="73"/>
                  <a:pt x="1366" y="73"/>
                  <a:pt x="1366" y="73"/>
                </a:cubicBezTo>
                <a:close/>
                <a:moveTo>
                  <a:pt x="1221" y="38"/>
                </a:moveTo>
                <a:cubicBezTo>
                  <a:pt x="1221" y="38"/>
                  <a:pt x="1221" y="38"/>
                  <a:pt x="1222" y="38"/>
                </a:cubicBezTo>
                <a:cubicBezTo>
                  <a:pt x="1221" y="38"/>
                  <a:pt x="1221" y="38"/>
                  <a:pt x="1221" y="38"/>
                </a:cubicBezTo>
                <a:close/>
                <a:moveTo>
                  <a:pt x="1536" y="73"/>
                </a:moveTo>
                <a:cubicBezTo>
                  <a:pt x="1536" y="73"/>
                  <a:pt x="1536" y="73"/>
                  <a:pt x="1536" y="73"/>
                </a:cubicBezTo>
                <a:cubicBezTo>
                  <a:pt x="1536" y="73"/>
                  <a:pt x="1536" y="73"/>
                  <a:pt x="1536" y="73"/>
                </a:cubicBezTo>
                <a:close/>
                <a:moveTo>
                  <a:pt x="1550" y="73"/>
                </a:moveTo>
                <a:cubicBezTo>
                  <a:pt x="1550" y="73"/>
                  <a:pt x="1550" y="73"/>
                  <a:pt x="1550" y="73"/>
                </a:cubicBezTo>
                <a:cubicBezTo>
                  <a:pt x="1550" y="73"/>
                  <a:pt x="1550" y="73"/>
                  <a:pt x="1550" y="73"/>
                </a:cubicBezTo>
                <a:close/>
                <a:moveTo>
                  <a:pt x="550" y="38"/>
                </a:moveTo>
                <a:cubicBezTo>
                  <a:pt x="550" y="38"/>
                  <a:pt x="550" y="38"/>
                  <a:pt x="551" y="38"/>
                </a:cubicBezTo>
                <a:cubicBezTo>
                  <a:pt x="551" y="38"/>
                  <a:pt x="550" y="38"/>
                  <a:pt x="550" y="38"/>
                </a:cubicBezTo>
                <a:close/>
                <a:moveTo>
                  <a:pt x="1704" y="73"/>
                </a:moveTo>
                <a:cubicBezTo>
                  <a:pt x="1704" y="73"/>
                  <a:pt x="1705" y="73"/>
                  <a:pt x="1705" y="73"/>
                </a:cubicBezTo>
                <a:cubicBezTo>
                  <a:pt x="1704" y="73"/>
                  <a:pt x="1704" y="73"/>
                  <a:pt x="1704" y="73"/>
                </a:cubicBezTo>
                <a:close/>
                <a:moveTo>
                  <a:pt x="1718" y="73"/>
                </a:moveTo>
                <a:cubicBezTo>
                  <a:pt x="1718" y="73"/>
                  <a:pt x="1718" y="73"/>
                  <a:pt x="1718" y="73"/>
                </a:cubicBezTo>
                <a:cubicBezTo>
                  <a:pt x="1718" y="73"/>
                  <a:pt x="1718" y="73"/>
                  <a:pt x="1718" y="73"/>
                </a:cubicBezTo>
                <a:close/>
                <a:moveTo>
                  <a:pt x="611" y="118"/>
                </a:moveTo>
                <a:cubicBezTo>
                  <a:pt x="611" y="118"/>
                  <a:pt x="611" y="118"/>
                  <a:pt x="611" y="118"/>
                </a:cubicBezTo>
                <a:cubicBezTo>
                  <a:pt x="611" y="118"/>
                  <a:pt x="611" y="118"/>
                  <a:pt x="611" y="118"/>
                </a:cubicBezTo>
                <a:close/>
                <a:moveTo>
                  <a:pt x="833" y="38"/>
                </a:moveTo>
                <a:cubicBezTo>
                  <a:pt x="834" y="38"/>
                  <a:pt x="834" y="38"/>
                  <a:pt x="834" y="38"/>
                </a:cubicBezTo>
                <a:cubicBezTo>
                  <a:pt x="834" y="38"/>
                  <a:pt x="833" y="38"/>
                  <a:pt x="833" y="38"/>
                </a:cubicBezTo>
                <a:close/>
                <a:moveTo>
                  <a:pt x="863" y="38"/>
                </a:moveTo>
                <a:cubicBezTo>
                  <a:pt x="863" y="38"/>
                  <a:pt x="863" y="38"/>
                  <a:pt x="863" y="38"/>
                </a:cubicBezTo>
                <a:cubicBezTo>
                  <a:pt x="863" y="38"/>
                  <a:pt x="863" y="38"/>
                  <a:pt x="863" y="38"/>
                </a:cubicBezTo>
                <a:close/>
                <a:moveTo>
                  <a:pt x="610" y="119"/>
                </a:moveTo>
                <a:cubicBezTo>
                  <a:pt x="610" y="119"/>
                  <a:pt x="611" y="119"/>
                  <a:pt x="611" y="119"/>
                </a:cubicBezTo>
                <a:cubicBezTo>
                  <a:pt x="610" y="119"/>
                  <a:pt x="610" y="119"/>
                  <a:pt x="610" y="119"/>
                </a:cubicBezTo>
                <a:close/>
                <a:moveTo>
                  <a:pt x="874" y="38"/>
                </a:moveTo>
                <a:cubicBezTo>
                  <a:pt x="875" y="38"/>
                  <a:pt x="875" y="38"/>
                  <a:pt x="875" y="38"/>
                </a:cubicBezTo>
                <a:cubicBezTo>
                  <a:pt x="875" y="38"/>
                  <a:pt x="874" y="38"/>
                  <a:pt x="874" y="38"/>
                </a:cubicBezTo>
                <a:close/>
                <a:moveTo>
                  <a:pt x="610" y="119"/>
                </a:moveTo>
                <a:cubicBezTo>
                  <a:pt x="610" y="119"/>
                  <a:pt x="610" y="119"/>
                  <a:pt x="610" y="119"/>
                </a:cubicBezTo>
                <a:cubicBezTo>
                  <a:pt x="610" y="119"/>
                  <a:pt x="610" y="119"/>
                  <a:pt x="610" y="119"/>
                </a:cubicBezTo>
                <a:close/>
                <a:moveTo>
                  <a:pt x="610" y="120"/>
                </a:moveTo>
                <a:cubicBezTo>
                  <a:pt x="610" y="120"/>
                  <a:pt x="610" y="120"/>
                  <a:pt x="610" y="119"/>
                </a:cubicBezTo>
                <a:cubicBezTo>
                  <a:pt x="610" y="119"/>
                  <a:pt x="610" y="119"/>
                  <a:pt x="610" y="120"/>
                </a:cubicBezTo>
                <a:close/>
                <a:moveTo>
                  <a:pt x="906" y="38"/>
                </a:moveTo>
                <a:cubicBezTo>
                  <a:pt x="906" y="38"/>
                  <a:pt x="906" y="38"/>
                  <a:pt x="906" y="38"/>
                </a:cubicBezTo>
                <a:cubicBezTo>
                  <a:pt x="906" y="38"/>
                  <a:pt x="906" y="38"/>
                  <a:pt x="906" y="38"/>
                </a:cubicBezTo>
                <a:close/>
                <a:moveTo>
                  <a:pt x="609" y="120"/>
                </a:moveTo>
                <a:cubicBezTo>
                  <a:pt x="609" y="120"/>
                  <a:pt x="610" y="120"/>
                  <a:pt x="610" y="120"/>
                </a:cubicBezTo>
                <a:cubicBezTo>
                  <a:pt x="609" y="120"/>
                  <a:pt x="609" y="120"/>
                  <a:pt x="609" y="120"/>
                </a:cubicBezTo>
                <a:close/>
                <a:moveTo>
                  <a:pt x="609" y="120"/>
                </a:moveTo>
                <a:cubicBezTo>
                  <a:pt x="609" y="120"/>
                  <a:pt x="609" y="120"/>
                  <a:pt x="609" y="120"/>
                </a:cubicBezTo>
                <a:cubicBezTo>
                  <a:pt x="609" y="120"/>
                  <a:pt x="609" y="120"/>
                  <a:pt x="609" y="120"/>
                </a:cubicBezTo>
                <a:close/>
                <a:moveTo>
                  <a:pt x="621" y="120"/>
                </a:moveTo>
                <a:cubicBezTo>
                  <a:pt x="621" y="120"/>
                  <a:pt x="621" y="120"/>
                  <a:pt x="621" y="120"/>
                </a:cubicBezTo>
                <a:cubicBezTo>
                  <a:pt x="621" y="120"/>
                  <a:pt x="621" y="120"/>
                  <a:pt x="621" y="120"/>
                </a:cubicBezTo>
                <a:close/>
                <a:moveTo>
                  <a:pt x="609" y="121"/>
                </a:moveTo>
                <a:cubicBezTo>
                  <a:pt x="609" y="121"/>
                  <a:pt x="609" y="121"/>
                  <a:pt x="609" y="120"/>
                </a:cubicBezTo>
                <a:cubicBezTo>
                  <a:pt x="609" y="120"/>
                  <a:pt x="609" y="121"/>
                  <a:pt x="609" y="121"/>
                </a:cubicBezTo>
                <a:close/>
                <a:moveTo>
                  <a:pt x="1043" y="38"/>
                </a:moveTo>
                <a:cubicBezTo>
                  <a:pt x="1043" y="38"/>
                  <a:pt x="1043" y="38"/>
                  <a:pt x="1043" y="38"/>
                </a:cubicBezTo>
                <a:cubicBezTo>
                  <a:pt x="1043" y="38"/>
                  <a:pt x="1043" y="38"/>
                  <a:pt x="1043" y="38"/>
                </a:cubicBezTo>
                <a:close/>
                <a:moveTo>
                  <a:pt x="608" y="121"/>
                </a:moveTo>
                <a:cubicBezTo>
                  <a:pt x="608" y="121"/>
                  <a:pt x="608" y="121"/>
                  <a:pt x="609" y="121"/>
                </a:cubicBezTo>
                <a:cubicBezTo>
                  <a:pt x="608" y="121"/>
                  <a:pt x="608" y="121"/>
                  <a:pt x="608" y="121"/>
                </a:cubicBezTo>
                <a:close/>
                <a:moveTo>
                  <a:pt x="608" y="121"/>
                </a:moveTo>
                <a:cubicBezTo>
                  <a:pt x="608" y="121"/>
                  <a:pt x="608" y="121"/>
                  <a:pt x="608" y="121"/>
                </a:cubicBezTo>
                <a:cubicBezTo>
                  <a:pt x="608" y="121"/>
                  <a:pt x="608" y="121"/>
                  <a:pt x="608" y="121"/>
                </a:cubicBezTo>
                <a:close/>
                <a:moveTo>
                  <a:pt x="1077" y="38"/>
                </a:moveTo>
                <a:cubicBezTo>
                  <a:pt x="1077" y="38"/>
                  <a:pt x="1077" y="38"/>
                  <a:pt x="1078" y="38"/>
                </a:cubicBezTo>
                <a:cubicBezTo>
                  <a:pt x="1078" y="38"/>
                  <a:pt x="1077" y="38"/>
                  <a:pt x="1077" y="38"/>
                </a:cubicBezTo>
                <a:close/>
                <a:moveTo>
                  <a:pt x="1148" y="38"/>
                </a:moveTo>
                <a:cubicBezTo>
                  <a:pt x="1148" y="38"/>
                  <a:pt x="1148" y="38"/>
                  <a:pt x="1148" y="38"/>
                </a:cubicBezTo>
                <a:cubicBezTo>
                  <a:pt x="1148" y="38"/>
                  <a:pt x="1148" y="38"/>
                  <a:pt x="1148" y="38"/>
                </a:cubicBezTo>
                <a:close/>
                <a:moveTo>
                  <a:pt x="620" y="122"/>
                </a:moveTo>
                <a:cubicBezTo>
                  <a:pt x="620" y="122"/>
                  <a:pt x="620" y="122"/>
                  <a:pt x="620" y="122"/>
                </a:cubicBezTo>
                <a:cubicBezTo>
                  <a:pt x="620" y="122"/>
                  <a:pt x="620" y="122"/>
                  <a:pt x="620" y="122"/>
                </a:cubicBezTo>
                <a:close/>
                <a:moveTo>
                  <a:pt x="1255" y="38"/>
                </a:moveTo>
                <a:cubicBezTo>
                  <a:pt x="1255" y="38"/>
                  <a:pt x="1255" y="38"/>
                  <a:pt x="1256" y="38"/>
                </a:cubicBezTo>
                <a:cubicBezTo>
                  <a:pt x="1255" y="38"/>
                  <a:pt x="1255" y="38"/>
                  <a:pt x="1255" y="38"/>
                </a:cubicBezTo>
                <a:close/>
                <a:moveTo>
                  <a:pt x="760" y="39"/>
                </a:moveTo>
                <a:cubicBezTo>
                  <a:pt x="760" y="38"/>
                  <a:pt x="761" y="38"/>
                  <a:pt x="761" y="38"/>
                </a:cubicBezTo>
                <a:cubicBezTo>
                  <a:pt x="760" y="38"/>
                  <a:pt x="760" y="38"/>
                  <a:pt x="760" y="39"/>
                </a:cubicBezTo>
                <a:close/>
                <a:moveTo>
                  <a:pt x="796" y="38"/>
                </a:moveTo>
                <a:cubicBezTo>
                  <a:pt x="796" y="38"/>
                  <a:pt x="796" y="39"/>
                  <a:pt x="796" y="39"/>
                </a:cubicBezTo>
                <a:cubicBezTo>
                  <a:pt x="796" y="38"/>
                  <a:pt x="796" y="38"/>
                  <a:pt x="796" y="38"/>
                </a:cubicBezTo>
                <a:close/>
                <a:moveTo>
                  <a:pt x="1536" y="74"/>
                </a:moveTo>
                <a:cubicBezTo>
                  <a:pt x="1536" y="74"/>
                  <a:pt x="1536" y="74"/>
                  <a:pt x="1536" y="73"/>
                </a:cubicBezTo>
                <a:cubicBezTo>
                  <a:pt x="1536" y="73"/>
                  <a:pt x="1536" y="74"/>
                  <a:pt x="1536" y="74"/>
                </a:cubicBezTo>
                <a:close/>
                <a:moveTo>
                  <a:pt x="1550" y="73"/>
                </a:moveTo>
                <a:cubicBezTo>
                  <a:pt x="1549" y="73"/>
                  <a:pt x="1549" y="73"/>
                  <a:pt x="1549" y="74"/>
                </a:cubicBezTo>
                <a:cubicBezTo>
                  <a:pt x="1549" y="74"/>
                  <a:pt x="1550" y="73"/>
                  <a:pt x="1550" y="73"/>
                </a:cubicBezTo>
                <a:close/>
                <a:moveTo>
                  <a:pt x="1675" y="73"/>
                </a:moveTo>
                <a:cubicBezTo>
                  <a:pt x="1675" y="74"/>
                  <a:pt x="1675" y="74"/>
                  <a:pt x="1675" y="74"/>
                </a:cubicBezTo>
                <a:cubicBezTo>
                  <a:pt x="1675" y="74"/>
                  <a:pt x="1675" y="73"/>
                  <a:pt x="1675" y="73"/>
                </a:cubicBezTo>
                <a:close/>
                <a:moveTo>
                  <a:pt x="620" y="123"/>
                </a:moveTo>
                <a:cubicBezTo>
                  <a:pt x="619" y="123"/>
                  <a:pt x="619" y="123"/>
                  <a:pt x="619" y="123"/>
                </a:cubicBezTo>
                <a:cubicBezTo>
                  <a:pt x="619" y="123"/>
                  <a:pt x="619" y="123"/>
                  <a:pt x="620" y="123"/>
                </a:cubicBezTo>
                <a:close/>
                <a:moveTo>
                  <a:pt x="1704" y="74"/>
                </a:moveTo>
                <a:cubicBezTo>
                  <a:pt x="1704" y="74"/>
                  <a:pt x="1704" y="74"/>
                  <a:pt x="1704" y="73"/>
                </a:cubicBezTo>
                <a:cubicBezTo>
                  <a:pt x="1704" y="73"/>
                  <a:pt x="1704" y="74"/>
                  <a:pt x="1704" y="74"/>
                </a:cubicBezTo>
                <a:close/>
                <a:moveTo>
                  <a:pt x="1718" y="73"/>
                </a:moveTo>
                <a:cubicBezTo>
                  <a:pt x="1718" y="73"/>
                  <a:pt x="1717" y="73"/>
                  <a:pt x="1717" y="74"/>
                </a:cubicBezTo>
                <a:cubicBezTo>
                  <a:pt x="1718" y="74"/>
                  <a:pt x="1718" y="73"/>
                  <a:pt x="1718" y="73"/>
                </a:cubicBezTo>
                <a:close/>
                <a:moveTo>
                  <a:pt x="833" y="39"/>
                </a:moveTo>
                <a:cubicBezTo>
                  <a:pt x="833" y="39"/>
                  <a:pt x="833" y="38"/>
                  <a:pt x="833" y="38"/>
                </a:cubicBezTo>
                <a:cubicBezTo>
                  <a:pt x="833" y="38"/>
                  <a:pt x="833" y="38"/>
                  <a:pt x="833" y="39"/>
                </a:cubicBezTo>
                <a:close/>
                <a:moveTo>
                  <a:pt x="863" y="38"/>
                </a:moveTo>
                <a:cubicBezTo>
                  <a:pt x="863" y="38"/>
                  <a:pt x="863" y="39"/>
                  <a:pt x="864" y="39"/>
                </a:cubicBezTo>
                <a:cubicBezTo>
                  <a:pt x="864" y="38"/>
                  <a:pt x="863" y="38"/>
                  <a:pt x="863" y="38"/>
                </a:cubicBezTo>
                <a:close/>
                <a:moveTo>
                  <a:pt x="618" y="124"/>
                </a:moveTo>
                <a:cubicBezTo>
                  <a:pt x="618" y="124"/>
                  <a:pt x="618" y="124"/>
                  <a:pt x="618" y="124"/>
                </a:cubicBezTo>
                <a:cubicBezTo>
                  <a:pt x="618" y="124"/>
                  <a:pt x="618" y="124"/>
                  <a:pt x="618" y="124"/>
                </a:cubicBezTo>
                <a:close/>
                <a:moveTo>
                  <a:pt x="618" y="124"/>
                </a:moveTo>
                <a:cubicBezTo>
                  <a:pt x="618" y="125"/>
                  <a:pt x="618" y="125"/>
                  <a:pt x="618" y="125"/>
                </a:cubicBezTo>
                <a:cubicBezTo>
                  <a:pt x="618" y="125"/>
                  <a:pt x="618" y="125"/>
                  <a:pt x="618" y="124"/>
                </a:cubicBezTo>
                <a:close/>
                <a:moveTo>
                  <a:pt x="874" y="39"/>
                </a:moveTo>
                <a:cubicBezTo>
                  <a:pt x="874" y="38"/>
                  <a:pt x="874" y="38"/>
                  <a:pt x="874" y="38"/>
                </a:cubicBezTo>
                <a:cubicBezTo>
                  <a:pt x="874" y="38"/>
                  <a:pt x="874" y="38"/>
                  <a:pt x="874" y="39"/>
                </a:cubicBezTo>
                <a:close/>
                <a:moveTo>
                  <a:pt x="617" y="126"/>
                </a:moveTo>
                <a:cubicBezTo>
                  <a:pt x="617" y="126"/>
                  <a:pt x="617" y="126"/>
                  <a:pt x="617" y="126"/>
                </a:cubicBezTo>
                <a:cubicBezTo>
                  <a:pt x="617" y="126"/>
                  <a:pt x="617" y="126"/>
                  <a:pt x="617" y="126"/>
                </a:cubicBezTo>
                <a:close/>
                <a:moveTo>
                  <a:pt x="617" y="126"/>
                </a:moveTo>
                <a:cubicBezTo>
                  <a:pt x="617" y="126"/>
                  <a:pt x="616" y="126"/>
                  <a:pt x="616" y="127"/>
                </a:cubicBezTo>
                <a:cubicBezTo>
                  <a:pt x="617" y="126"/>
                  <a:pt x="617" y="126"/>
                  <a:pt x="617" y="126"/>
                </a:cubicBezTo>
                <a:close/>
                <a:moveTo>
                  <a:pt x="616" y="126"/>
                </a:moveTo>
                <a:cubicBezTo>
                  <a:pt x="616" y="127"/>
                  <a:pt x="616" y="127"/>
                  <a:pt x="616" y="127"/>
                </a:cubicBezTo>
                <a:cubicBezTo>
                  <a:pt x="616" y="127"/>
                  <a:pt x="616" y="127"/>
                  <a:pt x="616" y="126"/>
                </a:cubicBezTo>
                <a:close/>
                <a:moveTo>
                  <a:pt x="616" y="127"/>
                </a:moveTo>
                <a:cubicBezTo>
                  <a:pt x="616" y="127"/>
                  <a:pt x="616" y="127"/>
                  <a:pt x="616" y="127"/>
                </a:cubicBezTo>
                <a:cubicBezTo>
                  <a:pt x="616" y="127"/>
                  <a:pt x="616" y="127"/>
                  <a:pt x="616" y="127"/>
                </a:cubicBezTo>
                <a:close/>
                <a:moveTo>
                  <a:pt x="616" y="127"/>
                </a:moveTo>
                <a:cubicBezTo>
                  <a:pt x="615" y="127"/>
                  <a:pt x="615" y="127"/>
                  <a:pt x="615" y="128"/>
                </a:cubicBezTo>
                <a:cubicBezTo>
                  <a:pt x="616" y="128"/>
                  <a:pt x="616" y="127"/>
                  <a:pt x="616" y="127"/>
                </a:cubicBezTo>
                <a:close/>
                <a:moveTo>
                  <a:pt x="615" y="128"/>
                </a:moveTo>
                <a:cubicBezTo>
                  <a:pt x="615" y="128"/>
                  <a:pt x="615" y="128"/>
                  <a:pt x="615" y="128"/>
                </a:cubicBezTo>
                <a:cubicBezTo>
                  <a:pt x="615" y="128"/>
                  <a:pt x="615" y="128"/>
                  <a:pt x="615" y="128"/>
                </a:cubicBezTo>
                <a:close/>
                <a:moveTo>
                  <a:pt x="1365" y="74"/>
                </a:moveTo>
                <a:cubicBezTo>
                  <a:pt x="1365" y="74"/>
                  <a:pt x="1365" y="74"/>
                  <a:pt x="1364" y="74"/>
                </a:cubicBezTo>
                <a:cubicBezTo>
                  <a:pt x="1365" y="74"/>
                  <a:pt x="1365" y="74"/>
                  <a:pt x="1365" y="74"/>
                </a:cubicBezTo>
                <a:close/>
                <a:moveTo>
                  <a:pt x="614" y="129"/>
                </a:moveTo>
                <a:cubicBezTo>
                  <a:pt x="614" y="129"/>
                  <a:pt x="614" y="129"/>
                  <a:pt x="614" y="129"/>
                </a:cubicBezTo>
                <a:cubicBezTo>
                  <a:pt x="614" y="129"/>
                  <a:pt x="614" y="129"/>
                  <a:pt x="614" y="129"/>
                </a:cubicBezTo>
                <a:close/>
                <a:moveTo>
                  <a:pt x="614" y="129"/>
                </a:moveTo>
                <a:cubicBezTo>
                  <a:pt x="613" y="129"/>
                  <a:pt x="613" y="129"/>
                  <a:pt x="613" y="129"/>
                </a:cubicBezTo>
                <a:cubicBezTo>
                  <a:pt x="613" y="129"/>
                  <a:pt x="614" y="129"/>
                  <a:pt x="614" y="129"/>
                </a:cubicBezTo>
                <a:close/>
                <a:moveTo>
                  <a:pt x="1535" y="74"/>
                </a:moveTo>
                <a:cubicBezTo>
                  <a:pt x="1536" y="74"/>
                  <a:pt x="1536" y="74"/>
                  <a:pt x="1536" y="74"/>
                </a:cubicBezTo>
                <a:cubicBezTo>
                  <a:pt x="1536" y="74"/>
                  <a:pt x="1536" y="74"/>
                  <a:pt x="1535" y="74"/>
                </a:cubicBezTo>
                <a:close/>
                <a:moveTo>
                  <a:pt x="613" y="130"/>
                </a:moveTo>
                <a:cubicBezTo>
                  <a:pt x="612" y="130"/>
                  <a:pt x="612" y="130"/>
                  <a:pt x="612" y="130"/>
                </a:cubicBezTo>
                <a:cubicBezTo>
                  <a:pt x="612" y="130"/>
                  <a:pt x="612" y="130"/>
                  <a:pt x="613" y="130"/>
                </a:cubicBezTo>
                <a:close/>
                <a:moveTo>
                  <a:pt x="906" y="38"/>
                </a:moveTo>
                <a:cubicBezTo>
                  <a:pt x="906" y="38"/>
                  <a:pt x="906" y="39"/>
                  <a:pt x="906" y="39"/>
                </a:cubicBezTo>
                <a:cubicBezTo>
                  <a:pt x="906" y="38"/>
                  <a:pt x="906" y="38"/>
                  <a:pt x="906" y="38"/>
                </a:cubicBezTo>
                <a:close/>
                <a:moveTo>
                  <a:pt x="612" y="130"/>
                </a:moveTo>
                <a:cubicBezTo>
                  <a:pt x="611" y="130"/>
                  <a:pt x="611" y="130"/>
                  <a:pt x="611" y="131"/>
                </a:cubicBezTo>
                <a:cubicBezTo>
                  <a:pt x="611" y="131"/>
                  <a:pt x="611" y="131"/>
                  <a:pt x="612" y="130"/>
                </a:cubicBezTo>
                <a:close/>
                <a:moveTo>
                  <a:pt x="611" y="131"/>
                </a:moveTo>
                <a:cubicBezTo>
                  <a:pt x="611" y="131"/>
                  <a:pt x="611" y="131"/>
                  <a:pt x="610" y="131"/>
                </a:cubicBezTo>
                <a:cubicBezTo>
                  <a:pt x="611" y="131"/>
                  <a:pt x="611" y="131"/>
                  <a:pt x="611" y="131"/>
                </a:cubicBezTo>
                <a:close/>
                <a:moveTo>
                  <a:pt x="1078" y="38"/>
                </a:moveTo>
                <a:cubicBezTo>
                  <a:pt x="1078" y="38"/>
                  <a:pt x="1078" y="38"/>
                  <a:pt x="1078" y="38"/>
                </a:cubicBezTo>
                <a:cubicBezTo>
                  <a:pt x="1078" y="38"/>
                  <a:pt x="1078" y="38"/>
                  <a:pt x="1078" y="38"/>
                </a:cubicBezTo>
                <a:close/>
                <a:moveTo>
                  <a:pt x="1704" y="74"/>
                </a:moveTo>
                <a:cubicBezTo>
                  <a:pt x="1704" y="74"/>
                  <a:pt x="1704" y="74"/>
                  <a:pt x="1704" y="74"/>
                </a:cubicBezTo>
                <a:cubicBezTo>
                  <a:pt x="1704" y="74"/>
                  <a:pt x="1704" y="74"/>
                  <a:pt x="1704" y="74"/>
                </a:cubicBezTo>
                <a:close/>
                <a:moveTo>
                  <a:pt x="1116" y="39"/>
                </a:moveTo>
                <a:cubicBezTo>
                  <a:pt x="1116" y="39"/>
                  <a:pt x="1116" y="38"/>
                  <a:pt x="1116" y="38"/>
                </a:cubicBezTo>
                <a:cubicBezTo>
                  <a:pt x="1116" y="38"/>
                  <a:pt x="1116" y="38"/>
                  <a:pt x="1116" y="39"/>
                </a:cubicBezTo>
                <a:close/>
                <a:moveTo>
                  <a:pt x="1148" y="38"/>
                </a:moveTo>
                <a:cubicBezTo>
                  <a:pt x="1148" y="38"/>
                  <a:pt x="1148" y="39"/>
                  <a:pt x="1148" y="39"/>
                </a:cubicBezTo>
                <a:cubicBezTo>
                  <a:pt x="1148" y="38"/>
                  <a:pt x="1148" y="38"/>
                  <a:pt x="1148" y="38"/>
                </a:cubicBezTo>
                <a:close/>
                <a:moveTo>
                  <a:pt x="1255" y="38"/>
                </a:moveTo>
                <a:cubicBezTo>
                  <a:pt x="1256" y="38"/>
                  <a:pt x="1256" y="39"/>
                  <a:pt x="1256" y="39"/>
                </a:cubicBezTo>
                <a:cubicBezTo>
                  <a:pt x="1256" y="38"/>
                  <a:pt x="1256" y="38"/>
                  <a:pt x="1255" y="38"/>
                </a:cubicBezTo>
                <a:close/>
                <a:moveTo>
                  <a:pt x="664" y="39"/>
                </a:moveTo>
                <a:cubicBezTo>
                  <a:pt x="664" y="39"/>
                  <a:pt x="665" y="39"/>
                  <a:pt x="665" y="39"/>
                </a:cubicBezTo>
                <a:cubicBezTo>
                  <a:pt x="664" y="39"/>
                  <a:pt x="664" y="39"/>
                  <a:pt x="664" y="39"/>
                </a:cubicBezTo>
                <a:close/>
                <a:moveTo>
                  <a:pt x="1044" y="84"/>
                </a:moveTo>
                <a:cubicBezTo>
                  <a:pt x="1044" y="84"/>
                  <a:pt x="1044" y="84"/>
                  <a:pt x="1044" y="84"/>
                </a:cubicBezTo>
                <a:cubicBezTo>
                  <a:pt x="1044" y="84"/>
                  <a:pt x="1044" y="84"/>
                  <a:pt x="1044" y="84"/>
                </a:cubicBezTo>
                <a:close/>
                <a:moveTo>
                  <a:pt x="1638" y="50"/>
                </a:moveTo>
                <a:cubicBezTo>
                  <a:pt x="1638" y="51"/>
                  <a:pt x="1639" y="51"/>
                  <a:pt x="1639" y="51"/>
                </a:cubicBezTo>
                <a:cubicBezTo>
                  <a:pt x="1645" y="51"/>
                  <a:pt x="1650" y="52"/>
                  <a:pt x="1655" y="51"/>
                </a:cubicBezTo>
                <a:cubicBezTo>
                  <a:pt x="1659" y="51"/>
                  <a:pt x="1663" y="50"/>
                  <a:pt x="1665" y="48"/>
                </a:cubicBezTo>
                <a:cubicBezTo>
                  <a:pt x="1672" y="43"/>
                  <a:pt x="1673" y="37"/>
                  <a:pt x="1672" y="30"/>
                </a:cubicBezTo>
                <a:cubicBezTo>
                  <a:pt x="1671" y="24"/>
                  <a:pt x="1668" y="21"/>
                  <a:pt x="1663" y="19"/>
                </a:cubicBezTo>
                <a:cubicBezTo>
                  <a:pt x="1661" y="18"/>
                  <a:pt x="1659" y="18"/>
                  <a:pt x="1657" y="18"/>
                </a:cubicBezTo>
                <a:cubicBezTo>
                  <a:pt x="1651" y="17"/>
                  <a:pt x="1646" y="17"/>
                  <a:pt x="1640" y="17"/>
                </a:cubicBezTo>
                <a:cubicBezTo>
                  <a:pt x="1639" y="17"/>
                  <a:pt x="1639" y="17"/>
                  <a:pt x="1639" y="19"/>
                </a:cubicBezTo>
                <a:cubicBezTo>
                  <a:pt x="1638" y="24"/>
                  <a:pt x="1638" y="29"/>
                  <a:pt x="1638" y="34"/>
                </a:cubicBezTo>
                <a:cubicBezTo>
                  <a:pt x="1638" y="40"/>
                  <a:pt x="1639" y="45"/>
                  <a:pt x="1638" y="50"/>
                </a:cubicBezTo>
                <a:close/>
                <a:moveTo>
                  <a:pt x="1422" y="75"/>
                </a:moveTo>
                <a:cubicBezTo>
                  <a:pt x="1423" y="79"/>
                  <a:pt x="1425" y="84"/>
                  <a:pt x="1427" y="87"/>
                </a:cubicBezTo>
                <a:cubicBezTo>
                  <a:pt x="1432" y="94"/>
                  <a:pt x="1439" y="95"/>
                  <a:pt x="1445" y="93"/>
                </a:cubicBezTo>
                <a:cubicBezTo>
                  <a:pt x="1450" y="92"/>
                  <a:pt x="1452" y="89"/>
                  <a:pt x="1455" y="85"/>
                </a:cubicBezTo>
                <a:cubicBezTo>
                  <a:pt x="1457" y="80"/>
                  <a:pt x="1458" y="75"/>
                  <a:pt x="1459" y="70"/>
                </a:cubicBezTo>
                <a:cubicBezTo>
                  <a:pt x="1460" y="64"/>
                  <a:pt x="1460" y="57"/>
                  <a:pt x="1460" y="51"/>
                </a:cubicBezTo>
                <a:cubicBezTo>
                  <a:pt x="1459" y="45"/>
                  <a:pt x="1459" y="38"/>
                  <a:pt x="1457" y="32"/>
                </a:cubicBezTo>
                <a:cubicBezTo>
                  <a:pt x="1456" y="28"/>
                  <a:pt x="1455" y="25"/>
                  <a:pt x="1453" y="21"/>
                </a:cubicBezTo>
                <a:cubicBezTo>
                  <a:pt x="1449" y="16"/>
                  <a:pt x="1444" y="14"/>
                  <a:pt x="1437" y="15"/>
                </a:cubicBezTo>
                <a:cubicBezTo>
                  <a:pt x="1432" y="16"/>
                  <a:pt x="1429" y="19"/>
                  <a:pt x="1427" y="23"/>
                </a:cubicBezTo>
                <a:cubicBezTo>
                  <a:pt x="1425" y="26"/>
                  <a:pt x="1424" y="30"/>
                  <a:pt x="1423" y="34"/>
                </a:cubicBezTo>
                <a:cubicBezTo>
                  <a:pt x="1421" y="41"/>
                  <a:pt x="1421" y="48"/>
                  <a:pt x="1421" y="54"/>
                </a:cubicBezTo>
                <a:cubicBezTo>
                  <a:pt x="1421" y="62"/>
                  <a:pt x="1421" y="69"/>
                  <a:pt x="1422" y="75"/>
                </a:cubicBezTo>
                <a:close/>
                <a:moveTo>
                  <a:pt x="1043" y="61"/>
                </a:moveTo>
                <a:cubicBezTo>
                  <a:pt x="1052" y="61"/>
                  <a:pt x="1062" y="61"/>
                  <a:pt x="1072" y="61"/>
                </a:cubicBezTo>
                <a:cubicBezTo>
                  <a:pt x="1073" y="61"/>
                  <a:pt x="1075" y="61"/>
                  <a:pt x="1076" y="61"/>
                </a:cubicBezTo>
                <a:cubicBezTo>
                  <a:pt x="1077" y="61"/>
                  <a:pt x="1077" y="61"/>
                  <a:pt x="1077" y="60"/>
                </a:cubicBezTo>
                <a:cubicBezTo>
                  <a:pt x="1077" y="57"/>
                  <a:pt x="1076" y="54"/>
                  <a:pt x="1075" y="51"/>
                </a:cubicBezTo>
                <a:cubicBezTo>
                  <a:pt x="1073" y="47"/>
                  <a:pt x="1070" y="44"/>
                  <a:pt x="1066" y="43"/>
                </a:cubicBezTo>
                <a:cubicBezTo>
                  <a:pt x="1062" y="42"/>
                  <a:pt x="1059" y="42"/>
                  <a:pt x="1055" y="43"/>
                </a:cubicBezTo>
                <a:cubicBezTo>
                  <a:pt x="1048" y="44"/>
                  <a:pt x="1042" y="52"/>
                  <a:pt x="1041" y="61"/>
                </a:cubicBezTo>
                <a:cubicBezTo>
                  <a:pt x="1041" y="61"/>
                  <a:pt x="1042" y="61"/>
                  <a:pt x="1043" y="61"/>
                </a:cubicBezTo>
                <a:close/>
                <a:moveTo>
                  <a:pt x="760" y="61"/>
                </a:moveTo>
                <a:cubicBezTo>
                  <a:pt x="771" y="61"/>
                  <a:pt x="782" y="61"/>
                  <a:pt x="793" y="61"/>
                </a:cubicBezTo>
                <a:cubicBezTo>
                  <a:pt x="793" y="61"/>
                  <a:pt x="793" y="61"/>
                  <a:pt x="794" y="61"/>
                </a:cubicBezTo>
                <a:cubicBezTo>
                  <a:pt x="794" y="62"/>
                  <a:pt x="795" y="61"/>
                  <a:pt x="795" y="60"/>
                </a:cubicBezTo>
                <a:cubicBezTo>
                  <a:pt x="794" y="57"/>
                  <a:pt x="794" y="53"/>
                  <a:pt x="792" y="49"/>
                </a:cubicBezTo>
                <a:cubicBezTo>
                  <a:pt x="790" y="47"/>
                  <a:pt x="788" y="44"/>
                  <a:pt x="785" y="43"/>
                </a:cubicBezTo>
                <a:cubicBezTo>
                  <a:pt x="779" y="41"/>
                  <a:pt x="773" y="41"/>
                  <a:pt x="767" y="45"/>
                </a:cubicBezTo>
                <a:cubicBezTo>
                  <a:pt x="762" y="49"/>
                  <a:pt x="760" y="55"/>
                  <a:pt x="758" y="61"/>
                </a:cubicBezTo>
                <a:cubicBezTo>
                  <a:pt x="759" y="62"/>
                  <a:pt x="760" y="61"/>
                  <a:pt x="760" y="61"/>
                </a:cubicBezTo>
                <a:close/>
                <a:moveTo>
                  <a:pt x="1221" y="61"/>
                </a:moveTo>
                <a:cubicBezTo>
                  <a:pt x="1229" y="61"/>
                  <a:pt x="1238" y="61"/>
                  <a:pt x="1247" y="61"/>
                </a:cubicBezTo>
                <a:cubicBezTo>
                  <a:pt x="1249" y="61"/>
                  <a:pt x="1251" y="61"/>
                  <a:pt x="1254" y="61"/>
                </a:cubicBezTo>
                <a:cubicBezTo>
                  <a:pt x="1254" y="61"/>
                  <a:pt x="1255" y="61"/>
                  <a:pt x="1255" y="60"/>
                </a:cubicBezTo>
                <a:cubicBezTo>
                  <a:pt x="1254" y="57"/>
                  <a:pt x="1254" y="53"/>
                  <a:pt x="1252" y="50"/>
                </a:cubicBezTo>
                <a:cubicBezTo>
                  <a:pt x="1250" y="47"/>
                  <a:pt x="1248" y="44"/>
                  <a:pt x="1245" y="43"/>
                </a:cubicBezTo>
                <a:cubicBezTo>
                  <a:pt x="1239" y="41"/>
                  <a:pt x="1234" y="41"/>
                  <a:pt x="1229" y="45"/>
                </a:cubicBezTo>
                <a:cubicBezTo>
                  <a:pt x="1222" y="48"/>
                  <a:pt x="1220" y="54"/>
                  <a:pt x="1218" y="61"/>
                </a:cubicBezTo>
                <a:cubicBezTo>
                  <a:pt x="1219" y="61"/>
                  <a:pt x="1220" y="61"/>
                  <a:pt x="1221" y="61"/>
                </a:cubicBezTo>
                <a:close/>
                <a:moveTo>
                  <a:pt x="248" y="73"/>
                </a:moveTo>
                <a:cubicBezTo>
                  <a:pt x="248" y="75"/>
                  <a:pt x="248" y="77"/>
                  <a:pt x="249" y="78"/>
                </a:cubicBezTo>
                <a:cubicBezTo>
                  <a:pt x="251" y="85"/>
                  <a:pt x="255" y="90"/>
                  <a:pt x="262" y="93"/>
                </a:cubicBezTo>
                <a:cubicBezTo>
                  <a:pt x="265" y="94"/>
                  <a:pt x="269" y="94"/>
                  <a:pt x="272" y="94"/>
                </a:cubicBezTo>
                <a:cubicBezTo>
                  <a:pt x="281" y="93"/>
                  <a:pt x="286" y="89"/>
                  <a:pt x="289" y="81"/>
                </a:cubicBezTo>
                <a:cubicBezTo>
                  <a:pt x="290" y="78"/>
                  <a:pt x="291" y="75"/>
                  <a:pt x="291" y="72"/>
                </a:cubicBezTo>
                <a:cubicBezTo>
                  <a:pt x="292" y="66"/>
                  <a:pt x="291" y="60"/>
                  <a:pt x="289" y="55"/>
                </a:cubicBezTo>
                <a:cubicBezTo>
                  <a:pt x="287" y="49"/>
                  <a:pt x="283" y="45"/>
                  <a:pt x="277" y="43"/>
                </a:cubicBezTo>
                <a:cubicBezTo>
                  <a:pt x="274" y="42"/>
                  <a:pt x="271" y="42"/>
                  <a:pt x="269" y="42"/>
                </a:cubicBezTo>
                <a:cubicBezTo>
                  <a:pt x="260" y="42"/>
                  <a:pt x="253" y="47"/>
                  <a:pt x="250" y="55"/>
                </a:cubicBezTo>
                <a:cubicBezTo>
                  <a:pt x="248" y="59"/>
                  <a:pt x="247" y="64"/>
                  <a:pt x="247" y="68"/>
                </a:cubicBezTo>
                <a:cubicBezTo>
                  <a:pt x="247" y="70"/>
                  <a:pt x="247" y="72"/>
                  <a:pt x="248" y="73"/>
                </a:cubicBezTo>
                <a:close/>
                <a:moveTo>
                  <a:pt x="370" y="78"/>
                </a:moveTo>
                <a:cubicBezTo>
                  <a:pt x="372" y="86"/>
                  <a:pt x="377" y="91"/>
                  <a:pt x="384" y="93"/>
                </a:cubicBezTo>
                <a:cubicBezTo>
                  <a:pt x="387" y="94"/>
                  <a:pt x="391" y="94"/>
                  <a:pt x="394" y="94"/>
                </a:cubicBezTo>
                <a:cubicBezTo>
                  <a:pt x="402" y="93"/>
                  <a:pt x="408" y="89"/>
                  <a:pt x="411" y="81"/>
                </a:cubicBezTo>
                <a:cubicBezTo>
                  <a:pt x="412" y="78"/>
                  <a:pt x="412" y="75"/>
                  <a:pt x="413" y="71"/>
                </a:cubicBezTo>
                <a:cubicBezTo>
                  <a:pt x="413" y="65"/>
                  <a:pt x="413" y="60"/>
                  <a:pt x="410" y="54"/>
                </a:cubicBezTo>
                <a:cubicBezTo>
                  <a:pt x="408" y="48"/>
                  <a:pt x="404" y="45"/>
                  <a:pt x="398" y="43"/>
                </a:cubicBezTo>
                <a:cubicBezTo>
                  <a:pt x="395" y="42"/>
                  <a:pt x="393" y="42"/>
                  <a:pt x="390" y="42"/>
                </a:cubicBezTo>
                <a:cubicBezTo>
                  <a:pt x="381" y="42"/>
                  <a:pt x="374" y="47"/>
                  <a:pt x="371" y="55"/>
                </a:cubicBezTo>
                <a:cubicBezTo>
                  <a:pt x="369" y="59"/>
                  <a:pt x="369" y="64"/>
                  <a:pt x="369" y="68"/>
                </a:cubicBezTo>
                <a:cubicBezTo>
                  <a:pt x="369" y="72"/>
                  <a:pt x="369" y="75"/>
                  <a:pt x="370" y="78"/>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pic>
        <p:nvPicPr>
          <p:cNvPr id="9" name="Picture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75481" y="4340308"/>
            <a:ext cx="420611" cy="420612"/>
          </a:xfrm>
          <a:prstGeom prst="rect">
            <a:avLst/>
          </a:prstGeom>
        </p:spPr>
      </p:pic>
      <p:sp>
        <p:nvSpPr>
          <p:cNvPr id="20" name="Freeform 9"/>
          <p:cNvSpPr>
            <a:spLocks noEditPoints="1"/>
          </p:cNvSpPr>
          <p:nvPr/>
        </p:nvSpPr>
        <p:spPr bwMode="black">
          <a:xfrm>
            <a:off x="5576407" y="4735530"/>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Tree>
    <p:extLst>
      <p:ext uri="{BB962C8B-B14F-4D97-AF65-F5344CB8AC3E}">
        <p14:creationId xmlns:p14="http://schemas.microsoft.com/office/powerpoint/2010/main" val="247406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986928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tretch/>
        </p:blipFill>
        <p:spPr bwMode="auto">
          <a:xfrm>
            <a:off x="483655" y="2529186"/>
            <a:ext cx="3620005" cy="3896269"/>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478492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3144017" y="1468103"/>
            <a:ext cx="2776436" cy="4325893"/>
            <a:chOff x="5365134" y="-2993496"/>
            <a:chExt cx="2776436" cy="4325893"/>
          </a:xfrm>
        </p:grpSpPr>
        <p:grpSp>
          <p:nvGrpSpPr>
            <p:cNvPr id="74" name="Group 73"/>
            <p:cNvGrpSpPr/>
            <p:nvPr/>
          </p:nvGrpSpPr>
          <p:grpSpPr>
            <a:xfrm>
              <a:off x="5365134" y="-2993496"/>
              <a:ext cx="2776436" cy="4325893"/>
              <a:chOff x="3146698" y="1467374"/>
              <a:chExt cx="2776436" cy="4325893"/>
            </a:xfrm>
          </p:grpSpPr>
          <p:sp>
            <p:nvSpPr>
              <p:cNvPr id="88" name="Text Placeholder 12"/>
              <p:cNvSpPr txBox="1">
                <a:spLocks/>
              </p:cNvSpPr>
              <p:nvPr/>
            </p:nvSpPr>
            <p:spPr>
              <a:xfrm>
                <a:off x="3146698" y="5128470"/>
                <a:ext cx="2776436" cy="6647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1600" spc="0" dirty="0" smtClean="0">
                    <a:solidFill>
                      <a:schemeClr val="bg2">
                        <a:lumMod val="50000"/>
                      </a:schemeClr>
                    </a:solidFill>
                    <a:latin typeface="Segoe UI" pitchFamily="34" charset="0"/>
                    <a:ea typeface="Segoe UI" pitchFamily="34" charset="0"/>
                    <a:cs typeface="Segoe UI" pitchFamily="34" charset="0"/>
                  </a:rPr>
                  <a:t>The </a:t>
                </a:r>
                <a:r>
                  <a:rPr lang="en-US" sz="1600" b="1" spc="0" dirty="0" smtClean="0">
                    <a:solidFill>
                      <a:schemeClr val="bg2">
                        <a:lumMod val="50000"/>
                      </a:schemeClr>
                    </a:solidFill>
                    <a:latin typeface="Segoe UI" pitchFamily="34" charset="0"/>
                    <a:ea typeface="Segoe UI" pitchFamily="34" charset="0"/>
                    <a:cs typeface="Segoe UI" pitchFamily="34" charset="0"/>
                  </a:rPr>
                  <a:t>explosion of </a:t>
                </a:r>
                <a:r>
                  <a:rPr lang="en-US" sz="1600" b="1" spc="0" dirty="0">
                    <a:solidFill>
                      <a:schemeClr val="bg2">
                        <a:lumMod val="50000"/>
                      </a:schemeClr>
                    </a:solidFill>
                    <a:latin typeface="Segoe UI" pitchFamily="34" charset="0"/>
                    <a:ea typeface="Segoe UI" pitchFamily="34" charset="0"/>
                    <a:cs typeface="Segoe UI" pitchFamily="34" charset="0"/>
                  </a:rPr>
                  <a:t>devices</a:t>
                </a:r>
                <a:r>
                  <a:rPr lang="en-US" sz="1600" b="1" spc="0" dirty="0" smtClean="0">
                    <a:solidFill>
                      <a:schemeClr val="bg2">
                        <a:lumMod val="50000"/>
                      </a:schemeClr>
                    </a:solidFill>
                    <a:latin typeface="Segoe UI" pitchFamily="34" charset="0"/>
                    <a:ea typeface="Segoe UI" pitchFamily="34" charset="0"/>
                    <a:cs typeface="Segoe UI" pitchFamily="34" charset="0"/>
                  </a:rPr>
                  <a:t> </a:t>
                </a:r>
                <a:r>
                  <a:rPr lang="en-US" sz="1600" spc="0" dirty="0" smtClean="0">
                    <a:solidFill>
                      <a:schemeClr val="bg2">
                        <a:lumMod val="50000"/>
                      </a:schemeClr>
                    </a:solidFill>
                    <a:latin typeface="Segoe UI" pitchFamily="34" charset="0"/>
                    <a:ea typeface="Segoe UI" pitchFamily="34" charset="0"/>
                    <a:cs typeface="Segoe UI" pitchFamily="34" charset="0"/>
                  </a:rPr>
                  <a:t>is eroding the standards-based approach to corporate IT.</a:t>
                </a:r>
                <a:endParaRPr lang="en-US" sz="1600" spc="0" dirty="0">
                  <a:solidFill>
                    <a:schemeClr val="bg2">
                      <a:lumMod val="50000"/>
                    </a:schemeClr>
                  </a:solidFill>
                  <a:latin typeface="Segoe UI" pitchFamily="34" charset="0"/>
                  <a:ea typeface="Segoe UI" pitchFamily="34" charset="0"/>
                  <a:cs typeface="Segoe UI" pitchFamily="34" charset="0"/>
                </a:endParaRPr>
              </a:p>
            </p:txBody>
          </p:sp>
          <p:sp>
            <p:nvSpPr>
              <p:cNvPr id="92" name="Text Placeholder 12"/>
              <p:cNvSpPr txBox="1">
                <a:spLocks/>
              </p:cNvSpPr>
              <p:nvPr/>
            </p:nvSpPr>
            <p:spPr>
              <a:xfrm>
                <a:off x="3841788" y="4526994"/>
                <a:ext cx="1135845"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3D5800"/>
                    </a:solidFill>
                    <a:latin typeface="Segoe UI" pitchFamily="34" charset="0"/>
                    <a:ea typeface="Segoe UI" pitchFamily="34" charset="0"/>
                    <a:cs typeface="Segoe UI" pitchFamily="34" charset="0"/>
                  </a:rPr>
                  <a:t>Devices</a:t>
                </a:r>
                <a:endParaRPr lang="en-US" sz="2000" b="1" spc="0" dirty="0">
                  <a:solidFill>
                    <a:srgbClr val="3D5800"/>
                  </a:solidFill>
                  <a:latin typeface="Segoe UI" pitchFamily="34" charset="0"/>
                  <a:ea typeface="Segoe UI" pitchFamily="34" charset="0"/>
                  <a:cs typeface="Segoe UI" pitchFamily="34" charset="0"/>
                </a:endParaRPr>
              </a:p>
            </p:txBody>
          </p:sp>
          <p:sp>
            <p:nvSpPr>
              <p:cNvPr id="103" name="Freeform 24"/>
              <p:cNvSpPr>
                <a:spLocks noChangeAspect="1"/>
              </p:cNvSpPr>
              <p:nvPr/>
            </p:nvSpPr>
            <p:spPr bwMode="auto">
              <a:xfrm>
                <a:off x="3439936" y="2935259"/>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4" name="Freeform 25"/>
              <p:cNvSpPr>
                <a:spLocks noChangeAspect="1"/>
              </p:cNvSpPr>
              <p:nvPr/>
            </p:nvSpPr>
            <p:spPr bwMode="auto">
              <a:xfrm>
                <a:off x="3493556" y="2473258"/>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12" name="Freeform 26"/>
              <p:cNvSpPr>
                <a:spLocks noChangeAspect="1"/>
              </p:cNvSpPr>
              <p:nvPr/>
            </p:nvSpPr>
            <p:spPr bwMode="auto">
              <a:xfrm>
                <a:off x="3493556" y="2473258"/>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113" name="Picture 1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4518" y="3300476"/>
                <a:ext cx="1215501" cy="811685"/>
              </a:xfrm>
              <a:prstGeom prst="rect">
                <a:avLst/>
              </a:prstGeom>
            </p:spPr>
          </p:pic>
          <p:pic>
            <p:nvPicPr>
              <p:cNvPr id="114" name="Picture 1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0331" y="2469871"/>
                <a:ext cx="416193" cy="769124"/>
              </a:xfrm>
              <a:prstGeom prst="rect">
                <a:avLst/>
              </a:prstGeom>
            </p:spPr>
          </p:pic>
          <p:pic>
            <p:nvPicPr>
              <p:cNvPr id="115" name="Picture 1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02268" y="1467374"/>
                <a:ext cx="957572" cy="957572"/>
              </a:xfrm>
              <a:prstGeom prst="rect">
                <a:avLst/>
              </a:prstGeom>
            </p:spPr>
          </p:pic>
          <p:pic>
            <p:nvPicPr>
              <p:cNvPr id="116" name="Picture 1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72156" y="1527079"/>
                <a:ext cx="526826" cy="788132"/>
              </a:xfrm>
              <a:prstGeom prst="rect">
                <a:avLst/>
              </a:prstGeom>
            </p:spPr>
          </p:pic>
        </p:grpSp>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61038" y="-1963723"/>
              <a:ext cx="879100" cy="749926"/>
            </a:xfrm>
            <a:prstGeom prst="rect">
              <a:avLst/>
            </a:prstGeom>
          </p:spPr>
        </p:pic>
      </p:grpSp>
      <p:grpSp>
        <p:nvGrpSpPr>
          <p:cNvPr id="12" name="Group 11"/>
          <p:cNvGrpSpPr/>
          <p:nvPr/>
        </p:nvGrpSpPr>
        <p:grpSpPr>
          <a:xfrm>
            <a:off x="6443436" y="1515772"/>
            <a:ext cx="2605050" cy="4276031"/>
            <a:chOff x="4781054" y="-3123506"/>
            <a:chExt cx="2605050" cy="4276031"/>
          </a:xfrm>
        </p:grpSpPr>
        <p:sp>
          <p:nvSpPr>
            <p:cNvPr id="89" name="Text Placeholder 12"/>
            <p:cNvSpPr txBox="1">
              <a:spLocks/>
            </p:cNvSpPr>
            <p:nvPr/>
          </p:nvSpPr>
          <p:spPr>
            <a:xfrm>
              <a:off x="4781054" y="487728"/>
              <a:ext cx="2605050" cy="6647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1600" spc="0" dirty="0" smtClean="0">
                  <a:solidFill>
                    <a:schemeClr val="bg2">
                      <a:lumMod val="50000"/>
                    </a:schemeClr>
                  </a:solidFill>
                  <a:latin typeface="Segoe UI" pitchFamily="34" charset="0"/>
                  <a:ea typeface="Segoe UI" pitchFamily="34" charset="0"/>
                  <a:cs typeface="Segoe UI" pitchFamily="34" charset="0"/>
                </a:rPr>
                <a:t>Deploying and managing </a:t>
              </a:r>
              <a:r>
                <a:rPr lang="en-US" sz="1600" spc="0" dirty="0">
                  <a:solidFill>
                    <a:schemeClr val="bg2">
                      <a:lumMod val="50000"/>
                    </a:schemeClr>
                  </a:solidFill>
                  <a:latin typeface="Segoe UI" pitchFamily="34" charset="0"/>
                  <a:ea typeface="Segoe UI" pitchFamily="34" charset="0"/>
                  <a:cs typeface="Segoe UI" pitchFamily="34" charset="0"/>
                </a:rPr>
                <a:t>applications</a:t>
              </a:r>
              <a:r>
                <a:rPr lang="en-US" sz="1600" spc="0" dirty="0" smtClean="0">
                  <a:solidFill>
                    <a:schemeClr val="bg2">
                      <a:lumMod val="50000"/>
                    </a:schemeClr>
                  </a:solidFill>
                  <a:latin typeface="Segoe UI" pitchFamily="34" charset="0"/>
                  <a:ea typeface="Segoe UI" pitchFamily="34" charset="0"/>
                  <a:cs typeface="Segoe UI" pitchFamily="34" charset="0"/>
                </a:rPr>
                <a:t> </a:t>
              </a:r>
              <a:r>
                <a:rPr lang="en-US" sz="1600" b="1" spc="0" dirty="0" smtClean="0">
                  <a:solidFill>
                    <a:schemeClr val="bg2">
                      <a:lumMod val="50000"/>
                    </a:schemeClr>
                  </a:solidFill>
                  <a:latin typeface="Segoe UI" pitchFamily="34" charset="0"/>
                  <a:ea typeface="Segoe UI" pitchFamily="34" charset="0"/>
                  <a:cs typeface="Segoe UI" pitchFamily="34" charset="0"/>
                </a:rPr>
                <a:t>across platforms </a:t>
              </a:r>
              <a:r>
                <a:rPr lang="en-US" sz="1600" spc="0" dirty="0" smtClean="0">
                  <a:solidFill>
                    <a:schemeClr val="bg2">
                      <a:lumMod val="50000"/>
                    </a:schemeClr>
                  </a:solidFill>
                  <a:latin typeface="Segoe UI" pitchFamily="34" charset="0"/>
                  <a:ea typeface="Segoe UI" pitchFamily="34" charset="0"/>
                  <a:cs typeface="Segoe UI" pitchFamily="34" charset="0"/>
                </a:rPr>
                <a:t>is difficult.</a:t>
              </a:r>
              <a:endParaRPr lang="en-US" sz="1600" spc="0" dirty="0">
                <a:solidFill>
                  <a:schemeClr val="bg2">
                    <a:lumMod val="50000"/>
                  </a:schemeClr>
                </a:solidFill>
                <a:latin typeface="Segoe UI" pitchFamily="34" charset="0"/>
                <a:ea typeface="Segoe UI" pitchFamily="34" charset="0"/>
                <a:cs typeface="Segoe UI" pitchFamily="34" charset="0"/>
              </a:endParaRPr>
            </a:p>
          </p:txBody>
        </p:sp>
        <p:sp>
          <p:nvSpPr>
            <p:cNvPr id="90" name="Text Placeholder 12"/>
            <p:cNvSpPr txBox="1">
              <a:spLocks/>
            </p:cNvSpPr>
            <p:nvPr/>
          </p:nvSpPr>
          <p:spPr>
            <a:xfrm>
              <a:off x="5277045" y="-112942"/>
              <a:ext cx="1236539"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FF8C00"/>
                  </a:solidFill>
                  <a:latin typeface="Segoe UI" pitchFamily="34" charset="0"/>
                  <a:ea typeface="Segoe UI" pitchFamily="34" charset="0"/>
                  <a:cs typeface="Segoe UI" pitchFamily="34" charset="0"/>
                </a:rPr>
                <a:t>Apps</a:t>
              </a:r>
            </a:p>
          </p:txBody>
        </p:sp>
        <p:grpSp>
          <p:nvGrpSpPr>
            <p:cNvPr id="91" name="Group 90"/>
            <p:cNvGrpSpPr/>
            <p:nvPr/>
          </p:nvGrpSpPr>
          <p:grpSpPr>
            <a:xfrm>
              <a:off x="5046546" y="-3123506"/>
              <a:ext cx="1674215" cy="2510160"/>
              <a:chOff x="8801281" y="216504"/>
              <a:chExt cx="1491445" cy="2236132"/>
            </a:xfrm>
          </p:grpSpPr>
          <p:grpSp>
            <p:nvGrpSpPr>
              <p:cNvPr id="105" name="Group 104"/>
              <p:cNvGrpSpPr/>
              <p:nvPr/>
            </p:nvGrpSpPr>
            <p:grpSpPr>
              <a:xfrm>
                <a:off x="8801281" y="216504"/>
                <a:ext cx="1491445" cy="2236132"/>
                <a:chOff x="6649918" y="1518736"/>
                <a:chExt cx="1632914" cy="2448236"/>
              </a:xfrm>
            </p:grpSpPr>
            <p:sp>
              <p:nvSpPr>
                <p:cNvPr id="106"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8"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9"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10"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11"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grpSp>
            <p:nvGrpSpPr>
              <p:cNvPr id="93" name="Group 29"/>
              <p:cNvGrpSpPr>
                <a:grpSpLocks noChangeAspect="1"/>
              </p:cNvGrpSpPr>
              <p:nvPr/>
            </p:nvGrpSpPr>
            <p:grpSpPr bwMode="auto">
              <a:xfrm>
                <a:off x="8804898" y="979278"/>
                <a:ext cx="701892" cy="703330"/>
                <a:chOff x="5541" y="601"/>
                <a:chExt cx="488" cy="489"/>
              </a:xfrm>
              <a:solidFill>
                <a:schemeClr val="accent3"/>
              </a:solidFill>
            </p:grpSpPr>
            <p:sp>
              <p:nvSpPr>
                <p:cNvPr id="94"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5"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7"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8"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9"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0"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1"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2"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grp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grpSp>
      <p:sp>
        <p:nvSpPr>
          <p:cNvPr id="2" name="Title 1"/>
          <p:cNvSpPr>
            <a:spLocks noGrp="1"/>
          </p:cNvSpPr>
          <p:nvPr>
            <p:ph type="title"/>
          </p:nvPr>
        </p:nvSpPr>
        <p:spPr>
          <a:xfrm>
            <a:off x="282949" y="284524"/>
            <a:ext cx="11375536" cy="738664"/>
          </a:xfrm>
        </p:spPr>
        <p:txBody>
          <a:bodyPr/>
          <a:lstStyle/>
          <a:p>
            <a:r>
              <a:rPr lang="en-US" sz="4000" dirty="0"/>
              <a:t>Today’s </a:t>
            </a:r>
            <a:r>
              <a:rPr lang="en-US" sz="4000" dirty="0" smtClean="0"/>
              <a:t>challenges</a:t>
            </a:r>
            <a:endParaRPr lang="en-US" sz="4000" dirty="0"/>
          </a:p>
        </p:txBody>
      </p:sp>
      <p:sp>
        <p:nvSpPr>
          <p:cNvPr id="3" name="Slide Number Placeholder 2"/>
          <p:cNvSpPr>
            <a:spLocks noGrp="1"/>
          </p:cNvSpPr>
          <p:nvPr>
            <p:ph type="sldNum" sz="quarter" idx="4294967295"/>
          </p:nvPr>
        </p:nvSpPr>
        <p:spPr>
          <a:xfrm>
            <a:off x="11650175" y="6573013"/>
            <a:ext cx="511664" cy="124650"/>
          </a:xfr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4</a:t>
            </a:fld>
            <a:endParaRPr dirty="0">
              <a:gradFill>
                <a:gsLst>
                  <a:gs pos="0">
                    <a:srgbClr val="505050"/>
                  </a:gs>
                  <a:gs pos="100000">
                    <a:srgbClr val="505050"/>
                  </a:gs>
                </a:gsLst>
                <a:lin ang="5400000" scaled="0"/>
              </a:gradFill>
            </a:endParaRPr>
          </a:p>
        </p:txBody>
      </p:sp>
      <p:grpSp>
        <p:nvGrpSpPr>
          <p:cNvPr id="242" name="Group 241"/>
          <p:cNvGrpSpPr/>
          <p:nvPr/>
        </p:nvGrpSpPr>
        <p:grpSpPr>
          <a:xfrm>
            <a:off x="9377082" y="1493977"/>
            <a:ext cx="2603757" cy="4520890"/>
            <a:chOff x="9377082" y="1493977"/>
            <a:chExt cx="2603757" cy="4520890"/>
          </a:xfrm>
        </p:grpSpPr>
        <p:sp>
          <p:nvSpPr>
            <p:cNvPr id="235" name="Text Placeholder 12"/>
            <p:cNvSpPr txBox="1">
              <a:spLocks/>
            </p:cNvSpPr>
            <p:nvPr/>
          </p:nvSpPr>
          <p:spPr>
            <a:xfrm>
              <a:off x="10189392" y="4527800"/>
              <a:ext cx="1013706"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442359"/>
                  </a:solidFill>
                  <a:latin typeface="Segoe UI" pitchFamily="34" charset="0"/>
                  <a:ea typeface="Segoe UI" pitchFamily="34" charset="0"/>
                  <a:cs typeface="Segoe UI" pitchFamily="34" charset="0"/>
                </a:rPr>
                <a:t>Data</a:t>
              </a:r>
            </a:p>
          </p:txBody>
        </p:sp>
        <p:sp>
          <p:nvSpPr>
            <p:cNvPr id="107" name="Text Placeholder 12"/>
            <p:cNvSpPr txBox="1">
              <a:spLocks/>
            </p:cNvSpPr>
            <p:nvPr/>
          </p:nvSpPr>
          <p:spPr>
            <a:xfrm>
              <a:off x="9377082" y="5128470"/>
              <a:ext cx="2603757" cy="8863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1600" spc="0" dirty="0" smtClean="0">
                  <a:solidFill>
                    <a:schemeClr val="bg2">
                      <a:lumMod val="50000"/>
                    </a:schemeClr>
                  </a:solidFill>
                  <a:latin typeface="Segoe UI" pitchFamily="34" charset="0"/>
                  <a:ea typeface="Segoe UI" pitchFamily="34" charset="0"/>
                  <a:cs typeface="Segoe UI" pitchFamily="34" charset="0"/>
                </a:rPr>
                <a:t>Users need to be productive while </a:t>
              </a:r>
              <a:r>
                <a:rPr lang="en-US" sz="1600" b="1" spc="0" dirty="0" smtClean="0">
                  <a:solidFill>
                    <a:schemeClr val="bg2">
                      <a:lumMod val="50000"/>
                    </a:schemeClr>
                  </a:solidFill>
                  <a:latin typeface="Segoe UI" pitchFamily="34" charset="0"/>
                  <a:ea typeface="Segoe UI" pitchFamily="34" charset="0"/>
                  <a:cs typeface="Segoe UI" pitchFamily="34" charset="0"/>
                </a:rPr>
                <a:t>maintaining compliance and reducing risk.</a:t>
              </a:r>
              <a:endParaRPr lang="en-US" sz="1600" b="1" spc="0" dirty="0">
                <a:solidFill>
                  <a:schemeClr val="bg2">
                    <a:lumMod val="50000"/>
                  </a:schemeClr>
                </a:solidFill>
                <a:latin typeface="Segoe UI" pitchFamily="34" charset="0"/>
                <a:ea typeface="Segoe UI" pitchFamily="34" charset="0"/>
                <a:cs typeface="Segoe UI" pitchFamily="34" charset="0"/>
              </a:endParaRPr>
            </a:p>
          </p:txBody>
        </p:sp>
        <p:sp>
          <p:nvSpPr>
            <p:cNvPr id="84" name="Freeform 331"/>
            <p:cNvSpPr>
              <a:spLocks noChangeAspect="1" noEditPoints="1"/>
            </p:cNvSpPr>
            <p:nvPr/>
          </p:nvSpPr>
          <p:spPr bwMode="auto">
            <a:xfrm>
              <a:off x="10003498" y="2357157"/>
              <a:ext cx="792531" cy="77729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5" name="Freeform 346"/>
            <p:cNvSpPr>
              <a:spLocks noChangeAspect="1" noEditPoints="1"/>
            </p:cNvSpPr>
            <p:nvPr/>
          </p:nvSpPr>
          <p:spPr bwMode="auto">
            <a:xfrm>
              <a:off x="10978938" y="2441397"/>
              <a:ext cx="810401" cy="46280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7" name="Freeform 37"/>
            <p:cNvSpPr>
              <a:spLocks noEditPoints="1"/>
            </p:cNvSpPr>
            <p:nvPr/>
          </p:nvSpPr>
          <p:spPr bwMode="auto">
            <a:xfrm>
              <a:off x="10764801" y="1524029"/>
              <a:ext cx="1024538" cy="679243"/>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65892" y="1493977"/>
              <a:ext cx="484577" cy="733242"/>
            </a:xfrm>
            <a:prstGeom prst="rect">
              <a:avLst/>
            </a:prstGeom>
          </p:spPr>
        </p:pic>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77687" y="3219801"/>
              <a:ext cx="1072122" cy="714748"/>
            </a:xfrm>
            <a:prstGeom prst="rect">
              <a:avLst/>
            </a:prstGeom>
          </p:spPr>
        </p:pic>
      </p:grpSp>
      <p:grpSp>
        <p:nvGrpSpPr>
          <p:cNvPr id="9" name="Group 8"/>
          <p:cNvGrpSpPr/>
          <p:nvPr/>
        </p:nvGrpSpPr>
        <p:grpSpPr>
          <a:xfrm>
            <a:off x="443020" y="1542030"/>
            <a:ext cx="2384070" cy="4472837"/>
            <a:chOff x="443020" y="1542030"/>
            <a:chExt cx="2384070" cy="4472837"/>
          </a:xfrm>
        </p:grpSpPr>
        <p:sp>
          <p:nvSpPr>
            <p:cNvPr id="225" name="Text Placeholder 12"/>
            <p:cNvSpPr txBox="1">
              <a:spLocks/>
            </p:cNvSpPr>
            <p:nvPr/>
          </p:nvSpPr>
          <p:spPr>
            <a:xfrm>
              <a:off x="443020" y="5128470"/>
              <a:ext cx="2384070" cy="88639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spc="0" dirty="0">
                  <a:solidFill>
                    <a:schemeClr val="bg2">
                      <a:lumMod val="50000"/>
                    </a:schemeClr>
                  </a:solidFill>
                  <a:latin typeface="Segoe UI" pitchFamily="34" charset="0"/>
                  <a:ea typeface="Segoe UI" pitchFamily="34" charset="0"/>
                  <a:cs typeface="Segoe UI" pitchFamily="34" charset="0"/>
                </a:rPr>
                <a:t>Users</a:t>
              </a:r>
              <a:r>
                <a:rPr lang="en-US" sz="1600" spc="0" dirty="0" smtClean="0">
                  <a:solidFill>
                    <a:schemeClr val="accent1"/>
                  </a:solidFill>
                  <a:latin typeface="Segoe UI" pitchFamily="34" charset="0"/>
                  <a:ea typeface="Segoe UI" pitchFamily="34" charset="0"/>
                  <a:cs typeface="Segoe UI" pitchFamily="34" charset="0"/>
                </a:rPr>
                <a:t> </a:t>
              </a:r>
              <a:r>
                <a:rPr lang="en-US" sz="1600" spc="0" dirty="0" smtClean="0">
                  <a:solidFill>
                    <a:schemeClr val="bg2">
                      <a:lumMod val="50000"/>
                    </a:schemeClr>
                  </a:solidFill>
                  <a:latin typeface="Segoe UI" pitchFamily="34" charset="0"/>
                  <a:ea typeface="Segoe UI" pitchFamily="34" charset="0"/>
                  <a:cs typeface="Segoe UI" pitchFamily="34" charset="0"/>
                </a:rPr>
                <a:t>expect to be able to </a:t>
              </a:r>
              <a:r>
                <a:rPr lang="en-US" sz="1600" b="1" spc="0" dirty="0" smtClean="0">
                  <a:solidFill>
                    <a:schemeClr val="bg2">
                      <a:lumMod val="50000"/>
                    </a:schemeClr>
                  </a:solidFill>
                  <a:latin typeface="Segoe UI" pitchFamily="34" charset="0"/>
                  <a:ea typeface="Segoe UI" pitchFamily="34" charset="0"/>
                  <a:cs typeface="Segoe UI" pitchFamily="34" charset="0"/>
                </a:rPr>
                <a:t>work in any location </a:t>
              </a:r>
              <a:r>
                <a:rPr lang="en-US" sz="1600" spc="0" dirty="0" smtClean="0">
                  <a:solidFill>
                    <a:schemeClr val="bg2">
                      <a:lumMod val="50000"/>
                    </a:schemeClr>
                  </a:solidFill>
                  <a:latin typeface="Segoe UI" pitchFamily="34" charset="0"/>
                  <a:ea typeface="Segoe UI" pitchFamily="34" charset="0"/>
                  <a:cs typeface="Segoe UI" pitchFamily="34" charset="0"/>
                </a:rPr>
                <a:t>and have access to all their work resources.</a:t>
              </a:r>
              <a:endParaRPr lang="en-US" sz="1600" spc="0" dirty="0">
                <a:solidFill>
                  <a:schemeClr val="bg2">
                    <a:lumMod val="50000"/>
                  </a:schemeClr>
                </a:solidFill>
                <a:latin typeface="Segoe UI" pitchFamily="34" charset="0"/>
                <a:ea typeface="Segoe UI" pitchFamily="34" charset="0"/>
                <a:cs typeface="Segoe UI" pitchFamily="34" charset="0"/>
              </a:endParaRPr>
            </a:p>
          </p:txBody>
        </p:sp>
        <p:sp>
          <p:nvSpPr>
            <p:cNvPr id="232" name="Text Placeholder 12"/>
            <p:cNvSpPr txBox="1">
              <a:spLocks/>
            </p:cNvSpPr>
            <p:nvPr/>
          </p:nvSpPr>
          <p:spPr>
            <a:xfrm>
              <a:off x="1098248" y="4527800"/>
              <a:ext cx="930174"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chemeClr val="accent1"/>
                  </a:solidFill>
                  <a:latin typeface="Segoe UI" pitchFamily="34" charset="0"/>
                  <a:ea typeface="Segoe UI" pitchFamily="34" charset="0"/>
                  <a:cs typeface="Segoe UI" pitchFamily="34" charset="0"/>
                </a:rPr>
                <a:t>Users</a:t>
              </a:r>
            </a:p>
          </p:txBody>
        </p:sp>
        <p:sp>
          <p:nvSpPr>
            <p:cNvPr id="7" name="Freeform 5"/>
            <p:cNvSpPr>
              <a:spLocks noEditPoints="1"/>
            </p:cNvSpPr>
            <p:nvPr/>
          </p:nvSpPr>
          <p:spPr bwMode="auto">
            <a:xfrm>
              <a:off x="735012" y="1542030"/>
              <a:ext cx="1627187" cy="244259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 name="Group 5"/>
          <p:cNvGrpSpPr/>
          <p:nvPr/>
        </p:nvGrpSpPr>
        <p:grpSpPr>
          <a:xfrm>
            <a:off x="2438600" y="2344805"/>
            <a:ext cx="908202" cy="995918"/>
            <a:chOff x="2438600" y="2344805"/>
            <a:chExt cx="908202" cy="995918"/>
          </a:xfrm>
        </p:grpSpPr>
        <p:sp>
          <p:nvSpPr>
            <p:cNvPr id="60" name="Left-Right Arrow 59"/>
            <p:cNvSpPr/>
            <p:nvPr/>
          </p:nvSpPr>
          <p:spPr bwMode="auto">
            <a:xfrm rot="20751099">
              <a:off x="2438600" y="2344805"/>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1" name="Left-Right Arrow 60"/>
            <p:cNvSpPr/>
            <p:nvPr/>
          </p:nvSpPr>
          <p:spPr bwMode="auto">
            <a:xfrm>
              <a:off x="2472154" y="2727456"/>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3" name="Left-Right Arrow 62"/>
            <p:cNvSpPr/>
            <p:nvPr/>
          </p:nvSpPr>
          <p:spPr bwMode="auto">
            <a:xfrm rot="772051">
              <a:off x="2458387" y="3098879"/>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5" name="Group 4"/>
          <p:cNvGrpSpPr/>
          <p:nvPr/>
        </p:nvGrpSpPr>
        <p:grpSpPr>
          <a:xfrm>
            <a:off x="5364615" y="2322919"/>
            <a:ext cx="1199027" cy="1020103"/>
            <a:chOff x="5499184" y="2265769"/>
            <a:chExt cx="957967" cy="1020103"/>
          </a:xfrm>
        </p:grpSpPr>
        <p:sp>
          <p:nvSpPr>
            <p:cNvPr id="64" name="Left-Right Arrow 63"/>
            <p:cNvSpPr/>
            <p:nvPr/>
          </p:nvSpPr>
          <p:spPr bwMode="auto">
            <a:xfrm rot="20751099">
              <a:off x="5499184" y="2265769"/>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5" name="Left-Right Arrow 64"/>
            <p:cNvSpPr/>
            <p:nvPr/>
          </p:nvSpPr>
          <p:spPr bwMode="auto">
            <a:xfrm rot="20610885">
              <a:off x="5547900" y="257857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6" name="Left-Right Arrow 65"/>
            <p:cNvSpPr/>
            <p:nvPr/>
          </p:nvSpPr>
          <p:spPr bwMode="auto">
            <a:xfrm rot="668595">
              <a:off x="5548192" y="302696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7" name="Left-Right Arrow 66"/>
            <p:cNvSpPr/>
            <p:nvPr/>
          </p:nvSpPr>
          <p:spPr bwMode="auto">
            <a:xfrm rot="2249269">
              <a:off x="5510157" y="2373128"/>
              <a:ext cx="946994"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9" name="Left-Right Arrow 68"/>
            <p:cNvSpPr/>
            <p:nvPr/>
          </p:nvSpPr>
          <p:spPr bwMode="auto">
            <a:xfrm rot="20312622">
              <a:off x="5533564" y="3044028"/>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10" name="Group 9"/>
          <p:cNvGrpSpPr/>
          <p:nvPr/>
        </p:nvGrpSpPr>
        <p:grpSpPr>
          <a:xfrm>
            <a:off x="8617504" y="2076063"/>
            <a:ext cx="1156082" cy="1459400"/>
            <a:chOff x="8617504" y="2076063"/>
            <a:chExt cx="1156082" cy="1459400"/>
          </a:xfrm>
        </p:grpSpPr>
        <p:grpSp>
          <p:nvGrpSpPr>
            <p:cNvPr id="77" name="Group 76"/>
            <p:cNvGrpSpPr/>
            <p:nvPr/>
          </p:nvGrpSpPr>
          <p:grpSpPr>
            <a:xfrm>
              <a:off x="8626065" y="2076063"/>
              <a:ext cx="1113051" cy="677203"/>
              <a:chOff x="5533564" y="2627719"/>
              <a:chExt cx="889276" cy="677203"/>
            </a:xfrm>
          </p:grpSpPr>
          <p:sp>
            <p:nvSpPr>
              <p:cNvPr id="78" name="Left-Right Arrow 77"/>
              <p:cNvSpPr/>
              <p:nvPr/>
            </p:nvSpPr>
            <p:spPr bwMode="auto">
              <a:xfrm rot="1109394">
                <a:off x="5537234" y="2627719"/>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9" name="Left-Right Arrow 78"/>
              <p:cNvSpPr/>
              <p:nvPr/>
            </p:nvSpPr>
            <p:spPr bwMode="auto">
              <a:xfrm rot="20610885">
                <a:off x="5547900" y="2645245"/>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80" name="Left-Right Arrow 79"/>
              <p:cNvSpPr/>
              <p:nvPr/>
            </p:nvSpPr>
            <p:spPr bwMode="auto">
              <a:xfrm rot="668595">
                <a:off x="5548192" y="302696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83" name="Left-Right Arrow 82"/>
              <p:cNvSpPr/>
              <p:nvPr/>
            </p:nvSpPr>
            <p:spPr bwMode="auto">
              <a:xfrm rot="20675659">
                <a:off x="5533564" y="3063078"/>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70" name="Group 69"/>
            <p:cNvGrpSpPr/>
            <p:nvPr/>
          </p:nvGrpSpPr>
          <p:grpSpPr>
            <a:xfrm>
              <a:off x="8617504" y="2848735"/>
              <a:ext cx="1156082" cy="686728"/>
              <a:chOff x="5499184" y="2618194"/>
              <a:chExt cx="923656" cy="686728"/>
            </a:xfrm>
          </p:grpSpPr>
          <p:sp>
            <p:nvSpPr>
              <p:cNvPr id="71" name="Left-Right Arrow 70"/>
              <p:cNvSpPr/>
              <p:nvPr/>
            </p:nvSpPr>
            <p:spPr bwMode="auto">
              <a:xfrm rot="20751099">
                <a:off x="5499184" y="2618194"/>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3" name="Left-Right Arrow 72"/>
              <p:cNvSpPr/>
              <p:nvPr/>
            </p:nvSpPr>
            <p:spPr bwMode="auto">
              <a:xfrm rot="668595">
                <a:off x="5548192" y="302696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6" name="Left-Right Arrow 75"/>
              <p:cNvSpPr/>
              <p:nvPr/>
            </p:nvSpPr>
            <p:spPr bwMode="auto">
              <a:xfrm rot="20675659">
                <a:off x="5533564" y="3063078"/>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5" name="Left-Right Arrow 74"/>
              <p:cNvSpPr/>
              <p:nvPr/>
            </p:nvSpPr>
            <p:spPr bwMode="auto">
              <a:xfrm rot="690585">
                <a:off x="5537633" y="2645244"/>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spTree>
    <p:extLst>
      <p:ext uri="{BB962C8B-B14F-4D97-AF65-F5344CB8AC3E}">
        <p14:creationId xmlns:p14="http://schemas.microsoft.com/office/powerpoint/2010/main" val="304735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42"/>
                                        </p:tgtEl>
                                        <p:attrNameLst>
                                          <p:attrName>style.visibility</p:attrName>
                                        </p:attrNameLst>
                                      </p:cBhvr>
                                      <p:to>
                                        <p:strVal val="visible"/>
                                      </p:to>
                                    </p:set>
                                    <p:animEffect transition="in" filter="fade">
                                      <p:cBhvr>
                                        <p:cTn id="34"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Track Resources</a:t>
            </a:r>
            <a:endParaRPr lang="en-US" dirty="0"/>
          </a:p>
        </p:txBody>
      </p:sp>
      <p:sp>
        <p:nvSpPr>
          <p:cNvPr id="6" name="Rectangle 5"/>
          <p:cNvSpPr/>
          <p:nvPr/>
        </p:nvSpPr>
        <p:spPr bwMode="auto">
          <a:xfrm>
            <a:off x="266520" y="1295327"/>
            <a:ext cx="11885832" cy="548241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2499" y="139628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t>Windows Enterprise: </a:t>
            </a:r>
            <a:r>
              <a:rPr lang="en-US" sz="3599" u="sng" dirty="0">
                <a:solidFill>
                  <a:srgbClr val="00B0F0"/>
                </a:solidFill>
                <a:hlinkClick r:id="rId4" action="ppaction://hlinkfile"/>
              </a:rPr>
              <a:t>windows.com/enterprise</a:t>
            </a:r>
            <a:r>
              <a:rPr lang="en-US" sz="3599" dirty="0"/>
              <a:t> </a:t>
            </a:r>
          </a:p>
        </p:txBody>
      </p:sp>
      <p:sp>
        <p:nvSpPr>
          <p:cNvPr id="8" name="Rectangle 7"/>
          <p:cNvSpPr/>
          <p:nvPr/>
        </p:nvSpPr>
        <p:spPr bwMode="invGray">
          <a:xfrm>
            <a:off x="372499" y="2307787"/>
            <a:ext cx="11788497" cy="612897"/>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Springboard: </a:t>
            </a:r>
            <a:r>
              <a:rPr lang="en-US" sz="3672" u="sng" dirty="0">
                <a:solidFill>
                  <a:srgbClr val="00B0F0"/>
                </a:solidFill>
                <a:hlinkClick r:id="rId5" action="ppaction://hlinkfile"/>
              </a:rPr>
              <a:t>windows.com/</a:t>
            </a:r>
            <a:r>
              <a:rPr lang="en-US" sz="3672" u="sng" dirty="0" err="1">
                <a:solidFill>
                  <a:srgbClr val="00B0F0"/>
                </a:solidFill>
                <a:hlinkClick r:id="rId5" action="ppaction://hlinkfile"/>
              </a:rPr>
              <a:t>ITpro</a:t>
            </a:r>
            <a:endParaRPr lang="en-US" sz="3599" u="sng" dirty="0">
              <a:solidFill>
                <a:srgbClr val="00B0F0"/>
              </a:solidFill>
            </a:endParaRPr>
          </a:p>
        </p:txBody>
      </p:sp>
      <p:sp>
        <p:nvSpPr>
          <p:cNvPr id="9" name="Rectangle 8"/>
          <p:cNvSpPr/>
          <p:nvPr/>
        </p:nvSpPr>
        <p:spPr bwMode="invGray">
          <a:xfrm>
            <a:off x="372499" y="3219288"/>
            <a:ext cx="11788497" cy="1732356"/>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Microsoft Desktop Optimization Package (MDOP): </a:t>
            </a:r>
            <a:r>
              <a:rPr lang="en-US" sz="3599" u="sng" dirty="0">
                <a:solidFill>
                  <a:srgbClr val="00B0F0"/>
                </a:solidFill>
                <a:hlinkClick r:id="rId6" action="ppaction://hlinkfile"/>
              </a:rPr>
              <a:t>microsoft.com/</a:t>
            </a:r>
            <a:r>
              <a:rPr lang="en-US" sz="3599" u="sng" dirty="0" err="1">
                <a:solidFill>
                  <a:srgbClr val="00B0F0"/>
                </a:solidFill>
                <a:hlinkClick r:id="rId6" action="ppaction://hlinkfile"/>
              </a:rPr>
              <a:t>mdop</a:t>
            </a:r>
            <a:endParaRPr lang="en-US" sz="3599" u="sng" dirty="0">
              <a:solidFill>
                <a:srgbClr val="00B0F0"/>
              </a:solidFill>
            </a:endParaRPr>
          </a:p>
          <a:p>
            <a:pPr defTabSz="932563">
              <a:lnSpc>
                <a:spcPct val="90000"/>
              </a:lnSpc>
              <a:spcBef>
                <a:spcPct val="20000"/>
              </a:spcBef>
              <a:buSzPct val="105000"/>
            </a:pPr>
            <a:endParaRPr lang="en-US" sz="3599" dirty="0">
              <a:gradFill>
                <a:gsLst>
                  <a:gs pos="1250">
                    <a:srgbClr val="FFFFFF"/>
                  </a:gs>
                  <a:gs pos="100000">
                    <a:srgbClr val="FFFFFF"/>
                  </a:gs>
                </a:gsLst>
                <a:lin ang="5400000" scaled="0"/>
              </a:gradFill>
            </a:endParaRPr>
          </a:p>
        </p:txBody>
      </p:sp>
      <p:sp>
        <p:nvSpPr>
          <p:cNvPr id="10" name="Rectangle 9"/>
          <p:cNvSpPr/>
          <p:nvPr/>
        </p:nvSpPr>
        <p:spPr bwMode="invGray">
          <a:xfrm>
            <a:off x="372499" y="4437093"/>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Desktop Virtualization (DV): </a:t>
            </a:r>
            <a:r>
              <a:rPr lang="en-US" sz="3599" u="sng" dirty="0">
                <a:solidFill>
                  <a:srgbClr val="00B0F0"/>
                </a:solidFill>
                <a:hlinkClick r:id="rId7" action="ppaction://hlinkfile"/>
              </a:rPr>
              <a:t>microsoft.com/dv</a:t>
            </a:r>
            <a:endParaRPr lang="en-US" sz="3599" u="sng" dirty="0">
              <a:solidFill>
                <a:srgbClr val="00B0F0"/>
              </a:solidFill>
            </a:endParaRPr>
          </a:p>
        </p:txBody>
      </p:sp>
      <p:sp useBgFill="1">
        <p:nvSpPr>
          <p:cNvPr id="11" name="Freeform 10"/>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invGray">
          <a:xfrm>
            <a:off x="372499" y="5240451"/>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To Go: </a:t>
            </a:r>
            <a:r>
              <a:rPr lang="en-US" sz="3599" u="sng" dirty="0">
                <a:solidFill>
                  <a:srgbClr val="00B0F0"/>
                </a:solidFill>
                <a:hlinkClick r:id="rId8" action="ppaction://hlinkfile"/>
              </a:rPr>
              <a:t>microsoft.com/windows/</a:t>
            </a:r>
            <a:r>
              <a:rPr lang="en-US" sz="3599" u="sng" dirty="0" err="1">
                <a:solidFill>
                  <a:srgbClr val="00B0F0"/>
                </a:solidFill>
                <a:hlinkClick r:id="rId8" action="ppaction://hlinkfile"/>
              </a:rPr>
              <a:t>wtg</a:t>
            </a:r>
            <a:endParaRPr lang="en-US" sz="3599" u="sng" dirty="0">
              <a:solidFill>
                <a:srgbClr val="00B0F0"/>
              </a:solidFill>
            </a:endParaRPr>
          </a:p>
        </p:txBody>
      </p:sp>
      <p:sp>
        <p:nvSpPr>
          <p:cNvPr id="14" name="Rectangle 13"/>
          <p:cNvSpPr/>
          <p:nvPr/>
        </p:nvSpPr>
        <p:spPr bwMode="invGray">
          <a:xfrm>
            <a:off x="372499" y="602642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Outlook.com: </a:t>
            </a:r>
            <a:r>
              <a:rPr lang="en-US" sz="3599" u="sng" dirty="0">
                <a:solidFill>
                  <a:srgbClr val="00B0F0"/>
                </a:solidFill>
                <a:hlinkClick r:id="rId9" action="ppaction://hlinkfile"/>
              </a:rPr>
              <a:t>tryoutlook.com</a:t>
            </a:r>
            <a:endParaRPr lang="en-US" sz="3599" u="sng" dirty="0">
              <a:solidFill>
                <a:srgbClr val="00B0F0"/>
              </a:solidFill>
            </a:endParaRPr>
          </a:p>
        </p:txBody>
      </p:sp>
    </p:spTree>
    <p:extLst>
      <p:ext uri="{BB962C8B-B14F-4D97-AF65-F5344CB8AC3E}">
        <p14:creationId xmlns:p14="http://schemas.microsoft.com/office/powerpoint/2010/main" val="302572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1000" fill="hold"/>
                                        <p:tgtEl>
                                          <p:spTgt spid="9"/>
                                        </p:tgtEl>
                                        <p:attrNameLst>
                                          <p:attrName>ppt_x</p:attrName>
                                        </p:attrNameLst>
                                      </p:cBhvr>
                                      <p:tavLst>
                                        <p:tav tm="0">
                                          <p:val>
                                            <p:strVal val="0-#ppt_w/2"/>
                                          </p:val>
                                        </p:tav>
                                        <p:tav tm="100000">
                                          <p:val>
                                            <p:strVal val="#ppt_x"/>
                                          </p:val>
                                        </p:tav>
                                      </p:tavLst>
                                    </p:anim>
                                    <p:anim calcmode="lin" valueType="num">
                                      <p:cBhvr additive="base">
                                        <p:cTn id="20" dur="10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5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1000" fill="hold"/>
                                        <p:tgtEl>
                                          <p:spTgt spid="10"/>
                                        </p:tgtEl>
                                        <p:attrNameLst>
                                          <p:attrName>ppt_x</p:attrName>
                                        </p:attrNameLst>
                                      </p:cBhvr>
                                      <p:tavLst>
                                        <p:tav tm="0">
                                          <p:val>
                                            <p:strVal val="0-#ppt_w/2"/>
                                          </p:val>
                                        </p:tav>
                                        <p:tav tm="100000">
                                          <p:val>
                                            <p:strVal val="#ppt_x"/>
                                          </p:val>
                                        </p:tav>
                                      </p:tavLst>
                                    </p:anim>
                                    <p:anim calcmode="lin" valueType="num">
                                      <p:cBhvr additive="base">
                                        <p:cTn id="24" dur="1000" fill="hold"/>
                                        <p:tgtEl>
                                          <p:spTgt spid="10"/>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000" fill="hold"/>
                                        <p:tgtEl>
                                          <p:spTgt spid="13"/>
                                        </p:tgtEl>
                                        <p:attrNameLst>
                                          <p:attrName>ppt_x</p:attrName>
                                        </p:attrNameLst>
                                      </p:cBhvr>
                                      <p:tavLst>
                                        <p:tav tm="0">
                                          <p:val>
                                            <p:strVal val="0-#ppt_w/2"/>
                                          </p:val>
                                        </p:tav>
                                        <p:tav tm="100000">
                                          <p:val>
                                            <p:strVal val="#ppt_x"/>
                                          </p:val>
                                        </p:tav>
                                      </p:tavLst>
                                    </p:anim>
                                    <p:anim calcmode="lin" valueType="num">
                                      <p:cBhvr additive="base">
                                        <p:cTn id="28" dur="10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15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1000" fill="hold"/>
                                        <p:tgtEl>
                                          <p:spTgt spid="14"/>
                                        </p:tgtEl>
                                        <p:attrNameLst>
                                          <p:attrName>ppt_x</p:attrName>
                                        </p:attrNameLst>
                                      </p:cBhvr>
                                      <p:tavLst>
                                        <p:tav tm="0">
                                          <p:val>
                                            <p:strVal val="0-#ppt_w/2"/>
                                          </p:val>
                                        </p:tav>
                                        <p:tav tm="100000">
                                          <p:val>
                                            <p:strVal val="#ppt_x"/>
                                          </p:val>
                                        </p:tav>
                                      </p:tavLst>
                                    </p:anim>
                                    <p:anim calcmode="lin" valueType="num">
                                      <p:cBhvr additive="base">
                                        <p:cTn id="32"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P spid="13" grpId="0"/>
      <p:bldP spid="1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rgbClr val="002050"/>
                      </a:gs>
                      <a:gs pos="100000">
                        <a:srgbClr val="002050"/>
                      </a:gs>
                    </a:gsLst>
                    <a:lin ang="5400000" scaled="0"/>
                  </a:gradFill>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rgbClr val="002050"/>
                      </a:gs>
                      <a:gs pos="100000">
                        <a:srgbClr val="002050"/>
                      </a:gs>
                    </a:gsLst>
                    <a:lin ang="5400000" scaled="0"/>
                  </a:gradFill>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solidFill>
                  <a:srgbClr val="FFFFFF"/>
                </a:solidFill>
              </a:endParaRPr>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rgbClr val="002050"/>
                      </a:gs>
                      <a:gs pos="100000">
                        <a:srgbClr val="002050"/>
                      </a:gs>
                    </a:gsLst>
                    <a:lin ang="5400000" scaled="0"/>
                  </a:gradFill>
                  <a:ea typeface="Segoe UI" pitchFamily="34" charset="0"/>
                  <a:cs typeface="Segoe UI" pitchFamily="34" charset="0"/>
                </a:rPr>
                <a:t>Sessions on Demand</a:t>
              </a:r>
              <a:endParaRPr lang="en-US" sz="1600" dirty="0">
                <a:gradFill>
                  <a:gsLst>
                    <a:gs pos="1250">
                      <a:srgbClr val="002050"/>
                    </a:gs>
                    <a:gs pos="100000">
                      <a:srgbClr val="002050"/>
                    </a:gs>
                  </a:gsLst>
                  <a:lin ang="5400000" scaled="0"/>
                </a:gradFill>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solidFill>
                    <a:srgbClr val="FFFFFF"/>
                  </a:solidFill>
                  <a:hlinkClick r:id="rId5"/>
                </a:rPr>
                <a:t>http://channel9.msdn.com/Events/TechEd</a:t>
              </a:r>
              <a:endParaRPr lang="en-US" dirty="0">
                <a:solidFill>
                  <a:srgbClr val="FFFFFF"/>
                </a:solidFill>
              </a:endParaRPr>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rgbClr val="002050"/>
                      </a:gs>
                      <a:gs pos="100000">
                        <a:srgbClr val="002050"/>
                      </a:gs>
                    </a:gsLst>
                    <a:lin ang="5400000" scaled="0"/>
                  </a:gradFill>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842337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1112839" y="1214472"/>
            <a:ext cx="6024123" cy="6014980"/>
          </a:xfrm>
        </p:spPr>
        <p:txBody>
          <a:bodyPr/>
          <a:lstStyle/>
          <a:p>
            <a:pPr defTabSz="932597">
              <a:spcBef>
                <a:spcPts val="600"/>
              </a:spcBef>
              <a:buSzTx/>
            </a:pPr>
            <a:r>
              <a:rPr lang="en-US" sz="2040" dirty="0">
                <a:solidFill>
                  <a:srgbClr val="FFFFFF"/>
                </a:solidFill>
                <a:latin typeface="Segoe UI"/>
              </a:rPr>
              <a:t>System Center 2012 Configuration Manager</a:t>
            </a:r>
          </a:p>
          <a:p>
            <a:pPr defTabSz="932597">
              <a:spcBef>
                <a:spcPts val="600"/>
              </a:spcBef>
              <a:buSzTx/>
            </a:pPr>
            <a:r>
              <a:rPr lang="en-US" sz="1428" dirty="0">
                <a:solidFill>
                  <a:srgbClr val="FFFFFF"/>
                </a:solidFill>
                <a:latin typeface="Segoe UI"/>
                <a:hlinkClick r:id="rId3" action="ppaction://hlinkfile"/>
              </a:rPr>
              <a:t>http://technet.microsoft.com/en-us/evalcenter/hh667640.aspx?wt.mc_id=TEC_105_1_33</a:t>
            </a:r>
            <a:endParaRPr lang="en-US" sz="1428" dirty="0">
              <a:solidFill>
                <a:srgbClr val="FFFFFF"/>
              </a:solidFill>
              <a:latin typeface="Segoe UI"/>
            </a:endParaRPr>
          </a:p>
          <a:p>
            <a:pPr defTabSz="932597">
              <a:spcBef>
                <a:spcPts val="600"/>
              </a:spcBef>
              <a:buSzTx/>
            </a:pPr>
            <a:endParaRPr lang="en-US" sz="816" dirty="0">
              <a:solidFill>
                <a:srgbClr val="FFFFFF"/>
              </a:solidFill>
              <a:latin typeface="Segoe UI"/>
            </a:endParaRPr>
          </a:p>
          <a:p>
            <a:pPr defTabSz="932597">
              <a:spcBef>
                <a:spcPts val="600"/>
              </a:spcBef>
              <a:buSzTx/>
            </a:pPr>
            <a:r>
              <a:rPr lang="en-US" sz="2040" dirty="0">
                <a:solidFill>
                  <a:srgbClr val="FFFFFF"/>
                </a:solidFill>
                <a:latin typeface="Segoe UI"/>
              </a:rPr>
              <a:t>Windows Intune</a:t>
            </a:r>
          </a:p>
          <a:p>
            <a:pPr defTabSz="932597">
              <a:spcBef>
                <a:spcPts val="600"/>
              </a:spcBef>
              <a:buSzTx/>
            </a:pPr>
            <a:r>
              <a:rPr lang="en-US" sz="1428" dirty="0">
                <a:solidFill>
                  <a:srgbClr val="FFFFFF"/>
                </a:solidFill>
                <a:latin typeface="Segoe UI"/>
                <a:hlinkClick r:id="rId4"/>
              </a:rPr>
              <a:t>http://www.microsoft.com/en-us/windows/windowsintune/try-and-buy</a:t>
            </a:r>
            <a:endParaRPr lang="en-US" sz="1428" dirty="0">
              <a:solidFill>
                <a:srgbClr val="FFFFFF"/>
              </a:solidFill>
              <a:latin typeface="Segoe UI"/>
            </a:endParaRPr>
          </a:p>
          <a:p>
            <a:pPr defTabSz="932597">
              <a:spcBef>
                <a:spcPts val="612"/>
              </a:spcBef>
              <a:buSzTx/>
            </a:pPr>
            <a:endParaRPr lang="en-US" sz="816" dirty="0">
              <a:solidFill>
                <a:srgbClr val="FFFFFF"/>
              </a:solidFill>
              <a:latin typeface="Segoe UI"/>
            </a:endParaRPr>
          </a:p>
          <a:p>
            <a:pPr defTabSz="932597">
              <a:spcBef>
                <a:spcPts val="612"/>
              </a:spcBef>
              <a:buSzTx/>
            </a:pPr>
            <a:r>
              <a:rPr lang="en-US" sz="2040" dirty="0">
                <a:solidFill>
                  <a:srgbClr val="FFFFFF"/>
                </a:solidFill>
                <a:latin typeface="Segoe UI"/>
              </a:rPr>
              <a:t>Windows Server 2012 </a:t>
            </a:r>
          </a:p>
          <a:p>
            <a:pPr defTabSz="932597">
              <a:spcBef>
                <a:spcPts val="612"/>
              </a:spcBef>
              <a:buSzTx/>
            </a:pPr>
            <a:r>
              <a:rPr lang="en-US" sz="1428" u="sng" dirty="0">
                <a:solidFill>
                  <a:srgbClr val="FFFFFF"/>
                </a:solidFill>
                <a:hlinkClick r:id="rId5"/>
              </a:rPr>
              <a:t>http://www.microsoft.com/en-us/server-cloud/windows-server</a:t>
            </a:r>
            <a:r>
              <a:rPr lang="en-US" sz="1428" u="sng" dirty="0">
                <a:solidFill>
                  <a:srgbClr val="FFFFFF"/>
                </a:solidFill>
              </a:rPr>
              <a:t> </a:t>
            </a:r>
          </a:p>
          <a:p>
            <a:pPr defTabSz="932597">
              <a:spcBef>
                <a:spcPts val="612"/>
              </a:spcBef>
              <a:buSzTx/>
            </a:pPr>
            <a:endParaRPr lang="en-US" sz="816" u="sng" dirty="0">
              <a:solidFill>
                <a:srgbClr val="FFFFFF"/>
              </a:solidFill>
            </a:endParaRPr>
          </a:p>
          <a:p>
            <a:pPr defTabSz="932597">
              <a:spcBef>
                <a:spcPts val="612"/>
              </a:spcBef>
              <a:buSzTx/>
            </a:pPr>
            <a:r>
              <a:rPr lang="en-US" sz="2040" dirty="0">
                <a:solidFill>
                  <a:srgbClr val="FFFFFF"/>
                </a:solidFill>
                <a:latin typeface="Segoe UI"/>
              </a:rPr>
              <a:t>Windows Server 2012 VDI and </a:t>
            </a:r>
            <a:br>
              <a:rPr lang="en-US" sz="2040" dirty="0">
                <a:solidFill>
                  <a:srgbClr val="FFFFFF"/>
                </a:solidFill>
                <a:latin typeface="Segoe UI"/>
              </a:rPr>
            </a:br>
            <a:r>
              <a:rPr lang="en-US" sz="2040" dirty="0">
                <a:solidFill>
                  <a:srgbClr val="FFFFFF"/>
                </a:solidFill>
                <a:latin typeface="Segoe UI"/>
              </a:rPr>
              <a:t>Remote Desktop Services</a:t>
            </a:r>
          </a:p>
          <a:p>
            <a:pPr defTabSz="932597">
              <a:spcBef>
                <a:spcPts val="612"/>
              </a:spcBef>
              <a:buSzTx/>
            </a:pPr>
            <a:r>
              <a:rPr lang="en-US" sz="1428" dirty="0">
                <a:solidFill>
                  <a:srgbClr val="000000"/>
                </a:solidFill>
                <a:latin typeface="+mn-lt"/>
                <a:hlinkClick r:id="rId6"/>
              </a:rPr>
              <a:t>http://technet.microsoft.com/en-us/evalcenter/hh670538.aspx?ocid=&amp;wt.mc_id=TEC_108_1_33</a:t>
            </a:r>
            <a:endParaRPr lang="en-US" sz="1428" dirty="0">
              <a:solidFill>
                <a:srgbClr val="000000"/>
              </a:solidFill>
              <a:latin typeface="+mn-lt"/>
            </a:endParaRPr>
          </a:p>
          <a:p>
            <a:pPr defTabSz="932597">
              <a:spcBef>
                <a:spcPts val="612"/>
              </a:spcBef>
              <a:buSzTx/>
            </a:pPr>
            <a:r>
              <a:rPr lang="en-US" sz="1428" dirty="0">
                <a:solidFill>
                  <a:srgbClr val="000000"/>
                </a:solidFill>
                <a:latin typeface="+mn-lt"/>
                <a:hlinkClick r:id="rId7"/>
              </a:rPr>
              <a:t>http://www.microsoft.com/en-us/server-cloud/windows-server/virtual-desktop-infrastructure.aspx</a:t>
            </a:r>
            <a:r>
              <a:rPr lang="en-US" sz="1428" dirty="0">
                <a:solidFill>
                  <a:srgbClr val="000000"/>
                </a:solidFill>
                <a:latin typeface="+mn-lt"/>
              </a:rPr>
              <a:t> </a:t>
            </a:r>
          </a:p>
          <a:p>
            <a:pPr defTabSz="932597">
              <a:spcBef>
                <a:spcPts val="612"/>
              </a:spcBef>
              <a:buSzTx/>
            </a:pPr>
            <a:endParaRPr lang="en-US" sz="816" dirty="0">
              <a:solidFill>
                <a:srgbClr val="000000"/>
              </a:solidFill>
              <a:latin typeface="+mn-lt"/>
            </a:endParaRPr>
          </a:p>
          <a:p>
            <a:pPr defTabSz="932597">
              <a:spcBef>
                <a:spcPts val="612"/>
              </a:spcBef>
              <a:buSzTx/>
            </a:pPr>
            <a:r>
              <a:rPr lang="en-US" sz="2000" dirty="0">
                <a:solidFill>
                  <a:srgbClr val="FFFFFF"/>
                </a:solidFill>
                <a:latin typeface="Segoe UI"/>
              </a:rPr>
              <a:t>More Resources:</a:t>
            </a:r>
          </a:p>
          <a:p>
            <a:pPr lvl="1" defTabSz="932597" fontAlgn="base">
              <a:spcAft>
                <a:spcPts val="408"/>
              </a:spcAft>
              <a:buClr>
                <a:srgbClr val="000000">
                  <a:lumMod val="75000"/>
                  <a:lumOff val="25000"/>
                </a:srgbClr>
              </a:buClr>
              <a:tabLst>
                <a:tab pos="642783" algn="l"/>
              </a:tabLst>
            </a:pPr>
            <a:r>
              <a:rPr lang="en-US" sz="1428" dirty="0">
                <a:solidFill>
                  <a:srgbClr val="000000"/>
                </a:solidFill>
                <a:hlinkClick r:id="rId8"/>
              </a:rPr>
              <a:t>microsoft.com/</a:t>
            </a:r>
            <a:r>
              <a:rPr lang="en-US" sz="1428" b="1" dirty="0" err="1">
                <a:solidFill>
                  <a:srgbClr val="000000"/>
                </a:solidFill>
                <a:hlinkClick r:id="rId8"/>
              </a:rPr>
              <a:t>workstyle</a:t>
            </a:r>
            <a:r>
              <a:rPr lang="en-US" sz="1428" dirty="0">
                <a:solidFill>
                  <a:srgbClr val="000000"/>
                </a:solidFill>
              </a:rPr>
              <a:t/>
            </a:r>
            <a:br>
              <a:rPr lang="en-US" sz="1428" dirty="0">
                <a:solidFill>
                  <a:srgbClr val="000000"/>
                </a:solidFill>
              </a:rPr>
            </a:br>
            <a:r>
              <a:rPr lang="en-US" sz="1428" dirty="0">
                <a:solidFill>
                  <a:srgbClr val="000000"/>
                </a:solidFill>
                <a:hlinkClick r:id="rId9"/>
              </a:rPr>
              <a:t>microsoft.com/</a:t>
            </a:r>
            <a:r>
              <a:rPr lang="en-US" sz="1428" b="1" dirty="0">
                <a:solidFill>
                  <a:srgbClr val="000000"/>
                </a:solidFill>
                <a:hlinkClick r:id="rId9"/>
              </a:rPr>
              <a:t>server-cloud/user-device-management</a:t>
            </a:r>
            <a:endParaRPr lang="en-US" sz="1399" b="1" dirty="0">
              <a:solidFill>
                <a:srgbClr val="000000"/>
              </a:solidFill>
            </a:endParaRPr>
          </a:p>
          <a:p>
            <a:pPr lvl="1" defTabSz="932597" fontAlgn="base">
              <a:spcAft>
                <a:spcPts val="408"/>
              </a:spcAft>
              <a:buClr>
                <a:srgbClr val="000000">
                  <a:lumMod val="75000"/>
                  <a:lumOff val="25000"/>
                </a:srgbClr>
              </a:buClr>
              <a:tabLst>
                <a:tab pos="642783" algn="l"/>
              </a:tabLst>
            </a:pPr>
            <a:endParaRPr lang="en-US" i="1" dirty="0" smtClean="0">
              <a:solidFill>
                <a:srgbClr val="FFFFFF"/>
              </a:solidFill>
            </a:endParaRPr>
          </a:p>
          <a:p>
            <a:pPr lvl="1" defTabSz="932597" fontAlgn="base">
              <a:spcBef>
                <a:spcPts val="0"/>
              </a:spcBef>
              <a:spcAft>
                <a:spcPts val="1248"/>
              </a:spcAft>
              <a:buClr>
                <a:srgbClr val="FFFFFF">
                  <a:lumMod val="75000"/>
                  <a:lumOff val="25000"/>
                </a:srgbClr>
              </a:buClr>
              <a:tabLst>
                <a:tab pos="655700" algn="l"/>
                <a:tab pos="1843224" algn="l"/>
              </a:tabLst>
            </a:pPr>
            <a:endParaRPr lang="en-US" sz="1632" dirty="0">
              <a:solidFill>
                <a:srgbClr val="000000"/>
              </a:solidFill>
            </a:endParaRPr>
          </a:p>
        </p:txBody>
      </p:sp>
      <p:sp>
        <p:nvSpPr>
          <p:cNvPr id="30" name="Rectangle 29"/>
          <p:cNvSpPr/>
          <p:nvPr/>
        </p:nvSpPr>
        <p:spPr>
          <a:xfrm>
            <a:off x="751389" y="8226659"/>
            <a:ext cx="8964879" cy="376689"/>
          </a:xfrm>
          <a:prstGeom prst="rect">
            <a:avLst/>
          </a:prstGeom>
          <a:noFill/>
        </p:spPr>
        <p:txBody>
          <a:bodyPr wrap="square" lIns="93264" tIns="46632" rIns="93264" bIns="46632">
            <a:spAutoFit/>
          </a:bodyPr>
          <a:lstStyle/>
          <a:p>
            <a:pPr marL="0" lvl="1" fontAlgn="base">
              <a:lnSpc>
                <a:spcPct val="90000"/>
              </a:lnSpc>
              <a:spcBef>
                <a:spcPct val="20000"/>
              </a:spcBef>
              <a:spcAft>
                <a:spcPts val="408"/>
              </a:spcAft>
              <a:buClr>
                <a:schemeClr val="tx1">
                  <a:lumMod val="75000"/>
                  <a:lumOff val="25000"/>
                </a:schemeClr>
              </a:buClr>
              <a:buSzPct val="90000"/>
              <a:tabLst>
                <a:tab pos="642783" algn="l"/>
              </a:tabLst>
            </a:pPr>
            <a:endParaRPr lang="en-US" sz="2000" b="1" spc="-51" dirty="0">
              <a:solidFill>
                <a:schemeClr val="bg1"/>
              </a:solidFill>
            </a:endParaRPr>
          </a:p>
        </p:txBody>
      </p:sp>
      <p:sp>
        <p:nvSpPr>
          <p:cNvPr id="23" name="Freeform 9"/>
          <p:cNvSpPr>
            <a:spLocks noEditPoints="1"/>
          </p:cNvSpPr>
          <p:nvPr/>
        </p:nvSpPr>
        <p:spPr bwMode="black">
          <a:xfrm>
            <a:off x="422584" y="5734519"/>
            <a:ext cx="637146"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
        <p:nvSpPr>
          <p:cNvPr id="5" name="Title 4"/>
          <p:cNvSpPr>
            <a:spLocks noGrp="1"/>
          </p:cNvSpPr>
          <p:nvPr>
            <p:ph type="title"/>
          </p:nvPr>
        </p:nvSpPr>
        <p:spPr/>
        <p:txBody>
          <a:bodyPr/>
          <a:lstStyle/>
          <a:p>
            <a:r>
              <a:rPr lang="en-US" sz="4896" dirty="0">
                <a:solidFill>
                  <a:schemeClr val="tx2"/>
                </a:solidFill>
                <a:latin typeface="Segoe UI Light" pitchFamily="34" charset="0"/>
              </a:rPr>
              <a:t>For More Information</a:t>
            </a:r>
            <a:endParaRPr lang="en-US" dirty="0"/>
          </a:p>
        </p:txBody>
      </p:sp>
      <p:sp>
        <p:nvSpPr>
          <p:cNvPr id="11" name="Freeform 9"/>
          <p:cNvSpPr>
            <a:spLocks noEditPoints="1"/>
          </p:cNvSpPr>
          <p:nvPr/>
        </p:nvSpPr>
        <p:spPr bwMode="black">
          <a:xfrm>
            <a:off x="422584" y="1301554"/>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
        <p:nvSpPr>
          <p:cNvPr id="12" name="Freeform 9"/>
          <p:cNvSpPr>
            <a:spLocks noEditPoints="1"/>
          </p:cNvSpPr>
          <p:nvPr/>
        </p:nvSpPr>
        <p:spPr bwMode="black">
          <a:xfrm>
            <a:off x="422584" y="2190280"/>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
        <p:nvSpPr>
          <p:cNvPr id="13" name="Freeform 9"/>
          <p:cNvSpPr>
            <a:spLocks noEditPoints="1"/>
          </p:cNvSpPr>
          <p:nvPr/>
        </p:nvSpPr>
        <p:spPr bwMode="black">
          <a:xfrm>
            <a:off x="422584" y="307900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pic>
        <p:nvPicPr>
          <p:cNvPr id="15" name="Picture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bwMode="invGray">
          <a:xfrm>
            <a:off x="10252632" y="6009852"/>
            <a:ext cx="1569764" cy="336267"/>
          </a:xfrm>
          <a:prstGeom prst="rect">
            <a:avLst/>
          </a:prstGeom>
        </p:spPr>
      </p:pic>
      <p:sp>
        <p:nvSpPr>
          <p:cNvPr id="20" name="Freeform 9"/>
          <p:cNvSpPr>
            <a:spLocks noEditPoints="1"/>
          </p:cNvSpPr>
          <p:nvPr/>
        </p:nvSpPr>
        <p:spPr bwMode="black">
          <a:xfrm>
            <a:off x="422584" y="3967733"/>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grpSp>
        <p:nvGrpSpPr>
          <p:cNvPr id="24" name="Group 23"/>
          <p:cNvGrpSpPr/>
          <p:nvPr/>
        </p:nvGrpSpPr>
        <p:grpSpPr>
          <a:xfrm>
            <a:off x="7424749" y="2215415"/>
            <a:ext cx="4709054" cy="2300750"/>
            <a:chOff x="269239" y="2376280"/>
            <a:chExt cx="4617139" cy="2255842"/>
          </a:xfrm>
        </p:grpSpPr>
        <p:sp>
          <p:nvSpPr>
            <p:cNvPr id="25" name="Freeform 9"/>
            <p:cNvSpPr>
              <a:spLocks noEditPoints="1"/>
            </p:cNvSpPr>
            <p:nvPr/>
          </p:nvSpPr>
          <p:spPr bwMode="auto">
            <a:xfrm>
              <a:off x="269240" y="3280554"/>
              <a:ext cx="3828481" cy="399007"/>
            </a:xfrm>
            <a:custGeom>
              <a:avLst/>
              <a:gdLst>
                <a:gd name="T0" fmla="*/ 89 w 1963"/>
                <a:gd name="T1" fmla="*/ 187 h 202"/>
                <a:gd name="T2" fmla="*/ 0 w 1963"/>
                <a:gd name="T3" fmla="*/ 174 h 202"/>
                <a:gd name="T4" fmla="*/ 421 w 1963"/>
                <a:gd name="T5" fmla="*/ 40 h 202"/>
                <a:gd name="T6" fmla="*/ 307 w 1963"/>
                <a:gd name="T7" fmla="*/ 141 h 202"/>
                <a:gd name="T8" fmla="*/ 1849 w 1963"/>
                <a:gd name="T9" fmla="*/ 106 h 202"/>
                <a:gd name="T10" fmla="*/ 1815 w 1963"/>
                <a:gd name="T11" fmla="*/ 162 h 202"/>
                <a:gd name="T12" fmla="*/ 1877 w 1963"/>
                <a:gd name="T13" fmla="*/ 160 h 202"/>
                <a:gd name="T14" fmla="*/ 1858 w 1963"/>
                <a:gd name="T15" fmla="*/ 70 h 202"/>
                <a:gd name="T16" fmla="*/ 805 w 1963"/>
                <a:gd name="T17" fmla="*/ 95 h 202"/>
                <a:gd name="T18" fmla="*/ 832 w 1963"/>
                <a:gd name="T19" fmla="*/ 145 h 202"/>
                <a:gd name="T20" fmla="*/ 777 w 1963"/>
                <a:gd name="T21" fmla="*/ 145 h 202"/>
                <a:gd name="T22" fmla="*/ 621 w 1963"/>
                <a:gd name="T23" fmla="*/ 34 h 202"/>
                <a:gd name="T24" fmla="*/ 620 w 1963"/>
                <a:gd name="T25" fmla="*/ 86 h 202"/>
                <a:gd name="T26" fmla="*/ 580 w 1963"/>
                <a:gd name="T27" fmla="*/ 163 h 202"/>
                <a:gd name="T28" fmla="*/ 620 w 1963"/>
                <a:gd name="T29" fmla="*/ 130 h 202"/>
                <a:gd name="T30" fmla="*/ 621 w 1963"/>
                <a:gd name="T31" fmla="*/ 109 h 202"/>
                <a:gd name="T32" fmla="*/ 1555 w 1963"/>
                <a:gd name="T33" fmla="*/ 42 h 202"/>
                <a:gd name="T34" fmla="*/ 1611 w 1963"/>
                <a:gd name="T35" fmla="*/ 100 h 202"/>
                <a:gd name="T36" fmla="*/ 1548 w 1963"/>
                <a:gd name="T37" fmla="*/ 77 h 202"/>
                <a:gd name="T38" fmla="*/ 1121 w 1963"/>
                <a:gd name="T39" fmla="*/ 93 h 202"/>
                <a:gd name="T40" fmla="*/ 1118 w 1963"/>
                <a:gd name="T41" fmla="*/ 157 h 202"/>
                <a:gd name="T42" fmla="*/ 1064 w 1963"/>
                <a:gd name="T43" fmla="*/ 127 h 202"/>
                <a:gd name="T44" fmla="*/ 1105 w 1963"/>
                <a:gd name="T45" fmla="*/ 92 h 202"/>
                <a:gd name="T46" fmla="*/ 1280 w 1963"/>
                <a:gd name="T47" fmla="*/ 143 h 202"/>
                <a:gd name="T48" fmla="*/ 1311 w 1963"/>
                <a:gd name="T49" fmla="*/ 152 h 202"/>
                <a:gd name="T50" fmla="*/ 1301 w 1963"/>
                <a:gd name="T51" fmla="*/ 90 h 202"/>
                <a:gd name="T52" fmla="*/ 1012 w 1963"/>
                <a:gd name="T53" fmla="*/ 38 h 202"/>
                <a:gd name="T54" fmla="*/ 1010 w 1963"/>
                <a:gd name="T55" fmla="*/ 150 h 202"/>
                <a:gd name="T56" fmla="*/ 1018 w 1963"/>
                <a:gd name="T57" fmla="*/ 161 h 202"/>
                <a:gd name="T58" fmla="*/ 1005 w 1963"/>
                <a:gd name="T59" fmla="*/ 51 h 202"/>
                <a:gd name="T60" fmla="*/ 656 w 1963"/>
                <a:gd name="T61" fmla="*/ 138 h 202"/>
                <a:gd name="T62" fmla="*/ 704 w 1963"/>
                <a:gd name="T63" fmla="*/ 86 h 202"/>
                <a:gd name="T64" fmla="*/ 667 w 1963"/>
                <a:gd name="T65" fmla="*/ 126 h 202"/>
                <a:gd name="T66" fmla="*/ 1918 w 1963"/>
                <a:gd name="T67" fmla="*/ 149 h 202"/>
                <a:gd name="T68" fmla="*/ 1936 w 1963"/>
                <a:gd name="T69" fmla="*/ 40 h 202"/>
                <a:gd name="T70" fmla="*/ 1924 w 1963"/>
                <a:gd name="T71" fmla="*/ 50 h 202"/>
                <a:gd name="T72" fmla="*/ 1963 w 1963"/>
                <a:gd name="T73" fmla="*/ 149 h 202"/>
                <a:gd name="T74" fmla="*/ 1487 w 1963"/>
                <a:gd name="T75" fmla="*/ 115 h 202"/>
                <a:gd name="T76" fmla="*/ 1449 w 1963"/>
                <a:gd name="T77" fmla="*/ 63 h 202"/>
                <a:gd name="T78" fmla="*/ 1475 w 1963"/>
                <a:gd name="T79" fmla="*/ 110 h 202"/>
                <a:gd name="T80" fmla="*/ 1700 w 1963"/>
                <a:gd name="T81" fmla="*/ 149 h 202"/>
                <a:gd name="T82" fmla="*/ 1716 w 1963"/>
                <a:gd name="T83" fmla="*/ 39 h 202"/>
                <a:gd name="T84" fmla="*/ 1742 w 1963"/>
                <a:gd name="T85" fmla="*/ 67 h 202"/>
                <a:gd name="T86" fmla="*/ 1761 w 1963"/>
                <a:gd name="T87" fmla="*/ 162 h 202"/>
                <a:gd name="T88" fmla="*/ 523 w 1963"/>
                <a:gd name="T89" fmla="*/ 98 h 202"/>
                <a:gd name="T90" fmla="*/ 535 w 1963"/>
                <a:gd name="T91" fmla="*/ 88 h 202"/>
                <a:gd name="T92" fmla="*/ 467 w 1963"/>
                <a:gd name="T93" fmla="*/ 162 h 202"/>
                <a:gd name="T94" fmla="*/ 1232 w 1963"/>
                <a:gd name="T95" fmla="*/ 146 h 202"/>
                <a:gd name="T96" fmla="*/ 872 w 1963"/>
                <a:gd name="T97" fmla="*/ 160 h 202"/>
                <a:gd name="T98" fmla="*/ 898 w 1963"/>
                <a:gd name="T99" fmla="*/ 85 h 202"/>
                <a:gd name="T100" fmla="*/ 890 w 1963"/>
                <a:gd name="T101" fmla="*/ 123 h 202"/>
                <a:gd name="T102" fmla="*/ 1649 w 1963"/>
                <a:gd name="T103" fmla="*/ 162 h 202"/>
                <a:gd name="T104" fmla="*/ 1649 w 1963"/>
                <a:gd name="T105" fmla="*/ 57 h 202"/>
                <a:gd name="T106" fmla="*/ 1141 w 1963"/>
                <a:gd name="T107" fmla="*/ 75 h 202"/>
                <a:gd name="T108" fmla="*/ 1186 w 1963"/>
                <a:gd name="T109" fmla="*/ 89 h 202"/>
                <a:gd name="T110" fmla="*/ 1388 w 1963"/>
                <a:gd name="T111" fmla="*/ 94 h 202"/>
                <a:gd name="T112" fmla="*/ 1381 w 1963"/>
                <a:gd name="T113" fmla="*/ 92 h 202"/>
                <a:gd name="T114" fmla="*/ 432 w 1963"/>
                <a:gd name="T115" fmla="*/ 16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3" h="202">
                  <a:moveTo>
                    <a:pt x="89" y="99"/>
                  </a:moveTo>
                  <a:cubicBezTo>
                    <a:pt x="89" y="71"/>
                    <a:pt x="89" y="44"/>
                    <a:pt x="89" y="16"/>
                  </a:cubicBezTo>
                  <a:cubicBezTo>
                    <a:pt x="127" y="10"/>
                    <a:pt x="164" y="5"/>
                    <a:pt x="202" y="0"/>
                  </a:cubicBezTo>
                  <a:cubicBezTo>
                    <a:pt x="202" y="2"/>
                    <a:pt x="202" y="97"/>
                    <a:pt x="202" y="99"/>
                  </a:cubicBezTo>
                  <a:cubicBezTo>
                    <a:pt x="165" y="99"/>
                    <a:pt x="127" y="99"/>
                    <a:pt x="89" y="99"/>
                  </a:cubicBezTo>
                  <a:close/>
                  <a:moveTo>
                    <a:pt x="202" y="103"/>
                  </a:moveTo>
                  <a:cubicBezTo>
                    <a:pt x="164" y="103"/>
                    <a:pt x="127" y="103"/>
                    <a:pt x="89" y="103"/>
                  </a:cubicBezTo>
                  <a:cubicBezTo>
                    <a:pt x="89" y="131"/>
                    <a:pt x="89" y="159"/>
                    <a:pt x="89" y="187"/>
                  </a:cubicBezTo>
                  <a:cubicBezTo>
                    <a:pt x="127" y="192"/>
                    <a:pt x="164" y="197"/>
                    <a:pt x="202" y="202"/>
                  </a:cubicBezTo>
                  <a:cubicBezTo>
                    <a:pt x="202" y="169"/>
                    <a:pt x="202" y="136"/>
                    <a:pt x="202" y="103"/>
                  </a:cubicBezTo>
                  <a:close/>
                  <a:moveTo>
                    <a:pt x="86" y="99"/>
                  </a:moveTo>
                  <a:cubicBezTo>
                    <a:pt x="86" y="72"/>
                    <a:pt x="86" y="44"/>
                    <a:pt x="86" y="16"/>
                  </a:cubicBezTo>
                  <a:cubicBezTo>
                    <a:pt x="57" y="20"/>
                    <a:pt x="28" y="24"/>
                    <a:pt x="0" y="28"/>
                  </a:cubicBezTo>
                  <a:cubicBezTo>
                    <a:pt x="0" y="52"/>
                    <a:pt x="0" y="76"/>
                    <a:pt x="0" y="99"/>
                  </a:cubicBezTo>
                  <a:cubicBezTo>
                    <a:pt x="29" y="99"/>
                    <a:pt x="57" y="99"/>
                    <a:pt x="86" y="99"/>
                  </a:cubicBezTo>
                  <a:close/>
                  <a:moveTo>
                    <a:pt x="0" y="174"/>
                  </a:moveTo>
                  <a:cubicBezTo>
                    <a:pt x="28" y="178"/>
                    <a:pt x="57" y="182"/>
                    <a:pt x="86" y="186"/>
                  </a:cubicBezTo>
                  <a:cubicBezTo>
                    <a:pt x="86" y="158"/>
                    <a:pt x="86" y="131"/>
                    <a:pt x="86" y="103"/>
                  </a:cubicBezTo>
                  <a:cubicBezTo>
                    <a:pt x="57" y="103"/>
                    <a:pt x="29" y="103"/>
                    <a:pt x="0" y="103"/>
                  </a:cubicBezTo>
                  <a:cubicBezTo>
                    <a:pt x="0" y="127"/>
                    <a:pt x="0" y="150"/>
                    <a:pt x="0" y="174"/>
                  </a:cubicBezTo>
                  <a:close/>
                  <a:moveTo>
                    <a:pt x="343" y="66"/>
                  </a:moveTo>
                  <a:cubicBezTo>
                    <a:pt x="352" y="98"/>
                    <a:pt x="361" y="130"/>
                    <a:pt x="370" y="162"/>
                  </a:cubicBezTo>
                  <a:cubicBezTo>
                    <a:pt x="375" y="162"/>
                    <a:pt x="381" y="162"/>
                    <a:pt x="386" y="162"/>
                  </a:cubicBezTo>
                  <a:cubicBezTo>
                    <a:pt x="398" y="121"/>
                    <a:pt x="409" y="81"/>
                    <a:pt x="421" y="40"/>
                  </a:cubicBezTo>
                  <a:cubicBezTo>
                    <a:pt x="415" y="40"/>
                    <a:pt x="410" y="40"/>
                    <a:pt x="405" y="40"/>
                  </a:cubicBezTo>
                  <a:cubicBezTo>
                    <a:pt x="396" y="74"/>
                    <a:pt x="387" y="108"/>
                    <a:pt x="378" y="142"/>
                  </a:cubicBezTo>
                  <a:cubicBezTo>
                    <a:pt x="378" y="142"/>
                    <a:pt x="378" y="142"/>
                    <a:pt x="378" y="142"/>
                  </a:cubicBezTo>
                  <a:cubicBezTo>
                    <a:pt x="369" y="108"/>
                    <a:pt x="359" y="74"/>
                    <a:pt x="350" y="41"/>
                  </a:cubicBezTo>
                  <a:cubicBezTo>
                    <a:pt x="345" y="41"/>
                    <a:pt x="341" y="41"/>
                    <a:pt x="336" y="41"/>
                  </a:cubicBezTo>
                  <a:cubicBezTo>
                    <a:pt x="326" y="74"/>
                    <a:pt x="317" y="107"/>
                    <a:pt x="307" y="141"/>
                  </a:cubicBezTo>
                  <a:cubicBezTo>
                    <a:pt x="307" y="141"/>
                    <a:pt x="307" y="141"/>
                    <a:pt x="307" y="141"/>
                  </a:cubicBezTo>
                  <a:cubicBezTo>
                    <a:pt x="307" y="141"/>
                    <a:pt x="307" y="141"/>
                    <a:pt x="307" y="141"/>
                  </a:cubicBezTo>
                  <a:cubicBezTo>
                    <a:pt x="307" y="141"/>
                    <a:pt x="307" y="141"/>
                    <a:pt x="306" y="141"/>
                  </a:cubicBezTo>
                  <a:cubicBezTo>
                    <a:pt x="297" y="108"/>
                    <a:pt x="288" y="74"/>
                    <a:pt x="278" y="40"/>
                  </a:cubicBezTo>
                  <a:cubicBezTo>
                    <a:pt x="273" y="40"/>
                    <a:pt x="268" y="40"/>
                    <a:pt x="263" y="40"/>
                  </a:cubicBezTo>
                  <a:cubicBezTo>
                    <a:pt x="275" y="81"/>
                    <a:pt x="286" y="121"/>
                    <a:pt x="298" y="162"/>
                  </a:cubicBezTo>
                  <a:cubicBezTo>
                    <a:pt x="304" y="162"/>
                    <a:pt x="309" y="162"/>
                    <a:pt x="315" y="162"/>
                  </a:cubicBezTo>
                  <a:cubicBezTo>
                    <a:pt x="324" y="130"/>
                    <a:pt x="333" y="98"/>
                    <a:pt x="342" y="66"/>
                  </a:cubicBezTo>
                  <a:cubicBezTo>
                    <a:pt x="342" y="66"/>
                    <a:pt x="342" y="66"/>
                    <a:pt x="343" y="66"/>
                  </a:cubicBezTo>
                  <a:close/>
                  <a:moveTo>
                    <a:pt x="1849" y="106"/>
                  </a:moveTo>
                  <a:cubicBezTo>
                    <a:pt x="1862" y="102"/>
                    <a:pt x="1870" y="94"/>
                    <a:pt x="1873" y="81"/>
                  </a:cubicBezTo>
                  <a:cubicBezTo>
                    <a:pt x="1874" y="77"/>
                    <a:pt x="1874" y="73"/>
                    <a:pt x="1873" y="69"/>
                  </a:cubicBezTo>
                  <a:cubicBezTo>
                    <a:pt x="1873" y="58"/>
                    <a:pt x="1867" y="50"/>
                    <a:pt x="1857" y="44"/>
                  </a:cubicBezTo>
                  <a:cubicBezTo>
                    <a:pt x="1852" y="42"/>
                    <a:pt x="1846" y="40"/>
                    <a:pt x="1840" y="40"/>
                  </a:cubicBezTo>
                  <a:cubicBezTo>
                    <a:pt x="1827" y="40"/>
                    <a:pt x="1815" y="40"/>
                    <a:pt x="1802" y="40"/>
                  </a:cubicBezTo>
                  <a:cubicBezTo>
                    <a:pt x="1801" y="40"/>
                    <a:pt x="1801" y="40"/>
                    <a:pt x="1800" y="40"/>
                  </a:cubicBezTo>
                  <a:cubicBezTo>
                    <a:pt x="1800" y="43"/>
                    <a:pt x="1800" y="160"/>
                    <a:pt x="1801" y="162"/>
                  </a:cubicBezTo>
                  <a:cubicBezTo>
                    <a:pt x="1805" y="162"/>
                    <a:pt x="1813" y="162"/>
                    <a:pt x="1815" y="162"/>
                  </a:cubicBezTo>
                  <a:cubicBezTo>
                    <a:pt x="1815" y="145"/>
                    <a:pt x="1815" y="127"/>
                    <a:pt x="1815" y="110"/>
                  </a:cubicBezTo>
                  <a:cubicBezTo>
                    <a:pt x="1819" y="110"/>
                    <a:pt x="1822" y="110"/>
                    <a:pt x="1826" y="110"/>
                  </a:cubicBezTo>
                  <a:cubicBezTo>
                    <a:pt x="1832" y="110"/>
                    <a:pt x="1837" y="112"/>
                    <a:pt x="1840" y="117"/>
                  </a:cubicBezTo>
                  <a:cubicBezTo>
                    <a:pt x="1843" y="120"/>
                    <a:pt x="1844" y="122"/>
                    <a:pt x="1845" y="126"/>
                  </a:cubicBezTo>
                  <a:cubicBezTo>
                    <a:pt x="1850" y="137"/>
                    <a:pt x="1855" y="148"/>
                    <a:pt x="1860" y="160"/>
                  </a:cubicBezTo>
                  <a:cubicBezTo>
                    <a:pt x="1861" y="160"/>
                    <a:pt x="1861" y="161"/>
                    <a:pt x="1861" y="162"/>
                  </a:cubicBezTo>
                  <a:cubicBezTo>
                    <a:pt x="1867" y="162"/>
                    <a:pt x="1873" y="162"/>
                    <a:pt x="1878" y="162"/>
                  </a:cubicBezTo>
                  <a:cubicBezTo>
                    <a:pt x="1878" y="161"/>
                    <a:pt x="1878" y="160"/>
                    <a:pt x="1877" y="160"/>
                  </a:cubicBezTo>
                  <a:cubicBezTo>
                    <a:pt x="1874" y="153"/>
                    <a:pt x="1871" y="147"/>
                    <a:pt x="1868" y="141"/>
                  </a:cubicBezTo>
                  <a:cubicBezTo>
                    <a:pt x="1865" y="134"/>
                    <a:pt x="1862" y="126"/>
                    <a:pt x="1858" y="119"/>
                  </a:cubicBezTo>
                  <a:cubicBezTo>
                    <a:pt x="1856" y="114"/>
                    <a:pt x="1852" y="109"/>
                    <a:pt x="1846" y="107"/>
                  </a:cubicBezTo>
                  <a:cubicBezTo>
                    <a:pt x="1848" y="106"/>
                    <a:pt x="1849" y="106"/>
                    <a:pt x="1849" y="106"/>
                  </a:cubicBezTo>
                  <a:close/>
                  <a:moveTo>
                    <a:pt x="1816" y="53"/>
                  </a:moveTo>
                  <a:cubicBezTo>
                    <a:pt x="1823" y="53"/>
                    <a:pt x="1831" y="53"/>
                    <a:pt x="1838" y="53"/>
                  </a:cubicBezTo>
                  <a:cubicBezTo>
                    <a:pt x="1841" y="54"/>
                    <a:pt x="1843" y="54"/>
                    <a:pt x="1846" y="55"/>
                  </a:cubicBezTo>
                  <a:cubicBezTo>
                    <a:pt x="1853" y="57"/>
                    <a:pt x="1857" y="62"/>
                    <a:pt x="1858" y="70"/>
                  </a:cubicBezTo>
                  <a:cubicBezTo>
                    <a:pt x="1860" y="81"/>
                    <a:pt x="1856" y="89"/>
                    <a:pt x="1847" y="94"/>
                  </a:cubicBezTo>
                  <a:cubicBezTo>
                    <a:pt x="1844" y="96"/>
                    <a:pt x="1840" y="97"/>
                    <a:pt x="1837" y="97"/>
                  </a:cubicBezTo>
                  <a:cubicBezTo>
                    <a:pt x="1830" y="97"/>
                    <a:pt x="1823" y="97"/>
                    <a:pt x="1816" y="97"/>
                  </a:cubicBezTo>
                  <a:cubicBezTo>
                    <a:pt x="1815" y="97"/>
                    <a:pt x="1815" y="97"/>
                    <a:pt x="1815" y="97"/>
                  </a:cubicBezTo>
                  <a:cubicBezTo>
                    <a:pt x="1815" y="83"/>
                    <a:pt x="1815" y="68"/>
                    <a:pt x="1815" y="53"/>
                  </a:cubicBezTo>
                  <a:cubicBezTo>
                    <a:pt x="1815" y="53"/>
                    <a:pt x="1815" y="53"/>
                    <a:pt x="1816" y="53"/>
                  </a:cubicBezTo>
                  <a:close/>
                  <a:moveTo>
                    <a:pt x="804" y="95"/>
                  </a:moveTo>
                  <a:cubicBezTo>
                    <a:pt x="804" y="95"/>
                    <a:pt x="805" y="95"/>
                    <a:pt x="805" y="95"/>
                  </a:cubicBezTo>
                  <a:cubicBezTo>
                    <a:pt x="811" y="117"/>
                    <a:pt x="818" y="140"/>
                    <a:pt x="824" y="162"/>
                  </a:cubicBezTo>
                  <a:cubicBezTo>
                    <a:pt x="829" y="162"/>
                    <a:pt x="834" y="162"/>
                    <a:pt x="839" y="162"/>
                  </a:cubicBezTo>
                  <a:cubicBezTo>
                    <a:pt x="847" y="133"/>
                    <a:pt x="856" y="104"/>
                    <a:pt x="865" y="75"/>
                  </a:cubicBezTo>
                  <a:cubicBezTo>
                    <a:pt x="860" y="75"/>
                    <a:pt x="855" y="75"/>
                    <a:pt x="851" y="75"/>
                  </a:cubicBezTo>
                  <a:cubicBezTo>
                    <a:pt x="849" y="81"/>
                    <a:pt x="848" y="87"/>
                    <a:pt x="846" y="93"/>
                  </a:cubicBezTo>
                  <a:cubicBezTo>
                    <a:pt x="844" y="99"/>
                    <a:pt x="843" y="104"/>
                    <a:pt x="841" y="110"/>
                  </a:cubicBezTo>
                  <a:cubicBezTo>
                    <a:pt x="840" y="116"/>
                    <a:pt x="838" y="122"/>
                    <a:pt x="837" y="128"/>
                  </a:cubicBezTo>
                  <a:cubicBezTo>
                    <a:pt x="835" y="133"/>
                    <a:pt x="834" y="139"/>
                    <a:pt x="832" y="145"/>
                  </a:cubicBezTo>
                  <a:cubicBezTo>
                    <a:pt x="832" y="145"/>
                    <a:pt x="831" y="145"/>
                    <a:pt x="831" y="145"/>
                  </a:cubicBezTo>
                  <a:cubicBezTo>
                    <a:pt x="825" y="122"/>
                    <a:pt x="818" y="98"/>
                    <a:pt x="812" y="75"/>
                  </a:cubicBezTo>
                  <a:cubicBezTo>
                    <a:pt x="807" y="75"/>
                    <a:pt x="803" y="75"/>
                    <a:pt x="799" y="75"/>
                  </a:cubicBezTo>
                  <a:cubicBezTo>
                    <a:pt x="799" y="75"/>
                    <a:pt x="799" y="75"/>
                    <a:pt x="799" y="76"/>
                  </a:cubicBezTo>
                  <a:cubicBezTo>
                    <a:pt x="792" y="98"/>
                    <a:pt x="785" y="121"/>
                    <a:pt x="778" y="144"/>
                  </a:cubicBezTo>
                  <a:cubicBezTo>
                    <a:pt x="778" y="144"/>
                    <a:pt x="778" y="144"/>
                    <a:pt x="778" y="144"/>
                  </a:cubicBezTo>
                  <a:cubicBezTo>
                    <a:pt x="778" y="145"/>
                    <a:pt x="778" y="145"/>
                    <a:pt x="778" y="145"/>
                  </a:cubicBezTo>
                  <a:cubicBezTo>
                    <a:pt x="778" y="145"/>
                    <a:pt x="777" y="145"/>
                    <a:pt x="777" y="145"/>
                  </a:cubicBezTo>
                  <a:cubicBezTo>
                    <a:pt x="777" y="145"/>
                    <a:pt x="777" y="145"/>
                    <a:pt x="777" y="145"/>
                  </a:cubicBezTo>
                  <a:cubicBezTo>
                    <a:pt x="771" y="122"/>
                    <a:pt x="764" y="98"/>
                    <a:pt x="758" y="75"/>
                  </a:cubicBezTo>
                  <a:cubicBezTo>
                    <a:pt x="753" y="75"/>
                    <a:pt x="748" y="75"/>
                    <a:pt x="743" y="75"/>
                  </a:cubicBezTo>
                  <a:cubicBezTo>
                    <a:pt x="752" y="104"/>
                    <a:pt x="761" y="133"/>
                    <a:pt x="769" y="162"/>
                  </a:cubicBezTo>
                  <a:cubicBezTo>
                    <a:pt x="774" y="162"/>
                    <a:pt x="779" y="162"/>
                    <a:pt x="783" y="162"/>
                  </a:cubicBezTo>
                  <a:cubicBezTo>
                    <a:pt x="790" y="140"/>
                    <a:pt x="797" y="117"/>
                    <a:pt x="804" y="95"/>
                  </a:cubicBezTo>
                  <a:close/>
                  <a:moveTo>
                    <a:pt x="635" y="34"/>
                  </a:moveTo>
                  <a:cubicBezTo>
                    <a:pt x="632" y="33"/>
                    <a:pt x="623" y="33"/>
                    <a:pt x="621" y="34"/>
                  </a:cubicBezTo>
                  <a:cubicBezTo>
                    <a:pt x="621" y="34"/>
                    <a:pt x="621" y="34"/>
                    <a:pt x="621" y="34"/>
                  </a:cubicBezTo>
                  <a:cubicBezTo>
                    <a:pt x="621" y="34"/>
                    <a:pt x="621" y="34"/>
                    <a:pt x="621" y="34"/>
                  </a:cubicBezTo>
                  <a:cubicBezTo>
                    <a:pt x="621" y="51"/>
                    <a:pt x="621" y="68"/>
                    <a:pt x="621" y="85"/>
                  </a:cubicBezTo>
                  <a:cubicBezTo>
                    <a:pt x="621" y="85"/>
                    <a:pt x="621" y="86"/>
                    <a:pt x="621" y="86"/>
                  </a:cubicBezTo>
                  <a:cubicBezTo>
                    <a:pt x="621" y="86"/>
                    <a:pt x="621" y="86"/>
                    <a:pt x="621" y="86"/>
                  </a:cubicBezTo>
                  <a:cubicBezTo>
                    <a:pt x="621" y="86"/>
                    <a:pt x="621" y="86"/>
                    <a:pt x="621" y="86"/>
                  </a:cubicBezTo>
                  <a:cubicBezTo>
                    <a:pt x="621" y="86"/>
                    <a:pt x="621" y="86"/>
                    <a:pt x="621" y="86"/>
                  </a:cubicBezTo>
                  <a:cubicBezTo>
                    <a:pt x="620" y="86"/>
                    <a:pt x="620" y="86"/>
                    <a:pt x="620" y="86"/>
                  </a:cubicBezTo>
                  <a:cubicBezTo>
                    <a:pt x="620" y="85"/>
                    <a:pt x="619" y="85"/>
                    <a:pt x="619" y="84"/>
                  </a:cubicBezTo>
                  <a:cubicBezTo>
                    <a:pt x="615" y="79"/>
                    <a:pt x="609" y="75"/>
                    <a:pt x="602" y="74"/>
                  </a:cubicBezTo>
                  <a:cubicBezTo>
                    <a:pt x="598" y="73"/>
                    <a:pt x="594" y="73"/>
                    <a:pt x="590" y="73"/>
                  </a:cubicBezTo>
                  <a:cubicBezTo>
                    <a:pt x="582" y="74"/>
                    <a:pt x="575" y="77"/>
                    <a:pt x="570" y="82"/>
                  </a:cubicBezTo>
                  <a:cubicBezTo>
                    <a:pt x="564" y="87"/>
                    <a:pt x="560" y="94"/>
                    <a:pt x="557" y="102"/>
                  </a:cubicBezTo>
                  <a:cubicBezTo>
                    <a:pt x="555" y="111"/>
                    <a:pt x="554" y="120"/>
                    <a:pt x="555" y="129"/>
                  </a:cubicBezTo>
                  <a:cubicBezTo>
                    <a:pt x="556" y="134"/>
                    <a:pt x="557" y="140"/>
                    <a:pt x="560" y="145"/>
                  </a:cubicBezTo>
                  <a:cubicBezTo>
                    <a:pt x="564" y="153"/>
                    <a:pt x="571" y="160"/>
                    <a:pt x="580" y="163"/>
                  </a:cubicBezTo>
                  <a:cubicBezTo>
                    <a:pt x="586" y="164"/>
                    <a:pt x="592" y="165"/>
                    <a:pt x="598" y="164"/>
                  </a:cubicBezTo>
                  <a:cubicBezTo>
                    <a:pt x="607" y="162"/>
                    <a:pt x="614" y="157"/>
                    <a:pt x="619" y="149"/>
                  </a:cubicBezTo>
                  <a:cubicBezTo>
                    <a:pt x="620" y="149"/>
                    <a:pt x="620" y="148"/>
                    <a:pt x="621" y="148"/>
                  </a:cubicBezTo>
                  <a:cubicBezTo>
                    <a:pt x="621" y="148"/>
                    <a:pt x="621" y="148"/>
                    <a:pt x="621" y="148"/>
                  </a:cubicBezTo>
                  <a:cubicBezTo>
                    <a:pt x="621" y="153"/>
                    <a:pt x="621" y="157"/>
                    <a:pt x="621" y="162"/>
                  </a:cubicBezTo>
                  <a:cubicBezTo>
                    <a:pt x="626" y="162"/>
                    <a:pt x="630" y="162"/>
                    <a:pt x="635" y="162"/>
                  </a:cubicBezTo>
                  <a:cubicBezTo>
                    <a:pt x="635" y="119"/>
                    <a:pt x="635" y="76"/>
                    <a:pt x="635" y="34"/>
                  </a:cubicBezTo>
                  <a:close/>
                  <a:moveTo>
                    <a:pt x="620" y="130"/>
                  </a:moveTo>
                  <a:cubicBezTo>
                    <a:pt x="619" y="137"/>
                    <a:pt x="616" y="143"/>
                    <a:pt x="610" y="147"/>
                  </a:cubicBezTo>
                  <a:cubicBezTo>
                    <a:pt x="601" y="154"/>
                    <a:pt x="582" y="155"/>
                    <a:pt x="574" y="140"/>
                  </a:cubicBezTo>
                  <a:cubicBezTo>
                    <a:pt x="571" y="135"/>
                    <a:pt x="570" y="130"/>
                    <a:pt x="569" y="124"/>
                  </a:cubicBezTo>
                  <a:cubicBezTo>
                    <a:pt x="569" y="117"/>
                    <a:pt x="569" y="111"/>
                    <a:pt x="571" y="104"/>
                  </a:cubicBezTo>
                  <a:cubicBezTo>
                    <a:pt x="572" y="103"/>
                    <a:pt x="572" y="101"/>
                    <a:pt x="573" y="100"/>
                  </a:cubicBezTo>
                  <a:cubicBezTo>
                    <a:pt x="578" y="90"/>
                    <a:pt x="586" y="85"/>
                    <a:pt x="597" y="85"/>
                  </a:cubicBezTo>
                  <a:cubicBezTo>
                    <a:pt x="608" y="85"/>
                    <a:pt x="615" y="90"/>
                    <a:pt x="619" y="99"/>
                  </a:cubicBezTo>
                  <a:cubicBezTo>
                    <a:pt x="620" y="102"/>
                    <a:pt x="621" y="106"/>
                    <a:pt x="621" y="109"/>
                  </a:cubicBezTo>
                  <a:cubicBezTo>
                    <a:pt x="621" y="111"/>
                    <a:pt x="621" y="114"/>
                    <a:pt x="621" y="117"/>
                  </a:cubicBezTo>
                  <a:cubicBezTo>
                    <a:pt x="621" y="117"/>
                    <a:pt x="621" y="117"/>
                    <a:pt x="621" y="117"/>
                  </a:cubicBezTo>
                  <a:cubicBezTo>
                    <a:pt x="621" y="121"/>
                    <a:pt x="621" y="125"/>
                    <a:pt x="620" y="130"/>
                  </a:cubicBezTo>
                  <a:close/>
                  <a:moveTo>
                    <a:pt x="1608" y="73"/>
                  </a:moveTo>
                  <a:cubicBezTo>
                    <a:pt x="1607" y="66"/>
                    <a:pt x="1605" y="59"/>
                    <a:pt x="1601" y="53"/>
                  </a:cubicBezTo>
                  <a:cubicBezTo>
                    <a:pt x="1597" y="47"/>
                    <a:pt x="1591" y="42"/>
                    <a:pt x="1585" y="40"/>
                  </a:cubicBezTo>
                  <a:cubicBezTo>
                    <a:pt x="1582" y="39"/>
                    <a:pt x="1578" y="39"/>
                    <a:pt x="1575" y="38"/>
                  </a:cubicBezTo>
                  <a:cubicBezTo>
                    <a:pt x="1568" y="38"/>
                    <a:pt x="1562" y="39"/>
                    <a:pt x="1555" y="42"/>
                  </a:cubicBezTo>
                  <a:cubicBezTo>
                    <a:pt x="1549" y="46"/>
                    <a:pt x="1544" y="51"/>
                    <a:pt x="1540" y="58"/>
                  </a:cubicBezTo>
                  <a:cubicBezTo>
                    <a:pt x="1536" y="66"/>
                    <a:pt x="1534" y="75"/>
                    <a:pt x="1533" y="84"/>
                  </a:cubicBezTo>
                  <a:cubicBezTo>
                    <a:pt x="1531" y="96"/>
                    <a:pt x="1531" y="109"/>
                    <a:pt x="1533" y="122"/>
                  </a:cubicBezTo>
                  <a:cubicBezTo>
                    <a:pt x="1534" y="130"/>
                    <a:pt x="1535" y="137"/>
                    <a:pt x="1539" y="144"/>
                  </a:cubicBezTo>
                  <a:cubicBezTo>
                    <a:pt x="1545" y="155"/>
                    <a:pt x="1553" y="163"/>
                    <a:pt x="1566" y="164"/>
                  </a:cubicBezTo>
                  <a:cubicBezTo>
                    <a:pt x="1579" y="165"/>
                    <a:pt x="1590" y="161"/>
                    <a:pt x="1598" y="151"/>
                  </a:cubicBezTo>
                  <a:cubicBezTo>
                    <a:pt x="1602" y="145"/>
                    <a:pt x="1605" y="138"/>
                    <a:pt x="1607" y="131"/>
                  </a:cubicBezTo>
                  <a:cubicBezTo>
                    <a:pt x="1610" y="121"/>
                    <a:pt x="1611" y="111"/>
                    <a:pt x="1611" y="100"/>
                  </a:cubicBezTo>
                  <a:cubicBezTo>
                    <a:pt x="1611" y="91"/>
                    <a:pt x="1610" y="82"/>
                    <a:pt x="1608" y="73"/>
                  </a:cubicBezTo>
                  <a:close/>
                  <a:moveTo>
                    <a:pt x="1594" y="129"/>
                  </a:moveTo>
                  <a:cubicBezTo>
                    <a:pt x="1593" y="134"/>
                    <a:pt x="1591" y="138"/>
                    <a:pt x="1589" y="142"/>
                  </a:cubicBezTo>
                  <a:cubicBezTo>
                    <a:pt x="1585" y="147"/>
                    <a:pt x="1581" y="151"/>
                    <a:pt x="1575" y="152"/>
                  </a:cubicBezTo>
                  <a:cubicBezTo>
                    <a:pt x="1567" y="153"/>
                    <a:pt x="1560" y="151"/>
                    <a:pt x="1555" y="144"/>
                  </a:cubicBezTo>
                  <a:cubicBezTo>
                    <a:pt x="1551" y="140"/>
                    <a:pt x="1550" y="135"/>
                    <a:pt x="1548" y="129"/>
                  </a:cubicBezTo>
                  <a:cubicBezTo>
                    <a:pt x="1547" y="122"/>
                    <a:pt x="1546" y="115"/>
                    <a:pt x="1546" y="107"/>
                  </a:cubicBezTo>
                  <a:cubicBezTo>
                    <a:pt x="1546" y="97"/>
                    <a:pt x="1546" y="87"/>
                    <a:pt x="1548" y="77"/>
                  </a:cubicBezTo>
                  <a:cubicBezTo>
                    <a:pt x="1549" y="72"/>
                    <a:pt x="1550" y="67"/>
                    <a:pt x="1552" y="63"/>
                  </a:cubicBezTo>
                  <a:cubicBezTo>
                    <a:pt x="1554" y="61"/>
                    <a:pt x="1555" y="59"/>
                    <a:pt x="1556" y="57"/>
                  </a:cubicBezTo>
                  <a:cubicBezTo>
                    <a:pt x="1563" y="48"/>
                    <a:pt x="1580" y="47"/>
                    <a:pt x="1588" y="59"/>
                  </a:cubicBezTo>
                  <a:cubicBezTo>
                    <a:pt x="1591" y="64"/>
                    <a:pt x="1593" y="70"/>
                    <a:pt x="1594" y="76"/>
                  </a:cubicBezTo>
                  <a:cubicBezTo>
                    <a:pt x="1596" y="84"/>
                    <a:pt x="1596" y="92"/>
                    <a:pt x="1596" y="104"/>
                  </a:cubicBezTo>
                  <a:cubicBezTo>
                    <a:pt x="1596" y="111"/>
                    <a:pt x="1596" y="120"/>
                    <a:pt x="1594" y="129"/>
                  </a:cubicBezTo>
                  <a:close/>
                  <a:moveTo>
                    <a:pt x="1125" y="114"/>
                  </a:moveTo>
                  <a:cubicBezTo>
                    <a:pt x="1125" y="107"/>
                    <a:pt x="1124" y="100"/>
                    <a:pt x="1121" y="93"/>
                  </a:cubicBezTo>
                  <a:cubicBezTo>
                    <a:pt x="1117" y="85"/>
                    <a:pt x="1112" y="78"/>
                    <a:pt x="1103" y="75"/>
                  </a:cubicBezTo>
                  <a:cubicBezTo>
                    <a:pt x="1096" y="73"/>
                    <a:pt x="1090" y="72"/>
                    <a:pt x="1083" y="73"/>
                  </a:cubicBezTo>
                  <a:cubicBezTo>
                    <a:pt x="1070" y="76"/>
                    <a:pt x="1061" y="83"/>
                    <a:pt x="1055" y="94"/>
                  </a:cubicBezTo>
                  <a:cubicBezTo>
                    <a:pt x="1050" y="103"/>
                    <a:pt x="1049" y="114"/>
                    <a:pt x="1049" y="124"/>
                  </a:cubicBezTo>
                  <a:cubicBezTo>
                    <a:pt x="1050" y="131"/>
                    <a:pt x="1051" y="137"/>
                    <a:pt x="1054" y="143"/>
                  </a:cubicBezTo>
                  <a:cubicBezTo>
                    <a:pt x="1059" y="154"/>
                    <a:pt x="1068" y="161"/>
                    <a:pt x="1080" y="163"/>
                  </a:cubicBezTo>
                  <a:cubicBezTo>
                    <a:pt x="1088" y="165"/>
                    <a:pt x="1096" y="164"/>
                    <a:pt x="1103" y="163"/>
                  </a:cubicBezTo>
                  <a:cubicBezTo>
                    <a:pt x="1109" y="161"/>
                    <a:pt x="1113" y="160"/>
                    <a:pt x="1118" y="157"/>
                  </a:cubicBezTo>
                  <a:cubicBezTo>
                    <a:pt x="1119" y="156"/>
                    <a:pt x="1119" y="155"/>
                    <a:pt x="1119" y="154"/>
                  </a:cubicBezTo>
                  <a:cubicBezTo>
                    <a:pt x="1119" y="151"/>
                    <a:pt x="1119" y="148"/>
                    <a:pt x="1119" y="144"/>
                  </a:cubicBezTo>
                  <a:cubicBezTo>
                    <a:pt x="1119" y="144"/>
                    <a:pt x="1119" y="144"/>
                    <a:pt x="1119" y="143"/>
                  </a:cubicBezTo>
                  <a:cubicBezTo>
                    <a:pt x="1119" y="143"/>
                    <a:pt x="1118" y="143"/>
                    <a:pt x="1118" y="143"/>
                  </a:cubicBezTo>
                  <a:cubicBezTo>
                    <a:pt x="1118" y="144"/>
                    <a:pt x="1117" y="144"/>
                    <a:pt x="1116" y="145"/>
                  </a:cubicBezTo>
                  <a:cubicBezTo>
                    <a:pt x="1107" y="151"/>
                    <a:pt x="1096" y="153"/>
                    <a:pt x="1085" y="152"/>
                  </a:cubicBezTo>
                  <a:cubicBezTo>
                    <a:pt x="1076" y="150"/>
                    <a:pt x="1070" y="145"/>
                    <a:pt x="1066" y="137"/>
                  </a:cubicBezTo>
                  <a:cubicBezTo>
                    <a:pt x="1065" y="134"/>
                    <a:pt x="1065" y="130"/>
                    <a:pt x="1064" y="127"/>
                  </a:cubicBezTo>
                  <a:cubicBezTo>
                    <a:pt x="1064" y="126"/>
                    <a:pt x="1064" y="124"/>
                    <a:pt x="1064" y="122"/>
                  </a:cubicBezTo>
                  <a:cubicBezTo>
                    <a:pt x="1084" y="122"/>
                    <a:pt x="1104" y="122"/>
                    <a:pt x="1125" y="122"/>
                  </a:cubicBezTo>
                  <a:cubicBezTo>
                    <a:pt x="1125" y="119"/>
                    <a:pt x="1125" y="117"/>
                    <a:pt x="1125" y="114"/>
                  </a:cubicBezTo>
                  <a:close/>
                  <a:moveTo>
                    <a:pt x="1064" y="110"/>
                  </a:moveTo>
                  <a:cubicBezTo>
                    <a:pt x="1064" y="108"/>
                    <a:pt x="1064" y="107"/>
                    <a:pt x="1065" y="105"/>
                  </a:cubicBezTo>
                  <a:cubicBezTo>
                    <a:pt x="1066" y="100"/>
                    <a:pt x="1069" y="94"/>
                    <a:pt x="1074" y="90"/>
                  </a:cubicBezTo>
                  <a:cubicBezTo>
                    <a:pt x="1081" y="84"/>
                    <a:pt x="1089" y="84"/>
                    <a:pt x="1098" y="86"/>
                  </a:cubicBezTo>
                  <a:cubicBezTo>
                    <a:pt x="1101" y="88"/>
                    <a:pt x="1103" y="90"/>
                    <a:pt x="1105" y="92"/>
                  </a:cubicBezTo>
                  <a:cubicBezTo>
                    <a:pt x="1109" y="98"/>
                    <a:pt x="1110" y="104"/>
                    <a:pt x="1111" y="110"/>
                  </a:cubicBezTo>
                  <a:cubicBezTo>
                    <a:pt x="1095" y="110"/>
                    <a:pt x="1080" y="110"/>
                    <a:pt x="1064" y="110"/>
                  </a:cubicBezTo>
                  <a:close/>
                  <a:moveTo>
                    <a:pt x="1351" y="109"/>
                  </a:moveTo>
                  <a:cubicBezTo>
                    <a:pt x="1351" y="103"/>
                    <a:pt x="1349" y="97"/>
                    <a:pt x="1347" y="92"/>
                  </a:cubicBezTo>
                  <a:cubicBezTo>
                    <a:pt x="1343" y="84"/>
                    <a:pt x="1337" y="78"/>
                    <a:pt x="1329" y="75"/>
                  </a:cubicBezTo>
                  <a:cubicBezTo>
                    <a:pt x="1323" y="73"/>
                    <a:pt x="1316" y="72"/>
                    <a:pt x="1309" y="74"/>
                  </a:cubicBezTo>
                  <a:cubicBezTo>
                    <a:pt x="1297" y="76"/>
                    <a:pt x="1288" y="82"/>
                    <a:pt x="1282" y="93"/>
                  </a:cubicBezTo>
                  <a:cubicBezTo>
                    <a:pt x="1273" y="108"/>
                    <a:pt x="1274" y="130"/>
                    <a:pt x="1280" y="143"/>
                  </a:cubicBezTo>
                  <a:cubicBezTo>
                    <a:pt x="1285" y="154"/>
                    <a:pt x="1294" y="161"/>
                    <a:pt x="1306" y="163"/>
                  </a:cubicBezTo>
                  <a:cubicBezTo>
                    <a:pt x="1314" y="165"/>
                    <a:pt x="1322" y="164"/>
                    <a:pt x="1330" y="163"/>
                  </a:cubicBezTo>
                  <a:cubicBezTo>
                    <a:pt x="1334" y="162"/>
                    <a:pt x="1339" y="160"/>
                    <a:pt x="1343" y="157"/>
                  </a:cubicBezTo>
                  <a:cubicBezTo>
                    <a:pt x="1345" y="156"/>
                    <a:pt x="1345" y="155"/>
                    <a:pt x="1345" y="153"/>
                  </a:cubicBezTo>
                  <a:cubicBezTo>
                    <a:pt x="1345" y="151"/>
                    <a:pt x="1345" y="148"/>
                    <a:pt x="1345" y="145"/>
                  </a:cubicBezTo>
                  <a:cubicBezTo>
                    <a:pt x="1345" y="144"/>
                    <a:pt x="1345" y="144"/>
                    <a:pt x="1345" y="143"/>
                  </a:cubicBezTo>
                  <a:cubicBezTo>
                    <a:pt x="1344" y="143"/>
                    <a:pt x="1343" y="144"/>
                    <a:pt x="1343" y="144"/>
                  </a:cubicBezTo>
                  <a:cubicBezTo>
                    <a:pt x="1333" y="151"/>
                    <a:pt x="1323" y="154"/>
                    <a:pt x="1311" y="152"/>
                  </a:cubicBezTo>
                  <a:cubicBezTo>
                    <a:pt x="1303" y="150"/>
                    <a:pt x="1296" y="145"/>
                    <a:pt x="1293" y="137"/>
                  </a:cubicBezTo>
                  <a:cubicBezTo>
                    <a:pt x="1292" y="134"/>
                    <a:pt x="1291" y="131"/>
                    <a:pt x="1290" y="128"/>
                  </a:cubicBezTo>
                  <a:cubicBezTo>
                    <a:pt x="1290" y="126"/>
                    <a:pt x="1290" y="124"/>
                    <a:pt x="1290" y="122"/>
                  </a:cubicBezTo>
                  <a:cubicBezTo>
                    <a:pt x="1310" y="122"/>
                    <a:pt x="1331" y="122"/>
                    <a:pt x="1351" y="122"/>
                  </a:cubicBezTo>
                  <a:cubicBezTo>
                    <a:pt x="1351" y="118"/>
                    <a:pt x="1351" y="113"/>
                    <a:pt x="1351" y="109"/>
                  </a:cubicBezTo>
                  <a:close/>
                  <a:moveTo>
                    <a:pt x="1290" y="110"/>
                  </a:moveTo>
                  <a:cubicBezTo>
                    <a:pt x="1291" y="108"/>
                    <a:pt x="1291" y="106"/>
                    <a:pt x="1291" y="105"/>
                  </a:cubicBezTo>
                  <a:cubicBezTo>
                    <a:pt x="1293" y="99"/>
                    <a:pt x="1296" y="94"/>
                    <a:pt x="1301" y="90"/>
                  </a:cubicBezTo>
                  <a:cubicBezTo>
                    <a:pt x="1308" y="84"/>
                    <a:pt x="1316" y="84"/>
                    <a:pt x="1324" y="86"/>
                  </a:cubicBezTo>
                  <a:cubicBezTo>
                    <a:pt x="1328" y="88"/>
                    <a:pt x="1331" y="91"/>
                    <a:pt x="1333" y="94"/>
                  </a:cubicBezTo>
                  <a:cubicBezTo>
                    <a:pt x="1336" y="98"/>
                    <a:pt x="1337" y="105"/>
                    <a:pt x="1337" y="110"/>
                  </a:cubicBezTo>
                  <a:cubicBezTo>
                    <a:pt x="1321" y="110"/>
                    <a:pt x="1306" y="110"/>
                    <a:pt x="1290" y="110"/>
                  </a:cubicBezTo>
                  <a:close/>
                  <a:moveTo>
                    <a:pt x="1033" y="56"/>
                  </a:moveTo>
                  <a:cubicBezTo>
                    <a:pt x="1033" y="53"/>
                    <a:pt x="1033" y="51"/>
                    <a:pt x="1033" y="48"/>
                  </a:cubicBezTo>
                  <a:cubicBezTo>
                    <a:pt x="1033" y="42"/>
                    <a:pt x="1033" y="42"/>
                    <a:pt x="1027" y="40"/>
                  </a:cubicBezTo>
                  <a:cubicBezTo>
                    <a:pt x="1022" y="39"/>
                    <a:pt x="1017" y="38"/>
                    <a:pt x="1012" y="38"/>
                  </a:cubicBezTo>
                  <a:cubicBezTo>
                    <a:pt x="1005" y="38"/>
                    <a:pt x="999" y="38"/>
                    <a:pt x="992" y="41"/>
                  </a:cubicBezTo>
                  <a:cubicBezTo>
                    <a:pt x="980" y="45"/>
                    <a:pt x="972" y="53"/>
                    <a:pt x="971" y="66"/>
                  </a:cubicBezTo>
                  <a:cubicBezTo>
                    <a:pt x="969" y="76"/>
                    <a:pt x="972" y="85"/>
                    <a:pt x="979" y="93"/>
                  </a:cubicBezTo>
                  <a:cubicBezTo>
                    <a:pt x="984" y="97"/>
                    <a:pt x="989" y="101"/>
                    <a:pt x="995" y="104"/>
                  </a:cubicBezTo>
                  <a:cubicBezTo>
                    <a:pt x="999" y="107"/>
                    <a:pt x="1003" y="109"/>
                    <a:pt x="1007" y="112"/>
                  </a:cubicBezTo>
                  <a:cubicBezTo>
                    <a:pt x="1010" y="114"/>
                    <a:pt x="1013" y="116"/>
                    <a:pt x="1016" y="118"/>
                  </a:cubicBezTo>
                  <a:cubicBezTo>
                    <a:pt x="1020" y="122"/>
                    <a:pt x="1022" y="126"/>
                    <a:pt x="1023" y="131"/>
                  </a:cubicBezTo>
                  <a:cubicBezTo>
                    <a:pt x="1023" y="141"/>
                    <a:pt x="1019" y="147"/>
                    <a:pt x="1010" y="150"/>
                  </a:cubicBezTo>
                  <a:cubicBezTo>
                    <a:pt x="1008" y="150"/>
                    <a:pt x="1005" y="151"/>
                    <a:pt x="1002" y="151"/>
                  </a:cubicBezTo>
                  <a:cubicBezTo>
                    <a:pt x="991" y="152"/>
                    <a:pt x="981" y="148"/>
                    <a:pt x="972" y="142"/>
                  </a:cubicBezTo>
                  <a:cubicBezTo>
                    <a:pt x="971" y="141"/>
                    <a:pt x="971" y="141"/>
                    <a:pt x="970" y="141"/>
                  </a:cubicBezTo>
                  <a:cubicBezTo>
                    <a:pt x="970" y="142"/>
                    <a:pt x="970" y="142"/>
                    <a:pt x="970" y="143"/>
                  </a:cubicBezTo>
                  <a:cubicBezTo>
                    <a:pt x="970" y="146"/>
                    <a:pt x="970" y="150"/>
                    <a:pt x="970" y="153"/>
                  </a:cubicBezTo>
                  <a:cubicBezTo>
                    <a:pt x="970" y="158"/>
                    <a:pt x="970" y="158"/>
                    <a:pt x="974" y="159"/>
                  </a:cubicBezTo>
                  <a:cubicBezTo>
                    <a:pt x="981" y="162"/>
                    <a:pt x="988" y="164"/>
                    <a:pt x="995" y="164"/>
                  </a:cubicBezTo>
                  <a:cubicBezTo>
                    <a:pt x="1003" y="164"/>
                    <a:pt x="1011" y="164"/>
                    <a:pt x="1018" y="161"/>
                  </a:cubicBezTo>
                  <a:cubicBezTo>
                    <a:pt x="1035" y="154"/>
                    <a:pt x="1040" y="140"/>
                    <a:pt x="1037" y="125"/>
                  </a:cubicBezTo>
                  <a:cubicBezTo>
                    <a:pt x="1036" y="118"/>
                    <a:pt x="1032" y="113"/>
                    <a:pt x="1027" y="108"/>
                  </a:cubicBezTo>
                  <a:cubicBezTo>
                    <a:pt x="1022" y="104"/>
                    <a:pt x="1017" y="100"/>
                    <a:pt x="1011" y="97"/>
                  </a:cubicBezTo>
                  <a:cubicBezTo>
                    <a:pt x="1007" y="95"/>
                    <a:pt x="1003" y="92"/>
                    <a:pt x="999" y="90"/>
                  </a:cubicBezTo>
                  <a:cubicBezTo>
                    <a:pt x="996" y="88"/>
                    <a:pt x="994" y="87"/>
                    <a:pt x="992" y="85"/>
                  </a:cubicBezTo>
                  <a:cubicBezTo>
                    <a:pt x="988" y="82"/>
                    <a:pt x="986" y="78"/>
                    <a:pt x="985" y="73"/>
                  </a:cubicBezTo>
                  <a:cubicBezTo>
                    <a:pt x="984" y="64"/>
                    <a:pt x="988" y="57"/>
                    <a:pt x="996" y="53"/>
                  </a:cubicBezTo>
                  <a:cubicBezTo>
                    <a:pt x="999" y="52"/>
                    <a:pt x="1002" y="51"/>
                    <a:pt x="1005" y="51"/>
                  </a:cubicBezTo>
                  <a:cubicBezTo>
                    <a:pt x="1015" y="51"/>
                    <a:pt x="1024" y="52"/>
                    <a:pt x="1032" y="58"/>
                  </a:cubicBezTo>
                  <a:cubicBezTo>
                    <a:pt x="1032" y="58"/>
                    <a:pt x="1032" y="58"/>
                    <a:pt x="1033" y="58"/>
                  </a:cubicBezTo>
                  <a:cubicBezTo>
                    <a:pt x="1033" y="58"/>
                    <a:pt x="1033" y="57"/>
                    <a:pt x="1033" y="56"/>
                  </a:cubicBezTo>
                  <a:close/>
                  <a:moveTo>
                    <a:pt x="736" y="100"/>
                  </a:moveTo>
                  <a:cubicBezTo>
                    <a:pt x="731" y="87"/>
                    <a:pt x="723" y="78"/>
                    <a:pt x="709" y="74"/>
                  </a:cubicBezTo>
                  <a:cubicBezTo>
                    <a:pt x="702" y="72"/>
                    <a:pt x="694" y="72"/>
                    <a:pt x="687" y="74"/>
                  </a:cubicBezTo>
                  <a:cubicBezTo>
                    <a:pt x="673" y="76"/>
                    <a:pt x="662" y="84"/>
                    <a:pt x="657" y="98"/>
                  </a:cubicBezTo>
                  <a:cubicBezTo>
                    <a:pt x="651" y="111"/>
                    <a:pt x="651" y="124"/>
                    <a:pt x="656" y="138"/>
                  </a:cubicBezTo>
                  <a:cubicBezTo>
                    <a:pt x="660" y="149"/>
                    <a:pt x="668" y="158"/>
                    <a:pt x="680" y="162"/>
                  </a:cubicBezTo>
                  <a:cubicBezTo>
                    <a:pt x="687" y="164"/>
                    <a:pt x="694" y="165"/>
                    <a:pt x="701" y="164"/>
                  </a:cubicBezTo>
                  <a:cubicBezTo>
                    <a:pt x="717" y="162"/>
                    <a:pt x="728" y="154"/>
                    <a:pt x="734" y="139"/>
                  </a:cubicBezTo>
                  <a:cubicBezTo>
                    <a:pt x="737" y="133"/>
                    <a:pt x="738" y="125"/>
                    <a:pt x="738" y="118"/>
                  </a:cubicBezTo>
                  <a:cubicBezTo>
                    <a:pt x="738" y="112"/>
                    <a:pt x="737" y="105"/>
                    <a:pt x="736" y="100"/>
                  </a:cubicBezTo>
                  <a:close/>
                  <a:moveTo>
                    <a:pt x="670" y="103"/>
                  </a:moveTo>
                  <a:cubicBezTo>
                    <a:pt x="674" y="92"/>
                    <a:pt x="683" y="85"/>
                    <a:pt x="694" y="85"/>
                  </a:cubicBezTo>
                  <a:cubicBezTo>
                    <a:pt x="698" y="85"/>
                    <a:pt x="701" y="85"/>
                    <a:pt x="704" y="86"/>
                  </a:cubicBezTo>
                  <a:cubicBezTo>
                    <a:pt x="711" y="88"/>
                    <a:pt x="717" y="92"/>
                    <a:pt x="720" y="99"/>
                  </a:cubicBezTo>
                  <a:cubicBezTo>
                    <a:pt x="723" y="104"/>
                    <a:pt x="723" y="109"/>
                    <a:pt x="724" y="114"/>
                  </a:cubicBezTo>
                  <a:cubicBezTo>
                    <a:pt x="724" y="120"/>
                    <a:pt x="724" y="127"/>
                    <a:pt x="722" y="133"/>
                  </a:cubicBezTo>
                  <a:cubicBezTo>
                    <a:pt x="722" y="134"/>
                    <a:pt x="721" y="136"/>
                    <a:pt x="721" y="137"/>
                  </a:cubicBezTo>
                  <a:cubicBezTo>
                    <a:pt x="717" y="146"/>
                    <a:pt x="709" y="151"/>
                    <a:pt x="700" y="152"/>
                  </a:cubicBezTo>
                  <a:cubicBezTo>
                    <a:pt x="695" y="152"/>
                    <a:pt x="691" y="152"/>
                    <a:pt x="687" y="151"/>
                  </a:cubicBezTo>
                  <a:cubicBezTo>
                    <a:pt x="677" y="148"/>
                    <a:pt x="672" y="141"/>
                    <a:pt x="669" y="132"/>
                  </a:cubicBezTo>
                  <a:cubicBezTo>
                    <a:pt x="668" y="130"/>
                    <a:pt x="668" y="128"/>
                    <a:pt x="667" y="126"/>
                  </a:cubicBezTo>
                  <a:cubicBezTo>
                    <a:pt x="667" y="124"/>
                    <a:pt x="667" y="121"/>
                    <a:pt x="667" y="120"/>
                  </a:cubicBezTo>
                  <a:cubicBezTo>
                    <a:pt x="667" y="113"/>
                    <a:pt x="668" y="108"/>
                    <a:pt x="670" y="103"/>
                  </a:cubicBezTo>
                  <a:close/>
                  <a:moveTo>
                    <a:pt x="1955" y="149"/>
                  </a:moveTo>
                  <a:cubicBezTo>
                    <a:pt x="1953" y="149"/>
                    <a:pt x="1950" y="149"/>
                    <a:pt x="1948" y="149"/>
                  </a:cubicBezTo>
                  <a:cubicBezTo>
                    <a:pt x="1945" y="149"/>
                    <a:pt x="1943" y="149"/>
                    <a:pt x="1940" y="149"/>
                  </a:cubicBezTo>
                  <a:cubicBezTo>
                    <a:pt x="1938" y="149"/>
                    <a:pt x="1935" y="149"/>
                    <a:pt x="1933" y="149"/>
                  </a:cubicBezTo>
                  <a:cubicBezTo>
                    <a:pt x="1930" y="149"/>
                    <a:pt x="1928" y="149"/>
                    <a:pt x="1925" y="149"/>
                  </a:cubicBezTo>
                  <a:cubicBezTo>
                    <a:pt x="1923" y="149"/>
                    <a:pt x="1920" y="149"/>
                    <a:pt x="1918" y="149"/>
                  </a:cubicBezTo>
                  <a:cubicBezTo>
                    <a:pt x="1915" y="149"/>
                    <a:pt x="1913" y="149"/>
                    <a:pt x="1910" y="149"/>
                  </a:cubicBezTo>
                  <a:cubicBezTo>
                    <a:pt x="1908" y="149"/>
                    <a:pt x="1905" y="150"/>
                    <a:pt x="1903" y="149"/>
                  </a:cubicBezTo>
                  <a:cubicBezTo>
                    <a:pt x="1902" y="144"/>
                    <a:pt x="1904" y="139"/>
                    <a:pt x="1907" y="135"/>
                  </a:cubicBezTo>
                  <a:cubicBezTo>
                    <a:pt x="1909" y="133"/>
                    <a:pt x="1911" y="130"/>
                    <a:pt x="1913" y="128"/>
                  </a:cubicBezTo>
                  <a:cubicBezTo>
                    <a:pt x="1919" y="124"/>
                    <a:pt x="1925" y="119"/>
                    <a:pt x="1931" y="115"/>
                  </a:cubicBezTo>
                  <a:cubicBezTo>
                    <a:pt x="1936" y="111"/>
                    <a:pt x="1941" y="107"/>
                    <a:pt x="1945" y="103"/>
                  </a:cubicBezTo>
                  <a:cubicBezTo>
                    <a:pt x="1955" y="93"/>
                    <a:pt x="1959" y="81"/>
                    <a:pt x="1958" y="67"/>
                  </a:cubicBezTo>
                  <a:cubicBezTo>
                    <a:pt x="1957" y="53"/>
                    <a:pt x="1949" y="44"/>
                    <a:pt x="1936" y="40"/>
                  </a:cubicBezTo>
                  <a:cubicBezTo>
                    <a:pt x="1930" y="38"/>
                    <a:pt x="1924" y="38"/>
                    <a:pt x="1917" y="39"/>
                  </a:cubicBezTo>
                  <a:cubicBezTo>
                    <a:pt x="1908" y="39"/>
                    <a:pt x="1901" y="43"/>
                    <a:pt x="1894" y="49"/>
                  </a:cubicBezTo>
                  <a:cubicBezTo>
                    <a:pt x="1893" y="50"/>
                    <a:pt x="1893" y="50"/>
                    <a:pt x="1893" y="51"/>
                  </a:cubicBezTo>
                  <a:cubicBezTo>
                    <a:pt x="1893" y="55"/>
                    <a:pt x="1893" y="59"/>
                    <a:pt x="1893" y="63"/>
                  </a:cubicBezTo>
                  <a:cubicBezTo>
                    <a:pt x="1893" y="63"/>
                    <a:pt x="1893" y="64"/>
                    <a:pt x="1893" y="65"/>
                  </a:cubicBezTo>
                  <a:cubicBezTo>
                    <a:pt x="1894" y="64"/>
                    <a:pt x="1894" y="63"/>
                    <a:pt x="1895" y="63"/>
                  </a:cubicBezTo>
                  <a:cubicBezTo>
                    <a:pt x="1898" y="59"/>
                    <a:pt x="1902" y="56"/>
                    <a:pt x="1906" y="54"/>
                  </a:cubicBezTo>
                  <a:cubicBezTo>
                    <a:pt x="1912" y="51"/>
                    <a:pt x="1918" y="50"/>
                    <a:pt x="1924" y="50"/>
                  </a:cubicBezTo>
                  <a:cubicBezTo>
                    <a:pt x="1936" y="51"/>
                    <a:pt x="1944" y="59"/>
                    <a:pt x="1944" y="71"/>
                  </a:cubicBezTo>
                  <a:cubicBezTo>
                    <a:pt x="1944" y="81"/>
                    <a:pt x="1941" y="89"/>
                    <a:pt x="1935" y="96"/>
                  </a:cubicBezTo>
                  <a:cubicBezTo>
                    <a:pt x="1931" y="101"/>
                    <a:pt x="1926" y="104"/>
                    <a:pt x="1921" y="108"/>
                  </a:cubicBezTo>
                  <a:cubicBezTo>
                    <a:pt x="1914" y="113"/>
                    <a:pt x="1908" y="118"/>
                    <a:pt x="1902" y="124"/>
                  </a:cubicBezTo>
                  <a:cubicBezTo>
                    <a:pt x="1893" y="131"/>
                    <a:pt x="1888" y="141"/>
                    <a:pt x="1888" y="152"/>
                  </a:cubicBezTo>
                  <a:cubicBezTo>
                    <a:pt x="1888" y="155"/>
                    <a:pt x="1888" y="159"/>
                    <a:pt x="1888" y="162"/>
                  </a:cubicBezTo>
                  <a:cubicBezTo>
                    <a:pt x="1913" y="162"/>
                    <a:pt x="1938" y="162"/>
                    <a:pt x="1963" y="162"/>
                  </a:cubicBezTo>
                  <a:cubicBezTo>
                    <a:pt x="1963" y="158"/>
                    <a:pt x="1963" y="154"/>
                    <a:pt x="1963" y="149"/>
                  </a:cubicBezTo>
                  <a:cubicBezTo>
                    <a:pt x="1960" y="149"/>
                    <a:pt x="1958" y="149"/>
                    <a:pt x="1955" y="149"/>
                  </a:cubicBezTo>
                  <a:close/>
                  <a:moveTo>
                    <a:pt x="1504" y="149"/>
                  </a:moveTo>
                  <a:cubicBezTo>
                    <a:pt x="1499" y="149"/>
                    <a:pt x="1494" y="149"/>
                    <a:pt x="1489" y="149"/>
                  </a:cubicBezTo>
                  <a:cubicBezTo>
                    <a:pt x="1484" y="149"/>
                    <a:pt x="1479" y="149"/>
                    <a:pt x="1474" y="149"/>
                  </a:cubicBezTo>
                  <a:cubicBezTo>
                    <a:pt x="1469" y="149"/>
                    <a:pt x="1464" y="149"/>
                    <a:pt x="1459" y="149"/>
                  </a:cubicBezTo>
                  <a:cubicBezTo>
                    <a:pt x="1459" y="145"/>
                    <a:pt x="1460" y="140"/>
                    <a:pt x="1463" y="136"/>
                  </a:cubicBezTo>
                  <a:cubicBezTo>
                    <a:pt x="1465" y="132"/>
                    <a:pt x="1468" y="130"/>
                    <a:pt x="1471" y="127"/>
                  </a:cubicBezTo>
                  <a:cubicBezTo>
                    <a:pt x="1476" y="123"/>
                    <a:pt x="1482" y="119"/>
                    <a:pt x="1487" y="115"/>
                  </a:cubicBezTo>
                  <a:cubicBezTo>
                    <a:pt x="1491" y="112"/>
                    <a:pt x="1495" y="109"/>
                    <a:pt x="1499" y="106"/>
                  </a:cubicBezTo>
                  <a:cubicBezTo>
                    <a:pt x="1503" y="102"/>
                    <a:pt x="1506" y="98"/>
                    <a:pt x="1509" y="93"/>
                  </a:cubicBezTo>
                  <a:cubicBezTo>
                    <a:pt x="1514" y="86"/>
                    <a:pt x="1515" y="77"/>
                    <a:pt x="1515" y="69"/>
                  </a:cubicBezTo>
                  <a:cubicBezTo>
                    <a:pt x="1514" y="55"/>
                    <a:pt x="1506" y="44"/>
                    <a:pt x="1492" y="40"/>
                  </a:cubicBezTo>
                  <a:cubicBezTo>
                    <a:pt x="1486" y="38"/>
                    <a:pt x="1480" y="38"/>
                    <a:pt x="1474" y="39"/>
                  </a:cubicBezTo>
                  <a:cubicBezTo>
                    <a:pt x="1465" y="39"/>
                    <a:pt x="1457" y="43"/>
                    <a:pt x="1450" y="49"/>
                  </a:cubicBezTo>
                  <a:cubicBezTo>
                    <a:pt x="1449" y="50"/>
                    <a:pt x="1449" y="51"/>
                    <a:pt x="1449" y="52"/>
                  </a:cubicBezTo>
                  <a:cubicBezTo>
                    <a:pt x="1449" y="55"/>
                    <a:pt x="1449" y="59"/>
                    <a:pt x="1449" y="63"/>
                  </a:cubicBezTo>
                  <a:cubicBezTo>
                    <a:pt x="1449" y="63"/>
                    <a:pt x="1449" y="64"/>
                    <a:pt x="1449" y="65"/>
                  </a:cubicBezTo>
                  <a:cubicBezTo>
                    <a:pt x="1450" y="64"/>
                    <a:pt x="1450" y="63"/>
                    <a:pt x="1451" y="63"/>
                  </a:cubicBezTo>
                  <a:cubicBezTo>
                    <a:pt x="1454" y="60"/>
                    <a:pt x="1457" y="58"/>
                    <a:pt x="1460" y="56"/>
                  </a:cubicBezTo>
                  <a:cubicBezTo>
                    <a:pt x="1466" y="52"/>
                    <a:pt x="1473" y="50"/>
                    <a:pt x="1481" y="50"/>
                  </a:cubicBezTo>
                  <a:cubicBezTo>
                    <a:pt x="1491" y="51"/>
                    <a:pt x="1498" y="57"/>
                    <a:pt x="1500" y="66"/>
                  </a:cubicBezTo>
                  <a:cubicBezTo>
                    <a:pt x="1501" y="70"/>
                    <a:pt x="1501" y="74"/>
                    <a:pt x="1500" y="78"/>
                  </a:cubicBezTo>
                  <a:cubicBezTo>
                    <a:pt x="1499" y="86"/>
                    <a:pt x="1495" y="92"/>
                    <a:pt x="1490" y="98"/>
                  </a:cubicBezTo>
                  <a:cubicBezTo>
                    <a:pt x="1485" y="102"/>
                    <a:pt x="1480" y="106"/>
                    <a:pt x="1475" y="110"/>
                  </a:cubicBezTo>
                  <a:cubicBezTo>
                    <a:pt x="1468" y="115"/>
                    <a:pt x="1462" y="120"/>
                    <a:pt x="1456" y="126"/>
                  </a:cubicBezTo>
                  <a:cubicBezTo>
                    <a:pt x="1450" y="131"/>
                    <a:pt x="1446" y="138"/>
                    <a:pt x="1445" y="146"/>
                  </a:cubicBezTo>
                  <a:cubicBezTo>
                    <a:pt x="1444" y="151"/>
                    <a:pt x="1444" y="156"/>
                    <a:pt x="1444" y="162"/>
                  </a:cubicBezTo>
                  <a:cubicBezTo>
                    <a:pt x="1444" y="162"/>
                    <a:pt x="1445" y="162"/>
                    <a:pt x="1445" y="162"/>
                  </a:cubicBezTo>
                  <a:cubicBezTo>
                    <a:pt x="1469" y="162"/>
                    <a:pt x="1494" y="162"/>
                    <a:pt x="1519" y="162"/>
                  </a:cubicBezTo>
                  <a:cubicBezTo>
                    <a:pt x="1519" y="158"/>
                    <a:pt x="1519" y="154"/>
                    <a:pt x="1519" y="149"/>
                  </a:cubicBezTo>
                  <a:cubicBezTo>
                    <a:pt x="1514" y="149"/>
                    <a:pt x="1509" y="149"/>
                    <a:pt x="1504" y="149"/>
                  </a:cubicBezTo>
                  <a:close/>
                  <a:moveTo>
                    <a:pt x="1700" y="149"/>
                  </a:moveTo>
                  <a:cubicBezTo>
                    <a:pt x="1700" y="149"/>
                    <a:pt x="1700" y="148"/>
                    <a:pt x="1700" y="148"/>
                  </a:cubicBezTo>
                  <a:cubicBezTo>
                    <a:pt x="1700" y="143"/>
                    <a:pt x="1702" y="139"/>
                    <a:pt x="1705" y="135"/>
                  </a:cubicBezTo>
                  <a:cubicBezTo>
                    <a:pt x="1707" y="132"/>
                    <a:pt x="1710" y="129"/>
                    <a:pt x="1713" y="126"/>
                  </a:cubicBezTo>
                  <a:cubicBezTo>
                    <a:pt x="1718" y="123"/>
                    <a:pt x="1724" y="119"/>
                    <a:pt x="1729" y="115"/>
                  </a:cubicBezTo>
                  <a:cubicBezTo>
                    <a:pt x="1733" y="112"/>
                    <a:pt x="1738" y="108"/>
                    <a:pt x="1742" y="104"/>
                  </a:cubicBezTo>
                  <a:cubicBezTo>
                    <a:pt x="1753" y="94"/>
                    <a:pt x="1757" y="81"/>
                    <a:pt x="1756" y="67"/>
                  </a:cubicBezTo>
                  <a:cubicBezTo>
                    <a:pt x="1755" y="54"/>
                    <a:pt x="1747" y="44"/>
                    <a:pt x="1734" y="40"/>
                  </a:cubicBezTo>
                  <a:cubicBezTo>
                    <a:pt x="1728" y="38"/>
                    <a:pt x="1722" y="38"/>
                    <a:pt x="1716" y="39"/>
                  </a:cubicBezTo>
                  <a:cubicBezTo>
                    <a:pt x="1706" y="39"/>
                    <a:pt x="1699" y="43"/>
                    <a:pt x="1692" y="49"/>
                  </a:cubicBezTo>
                  <a:cubicBezTo>
                    <a:pt x="1691" y="50"/>
                    <a:pt x="1690" y="50"/>
                    <a:pt x="1691" y="52"/>
                  </a:cubicBezTo>
                  <a:cubicBezTo>
                    <a:pt x="1691" y="55"/>
                    <a:pt x="1691" y="59"/>
                    <a:pt x="1691" y="63"/>
                  </a:cubicBezTo>
                  <a:cubicBezTo>
                    <a:pt x="1691" y="63"/>
                    <a:pt x="1691" y="64"/>
                    <a:pt x="1691" y="65"/>
                  </a:cubicBezTo>
                  <a:cubicBezTo>
                    <a:pt x="1692" y="64"/>
                    <a:pt x="1692" y="63"/>
                    <a:pt x="1693" y="63"/>
                  </a:cubicBezTo>
                  <a:cubicBezTo>
                    <a:pt x="1696" y="59"/>
                    <a:pt x="1700" y="56"/>
                    <a:pt x="1705" y="54"/>
                  </a:cubicBezTo>
                  <a:cubicBezTo>
                    <a:pt x="1711" y="51"/>
                    <a:pt x="1717" y="50"/>
                    <a:pt x="1723" y="50"/>
                  </a:cubicBezTo>
                  <a:cubicBezTo>
                    <a:pt x="1733" y="51"/>
                    <a:pt x="1740" y="58"/>
                    <a:pt x="1742" y="67"/>
                  </a:cubicBezTo>
                  <a:cubicBezTo>
                    <a:pt x="1742" y="71"/>
                    <a:pt x="1742" y="76"/>
                    <a:pt x="1741" y="80"/>
                  </a:cubicBezTo>
                  <a:cubicBezTo>
                    <a:pt x="1740" y="87"/>
                    <a:pt x="1736" y="93"/>
                    <a:pt x="1731" y="98"/>
                  </a:cubicBezTo>
                  <a:cubicBezTo>
                    <a:pt x="1727" y="102"/>
                    <a:pt x="1722" y="106"/>
                    <a:pt x="1717" y="109"/>
                  </a:cubicBezTo>
                  <a:cubicBezTo>
                    <a:pt x="1710" y="114"/>
                    <a:pt x="1704" y="119"/>
                    <a:pt x="1698" y="125"/>
                  </a:cubicBezTo>
                  <a:cubicBezTo>
                    <a:pt x="1693" y="130"/>
                    <a:pt x="1689" y="136"/>
                    <a:pt x="1687" y="143"/>
                  </a:cubicBezTo>
                  <a:cubicBezTo>
                    <a:pt x="1686" y="149"/>
                    <a:pt x="1686" y="155"/>
                    <a:pt x="1686" y="162"/>
                  </a:cubicBezTo>
                  <a:cubicBezTo>
                    <a:pt x="1686" y="162"/>
                    <a:pt x="1686" y="162"/>
                    <a:pt x="1686" y="162"/>
                  </a:cubicBezTo>
                  <a:cubicBezTo>
                    <a:pt x="1711" y="162"/>
                    <a:pt x="1736" y="162"/>
                    <a:pt x="1761" y="162"/>
                  </a:cubicBezTo>
                  <a:cubicBezTo>
                    <a:pt x="1761" y="158"/>
                    <a:pt x="1761" y="154"/>
                    <a:pt x="1761" y="149"/>
                  </a:cubicBezTo>
                  <a:cubicBezTo>
                    <a:pt x="1741" y="149"/>
                    <a:pt x="1721" y="149"/>
                    <a:pt x="1700" y="149"/>
                  </a:cubicBezTo>
                  <a:close/>
                  <a:moveTo>
                    <a:pt x="481" y="159"/>
                  </a:moveTo>
                  <a:cubicBezTo>
                    <a:pt x="481" y="144"/>
                    <a:pt x="481" y="128"/>
                    <a:pt x="481" y="113"/>
                  </a:cubicBezTo>
                  <a:cubicBezTo>
                    <a:pt x="481" y="111"/>
                    <a:pt x="481" y="109"/>
                    <a:pt x="481" y="107"/>
                  </a:cubicBezTo>
                  <a:cubicBezTo>
                    <a:pt x="482" y="100"/>
                    <a:pt x="485" y="95"/>
                    <a:pt x="490" y="91"/>
                  </a:cubicBezTo>
                  <a:cubicBezTo>
                    <a:pt x="497" y="85"/>
                    <a:pt x="504" y="84"/>
                    <a:pt x="512" y="86"/>
                  </a:cubicBezTo>
                  <a:cubicBezTo>
                    <a:pt x="518" y="88"/>
                    <a:pt x="521" y="92"/>
                    <a:pt x="523" y="98"/>
                  </a:cubicBezTo>
                  <a:cubicBezTo>
                    <a:pt x="525" y="102"/>
                    <a:pt x="525" y="107"/>
                    <a:pt x="525" y="111"/>
                  </a:cubicBezTo>
                  <a:cubicBezTo>
                    <a:pt x="525" y="127"/>
                    <a:pt x="525" y="143"/>
                    <a:pt x="525" y="159"/>
                  </a:cubicBezTo>
                  <a:cubicBezTo>
                    <a:pt x="525" y="160"/>
                    <a:pt x="525" y="161"/>
                    <a:pt x="525" y="162"/>
                  </a:cubicBezTo>
                  <a:cubicBezTo>
                    <a:pt x="530" y="162"/>
                    <a:pt x="534" y="162"/>
                    <a:pt x="539" y="162"/>
                  </a:cubicBezTo>
                  <a:cubicBezTo>
                    <a:pt x="539" y="161"/>
                    <a:pt x="539" y="160"/>
                    <a:pt x="539" y="159"/>
                  </a:cubicBezTo>
                  <a:cubicBezTo>
                    <a:pt x="539" y="143"/>
                    <a:pt x="539" y="126"/>
                    <a:pt x="539" y="110"/>
                  </a:cubicBezTo>
                  <a:cubicBezTo>
                    <a:pt x="539" y="108"/>
                    <a:pt x="539" y="106"/>
                    <a:pt x="539" y="104"/>
                  </a:cubicBezTo>
                  <a:cubicBezTo>
                    <a:pt x="539" y="98"/>
                    <a:pt x="538" y="93"/>
                    <a:pt x="535" y="88"/>
                  </a:cubicBezTo>
                  <a:cubicBezTo>
                    <a:pt x="532" y="81"/>
                    <a:pt x="527" y="77"/>
                    <a:pt x="520" y="74"/>
                  </a:cubicBezTo>
                  <a:cubicBezTo>
                    <a:pt x="518" y="74"/>
                    <a:pt x="515" y="73"/>
                    <a:pt x="513" y="73"/>
                  </a:cubicBezTo>
                  <a:cubicBezTo>
                    <a:pt x="500" y="72"/>
                    <a:pt x="490" y="77"/>
                    <a:pt x="483" y="87"/>
                  </a:cubicBezTo>
                  <a:cubicBezTo>
                    <a:pt x="482" y="88"/>
                    <a:pt x="482" y="88"/>
                    <a:pt x="481" y="89"/>
                  </a:cubicBezTo>
                  <a:cubicBezTo>
                    <a:pt x="481" y="89"/>
                    <a:pt x="481" y="89"/>
                    <a:pt x="481" y="89"/>
                  </a:cubicBezTo>
                  <a:cubicBezTo>
                    <a:pt x="481" y="84"/>
                    <a:pt x="481" y="80"/>
                    <a:pt x="481" y="75"/>
                  </a:cubicBezTo>
                  <a:cubicBezTo>
                    <a:pt x="477" y="75"/>
                    <a:pt x="469" y="75"/>
                    <a:pt x="467" y="75"/>
                  </a:cubicBezTo>
                  <a:cubicBezTo>
                    <a:pt x="467" y="104"/>
                    <a:pt x="467" y="133"/>
                    <a:pt x="467" y="162"/>
                  </a:cubicBezTo>
                  <a:cubicBezTo>
                    <a:pt x="472" y="162"/>
                    <a:pt x="476" y="162"/>
                    <a:pt x="481" y="162"/>
                  </a:cubicBezTo>
                  <a:cubicBezTo>
                    <a:pt x="481" y="161"/>
                    <a:pt x="481" y="160"/>
                    <a:pt x="481" y="159"/>
                  </a:cubicBezTo>
                  <a:close/>
                  <a:moveTo>
                    <a:pt x="1273" y="75"/>
                  </a:moveTo>
                  <a:cubicBezTo>
                    <a:pt x="1268" y="75"/>
                    <a:pt x="1263" y="75"/>
                    <a:pt x="1258" y="75"/>
                  </a:cubicBezTo>
                  <a:cubicBezTo>
                    <a:pt x="1256" y="83"/>
                    <a:pt x="1253" y="91"/>
                    <a:pt x="1250" y="99"/>
                  </a:cubicBezTo>
                  <a:cubicBezTo>
                    <a:pt x="1247" y="107"/>
                    <a:pt x="1244" y="115"/>
                    <a:pt x="1241" y="123"/>
                  </a:cubicBezTo>
                  <a:cubicBezTo>
                    <a:pt x="1238" y="130"/>
                    <a:pt x="1236" y="138"/>
                    <a:pt x="1232" y="146"/>
                  </a:cubicBezTo>
                  <a:cubicBezTo>
                    <a:pt x="1232" y="146"/>
                    <a:pt x="1232" y="146"/>
                    <a:pt x="1232" y="146"/>
                  </a:cubicBezTo>
                  <a:cubicBezTo>
                    <a:pt x="1224" y="122"/>
                    <a:pt x="1216" y="99"/>
                    <a:pt x="1207" y="75"/>
                  </a:cubicBezTo>
                  <a:cubicBezTo>
                    <a:pt x="1205" y="75"/>
                    <a:pt x="1202" y="75"/>
                    <a:pt x="1200" y="75"/>
                  </a:cubicBezTo>
                  <a:cubicBezTo>
                    <a:pt x="1197" y="75"/>
                    <a:pt x="1195" y="75"/>
                    <a:pt x="1192" y="75"/>
                  </a:cubicBezTo>
                  <a:cubicBezTo>
                    <a:pt x="1203" y="104"/>
                    <a:pt x="1214" y="133"/>
                    <a:pt x="1225" y="162"/>
                  </a:cubicBezTo>
                  <a:cubicBezTo>
                    <a:pt x="1229" y="162"/>
                    <a:pt x="1234" y="162"/>
                    <a:pt x="1238" y="162"/>
                  </a:cubicBezTo>
                  <a:cubicBezTo>
                    <a:pt x="1241" y="156"/>
                    <a:pt x="1273" y="77"/>
                    <a:pt x="1273" y="75"/>
                  </a:cubicBezTo>
                  <a:close/>
                  <a:moveTo>
                    <a:pt x="870" y="157"/>
                  </a:moveTo>
                  <a:cubicBezTo>
                    <a:pt x="870" y="159"/>
                    <a:pt x="871" y="159"/>
                    <a:pt x="872" y="160"/>
                  </a:cubicBezTo>
                  <a:cubicBezTo>
                    <a:pt x="883" y="165"/>
                    <a:pt x="895" y="166"/>
                    <a:pt x="906" y="162"/>
                  </a:cubicBezTo>
                  <a:cubicBezTo>
                    <a:pt x="918" y="158"/>
                    <a:pt x="924" y="149"/>
                    <a:pt x="923" y="137"/>
                  </a:cubicBezTo>
                  <a:cubicBezTo>
                    <a:pt x="923" y="131"/>
                    <a:pt x="921" y="126"/>
                    <a:pt x="917" y="122"/>
                  </a:cubicBezTo>
                  <a:cubicBezTo>
                    <a:pt x="914" y="120"/>
                    <a:pt x="911" y="118"/>
                    <a:pt x="908" y="117"/>
                  </a:cubicBezTo>
                  <a:cubicBezTo>
                    <a:pt x="905" y="115"/>
                    <a:pt x="901" y="113"/>
                    <a:pt x="897" y="112"/>
                  </a:cubicBezTo>
                  <a:cubicBezTo>
                    <a:pt x="895" y="110"/>
                    <a:pt x="892" y="108"/>
                    <a:pt x="889" y="107"/>
                  </a:cubicBezTo>
                  <a:cubicBezTo>
                    <a:pt x="884" y="103"/>
                    <a:pt x="883" y="94"/>
                    <a:pt x="888" y="89"/>
                  </a:cubicBezTo>
                  <a:cubicBezTo>
                    <a:pt x="891" y="87"/>
                    <a:pt x="894" y="85"/>
                    <a:pt x="898" y="85"/>
                  </a:cubicBezTo>
                  <a:cubicBezTo>
                    <a:pt x="905" y="85"/>
                    <a:pt x="912" y="86"/>
                    <a:pt x="918" y="90"/>
                  </a:cubicBezTo>
                  <a:cubicBezTo>
                    <a:pt x="918" y="90"/>
                    <a:pt x="919" y="91"/>
                    <a:pt x="919" y="91"/>
                  </a:cubicBezTo>
                  <a:cubicBezTo>
                    <a:pt x="919" y="86"/>
                    <a:pt x="919" y="82"/>
                    <a:pt x="919" y="77"/>
                  </a:cubicBezTo>
                  <a:cubicBezTo>
                    <a:pt x="919" y="77"/>
                    <a:pt x="918" y="76"/>
                    <a:pt x="917" y="76"/>
                  </a:cubicBezTo>
                  <a:cubicBezTo>
                    <a:pt x="910" y="73"/>
                    <a:pt x="902" y="72"/>
                    <a:pt x="895" y="73"/>
                  </a:cubicBezTo>
                  <a:cubicBezTo>
                    <a:pt x="888" y="74"/>
                    <a:pt x="883" y="77"/>
                    <a:pt x="878" y="81"/>
                  </a:cubicBezTo>
                  <a:cubicBezTo>
                    <a:pt x="867" y="90"/>
                    <a:pt x="867" y="110"/>
                    <a:pt x="880" y="118"/>
                  </a:cubicBezTo>
                  <a:cubicBezTo>
                    <a:pt x="884" y="120"/>
                    <a:pt x="887" y="122"/>
                    <a:pt x="890" y="123"/>
                  </a:cubicBezTo>
                  <a:cubicBezTo>
                    <a:pt x="895" y="126"/>
                    <a:pt x="900" y="128"/>
                    <a:pt x="905" y="131"/>
                  </a:cubicBezTo>
                  <a:cubicBezTo>
                    <a:pt x="909" y="134"/>
                    <a:pt x="910" y="138"/>
                    <a:pt x="909" y="143"/>
                  </a:cubicBezTo>
                  <a:cubicBezTo>
                    <a:pt x="908" y="147"/>
                    <a:pt x="905" y="150"/>
                    <a:pt x="901" y="151"/>
                  </a:cubicBezTo>
                  <a:cubicBezTo>
                    <a:pt x="901" y="151"/>
                    <a:pt x="900" y="151"/>
                    <a:pt x="899" y="152"/>
                  </a:cubicBezTo>
                  <a:cubicBezTo>
                    <a:pt x="890" y="153"/>
                    <a:pt x="881" y="151"/>
                    <a:pt x="873" y="146"/>
                  </a:cubicBezTo>
                  <a:cubicBezTo>
                    <a:pt x="872" y="145"/>
                    <a:pt x="871" y="145"/>
                    <a:pt x="870" y="144"/>
                  </a:cubicBezTo>
                  <a:cubicBezTo>
                    <a:pt x="870" y="149"/>
                    <a:pt x="870" y="153"/>
                    <a:pt x="870" y="157"/>
                  </a:cubicBezTo>
                  <a:close/>
                  <a:moveTo>
                    <a:pt x="1649" y="162"/>
                  </a:moveTo>
                  <a:cubicBezTo>
                    <a:pt x="1653" y="162"/>
                    <a:pt x="1658" y="162"/>
                    <a:pt x="1662" y="162"/>
                  </a:cubicBezTo>
                  <a:cubicBezTo>
                    <a:pt x="1662" y="120"/>
                    <a:pt x="1662" y="79"/>
                    <a:pt x="1662" y="38"/>
                  </a:cubicBezTo>
                  <a:cubicBezTo>
                    <a:pt x="1661" y="38"/>
                    <a:pt x="1660" y="38"/>
                    <a:pt x="1659" y="38"/>
                  </a:cubicBezTo>
                  <a:cubicBezTo>
                    <a:pt x="1658" y="38"/>
                    <a:pt x="1657" y="38"/>
                    <a:pt x="1656" y="39"/>
                  </a:cubicBezTo>
                  <a:cubicBezTo>
                    <a:pt x="1646" y="47"/>
                    <a:pt x="1634" y="53"/>
                    <a:pt x="1622" y="57"/>
                  </a:cubicBezTo>
                  <a:cubicBezTo>
                    <a:pt x="1621" y="57"/>
                    <a:pt x="1621" y="57"/>
                    <a:pt x="1620" y="57"/>
                  </a:cubicBezTo>
                  <a:cubicBezTo>
                    <a:pt x="1620" y="62"/>
                    <a:pt x="1620" y="66"/>
                    <a:pt x="1620" y="71"/>
                  </a:cubicBezTo>
                  <a:cubicBezTo>
                    <a:pt x="1631" y="68"/>
                    <a:pt x="1640" y="64"/>
                    <a:pt x="1649" y="57"/>
                  </a:cubicBezTo>
                  <a:cubicBezTo>
                    <a:pt x="1649" y="92"/>
                    <a:pt x="1649" y="127"/>
                    <a:pt x="1649" y="162"/>
                  </a:cubicBezTo>
                  <a:close/>
                  <a:moveTo>
                    <a:pt x="1177" y="74"/>
                  </a:moveTo>
                  <a:cubicBezTo>
                    <a:pt x="1172" y="74"/>
                    <a:pt x="1167" y="76"/>
                    <a:pt x="1163" y="80"/>
                  </a:cubicBezTo>
                  <a:cubicBezTo>
                    <a:pt x="1160" y="83"/>
                    <a:pt x="1157" y="86"/>
                    <a:pt x="1156" y="90"/>
                  </a:cubicBezTo>
                  <a:cubicBezTo>
                    <a:pt x="1155" y="91"/>
                    <a:pt x="1155" y="91"/>
                    <a:pt x="1155" y="92"/>
                  </a:cubicBezTo>
                  <a:cubicBezTo>
                    <a:pt x="1155" y="92"/>
                    <a:pt x="1154" y="92"/>
                    <a:pt x="1154" y="92"/>
                  </a:cubicBezTo>
                  <a:cubicBezTo>
                    <a:pt x="1154" y="86"/>
                    <a:pt x="1154" y="81"/>
                    <a:pt x="1154" y="75"/>
                  </a:cubicBezTo>
                  <a:cubicBezTo>
                    <a:pt x="1150" y="75"/>
                    <a:pt x="1145" y="75"/>
                    <a:pt x="1141" y="75"/>
                  </a:cubicBezTo>
                  <a:cubicBezTo>
                    <a:pt x="1141" y="104"/>
                    <a:pt x="1141" y="133"/>
                    <a:pt x="1141" y="162"/>
                  </a:cubicBezTo>
                  <a:cubicBezTo>
                    <a:pt x="1143" y="162"/>
                    <a:pt x="1153" y="162"/>
                    <a:pt x="1154" y="162"/>
                  </a:cubicBezTo>
                  <a:cubicBezTo>
                    <a:pt x="1154" y="161"/>
                    <a:pt x="1154" y="160"/>
                    <a:pt x="1154" y="159"/>
                  </a:cubicBezTo>
                  <a:cubicBezTo>
                    <a:pt x="1154" y="146"/>
                    <a:pt x="1154" y="132"/>
                    <a:pt x="1154" y="119"/>
                  </a:cubicBezTo>
                  <a:cubicBezTo>
                    <a:pt x="1154" y="116"/>
                    <a:pt x="1155" y="113"/>
                    <a:pt x="1155" y="110"/>
                  </a:cubicBezTo>
                  <a:cubicBezTo>
                    <a:pt x="1156" y="104"/>
                    <a:pt x="1158" y="98"/>
                    <a:pt x="1161" y="93"/>
                  </a:cubicBezTo>
                  <a:cubicBezTo>
                    <a:pt x="1168" y="85"/>
                    <a:pt x="1178" y="85"/>
                    <a:pt x="1184" y="88"/>
                  </a:cubicBezTo>
                  <a:cubicBezTo>
                    <a:pt x="1185" y="88"/>
                    <a:pt x="1185" y="89"/>
                    <a:pt x="1186" y="89"/>
                  </a:cubicBezTo>
                  <a:cubicBezTo>
                    <a:pt x="1186" y="84"/>
                    <a:pt x="1186" y="80"/>
                    <a:pt x="1186" y="75"/>
                  </a:cubicBezTo>
                  <a:cubicBezTo>
                    <a:pt x="1183" y="74"/>
                    <a:pt x="1180" y="74"/>
                    <a:pt x="1177" y="74"/>
                  </a:cubicBezTo>
                  <a:close/>
                  <a:moveTo>
                    <a:pt x="1367" y="162"/>
                  </a:moveTo>
                  <a:cubicBezTo>
                    <a:pt x="1372" y="162"/>
                    <a:pt x="1376" y="162"/>
                    <a:pt x="1381" y="162"/>
                  </a:cubicBezTo>
                  <a:cubicBezTo>
                    <a:pt x="1381" y="161"/>
                    <a:pt x="1381" y="160"/>
                    <a:pt x="1381" y="159"/>
                  </a:cubicBezTo>
                  <a:cubicBezTo>
                    <a:pt x="1381" y="145"/>
                    <a:pt x="1381" y="132"/>
                    <a:pt x="1381" y="118"/>
                  </a:cubicBezTo>
                  <a:cubicBezTo>
                    <a:pt x="1381" y="115"/>
                    <a:pt x="1381" y="112"/>
                    <a:pt x="1381" y="109"/>
                  </a:cubicBezTo>
                  <a:cubicBezTo>
                    <a:pt x="1382" y="103"/>
                    <a:pt x="1384" y="98"/>
                    <a:pt x="1388" y="94"/>
                  </a:cubicBezTo>
                  <a:cubicBezTo>
                    <a:pt x="1394" y="85"/>
                    <a:pt x="1404" y="85"/>
                    <a:pt x="1411" y="88"/>
                  </a:cubicBezTo>
                  <a:cubicBezTo>
                    <a:pt x="1411" y="88"/>
                    <a:pt x="1411" y="89"/>
                    <a:pt x="1412" y="89"/>
                  </a:cubicBezTo>
                  <a:cubicBezTo>
                    <a:pt x="1412" y="84"/>
                    <a:pt x="1412" y="79"/>
                    <a:pt x="1412" y="75"/>
                  </a:cubicBezTo>
                  <a:cubicBezTo>
                    <a:pt x="1411" y="74"/>
                    <a:pt x="1410" y="74"/>
                    <a:pt x="1409" y="74"/>
                  </a:cubicBezTo>
                  <a:cubicBezTo>
                    <a:pt x="1407" y="74"/>
                    <a:pt x="1406" y="74"/>
                    <a:pt x="1404" y="74"/>
                  </a:cubicBezTo>
                  <a:cubicBezTo>
                    <a:pt x="1398" y="74"/>
                    <a:pt x="1393" y="76"/>
                    <a:pt x="1389" y="79"/>
                  </a:cubicBezTo>
                  <a:cubicBezTo>
                    <a:pt x="1386" y="82"/>
                    <a:pt x="1384" y="86"/>
                    <a:pt x="1382" y="90"/>
                  </a:cubicBezTo>
                  <a:cubicBezTo>
                    <a:pt x="1382" y="91"/>
                    <a:pt x="1382" y="91"/>
                    <a:pt x="1381" y="92"/>
                  </a:cubicBezTo>
                  <a:cubicBezTo>
                    <a:pt x="1381" y="92"/>
                    <a:pt x="1381" y="92"/>
                    <a:pt x="1381" y="92"/>
                  </a:cubicBezTo>
                  <a:cubicBezTo>
                    <a:pt x="1381" y="89"/>
                    <a:pt x="1381" y="86"/>
                    <a:pt x="1381" y="84"/>
                  </a:cubicBezTo>
                  <a:cubicBezTo>
                    <a:pt x="1381" y="81"/>
                    <a:pt x="1381" y="78"/>
                    <a:pt x="1381" y="75"/>
                  </a:cubicBezTo>
                  <a:cubicBezTo>
                    <a:pt x="1376" y="75"/>
                    <a:pt x="1372" y="75"/>
                    <a:pt x="1367" y="75"/>
                  </a:cubicBezTo>
                  <a:cubicBezTo>
                    <a:pt x="1367" y="78"/>
                    <a:pt x="1367" y="160"/>
                    <a:pt x="1367" y="162"/>
                  </a:cubicBezTo>
                  <a:close/>
                  <a:moveTo>
                    <a:pt x="446" y="75"/>
                  </a:moveTo>
                  <a:cubicBezTo>
                    <a:pt x="441" y="75"/>
                    <a:pt x="437" y="75"/>
                    <a:pt x="432" y="75"/>
                  </a:cubicBezTo>
                  <a:cubicBezTo>
                    <a:pt x="432" y="104"/>
                    <a:pt x="432" y="133"/>
                    <a:pt x="432" y="162"/>
                  </a:cubicBezTo>
                  <a:cubicBezTo>
                    <a:pt x="437" y="162"/>
                    <a:pt x="441" y="162"/>
                    <a:pt x="446" y="162"/>
                  </a:cubicBezTo>
                  <a:cubicBezTo>
                    <a:pt x="446" y="157"/>
                    <a:pt x="446" y="77"/>
                    <a:pt x="446" y="75"/>
                  </a:cubicBezTo>
                  <a:close/>
                  <a:moveTo>
                    <a:pt x="448" y="47"/>
                  </a:moveTo>
                  <a:cubicBezTo>
                    <a:pt x="448" y="42"/>
                    <a:pt x="444" y="38"/>
                    <a:pt x="439" y="38"/>
                  </a:cubicBezTo>
                  <a:cubicBezTo>
                    <a:pt x="434" y="38"/>
                    <a:pt x="430" y="42"/>
                    <a:pt x="430" y="47"/>
                  </a:cubicBezTo>
                  <a:cubicBezTo>
                    <a:pt x="430" y="52"/>
                    <a:pt x="434" y="56"/>
                    <a:pt x="439" y="56"/>
                  </a:cubicBezTo>
                  <a:cubicBezTo>
                    <a:pt x="444" y="56"/>
                    <a:pt x="448" y="52"/>
                    <a:pt x="448" y="47"/>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sp>
          <p:nvSpPr>
            <p:cNvPr id="26" name="Freeform 5"/>
            <p:cNvSpPr>
              <a:spLocks noEditPoints="1"/>
            </p:cNvSpPr>
            <p:nvPr/>
          </p:nvSpPr>
          <p:spPr bwMode="auto">
            <a:xfrm>
              <a:off x="269408" y="2376280"/>
              <a:ext cx="2801159" cy="406857"/>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ln>
                  <a:solidFill>
                    <a:schemeClr val="tx2"/>
                  </a:solidFill>
                </a:ln>
                <a:solidFill>
                  <a:schemeClr val="tx2"/>
                </a:solidFill>
              </a:endParaRPr>
            </a:p>
          </p:txBody>
        </p:sp>
        <p:sp>
          <p:nvSpPr>
            <p:cNvPr id="27" name="Freeform 13"/>
            <p:cNvSpPr>
              <a:spLocks noEditPoints="1"/>
            </p:cNvSpPr>
            <p:nvPr/>
          </p:nvSpPr>
          <p:spPr bwMode="auto">
            <a:xfrm>
              <a:off x="824453" y="4269317"/>
              <a:ext cx="4061925" cy="313208"/>
            </a:xfrm>
            <a:custGeom>
              <a:avLst/>
              <a:gdLst>
                <a:gd name="T0" fmla="*/ 905 w 1754"/>
                <a:gd name="T1" fmla="*/ 38 h 133"/>
                <a:gd name="T2" fmla="*/ 1676 w 1754"/>
                <a:gd name="T3" fmla="*/ 52 h 133"/>
                <a:gd name="T4" fmla="*/ 1678 w 1754"/>
                <a:gd name="T5" fmla="*/ 80 h 133"/>
                <a:gd name="T6" fmla="*/ 1453 w 1754"/>
                <a:gd name="T7" fmla="*/ 100 h 133"/>
                <a:gd name="T8" fmla="*/ 971 w 1754"/>
                <a:gd name="T9" fmla="*/ 14 h 133"/>
                <a:gd name="T10" fmla="*/ 1018 w 1754"/>
                <a:gd name="T11" fmla="*/ 88 h 133"/>
                <a:gd name="T12" fmla="*/ 1082 w 1754"/>
                <a:gd name="T13" fmla="*/ 98 h 133"/>
                <a:gd name="T14" fmla="*/ 1030 w 1754"/>
                <a:gd name="T15" fmla="*/ 76 h 133"/>
                <a:gd name="T16" fmla="*/ 763 w 1754"/>
                <a:gd name="T17" fmla="*/ 86 h 133"/>
                <a:gd name="T18" fmla="*/ 1265 w 1754"/>
                <a:gd name="T19" fmla="*/ 58 h 133"/>
                <a:gd name="T20" fmla="*/ 1256 w 1754"/>
                <a:gd name="T21" fmla="*/ 100 h 133"/>
                <a:gd name="T22" fmla="*/ 582 w 1754"/>
                <a:gd name="T23" fmla="*/ 20 h 133"/>
                <a:gd name="T24" fmla="*/ 1564 w 1754"/>
                <a:gd name="T25" fmla="*/ 7 h 133"/>
                <a:gd name="T26" fmla="*/ 1538 w 1754"/>
                <a:gd name="T27" fmla="*/ 71 h 133"/>
                <a:gd name="T28" fmla="*/ 1746 w 1754"/>
                <a:gd name="T29" fmla="*/ 16 h 133"/>
                <a:gd name="T30" fmla="*/ 1718 w 1754"/>
                <a:gd name="T31" fmla="*/ 62 h 133"/>
                <a:gd name="T32" fmla="*/ 1748 w 1754"/>
                <a:gd name="T33" fmla="*/ 44 h 133"/>
                <a:gd name="T34" fmla="*/ 1377 w 1754"/>
                <a:gd name="T35" fmla="*/ 65 h 133"/>
                <a:gd name="T36" fmla="*/ 1381 w 1754"/>
                <a:gd name="T37" fmla="*/ 19 h 133"/>
                <a:gd name="T38" fmla="*/ 653 w 1754"/>
                <a:gd name="T39" fmla="*/ 41 h 133"/>
                <a:gd name="T40" fmla="*/ 598 w 1754"/>
                <a:gd name="T41" fmla="*/ 50 h 133"/>
                <a:gd name="T42" fmla="*/ 1114 w 1754"/>
                <a:gd name="T43" fmla="*/ 41 h 133"/>
                <a:gd name="T44" fmla="*/ 668 w 1754"/>
                <a:gd name="T45" fmla="*/ 36 h 133"/>
                <a:gd name="T46" fmla="*/ 696 w 1754"/>
                <a:gd name="T47" fmla="*/ 95 h 133"/>
                <a:gd name="T48" fmla="*/ 723 w 1754"/>
                <a:gd name="T49" fmla="*/ 101 h 133"/>
                <a:gd name="T50" fmla="*/ 201 w 1754"/>
                <a:gd name="T51" fmla="*/ 36 h 133"/>
                <a:gd name="T52" fmla="*/ 1174 w 1754"/>
                <a:gd name="T53" fmla="*/ 84 h 133"/>
                <a:gd name="T54" fmla="*/ 697 w 1754"/>
                <a:gd name="T55" fmla="*/ 46 h 133"/>
                <a:gd name="T56" fmla="*/ 1410 w 1754"/>
                <a:gd name="T57" fmla="*/ 69 h 133"/>
                <a:gd name="T58" fmla="*/ 963 w 1754"/>
                <a:gd name="T59" fmla="*/ 49 h 133"/>
                <a:gd name="T60" fmla="*/ 986 w 1754"/>
                <a:gd name="T61" fmla="*/ 103 h 133"/>
                <a:gd name="T62" fmla="*/ 1424 w 1754"/>
                <a:gd name="T63" fmla="*/ 11 h 133"/>
                <a:gd name="T64" fmla="*/ 754 w 1754"/>
                <a:gd name="T65" fmla="*/ 92 h 133"/>
                <a:gd name="T66" fmla="*/ 1377 w 1754"/>
                <a:gd name="T67" fmla="*/ 17 h 133"/>
                <a:gd name="T68" fmla="*/ 964 w 1754"/>
                <a:gd name="T69" fmla="*/ 41 h 133"/>
                <a:gd name="T70" fmla="*/ 1015 w 1754"/>
                <a:gd name="T71" fmla="*/ 90 h 133"/>
                <a:gd name="T72" fmla="*/ 603 w 1754"/>
                <a:gd name="T73" fmla="*/ 123 h 133"/>
                <a:gd name="T74" fmla="*/ 1356 w 1754"/>
                <a:gd name="T75" fmla="*/ 19 h 133"/>
                <a:gd name="T76" fmla="*/ 1261 w 1754"/>
                <a:gd name="T77" fmla="*/ 45 h 133"/>
                <a:gd name="T78" fmla="*/ 788 w 1754"/>
                <a:gd name="T79" fmla="*/ 34 h 133"/>
                <a:gd name="T80" fmla="*/ 966 w 1754"/>
                <a:gd name="T81" fmla="*/ 36 h 133"/>
                <a:gd name="T82" fmla="*/ 689 w 1754"/>
                <a:gd name="T83" fmla="*/ 67 h 133"/>
                <a:gd name="T84" fmla="*/ 966 w 1754"/>
                <a:gd name="T85" fmla="*/ 73 h 133"/>
                <a:gd name="T86" fmla="*/ 1677 w 1754"/>
                <a:gd name="T87" fmla="*/ 78 h 133"/>
                <a:gd name="T88" fmla="*/ 1355 w 1754"/>
                <a:gd name="T89" fmla="*/ 9 h 133"/>
                <a:gd name="T90" fmla="*/ 1212 w 1754"/>
                <a:gd name="T91" fmla="*/ 49 h 133"/>
                <a:gd name="T92" fmla="*/ 639 w 1754"/>
                <a:gd name="T93" fmla="*/ 49 h 133"/>
                <a:gd name="T94" fmla="*/ 740 w 1754"/>
                <a:gd name="T95" fmla="*/ 93 h 133"/>
                <a:gd name="T96" fmla="*/ 1260 w 1754"/>
                <a:gd name="T97" fmla="*/ 98 h 133"/>
                <a:gd name="T98" fmla="*/ 800 w 1754"/>
                <a:gd name="T99" fmla="*/ 43 h 133"/>
                <a:gd name="T100" fmla="*/ 606 w 1754"/>
                <a:gd name="T101" fmla="*/ 40 h 133"/>
                <a:gd name="T102" fmla="*/ 1041 w 1754"/>
                <a:gd name="T103" fmla="*/ 39 h 133"/>
                <a:gd name="T104" fmla="*/ 1360 w 1754"/>
                <a:gd name="T105" fmla="*/ 78 h 133"/>
                <a:gd name="T106" fmla="*/ 1139 w 1754"/>
                <a:gd name="T107" fmla="*/ 45 h 133"/>
                <a:gd name="T108" fmla="*/ 1563 w 1754"/>
                <a:gd name="T109" fmla="*/ 50 h 133"/>
                <a:gd name="T110" fmla="*/ 1571 w 1754"/>
                <a:gd name="T111" fmla="*/ 57 h 133"/>
                <a:gd name="T112" fmla="*/ 579 w 1754"/>
                <a:gd name="T113" fmla="*/ 58 h 133"/>
                <a:gd name="T114" fmla="*/ 585 w 1754"/>
                <a:gd name="T115" fmla="*/ 92 h 133"/>
                <a:gd name="T116" fmla="*/ 1654 w 1754"/>
                <a:gd name="T117" fmla="*/ 63 h 133"/>
                <a:gd name="T118" fmla="*/ 1422 w 1754"/>
                <a:gd name="T119" fmla="*/ 97 h 133"/>
                <a:gd name="T120" fmla="*/ 720 w 1754"/>
                <a:gd name="T121" fmla="*/ 99 h 133"/>
                <a:gd name="T122" fmla="*/ 1700 w 1754"/>
                <a:gd name="T123" fmla="*/ 26 h 133"/>
                <a:gd name="T124" fmla="*/ 795 w 1754"/>
                <a:gd name="T125" fmla="*/ 3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4" h="133">
                  <a:moveTo>
                    <a:pt x="48" y="83"/>
                  </a:moveTo>
                  <a:cubicBezTo>
                    <a:pt x="49" y="82"/>
                    <a:pt x="49" y="82"/>
                    <a:pt x="49" y="81"/>
                  </a:cubicBezTo>
                  <a:cubicBezTo>
                    <a:pt x="60" y="57"/>
                    <a:pt x="71" y="33"/>
                    <a:pt x="82" y="9"/>
                  </a:cubicBezTo>
                  <a:cubicBezTo>
                    <a:pt x="82" y="9"/>
                    <a:pt x="82" y="9"/>
                    <a:pt x="82" y="8"/>
                  </a:cubicBezTo>
                  <a:cubicBezTo>
                    <a:pt x="82" y="8"/>
                    <a:pt x="83" y="7"/>
                    <a:pt x="83" y="7"/>
                  </a:cubicBezTo>
                  <a:cubicBezTo>
                    <a:pt x="87" y="7"/>
                    <a:pt x="91" y="7"/>
                    <a:pt x="95" y="7"/>
                  </a:cubicBezTo>
                  <a:cubicBezTo>
                    <a:pt x="96" y="7"/>
                    <a:pt x="96" y="8"/>
                    <a:pt x="96" y="9"/>
                  </a:cubicBezTo>
                  <a:cubicBezTo>
                    <a:pt x="96" y="9"/>
                    <a:pt x="96" y="9"/>
                    <a:pt x="96" y="10"/>
                  </a:cubicBezTo>
                  <a:cubicBezTo>
                    <a:pt x="96" y="40"/>
                    <a:pt x="96" y="69"/>
                    <a:pt x="96" y="99"/>
                  </a:cubicBezTo>
                  <a:cubicBezTo>
                    <a:pt x="96" y="102"/>
                    <a:pt x="97" y="101"/>
                    <a:pt x="94" y="101"/>
                  </a:cubicBezTo>
                  <a:cubicBezTo>
                    <a:pt x="91" y="102"/>
                    <a:pt x="89" y="101"/>
                    <a:pt x="86" y="101"/>
                  </a:cubicBezTo>
                  <a:cubicBezTo>
                    <a:pt x="85" y="102"/>
                    <a:pt x="85" y="101"/>
                    <a:pt x="85" y="101"/>
                  </a:cubicBezTo>
                  <a:cubicBezTo>
                    <a:pt x="85" y="100"/>
                    <a:pt x="85" y="100"/>
                    <a:pt x="85" y="99"/>
                  </a:cubicBezTo>
                  <a:cubicBezTo>
                    <a:pt x="85" y="75"/>
                    <a:pt x="85" y="51"/>
                    <a:pt x="85" y="27"/>
                  </a:cubicBezTo>
                  <a:cubicBezTo>
                    <a:pt x="85" y="27"/>
                    <a:pt x="85" y="26"/>
                    <a:pt x="85" y="25"/>
                  </a:cubicBezTo>
                  <a:cubicBezTo>
                    <a:pt x="84" y="26"/>
                    <a:pt x="84" y="26"/>
                    <a:pt x="84" y="27"/>
                  </a:cubicBezTo>
                  <a:cubicBezTo>
                    <a:pt x="73" y="51"/>
                    <a:pt x="63" y="75"/>
                    <a:pt x="52" y="100"/>
                  </a:cubicBezTo>
                  <a:cubicBezTo>
                    <a:pt x="52" y="100"/>
                    <a:pt x="52" y="100"/>
                    <a:pt x="51" y="101"/>
                  </a:cubicBezTo>
                  <a:cubicBezTo>
                    <a:pt x="51" y="101"/>
                    <a:pt x="51" y="102"/>
                    <a:pt x="50" y="101"/>
                  </a:cubicBezTo>
                  <a:cubicBezTo>
                    <a:pt x="49" y="101"/>
                    <a:pt x="47" y="102"/>
                    <a:pt x="46" y="101"/>
                  </a:cubicBezTo>
                  <a:cubicBezTo>
                    <a:pt x="45" y="101"/>
                    <a:pt x="44" y="99"/>
                    <a:pt x="44" y="98"/>
                  </a:cubicBezTo>
                  <a:cubicBezTo>
                    <a:pt x="33" y="74"/>
                    <a:pt x="23" y="50"/>
                    <a:pt x="12" y="27"/>
                  </a:cubicBezTo>
                  <a:cubicBezTo>
                    <a:pt x="12" y="26"/>
                    <a:pt x="12" y="25"/>
                    <a:pt x="11" y="25"/>
                  </a:cubicBezTo>
                  <a:cubicBezTo>
                    <a:pt x="11" y="26"/>
                    <a:pt x="11" y="26"/>
                    <a:pt x="11" y="27"/>
                  </a:cubicBezTo>
                  <a:cubicBezTo>
                    <a:pt x="11" y="51"/>
                    <a:pt x="11" y="75"/>
                    <a:pt x="11" y="99"/>
                  </a:cubicBezTo>
                  <a:cubicBezTo>
                    <a:pt x="11" y="102"/>
                    <a:pt x="11" y="101"/>
                    <a:pt x="9" y="101"/>
                  </a:cubicBezTo>
                  <a:cubicBezTo>
                    <a:pt x="6" y="102"/>
                    <a:pt x="4" y="101"/>
                    <a:pt x="2" y="101"/>
                  </a:cubicBezTo>
                  <a:cubicBezTo>
                    <a:pt x="0" y="101"/>
                    <a:pt x="0" y="101"/>
                    <a:pt x="0" y="100"/>
                  </a:cubicBezTo>
                  <a:cubicBezTo>
                    <a:pt x="0" y="100"/>
                    <a:pt x="0" y="100"/>
                    <a:pt x="0" y="99"/>
                  </a:cubicBezTo>
                  <a:cubicBezTo>
                    <a:pt x="0" y="69"/>
                    <a:pt x="0" y="39"/>
                    <a:pt x="0" y="9"/>
                  </a:cubicBezTo>
                  <a:cubicBezTo>
                    <a:pt x="0" y="9"/>
                    <a:pt x="0" y="9"/>
                    <a:pt x="0" y="9"/>
                  </a:cubicBezTo>
                  <a:cubicBezTo>
                    <a:pt x="0" y="7"/>
                    <a:pt x="0" y="7"/>
                    <a:pt x="2" y="7"/>
                  </a:cubicBezTo>
                  <a:cubicBezTo>
                    <a:pt x="6" y="7"/>
                    <a:pt x="9" y="7"/>
                    <a:pt x="13" y="7"/>
                  </a:cubicBezTo>
                  <a:cubicBezTo>
                    <a:pt x="15" y="7"/>
                    <a:pt x="15" y="8"/>
                    <a:pt x="16" y="9"/>
                  </a:cubicBezTo>
                  <a:cubicBezTo>
                    <a:pt x="23" y="26"/>
                    <a:pt x="31" y="44"/>
                    <a:pt x="39" y="61"/>
                  </a:cubicBezTo>
                  <a:cubicBezTo>
                    <a:pt x="42" y="68"/>
                    <a:pt x="44" y="74"/>
                    <a:pt x="47" y="81"/>
                  </a:cubicBezTo>
                  <a:cubicBezTo>
                    <a:pt x="48" y="82"/>
                    <a:pt x="48" y="82"/>
                    <a:pt x="48" y="83"/>
                  </a:cubicBezTo>
                  <a:close/>
                  <a:moveTo>
                    <a:pt x="493" y="94"/>
                  </a:moveTo>
                  <a:cubicBezTo>
                    <a:pt x="490" y="93"/>
                    <a:pt x="488" y="91"/>
                    <a:pt x="487" y="88"/>
                  </a:cubicBezTo>
                  <a:cubicBezTo>
                    <a:pt x="486" y="86"/>
                    <a:pt x="486" y="84"/>
                    <a:pt x="486" y="81"/>
                  </a:cubicBezTo>
                  <a:cubicBezTo>
                    <a:pt x="486" y="69"/>
                    <a:pt x="486" y="57"/>
                    <a:pt x="486" y="45"/>
                  </a:cubicBezTo>
                  <a:cubicBezTo>
                    <a:pt x="486" y="45"/>
                    <a:pt x="486" y="45"/>
                    <a:pt x="486" y="44"/>
                  </a:cubicBezTo>
                  <a:cubicBezTo>
                    <a:pt x="486" y="44"/>
                    <a:pt x="486" y="43"/>
                    <a:pt x="487" y="43"/>
                  </a:cubicBezTo>
                  <a:cubicBezTo>
                    <a:pt x="487" y="43"/>
                    <a:pt x="487" y="43"/>
                    <a:pt x="488" y="43"/>
                  </a:cubicBezTo>
                  <a:cubicBezTo>
                    <a:pt x="492" y="43"/>
                    <a:pt x="497" y="43"/>
                    <a:pt x="501" y="43"/>
                  </a:cubicBezTo>
                  <a:cubicBezTo>
                    <a:pt x="502" y="43"/>
                    <a:pt x="503" y="43"/>
                    <a:pt x="503" y="42"/>
                  </a:cubicBezTo>
                  <a:cubicBezTo>
                    <a:pt x="503" y="40"/>
                    <a:pt x="503" y="38"/>
                    <a:pt x="503" y="36"/>
                  </a:cubicBezTo>
                  <a:cubicBezTo>
                    <a:pt x="503" y="34"/>
                    <a:pt x="503" y="34"/>
                    <a:pt x="501" y="34"/>
                  </a:cubicBezTo>
                  <a:cubicBezTo>
                    <a:pt x="497" y="34"/>
                    <a:pt x="492" y="34"/>
                    <a:pt x="487" y="34"/>
                  </a:cubicBezTo>
                  <a:cubicBezTo>
                    <a:pt x="486" y="34"/>
                    <a:pt x="486" y="35"/>
                    <a:pt x="486" y="33"/>
                  </a:cubicBezTo>
                  <a:cubicBezTo>
                    <a:pt x="486" y="27"/>
                    <a:pt x="486" y="22"/>
                    <a:pt x="486" y="16"/>
                  </a:cubicBezTo>
                  <a:cubicBezTo>
                    <a:pt x="486" y="16"/>
                    <a:pt x="486" y="15"/>
                    <a:pt x="485" y="15"/>
                  </a:cubicBezTo>
                  <a:cubicBezTo>
                    <a:pt x="482" y="16"/>
                    <a:pt x="479" y="17"/>
                    <a:pt x="476" y="18"/>
                  </a:cubicBezTo>
                  <a:cubicBezTo>
                    <a:pt x="475" y="18"/>
                    <a:pt x="475" y="18"/>
                    <a:pt x="475" y="19"/>
                  </a:cubicBezTo>
                  <a:cubicBezTo>
                    <a:pt x="475" y="19"/>
                    <a:pt x="475" y="19"/>
                    <a:pt x="475" y="20"/>
                  </a:cubicBezTo>
                  <a:cubicBezTo>
                    <a:pt x="475" y="24"/>
                    <a:pt x="475" y="28"/>
                    <a:pt x="475" y="33"/>
                  </a:cubicBezTo>
                  <a:cubicBezTo>
                    <a:pt x="475" y="34"/>
                    <a:pt x="475" y="34"/>
                    <a:pt x="474" y="34"/>
                  </a:cubicBezTo>
                  <a:cubicBezTo>
                    <a:pt x="466" y="34"/>
                    <a:pt x="458" y="34"/>
                    <a:pt x="450" y="34"/>
                  </a:cubicBezTo>
                  <a:cubicBezTo>
                    <a:pt x="449" y="34"/>
                    <a:pt x="448" y="34"/>
                    <a:pt x="448" y="33"/>
                  </a:cubicBezTo>
                  <a:cubicBezTo>
                    <a:pt x="448" y="30"/>
                    <a:pt x="448" y="27"/>
                    <a:pt x="449" y="24"/>
                  </a:cubicBezTo>
                  <a:cubicBezTo>
                    <a:pt x="449" y="22"/>
                    <a:pt x="449" y="19"/>
                    <a:pt x="450" y="16"/>
                  </a:cubicBezTo>
                  <a:cubicBezTo>
                    <a:pt x="451" y="13"/>
                    <a:pt x="453" y="11"/>
                    <a:pt x="455" y="10"/>
                  </a:cubicBezTo>
                  <a:cubicBezTo>
                    <a:pt x="457" y="10"/>
                    <a:pt x="459" y="10"/>
                    <a:pt x="461" y="10"/>
                  </a:cubicBezTo>
                  <a:cubicBezTo>
                    <a:pt x="463" y="10"/>
                    <a:pt x="465" y="10"/>
                    <a:pt x="467" y="11"/>
                  </a:cubicBezTo>
                  <a:cubicBezTo>
                    <a:pt x="467" y="8"/>
                    <a:pt x="467" y="6"/>
                    <a:pt x="467" y="3"/>
                  </a:cubicBezTo>
                  <a:cubicBezTo>
                    <a:pt x="467" y="2"/>
                    <a:pt x="466" y="2"/>
                    <a:pt x="466" y="1"/>
                  </a:cubicBezTo>
                  <a:cubicBezTo>
                    <a:pt x="461" y="0"/>
                    <a:pt x="455" y="0"/>
                    <a:pt x="451" y="2"/>
                  </a:cubicBezTo>
                  <a:cubicBezTo>
                    <a:pt x="443" y="6"/>
                    <a:pt x="439" y="12"/>
                    <a:pt x="438" y="20"/>
                  </a:cubicBezTo>
                  <a:cubicBezTo>
                    <a:pt x="437" y="24"/>
                    <a:pt x="438" y="28"/>
                    <a:pt x="438" y="32"/>
                  </a:cubicBezTo>
                  <a:cubicBezTo>
                    <a:pt x="438" y="34"/>
                    <a:pt x="438" y="34"/>
                    <a:pt x="435" y="34"/>
                  </a:cubicBezTo>
                  <a:cubicBezTo>
                    <a:pt x="433" y="34"/>
                    <a:pt x="430" y="34"/>
                    <a:pt x="428" y="34"/>
                  </a:cubicBezTo>
                  <a:cubicBezTo>
                    <a:pt x="426" y="34"/>
                    <a:pt x="426" y="34"/>
                    <a:pt x="426" y="36"/>
                  </a:cubicBezTo>
                  <a:cubicBezTo>
                    <a:pt x="426" y="38"/>
                    <a:pt x="426" y="40"/>
                    <a:pt x="426" y="42"/>
                  </a:cubicBezTo>
                  <a:cubicBezTo>
                    <a:pt x="426" y="44"/>
                    <a:pt x="426" y="43"/>
                    <a:pt x="428" y="43"/>
                  </a:cubicBezTo>
                  <a:cubicBezTo>
                    <a:pt x="431" y="43"/>
                    <a:pt x="434" y="43"/>
                    <a:pt x="436" y="43"/>
                  </a:cubicBezTo>
                  <a:cubicBezTo>
                    <a:pt x="437" y="43"/>
                    <a:pt x="438" y="44"/>
                    <a:pt x="438" y="45"/>
                  </a:cubicBezTo>
                  <a:cubicBezTo>
                    <a:pt x="438" y="45"/>
                    <a:pt x="438" y="45"/>
                    <a:pt x="438" y="46"/>
                  </a:cubicBezTo>
                  <a:cubicBezTo>
                    <a:pt x="438" y="64"/>
                    <a:pt x="438" y="81"/>
                    <a:pt x="438" y="99"/>
                  </a:cubicBezTo>
                  <a:cubicBezTo>
                    <a:pt x="438" y="100"/>
                    <a:pt x="438" y="100"/>
                    <a:pt x="438" y="100"/>
                  </a:cubicBezTo>
                  <a:cubicBezTo>
                    <a:pt x="438" y="101"/>
                    <a:pt x="438" y="102"/>
                    <a:pt x="439" y="102"/>
                  </a:cubicBezTo>
                  <a:cubicBezTo>
                    <a:pt x="441" y="101"/>
                    <a:pt x="444" y="102"/>
                    <a:pt x="446" y="101"/>
                  </a:cubicBezTo>
                  <a:cubicBezTo>
                    <a:pt x="449" y="101"/>
                    <a:pt x="448" y="102"/>
                    <a:pt x="448" y="99"/>
                  </a:cubicBezTo>
                  <a:cubicBezTo>
                    <a:pt x="448" y="81"/>
                    <a:pt x="448" y="63"/>
                    <a:pt x="448" y="45"/>
                  </a:cubicBezTo>
                  <a:cubicBezTo>
                    <a:pt x="448" y="43"/>
                    <a:pt x="449" y="43"/>
                    <a:pt x="450" y="43"/>
                  </a:cubicBezTo>
                  <a:cubicBezTo>
                    <a:pt x="458" y="43"/>
                    <a:pt x="465" y="43"/>
                    <a:pt x="473" y="43"/>
                  </a:cubicBezTo>
                  <a:cubicBezTo>
                    <a:pt x="475" y="43"/>
                    <a:pt x="475" y="43"/>
                    <a:pt x="475" y="46"/>
                  </a:cubicBezTo>
                  <a:cubicBezTo>
                    <a:pt x="475" y="58"/>
                    <a:pt x="475" y="71"/>
                    <a:pt x="475" y="83"/>
                  </a:cubicBezTo>
                  <a:cubicBezTo>
                    <a:pt x="475" y="87"/>
                    <a:pt x="475" y="91"/>
                    <a:pt x="477" y="94"/>
                  </a:cubicBezTo>
                  <a:cubicBezTo>
                    <a:pt x="479" y="98"/>
                    <a:pt x="482" y="101"/>
                    <a:pt x="486" y="102"/>
                  </a:cubicBezTo>
                  <a:cubicBezTo>
                    <a:pt x="490" y="103"/>
                    <a:pt x="493" y="103"/>
                    <a:pt x="497" y="103"/>
                  </a:cubicBezTo>
                  <a:cubicBezTo>
                    <a:pt x="498" y="103"/>
                    <a:pt x="500" y="102"/>
                    <a:pt x="502" y="101"/>
                  </a:cubicBezTo>
                  <a:cubicBezTo>
                    <a:pt x="502" y="101"/>
                    <a:pt x="503" y="101"/>
                    <a:pt x="503" y="100"/>
                  </a:cubicBezTo>
                  <a:cubicBezTo>
                    <a:pt x="503" y="97"/>
                    <a:pt x="503" y="95"/>
                    <a:pt x="503" y="92"/>
                  </a:cubicBezTo>
                  <a:cubicBezTo>
                    <a:pt x="499" y="94"/>
                    <a:pt x="496" y="94"/>
                    <a:pt x="493" y="94"/>
                  </a:cubicBezTo>
                  <a:close/>
                  <a:moveTo>
                    <a:pt x="841" y="42"/>
                  </a:moveTo>
                  <a:cubicBezTo>
                    <a:pt x="841" y="42"/>
                    <a:pt x="841" y="42"/>
                    <a:pt x="841" y="42"/>
                  </a:cubicBezTo>
                  <a:cubicBezTo>
                    <a:pt x="841" y="42"/>
                    <a:pt x="841" y="42"/>
                    <a:pt x="841" y="42"/>
                  </a:cubicBezTo>
                  <a:cubicBezTo>
                    <a:pt x="842" y="42"/>
                    <a:pt x="842" y="42"/>
                    <a:pt x="843" y="42"/>
                  </a:cubicBezTo>
                  <a:cubicBezTo>
                    <a:pt x="844" y="42"/>
                    <a:pt x="845" y="42"/>
                    <a:pt x="845" y="42"/>
                  </a:cubicBezTo>
                  <a:cubicBezTo>
                    <a:pt x="846" y="42"/>
                    <a:pt x="847" y="42"/>
                    <a:pt x="848" y="42"/>
                  </a:cubicBezTo>
                  <a:cubicBezTo>
                    <a:pt x="848" y="42"/>
                    <a:pt x="848" y="42"/>
                    <a:pt x="848" y="42"/>
                  </a:cubicBezTo>
                  <a:cubicBezTo>
                    <a:pt x="848" y="42"/>
                    <a:pt x="848" y="42"/>
                    <a:pt x="848" y="42"/>
                  </a:cubicBezTo>
                  <a:cubicBezTo>
                    <a:pt x="848" y="43"/>
                    <a:pt x="849" y="42"/>
                    <a:pt x="849" y="43"/>
                  </a:cubicBezTo>
                  <a:cubicBezTo>
                    <a:pt x="849" y="43"/>
                    <a:pt x="849" y="43"/>
                    <a:pt x="849" y="43"/>
                  </a:cubicBezTo>
                  <a:cubicBezTo>
                    <a:pt x="849" y="43"/>
                    <a:pt x="849" y="43"/>
                    <a:pt x="849" y="43"/>
                  </a:cubicBezTo>
                  <a:cubicBezTo>
                    <a:pt x="850" y="43"/>
                    <a:pt x="850" y="43"/>
                    <a:pt x="850" y="43"/>
                  </a:cubicBezTo>
                  <a:cubicBezTo>
                    <a:pt x="850" y="43"/>
                    <a:pt x="850" y="43"/>
                    <a:pt x="850" y="43"/>
                  </a:cubicBezTo>
                  <a:cubicBezTo>
                    <a:pt x="851" y="43"/>
                    <a:pt x="851" y="43"/>
                    <a:pt x="851" y="43"/>
                  </a:cubicBezTo>
                  <a:cubicBezTo>
                    <a:pt x="851" y="43"/>
                    <a:pt x="851" y="43"/>
                    <a:pt x="851" y="43"/>
                  </a:cubicBezTo>
                  <a:cubicBezTo>
                    <a:pt x="851" y="44"/>
                    <a:pt x="852" y="44"/>
                    <a:pt x="852" y="44"/>
                  </a:cubicBezTo>
                  <a:cubicBezTo>
                    <a:pt x="852" y="44"/>
                    <a:pt x="852" y="44"/>
                    <a:pt x="852" y="44"/>
                  </a:cubicBezTo>
                  <a:cubicBezTo>
                    <a:pt x="852" y="44"/>
                    <a:pt x="852" y="44"/>
                    <a:pt x="852" y="44"/>
                  </a:cubicBezTo>
                  <a:cubicBezTo>
                    <a:pt x="852" y="44"/>
                    <a:pt x="852" y="44"/>
                    <a:pt x="852" y="44"/>
                  </a:cubicBezTo>
                  <a:cubicBezTo>
                    <a:pt x="853" y="44"/>
                    <a:pt x="853" y="44"/>
                    <a:pt x="853" y="44"/>
                  </a:cubicBezTo>
                  <a:cubicBezTo>
                    <a:pt x="853" y="44"/>
                    <a:pt x="853" y="44"/>
                    <a:pt x="853" y="44"/>
                  </a:cubicBezTo>
                  <a:cubicBezTo>
                    <a:pt x="853" y="45"/>
                    <a:pt x="853" y="45"/>
                    <a:pt x="853" y="45"/>
                  </a:cubicBezTo>
                  <a:cubicBezTo>
                    <a:pt x="853" y="45"/>
                    <a:pt x="853" y="45"/>
                    <a:pt x="853" y="45"/>
                  </a:cubicBezTo>
                  <a:cubicBezTo>
                    <a:pt x="854" y="45"/>
                    <a:pt x="854" y="45"/>
                    <a:pt x="854" y="45"/>
                  </a:cubicBezTo>
                  <a:cubicBezTo>
                    <a:pt x="854" y="45"/>
                    <a:pt x="854" y="45"/>
                    <a:pt x="854" y="45"/>
                  </a:cubicBezTo>
                  <a:cubicBezTo>
                    <a:pt x="854" y="45"/>
                    <a:pt x="854" y="45"/>
                    <a:pt x="854" y="45"/>
                  </a:cubicBezTo>
                  <a:cubicBezTo>
                    <a:pt x="854" y="45"/>
                    <a:pt x="854" y="45"/>
                    <a:pt x="854" y="45"/>
                  </a:cubicBezTo>
                  <a:cubicBezTo>
                    <a:pt x="854" y="46"/>
                    <a:pt x="854" y="46"/>
                    <a:pt x="855" y="46"/>
                  </a:cubicBezTo>
                  <a:cubicBezTo>
                    <a:pt x="855" y="46"/>
                    <a:pt x="855" y="46"/>
                    <a:pt x="855" y="46"/>
                  </a:cubicBezTo>
                  <a:cubicBezTo>
                    <a:pt x="855" y="46"/>
                    <a:pt x="855" y="46"/>
                    <a:pt x="855" y="46"/>
                  </a:cubicBezTo>
                  <a:cubicBezTo>
                    <a:pt x="855" y="46"/>
                    <a:pt x="855" y="46"/>
                    <a:pt x="855" y="46"/>
                  </a:cubicBezTo>
                  <a:cubicBezTo>
                    <a:pt x="855" y="46"/>
                    <a:pt x="855" y="46"/>
                    <a:pt x="855" y="47"/>
                  </a:cubicBezTo>
                  <a:cubicBezTo>
                    <a:pt x="855" y="47"/>
                    <a:pt x="855" y="47"/>
                    <a:pt x="855" y="47"/>
                  </a:cubicBezTo>
                  <a:cubicBezTo>
                    <a:pt x="856" y="47"/>
                    <a:pt x="856" y="47"/>
                    <a:pt x="856" y="48"/>
                  </a:cubicBezTo>
                  <a:cubicBezTo>
                    <a:pt x="856" y="47"/>
                    <a:pt x="856" y="47"/>
                    <a:pt x="856" y="47"/>
                  </a:cubicBezTo>
                  <a:cubicBezTo>
                    <a:pt x="856" y="48"/>
                    <a:pt x="856" y="48"/>
                    <a:pt x="856" y="48"/>
                  </a:cubicBezTo>
                  <a:cubicBezTo>
                    <a:pt x="856" y="48"/>
                    <a:pt x="856" y="48"/>
                    <a:pt x="856" y="48"/>
                  </a:cubicBezTo>
                  <a:cubicBezTo>
                    <a:pt x="857" y="48"/>
                    <a:pt x="856" y="48"/>
                    <a:pt x="857" y="49"/>
                  </a:cubicBezTo>
                  <a:cubicBezTo>
                    <a:pt x="857" y="49"/>
                    <a:pt x="857" y="49"/>
                    <a:pt x="857" y="49"/>
                  </a:cubicBezTo>
                  <a:cubicBezTo>
                    <a:pt x="857" y="49"/>
                    <a:pt x="857" y="49"/>
                    <a:pt x="857" y="49"/>
                  </a:cubicBezTo>
                  <a:cubicBezTo>
                    <a:pt x="857" y="49"/>
                    <a:pt x="857" y="49"/>
                    <a:pt x="857" y="49"/>
                  </a:cubicBezTo>
                  <a:cubicBezTo>
                    <a:pt x="857" y="49"/>
                    <a:pt x="857" y="50"/>
                    <a:pt x="857" y="50"/>
                  </a:cubicBezTo>
                  <a:cubicBezTo>
                    <a:pt x="857" y="50"/>
                    <a:pt x="857" y="50"/>
                    <a:pt x="857" y="50"/>
                  </a:cubicBezTo>
                  <a:cubicBezTo>
                    <a:pt x="858" y="50"/>
                    <a:pt x="857" y="50"/>
                    <a:pt x="858" y="51"/>
                  </a:cubicBezTo>
                  <a:cubicBezTo>
                    <a:pt x="858" y="51"/>
                    <a:pt x="858" y="51"/>
                    <a:pt x="858" y="51"/>
                  </a:cubicBezTo>
                  <a:cubicBezTo>
                    <a:pt x="858" y="51"/>
                    <a:pt x="858" y="51"/>
                    <a:pt x="858" y="52"/>
                  </a:cubicBezTo>
                  <a:cubicBezTo>
                    <a:pt x="858" y="52"/>
                    <a:pt x="858" y="52"/>
                    <a:pt x="858" y="52"/>
                  </a:cubicBezTo>
                  <a:cubicBezTo>
                    <a:pt x="858" y="52"/>
                    <a:pt x="858" y="53"/>
                    <a:pt x="858" y="53"/>
                  </a:cubicBezTo>
                  <a:cubicBezTo>
                    <a:pt x="858" y="53"/>
                    <a:pt x="858" y="53"/>
                    <a:pt x="858" y="53"/>
                  </a:cubicBezTo>
                  <a:cubicBezTo>
                    <a:pt x="859" y="54"/>
                    <a:pt x="858" y="54"/>
                    <a:pt x="859" y="55"/>
                  </a:cubicBezTo>
                  <a:cubicBezTo>
                    <a:pt x="859" y="55"/>
                    <a:pt x="859" y="55"/>
                    <a:pt x="859" y="55"/>
                  </a:cubicBezTo>
                  <a:cubicBezTo>
                    <a:pt x="859" y="55"/>
                    <a:pt x="859" y="56"/>
                    <a:pt x="859" y="57"/>
                  </a:cubicBezTo>
                  <a:cubicBezTo>
                    <a:pt x="859" y="57"/>
                    <a:pt x="859" y="57"/>
                    <a:pt x="859" y="57"/>
                  </a:cubicBezTo>
                  <a:cubicBezTo>
                    <a:pt x="859" y="58"/>
                    <a:pt x="859" y="59"/>
                    <a:pt x="859" y="60"/>
                  </a:cubicBezTo>
                  <a:cubicBezTo>
                    <a:pt x="859" y="73"/>
                    <a:pt x="859" y="86"/>
                    <a:pt x="859" y="100"/>
                  </a:cubicBezTo>
                  <a:cubicBezTo>
                    <a:pt x="859" y="100"/>
                    <a:pt x="859" y="101"/>
                    <a:pt x="859" y="101"/>
                  </a:cubicBezTo>
                  <a:cubicBezTo>
                    <a:pt x="859" y="101"/>
                    <a:pt x="859" y="101"/>
                    <a:pt x="859" y="101"/>
                  </a:cubicBezTo>
                  <a:cubicBezTo>
                    <a:pt x="862" y="102"/>
                    <a:pt x="864" y="102"/>
                    <a:pt x="866" y="102"/>
                  </a:cubicBezTo>
                  <a:cubicBezTo>
                    <a:pt x="867" y="102"/>
                    <a:pt x="869" y="102"/>
                    <a:pt x="870" y="101"/>
                  </a:cubicBezTo>
                  <a:cubicBezTo>
                    <a:pt x="870" y="101"/>
                    <a:pt x="870" y="101"/>
                    <a:pt x="870" y="101"/>
                  </a:cubicBezTo>
                  <a:cubicBezTo>
                    <a:pt x="871" y="101"/>
                    <a:pt x="870" y="100"/>
                    <a:pt x="870" y="100"/>
                  </a:cubicBezTo>
                  <a:cubicBezTo>
                    <a:pt x="870" y="87"/>
                    <a:pt x="870" y="74"/>
                    <a:pt x="870" y="62"/>
                  </a:cubicBezTo>
                  <a:cubicBezTo>
                    <a:pt x="870" y="61"/>
                    <a:pt x="870" y="61"/>
                    <a:pt x="871" y="60"/>
                  </a:cubicBezTo>
                  <a:cubicBezTo>
                    <a:pt x="870" y="60"/>
                    <a:pt x="870" y="60"/>
                    <a:pt x="871" y="59"/>
                  </a:cubicBezTo>
                  <a:cubicBezTo>
                    <a:pt x="871" y="59"/>
                    <a:pt x="871" y="58"/>
                    <a:pt x="871" y="58"/>
                  </a:cubicBezTo>
                  <a:cubicBezTo>
                    <a:pt x="871" y="57"/>
                    <a:pt x="871" y="57"/>
                    <a:pt x="871" y="57"/>
                  </a:cubicBezTo>
                  <a:cubicBezTo>
                    <a:pt x="871" y="57"/>
                    <a:pt x="871" y="57"/>
                    <a:pt x="871" y="56"/>
                  </a:cubicBezTo>
                  <a:cubicBezTo>
                    <a:pt x="871" y="56"/>
                    <a:pt x="871" y="56"/>
                    <a:pt x="871" y="56"/>
                  </a:cubicBezTo>
                  <a:cubicBezTo>
                    <a:pt x="871" y="56"/>
                    <a:pt x="871" y="55"/>
                    <a:pt x="872" y="55"/>
                  </a:cubicBezTo>
                  <a:cubicBezTo>
                    <a:pt x="872" y="55"/>
                    <a:pt x="872" y="55"/>
                    <a:pt x="872" y="55"/>
                  </a:cubicBezTo>
                  <a:cubicBezTo>
                    <a:pt x="872" y="55"/>
                    <a:pt x="872" y="55"/>
                    <a:pt x="872" y="55"/>
                  </a:cubicBezTo>
                  <a:cubicBezTo>
                    <a:pt x="872" y="55"/>
                    <a:pt x="872" y="54"/>
                    <a:pt x="872" y="54"/>
                  </a:cubicBezTo>
                  <a:cubicBezTo>
                    <a:pt x="872" y="54"/>
                    <a:pt x="872" y="54"/>
                    <a:pt x="872" y="54"/>
                  </a:cubicBezTo>
                  <a:cubicBezTo>
                    <a:pt x="872" y="54"/>
                    <a:pt x="872" y="53"/>
                    <a:pt x="872" y="53"/>
                  </a:cubicBezTo>
                  <a:cubicBezTo>
                    <a:pt x="872" y="53"/>
                    <a:pt x="872" y="53"/>
                    <a:pt x="872" y="53"/>
                  </a:cubicBezTo>
                  <a:cubicBezTo>
                    <a:pt x="872" y="53"/>
                    <a:pt x="872" y="53"/>
                    <a:pt x="873" y="52"/>
                  </a:cubicBezTo>
                  <a:cubicBezTo>
                    <a:pt x="873" y="52"/>
                    <a:pt x="873" y="52"/>
                    <a:pt x="873" y="52"/>
                  </a:cubicBezTo>
                  <a:cubicBezTo>
                    <a:pt x="873" y="52"/>
                    <a:pt x="873" y="52"/>
                    <a:pt x="873" y="52"/>
                  </a:cubicBezTo>
                  <a:cubicBezTo>
                    <a:pt x="873" y="52"/>
                    <a:pt x="873" y="52"/>
                    <a:pt x="873" y="52"/>
                  </a:cubicBezTo>
                  <a:cubicBezTo>
                    <a:pt x="873" y="52"/>
                    <a:pt x="873" y="51"/>
                    <a:pt x="873" y="51"/>
                  </a:cubicBezTo>
                  <a:cubicBezTo>
                    <a:pt x="873" y="51"/>
                    <a:pt x="873" y="51"/>
                    <a:pt x="873" y="51"/>
                  </a:cubicBezTo>
                  <a:cubicBezTo>
                    <a:pt x="874" y="51"/>
                    <a:pt x="873" y="51"/>
                    <a:pt x="874" y="50"/>
                  </a:cubicBezTo>
                  <a:cubicBezTo>
                    <a:pt x="874" y="50"/>
                    <a:pt x="874" y="50"/>
                    <a:pt x="874" y="50"/>
                  </a:cubicBezTo>
                  <a:cubicBezTo>
                    <a:pt x="874" y="50"/>
                    <a:pt x="874" y="50"/>
                    <a:pt x="874" y="50"/>
                  </a:cubicBezTo>
                  <a:cubicBezTo>
                    <a:pt x="874" y="50"/>
                    <a:pt x="874" y="50"/>
                    <a:pt x="874" y="50"/>
                  </a:cubicBezTo>
                  <a:cubicBezTo>
                    <a:pt x="874" y="50"/>
                    <a:pt x="874" y="49"/>
                    <a:pt x="874" y="49"/>
                  </a:cubicBezTo>
                  <a:cubicBezTo>
                    <a:pt x="874" y="49"/>
                    <a:pt x="874" y="49"/>
                    <a:pt x="874" y="49"/>
                  </a:cubicBezTo>
                  <a:cubicBezTo>
                    <a:pt x="874" y="49"/>
                    <a:pt x="875" y="49"/>
                    <a:pt x="875" y="49"/>
                  </a:cubicBezTo>
                  <a:cubicBezTo>
                    <a:pt x="875" y="49"/>
                    <a:pt x="875" y="49"/>
                    <a:pt x="875" y="49"/>
                  </a:cubicBezTo>
                  <a:cubicBezTo>
                    <a:pt x="875" y="49"/>
                    <a:pt x="875" y="48"/>
                    <a:pt x="875" y="48"/>
                  </a:cubicBezTo>
                  <a:cubicBezTo>
                    <a:pt x="875" y="48"/>
                    <a:pt x="875" y="48"/>
                    <a:pt x="875" y="48"/>
                  </a:cubicBezTo>
                  <a:cubicBezTo>
                    <a:pt x="875" y="48"/>
                    <a:pt x="875" y="48"/>
                    <a:pt x="875" y="48"/>
                  </a:cubicBezTo>
                  <a:cubicBezTo>
                    <a:pt x="875" y="48"/>
                    <a:pt x="875" y="48"/>
                    <a:pt x="875" y="48"/>
                  </a:cubicBezTo>
                  <a:cubicBezTo>
                    <a:pt x="876" y="48"/>
                    <a:pt x="876" y="48"/>
                    <a:pt x="876" y="47"/>
                  </a:cubicBezTo>
                  <a:cubicBezTo>
                    <a:pt x="876" y="48"/>
                    <a:pt x="876" y="48"/>
                    <a:pt x="876" y="48"/>
                  </a:cubicBezTo>
                  <a:cubicBezTo>
                    <a:pt x="876" y="47"/>
                    <a:pt x="876" y="47"/>
                    <a:pt x="876" y="47"/>
                  </a:cubicBezTo>
                  <a:cubicBezTo>
                    <a:pt x="876" y="47"/>
                    <a:pt x="876" y="47"/>
                    <a:pt x="876" y="47"/>
                  </a:cubicBezTo>
                  <a:cubicBezTo>
                    <a:pt x="877" y="47"/>
                    <a:pt x="877" y="46"/>
                    <a:pt x="878" y="45"/>
                  </a:cubicBezTo>
                  <a:cubicBezTo>
                    <a:pt x="878" y="45"/>
                    <a:pt x="878" y="45"/>
                    <a:pt x="878" y="45"/>
                  </a:cubicBezTo>
                  <a:cubicBezTo>
                    <a:pt x="878" y="45"/>
                    <a:pt x="878" y="45"/>
                    <a:pt x="878" y="45"/>
                  </a:cubicBezTo>
                  <a:cubicBezTo>
                    <a:pt x="878" y="45"/>
                    <a:pt x="878" y="45"/>
                    <a:pt x="878" y="45"/>
                  </a:cubicBezTo>
                  <a:cubicBezTo>
                    <a:pt x="878" y="45"/>
                    <a:pt x="878" y="45"/>
                    <a:pt x="879" y="45"/>
                  </a:cubicBezTo>
                  <a:cubicBezTo>
                    <a:pt x="879" y="45"/>
                    <a:pt x="879" y="45"/>
                    <a:pt x="879" y="45"/>
                  </a:cubicBezTo>
                  <a:cubicBezTo>
                    <a:pt x="879" y="45"/>
                    <a:pt x="879" y="44"/>
                    <a:pt x="880" y="44"/>
                  </a:cubicBezTo>
                  <a:cubicBezTo>
                    <a:pt x="880" y="44"/>
                    <a:pt x="880" y="44"/>
                    <a:pt x="880" y="44"/>
                  </a:cubicBezTo>
                  <a:cubicBezTo>
                    <a:pt x="880" y="44"/>
                    <a:pt x="880" y="44"/>
                    <a:pt x="880" y="44"/>
                  </a:cubicBezTo>
                  <a:cubicBezTo>
                    <a:pt x="880" y="44"/>
                    <a:pt x="880" y="44"/>
                    <a:pt x="880" y="44"/>
                  </a:cubicBezTo>
                  <a:cubicBezTo>
                    <a:pt x="880" y="44"/>
                    <a:pt x="881" y="44"/>
                    <a:pt x="881" y="43"/>
                  </a:cubicBezTo>
                  <a:cubicBezTo>
                    <a:pt x="881" y="43"/>
                    <a:pt x="881" y="43"/>
                    <a:pt x="881" y="43"/>
                  </a:cubicBezTo>
                  <a:cubicBezTo>
                    <a:pt x="881" y="43"/>
                    <a:pt x="881" y="43"/>
                    <a:pt x="881" y="43"/>
                  </a:cubicBezTo>
                  <a:cubicBezTo>
                    <a:pt x="881" y="43"/>
                    <a:pt x="881" y="43"/>
                    <a:pt x="882" y="43"/>
                  </a:cubicBezTo>
                  <a:cubicBezTo>
                    <a:pt x="882" y="43"/>
                    <a:pt x="882" y="43"/>
                    <a:pt x="882" y="43"/>
                  </a:cubicBezTo>
                  <a:cubicBezTo>
                    <a:pt x="882" y="43"/>
                    <a:pt x="882" y="43"/>
                    <a:pt x="882" y="43"/>
                  </a:cubicBezTo>
                  <a:cubicBezTo>
                    <a:pt x="882" y="43"/>
                    <a:pt x="882" y="43"/>
                    <a:pt x="882" y="43"/>
                  </a:cubicBezTo>
                  <a:cubicBezTo>
                    <a:pt x="883" y="43"/>
                    <a:pt x="883" y="43"/>
                    <a:pt x="883" y="43"/>
                  </a:cubicBezTo>
                  <a:cubicBezTo>
                    <a:pt x="883" y="43"/>
                    <a:pt x="883" y="43"/>
                    <a:pt x="883" y="42"/>
                  </a:cubicBezTo>
                  <a:cubicBezTo>
                    <a:pt x="884" y="42"/>
                    <a:pt x="884" y="42"/>
                    <a:pt x="884" y="42"/>
                  </a:cubicBezTo>
                  <a:cubicBezTo>
                    <a:pt x="884" y="42"/>
                    <a:pt x="884" y="42"/>
                    <a:pt x="884" y="42"/>
                  </a:cubicBezTo>
                  <a:cubicBezTo>
                    <a:pt x="884" y="42"/>
                    <a:pt x="885" y="42"/>
                    <a:pt x="886" y="42"/>
                  </a:cubicBezTo>
                  <a:cubicBezTo>
                    <a:pt x="887" y="42"/>
                    <a:pt x="887" y="42"/>
                    <a:pt x="888" y="42"/>
                  </a:cubicBezTo>
                  <a:cubicBezTo>
                    <a:pt x="889" y="42"/>
                    <a:pt x="890" y="42"/>
                    <a:pt x="890" y="42"/>
                  </a:cubicBezTo>
                  <a:cubicBezTo>
                    <a:pt x="891" y="42"/>
                    <a:pt x="891" y="42"/>
                    <a:pt x="891" y="42"/>
                  </a:cubicBezTo>
                  <a:cubicBezTo>
                    <a:pt x="891" y="42"/>
                    <a:pt x="891" y="42"/>
                    <a:pt x="891" y="42"/>
                  </a:cubicBezTo>
                  <a:cubicBezTo>
                    <a:pt x="891" y="43"/>
                    <a:pt x="892" y="42"/>
                    <a:pt x="892" y="43"/>
                  </a:cubicBezTo>
                  <a:cubicBezTo>
                    <a:pt x="892" y="43"/>
                    <a:pt x="892" y="43"/>
                    <a:pt x="892" y="43"/>
                  </a:cubicBezTo>
                  <a:cubicBezTo>
                    <a:pt x="892" y="43"/>
                    <a:pt x="892" y="43"/>
                    <a:pt x="892" y="43"/>
                  </a:cubicBezTo>
                  <a:cubicBezTo>
                    <a:pt x="892" y="43"/>
                    <a:pt x="893" y="43"/>
                    <a:pt x="893" y="43"/>
                  </a:cubicBezTo>
                  <a:cubicBezTo>
                    <a:pt x="893" y="43"/>
                    <a:pt x="893" y="43"/>
                    <a:pt x="893" y="43"/>
                  </a:cubicBezTo>
                  <a:cubicBezTo>
                    <a:pt x="893" y="43"/>
                    <a:pt x="894" y="43"/>
                    <a:pt x="894" y="43"/>
                  </a:cubicBezTo>
                  <a:cubicBezTo>
                    <a:pt x="894" y="43"/>
                    <a:pt x="894" y="43"/>
                    <a:pt x="894" y="43"/>
                  </a:cubicBezTo>
                  <a:cubicBezTo>
                    <a:pt x="894" y="44"/>
                    <a:pt x="894" y="44"/>
                    <a:pt x="895" y="44"/>
                  </a:cubicBezTo>
                  <a:cubicBezTo>
                    <a:pt x="895" y="44"/>
                    <a:pt x="895" y="44"/>
                    <a:pt x="895" y="44"/>
                  </a:cubicBezTo>
                  <a:cubicBezTo>
                    <a:pt x="895" y="44"/>
                    <a:pt x="895" y="44"/>
                    <a:pt x="895" y="44"/>
                  </a:cubicBezTo>
                  <a:cubicBezTo>
                    <a:pt x="895" y="44"/>
                    <a:pt x="895" y="44"/>
                    <a:pt x="895" y="44"/>
                  </a:cubicBezTo>
                  <a:cubicBezTo>
                    <a:pt x="895" y="44"/>
                    <a:pt x="896" y="44"/>
                    <a:pt x="896" y="44"/>
                  </a:cubicBezTo>
                  <a:cubicBezTo>
                    <a:pt x="896" y="44"/>
                    <a:pt x="896" y="44"/>
                    <a:pt x="896" y="44"/>
                  </a:cubicBezTo>
                  <a:cubicBezTo>
                    <a:pt x="896" y="45"/>
                    <a:pt x="896" y="45"/>
                    <a:pt x="896" y="45"/>
                  </a:cubicBezTo>
                  <a:cubicBezTo>
                    <a:pt x="896" y="45"/>
                    <a:pt x="896" y="45"/>
                    <a:pt x="896" y="45"/>
                  </a:cubicBezTo>
                  <a:cubicBezTo>
                    <a:pt x="896" y="45"/>
                    <a:pt x="897" y="45"/>
                    <a:pt x="897" y="45"/>
                  </a:cubicBezTo>
                  <a:cubicBezTo>
                    <a:pt x="897" y="45"/>
                    <a:pt x="897" y="45"/>
                    <a:pt x="897" y="45"/>
                  </a:cubicBezTo>
                  <a:cubicBezTo>
                    <a:pt x="897" y="45"/>
                    <a:pt x="897" y="45"/>
                    <a:pt x="897" y="45"/>
                  </a:cubicBezTo>
                  <a:cubicBezTo>
                    <a:pt x="897" y="45"/>
                    <a:pt x="897" y="45"/>
                    <a:pt x="897" y="45"/>
                  </a:cubicBezTo>
                  <a:cubicBezTo>
                    <a:pt x="897" y="46"/>
                    <a:pt x="897" y="46"/>
                    <a:pt x="897" y="46"/>
                  </a:cubicBezTo>
                  <a:cubicBezTo>
                    <a:pt x="897" y="46"/>
                    <a:pt x="897" y="46"/>
                    <a:pt x="897" y="46"/>
                  </a:cubicBezTo>
                  <a:cubicBezTo>
                    <a:pt x="897" y="46"/>
                    <a:pt x="898" y="46"/>
                    <a:pt x="898" y="46"/>
                  </a:cubicBezTo>
                  <a:cubicBezTo>
                    <a:pt x="898" y="46"/>
                    <a:pt x="898" y="46"/>
                    <a:pt x="898" y="46"/>
                  </a:cubicBezTo>
                  <a:cubicBezTo>
                    <a:pt x="898" y="46"/>
                    <a:pt x="898" y="47"/>
                    <a:pt x="898" y="47"/>
                  </a:cubicBezTo>
                  <a:cubicBezTo>
                    <a:pt x="898" y="47"/>
                    <a:pt x="898" y="47"/>
                    <a:pt x="898" y="47"/>
                  </a:cubicBezTo>
                  <a:cubicBezTo>
                    <a:pt x="898" y="47"/>
                    <a:pt x="898" y="47"/>
                    <a:pt x="898" y="47"/>
                  </a:cubicBezTo>
                  <a:cubicBezTo>
                    <a:pt x="898" y="47"/>
                    <a:pt x="898" y="47"/>
                    <a:pt x="898" y="47"/>
                  </a:cubicBezTo>
                  <a:cubicBezTo>
                    <a:pt x="899" y="47"/>
                    <a:pt x="899" y="48"/>
                    <a:pt x="899" y="48"/>
                  </a:cubicBezTo>
                  <a:cubicBezTo>
                    <a:pt x="899" y="48"/>
                    <a:pt x="899" y="48"/>
                    <a:pt x="899" y="48"/>
                  </a:cubicBezTo>
                  <a:cubicBezTo>
                    <a:pt x="899" y="48"/>
                    <a:pt x="899" y="48"/>
                    <a:pt x="899" y="48"/>
                  </a:cubicBezTo>
                  <a:cubicBezTo>
                    <a:pt x="899" y="48"/>
                    <a:pt x="899" y="48"/>
                    <a:pt x="899" y="48"/>
                  </a:cubicBezTo>
                  <a:cubicBezTo>
                    <a:pt x="899" y="48"/>
                    <a:pt x="899" y="48"/>
                    <a:pt x="899" y="48"/>
                  </a:cubicBezTo>
                  <a:cubicBezTo>
                    <a:pt x="899" y="49"/>
                    <a:pt x="899" y="49"/>
                    <a:pt x="899" y="49"/>
                  </a:cubicBezTo>
                  <a:cubicBezTo>
                    <a:pt x="900" y="49"/>
                    <a:pt x="900" y="49"/>
                    <a:pt x="899" y="49"/>
                  </a:cubicBezTo>
                  <a:cubicBezTo>
                    <a:pt x="900" y="49"/>
                    <a:pt x="900" y="50"/>
                    <a:pt x="900" y="50"/>
                  </a:cubicBezTo>
                  <a:cubicBezTo>
                    <a:pt x="900" y="50"/>
                    <a:pt x="900" y="50"/>
                    <a:pt x="900" y="50"/>
                  </a:cubicBezTo>
                  <a:cubicBezTo>
                    <a:pt x="900" y="50"/>
                    <a:pt x="900" y="51"/>
                    <a:pt x="900" y="51"/>
                  </a:cubicBezTo>
                  <a:cubicBezTo>
                    <a:pt x="900" y="51"/>
                    <a:pt x="900" y="51"/>
                    <a:pt x="900" y="51"/>
                  </a:cubicBezTo>
                  <a:cubicBezTo>
                    <a:pt x="900" y="51"/>
                    <a:pt x="900" y="52"/>
                    <a:pt x="900" y="52"/>
                  </a:cubicBezTo>
                  <a:cubicBezTo>
                    <a:pt x="901" y="52"/>
                    <a:pt x="901" y="52"/>
                    <a:pt x="901" y="52"/>
                  </a:cubicBezTo>
                  <a:cubicBezTo>
                    <a:pt x="901" y="53"/>
                    <a:pt x="901" y="53"/>
                    <a:pt x="901" y="53"/>
                  </a:cubicBezTo>
                  <a:cubicBezTo>
                    <a:pt x="901" y="54"/>
                    <a:pt x="901" y="54"/>
                    <a:pt x="901" y="54"/>
                  </a:cubicBezTo>
                  <a:cubicBezTo>
                    <a:pt x="901" y="54"/>
                    <a:pt x="901" y="55"/>
                    <a:pt x="901" y="56"/>
                  </a:cubicBezTo>
                  <a:cubicBezTo>
                    <a:pt x="901" y="56"/>
                    <a:pt x="901" y="56"/>
                    <a:pt x="901" y="56"/>
                  </a:cubicBezTo>
                  <a:cubicBezTo>
                    <a:pt x="902" y="57"/>
                    <a:pt x="901" y="58"/>
                    <a:pt x="902" y="59"/>
                  </a:cubicBezTo>
                  <a:cubicBezTo>
                    <a:pt x="902" y="60"/>
                    <a:pt x="902" y="60"/>
                    <a:pt x="902" y="61"/>
                  </a:cubicBezTo>
                  <a:cubicBezTo>
                    <a:pt x="902" y="62"/>
                    <a:pt x="902" y="62"/>
                    <a:pt x="902" y="63"/>
                  </a:cubicBezTo>
                  <a:cubicBezTo>
                    <a:pt x="902" y="75"/>
                    <a:pt x="902" y="87"/>
                    <a:pt x="902" y="99"/>
                  </a:cubicBezTo>
                  <a:cubicBezTo>
                    <a:pt x="902" y="102"/>
                    <a:pt x="901" y="102"/>
                    <a:pt x="904" y="102"/>
                  </a:cubicBezTo>
                  <a:cubicBezTo>
                    <a:pt x="906" y="102"/>
                    <a:pt x="908" y="102"/>
                    <a:pt x="911" y="102"/>
                  </a:cubicBezTo>
                  <a:cubicBezTo>
                    <a:pt x="912" y="102"/>
                    <a:pt x="912" y="102"/>
                    <a:pt x="912" y="100"/>
                  </a:cubicBezTo>
                  <a:cubicBezTo>
                    <a:pt x="912" y="85"/>
                    <a:pt x="912" y="71"/>
                    <a:pt x="912" y="56"/>
                  </a:cubicBezTo>
                  <a:cubicBezTo>
                    <a:pt x="912" y="56"/>
                    <a:pt x="913" y="55"/>
                    <a:pt x="912" y="55"/>
                  </a:cubicBezTo>
                  <a:cubicBezTo>
                    <a:pt x="912" y="54"/>
                    <a:pt x="912" y="54"/>
                    <a:pt x="912" y="54"/>
                  </a:cubicBezTo>
                  <a:cubicBezTo>
                    <a:pt x="912" y="53"/>
                    <a:pt x="912" y="52"/>
                    <a:pt x="912" y="52"/>
                  </a:cubicBezTo>
                  <a:cubicBezTo>
                    <a:pt x="912" y="52"/>
                    <a:pt x="912" y="51"/>
                    <a:pt x="912" y="51"/>
                  </a:cubicBezTo>
                  <a:cubicBezTo>
                    <a:pt x="912" y="51"/>
                    <a:pt x="912" y="50"/>
                    <a:pt x="912" y="50"/>
                  </a:cubicBezTo>
                  <a:cubicBezTo>
                    <a:pt x="912" y="50"/>
                    <a:pt x="912" y="50"/>
                    <a:pt x="912" y="50"/>
                  </a:cubicBezTo>
                  <a:cubicBezTo>
                    <a:pt x="912" y="49"/>
                    <a:pt x="912" y="49"/>
                    <a:pt x="912" y="49"/>
                  </a:cubicBezTo>
                  <a:cubicBezTo>
                    <a:pt x="911" y="49"/>
                    <a:pt x="912" y="49"/>
                    <a:pt x="911" y="48"/>
                  </a:cubicBezTo>
                  <a:cubicBezTo>
                    <a:pt x="911" y="48"/>
                    <a:pt x="911" y="48"/>
                    <a:pt x="911" y="48"/>
                  </a:cubicBezTo>
                  <a:cubicBezTo>
                    <a:pt x="911" y="48"/>
                    <a:pt x="911" y="48"/>
                    <a:pt x="911" y="48"/>
                  </a:cubicBezTo>
                  <a:cubicBezTo>
                    <a:pt x="911" y="48"/>
                    <a:pt x="911" y="47"/>
                    <a:pt x="911" y="47"/>
                  </a:cubicBezTo>
                  <a:cubicBezTo>
                    <a:pt x="911" y="47"/>
                    <a:pt x="911" y="47"/>
                    <a:pt x="911" y="47"/>
                  </a:cubicBezTo>
                  <a:cubicBezTo>
                    <a:pt x="911" y="47"/>
                    <a:pt x="911" y="46"/>
                    <a:pt x="911" y="46"/>
                  </a:cubicBezTo>
                  <a:cubicBezTo>
                    <a:pt x="911" y="46"/>
                    <a:pt x="911" y="46"/>
                    <a:pt x="911" y="46"/>
                  </a:cubicBezTo>
                  <a:cubicBezTo>
                    <a:pt x="910" y="46"/>
                    <a:pt x="910" y="45"/>
                    <a:pt x="910" y="45"/>
                  </a:cubicBezTo>
                  <a:cubicBezTo>
                    <a:pt x="910" y="45"/>
                    <a:pt x="910" y="45"/>
                    <a:pt x="910" y="45"/>
                  </a:cubicBezTo>
                  <a:cubicBezTo>
                    <a:pt x="910" y="45"/>
                    <a:pt x="910" y="44"/>
                    <a:pt x="910" y="44"/>
                  </a:cubicBezTo>
                  <a:cubicBezTo>
                    <a:pt x="910" y="44"/>
                    <a:pt x="910" y="44"/>
                    <a:pt x="910" y="44"/>
                  </a:cubicBezTo>
                  <a:cubicBezTo>
                    <a:pt x="910" y="44"/>
                    <a:pt x="910" y="44"/>
                    <a:pt x="910" y="43"/>
                  </a:cubicBezTo>
                  <a:cubicBezTo>
                    <a:pt x="910" y="43"/>
                    <a:pt x="910" y="43"/>
                    <a:pt x="910" y="43"/>
                  </a:cubicBezTo>
                  <a:cubicBezTo>
                    <a:pt x="909" y="43"/>
                    <a:pt x="909" y="43"/>
                    <a:pt x="909" y="43"/>
                  </a:cubicBezTo>
                  <a:cubicBezTo>
                    <a:pt x="909" y="43"/>
                    <a:pt x="909" y="43"/>
                    <a:pt x="909" y="43"/>
                  </a:cubicBezTo>
                  <a:cubicBezTo>
                    <a:pt x="909" y="43"/>
                    <a:pt x="909" y="42"/>
                    <a:pt x="909" y="42"/>
                  </a:cubicBezTo>
                  <a:cubicBezTo>
                    <a:pt x="909" y="42"/>
                    <a:pt x="909" y="42"/>
                    <a:pt x="909" y="42"/>
                  </a:cubicBezTo>
                  <a:cubicBezTo>
                    <a:pt x="909" y="42"/>
                    <a:pt x="909" y="41"/>
                    <a:pt x="908" y="41"/>
                  </a:cubicBezTo>
                  <a:cubicBezTo>
                    <a:pt x="908" y="41"/>
                    <a:pt x="908" y="41"/>
                    <a:pt x="908" y="41"/>
                  </a:cubicBezTo>
                  <a:cubicBezTo>
                    <a:pt x="908" y="41"/>
                    <a:pt x="908" y="41"/>
                    <a:pt x="908" y="41"/>
                  </a:cubicBezTo>
                  <a:cubicBezTo>
                    <a:pt x="908" y="41"/>
                    <a:pt x="908" y="41"/>
                    <a:pt x="908" y="41"/>
                  </a:cubicBezTo>
                  <a:cubicBezTo>
                    <a:pt x="908" y="41"/>
                    <a:pt x="908" y="40"/>
                    <a:pt x="908" y="40"/>
                  </a:cubicBezTo>
                  <a:cubicBezTo>
                    <a:pt x="908" y="40"/>
                    <a:pt x="908" y="40"/>
                    <a:pt x="908" y="40"/>
                  </a:cubicBezTo>
                  <a:cubicBezTo>
                    <a:pt x="908" y="40"/>
                    <a:pt x="908" y="40"/>
                    <a:pt x="907" y="40"/>
                  </a:cubicBezTo>
                  <a:cubicBezTo>
                    <a:pt x="907" y="40"/>
                    <a:pt x="907" y="40"/>
                    <a:pt x="907" y="40"/>
                  </a:cubicBezTo>
                  <a:cubicBezTo>
                    <a:pt x="907" y="40"/>
                    <a:pt x="907" y="40"/>
                    <a:pt x="907" y="40"/>
                  </a:cubicBezTo>
                  <a:cubicBezTo>
                    <a:pt x="907" y="40"/>
                    <a:pt x="907" y="40"/>
                    <a:pt x="907" y="40"/>
                  </a:cubicBezTo>
                  <a:cubicBezTo>
                    <a:pt x="907" y="39"/>
                    <a:pt x="907" y="39"/>
                    <a:pt x="906" y="39"/>
                  </a:cubicBezTo>
                  <a:cubicBezTo>
                    <a:pt x="906" y="39"/>
                    <a:pt x="906" y="39"/>
                    <a:pt x="906" y="39"/>
                  </a:cubicBezTo>
                  <a:cubicBezTo>
                    <a:pt x="906" y="38"/>
                    <a:pt x="906" y="38"/>
                    <a:pt x="906" y="38"/>
                  </a:cubicBezTo>
                  <a:cubicBezTo>
                    <a:pt x="906" y="38"/>
                    <a:pt x="906" y="38"/>
                    <a:pt x="906" y="38"/>
                  </a:cubicBezTo>
                  <a:cubicBezTo>
                    <a:pt x="906" y="38"/>
                    <a:pt x="906" y="38"/>
                    <a:pt x="906" y="38"/>
                  </a:cubicBezTo>
                  <a:cubicBezTo>
                    <a:pt x="906" y="38"/>
                    <a:pt x="906" y="38"/>
                    <a:pt x="906" y="38"/>
                  </a:cubicBezTo>
                  <a:cubicBezTo>
                    <a:pt x="906" y="38"/>
                    <a:pt x="905" y="38"/>
                    <a:pt x="905" y="38"/>
                  </a:cubicBezTo>
                  <a:cubicBezTo>
                    <a:pt x="905" y="38"/>
                    <a:pt x="905" y="38"/>
                    <a:pt x="905" y="38"/>
                  </a:cubicBezTo>
                  <a:cubicBezTo>
                    <a:pt x="905" y="37"/>
                    <a:pt x="905" y="37"/>
                    <a:pt x="904" y="37"/>
                  </a:cubicBezTo>
                  <a:cubicBezTo>
                    <a:pt x="904" y="37"/>
                    <a:pt x="904" y="37"/>
                    <a:pt x="904" y="37"/>
                  </a:cubicBezTo>
                  <a:cubicBezTo>
                    <a:pt x="904" y="37"/>
                    <a:pt x="904" y="37"/>
                    <a:pt x="904" y="36"/>
                  </a:cubicBezTo>
                  <a:cubicBezTo>
                    <a:pt x="904" y="36"/>
                    <a:pt x="904" y="36"/>
                    <a:pt x="904" y="36"/>
                  </a:cubicBezTo>
                  <a:cubicBezTo>
                    <a:pt x="904" y="36"/>
                    <a:pt x="904" y="36"/>
                    <a:pt x="904" y="36"/>
                  </a:cubicBezTo>
                  <a:cubicBezTo>
                    <a:pt x="904" y="36"/>
                    <a:pt x="904" y="36"/>
                    <a:pt x="904" y="36"/>
                  </a:cubicBezTo>
                  <a:cubicBezTo>
                    <a:pt x="903" y="36"/>
                    <a:pt x="903" y="36"/>
                    <a:pt x="903" y="36"/>
                  </a:cubicBezTo>
                  <a:cubicBezTo>
                    <a:pt x="903" y="36"/>
                    <a:pt x="903" y="36"/>
                    <a:pt x="903" y="36"/>
                  </a:cubicBezTo>
                  <a:cubicBezTo>
                    <a:pt x="903" y="36"/>
                    <a:pt x="903" y="35"/>
                    <a:pt x="902" y="35"/>
                  </a:cubicBezTo>
                  <a:cubicBezTo>
                    <a:pt x="902" y="35"/>
                    <a:pt x="902" y="35"/>
                    <a:pt x="902" y="35"/>
                  </a:cubicBezTo>
                  <a:cubicBezTo>
                    <a:pt x="902" y="35"/>
                    <a:pt x="902" y="35"/>
                    <a:pt x="902" y="35"/>
                  </a:cubicBezTo>
                  <a:cubicBezTo>
                    <a:pt x="902" y="35"/>
                    <a:pt x="902" y="35"/>
                    <a:pt x="902" y="35"/>
                  </a:cubicBezTo>
                  <a:cubicBezTo>
                    <a:pt x="902" y="35"/>
                    <a:pt x="902" y="35"/>
                    <a:pt x="902" y="35"/>
                  </a:cubicBezTo>
                  <a:cubicBezTo>
                    <a:pt x="902" y="35"/>
                    <a:pt x="901" y="35"/>
                    <a:pt x="901" y="35"/>
                  </a:cubicBezTo>
                  <a:cubicBezTo>
                    <a:pt x="901" y="35"/>
                    <a:pt x="901" y="35"/>
                    <a:pt x="901" y="35"/>
                  </a:cubicBezTo>
                  <a:cubicBezTo>
                    <a:pt x="901" y="34"/>
                    <a:pt x="901" y="34"/>
                    <a:pt x="900" y="34"/>
                  </a:cubicBezTo>
                  <a:cubicBezTo>
                    <a:pt x="900" y="34"/>
                    <a:pt x="900" y="34"/>
                    <a:pt x="900" y="34"/>
                  </a:cubicBezTo>
                  <a:cubicBezTo>
                    <a:pt x="900" y="34"/>
                    <a:pt x="900" y="34"/>
                    <a:pt x="900" y="34"/>
                  </a:cubicBezTo>
                  <a:cubicBezTo>
                    <a:pt x="900" y="34"/>
                    <a:pt x="900" y="34"/>
                    <a:pt x="899" y="34"/>
                  </a:cubicBezTo>
                  <a:cubicBezTo>
                    <a:pt x="899" y="34"/>
                    <a:pt x="899" y="34"/>
                    <a:pt x="899" y="34"/>
                  </a:cubicBezTo>
                  <a:cubicBezTo>
                    <a:pt x="899" y="34"/>
                    <a:pt x="899" y="34"/>
                    <a:pt x="898" y="34"/>
                  </a:cubicBezTo>
                  <a:cubicBezTo>
                    <a:pt x="898" y="34"/>
                    <a:pt x="898" y="34"/>
                    <a:pt x="898" y="34"/>
                  </a:cubicBezTo>
                  <a:cubicBezTo>
                    <a:pt x="898" y="33"/>
                    <a:pt x="898" y="34"/>
                    <a:pt x="897" y="33"/>
                  </a:cubicBezTo>
                  <a:cubicBezTo>
                    <a:pt x="897" y="33"/>
                    <a:pt x="897" y="33"/>
                    <a:pt x="897" y="33"/>
                  </a:cubicBezTo>
                  <a:cubicBezTo>
                    <a:pt x="897" y="33"/>
                    <a:pt x="897" y="33"/>
                    <a:pt x="897" y="33"/>
                  </a:cubicBezTo>
                  <a:cubicBezTo>
                    <a:pt x="897" y="33"/>
                    <a:pt x="896" y="33"/>
                    <a:pt x="896" y="33"/>
                  </a:cubicBezTo>
                  <a:cubicBezTo>
                    <a:pt x="895" y="33"/>
                    <a:pt x="895" y="33"/>
                    <a:pt x="895" y="33"/>
                  </a:cubicBezTo>
                  <a:cubicBezTo>
                    <a:pt x="894" y="33"/>
                    <a:pt x="894" y="33"/>
                    <a:pt x="893" y="33"/>
                  </a:cubicBezTo>
                  <a:cubicBezTo>
                    <a:pt x="891" y="33"/>
                    <a:pt x="890" y="33"/>
                    <a:pt x="888" y="33"/>
                  </a:cubicBezTo>
                  <a:cubicBezTo>
                    <a:pt x="887" y="33"/>
                    <a:pt x="886" y="33"/>
                    <a:pt x="886" y="33"/>
                  </a:cubicBezTo>
                  <a:cubicBezTo>
                    <a:pt x="885" y="33"/>
                    <a:pt x="885" y="33"/>
                    <a:pt x="885" y="33"/>
                  </a:cubicBezTo>
                  <a:cubicBezTo>
                    <a:pt x="885" y="33"/>
                    <a:pt x="885" y="33"/>
                    <a:pt x="885" y="33"/>
                  </a:cubicBezTo>
                  <a:cubicBezTo>
                    <a:pt x="885" y="33"/>
                    <a:pt x="884" y="33"/>
                    <a:pt x="884" y="33"/>
                  </a:cubicBezTo>
                  <a:cubicBezTo>
                    <a:pt x="884" y="33"/>
                    <a:pt x="884" y="33"/>
                    <a:pt x="884" y="33"/>
                  </a:cubicBezTo>
                  <a:cubicBezTo>
                    <a:pt x="884" y="34"/>
                    <a:pt x="883" y="33"/>
                    <a:pt x="883" y="34"/>
                  </a:cubicBezTo>
                  <a:cubicBezTo>
                    <a:pt x="883" y="34"/>
                    <a:pt x="883" y="34"/>
                    <a:pt x="882" y="34"/>
                  </a:cubicBezTo>
                  <a:cubicBezTo>
                    <a:pt x="882" y="34"/>
                    <a:pt x="882" y="34"/>
                    <a:pt x="882" y="34"/>
                  </a:cubicBezTo>
                  <a:cubicBezTo>
                    <a:pt x="882" y="34"/>
                    <a:pt x="882" y="34"/>
                    <a:pt x="881" y="34"/>
                  </a:cubicBezTo>
                  <a:cubicBezTo>
                    <a:pt x="881" y="34"/>
                    <a:pt x="881" y="34"/>
                    <a:pt x="881" y="34"/>
                  </a:cubicBezTo>
                  <a:cubicBezTo>
                    <a:pt x="881" y="34"/>
                    <a:pt x="881" y="34"/>
                    <a:pt x="881" y="34"/>
                  </a:cubicBezTo>
                  <a:cubicBezTo>
                    <a:pt x="880" y="35"/>
                    <a:pt x="880" y="34"/>
                    <a:pt x="880" y="35"/>
                  </a:cubicBezTo>
                  <a:cubicBezTo>
                    <a:pt x="880" y="35"/>
                    <a:pt x="880" y="35"/>
                    <a:pt x="880" y="35"/>
                  </a:cubicBezTo>
                  <a:cubicBezTo>
                    <a:pt x="879" y="35"/>
                    <a:pt x="879" y="35"/>
                    <a:pt x="879" y="35"/>
                  </a:cubicBezTo>
                  <a:cubicBezTo>
                    <a:pt x="879" y="35"/>
                    <a:pt x="879" y="35"/>
                    <a:pt x="879" y="35"/>
                  </a:cubicBezTo>
                  <a:cubicBezTo>
                    <a:pt x="879" y="35"/>
                    <a:pt x="879" y="35"/>
                    <a:pt x="879" y="35"/>
                  </a:cubicBezTo>
                  <a:cubicBezTo>
                    <a:pt x="878" y="35"/>
                    <a:pt x="878" y="35"/>
                    <a:pt x="878" y="35"/>
                  </a:cubicBezTo>
                  <a:cubicBezTo>
                    <a:pt x="878" y="35"/>
                    <a:pt x="878" y="35"/>
                    <a:pt x="878" y="35"/>
                  </a:cubicBezTo>
                  <a:cubicBezTo>
                    <a:pt x="878" y="35"/>
                    <a:pt x="878" y="36"/>
                    <a:pt x="878" y="36"/>
                  </a:cubicBezTo>
                  <a:cubicBezTo>
                    <a:pt x="878" y="36"/>
                    <a:pt x="878" y="36"/>
                    <a:pt x="878" y="36"/>
                  </a:cubicBezTo>
                  <a:cubicBezTo>
                    <a:pt x="878" y="36"/>
                    <a:pt x="877" y="36"/>
                    <a:pt x="877" y="36"/>
                  </a:cubicBezTo>
                  <a:cubicBezTo>
                    <a:pt x="877" y="36"/>
                    <a:pt x="877" y="36"/>
                    <a:pt x="877" y="36"/>
                  </a:cubicBezTo>
                  <a:cubicBezTo>
                    <a:pt x="877" y="36"/>
                    <a:pt x="876" y="36"/>
                    <a:pt x="876" y="37"/>
                  </a:cubicBezTo>
                  <a:cubicBezTo>
                    <a:pt x="876" y="37"/>
                    <a:pt x="876" y="37"/>
                    <a:pt x="876" y="37"/>
                  </a:cubicBezTo>
                  <a:cubicBezTo>
                    <a:pt x="876" y="37"/>
                    <a:pt x="876" y="37"/>
                    <a:pt x="876" y="37"/>
                  </a:cubicBezTo>
                  <a:cubicBezTo>
                    <a:pt x="876" y="37"/>
                    <a:pt x="876" y="37"/>
                    <a:pt x="876" y="37"/>
                  </a:cubicBezTo>
                  <a:cubicBezTo>
                    <a:pt x="876" y="37"/>
                    <a:pt x="875" y="37"/>
                    <a:pt x="875" y="38"/>
                  </a:cubicBezTo>
                  <a:cubicBezTo>
                    <a:pt x="875" y="38"/>
                    <a:pt x="875" y="38"/>
                    <a:pt x="875" y="38"/>
                  </a:cubicBezTo>
                  <a:cubicBezTo>
                    <a:pt x="875" y="38"/>
                    <a:pt x="875" y="38"/>
                    <a:pt x="875" y="38"/>
                  </a:cubicBezTo>
                  <a:cubicBezTo>
                    <a:pt x="875" y="38"/>
                    <a:pt x="875" y="38"/>
                    <a:pt x="875" y="38"/>
                  </a:cubicBezTo>
                  <a:cubicBezTo>
                    <a:pt x="875" y="38"/>
                    <a:pt x="874" y="38"/>
                    <a:pt x="874" y="38"/>
                  </a:cubicBezTo>
                  <a:cubicBezTo>
                    <a:pt x="874" y="38"/>
                    <a:pt x="874" y="38"/>
                    <a:pt x="874" y="38"/>
                  </a:cubicBezTo>
                  <a:cubicBezTo>
                    <a:pt x="874" y="38"/>
                    <a:pt x="874" y="38"/>
                    <a:pt x="874" y="39"/>
                  </a:cubicBezTo>
                  <a:cubicBezTo>
                    <a:pt x="874" y="39"/>
                    <a:pt x="874" y="39"/>
                    <a:pt x="874" y="39"/>
                  </a:cubicBezTo>
                  <a:cubicBezTo>
                    <a:pt x="874" y="39"/>
                    <a:pt x="874" y="39"/>
                    <a:pt x="874" y="39"/>
                  </a:cubicBezTo>
                  <a:cubicBezTo>
                    <a:pt x="874" y="39"/>
                    <a:pt x="874" y="39"/>
                    <a:pt x="874" y="39"/>
                  </a:cubicBezTo>
                  <a:cubicBezTo>
                    <a:pt x="874" y="39"/>
                    <a:pt x="873" y="39"/>
                    <a:pt x="873" y="39"/>
                  </a:cubicBezTo>
                  <a:cubicBezTo>
                    <a:pt x="873" y="39"/>
                    <a:pt x="873" y="39"/>
                    <a:pt x="873" y="39"/>
                  </a:cubicBezTo>
                  <a:cubicBezTo>
                    <a:pt x="873" y="39"/>
                    <a:pt x="873" y="39"/>
                    <a:pt x="873" y="40"/>
                  </a:cubicBezTo>
                  <a:cubicBezTo>
                    <a:pt x="873" y="40"/>
                    <a:pt x="873" y="40"/>
                    <a:pt x="873" y="40"/>
                  </a:cubicBezTo>
                  <a:cubicBezTo>
                    <a:pt x="873" y="40"/>
                    <a:pt x="873" y="40"/>
                    <a:pt x="873" y="40"/>
                  </a:cubicBezTo>
                  <a:cubicBezTo>
                    <a:pt x="873" y="40"/>
                    <a:pt x="873" y="40"/>
                    <a:pt x="873" y="40"/>
                  </a:cubicBezTo>
                  <a:cubicBezTo>
                    <a:pt x="873" y="40"/>
                    <a:pt x="872" y="40"/>
                    <a:pt x="872" y="40"/>
                  </a:cubicBezTo>
                  <a:cubicBezTo>
                    <a:pt x="872" y="40"/>
                    <a:pt x="872" y="40"/>
                    <a:pt x="872" y="40"/>
                  </a:cubicBezTo>
                  <a:cubicBezTo>
                    <a:pt x="872" y="40"/>
                    <a:pt x="872" y="40"/>
                    <a:pt x="872" y="41"/>
                  </a:cubicBezTo>
                  <a:cubicBezTo>
                    <a:pt x="872" y="41"/>
                    <a:pt x="872" y="41"/>
                    <a:pt x="872" y="41"/>
                  </a:cubicBezTo>
                  <a:cubicBezTo>
                    <a:pt x="872" y="41"/>
                    <a:pt x="872" y="41"/>
                    <a:pt x="872" y="41"/>
                  </a:cubicBezTo>
                  <a:cubicBezTo>
                    <a:pt x="872" y="41"/>
                    <a:pt x="872" y="41"/>
                    <a:pt x="872" y="41"/>
                  </a:cubicBezTo>
                  <a:cubicBezTo>
                    <a:pt x="871" y="41"/>
                    <a:pt x="871" y="41"/>
                    <a:pt x="871" y="41"/>
                  </a:cubicBezTo>
                  <a:cubicBezTo>
                    <a:pt x="871" y="41"/>
                    <a:pt x="871" y="41"/>
                    <a:pt x="871" y="41"/>
                  </a:cubicBezTo>
                  <a:cubicBezTo>
                    <a:pt x="871" y="41"/>
                    <a:pt x="871" y="42"/>
                    <a:pt x="871" y="42"/>
                  </a:cubicBezTo>
                  <a:cubicBezTo>
                    <a:pt x="871" y="42"/>
                    <a:pt x="871" y="42"/>
                    <a:pt x="871" y="42"/>
                  </a:cubicBezTo>
                  <a:cubicBezTo>
                    <a:pt x="871" y="42"/>
                    <a:pt x="871" y="42"/>
                    <a:pt x="871" y="42"/>
                  </a:cubicBezTo>
                  <a:cubicBezTo>
                    <a:pt x="871" y="42"/>
                    <a:pt x="871" y="42"/>
                    <a:pt x="871" y="42"/>
                  </a:cubicBezTo>
                  <a:cubicBezTo>
                    <a:pt x="870" y="42"/>
                    <a:pt x="870" y="43"/>
                    <a:pt x="870" y="43"/>
                  </a:cubicBezTo>
                  <a:cubicBezTo>
                    <a:pt x="870" y="43"/>
                    <a:pt x="870" y="43"/>
                    <a:pt x="870" y="43"/>
                  </a:cubicBezTo>
                  <a:cubicBezTo>
                    <a:pt x="870" y="43"/>
                    <a:pt x="870" y="43"/>
                    <a:pt x="870" y="43"/>
                  </a:cubicBezTo>
                  <a:cubicBezTo>
                    <a:pt x="870" y="43"/>
                    <a:pt x="870" y="43"/>
                    <a:pt x="870" y="43"/>
                  </a:cubicBezTo>
                  <a:cubicBezTo>
                    <a:pt x="870" y="44"/>
                    <a:pt x="870" y="44"/>
                    <a:pt x="870" y="44"/>
                  </a:cubicBezTo>
                  <a:cubicBezTo>
                    <a:pt x="870" y="44"/>
                    <a:pt x="870" y="44"/>
                    <a:pt x="870" y="44"/>
                  </a:cubicBezTo>
                  <a:cubicBezTo>
                    <a:pt x="869" y="44"/>
                    <a:pt x="869" y="44"/>
                    <a:pt x="869" y="44"/>
                  </a:cubicBezTo>
                  <a:cubicBezTo>
                    <a:pt x="869" y="44"/>
                    <a:pt x="869" y="44"/>
                    <a:pt x="869" y="44"/>
                  </a:cubicBezTo>
                  <a:cubicBezTo>
                    <a:pt x="869" y="45"/>
                    <a:pt x="869" y="45"/>
                    <a:pt x="869" y="45"/>
                  </a:cubicBezTo>
                  <a:cubicBezTo>
                    <a:pt x="869" y="45"/>
                    <a:pt x="869" y="45"/>
                    <a:pt x="869" y="45"/>
                  </a:cubicBezTo>
                  <a:cubicBezTo>
                    <a:pt x="869" y="45"/>
                    <a:pt x="869" y="45"/>
                    <a:pt x="869" y="46"/>
                  </a:cubicBezTo>
                  <a:cubicBezTo>
                    <a:pt x="869" y="46"/>
                    <a:pt x="869" y="46"/>
                    <a:pt x="869" y="46"/>
                  </a:cubicBezTo>
                  <a:cubicBezTo>
                    <a:pt x="868" y="46"/>
                    <a:pt x="868" y="46"/>
                    <a:pt x="868" y="45"/>
                  </a:cubicBezTo>
                  <a:cubicBezTo>
                    <a:pt x="868" y="45"/>
                    <a:pt x="868" y="45"/>
                    <a:pt x="868" y="45"/>
                  </a:cubicBezTo>
                  <a:cubicBezTo>
                    <a:pt x="868" y="45"/>
                    <a:pt x="868" y="45"/>
                    <a:pt x="868" y="45"/>
                  </a:cubicBezTo>
                  <a:cubicBezTo>
                    <a:pt x="868" y="45"/>
                    <a:pt x="868" y="45"/>
                    <a:pt x="867" y="44"/>
                  </a:cubicBezTo>
                  <a:cubicBezTo>
                    <a:pt x="867" y="44"/>
                    <a:pt x="867" y="44"/>
                    <a:pt x="867" y="44"/>
                  </a:cubicBezTo>
                  <a:cubicBezTo>
                    <a:pt x="867" y="44"/>
                    <a:pt x="867" y="44"/>
                    <a:pt x="867" y="44"/>
                  </a:cubicBezTo>
                  <a:cubicBezTo>
                    <a:pt x="867" y="44"/>
                    <a:pt x="867" y="44"/>
                    <a:pt x="867" y="44"/>
                  </a:cubicBezTo>
                  <a:cubicBezTo>
                    <a:pt x="867" y="44"/>
                    <a:pt x="867" y="43"/>
                    <a:pt x="867" y="43"/>
                  </a:cubicBezTo>
                  <a:cubicBezTo>
                    <a:pt x="867" y="43"/>
                    <a:pt x="867" y="43"/>
                    <a:pt x="867" y="43"/>
                  </a:cubicBezTo>
                  <a:cubicBezTo>
                    <a:pt x="867" y="43"/>
                    <a:pt x="867" y="43"/>
                    <a:pt x="866" y="42"/>
                  </a:cubicBezTo>
                  <a:cubicBezTo>
                    <a:pt x="866" y="42"/>
                    <a:pt x="866" y="42"/>
                    <a:pt x="866" y="42"/>
                  </a:cubicBezTo>
                  <a:cubicBezTo>
                    <a:pt x="866" y="42"/>
                    <a:pt x="866" y="42"/>
                    <a:pt x="866" y="42"/>
                  </a:cubicBezTo>
                  <a:cubicBezTo>
                    <a:pt x="866" y="42"/>
                    <a:pt x="866" y="42"/>
                    <a:pt x="866" y="42"/>
                  </a:cubicBezTo>
                  <a:cubicBezTo>
                    <a:pt x="866" y="42"/>
                    <a:pt x="866" y="41"/>
                    <a:pt x="866" y="41"/>
                  </a:cubicBezTo>
                  <a:cubicBezTo>
                    <a:pt x="866" y="41"/>
                    <a:pt x="866" y="41"/>
                    <a:pt x="866" y="41"/>
                  </a:cubicBezTo>
                  <a:cubicBezTo>
                    <a:pt x="865" y="41"/>
                    <a:pt x="866" y="41"/>
                    <a:pt x="865" y="41"/>
                  </a:cubicBezTo>
                  <a:cubicBezTo>
                    <a:pt x="865" y="41"/>
                    <a:pt x="865" y="41"/>
                    <a:pt x="865" y="41"/>
                  </a:cubicBezTo>
                  <a:cubicBezTo>
                    <a:pt x="865" y="40"/>
                    <a:pt x="865" y="40"/>
                    <a:pt x="865" y="40"/>
                  </a:cubicBezTo>
                  <a:cubicBezTo>
                    <a:pt x="865" y="40"/>
                    <a:pt x="865" y="40"/>
                    <a:pt x="865" y="40"/>
                  </a:cubicBezTo>
                  <a:cubicBezTo>
                    <a:pt x="865" y="40"/>
                    <a:pt x="865"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3" y="38"/>
                    <a:pt x="863" y="38"/>
                    <a:pt x="863" y="38"/>
                  </a:cubicBezTo>
                  <a:cubicBezTo>
                    <a:pt x="863" y="38"/>
                    <a:pt x="863" y="38"/>
                    <a:pt x="863" y="38"/>
                  </a:cubicBezTo>
                  <a:cubicBezTo>
                    <a:pt x="863" y="38"/>
                    <a:pt x="863" y="38"/>
                    <a:pt x="863" y="38"/>
                  </a:cubicBezTo>
                  <a:cubicBezTo>
                    <a:pt x="863" y="38"/>
                    <a:pt x="863" y="38"/>
                    <a:pt x="863" y="38"/>
                  </a:cubicBezTo>
                  <a:cubicBezTo>
                    <a:pt x="863" y="38"/>
                    <a:pt x="863" y="38"/>
                    <a:pt x="862" y="38"/>
                  </a:cubicBezTo>
                  <a:cubicBezTo>
                    <a:pt x="862" y="38"/>
                    <a:pt x="862" y="38"/>
                    <a:pt x="862" y="38"/>
                  </a:cubicBezTo>
                  <a:cubicBezTo>
                    <a:pt x="862" y="37"/>
                    <a:pt x="862" y="37"/>
                    <a:pt x="862" y="37"/>
                  </a:cubicBezTo>
                  <a:cubicBezTo>
                    <a:pt x="862" y="37"/>
                    <a:pt x="862" y="37"/>
                    <a:pt x="862" y="37"/>
                  </a:cubicBezTo>
                  <a:cubicBezTo>
                    <a:pt x="862" y="37"/>
                    <a:pt x="862" y="37"/>
                    <a:pt x="862" y="37"/>
                  </a:cubicBezTo>
                  <a:cubicBezTo>
                    <a:pt x="862" y="37"/>
                    <a:pt x="862" y="37"/>
                    <a:pt x="862" y="37"/>
                  </a:cubicBezTo>
                  <a:cubicBezTo>
                    <a:pt x="861" y="37"/>
                    <a:pt x="861" y="37"/>
                    <a:pt x="861" y="36"/>
                  </a:cubicBezTo>
                  <a:cubicBezTo>
                    <a:pt x="861" y="36"/>
                    <a:pt x="861" y="36"/>
                    <a:pt x="861" y="36"/>
                  </a:cubicBezTo>
                  <a:cubicBezTo>
                    <a:pt x="861" y="36"/>
                    <a:pt x="861" y="36"/>
                    <a:pt x="861" y="36"/>
                  </a:cubicBezTo>
                  <a:cubicBezTo>
                    <a:pt x="861" y="36"/>
                    <a:pt x="861" y="36"/>
                    <a:pt x="861" y="36"/>
                  </a:cubicBezTo>
                  <a:cubicBezTo>
                    <a:pt x="861" y="36"/>
                    <a:pt x="860" y="36"/>
                    <a:pt x="860" y="36"/>
                  </a:cubicBezTo>
                  <a:cubicBezTo>
                    <a:pt x="860" y="36"/>
                    <a:pt x="860" y="36"/>
                    <a:pt x="860" y="36"/>
                  </a:cubicBezTo>
                  <a:cubicBezTo>
                    <a:pt x="860" y="36"/>
                    <a:pt x="860" y="36"/>
                    <a:pt x="859" y="35"/>
                  </a:cubicBezTo>
                  <a:cubicBezTo>
                    <a:pt x="859" y="35"/>
                    <a:pt x="859" y="35"/>
                    <a:pt x="859" y="35"/>
                  </a:cubicBezTo>
                  <a:cubicBezTo>
                    <a:pt x="859" y="35"/>
                    <a:pt x="859" y="35"/>
                    <a:pt x="859" y="35"/>
                  </a:cubicBezTo>
                  <a:cubicBezTo>
                    <a:pt x="859" y="35"/>
                    <a:pt x="859" y="35"/>
                    <a:pt x="859" y="35"/>
                  </a:cubicBezTo>
                  <a:cubicBezTo>
                    <a:pt x="859" y="35"/>
                    <a:pt x="859" y="35"/>
                    <a:pt x="858" y="35"/>
                  </a:cubicBezTo>
                  <a:cubicBezTo>
                    <a:pt x="858" y="35"/>
                    <a:pt x="858" y="35"/>
                    <a:pt x="858" y="35"/>
                  </a:cubicBezTo>
                  <a:cubicBezTo>
                    <a:pt x="858" y="34"/>
                    <a:pt x="858" y="35"/>
                    <a:pt x="858" y="34"/>
                  </a:cubicBezTo>
                  <a:cubicBezTo>
                    <a:pt x="858" y="34"/>
                    <a:pt x="858" y="34"/>
                    <a:pt x="858" y="34"/>
                  </a:cubicBezTo>
                  <a:cubicBezTo>
                    <a:pt x="857" y="34"/>
                    <a:pt x="857" y="34"/>
                    <a:pt x="857" y="34"/>
                  </a:cubicBezTo>
                  <a:cubicBezTo>
                    <a:pt x="857" y="34"/>
                    <a:pt x="857" y="34"/>
                    <a:pt x="857" y="34"/>
                  </a:cubicBezTo>
                  <a:cubicBezTo>
                    <a:pt x="857" y="34"/>
                    <a:pt x="857" y="34"/>
                    <a:pt x="857" y="34"/>
                  </a:cubicBezTo>
                  <a:cubicBezTo>
                    <a:pt x="856" y="34"/>
                    <a:pt x="856" y="34"/>
                    <a:pt x="856" y="34"/>
                  </a:cubicBezTo>
                  <a:cubicBezTo>
                    <a:pt x="856" y="34"/>
                    <a:pt x="856" y="34"/>
                    <a:pt x="856" y="34"/>
                  </a:cubicBezTo>
                  <a:cubicBezTo>
                    <a:pt x="855" y="33"/>
                    <a:pt x="855" y="33"/>
                    <a:pt x="855" y="33"/>
                  </a:cubicBezTo>
                  <a:cubicBezTo>
                    <a:pt x="855" y="33"/>
                    <a:pt x="855" y="33"/>
                    <a:pt x="855" y="33"/>
                  </a:cubicBezTo>
                  <a:cubicBezTo>
                    <a:pt x="855" y="33"/>
                    <a:pt x="855" y="33"/>
                    <a:pt x="855" y="33"/>
                  </a:cubicBezTo>
                  <a:cubicBezTo>
                    <a:pt x="854" y="33"/>
                    <a:pt x="854" y="33"/>
                    <a:pt x="853" y="33"/>
                  </a:cubicBezTo>
                  <a:cubicBezTo>
                    <a:pt x="853" y="33"/>
                    <a:pt x="853" y="33"/>
                    <a:pt x="853" y="33"/>
                  </a:cubicBezTo>
                  <a:cubicBezTo>
                    <a:pt x="853" y="33"/>
                    <a:pt x="853" y="33"/>
                    <a:pt x="853" y="33"/>
                  </a:cubicBezTo>
                  <a:cubicBezTo>
                    <a:pt x="852" y="33"/>
                    <a:pt x="852" y="33"/>
                    <a:pt x="851" y="33"/>
                  </a:cubicBezTo>
                  <a:cubicBezTo>
                    <a:pt x="850" y="33"/>
                    <a:pt x="848" y="33"/>
                    <a:pt x="847" y="33"/>
                  </a:cubicBezTo>
                  <a:cubicBezTo>
                    <a:pt x="846" y="33"/>
                    <a:pt x="845" y="33"/>
                    <a:pt x="844" y="33"/>
                  </a:cubicBezTo>
                  <a:cubicBezTo>
                    <a:pt x="844" y="33"/>
                    <a:pt x="844" y="33"/>
                    <a:pt x="844" y="33"/>
                  </a:cubicBezTo>
                  <a:cubicBezTo>
                    <a:pt x="844" y="33"/>
                    <a:pt x="843" y="33"/>
                    <a:pt x="843" y="33"/>
                  </a:cubicBezTo>
                  <a:cubicBezTo>
                    <a:pt x="843" y="33"/>
                    <a:pt x="843" y="33"/>
                    <a:pt x="842" y="33"/>
                  </a:cubicBezTo>
                  <a:cubicBezTo>
                    <a:pt x="842" y="34"/>
                    <a:pt x="842" y="33"/>
                    <a:pt x="841" y="34"/>
                  </a:cubicBezTo>
                  <a:cubicBezTo>
                    <a:pt x="841" y="34"/>
                    <a:pt x="841" y="34"/>
                    <a:pt x="841" y="34"/>
                  </a:cubicBezTo>
                  <a:cubicBezTo>
                    <a:pt x="841" y="34"/>
                    <a:pt x="841" y="34"/>
                    <a:pt x="840" y="34"/>
                  </a:cubicBezTo>
                  <a:cubicBezTo>
                    <a:pt x="840" y="34"/>
                    <a:pt x="840" y="34"/>
                    <a:pt x="840" y="34"/>
                  </a:cubicBezTo>
                  <a:cubicBezTo>
                    <a:pt x="840" y="34"/>
                    <a:pt x="840" y="34"/>
                    <a:pt x="840" y="34"/>
                  </a:cubicBezTo>
                  <a:cubicBezTo>
                    <a:pt x="839" y="34"/>
                    <a:pt x="839" y="34"/>
                    <a:pt x="839" y="34"/>
                  </a:cubicBezTo>
                  <a:cubicBezTo>
                    <a:pt x="839" y="34"/>
                    <a:pt x="839" y="34"/>
                    <a:pt x="839" y="34"/>
                  </a:cubicBezTo>
                  <a:cubicBezTo>
                    <a:pt x="839" y="34"/>
                    <a:pt x="839" y="34"/>
                    <a:pt x="839" y="35"/>
                  </a:cubicBezTo>
                  <a:cubicBezTo>
                    <a:pt x="839" y="35"/>
                    <a:pt x="839" y="35"/>
                    <a:pt x="839" y="35"/>
                  </a:cubicBezTo>
                  <a:cubicBezTo>
                    <a:pt x="838" y="35"/>
                    <a:pt x="838" y="35"/>
                    <a:pt x="838" y="35"/>
                  </a:cubicBezTo>
                  <a:cubicBezTo>
                    <a:pt x="838" y="35"/>
                    <a:pt x="838" y="35"/>
                    <a:pt x="838" y="35"/>
                  </a:cubicBezTo>
                  <a:cubicBezTo>
                    <a:pt x="838" y="35"/>
                    <a:pt x="837" y="35"/>
                    <a:pt x="837" y="35"/>
                  </a:cubicBezTo>
                  <a:cubicBezTo>
                    <a:pt x="837" y="35"/>
                    <a:pt x="837" y="35"/>
                    <a:pt x="837" y="35"/>
                  </a:cubicBezTo>
                  <a:cubicBezTo>
                    <a:pt x="837" y="35"/>
                    <a:pt x="837" y="36"/>
                    <a:pt x="837" y="36"/>
                  </a:cubicBezTo>
                  <a:cubicBezTo>
                    <a:pt x="837" y="36"/>
                    <a:pt x="837" y="36"/>
                    <a:pt x="837" y="36"/>
                  </a:cubicBezTo>
                  <a:cubicBezTo>
                    <a:pt x="837" y="36"/>
                    <a:pt x="836" y="36"/>
                    <a:pt x="836" y="36"/>
                  </a:cubicBezTo>
                  <a:cubicBezTo>
                    <a:pt x="836" y="36"/>
                    <a:pt x="836" y="36"/>
                    <a:pt x="836" y="36"/>
                  </a:cubicBezTo>
                  <a:cubicBezTo>
                    <a:pt x="836" y="36"/>
                    <a:pt x="835" y="36"/>
                    <a:pt x="835" y="37"/>
                  </a:cubicBezTo>
                  <a:cubicBezTo>
                    <a:pt x="835" y="37"/>
                    <a:pt x="835" y="37"/>
                    <a:pt x="835" y="37"/>
                  </a:cubicBezTo>
                  <a:cubicBezTo>
                    <a:pt x="835" y="37"/>
                    <a:pt x="835" y="37"/>
                    <a:pt x="835" y="37"/>
                  </a:cubicBezTo>
                  <a:cubicBezTo>
                    <a:pt x="835" y="37"/>
                    <a:pt x="835" y="37"/>
                    <a:pt x="835" y="37"/>
                  </a:cubicBezTo>
                  <a:cubicBezTo>
                    <a:pt x="834" y="37"/>
                    <a:pt x="834" y="37"/>
                    <a:pt x="834" y="38"/>
                  </a:cubicBezTo>
                  <a:cubicBezTo>
                    <a:pt x="834" y="38"/>
                    <a:pt x="834" y="38"/>
                    <a:pt x="834" y="38"/>
                  </a:cubicBezTo>
                  <a:cubicBezTo>
                    <a:pt x="834" y="38"/>
                    <a:pt x="833" y="38"/>
                    <a:pt x="833" y="38"/>
                  </a:cubicBezTo>
                  <a:cubicBezTo>
                    <a:pt x="833" y="38"/>
                    <a:pt x="833" y="38"/>
                    <a:pt x="833" y="38"/>
                  </a:cubicBezTo>
                  <a:cubicBezTo>
                    <a:pt x="833" y="38"/>
                    <a:pt x="833" y="38"/>
                    <a:pt x="833" y="39"/>
                  </a:cubicBezTo>
                  <a:cubicBezTo>
                    <a:pt x="833" y="39"/>
                    <a:pt x="833" y="39"/>
                    <a:pt x="833" y="39"/>
                  </a:cubicBezTo>
                  <a:cubicBezTo>
                    <a:pt x="833" y="39"/>
                    <a:pt x="833" y="39"/>
                    <a:pt x="833" y="39"/>
                  </a:cubicBezTo>
                  <a:cubicBezTo>
                    <a:pt x="833" y="39"/>
                    <a:pt x="833" y="39"/>
                    <a:pt x="833" y="39"/>
                  </a:cubicBezTo>
                  <a:cubicBezTo>
                    <a:pt x="832" y="39"/>
                    <a:pt x="832" y="39"/>
                    <a:pt x="832" y="39"/>
                  </a:cubicBezTo>
                  <a:cubicBezTo>
                    <a:pt x="832" y="39"/>
                    <a:pt x="832" y="39"/>
                    <a:pt x="832" y="39"/>
                  </a:cubicBezTo>
                  <a:cubicBezTo>
                    <a:pt x="832" y="39"/>
                    <a:pt x="832" y="39"/>
                    <a:pt x="832" y="40"/>
                  </a:cubicBezTo>
                  <a:cubicBezTo>
                    <a:pt x="832" y="40"/>
                    <a:pt x="832" y="40"/>
                    <a:pt x="832" y="40"/>
                  </a:cubicBezTo>
                  <a:cubicBezTo>
                    <a:pt x="832" y="40"/>
                    <a:pt x="832" y="40"/>
                    <a:pt x="832" y="40"/>
                  </a:cubicBezTo>
                  <a:cubicBezTo>
                    <a:pt x="832" y="40"/>
                    <a:pt x="832" y="40"/>
                    <a:pt x="832" y="40"/>
                  </a:cubicBezTo>
                  <a:cubicBezTo>
                    <a:pt x="831" y="40"/>
                    <a:pt x="831" y="40"/>
                    <a:pt x="831" y="40"/>
                  </a:cubicBezTo>
                  <a:cubicBezTo>
                    <a:pt x="831" y="40"/>
                    <a:pt x="831" y="40"/>
                    <a:pt x="831" y="40"/>
                  </a:cubicBezTo>
                  <a:cubicBezTo>
                    <a:pt x="831" y="41"/>
                    <a:pt x="831" y="41"/>
                    <a:pt x="831" y="41"/>
                  </a:cubicBezTo>
                  <a:cubicBezTo>
                    <a:pt x="831" y="41"/>
                    <a:pt x="831" y="41"/>
                    <a:pt x="831" y="41"/>
                  </a:cubicBezTo>
                  <a:cubicBezTo>
                    <a:pt x="830" y="41"/>
                    <a:pt x="830" y="42"/>
                    <a:pt x="830" y="42"/>
                  </a:cubicBezTo>
                  <a:cubicBezTo>
                    <a:pt x="830" y="42"/>
                    <a:pt x="830" y="42"/>
                    <a:pt x="830" y="42"/>
                  </a:cubicBezTo>
                  <a:cubicBezTo>
                    <a:pt x="830" y="42"/>
                    <a:pt x="830" y="42"/>
                    <a:pt x="830" y="42"/>
                  </a:cubicBezTo>
                  <a:cubicBezTo>
                    <a:pt x="830" y="42"/>
                    <a:pt x="830" y="42"/>
                    <a:pt x="830" y="42"/>
                  </a:cubicBezTo>
                  <a:cubicBezTo>
                    <a:pt x="830" y="42"/>
                    <a:pt x="830" y="43"/>
                    <a:pt x="829" y="43"/>
                  </a:cubicBezTo>
                  <a:cubicBezTo>
                    <a:pt x="829" y="43"/>
                    <a:pt x="829" y="43"/>
                    <a:pt x="829" y="43"/>
                  </a:cubicBezTo>
                  <a:cubicBezTo>
                    <a:pt x="829" y="43"/>
                    <a:pt x="829" y="43"/>
                    <a:pt x="829" y="43"/>
                  </a:cubicBezTo>
                  <a:cubicBezTo>
                    <a:pt x="829" y="43"/>
                    <a:pt x="829" y="43"/>
                    <a:pt x="829" y="43"/>
                  </a:cubicBezTo>
                  <a:cubicBezTo>
                    <a:pt x="829" y="43"/>
                    <a:pt x="829" y="44"/>
                    <a:pt x="829" y="44"/>
                  </a:cubicBezTo>
                  <a:cubicBezTo>
                    <a:pt x="829" y="44"/>
                    <a:pt x="829" y="44"/>
                    <a:pt x="829" y="44"/>
                  </a:cubicBezTo>
                  <a:cubicBezTo>
                    <a:pt x="829" y="44"/>
                    <a:pt x="829" y="44"/>
                    <a:pt x="828" y="44"/>
                  </a:cubicBezTo>
                  <a:cubicBezTo>
                    <a:pt x="828" y="44"/>
                    <a:pt x="828" y="44"/>
                    <a:pt x="828" y="44"/>
                  </a:cubicBezTo>
                  <a:cubicBezTo>
                    <a:pt x="828" y="44"/>
                    <a:pt x="828" y="43"/>
                    <a:pt x="828" y="43"/>
                  </a:cubicBezTo>
                  <a:cubicBezTo>
                    <a:pt x="828" y="40"/>
                    <a:pt x="828" y="38"/>
                    <a:pt x="828" y="36"/>
                  </a:cubicBezTo>
                  <a:cubicBezTo>
                    <a:pt x="828" y="34"/>
                    <a:pt x="827" y="34"/>
                    <a:pt x="826" y="34"/>
                  </a:cubicBezTo>
                  <a:cubicBezTo>
                    <a:pt x="824" y="34"/>
                    <a:pt x="821" y="34"/>
                    <a:pt x="819" y="34"/>
                  </a:cubicBezTo>
                  <a:cubicBezTo>
                    <a:pt x="817" y="34"/>
                    <a:pt x="817" y="34"/>
                    <a:pt x="817" y="36"/>
                  </a:cubicBezTo>
                  <a:cubicBezTo>
                    <a:pt x="817" y="50"/>
                    <a:pt x="817" y="63"/>
                    <a:pt x="817" y="77"/>
                  </a:cubicBezTo>
                  <a:cubicBezTo>
                    <a:pt x="817" y="85"/>
                    <a:pt x="817" y="92"/>
                    <a:pt x="817" y="100"/>
                  </a:cubicBezTo>
                  <a:cubicBezTo>
                    <a:pt x="817" y="101"/>
                    <a:pt x="817" y="102"/>
                    <a:pt x="819" y="102"/>
                  </a:cubicBezTo>
                  <a:cubicBezTo>
                    <a:pt x="821" y="102"/>
                    <a:pt x="824" y="102"/>
                    <a:pt x="826" y="102"/>
                  </a:cubicBezTo>
                  <a:cubicBezTo>
                    <a:pt x="828" y="102"/>
                    <a:pt x="828" y="102"/>
                    <a:pt x="828" y="100"/>
                  </a:cubicBezTo>
                  <a:cubicBezTo>
                    <a:pt x="828" y="88"/>
                    <a:pt x="828" y="76"/>
                    <a:pt x="828" y="65"/>
                  </a:cubicBezTo>
                  <a:cubicBezTo>
                    <a:pt x="828" y="64"/>
                    <a:pt x="828" y="63"/>
                    <a:pt x="828" y="63"/>
                  </a:cubicBezTo>
                  <a:cubicBezTo>
                    <a:pt x="828" y="62"/>
                    <a:pt x="828" y="61"/>
                    <a:pt x="828" y="61"/>
                  </a:cubicBezTo>
                  <a:cubicBezTo>
                    <a:pt x="828" y="60"/>
                    <a:pt x="828" y="59"/>
                    <a:pt x="828" y="58"/>
                  </a:cubicBezTo>
                  <a:cubicBezTo>
                    <a:pt x="828" y="58"/>
                    <a:pt x="828" y="58"/>
                    <a:pt x="828" y="58"/>
                  </a:cubicBezTo>
                  <a:cubicBezTo>
                    <a:pt x="828" y="58"/>
                    <a:pt x="828" y="58"/>
                    <a:pt x="828" y="58"/>
                  </a:cubicBezTo>
                  <a:cubicBezTo>
                    <a:pt x="829" y="58"/>
                    <a:pt x="828" y="57"/>
                    <a:pt x="829" y="56"/>
                  </a:cubicBezTo>
                  <a:cubicBezTo>
                    <a:pt x="829" y="56"/>
                    <a:pt x="829" y="56"/>
                    <a:pt x="829" y="56"/>
                  </a:cubicBezTo>
                  <a:cubicBezTo>
                    <a:pt x="829" y="56"/>
                    <a:pt x="829" y="56"/>
                    <a:pt x="829" y="56"/>
                  </a:cubicBezTo>
                  <a:cubicBezTo>
                    <a:pt x="829" y="56"/>
                    <a:pt x="829" y="55"/>
                    <a:pt x="829" y="55"/>
                  </a:cubicBezTo>
                  <a:cubicBezTo>
                    <a:pt x="829" y="55"/>
                    <a:pt x="829" y="55"/>
                    <a:pt x="829" y="55"/>
                  </a:cubicBezTo>
                  <a:cubicBezTo>
                    <a:pt x="829" y="55"/>
                    <a:pt x="829" y="55"/>
                    <a:pt x="829" y="55"/>
                  </a:cubicBezTo>
                  <a:cubicBezTo>
                    <a:pt x="829" y="55"/>
                    <a:pt x="829" y="54"/>
                    <a:pt x="829" y="54"/>
                  </a:cubicBezTo>
                  <a:cubicBezTo>
                    <a:pt x="829" y="54"/>
                    <a:pt x="829" y="54"/>
                    <a:pt x="829" y="54"/>
                  </a:cubicBezTo>
                  <a:cubicBezTo>
                    <a:pt x="830" y="54"/>
                    <a:pt x="829" y="53"/>
                    <a:pt x="830" y="53"/>
                  </a:cubicBezTo>
                  <a:cubicBezTo>
                    <a:pt x="830" y="53"/>
                    <a:pt x="830" y="53"/>
                    <a:pt x="830" y="53"/>
                  </a:cubicBezTo>
                  <a:cubicBezTo>
                    <a:pt x="830" y="53"/>
                    <a:pt x="830" y="52"/>
                    <a:pt x="830" y="52"/>
                  </a:cubicBezTo>
                  <a:cubicBezTo>
                    <a:pt x="830" y="52"/>
                    <a:pt x="830" y="52"/>
                    <a:pt x="830" y="52"/>
                  </a:cubicBezTo>
                  <a:cubicBezTo>
                    <a:pt x="830" y="52"/>
                    <a:pt x="830" y="52"/>
                    <a:pt x="830" y="51"/>
                  </a:cubicBezTo>
                  <a:cubicBezTo>
                    <a:pt x="830" y="51"/>
                    <a:pt x="830" y="51"/>
                    <a:pt x="830" y="51"/>
                  </a:cubicBezTo>
                  <a:cubicBezTo>
                    <a:pt x="831" y="51"/>
                    <a:pt x="831" y="51"/>
                    <a:pt x="831" y="51"/>
                  </a:cubicBezTo>
                  <a:cubicBezTo>
                    <a:pt x="831" y="51"/>
                    <a:pt x="831" y="51"/>
                    <a:pt x="831" y="51"/>
                  </a:cubicBezTo>
                  <a:cubicBezTo>
                    <a:pt x="831" y="51"/>
                    <a:pt x="831" y="50"/>
                    <a:pt x="831" y="50"/>
                  </a:cubicBezTo>
                  <a:cubicBezTo>
                    <a:pt x="831" y="50"/>
                    <a:pt x="831" y="50"/>
                    <a:pt x="831" y="50"/>
                  </a:cubicBezTo>
                  <a:cubicBezTo>
                    <a:pt x="831" y="50"/>
                    <a:pt x="831" y="49"/>
                    <a:pt x="832" y="49"/>
                  </a:cubicBezTo>
                  <a:cubicBezTo>
                    <a:pt x="832" y="49"/>
                    <a:pt x="832" y="49"/>
                    <a:pt x="832" y="49"/>
                  </a:cubicBezTo>
                  <a:cubicBezTo>
                    <a:pt x="832" y="49"/>
                    <a:pt x="832" y="49"/>
                    <a:pt x="832" y="49"/>
                  </a:cubicBezTo>
                  <a:cubicBezTo>
                    <a:pt x="832" y="49"/>
                    <a:pt x="832" y="49"/>
                    <a:pt x="832" y="49"/>
                  </a:cubicBezTo>
                  <a:cubicBezTo>
                    <a:pt x="832" y="49"/>
                    <a:pt x="832" y="48"/>
                    <a:pt x="832" y="48"/>
                  </a:cubicBezTo>
                  <a:cubicBezTo>
                    <a:pt x="832" y="48"/>
                    <a:pt x="832" y="48"/>
                    <a:pt x="832" y="48"/>
                  </a:cubicBezTo>
                  <a:cubicBezTo>
                    <a:pt x="832" y="48"/>
                    <a:pt x="833" y="48"/>
                    <a:pt x="833" y="48"/>
                  </a:cubicBezTo>
                  <a:cubicBezTo>
                    <a:pt x="833" y="48"/>
                    <a:pt x="833" y="48"/>
                    <a:pt x="833" y="48"/>
                  </a:cubicBezTo>
                  <a:cubicBezTo>
                    <a:pt x="833" y="48"/>
                    <a:pt x="833" y="48"/>
                    <a:pt x="833" y="47"/>
                  </a:cubicBezTo>
                  <a:cubicBezTo>
                    <a:pt x="833" y="48"/>
                    <a:pt x="833" y="48"/>
                    <a:pt x="833" y="48"/>
                  </a:cubicBezTo>
                  <a:cubicBezTo>
                    <a:pt x="833" y="47"/>
                    <a:pt x="833" y="47"/>
                    <a:pt x="833" y="47"/>
                  </a:cubicBezTo>
                  <a:cubicBezTo>
                    <a:pt x="833" y="47"/>
                    <a:pt x="833" y="47"/>
                    <a:pt x="833" y="47"/>
                  </a:cubicBezTo>
                  <a:cubicBezTo>
                    <a:pt x="834" y="47"/>
                    <a:pt x="834" y="46"/>
                    <a:pt x="835" y="45"/>
                  </a:cubicBezTo>
                  <a:cubicBezTo>
                    <a:pt x="835" y="45"/>
                    <a:pt x="835" y="45"/>
                    <a:pt x="835" y="45"/>
                  </a:cubicBezTo>
                  <a:cubicBezTo>
                    <a:pt x="835" y="45"/>
                    <a:pt x="835" y="45"/>
                    <a:pt x="835" y="45"/>
                  </a:cubicBezTo>
                  <a:cubicBezTo>
                    <a:pt x="835" y="45"/>
                    <a:pt x="835" y="45"/>
                    <a:pt x="835" y="45"/>
                  </a:cubicBezTo>
                  <a:cubicBezTo>
                    <a:pt x="836" y="45"/>
                    <a:pt x="836" y="45"/>
                    <a:pt x="836" y="45"/>
                  </a:cubicBezTo>
                  <a:cubicBezTo>
                    <a:pt x="836" y="45"/>
                    <a:pt x="836" y="45"/>
                    <a:pt x="836" y="45"/>
                  </a:cubicBezTo>
                  <a:cubicBezTo>
                    <a:pt x="836" y="45"/>
                    <a:pt x="836" y="45"/>
                    <a:pt x="836" y="44"/>
                  </a:cubicBezTo>
                  <a:cubicBezTo>
                    <a:pt x="836" y="44"/>
                    <a:pt x="836" y="44"/>
                    <a:pt x="836" y="44"/>
                  </a:cubicBezTo>
                  <a:cubicBezTo>
                    <a:pt x="836" y="44"/>
                    <a:pt x="837" y="44"/>
                    <a:pt x="837" y="44"/>
                  </a:cubicBezTo>
                  <a:cubicBezTo>
                    <a:pt x="837" y="44"/>
                    <a:pt x="837" y="44"/>
                    <a:pt x="837" y="44"/>
                  </a:cubicBezTo>
                  <a:cubicBezTo>
                    <a:pt x="837" y="44"/>
                    <a:pt x="837" y="44"/>
                    <a:pt x="837" y="44"/>
                  </a:cubicBezTo>
                  <a:cubicBezTo>
                    <a:pt x="837" y="44"/>
                    <a:pt x="837" y="44"/>
                    <a:pt x="837" y="44"/>
                  </a:cubicBezTo>
                  <a:cubicBezTo>
                    <a:pt x="838" y="44"/>
                    <a:pt x="838" y="44"/>
                    <a:pt x="838" y="43"/>
                  </a:cubicBezTo>
                  <a:cubicBezTo>
                    <a:pt x="838" y="43"/>
                    <a:pt x="838" y="43"/>
                    <a:pt x="838" y="43"/>
                  </a:cubicBezTo>
                  <a:cubicBezTo>
                    <a:pt x="838" y="43"/>
                    <a:pt x="838" y="43"/>
                    <a:pt x="838" y="43"/>
                  </a:cubicBezTo>
                  <a:cubicBezTo>
                    <a:pt x="838" y="43"/>
                    <a:pt x="839" y="43"/>
                    <a:pt x="839" y="43"/>
                  </a:cubicBezTo>
                  <a:cubicBezTo>
                    <a:pt x="839" y="43"/>
                    <a:pt x="839" y="43"/>
                    <a:pt x="839" y="43"/>
                  </a:cubicBezTo>
                  <a:cubicBezTo>
                    <a:pt x="839" y="43"/>
                    <a:pt x="839" y="43"/>
                    <a:pt x="840" y="43"/>
                  </a:cubicBezTo>
                  <a:cubicBezTo>
                    <a:pt x="840" y="43"/>
                    <a:pt x="840" y="43"/>
                    <a:pt x="840" y="43"/>
                  </a:cubicBezTo>
                  <a:cubicBezTo>
                    <a:pt x="840" y="43"/>
                    <a:pt x="840" y="43"/>
                    <a:pt x="840" y="43"/>
                  </a:cubicBezTo>
                  <a:cubicBezTo>
                    <a:pt x="840" y="42"/>
                    <a:pt x="841" y="43"/>
                    <a:pt x="841" y="42"/>
                  </a:cubicBezTo>
                  <a:close/>
                  <a:moveTo>
                    <a:pt x="1667" y="58"/>
                  </a:moveTo>
                  <a:cubicBezTo>
                    <a:pt x="1667" y="58"/>
                    <a:pt x="1667" y="58"/>
                    <a:pt x="1667" y="58"/>
                  </a:cubicBezTo>
                  <a:cubicBezTo>
                    <a:pt x="1667" y="58"/>
                    <a:pt x="1667" y="58"/>
                    <a:pt x="1667" y="58"/>
                  </a:cubicBezTo>
                  <a:cubicBezTo>
                    <a:pt x="1667" y="57"/>
                    <a:pt x="1667" y="58"/>
                    <a:pt x="1668" y="57"/>
                  </a:cubicBezTo>
                  <a:cubicBezTo>
                    <a:pt x="1668" y="57"/>
                    <a:pt x="1668" y="57"/>
                    <a:pt x="1668" y="57"/>
                  </a:cubicBezTo>
                  <a:cubicBezTo>
                    <a:pt x="1668" y="57"/>
                    <a:pt x="1668" y="57"/>
                    <a:pt x="1669" y="57"/>
                  </a:cubicBezTo>
                  <a:cubicBezTo>
                    <a:pt x="1669" y="57"/>
                    <a:pt x="1669" y="57"/>
                    <a:pt x="1669" y="57"/>
                  </a:cubicBezTo>
                  <a:cubicBezTo>
                    <a:pt x="1669" y="57"/>
                    <a:pt x="1669" y="57"/>
                    <a:pt x="1669" y="57"/>
                  </a:cubicBezTo>
                  <a:cubicBezTo>
                    <a:pt x="1669" y="57"/>
                    <a:pt x="1669" y="57"/>
                    <a:pt x="1669" y="57"/>
                  </a:cubicBezTo>
                  <a:cubicBezTo>
                    <a:pt x="1670" y="56"/>
                    <a:pt x="1670" y="56"/>
                    <a:pt x="1670" y="56"/>
                  </a:cubicBezTo>
                  <a:cubicBezTo>
                    <a:pt x="1670" y="56"/>
                    <a:pt x="1670" y="56"/>
                    <a:pt x="1670" y="56"/>
                  </a:cubicBezTo>
                  <a:cubicBezTo>
                    <a:pt x="1670" y="56"/>
                    <a:pt x="1671" y="56"/>
                    <a:pt x="1671" y="56"/>
                  </a:cubicBezTo>
                  <a:cubicBezTo>
                    <a:pt x="1671" y="56"/>
                    <a:pt x="1671" y="56"/>
                    <a:pt x="1671" y="56"/>
                  </a:cubicBezTo>
                  <a:cubicBezTo>
                    <a:pt x="1671" y="56"/>
                    <a:pt x="1671" y="56"/>
                    <a:pt x="1671" y="55"/>
                  </a:cubicBezTo>
                  <a:cubicBezTo>
                    <a:pt x="1671" y="56"/>
                    <a:pt x="1671" y="56"/>
                    <a:pt x="1671" y="56"/>
                  </a:cubicBezTo>
                  <a:cubicBezTo>
                    <a:pt x="1672" y="55"/>
                    <a:pt x="1672" y="55"/>
                    <a:pt x="1672" y="55"/>
                  </a:cubicBezTo>
                  <a:cubicBezTo>
                    <a:pt x="1672" y="55"/>
                    <a:pt x="1672" y="55"/>
                    <a:pt x="1672" y="55"/>
                  </a:cubicBezTo>
                  <a:cubicBezTo>
                    <a:pt x="1672" y="55"/>
                    <a:pt x="1672" y="55"/>
                    <a:pt x="1672" y="55"/>
                  </a:cubicBezTo>
                  <a:cubicBezTo>
                    <a:pt x="1672" y="55"/>
                    <a:pt x="1672" y="55"/>
                    <a:pt x="1673" y="55"/>
                  </a:cubicBezTo>
                  <a:cubicBezTo>
                    <a:pt x="1673" y="55"/>
                    <a:pt x="1673" y="55"/>
                    <a:pt x="1673" y="55"/>
                  </a:cubicBezTo>
                  <a:cubicBezTo>
                    <a:pt x="1673" y="55"/>
                    <a:pt x="1673" y="55"/>
                    <a:pt x="1673" y="54"/>
                  </a:cubicBezTo>
                  <a:cubicBezTo>
                    <a:pt x="1673" y="54"/>
                    <a:pt x="1673" y="54"/>
                    <a:pt x="1673" y="54"/>
                  </a:cubicBezTo>
                  <a:cubicBezTo>
                    <a:pt x="1673" y="54"/>
                    <a:pt x="1673" y="54"/>
                    <a:pt x="1674" y="54"/>
                  </a:cubicBezTo>
                  <a:cubicBezTo>
                    <a:pt x="1674" y="54"/>
                    <a:pt x="1674" y="54"/>
                    <a:pt x="1674" y="54"/>
                  </a:cubicBezTo>
                  <a:cubicBezTo>
                    <a:pt x="1674" y="54"/>
                    <a:pt x="1674" y="54"/>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6" y="53"/>
                    <a:pt x="1676" y="52"/>
                  </a:cubicBezTo>
                  <a:cubicBezTo>
                    <a:pt x="1676" y="52"/>
                    <a:pt x="1676" y="52"/>
                    <a:pt x="1676" y="52"/>
                  </a:cubicBezTo>
                  <a:cubicBezTo>
                    <a:pt x="1677" y="52"/>
                    <a:pt x="1677" y="51"/>
                    <a:pt x="1678" y="50"/>
                  </a:cubicBezTo>
                  <a:cubicBezTo>
                    <a:pt x="1678" y="50"/>
                    <a:pt x="1678" y="50"/>
                    <a:pt x="1678" y="50"/>
                  </a:cubicBezTo>
                  <a:cubicBezTo>
                    <a:pt x="1678" y="50"/>
                    <a:pt x="1678" y="50"/>
                    <a:pt x="1678" y="50"/>
                  </a:cubicBezTo>
                  <a:cubicBezTo>
                    <a:pt x="1678" y="50"/>
                    <a:pt x="1678" y="50"/>
                    <a:pt x="1678" y="50"/>
                  </a:cubicBezTo>
                  <a:cubicBezTo>
                    <a:pt x="1679" y="50"/>
                    <a:pt x="1679" y="49"/>
                    <a:pt x="1679" y="49"/>
                  </a:cubicBezTo>
                  <a:cubicBezTo>
                    <a:pt x="1679" y="49"/>
                    <a:pt x="1679" y="49"/>
                    <a:pt x="1679" y="49"/>
                  </a:cubicBezTo>
                  <a:cubicBezTo>
                    <a:pt x="1679" y="49"/>
                    <a:pt x="1679" y="49"/>
                    <a:pt x="1679" y="49"/>
                  </a:cubicBezTo>
                  <a:cubicBezTo>
                    <a:pt x="1679" y="49"/>
                    <a:pt x="1679" y="49"/>
                    <a:pt x="1679" y="49"/>
                  </a:cubicBezTo>
                  <a:cubicBezTo>
                    <a:pt x="1679" y="49"/>
                    <a:pt x="1679" y="48"/>
                    <a:pt x="1680" y="48"/>
                  </a:cubicBezTo>
                  <a:cubicBezTo>
                    <a:pt x="1680" y="48"/>
                    <a:pt x="1680" y="48"/>
                    <a:pt x="1680" y="48"/>
                  </a:cubicBezTo>
                  <a:cubicBezTo>
                    <a:pt x="1680" y="48"/>
                    <a:pt x="1680" y="48"/>
                    <a:pt x="1680" y="48"/>
                  </a:cubicBezTo>
                  <a:cubicBezTo>
                    <a:pt x="1680" y="48"/>
                    <a:pt x="1680" y="48"/>
                    <a:pt x="1680" y="48"/>
                  </a:cubicBezTo>
                  <a:cubicBezTo>
                    <a:pt x="1680" y="48"/>
                    <a:pt x="1680" y="47"/>
                    <a:pt x="1680" y="47"/>
                  </a:cubicBezTo>
                  <a:cubicBezTo>
                    <a:pt x="1680" y="47"/>
                    <a:pt x="1680" y="47"/>
                    <a:pt x="1680" y="47"/>
                  </a:cubicBezTo>
                  <a:cubicBezTo>
                    <a:pt x="1680" y="47"/>
                    <a:pt x="1680" y="47"/>
                    <a:pt x="1681" y="47"/>
                  </a:cubicBezTo>
                  <a:cubicBezTo>
                    <a:pt x="1680" y="47"/>
                    <a:pt x="1680" y="47"/>
                    <a:pt x="1680" y="47"/>
                  </a:cubicBezTo>
                  <a:cubicBezTo>
                    <a:pt x="1681" y="47"/>
                    <a:pt x="1681" y="46"/>
                    <a:pt x="1681" y="46"/>
                  </a:cubicBezTo>
                  <a:cubicBezTo>
                    <a:pt x="1681" y="46"/>
                    <a:pt x="1681" y="46"/>
                    <a:pt x="1681" y="46"/>
                  </a:cubicBezTo>
                  <a:cubicBezTo>
                    <a:pt x="1681" y="46"/>
                    <a:pt x="1681" y="46"/>
                    <a:pt x="1681" y="45"/>
                  </a:cubicBezTo>
                  <a:cubicBezTo>
                    <a:pt x="1681" y="45"/>
                    <a:pt x="1681" y="45"/>
                    <a:pt x="1681" y="45"/>
                  </a:cubicBezTo>
                  <a:cubicBezTo>
                    <a:pt x="1681" y="45"/>
                    <a:pt x="1681" y="45"/>
                    <a:pt x="1682" y="45"/>
                  </a:cubicBezTo>
                  <a:cubicBezTo>
                    <a:pt x="1682" y="45"/>
                    <a:pt x="1682" y="45"/>
                    <a:pt x="1682" y="45"/>
                  </a:cubicBezTo>
                  <a:cubicBezTo>
                    <a:pt x="1682" y="45"/>
                    <a:pt x="1682" y="44"/>
                    <a:pt x="1682" y="44"/>
                  </a:cubicBezTo>
                  <a:cubicBezTo>
                    <a:pt x="1682" y="44"/>
                    <a:pt x="1682" y="44"/>
                    <a:pt x="1682" y="44"/>
                  </a:cubicBezTo>
                  <a:cubicBezTo>
                    <a:pt x="1682" y="44"/>
                    <a:pt x="1682" y="44"/>
                    <a:pt x="1682" y="43"/>
                  </a:cubicBezTo>
                  <a:cubicBezTo>
                    <a:pt x="1682" y="43"/>
                    <a:pt x="1682" y="43"/>
                    <a:pt x="1682" y="43"/>
                  </a:cubicBezTo>
                  <a:cubicBezTo>
                    <a:pt x="1683" y="43"/>
                    <a:pt x="1682" y="43"/>
                    <a:pt x="1683" y="43"/>
                  </a:cubicBezTo>
                  <a:cubicBezTo>
                    <a:pt x="1683" y="42"/>
                    <a:pt x="1683" y="42"/>
                    <a:pt x="1683" y="42"/>
                  </a:cubicBezTo>
                  <a:cubicBezTo>
                    <a:pt x="1683" y="42"/>
                    <a:pt x="1683" y="42"/>
                    <a:pt x="1683" y="42"/>
                  </a:cubicBezTo>
                  <a:cubicBezTo>
                    <a:pt x="1683" y="41"/>
                    <a:pt x="1683" y="41"/>
                    <a:pt x="1683" y="41"/>
                  </a:cubicBezTo>
                  <a:cubicBezTo>
                    <a:pt x="1683" y="41"/>
                    <a:pt x="1683" y="41"/>
                    <a:pt x="1683" y="40"/>
                  </a:cubicBezTo>
                  <a:cubicBezTo>
                    <a:pt x="1683" y="40"/>
                    <a:pt x="1683" y="40"/>
                    <a:pt x="1683" y="40"/>
                  </a:cubicBezTo>
                  <a:cubicBezTo>
                    <a:pt x="1683" y="40"/>
                    <a:pt x="1683" y="40"/>
                    <a:pt x="1683" y="40"/>
                  </a:cubicBezTo>
                  <a:cubicBezTo>
                    <a:pt x="1684" y="40"/>
                    <a:pt x="1683" y="39"/>
                    <a:pt x="1684" y="39"/>
                  </a:cubicBezTo>
                  <a:cubicBezTo>
                    <a:pt x="1684" y="39"/>
                    <a:pt x="1684" y="39"/>
                    <a:pt x="1684" y="39"/>
                  </a:cubicBezTo>
                  <a:cubicBezTo>
                    <a:pt x="1684" y="39"/>
                    <a:pt x="1684" y="39"/>
                    <a:pt x="1684" y="39"/>
                  </a:cubicBezTo>
                  <a:cubicBezTo>
                    <a:pt x="1684" y="38"/>
                    <a:pt x="1684" y="38"/>
                    <a:pt x="1684" y="37"/>
                  </a:cubicBezTo>
                  <a:cubicBezTo>
                    <a:pt x="1684" y="37"/>
                    <a:pt x="1684" y="37"/>
                    <a:pt x="1684" y="37"/>
                  </a:cubicBezTo>
                  <a:cubicBezTo>
                    <a:pt x="1684" y="34"/>
                    <a:pt x="1684" y="31"/>
                    <a:pt x="1684" y="28"/>
                  </a:cubicBezTo>
                  <a:cubicBezTo>
                    <a:pt x="1684" y="28"/>
                    <a:pt x="1684" y="28"/>
                    <a:pt x="1684" y="28"/>
                  </a:cubicBezTo>
                  <a:cubicBezTo>
                    <a:pt x="1684" y="27"/>
                    <a:pt x="1684" y="27"/>
                    <a:pt x="1684" y="26"/>
                  </a:cubicBezTo>
                  <a:cubicBezTo>
                    <a:pt x="1684" y="26"/>
                    <a:pt x="1684" y="26"/>
                    <a:pt x="1684" y="26"/>
                  </a:cubicBezTo>
                  <a:cubicBezTo>
                    <a:pt x="1684" y="26"/>
                    <a:pt x="1684" y="26"/>
                    <a:pt x="1684" y="26"/>
                  </a:cubicBezTo>
                  <a:cubicBezTo>
                    <a:pt x="1683" y="25"/>
                    <a:pt x="1684" y="25"/>
                    <a:pt x="1683" y="25"/>
                  </a:cubicBezTo>
                  <a:cubicBezTo>
                    <a:pt x="1683" y="25"/>
                    <a:pt x="1683" y="25"/>
                    <a:pt x="1683" y="25"/>
                  </a:cubicBezTo>
                  <a:cubicBezTo>
                    <a:pt x="1683" y="24"/>
                    <a:pt x="1683" y="24"/>
                    <a:pt x="1683" y="24"/>
                  </a:cubicBezTo>
                  <a:cubicBezTo>
                    <a:pt x="1683" y="23"/>
                    <a:pt x="1683" y="23"/>
                    <a:pt x="1683" y="23"/>
                  </a:cubicBezTo>
                  <a:cubicBezTo>
                    <a:pt x="1683" y="23"/>
                    <a:pt x="1683" y="23"/>
                    <a:pt x="1683" y="23"/>
                  </a:cubicBezTo>
                  <a:cubicBezTo>
                    <a:pt x="1683" y="23"/>
                    <a:pt x="1683" y="23"/>
                    <a:pt x="1683" y="23"/>
                  </a:cubicBezTo>
                  <a:cubicBezTo>
                    <a:pt x="1683" y="23"/>
                    <a:pt x="1683" y="23"/>
                    <a:pt x="1683" y="23"/>
                  </a:cubicBezTo>
                  <a:cubicBezTo>
                    <a:pt x="1682" y="22"/>
                    <a:pt x="1683" y="22"/>
                    <a:pt x="1682" y="22"/>
                  </a:cubicBezTo>
                  <a:cubicBezTo>
                    <a:pt x="1682" y="22"/>
                    <a:pt x="1682" y="22"/>
                    <a:pt x="1682" y="22"/>
                  </a:cubicBezTo>
                  <a:cubicBezTo>
                    <a:pt x="1682" y="22"/>
                    <a:pt x="1682" y="22"/>
                    <a:pt x="1682" y="22"/>
                  </a:cubicBezTo>
                  <a:cubicBezTo>
                    <a:pt x="1682" y="21"/>
                    <a:pt x="1682" y="21"/>
                    <a:pt x="1682" y="21"/>
                  </a:cubicBezTo>
                  <a:cubicBezTo>
                    <a:pt x="1682" y="21"/>
                    <a:pt x="1682" y="21"/>
                    <a:pt x="1682" y="21"/>
                  </a:cubicBezTo>
                  <a:cubicBezTo>
                    <a:pt x="1682" y="21"/>
                    <a:pt x="1682" y="20"/>
                    <a:pt x="1682" y="20"/>
                  </a:cubicBezTo>
                  <a:cubicBezTo>
                    <a:pt x="1682" y="20"/>
                    <a:pt x="1682" y="20"/>
                    <a:pt x="1682" y="20"/>
                  </a:cubicBezTo>
                  <a:cubicBezTo>
                    <a:pt x="1682" y="20"/>
                    <a:pt x="1681" y="20"/>
                    <a:pt x="1681" y="20"/>
                  </a:cubicBezTo>
                  <a:cubicBezTo>
                    <a:pt x="1681" y="20"/>
                    <a:pt x="1681" y="20"/>
                    <a:pt x="1681" y="20"/>
                  </a:cubicBezTo>
                  <a:cubicBezTo>
                    <a:pt x="1681" y="20"/>
                    <a:pt x="1681" y="19"/>
                    <a:pt x="1681" y="19"/>
                  </a:cubicBezTo>
                  <a:cubicBezTo>
                    <a:pt x="1681" y="19"/>
                    <a:pt x="1681" y="19"/>
                    <a:pt x="1681" y="19"/>
                  </a:cubicBezTo>
                  <a:cubicBezTo>
                    <a:pt x="1681" y="19"/>
                    <a:pt x="1681" y="18"/>
                    <a:pt x="1680" y="18"/>
                  </a:cubicBezTo>
                  <a:cubicBezTo>
                    <a:pt x="1681" y="18"/>
                    <a:pt x="1681" y="18"/>
                    <a:pt x="1681" y="18"/>
                  </a:cubicBezTo>
                  <a:cubicBezTo>
                    <a:pt x="1680" y="18"/>
                    <a:pt x="1680" y="18"/>
                    <a:pt x="1680" y="18"/>
                  </a:cubicBezTo>
                  <a:cubicBezTo>
                    <a:pt x="1680" y="18"/>
                    <a:pt x="1680" y="18"/>
                    <a:pt x="1680" y="18"/>
                  </a:cubicBezTo>
                  <a:cubicBezTo>
                    <a:pt x="1680" y="18"/>
                    <a:pt x="1680" y="17"/>
                    <a:pt x="1680" y="17"/>
                  </a:cubicBezTo>
                  <a:cubicBezTo>
                    <a:pt x="1680" y="17"/>
                    <a:pt x="1680" y="17"/>
                    <a:pt x="1680" y="17"/>
                  </a:cubicBezTo>
                  <a:cubicBezTo>
                    <a:pt x="1680" y="17"/>
                    <a:pt x="1680" y="17"/>
                    <a:pt x="1679" y="17"/>
                  </a:cubicBezTo>
                  <a:cubicBezTo>
                    <a:pt x="1679" y="17"/>
                    <a:pt x="1679" y="17"/>
                    <a:pt x="1679" y="17"/>
                  </a:cubicBezTo>
                  <a:cubicBezTo>
                    <a:pt x="1679" y="17"/>
                    <a:pt x="1679" y="17"/>
                    <a:pt x="1679" y="17"/>
                  </a:cubicBezTo>
                  <a:cubicBezTo>
                    <a:pt x="1679" y="17"/>
                    <a:pt x="1679" y="17"/>
                    <a:pt x="1679" y="17"/>
                  </a:cubicBezTo>
                  <a:cubicBezTo>
                    <a:pt x="1679" y="16"/>
                    <a:pt x="1679" y="16"/>
                    <a:pt x="1679" y="16"/>
                  </a:cubicBezTo>
                  <a:cubicBezTo>
                    <a:pt x="1679" y="16"/>
                    <a:pt x="1679" y="16"/>
                    <a:pt x="1679" y="16"/>
                  </a:cubicBezTo>
                  <a:cubicBezTo>
                    <a:pt x="1678" y="15"/>
                    <a:pt x="1677" y="14"/>
                    <a:pt x="1676" y="14"/>
                  </a:cubicBezTo>
                  <a:cubicBezTo>
                    <a:pt x="1676" y="14"/>
                    <a:pt x="1676" y="14"/>
                    <a:pt x="1676" y="14"/>
                  </a:cubicBezTo>
                  <a:cubicBezTo>
                    <a:pt x="1676" y="14"/>
                    <a:pt x="1676" y="14"/>
                    <a:pt x="1676" y="13"/>
                  </a:cubicBezTo>
                  <a:cubicBezTo>
                    <a:pt x="1676" y="13"/>
                    <a:pt x="1676" y="13"/>
                    <a:pt x="1676" y="13"/>
                  </a:cubicBezTo>
                  <a:cubicBezTo>
                    <a:pt x="1676" y="13"/>
                    <a:pt x="1676" y="13"/>
                    <a:pt x="1676" y="13"/>
                  </a:cubicBezTo>
                  <a:cubicBezTo>
                    <a:pt x="1676" y="13"/>
                    <a:pt x="1676" y="13"/>
                    <a:pt x="1676" y="13"/>
                  </a:cubicBezTo>
                  <a:cubicBezTo>
                    <a:pt x="1675" y="13"/>
                    <a:pt x="1675" y="13"/>
                    <a:pt x="1675" y="12"/>
                  </a:cubicBezTo>
                  <a:cubicBezTo>
                    <a:pt x="1675" y="12"/>
                    <a:pt x="1675" y="12"/>
                    <a:pt x="1675" y="12"/>
                  </a:cubicBezTo>
                  <a:cubicBezTo>
                    <a:pt x="1675" y="12"/>
                    <a:pt x="1674" y="12"/>
                    <a:pt x="1674" y="12"/>
                  </a:cubicBezTo>
                  <a:cubicBezTo>
                    <a:pt x="1674" y="12"/>
                    <a:pt x="1674" y="12"/>
                    <a:pt x="1674" y="12"/>
                  </a:cubicBezTo>
                  <a:cubicBezTo>
                    <a:pt x="1674" y="12"/>
                    <a:pt x="1674" y="12"/>
                    <a:pt x="1674" y="12"/>
                  </a:cubicBezTo>
                  <a:cubicBezTo>
                    <a:pt x="1674" y="12"/>
                    <a:pt x="1674" y="12"/>
                    <a:pt x="1674" y="12"/>
                  </a:cubicBezTo>
                  <a:cubicBezTo>
                    <a:pt x="1673" y="11"/>
                    <a:pt x="1673" y="12"/>
                    <a:pt x="1673" y="11"/>
                  </a:cubicBezTo>
                  <a:cubicBezTo>
                    <a:pt x="1673" y="11"/>
                    <a:pt x="1673" y="11"/>
                    <a:pt x="1673" y="11"/>
                  </a:cubicBezTo>
                  <a:cubicBezTo>
                    <a:pt x="1673" y="11"/>
                    <a:pt x="1673" y="11"/>
                    <a:pt x="1672" y="11"/>
                  </a:cubicBezTo>
                  <a:cubicBezTo>
                    <a:pt x="1673" y="11"/>
                    <a:pt x="1673" y="11"/>
                    <a:pt x="1673" y="11"/>
                  </a:cubicBezTo>
                  <a:cubicBezTo>
                    <a:pt x="1672" y="11"/>
                    <a:pt x="1672" y="11"/>
                    <a:pt x="1672" y="11"/>
                  </a:cubicBezTo>
                  <a:cubicBezTo>
                    <a:pt x="1672" y="11"/>
                    <a:pt x="1672" y="11"/>
                    <a:pt x="1672" y="11"/>
                  </a:cubicBezTo>
                  <a:cubicBezTo>
                    <a:pt x="1672" y="10"/>
                    <a:pt x="1671" y="10"/>
                    <a:pt x="1671" y="10"/>
                  </a:cubicBezTo>
                  <a:cubicBezTo>
                    <a:pt x="1671" y="10"/>
                    <a:pt x="1671" y="10"/>
                    <a:pt x="1671" y="10"/>
                  </a:cubicBezTo>
                  <a:cubicBezTo>
                    <a:pt x="1671" y="10"/>
                    <a:pt x="1671" y="10"/>
                    <a:pt x="1670" y="10"/>
                  </a:cubicBezTo>
                  <a:cubicBezTo>
                    <a:pt x="1670" y="10"/>
                    <a:pt x="1670" y="10"/>
                    <a:pt x="1670" y="10"/>
                  </a:cubicBezTo>
                  <a:cubicBezTo>
                    <a:pt x="1670" y="10"/>
                    <a:pt x="1670" y="10"/>
                    <a:pt x="1670" y="10"/>
                  </a:cubicBezTo>
                  <a:cubicBezTo>
                    <a:pt x="1670" y="10"/>
                    <a:pt x="1670" y="10"/>
                    <a:pt x="1669" y="10"/>
                  </a:cubicBezTo>
                  <a:cubicBezTo>
                    <a:pt x="1669" y="10"/>
                    <a:pt x="1669" y="10"/>
                    <a:pt x="1669" y="10"/>
                  </a:cubicBezTo>
                  <a:cubicBezTo>
                    <a:pt x="1669" y="9"/>
                    <a:pt x="1669" y="9"/>
                    <a:pt x="1669" y="9"/>
                  </a:cubicBezTo>
                  <a:cubicBezTo>
                    <a:pt x="1668" y="9"/>
                    <a:pt x="1668" y="9"/>
                    <a:pt x="1668" y="9"/>
                  </a:cubicBezTo>
                  <a:cubicBezTo>
                    <a:pt x="1668" y="9"/>
                    <a:pt x="1668" y="9"/>
                    <a:pt x="1668" y="9"/>
                  </a:cubicBezTo>
                  <a:cubicBezTo>
                    <a:pt x="1668" y="9"/>
                    <a:pt x="1668" y="9"/>
                    <a:pt x="1668" y="9"/>
                  </a:cubicBezTo>
                  <a:cubicBezTo>
                    <a:pt x="1667" y="9"/>
                    <a:pt x="1667" y="9"/>
                    <a:pt x="1667" y="9"/>
                  </a:cubicBezTo>
                  <a:cubicBezTo>
                    <a:pt x="1667" y="9"/>
                    <a:pt x="1667" y="9"/>
                    <a:pt x="1667" y="9"/>
                  </a:cubicBezTo>
                  <a:cubicBezTo>
                    <a:pt x="1667" y="9"/>
                    <a:pt x="1667" y="9"/>
                    <a:pt x="1666" y="9"/>
                  </a:cubicBezTo>
                  <a:cubicBezTo>
                    <a:pt x="1666" y="9"/>
                    <a:pt x="1666" y="9"/>
                    <a:pt x="1666" y="9"/>
                  </a:cubicBezTo>
                  <a:cubicBezTo>
                    <a:pt x="1666" y="8"/>
                    <a:pt x="1665" y="9"/>
                    <a:pt x="1665" y="8"/>
                  </a:cubicBezTo>
                  <a:cubicBezTo>
                    <a:pt x="1665" y="8"/>
                    <a:pt x="1665" y="8"/>
                    <a:pt x="1665" y="8"/>
                  </a:cubicBezTo>
                  <a:cubicBezTo>
                    <a:pt x="1664" y="8"/>
                    <a:pt x="1664" y="8"/>
                    <a:pt x="1663" y="8"/>
                  </a:cubicBezTo>
                  <a:cubicBezTo>
                    <a:pt x="1663" y="8"/>
                    <a:pt x="1663" y="8"/>
                    <a:pt x="1663" y="8"/>
                  </a:cubicBezTo>
                  <a:cubicBezTo>
                    <a:pt x="1662" y="7"/>
                    <a:pt x="1661" y="8"/>
                    <a:pt x="1661" y="8"/>
                  </a:cubicBezTo>
                  <a:cubicBezTo>
                    <a:pt x="1660" y="8"/>
                    <a:pt x="1660" y="8"/>
                    <a:pt x="1660" y="8"/>
                  </a:cubicBezTo>
                  <a:cubicBezTo>
                    <a:pt x="1659" y="7"/>
                    <a:pt x="1659" y="7"/>
                    <a:pt x="1658" y="7"/>
                  </a:cubicBezTo>
                  <a:cubicBezTo>
                    <a:pt x="1649" y="7"/>
                    <a:pt x="1639" y="7"/>
                    <a:pt x="1629" y="7"/>
                  </a:cubicBezTo>
                  <a:cubicBezTo>
                    <a:pt x="1627" y="7"/>
                    <a:pt x="1627" y="7"/>
                    <a:pt x="1627" y="9"/>
                  </a:cubicBezTo>
                  <a:cubicBezTo>
                    <a:pt x="1627" y="27"/>
                    <a:pt x="1627" y="45"/>
                    <a:pt x="1627" y="62"/>
                  </a:cubicBezTo>
                  <a:cubicBezTo>
                    <a:pt x="1627" y="75"/>
                    <a:pt x="1628" y="87"/>
                    <a:pt x="1627" y="100"/>
                  </a:cubicBezTo>
                  <a:cubicBezTo>
                    <a:pt x="1627" y="101"/>
                    <a:pt x="1628" y="102"/>
                    <a:pt x="1629" y="102"/>
                  </a:cubicBezTo>
                  <a:cubicBezTo>
                    <a:pt x="1632" y="102"/>
                    <a:pt x="1634" y="102"/>
                    <a:pt x="1637" y="102"/>
                  </a:cubicBezTo>
                  <a:cubicBezTo>
                    <a:pt x="1638" y="102"/>
                    <a:pt x="1639" y="101"/>
                    <a:pt x="1639" y="100"/>
                  </a:cubicBezTo>
                  <a:cubicBezTo>
                    <a:pt x="1639" y="88"/>
                    <a:pt x="1639" y="76"/>
                    <a:pt x="1639" y="64"/>
                  </a:cubicBezTo>
                  <a:cubicBezTo>
                    <a:pt x="1639" y="64"/>
                    <a:pt x="1639" y="63"/>
                    <a:pt x="1639" y="62"/>
                  </a:cubicBezTo>
                  <a:cubicBezTo>
                    <a:pt x="1639" y="62"/>
                    <a:pt x="1639" y="62"/>
                    <a:pt x="1639" y="62"/>
                  </a:cubicBezTo>
                  <a:cubicBezTo>
                    <a:pt x="1643" y="62"/>
                    <a:pt x="1647" y="61"/>
                    <a:pt x="1650" y="62"/>
                  </a:cubicBezTo>
                  <a:cubicBezTo>
                    <a:pt x="1651" y="62"/>
                    <a:pt x="1651" y="62"/>
                    <a:pt x="1651" y="62"/>
                  </a:cubicBezTo>
                  <a:cubicBezTo>
                    <a:pt x="1651" y="62"/>
                    <a:pt x="1651" y="62"/>
                    <a:pt x="1651" y="62"/>
                  </a:cubicBezTo>
                  <a:cubicBezTo>
                    <a:pt x="1651" y="62"/>
                    <a:pt x="1651" y="62"/>
                    <a:pt x="1652" y="62"/>
                  </a:cubicBezTo>
                  <a:cubicBezTo>
                    <a:pt x="1652" y="62"/>
                    <a:pt x="1652" y="62"/>
                    <a:pt x="1652" y="62"/>
                  </a:cubicBezTo>
                  <a:cubicBezTo>
                    <a:pt x="1652" y="62"/>
                    <a:pt x="1652" y="62"/>
                    <a:pt x="1652" y="62"/>
                  </a:cubicBezTo>
                  <a:cubicBezTo>
                    <a:pt x="1652" y="62"/>
                    <a:pt x="1653" y="62"/>
                    <a:pt x="1653" y="62"/>
                  </a:cubicBezTo>
                  <a:cubicBezTo>
                    <a:pt x="1653" y="62"/>
                    <a:pt x="1653" y="62"/>
                    <a:pt x="1653" y="62"/>
                  </a:cubicBezTo>
                  <a:cubicBezTo>
                    <a:pt x="1653" y="63"/>
                    <a:pt x="1653" y="63"/>
                    <a:pt x="1653" y="63"/>
                  </a:cubicBezTo>
                  <a:cubicBezTo>
                    <a:pt x="1653" y="63"/>
                    <a:pt x="1654" y="63"/>
                    <a:pt x="1654" y="63"/>
                  </a:cubicBezTo>
                  <a:cubicBezTo>
                    <a:pt x="1654" y="63"/>
                    <a:pt x="1654" y="63"/>
                    <a:pt x="1654" y="63"/>
                  </a:cubicBezTo>
                  <a:cubicBezTo>
                    <a:pt x="1654" y="63"/>
                    <a:pt x="1654" y="63"/>
                    <a:pt x="1654" y="63"/>
                  </a:cubicBezTo>
                  <a:cubicBezTo>
                    <a:pt x="1654" y="63"/>
                    <a:pt x="1654" y="63"/>
                    <a:pt x="1654" y="63"/>
                  </a:cubicBezTo>
                  <a:cubicBezTo>
                    <a:pt x="1654" y="63"/>
                    <a:pt x="1654" y="63"/>
                    <a:pt x="1654" y="63"/>
                  </a:cubicBezTo>
                  <a:cubicBezTo>
                    <a:pt x="1655" y="63"/>
                    <a:pt x="1655" y="63"/>
                    <a:pt x="1655" y="64"/>
                  </a:cubicBezTo>
                  <a:cubicBezTo>
                    <a:pt x="1655" y="64"/>
                    <a:pt x="1655" y="64"/>
                    <a:pt x="1655" y="64"/>
                  </a:cubicBezTo>
                  <a:cubicBezTo>
                    <a:pt x="1655" y="64"/>
                    <a:pt x="1655" y="64"/>
                    <a:pt x="1655" y="64"/>
                  </a:cubicBezTo>
                  <a:cubicBezTo>
                    <a:pt x="1655" y="64"/>
                    <a:pt x="1655" y="64"/>
                    <a:pt x="1655" y="64"/>
                  </a:cubicBezTo>
                  <a:cubicBezTo>
                    <a:pt x="1656" y="64"/>
                    <a:pt x="1656" y="64"/>
                    <a:pt x="1656" y="64"/>
                  </a:cubicBezTo>
                  <a:cubicBezTo>
                    <a:pt x="1656" y="64"/>
                    <a:pt x="1656" y="64"/>
                    <a:pt x="1656" y="64"/>
                  </a:cubicBezTo>
                  <a:cubicBezTo>
                    <a:pt x="1656" y="64"/>
                    <a:pt x="1656" y="65"/>
                    <a:pt x="1656" y="65"/>
                  </a:cubicBezTo>
                  <a:cubicBezTo>
                    <a:pt x="1656" y="65"/>
                    <a:pt x="1656" y="65"/>
                    <a:pt x="1656" y="65"/>
                  </a:cubicBezTo>
                  <a:cubicBezTo>
                    <a:pt x="1657" y="65"/>
                    <a:pt x="1658" y="66"/>
                    <a:pt x="1658" y="67"/>
                  </a:cubicBezTo>
                  <a:cubicBezTo>
                    <a:pt x="1658" y="67"/>
                    <a:pt x="1658" y="67"/>
                    <a:pt x="1658" y="67"/>
                  </a:cubicBezTo>
                  <a:cubicBezTo>
                    <a:pt x="1658" y="67"/>
                    <a:pt x="1659" y="67"/>
                    <a:pt x="1659" y="67"/>
                  </a:cubicBezTo>
                  <a:cubicBezTo>
                    <a:pt x="1659" y="67"/>
                    <a:pt x="1659" y="67"/>
                    <a:pt x="1659" y="67"/>
                  </a:cubicBezTo>
                  <a:cubicBezTo>
                    <a:pt x="1659" y="67"/>
                    <a:pt x="1659" y="67"/>
                    <a:pt x="1659" y="67"/>
                  </a:cubicBezTo>
                  <a:cubicBezTo>
                    <a:pt x="1659" y="67"/>
                    <a:pt x="1659" y="67"/>
                    <a:pt x="1659" y="67"/>
                  </a:cubicBezTo>
                  <a:cubicBezTo>
                    <a:pt x="1659" y="68"/>
                    <a:pt x="1659" y="68"/>
                    <a:pt x="1660" y="68"/>
                  </a:cubicBezTo>
                  <a:cubicBezTo>
                    <a:pt x="1660" y="68"/>
                    <a:pt x="1660" y="68"/>
                    <a:pt x="1660" y="68"/>
                  </a:cubicBezTo>
                  <a:cubicBezTo>
                    <a:pt x="1660" y="69"/>
                    <a:pt x="1660" y="69"/>
                    <a:pt x="1660" y="69"/>
                  </a:cubicBezTo>
                  <a:cubicBezTo>
                    <a:pt x="1660" y="69"/>
                    <a:pt x="1660" y="69"/>
                    <a:pt x="1660" y="69"/>
                  </a:cubicBezTo>
                  <a:cubicBezTo>
                    <a:pt x="1660" y="69"/>
                    <a:pt x="1660" y="69"/>
                    <a:pt x="1660" y="69"/>
                  </a:cubicBezTo>
                  <a:cubicBezTo>
                    <a:pt x="1660" y="69"/>
                    <a:pt x="1660" y="69"/>
                    <a:pt x="1660" y="69"/>
                  </a:cubicBezTo>
                  <a:cubicBezTo>
                    <a:pt x="1661" y="70"/>
                    <a:pt x="1660" y="70"/>
                    <a:pt x="1661" y="70"/>
                  </a:cubicBezTo>
                  <a:cubicBezTo>
                    <a:pt x="1661" y="70"/>
                    <a:pt x="1661" y="70"/>
                    <a:pt x="1661" y="70"/>
                  </a:cubicBezTo>
                  <a:cubicBezTo>
                    <a:pt x="1661" y="70"/>
                    <a:pt x="1661" y="70"/>
                    <a:pt x="1661" y="71"/>
                  </a:cubicBezTo>
                  <a:cubicBezTo>
                    <a:pt x="1661" y="71"/>
                    <a:pt x="1661" y="71"/>
                    <a:pt x="1661" y="71"/>
                  </a:cubicBezTo>
                  <a:cubicBezTo>
                    <a:pt x="1661" y="71"/>
                    <a:pt x="1661" y="71"/>
                    <a:pt x="1661" y="71"/>
                  </a:cubicBezTo>
                  <a:cubicBezTo>
                    <a:pt x="1661" y="71"/>
                    <a:pt x="1661" y="71"/>
                    <a:pt x="1661" y="71"/>
                  </a:cubicBezTo>
                  <a:cubicBezTo>
                    <a:pt x="1661" y="71"/>
                    <a:pt x="1661" y="71"/>
                    <a:pt x="1661" y="71"/>
                  </a:cubicBezTo>
                  <a:cubicBezTo>
                    <a:pt x="1662" y="71"/>
                    <a:pt x="1662" y="72"/>
                    <a:pt x="1662" y="72"/>
                  </a:cubicBezTo>
                  <a:cubicBezTo>
                    <a:pt x="1662" y="72"/>
                    <a:pt x="1662" y="72"/>
                    <a:pt x="1662" y="72"/>
                  </a:cubicBezTo>
                  <a:cubicBezTo>
                    <a:pt x="1662" y="72"/>
                    <a:pt x="1662" y="72"/>
                    <a:pt x="1662" y="73"/>
                  </a:cubicBezTo>
                  <a:cubicBezTo>
                    <a:pt x="1662" y="73"/>
                    <a:pt x="1662" y="73"/>
                    <a:pt x="1662" y="73"/>
                  </a:cubicBezTo>
                  <a:cubicBezTo>
                    <a:pt x="1662" y="73"/>
                    <a:pt x="1662" y="73"/>
                    <a:pt x="1662" y="73"/>
                  </a:cubicBezTo>
                  <a:cubicBezTo>
                    <a:pt x="1662" y="73"/>
                    <a:pt x="1662" y="73"/>
                    <a:pt x="1663" y="74"/>
                  </a:cubicBezTo>
                  <a:cubicBezTo>
                    <a:pt x="1662" y="74"/>
                    <a:pt x="1662" y="74"/>
                    <a:pt x="1662" y="74"/>
                  </a:cubicBezTo>
                  <a:cubicBezTo>
                    <a:pt x="1663" y="74"/>
                    <a:pt x="1663" y="74"/>
                    <a:pt x="1663" y="74"/>
                  </a:cubicBezTo>
                  <a:cubicBezTo>
                    <a:pt x="1663" y="74"/>
                    <a:pt x="1663" y="74"/>
                    <a:pt x="1663" y="74"/>
                  </a:cubicBezTo>
                  <a:cubicBezTo>
                    <a:pt x="1663" y="75"/>
                    <a:pt x="1663" y="75"/>
                    <a:pt x="1663" y="75"/>
                  </a:cubicBezTo>
                  <a:cubicBezTo>
                    <a:pt x="1663" y="75"/>
                    <a:pt x="1663" y="75"/>
                    <a:pt x="1663" y="75"/>
                  </a:cubicBezTo>
                  <a:cubicBezTo>
                    <a:pt x="1663" y="75"/>
                    <a:pt x="1663" y="75"/>
                    <a:pt x="1663" y="75"/>
                  </a:cubicBezTo>
                  <a:cubicBezTo>
                    <a:pt x="1663" y="76"/>
                    <a:pt x="1663" y="76"/>
                    <a:pt x="1664" y="76"/>
                  </a:cubicBezTo>
                  <a:cubicBezTo>
                    <a:pt x="1664" y="76"/>
                    <a:pt x="1664" y="76"/>
                    <a:pt x="1664" y="76"/>
                  </a:cubicBezTo>
                  <a:cubicBezTo>
                    <a:pt x="1664" y="76"/>
                    <a:pt x="1664" y="77"/>
                    <a:pt x="1664" y="77"/>
                  </a:cubicBezTo>
                  <a:cubicBezTo>
                    <a:pt x="1664" y="77"/>
                    <a:pt x="1664" y="77"/>
                    <a:pt x="1664" y="77"/>
                  </a:cubicBezTo>
                  <a:cubicBezTo>
                    <a:pt x="1664" y="77"/>
                    <a:pt x="1664" y="77"/>
                    <a:pt x="1664" y="77"/>
                  </a:cubicBezTo>
                  <a:cubicBezTo>
                    <a:pt x="1664" y="77"/>
                    <a:pt x="1664" y="77"/>
                    <a:pt x="1664" y="77"/>
                  </a:cubicBezTo>
                  <a:cubicBezTo>
                    <a:pt x="1664" y="78"/>
                    <a:pt x="1664" y="78"/>
                    <a:pt x="1665" y="78"/>
                  </a:cubicBezTo>
                  <a:cubicBezTo>
                    <a:pt x="1665" y="78"/>
                    <a:pt x="1665" y="78"/>
                    <a:pt x="1665" y="78"/>
                  </a:cubicBezTo>
                  <a:cubicBezTo>
                    <a:pt x="1665" y="79"/>
                    <a:pt x="1665" y="79"/>
                    <a:pt x="1665" y="79"/>
                  </a:cubicBezTo>
                  <a:cubicBezTo>
                    <a:pt x="1665" y="79"/>
                    <a:pt x="1665" y="79"/>
                    <a:pt x="1665" y="79"/>
                  </a:cubicBezTo>
                  <a:cubicBezTo>
                    <a:pt x="1665" y="79"/>
                    <a:pt x="1665" y="80"/>
                    <a:pt x="1665" y="80"/>
                  </a:cubicBezTo>
                  <a:cubicBezTo>
                    <a:pt x="1665" y="80"/>
                    <a:pt x="1665" y="80"/>
                    <a:pt x="1665" y="80"/>
                  </a:cubicBezTo>
                  <a:cubicBezTo>
                    <a:pt x="1665" y="80"/>
                    <a:pt x="1665" y="80"/>
                    <a:pt x="1666" y="81"/>
                  </a:cubicBezTo>
                  <a:cubicBezTo>
                    <a:pt x="1666" y="81"/>
                    <a:pt x="1666" y="81"/>
                    <a:pt x="1666" y="81"/>
                  </a:cubicBezTo>
                  <a:cubicBezTo>
                    <a:pt x="1666" y="81"/>
                    <a:pt x="1666" y="81"/>
                    <a:pt x="1666" y="81"/>
                  </a:cubicBezTo>
                  <a:cubicBezTo>
                    <a:pt x="1666" y="81"/>
                    <a:pt x="1666" y="81"/>
                    <a:pt x="1666" y="82"/>
                  </a:cubicBezTo>
                  <a:cubicBezTo>
                    <a:pt x="1666" y="82"/>
                    <a:pt x="1666" y="82"/>
                    <a:pt x="1666" y="82"/>
                  </a:cubicBezTo>
                  <a:cubicBezTo>
                    <a:pt x="1666" y="82"/>
                    <a:pt x="1666" y="82"/>
                    <a:pt x="1666" y="82"/>
                  </a:cubicBezTo>
                  <a:cubicBezTo>
                    <a:pt x="1666" y="82"/>
                    <a:pt x="1666" y="82"/>
                    <a:pt x="1666" y="82"/>
                  </a:cubicBezTo>
                  <a:cubicBezTo>
                    <a:pt x="1666" y="83"/>
                    <a:pt x="1666" y="83"/>
                    <a:pt x="1667" y="83"/>
                  </a:cubicBezTo>
                  <a:cubicBezTo>
                    <a:pt x="1667" y="83"/>
                    <a:pt x="1667" y="83"/>
                    <a:pt x="1667" y="83"/>
                  </a:cubicBezTo>
                  <a:cubicBezTo>
                    <a:pt x="1667" y="83"/>
                    <a:pt x="1667" y="84"/>
                    <a:pt x="1667" y="84"/>
                  </a:cubicBezTo>
                  <a:cubicBezTo>
                    <a:pt x="1667" y="84"/>
                    <a:pt x="1667" y="84"/>
                    <a:pt x="1667" y="84"/>
                  </a:cubicBezTo>
                  <a:cubicBezTo>
                    <a:pt x="1667" y="84"/>
                    <a:pt x="1667" y="85"/>
                    <a:pt x="1667" y="85"/>
                  </a:cubicBezTo>
                  <a:cubicBezTo>
                    <a:pt x="1667" y="85"/>
                    <a:pt x="1667" y="85"/>
                    <a:pt x="1667" y="85"/>
                  </a:cubicBezTo>
                  <a:cubicBezTo>
                    <a:pt x="1668" y="85"/>
                    <a:pt x="1667" y="85"/>
                    <a:pt x="1668" y="86"/>
                  </a:cubicBezTo>
                  <a:cubicBezTo>
                    <a:pt x="1668" y="85"/>
                    <a:pt x="1668" y="85"/>
                    <a:pt x="1668" y="85"/>
                  </a:cubicBezTo>
                  <a:cubicBezTo>
                    <a:pt x="1668" y="86"/>
                    <a:pt x="1668" y="86"/>
                    <a:pt x="1668" y="86"/>
                  </a:cubicBezTo>
                  <a:cubicBezTo>
                    <a:pt x="1668" y="86"/>
                    <a:pt x="1668" y="86"/>
                    <a:pt x="1668" y="86"/>
                  </a:cubicBezTo>
                  <a:cubicBezTo>
                    <a:pt x="1668" y="86"/>
                    <a:pt x="1668" y="86"/>
                    <a:pt x="1668" y="86"/>
                  </a:cubicBezTo>
                  <a:cubicBezTo>
                    <a:pt x="1668" y="87"/>
                    <a:pt x="1668" y="87"/>
                    <a:pt x="1668" y="87"/>
                  </a:cubicBezTo>
                  <a:cubicBezTo>
                    <a:pt x="1668" y="87"/>
                    <a:pt x="1668" y="87"/>
                    <a:pt x="1668" y="87"/>
                  </a:cubicBezTo>
                  <a:cubicBezTo>
                    <a:pt x="1669" y="87"/>
                    <a:pt x="1669" y="88"/>
                    <a:pt x="1669" y="88"/>
                  </a:cubicBezTo>
                  <a:cubicBezTo>
                    <a:pt x="1669" y="88"/>
                    <a:pt x="1669" y="88"/>
                    <a:pt x="1669" y="88"/>
                  </a:cubicBezTo>
                  <a:cubicBezTo>
                    <a:pt x="1669" y="88"/>
                    <a:pt x="1669" y="88"/>
                    <a:pt x="1669" y="89"/>
                  </a:cubicBezTo>
                  <a:cubicBezTo>
                    <a:pt x="1669" y="89"/>
                    <a:pt x="1669" y="89"/>
                    <a:pt x="1669" y="89"/>
                  </a:cubicBezTo>
                  <a:cubicBezTo>
                    <a:pt x="1669" y="89"/>
                    <a:pt x="1669" y="89"/>
                    <a:pt x="1669" y="89"/>
                  </a:cubicBezTo>
                  <a:cubicBezTo>
                    <a:pt x="1669" y="89"/>
                    <a:pt x="1669" y="89"/>
                    <a:pt x="1669" y="90"/>
                  </a:cubicBezTo>
                  <a:cubicBezTo>
                    <a:pt x="1669" y="90"/>
                    <a:pt x="1669" y="90"/>
                    <a:pt x="1669" y="90"/>
                  </a:cubicBezTo>
                  <a:cubicBezTo>
                    <a:pt x="1670" y="90"/>
                    <a:pt x="1670" y="90"/>
                    <a:pt x="1670" y="90"/>
                  </a:cubicBezTo>
                  <a:cubicBezTo>
                    <a:pt x="1670" y="90"/>
                    <a:pt x="1670" y="90"/>
                    <a:pt x="1670" y="90"/>
                  </a:cubicBezTo>
                  <a:cubicBezTo>
                    <a:pt x="1670" y="91"/>
                    <a:pt x="1670" y="91"/>
                    <a:pt x="1670" y="91"/>
                  </a:cubicBezTo>
                  <a:cubicBezTo>
                    <a:pt x="1670" y="91"/>
                    <a:pt x="1670" y="91"/>
                    <a:pt x="1670" y="91"/>
                  </a:cubicBezTo>
                  <a:cubicBezTo>
                    <a:pt x="1670" y="91"/>
                    <a:pt x="1670" y="92"/>
                    <a:pt x="1670" y="92"/>
                  </a:cubicBezTo>
                  <a:cubicBezTo>
                    <a:pt x="1671" y="92"/>
                    <a:pt x="1671" y="92"/>
                    <a:pt x="1671" y="92"/>
                  </a:cubicBezTo>
                  <a:cubicBezTo>
                    <a:pt x="1671" y="92"/>
                    <a:pt x="1671" y="93"/>
                    <a:pt x="1671" y="93"/>
                  </a:cubicBezTo>
                  <a:cubicBezTo>
                    <a:pt x="1671" y="93"/>
                    <a:pt x="1671" y="93"/>
                    <a:pt x="1671" y="93"/>
                  </a:cubicBezTo>
                  <a:cubicBezTo>
                    <a:pt x="1671" y="93"/>
                    <a:pt x="1671" y="93"/>
                    <a:pt x="1671" y="94"/>
                  </a:cubicBezTo>
                  <a:cubicBezTo>
                    <a:pt x="1671" y="94"/>
                    <a:pt x="1671" y="94"/>
                    <a:pt x="1671" y="94"/>
                  </a:cubicBezTo>
                  <a:cubicBezTo>
                    <a:pt x="1671" y="94"/>
                    <a:pt x="1671" y="94"/>
                    <a:pt x="1671" y="94"/>
                  </a:cubicBezTo>
                  <a:cubicBezTo>
                    <a:pt x="1672" y="94"/>
                    <a:pt x="1672" y="94"/>
                    <a:pt x="1672" y="94"/>
                  </a:cubicBezTo>
                  <a:cubicBezTo>
                    <a:pt x="1672" y="94"/>
                    <a:pt x="1672" y="94"/>
                    <a:pt x="1672" y="94"/>
                  </a:cubicBezTo>
                  <a:cubicBezTo>
                    <a:pt x="1672" y="95"/>
                    <a:pt x="1672" y="95"/>
                    <a:pt x="1672" y="95"/>
                  </a:cubicBezTo>
                  <a:cubicBezTo>
                    <a:pt x="1672" y="95"/>
                    <a:pt x="1672" y="95"/>
                    <a:pt x="1672" y="95"/>
                  </a:cubicBezTo>
                  <a:cubicBezTo>
                    <a:pt x="1672" y="95"/>
                    <a:pt x="1672" y="96"/>
                    <a:pt x="1672" y="96"/>
                  </a:cubicBezTo>
                  <a:cubicBezTo>
                    <a:pt x="1672" y="96"/>
                    <a:pt x="1672" y="96"/>
                    <a:pt x="1672" y="96"/>
                  </a:cubicBezTo>
                  <a:cubicBezTo>
                    <a:pt x="1672" y="96"/>
                    <a:pt x="1672" y="96"/>
                    <a:pt x="1673" y="97"/>
                  </a:cubicBezTo>
                  <a:cubicBezTo>
                    <a:pt x="1673" y="97"/>
                    <a:pt x="1673" y="97"/>
                    <a:pt x="1673" y="97"/>
                  </a:cubicBezTo>
                  <a:cubicBezTo>
                    <a:pt x="1673" y="97"/>
                    <a:pt x="1673" y="97"/>
                    <a:pt x="1673" y="97"/>
                  </a:cubicBezTo>
                  <a:cubicBezTo>
                    <a:pt x="1673" y="97"/>
                    <a:pt x="1673" y="97"/>
                    <a:pt x="1673" y="98"/>
                  </a:cubicBezTo>
                  <a:cubicBezTo>
                    <a:pt x="1673" y="98"/>
                    <a:pt x="1673" y="98"/>
                    <a:pt x="1673" y="98"/>
                  </a:cubicBezTo>
                  <a:cubicBezTo>
                    <a:pt x="1673" y="98"/>
                    <a:pt x="1673" y="98"/>
                    <a:pt x="1673" y="98"/>
                  </a:cubicBezTo>
                  <a:cubicBezTo>
                    <a:pt x="1673" y="98"/>
                    <a:pt x="1673" y="98"/>
                    <a:pt x="1673" y="98"/>
                  </a:cubicBezTo>
                  <a:cubicBezTo>
                    <a:pt x="1673" y="99"/>
                    <a:pt x="1673" y="99"/>
                    <a:pt x="1674" y="99"/>
                  </a:cubicBezTo>
                  <a:cubicBezTo>
                    <a:pt x="1674" y="99"/>
                    <a:pt x="1674" y="99"/>
                    <a:pt x="1674" y="99"/>
                  </a:cubicBezTo>
                  <a:cubicBezTo>
                    <a:pt x="1674" y="99"/>
                    <a:pt x="1674" y="100"/>
                    <a:pt x="1674" y="100"/>
                  </a:cubicBezTo>
                  <a:cubicBezTo>
                    <a:pt x="1674" y="100"/>
                    <a:pt x="1674" y="100"/>
                    <a:pt x="1674" y="100"/>
                  </a:cubicBezTo>
                  <a:cubicBezTo>
                    <a:pt x="1674" y="100"/>
                    <a:pt x="1674" y="101"/>
                    <a:pt x="1674" y="101"/>
                  </a:cubicBezTo>
                  <a:cubicBezTo>
                    <a:pt x="1674" y="101"/>
                    <a:pt x="1674" y="101"/>
                    <a:pt x="1674" y="101"/>
                  </a:cubicBezTo>
                  <a:cubicBezTo>
                    <a:pt x="1674" y="101"/>
                    <a:pt x="1674" y="101"/>
                    <a:pt x="1675" y="101"/>
                  </a:cubicBezTo>
                  <a:cubicBezTo>
                    <a:pt x="1675" y="101"/>
                    <a:pt x="1675" y="101"/>
                    <a:pt x="1675" y="101"/>
                  </a:cubicBezTo>
                  <a:cubicBezTo>
                    <a:pt x="1679" y="102"/>
                    <a:pt x="1683" y="102"/>
                    <a:pt x="1687" y="102"/>
                  </a:cubicBezTo>
                  <a:cubicBezTo>
                    <a:pt x="1688" y="102"/>
                    <a:pt x="1688" y="101"/>
                    <a:pt x="1688" y="101"/>
                  </a:cubicBezTo>
                  <a:cubicBezTo>
                    <a:pt x="1688" y="101"/>
                    <a:pt x="1688" y="101"/>
                    <a:pt x="1688" y="101"/>
                  </a:cubicBezTo>
                  <a:cubicBezTo>
                    <a:pt x="1688" y="101"/>
                    <a:pt x="1688" y="100"/>
                    <a:pt x="1687" y="100"/>
                  </a:cubicBezTo>
                  <a:cubicBezTo>
                    <a:pt x="1687" y="100"/>
                    <a:pt x="1687" y="100"/>
                    <a:pt x="1687" y="100"/>
                  </a:cubicBezTo>
                  <a:cubicBezTo>
                    <a:pt x="1687" y="100"/>
                    <a:pt x="1687" y="100"/>
                    <a:pt x="1687" y="99"/>
                  </a:cubicBezTo>
                  <a:cubicBezTo>
                    <a:pt x="1687" y="99"/>
                    <a:pt x="1687" y="99"/>
                    <a:pt x="1687" y="99"/>
                  </a:cubicBezTo>
                  <a:cubicBezTo>
                    <a:pt x="1687" y="99"/>
                    <a:pt x="1687" y="99"/>
                    <a:pt x="1687" y="99"/>
                  </a:cubicBezTo>
                  <a:cubicBezTo>
                    <a:pt x="1687" y="99"/>
                    <a:pt x="1687" y="99"/>
                    <a:pt x="1687" y="99"/>
                  </a:cubicBezTo>
                  <a:cubicBezTo>
                    <a:pt x="1687" y="99"/>
                    <a:pt x="1687" y="98"/>
                    <a:pt x="1686" y="98"/>
                  </a:cubicBezTo>
                  <a:cubicBezTo>
                    <a:pt x="1686" y="98"/>
                    <a:pt x="1686" y="98"/>
                    <a:pt x="1686" y="98"/>
                  </a:cubicBezTo>
                  <a:cubicBezTo>
                    <a:pt x="1686" y="98"/>
                    <a:pt x="1686" y="98"/>
                    <a:pt x="1686" y="97"/>
                  </a:cubicBezTo>
                  <a:cubicBezTo>
                    <a:pt x="1686" y="97"/>
                    <a:pt x="1686" y="97"/>
                    <a:pt x="1686" y="97"/>
                  </a:cubicBezTo>
                  <a:cubicBezTo>
                    <a:pt x="1686" y="97"/>
                    <a:pt x="1686" y="97"/>
                    <a:pt x="1686" y="97"/>
                  </a:cubicBezTo>
                  <a:cubicBezTo>
                    <a:pt x="1686" y="97"/>
                    <a:pt x="1686" y="97"/>
                    <a:pt x="1686" y="97"/>
                  </a:cubicBezTo>
                  <a:cubicBezTo>
                    <a:pt x="1686" y="96"/>
                    <a:pt x="1686" y="96"/>
                    <a:pt x="1685" y="96"/>
                  </a:cubicBezTo>
                  <a:cubicBezTo>
                    <a:pt x="1685" y="96"/>
                    <a:pt x="1685" y="96"/>
                    <a:pt x="1685" y="96"/>
                  </a:cubicBezTo>
                  <a:cubicBezTo>
                    <a:pt x="1685" y="96"/>
                    <a:pt x="1685" y="96"/>
                    <a:pt x="1685" y="96"/>
                  </a:cubicBezTo>
                  <a:cubicBezTo>
                    <a:pt x="1685" y="96"/>
                    <a:pt x="1685" y="95"/>
                    <a:pt x="1685" y="95"/>
                  </a:cubicBezTo>
                  <a:cubicBezTo>
                    <a:pt x="1685" y="95"/>
                    <a:pt x="1685" y="95"/>
                    <a:pt x="1685" y="95"/>
                  </a:cubicBezTo>
                  <a:cubicBezTo>
                    <a:pt x="1685" y="95"/>
                    <a:pt x="1685" y="94"/>
                    <a:pt x="1685" y="94"/>
                  </a:cubicBezTo>
                  <a:cubicBezTo>
                    <a:pt x="1685" y="94"/>
                    <a:pt x="1685" y="94"/>
                    <a:pt x="1685" y="94"/>
                  </a:cubicBezTo>
                  <a:cubicBezTo>
                    <a:pt x="1685" y="94"/>
                    <a:pt x="1685" y="94"/>
                    <a:pt x="1684" y="94"/>
                  </a:cubicBezTo>
                  <a:cubicBezTo>
                    <a:pt x="1684" y="94"/>
                    <a:pt x="1684" y="94"/>
                    <a:pt x="1684" y="94"/>
                  </a:cubicBezTo>
                  <a:cubicBezTo>
                    <a:pt x="1684" y="93"/>
                    <a:pt x="1684" y="93"/>
                    <a:pt x="1684" y="93"/>
                  </a:cubicBezTo>
                  <a:cubicBezTo>
                    <a:pt x="1684" y="93"/>
                    <a:pt x="1684" y="93"/>
                    <a:pt x="1684" y="93"/>
                  </a:cubicBezTo>
                  <a:cubicBezTo>
                    <a:pt x="1684" y="93"/>
                    <a:pt x="1684" y="92"/>
                    <a:pt x="1684" y="92"/>
                  </a:cubicBezTo>
                  <a:cubicBezTo>
                    <a:pt x="1684" y="92"/>
                    <a:pt x="1684" y="92"/>
                    <a:pt x="1684" y="92"/>
                  </a:cubicBezTo>
                  <a:cubicBezTo>
                    <a:pt x="1683" y="92"/>
                    <a:pt x="1684" y="92"/>
                    <a:pt x="1683" y="91"/>
                  </a:cubicBezTo>
                  <a:cubicBezTo>
                    <a:pt x="1683" y="91"/>
                    <a:pt x="1683" y="91"/>
                    <a:pt x="1683" y="91"/>
                  </a:cubicBezTo>
                  <a:cubicBezTo>
                    <a:pt x="1683" y="91"/>
                    <a:pt x="1683" y="91"/>
                    <a:pt x="1683" y="91"/>
                  </a:cubicBezTo>
                  <a:cubicBezTo>
                    <a:pt x="1683" y="91"/>
                    <a:pt x="1683" y="91"/>
                    <a:pt x="1683" y="91"/>
                  </a:cubicBezTo>
                  <a:cubicBezTo>
                    <a:pt x="1683" y="91"/>
                    <a:pt x="1683" y="90"/>
                    <a:pt x="1683" y="90"/>
                  </a:cubicBezTo>
                  <a:cubicBezTo>
                    <a:pt x="1683" y="90"/>
                    <a:pt x="1683" y="90"/>
                    <a:pt x="1683" y="90"/>
                  </a:cubicBezTo>
                  <a:cubicBezTo>
                    <a:pt x="1682" y="90"/>
                    <a:pt x="1682" y="90"/>
                    <a:pt x="1682" y="89"/>
                  </a:cubicBezTo>
                  <a:cubicBezTo>
                    <a:pt x="1682" y="89"/>
                    <a:pt x="1682" y="89"/>
                    <a:pt x="1682" y="89"/>
                  </a:cubicBezTo>
                  <a:cubicBezTo>
                    <a:pt x="1682" y="89"/>
                    <a:pt x="1682" y="89"/>
                    <a:pt x="1682" y="89"/>
                  </a:cubicBezTo>
                  <a:cubicBezTo>
                    <a:pt x="1682" y="89"/>
                    <a:pt x="1682" y="89"/>
                    <a:pt x="1682" y="89"/>
                  </a:cubicBezTo>
                  <a:cubicBezTo>
                    <a:pt x="1682" y="88"/>
                    <a:pt x="1682" y="88"/>
                    <a:pt x="1682" y="88"/>
                  </a:cubicBezTo>
                  <a:cubicBezTo>
                    <a:pt x="1682" y="88"/>
                    <a:pt x="1682" y="88"/>
                    <a:pt x="1682" y="88"/>
                  </a:cubicBezTo>
                  <a:cubicBezTo>
                    <a:pt x="1682" y="88"/>
                    <a:pt x="1682" y="88"/>
                    <a:pt x="1682" y="88"/>
                  </a:cubicBezTo>
                  <a:cubicBezTo>
                    <a:pt x="1681" y="87"/>
                    <a:pt x="1681" y="87"/>
                    <a:pt x="1681" y="87"/>
                  </a:cubicBezTo>
                  <a:cubicBezTo>
                    <a:pt x="1681" y="87"/>
                    <a:pt x="1681" y="87"/>
                    <a:pt x="1681" y="87"/>
                  </a:cubicBezTo>
                  <a:cubicBezTo>
                    <a:pt x="1681" y="87"/>
                    <a:pt x="1681" y="86"/>
                    <a:pt x="1681" y="86"/>
                  </a:cubicBezTo>
                  <a:cubicBezTo>
                    <a:pt x="1681" y="86"/>
                    <a:pt x="1681" y="86"/>
                    <a:pt x="1681" y="86"/>
                  </a:cubicBezTo>
                  <a:cubicBezTo>
                    <a:pt x="1681" y="86"/>
                    <a:pt x="1681" y="86"/>
                    <a:pt x="1681" y="86"/>
                  </a:cubicBezTo>
                  <a:cubicBezTo>
                    <a:pt x="1681" y="86"/>
                    <a:pt x="1681" y="86"/>
                    <a:pt x="1681" y="86"/>
                  </a:cubicBezTo>
                  <a:cubicBezTo>
                    <a:pt x="1680" y="85"/>
                    <a:pt x="1680" y="85"/>
                    <a:pt x="1680" y="85"/>
                  </a:cubicBezTo>
                  <a:cubicBezTo>
                    <a:pt x="1680" y="85"/>
                    <a:pt x="1680" y="85"/>
                    <a:pt x="1680" y="85"/>
                  </a:cubicBezTo>
                  <a:cubicBezTo>
                    <a:pt x="1680" y="85"/>
                    <a:pt x="1680" y="84"/>
                    <a:pt x="1680" y="84"/>
                  </a:cubicBezTo>
                  <a:cubicBezTo>
                    <a:pt x="1680" y="84"/>
                    <a:pt x="1680" y="84"/>
                    <a:pt x="1680" y="84"/>
                  </a:cubicBezTo>
                  <a:cubicBezTo>
                    <a:pt x="1680" y="84"/>
                    <a:pt x="1680" y="84"/>
                    <a:pt x="1680" y="83"/>
                  </a:cubicBezTo>
                  <a:cubicBezTo>
                    <a:pt x="1680" y="83"/>
                    <a:pt x="1680" y="83"/>
                    <a:pt x="1680" y="83"/>
                  </a:cubicBezTo>
                  <a:cubicBezTo>
                    <a:pt x="1679" y="83"/>
                    <a:pt x="1679" y="83"/>
                    <a:pt x="1679" y="83"/>
                  </a:cubicBezTo>
                  <a:cubicBezTo>
                    <a:pt x="1679" y="83"/>
                    <a:pt x="1679" y="83"/>
                    <a:pt x="1679" y="83"/>
                  </a:cubicBezTo>
                  <a:cubicBezTo>
                    <a:pt x="1679" y="83"/>
                    <a:pt x="1679" y="82"/>
                    <a:pt x="1679" y="82"/>
                  </a:cubicBezTo>
                  <a:cubicBezTo>
                    <a:pt x="1679" y="82"/>
                    <a:pt x="1679" y="82"/>
                    <a:pt x="1679" y="82"/>
                  </a:cubicBezTo>
                  <a:cubicBezTo>
                    <a:pt x="1679" y="82"/>
                    <a:pt x="1679" y="82"/>
                    <a:pt x="1679" y="81"/>
                  </a:cubicBezTo>
                  <a:cubicBezTo>
                    <a:pt x="1678" y="81"/>
                    <a:pt x="1678" y="81"/>
                    <a:pt x="1678" y="81"/>
                  </a:cubicBezTo>
                  <a:cubicBezTo>
                    <a:pt x="1678" y="81"/>
                    <a:pt x="1678" y="81"/>
                    <a:pt x="1678" y="81"/>
                  </a:cubicBezTo>
                  <a:cubicBezTo>
                    <a:pt x="1678" y="81"/>
                    <a:pt x="1678" y="81"/>
                    <a:pt x="1678" y="81"/>
                  </a:cubicBezTo>
                  <a:cubicBezTo>
                    <a:pt x="1678" y="81"/>
                    <a:pt x="1678" y="81"/>
                    <a:pt x="1678" y="80"/>
                  </a:cubicBezTo>
                  <a:cubicBezTo>
                    <a:pt x="1678" y="80"/>
                    <a:pt x="1678" y="80"/>
                    <a:pt x="1678" y="80"/>
                  </a:cubicBezTo>
                  <a:cubicBezTo>
                    <a:pt x="1678" y="80"/>
                    <a:pt x="1678" y="80"/>
                    <a:pt x="1678" y="80"/>
                  </a:cubicBezTo>
                  <a:cubicBezTo>
                    <a:pt x="1678" y="79"/>
                    <a:pt x="1678" y="79"/>
                    <a:pt x="1677" y="79"/>
                  </a:cubicBezTo>
                  <a:cubicBezTo>
                    <a:pt x="1677" y="79"/>
                    <a:pt x="1677" y="79"/>
                    <a:pt x="1677" y="79"/>
                  </a:cubicBezTo>
                  <a:cubicBezTo>
                    <a:pt x="1677" y="79"/>
                    <a:pt x="1677" y="78"/>
                    <a:pt x="1677" y="78"/>
                  </a:cubicBezTo>
                  <a:cubicBezTo>
                    <a:pt x="1677" y="78"/>
                    <a:pt x="1677" y="78"/>
                    <a:pt x="1677" y="78"/>
                  </a:cubicBezTo>
                  <a:cubicBezTo>
                    <a:pt x="1677" y="78"/>
                    <a:pt x="1677" y="78"/>
                    <a:pt x="1677" y="78"/>
                  </a:cubicBezTo>
                  <a:cubicBezTo>
                    <a:pt x="1677" y="78"/>
                    <a:pt x="1677" y="78"/>
                    <a:pt x="1677" y="78"/>
                  </a:cubicBezTo>
                  <a:cubicBezTo>
                    <a:pt x="1677" y="77"/>
                    <a:pt x="1677" y="77"/>
                    <a:pt x="1676" y="77"/>
                  </a:cubicBezTo>
                  <a:cubicBezTo>
                    <a:pt x="1676" y="77"/>
                    <a:pt x="1676" y="77"/>
                    <a:pt x="1676" y="77"/>
                  </a:cubicBezTo>
                  <a:cubicBezTo>
                    <a:pt x="1676" y="77"/>
                    <a:pt x="1676" y="76"/>
                    <a:pt x="1676" y="76"/>
                  </a:cubicBezTo>
                  <a:cubicBezTo>
                    <a:pt x="1676" y="76"/>
                    <a:pt x="1676" y="76"/>
                    <a:pt x="1676" y="76"/>
                  </a:cubicBezTo>
                  <a:cubicBezTo>
                    <a:pt x="1676" y="76"/>
                    <a:pt x="1676" y="76"/>
                    <a:pt x="1676" y="75"/>
                  </a:cubicBezTo>
                  <a:cubicBezTo>
                    <a:pt x="1676" y="75"/>
                    <a:pt x="1676" y="75"/>
                    <a:pt x="1676" y="75"/>
                  </a:cubicBezTo>
                  <a:cubicBezTo>
                    <a:pt x="1675" y="75"/>
                    <a:pt x="1676" y="75"/>
                    <a:pt x="1675" y="75"/>
                  </a:cubicBezTo>
                  <a:cubicBezTo>
                    <a:pt x="1675" y="75"/>
                    <a:pt x="1675" y="75"/>
                    <a:pt x="1675" y="75"/>
                  </a:cubicBezTo>
                  <a:cubicBezTo>
                    <a:pt x="1675" y="75"/>
                    <a:pt x="1675" y="74"/>
                    <a:pt x="1675" y="74"/>
                  </a:cubicBezTo>
                  <a:cubicBezTo>
                    <a:pt x="1675" y="74"/>
                    <a:pt x="1675" y="74"/>
                    <a:pt x="1675" y="74"/>
                  </a:cubicBezTo>
                  <a:cubicBezTo>
                    <a:pt x="1675" y="74"/>
                    <a:pt x="1675" y="74"/>
                    <a:pt x="1675" y="74"/>
                  </a:cubicBezTo>
                  <a:cubicBezTo>
                    <a:pt x="1675" y="74"/>
                    <a:pt x="1675" y="73"/>
                    <a:pt x="1675" y="73"/>
                  </a:cubicBezTo>
                  <a:cubicBezTo>
                    <a:pt x="1675" y="73"/>
                    <a:pt x="1675" y="73"/>
                    <a:pt x="1675" y="73"/>
                  </a:cubicBezTo>
                  <a:cubicBezTo>
                    <a:pt x="1674" y="73"/>
                    <a:pt x="1675" y="72"/>
                    <a:pt x="1674" y="72"/>
                  </a:cubicBezTo>
                  <a:cubicBezTo>
                    <a:pt x="1674" y="72"/>
                    <a:pt x="1674" y="72"/>
                    <a:pt x="1674" y="72"/>
                  </a:cubicBezTo>
                  <a:cubicBezTo>
                    <a:pt x="1674" y="72"/>
                    <a:pt x="1674" y="72"/>
                    <a:pt x="1674" y="72"/>
                  </a:cubicBezTo>
                  <a:cubicBezTo>
                    <a:pt x="1674" y="72"/>
                    <a:pt x="1674" y="72"/>
                    <a:pt x="1674" y="72"/>
                  </a:cubicBezTo>
                  <a:cubicBezTo>
                    <a:pt x="1674" y="71"/>
                    <a:pt x="1674" y="71"/>
                    <a:pt x="1674" y="71"/>
                  </a:cubicBezTo>
                  <a:cubicBezTo>
                    <a:pt x="1674" y="71"/>
                    <a:pt x="1674" y="71"/>
                    <a:pt x="1674" y="71"/>
                  </a:cubicBezTo>
                  <a:cubicBezTo>
                    <a:pt x="1673" y="71"/>
                    <a:pt x="1673" y="70"/>
                    <a:pt x="1673" y="70"/>
                  </a:cubicBezTo>
                  <a:cubicBezTo>
                    <a:pt x="1673" y="70"/>
                    <a:pt x="1673" y="70"/>
                    <a:pt x="1673" y="70"/>
                  </a:cubicBezTo>
                  <a:cubicBezTo>
                    <a:pt x="1673" y="70"/>
                    <a:pt x="1673" y="70"/>
                    <a:pt x="1673" y="69"/>
                  </a:cubicBezTo>
                  <a:cubicBezTo>
                    <a:pt x="1673" y="70"/>
                    <a:pt x="1673" y="70"/>
                    <a:pt x="1673" y="70"/>
                  </a:cubicBezTo>
                  <a:cubicBezTo>
                    <a:pt x="1673" y="69"/>
                    <a:pt x="1673" y="69"/>
                    <a:pt x="1673" y="69"/>
                  </a:cubicBezTo>
                  <a:cubicBezTo>
                    <a:pt x="1673" y="69"/>
                    <a:pt x="1673" y="69"/>
                    <a:pt x="1673" y="69"/>
                  </a:cubicBezTo>
                  <a:cubicBezTo>
                    <a:pt x="1672" y="69"/>
                    <a:pt x="1672" y="68"/>
                    <a:pt x="1672" y="68"/>
                  </a:cubicBezTo>
                  <a:cubicBezTo>
                    <a:pt x="1672" y="68"/>
                    <a:pt x="1672" y="68"/>
                    <a:pt x="1672" y="68"/>
                  </a:cubicBezTo>
                  <a:cubicBezTo>
                    <a:pt x="1672" y="68"/>
                    <a:pt x="1672" y="68"/>
                    <a:pt x="1672" y="67"/>
                  </a:cubicBezTo>
                  <a:cubicBezTo>
                    <a:pt x="1672" y="67"/>
                    <a:pt x="1672" y="67"/>
                    <a:pt x="1672" y="67"/>
                  </a:cubicBezTo>
                  <a:cubicBezTo>
                    <a:pt x="1672" y="67"/>
                    <a:pt x="1672" y="67"/>
                    <a:pt x="1671" y="67"/>
                  </a:cubicBezTo>
                  <a:cubicBezTo>
                    <a:pt x="1671" y="67"/>
                    <a:pt x="1671" y="67"/>
                    <a:pt x="1671" y="67"/>
                  </a:cubicBezTo>
                  <a:cubicBezTo>
                    <a:pt x="1671" y="67"/>
                    <a:pt x="1671" y="66"/>
                    <a:pt x="1671" y="66"/>
                  </a:cubicBezTo>
                  <a:cubicBezTo>
                    <a:pt x="1671" y="66"/>
                    <a:pt x="1671" y="66"/>
                    <a:pt x="1671" y="66"/>
                  </a:cubicBezTo>
                  <a:cubicBezTo>
                    <a:pt x="1671" y="66"/>
                    <a:pt x="1671" y="66"/>
                    <a:pt x="1671" y="66"/>
                  </a:cubicBezTo>
                  <a:cubicBezTo>
                    <a:pt x="1671" y="66"/>
                    <a:pt x="1671" y="66"/>
                    <a:pt x="1671" y="66"/>
                  </a:cubicBezTo>
                  <a:cubicBezTo>
                    <a:pt x="1671" y="65"/>
                    <a:pt x="1671" y="65"/>
                    <a:pt x="1670" y="65"/>
                  </a:cubicBezTo>
                  <a:cubicBezTo>
                    <a:pt x="1670" y="65"/>
                    <a:pt x="1670" y="65"/>
                    <a:pt x="1670" y="65"/>
                  </a:cubicBezTo>
                  <a:cubicBezTo>
                    <a:pt x="1670" y="65"/>
                    <a:pt x="1670" y="65"/>
                    <a:pt x="1670" y="65"/>
                  </a:cubicBezTo>
                  <a:cubicBezTo>
                    <a:pt x="1670" y="65"/>
                    <a:pt x="1670" y="65"/>
                    <a:pt x="1670" y="65"/>
                  </a:cubicBezTo>
                  <a:cubicBezTo>
                    <a:pt x="1670" y="64"/>
                    <a:pt x="1670" y="64"/>
                    <a:pt x="1670" y="64"/>
                  </a:cubicBezTo>
                  <a:cubicBezTo>
                    <a:pt x="1670" y="64"/>
                    <a:pt x="1670" y="64"/>
                    <a:pt x="1670" y="64"/>
                  </a:cubicBezTo>
                  <a:cubicBezTo>
                    <a:pt x="1670" y="64"/>
                    <a:pt x="1670" y="64"/>
                    <a:pt x="1669" y="64"/>
                  </a:cubicBezTo>
                  <a:cubicBezTo>
                    <a:pt x="1669" y="64"/>
                    <a:pt x="1669" y="64"/>
                    <a:pt x="1669" y="64"/>
                  </a:cubicBezTo>
                  <a:cubicBezTo>
                    <a:pt x="1669" y="63"/>
                    <a:pt x="1669" y="63"/>
                    <a:pt x="1669" y="63"/>
                  </a:cubicBezTo>
                  <a:cubicBezTo>
                    <a:pt x="1669" y="63"/>
                    <a:pt x="1669" y="63"/>
                    <a:pt x="1669" y="63"/>
                  </a:cubicBezTo>
                  <a:cubicBezTo>
                    <a:pt x="1669" y="63"/>
                    <a:pt x="1669"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1"/>
                    <a:pt x="1667" y="61"/>
                    <a:pt x="1667" y="61"/>
                  </a:cubicBezTo>
                  <a:cubicBezTo>
                    <a:pt x="1667" y="61"/>
                    <a:pt x="1667" y="61"/>
                    <a:pt x="1667" y="61"/>
                  </a:cubicBezTo>
                  <a:cubicBezTo>
                    <a:pt x="1667" y="61"/>
                    <a:pt x="1667" y="61"/>
                    <a:pt x="1667" y="61"/>
                  </a:cubicBezTo>
                  <a:cubicBezTo>
                    <a:pt x="1667" y="61"/>
                    <a:pt x="1667" y="61"/>
                    <a:pt x="1667" y="61"/>
                  </a:cubicBezTo>
                  <a:cubicBezTo>
                    <a:pt x="1667" y="60"/>
                    <a:pt x="1666" y="60"/>
                    <a:pt x="1666" y="60"/>
                  </a:cubicBezTo>
                  <a:cubicBezTo>
                    <a:pt x="1666" y="60"/>
                    <a:pt x="1666" y="60"/>
                    <a:pt x="1666" y="60"/>
                  </a:cubicBezTo>
                  <a:cubicBezTo>
                    <a:pt x="1666" y="60"/>
                    <a:pt x="1666" y="60"/>
                    <a:pt x="1666" y="60"/>
                  </a:cubicBezTo>
                  <a:cubicBezTo>
                    <a:pt x="1666" y="60"/>
                    <a:pt x="1666" y="60"/>
                    <a:pt x="1666" y="60"/>
                  </a:cubicBezTo>
                  <a:cubicBezTo>
                    <a:pt x="1665" y="60"/>
                    <a:pt x="1665" y="60"/>
                    <a:pt x="1665" y="59"/>
                  </a:cubicBezTo>
                  <a:cubicBezTo>
                    <a:pt x="1665" y="59"/>
                    <a:pt x="1665" y="59"/>
                    <a:pt x="1665" y="59"/>
                  </a:cubicBezTo>
                  <a:cubicBezTo>
                    <a:pt x="1665" y="59"/>
                    <a:pt x="1664" y="59"/>
                    <a:pt x="1664" y="59"/>
                  </a:cubicBezTo>
                  <a:cubicBezTo>
                    <a:pt x="1664" y="59"/>
                    <a:pt x="1664" y="59"/>
                    <a:pt x="1664" y="59"/>
                  </a:cubicBezTo>
                  <a:cubicBezTo>
                    <a:pt x="1664" y="59"/>
                    <a:pt x="1664" y="59"/>
                    <a:pt x="1665" y="58"/>
                  </a:cubicBezTo>
                  <a:cubicBezTo>
                    <a:pt x="1665" y="58"/>
                    <a:pt x="1665" y="58"/>
                    <a:pt x="1665" y="58"/>
                  </a:cubicBezTo>
                  <a:cubicBezTo>
                    <a:pt x="1665" y="58"/>
                    <a:pt x="1665" y="58"/>
                    <a:pt x="1666" y="58"/>
                  </a:cubicBezTo>
                  <a:cubicBezTo>
                    <a:pt x="1666" y="58"/>
                    <a:pt x="1666" y="58"/>
                    <a:pt x="1666" y="58"/>
                  </a:cubicBezTo>
                  <a:cubicBezTo>
                    <a:pt x="1666" y="58"/>
                    <a:pt x="1666" y="58"/>
                    <a:pt x="1666" y="58"/>
                  </a:cubicBezTo>
                  <a:cubicBezTo>
                    <a:pt x="1666" y="58"/>
                    <a:pt x="1666" y="58"/>
                    <a:pt x="1667" y="58"/>
                  </a:cubicBezTo>
                  <a:close/>
                  <a:moveTo>
                    <a:pt x="1433" y="7"/>
                  </a:moveTo>
                  <a:cubicBezTo>
                    <a:pt x="1433" y="7"/>
                    <a:pt x="1433" y="7"/>
                    <a:pt x="1433" y="7"/>
                  </a:cubicBezTo>
                  <a:cubicBezTo>
                    <a:pt x="1433" y="7"/>
                    <a:pt x="1433" y="7"/>
                    <a:pt x="1433" y="7"/>
                  </a:cubicBezTo>
                  <a:cubicBezTo>
                    <a:pt x="1432" y="7"/>
                    <a:pt x="1432" y="7"/>
                    <a:pt x="1432" y="7"/>
                  </a:cubicBezTo>
                  <a:cubicBezTo>
                    <a:pt x="1432" y="7"/>
                    <a:pt x="1432" y="7"/>
                    <a:pt x="1431" y="7"/>
                  </a:cubicBezTo>
                  <a:cubicBezTo>
                    <a:pt x="1431" y="7"/>
                    <a:pt x="1431" y="7"/>
                    <a:pt x="1431" y="8"/>
                  </a:cubicBezTo>
                  <a:cubicBezTo>
                    <a:pt x="1431" y="8"/>
                    <a:pt x="1431" y="8"/>
                    <a:pt x="1431" y="8"/>
                  </a:cubicBezTo>
                  <a:cubicBezTo>
                    <a:pt x="1430" y="8"/>
                    <a:pt x="1430" y="8"/>
                    <a:pt x="1430" y="8"/>
                  </a:cubicBezTo>
                  <a:cubicBezTo>
                    <a:pt x="1430" y="8"/>
                    <a:pt x="1430" y="8"/>
                    <a:pt x="1430" y="8"/>
                  </a:cubicBezTo>
                  <a:cubicBezTo>
                    <a:pt x="1429" y="8"/>
                    <a:pt x="1429" y="8"/>
                    <a:pt x="1429" y="8"/>
                  </a:cubicBezTo>
                  <a:cubicBezTo>
                    <a:pt x="1429" y="8"/>
                    <a:pt x="1429" y="8"/>
                    <a:pt x="1429" y="8"/>
                  </a:cubicBezTo>
                  <a:cubicBezTo>
                    <a:pt x="1429" y="8"/>
                    <a:pt x="1428" y="8"/>
                    <a:pt x="1428" y="9"/>
                  </a:cubicBezTo>
                  <a:cubicBezTo>
                    <a:pt x="1428" y="9"/>
                    <a:pt x="1428" y="9"/>
                    <a:pt x="1428" y="9"/>
                  </a:cubicBezTo>
                  <a:cubicBezTo>
                    <a:pt x="1428" y="9"/>
                    <a:pt x="1428" y="9"/>
                    <a:pt x="1428" y="9"/>
                  </a:cubicBezTo>
                  <a:cubicBezTo>
                    <a:pt x="1428" y="9"/>
                    <a:pt x="1428" y="9"/>
                    <a:pt x="1428" y="9"/>
                  </a:cubicBezTo>
                  <a:cubicBezTo>
                    <a:pt x="1427" y="9"/>
                    <a:pt x="1427" y="9"/>
                    <a:pt x="1427" y="9"/>
                  </a:cubicBezTo>
                  <a:cubicBezTo>
                    <a:pt x="1427" y="9"/>
                    <a:pt x="1427" y="9"/>
                    <a:pt x="1427" y="9"/>
                  </a:cubicBezTo>
                  <a:cubicBezTo>
                    <a:pt x="1427" y="9"/>
                    <a:pt x="1427" y="10"/>
                    <a:pt x="1426" y="10"/>
                  </a:cubicBezTo>
                  <a:cubicBezTo>
                    <a:pt x="1426" y="10"/>
                    <a:pt x="1426" y="10"/>
                    <a:pt x="1426" y="10"/>
                  </a:cubicBezTo>
                  <a:cubicBezTo>
                    <a:pt x="1426" y="10"/>
                    <a:pt x="1426" y="10"/>
                    <a:pt x="1426" y="10"/>
                  </a:cubicBezTo>
                  <a:cubicBezTo>
                    <a:pt x="1426" y="10"/>
                    <a:pt x="1426" y="10"/>
                    <a:pt x="1426" y="10"/>
                  </a:cubicBezTo>
                  <a:cubicBezTo>
                    <a:pt x="1426" y="10"/>
                    <a:pt x="1425" y="10"/>
                    <a:pt x="1425" y="10"/>
                  </a:cubicBezTo>
                  <a:cubicBezTo>
                    <a:pt x="1425" y="10"/>
                    <a:pt x="1425" y="10"/>
                    <a:pt x="1425" y="10"/>
                  </a:cubicBezTo>
                  <a:cubicBezTo>
                    <a:pt x="1425" y="10"/>
                    <a:pt x="1425" y="11"/>
                    <a:pt x="1425" y="11"/>
                  </a:cubicBezTo>
                  <a:cubicBezTo>
                    <a:pt x="1425" y="11"/>
                    <a:pt x="1425" y="11"/>
                    <a:pt x="1425" y="11"/>
                  </a:cubicBezTo>
                  <a:cubicBezTo>
                    <a:pt x="1425" y="11"/>
                    <a:pt x="1424" y="11"/>
                    <a:pt x="1424" y="11"/>
                  </a:cubicBezTo>
                  <a:cubicBezTo>
                    <a:pt x="1424" y="11"/>
                    <a:pt x="1424" y="11"/>
                    <a:pt x="1424" y="11"/>
                  </a:cubicBezTo>
                  <a:cubicBezTo>
                    <a:pt x="1424" y="11"/>
                    <a:pt x="1424" y="11"/>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1" y="14"/>
                    <a:pt x="1421" y="14"/>
                    <a:pt x="1421" y="14"/>
                  </a:cubicBezTo>
                  <a:cubicBezTo>
                    <a:pt x="1421" y="14"/>
                    <a:pt x="1421" y="14"/>
                    <a:pt x="1421" y="14"/>
                  </a:cubicBezTo>
                  <a:cubicBezTo>
                    <a:pt x="1421" y="14"/>
                    <a:pt x="1421" y="14"/>
                    <a:pt x="1421" y="14"/>
                  </a:cubicBezTo>
                  <a:cubicBezTo>
                    <a:pt x="1421" y="14"/>
                    <a:pt x="1421" y="14"/>
                    <a:pt x="1421" y="14"/>
                  </a:cubicBezTo>
                  <a:cubicBezTo>
                    <a:pt x="1421" y="14"/>
                    <a:pt x="1421" y="14"/>
                    <a:pt x="1421" y="15"/>
                  </a:cubicBezTo>
                  <a:cubicBezTo>
                    <a:pt x="1421" y="15"/>
                    <a:pt x="1421" y="15"/>
                    <a:pt x="1421" y="15"/>
                  </a:cubicBezTo>
                  <a:cubicBezTo>
                    <a:pt x="1420" y="15"/>
                    <a:pt x="1420" y="15"/>
                    <a:pt x="1420" y="15"/>
                  </a:cubicBezTo>
                  <a:cubicBezTo>
                    <a:pt x="1420" y="15"/>
                    <a:pt x="1420" y="15"/>
                    <a:pt x="1420" y="15"/>
                  </a:cubicBezTo>
                  <a:cubicBezTo>
                    <a:pt x="1420" y="15"/>
                    <a:pt x="1420" y="16"/>
                    <a:pt x="1419" y="16"/>
                  </a:cubicBezTo>
                  <a:cubicBezTo>
                    <a:pt x="1419" y="16"/>
                    <a:pt x="1419" y="16"/>
                    <a:pt x="1419" y="16"/>
                  </a:cubicBezTo>
                  <a:cubicBezTo>
                    <a:pt x="1419" y="16"/>
                    <a:pt x="1419" y="16"/>
                    <a:pt x="1419" y="16"/>
                  </a:cubicBezTo>
                  <a:cubicBezTo>
                    <a:pt x="1419" y="16"/>
                    <a:pt x="1419" y="16"/>
                    <a:pt x="1419" y="16"/>
                  </a:cubicBezTo>
                  <a:cubicBezTo>
                    <a:pt x="1419" y="16"/>
                    <a:pt x="1419" y="16"/>
                    <a:pt x="1419" y="17"/>
                  </a:cubicBezTo>
                  <a:cubicBezTo>
                    <a:pt x="1419" y="17"/>
                    <a:pt x="1419" y="17"/>
                    <a:pt x="1419" y="17"/>
                  </a:cubicBezTo>
                  <a:cubicBezTo>
                    <a:pt x="1419" y="17"/>
                    <a:pt x="1419" y="17"/>
                    <a:pt x="1418" y="17"/>
                  </a:cubicBezTo>
                  <a:cubicBezTo>
                    <a:pt x="1418" y="17"/>
                    <a:pt x="1418" y="17"/>
                    <a:pt x="1418" y="17"/>
                  </a:cubicBezTo>
                  <a:cubicBezTo>
                    <a:pt x="1418" y="17"/>
                    <a:pt x="1418" y="18"/>
                    <a:pt x="1418" y="18"/>
                  </a:cubicBezTo>
                  <a:cubicBezTo>
                    <a:pt x="1418" y="18"/>
                    <a:pt x="1418" y="18"/>
                    <a:pt x="1418" y="18"/>
                  </a:cubicBezTo>
                  <a:cubicBezTo>
                    <a:pt x="1418" y="18"/>
                    <a:pt x="1418" y="18"/>
                    <a:pt x="1418" y="18"/>
                  </a:cubicBezTo>
                  <a:cubicBezTo>
                    <a:pt x="1418" y="18"/>
                    <a:pt x="1418" y="18"/>
                    <a:pt x="1418" y="18"/>
                  </a:cubicBezTo>
                  <a:cubicBezTo>
                    <a:pt x="1418" y="18"/>
                    <a:pt x="1417" y="19"/>
                    <a:pt x="1417" y="19"/>
                  </a:cubicBezTo>
                  <a:cubicBezTo>
                    <a:pt x="1417" y="19"/>
                    <a:pt x="1417" y="19"/>
                    <a:pt x="1417" y="19"/>
                  </a:cubicBezTo>
                  <a:cubicBezTo>
                    <a:pt x="1417" y="19"/>
                    <a:pt x="1417" y="19"/>
                    <a:pt x="1417" y="19"/>
                  </a:cubicBezTo>
                  <a:cubicBezTo>
                    <a:pt x="1417" y="19"/>
                    <a:pt x="1417" y="19"/>
                    <a:pt x="1417" y="19"/>
                  </a:cubicBezTo>
                  <a:cubicBezTo>
                    <a:pt x="1417" y="20"/>
                    <a:pt x="1417" y="20"/>
                    <a:pt x="1417" y="20"/>
                  </a:cubicBezTo>
                  <a:cubicBezTo>
                    <a:pt x="1417" y="20"/>
                    <a:pt x="1417" y="20"/>
                    <a:pt x="1417" y="20"/>
                  </a:cubicBezTo>
                  <a:cubicBezTo>
                    <a:pt x="1417" y="20"/>
                    <a:pt x="1416" y="20"/>
                    <a:pt x="1416" y="21"/>
                  </a:cubicBezTo>
                  <a:cubicBezTo>
                    <a:pt x="1416" y="21"/>
                    <a:pt x="1416" y="21"/>
                    <a:pt x="1416" y="21"/>
                  </a:cubicBezTo>
                  <a:cubicBezTo>
                    <a:pt x="1416" y="21"/>
                    <a:pt x="1416" y="21"/>
                    <a:pt x="1416" y="21"/>
                  </a:cubicBezTo>
                  <a:cubicBezTo>
                    <a:pt x="1416" y="21"/>
                    <a:pt x="1416" y="21"/>
                    <a:pt x="1416" y="21"/>
                  </a:cubicBezTo>
                  <a:cubicBezTo>
                    <a:pt x="1416" y="21"/>
                    <a:pt x="1416" y="21"/>
                    <a:pt x="1416" y="21"/>
                  </a:cubicBezTo>
                  <a:cubicBezTo>
                    <a:pt x="1416" y="21"/>
                    <a:pt x="1416" y="22"/>
                    <a:pt x="1416" y="22"/>
                  </a:cubicBezTo>
                  <a:cubicBezTo>
                    <a:pt x="1416" y="22"/>
                    <a:pt x="1416" y="22"/>
                    <a:pt x="1416" y="22"/>
                  </a:cubicBezTo>
                  <a:cubicBezTo>
                    <a:pt x="1415" y="22"/>
                    <a:pt x="1415" y="22"/>
                    <a:pt x="1415" y="23"/>
                  </a:cubicBezTo>
                  <a:cubicBezTo>
                    <a:pt x="1415" y="23"/>
                    <a:pt x="1415" y="23"/>
                    <a:pt x="1415" y="23"/>
                  </a:cubicBezTo>
                  <a:cubicBezTo>
                    <a:pt x="1415" y="23"/>
                    <a:pt x="1415" y="23"/>
                    <a:pt x="1415" y="23"/>
                  </a:cubicBezTo>
                  <a:cubicBezTo>
                    <a:pt x="1415" y="23"/>
                    <a:pt x="1415" y="23"/>
                    <a:pt x="1415" y="23"/>
                  </a:cubicBezTo>
                  <a:cubicBezTo>
                    <a:pt x="1415" y="24"/>
                    <a:pt x="1415" y="24"/>
                    <a:pt x="1415" y="24"/>
                  </a:cubicBezTo>
                  <a:cubicBezTo>
                    <a:pt x="1415" y="24"/>
                    <a:pt x="1415" y="24"/>
                    <a:pt x="1415" y="24"/>
                  </a:cubicBezTo>
                  <a:cubicBezTo>
                    <a:pt x="1415" y="24"/>
                    <a:pt x="1415" y="24"/>
                    <a:pt x="1415" y="24"/>
                  </a:cubicBezTo>
                  <a:cubicBezTo>
                    <a:pt x="1414" y="24"/>
                    <a:pt x="1414" y="25"/>
                    <a:pt x="1414" y="25"/>
                  </a:cubicBezTo>
                  <a:cubicBezTo>
                    <a:pt x="1414" y="25"/>
                    <a:pt x="1414" y="25"/>
                    <a:pt x="1414" y="25"/>
                  </a:cubicBezTo>
                  <a:cubicBezTo>
                    <a:pt x="1414" y="25"/>
                    <a:pt x="1414" y="26"/>
                    <a:pt x="1414" y="26"/>
                  </a:cubicBezTo>
                  <a:cubicBezTo>
                    <a:pt x="1414" y="26"/>
                    <a:pt x="1414" y="26"/>
                    <a:pt x="1414" y="26"/>
                  </a:cubicBezTo>
                  <a:cubicBezTo>
                    <a:pt x="1414" y="26"/>
                    <a:pt x="1414" y="27"/>
                    <a:pt x="1414" y="27"/>
                  </a:cubicBezTo>
                  <a:cubicBezTo>
                    <a:pt x="1414" y="27"/>
                    <a:pt x="1414" y="27"/>
                    <a:pt x="1414" y="27"/>
                  </a:cubicBezTo>
                  <a:cubicBezTo>
                    <a:pt x="1413" y="27"/>
                    <a:pt x="1413" y="28"/>
                    <a:pt x="1413" y="28"/>
                  </a:cubicBezTo>
                  <a:cubicBezTo>
                    <a:pt x="1413" y="28"/>
                    <a:pt x="1413" y="28"/>
                    <a:pt x="1413" y="28"/>
                  </a:cubicBezTo>
                  <a:cubicBezTo>
                    <a:pt x="1413" y="28"/>
                    <a:pt x="1413" y="29"/>
                    <a:pt x="1413" y="29"/>
                  </a:cubicBezTo>
                  <a:cubicBezTo>
                    <a:pt x="1413" y="29"/>
                    <a:pt x="1413" y="29"/>
                    <a:pt x="1413" y="29"/>
                  </a:cubicBezTo>
                  <a:cubicBezTo>
                    <a:pt x="1413" y="29"/>
                    <a:pt x="1413" y="30"/>
                    <a:pt x="1413" y="30"/>
                  </a:cubicBezTo>
                  <a:cubicBezTo>
                    <a:pt x="1413" y="30"/>
                    <a:pt x="1413" y="30"/>
                    <a:pt x="1413" y="30"/>
                  </a:cubicBezTo>
                  <a:cubicBezTo>
                    <a:pt x="1413" y="30"/>
                    <a:pt x="1413" y="30"/>
                    <a:pt x="1413" y="30"/>
                  </a:cubicBezTo>
                  <a:cubicBezTo>
                    <a:pt x="1412" y="30"/>
                    <a:pt x="1412" y="31"/>
                    <a:pt x="1412" y="31"/>
                  </a:cubicBezTo>
                  <a:cubicBezTo>
                    <a:pt x="1412" y="31"/>
                    <a:pt x="1412" y="31"/>
                    <a:pt x="1412" y="32"/>
                  </a:cubicBezTo>
                  <a:cubicBezTo>
                    <a:pt x="1412" y="32"/>
                    <a:pt x="1412" y="32"/>
                    <a:pt x="1412" y="33"/>
                  </a:cubicBezTo>
                  <a:cubicBezTo>
                    <a:pt x="1412" y="33"/>
                    <a:pt x="1412" y="33"/>
                    <a:pt x="1412" y="33"/>
                  </a:cubicBezTo>
                  <a:cubicBezTo>
                    <a:pt x="1411" y="33"/>
                    <a:pt x="1412" y="34"/>
                    <a:pt x="1412" y="34"/>
                  </a:cubicBezTo>
                  <a:cubicBezTo>
                    <a:pt x="1412" y="34"/>
                    <a:pt x="1412" y="34"/>
                    <a:pt x="1411" y="34"/>
                  </a:cubicBezTo>
                  <a:cubicBezTo>
                    <a:pt x="1411" y="35"/>
                    <a:pt x="1411" y="35"/>
                    <a:pt x="1411" y="36"/>
                  </a:cubicBezTo>
                  <a:cubicBezTo>
                    <a:pt x="1411" y="36"/>
                    <a:pt x="1411" y="36"/>
                    <a:pt x="1411" y="36"/>
                  </a:cubicBezTo>
                  <a:cubicBezTo>
                    <a:pt x="1411" y="37"/>
                    <a:pt x="1411" y="37"/>
                    <a:pt x="1411" y="38"/>
                  </a:cubicBezTo>
                  <a:cubicBezTo>
                    <a:pt x="1411" y="38"/>
                    <a:pt x="1411" y="38"/>
                    <a:pt x="1411" y="38"/>
                  </a:cubicBezTo>
                  <a:cubicBezTo>
                    <a:pt x="1410" y="38"/>
                    <a:pt x="1411" y="39"/>
                    <a:pt x="1410" y="40"/>
                  </a:cubicBezTo>
                  <a:cubicBezTo>
                    <a:pt x="1410" y="40"/>
                    <a:pt x="1410" y="40"/>
                    <a:pt x="1410" y="40"/>
                  </a:cubicBezTo>
                  <a:cubicBezTo>
                    <a:pt x="1410" y="41"/>
                    <a:pt x="1410" y="42"/>
                    <a:pt x="1410" y="42"/>
                  </a:cubicBezTo>
                  <a:cubicBezTo>
                    <a:pt x="1410" y="42"/>
                    <a:pt x="1410" y="43"/>
                    <a:pt x="1410" y="43"/>
                  </a:cubicBezTo>
                  <a:cubicBezTo>
                    <a:pt x="1410" y="44"/>
                    <a:pt x="1410" y="45"/>
                    <a:pt x="1410" y="46"/>
                  </a:cubicBezTo>
                  <a:cubicBezTo>
                    <a:pt x="1410" y="46"/>
                    <a:pt x="1410" y="46"/>
                    <a:pt x="1410" y="47"/>
                  </a:cubicBezTo>
                  <a:cubicBezTo>
                    <a:pt x="1409" y="48"/>
                    <a:pt x="1410" y="50"/>
                    <a:pt x="1409" y="52"/>
                  </a:cubicBezTo>
                  <a:cubicBezTo>
                    <a:pt x="1409" y="55"/>
                    <a:pt x="1409" y="58"/>
                    <a:pt x="1409" y="61"/>
                  </a:cubicBezTo>
                  <a:cubicBezTo>
                    <a:pt x="1410" y="62"/>
                    <a:pt x="1409" y="64"/>
                    <a:pt x="1410" y="65"/>
                  </a:cubicBezTo>
                  <a:cubicBezTo>
                    <a:pt x="1410" y="66"/>
                    <a:pt x="1410" y="66"/>
                    <a:pt x="1410" y="66"/>
                  </a:cubicBezTo>
                  <a:cubicBezTo>
                    <a:pt x="1410" y="67"/>
                    <a:pt x="1410" y="68"/>
                    <a:pt x="1410" y="69"/>
                  </a:cubicBezTo>
                  <a:cubicBezTo>
                    <a:pt x="1410" y="69"/>
                    <a:pt x="1410" y="69"/>
                    <a:pt x="1410" y="69"/>
                  </a:cubicBezTo>
                  <a:cubicBezTo>
                    <a:pt x="1411" y="70"/>
                    <a:pt x="1410" y="71"/>
                    <a:pt x="1410" y="72"/>
                  </a:cubicBezTo>
                  <a:cubicBezTo>
                    <a:pt x="1411" y="72"/>
                    <a:pt x="1411" y="72"/>
                    <a:pt x="1410" y="72"/>
                  </a:cubicBezTo>
                  <a:cubicBezTo>
                    <a:pt x="1411" y="72"/>
                    <a:pt x="1410" y="73"/>
                    <a:pt x="1411" y="74"/>
                  </a:cubicBezTo>
                  <a:cubicBezTo>
                    <a:pt x="1411" y="74"/>
                    <a:pt x="1411" y="74"/>
                    <a:pt x="1411" y="74"/>
                  </a:cubicBezTo>
                  <a:cubicBezTo>
                    <a:pt x="1411" y="74"/>
                    <a:pt x="1411" y="75"/>
                    <a:pt x="1411" y="75"/>
                  </a:cubicBezTo>
                  <a:cubicBezTo>
                    <a:pt x="1411" y="75"/>
                    <a:pt x="1411" y="76"/>
                    <a:pt x="1411" y="76"/>
                  </a:cubicBezTo>
                  <a:cubicBezTo>
                    <a:pt x="1411" y="76"/>
                    <a:pt x="1411" y="77"/>
                    <a:pt x="1411" y="77"/>
                  </a:cubicBezTo>
                  <a:cubicBezTo>
                    <a:pt x="1411" y="77"/>
                    <a:pt x="1411" y="77"/>
                    <a:pt x="1411" y="77"/>
                  </a:cubicBezTo>
                  <a:cubicBezTo>
                    <a:pt x="1412" y="78"/>
                    <a:pt x="1411" y="78"/>
                    <a:pt x="1412" y="79"/>
                  </a:cubicBezTo>
                  <a:cubicBezTo>
                    <a:pt x="1412" y="79"/>
                    <a:pt x="1412" y="79"/>
                    <a:pt x="1412" y="79"/>
                  </a:cubicBezTo>
                  <a:cubicBezTo>
                    <a:pt x="1412" y="79"/>
                    <a:pt x="1412" y="79"/>
                    <a:pt x="1412" y="80"/>
                  </a:cubicBezTo>
                  <a:cubicBezTo>
                    <a:pt x="1412" y="80"/>
                    <a:pt x="1412" y="80"/>
                    <a:pt x="1412" y="80"/>
                  </a:cubicBezTo>
                  <a:cubicBezTo>
                    <a:pt x="1412" y="80"/>
                    <a:pt x="1412" y="81"/>
                    <a:pt x="1413" y="81"/>
                  </a:cubicBezTo>
                  <a:cubicBezTo>
                    <a:pt x="1413" y="81"/>
                    <a:pt x="1413" y="81"/>
                    <a:pt x="1413" y="81"/>
                  </a:cubicBezTo>
                  <a:cubicBezTo>
                    <a:pt x="1413" y="81"/>
                    <a:pt x="1413" y="82"/>
                    <a:pt x="1413" y="82"/>
                  </a:cubicBezTo>
                  <a:cubicBezTo>
                    <a:pt x="1413" y="82"/>
                    <a:pt x="1413" y="82"/>
                    <a:pt x="1413" y="82"/>
                  </a:cubicBezTo>
                  <a:cubicBezTo>
                    <a:pt x="1413" y="82"/>
                    <a:pt x="1413" y="83"/>
                    <a:pt x="1413" y="83"/>
                  </a:cubicBezTo>
                  <a:cubicBezTo>
                    <a:pt x="1413" y="83"/>
                    <a:pt x="1413" y="83"/>
                    <a:pt x="1413" y="83"/>
                  </a:cubicBezTo>
                  <a:cubicBezTo>
                    <a:pt x="1413" y="83"/>
                    <a:pt x="1413" y="84"/>
                    <a:pt x="1414" y="84"/>
                  </a:cubicBezTo>
                  <a:cubicBezTo>
                    <a:pt x="1414" y="84"/>
                    <a:pt x="1414" y="84"/>
                    <a:pt x="1414" y="84"/>
                  </a:cubicBezTo>
                  <a:cubicBezTo>
                    <a:pt x="1414" y="84"/>
                    <a:pt x="1414" y="85"/>
                    <a:pt x="1414" y="85"/>
                  </a:cubicBezTo>
                  <a:cubicBezTo>
                    <a:pt x="1414" y="85"/>
                    <a:pt x="1414" y="85"/>
                    <a:pt x="1414" y="85"/>
                  </a:cubicBezTo>
                  <a:cubicBezTo>
                    <a:pt x="1414" y="85"/>
                    <a:pt x="1414" y="85"/>
                    <a:pt x="1414" y="85"/>
                  </a:cubicBezTo>
                  <a:cubicBezTo>
                    <a:pt x="1414" y="86"/>
                    <a:pt x="1414" y="86"/>
                    <a:pt x="1414" y="86"/>
                  </a:cubicBezTo>
                  <a:cubicBezTo>
                    <a:pt x="1414" y="86"/>
                    <a:pt x="1414" y="86"/>
                    <a:pt x="1414" y="86"/>
                  </a:cubicBezTo>
                  <a:cubicBezTo>
                    <a:pt x="1414" y="86"/>
                    <a:pt x="1414" y="86"/>
                    <a:pt x="1415" y="87"/>
                  </a:cubicBezTo>
                  <a:cubicBezTo>
                    <a:pt x="1415" y="86"/>
                    <a:pt x="1415" y="86"/>
                    <a:pt x="1415" y="86"/>
                  </a:cubicBezTo>
                  <a:cubicBezTo>
                    <a:pt x="1415" y="87"/>
                    <a:pt x="1415" y="87"/>
                    <a:pt x="1415" y="87"/>
                  </a:cubicBezTo>
                  <a:cubicBezTo>
                    <a:pt x="1415" y="87"/>
                    <a:pt x="1415" y="87"/>
                    <a:pt x="1415" y="87"/>
                  </a:cubicBezTo>
                  <a:cubicBezTo>
                    <a:pt x="1415" y="87"/>
                    <a:pt x="1415" y="88"/>
                    <a:pt x="1415" y="88"/>
                  </a:cubicBezTo>
                  <a:cubicBezTo>
                    <a:pt x="1415" y="88"/>
                    <a:pt x="1415" y="88"/>
                    <a:pt x="1415" y="88"/>
                  </a:cubicBezTo>
                  <a:cubicBezTo>
                    <a:pt x="1416" y="88"/>
                    <a:pt x="1415" y="88"/>
                    <a:pt x="1416" y="89"/>
                  </a:cubicBezTo>
                  <a:cubicBezTo>
                    <a:pt x="1416" y="89"/>
                    <a:pt x="1416" y="89"/>
                    <a:pt x="1416" y="89"/>
                  </a:cubicBezTo>
                  <a:cubicBezTo>
                    <a:pt x="1416" y="89"/>
                    <a:pt x="1416" y="89"/>
                    <a:pt x="1416" y="89"/>
                  </a:cubicBezTo>
                  <a:cubicBezTo>
                    <a:pt x="1416" y="89"/>
                    <a:pt x="1416" y="89"/>
                    <a:pt x="1416" y="89"/>
                  </a:cubicBezTo>
                  <a:cubicBezTo>
                    <a:pt x="1416" y="89"/>
                    <a:pt x="1416" y="90"/>
                    <a:pt x="1416" y="90"/>
                  </a:cubicBezTo>
                  <a:cubicBezTo>
                    <a:pt x="1416" y="90"/>
                    <a:pt x="1416" y="90"/>
                    <a:pt x="1416" y="90"/>
                  </a:cubicBezTo>
                  <a:cubicBezTo>
                    <a:pt x="1417" y="90"/>
                    <a:pt x="1417" y="90"/>
                    <a:pt x="1417" y="90"/>
                  </a:cubicBezTo>
                  <a:cubicBezTo>
                    <a:pt x="1417" y="90"/>
                    <a:pt x="1417" y="90"/>
                    <a:pt x="1417" y="90"/>
                  </a:cubicBezTo>
                  <a:cubicBezTo>
                    <a:pt x="1417" y="91"/>
                    <a:pt x="1417" y="91"/>
                    <a:pt x="1417" y="91"/>
                  </a:cubicBezTo>
                  <a:cubicBezTo>
                    <a:pt x="1417" y="91"/>
                    <a:pt x="1417" y="91"/>
                    <a:pt x="1417" y="91"/>
                  </a:cubicBezTo>
                  <a:cubicBezTo>
                    <a:pt x="1417" y="91"/>
                    <a:pt x="1417" y="91"/>
                    <a:pt x="1417" y="91"/>
                  </a:cubicBezTo>
                  <a:cubicBezTo>
                    <a:pt x="1417" y="91"/>
                    <a:pt x="1417" y="91"/>
                    <a:pt x="1417" y="91"/>
                  </a:cubicBezTo>
                  <a:cubicBezTo>
                    <a:pt x="1418" y="92"/>
                    <a:pt x="1418" y="92"/>
                    <a:pt x="1418" y="92"/>
                  </a:cubicBezTo>
                  <a:cubicBezTo>
                    <a:pt x="1418" y="92"/>
                    <a:pt x="1418" y="92"/>
                    <a:pt x="1418" y="92"/>
                  </a:cubicBezTo>
                  <a:cubicBezTo>
                    <a:pt x="1418" y="92"/>
                    <a:pt x="1418" y="92"/>
                    <a:pt x="1418" y="92"/>
                  </a:cubicBezTo>
                  <a:cubicBezTo>
                    <a:pt x="1418" y="92"/>
                    <a:pt x="1418" y="92"/>
                    <a:pt x="1418" y="92"/>
                  </a:cubicBezTo>
                  <a:cubicBezTo>
                    <a:pt x="1418" y="93"/>
                    <a:pt x="1419" y="93"/>
                    <a:pt x="1419" y="93"/>
                  </a:cubicBezTo>
                  <a:cubicBezTo>
                    <a:pt x="1419" y="93"/>
                    <a:pt x="1419" y="93"/>
                    <a:pt x="1419" y="93"/>
                  </a:cubicBezTo>
                  <a:cubicBezTo>
                    <a:pt x="1419" y="94"/>
                    <a:pt x="1419" y="94"/>
                    <a:pt x="1419" y="94"/>
                  </a:cubicBezTo>
                  <a:cubicBezTo>
                    <a:pt x="1419" y="94"/>
                    <a:pt x="1419" y="94"/>
                    <a:pt x="1419" y="94"/>
                  </a:cubicBezTo>
                  <a:cubicBezTo>
                    <a:pt x="1419" y="94"/>
                    <a:pt x="1419" y="94"/>
                    <a:pt x="1419" y="94"/>
                  </a:cubicBezTo>
                  <a:cubicBezTo>
                    <a:pt x="1419" y="94"/>
                    <a:pt x="1419" y="94"/>
                    <a:pt x="1419" y="94"/>
                  </a:cubicBezTo>
                  <a:cubicBezTo>
                    <a:pt x="1420" y="94"/>
                    <a:pt x="1420" y="95"/>
                    <a:pt x="1420" y="95"/>
                  </a:cubicBezTo>
                  <a:cubicBezTo>
                    <a:pt x="1420" y="95"/>
                    <a:pt x="1420" y="95"/>
                    <a:pt x="1420" y="95"/>
                  </a:cubicBezTo>
                  <a:cubicBezTo>
                    <a:pt x="1420" y="95"/>
                    <a:pt x="1420" y="95"/>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7"/>
                    <a:pt x="1422" y="97"/>
                  </a:cubicBezTo>
                  <a:cubicBezTo>
                    <a:pt x="1422" y="97"/>
                    <a:pt x="1422" y="97"/>
                    <a:pt x="1422" y="97"/>
                  </a:cubicBezTo>
                  <a:cubicBezTo>
                    <a:pt x="1422" y="97"/>
                    <a:pt x="1422" y="97"/>
                    <a:pt x="1422" y="97"/>
                  </a:cubicBezTo>
                  <a:cubicBezTo>
                    <a:pt x="1422" y="97"/>
                    <a:pt x="1422" y="97"/>
                    <a:pt x="1422" y="97"/>
                  </a:cubicBezTo>
                  <a:cubicBezTo>
                    <a:pt x="1422" y="97"/>
                    <a:pt x="1423" y="97"/>
                    <a:pt x="1423" y="98"/>
                  </a:cubicBezTo>
                  <a:cubicBezTo>
                    <a:pt x="1423" y="98"/>
                    <a:pt x="1423" y="98"/>
                    <a:pt x="1423" y="98"/>
                  </a:cubicBezTo>
                  <a:cubicBezTo>
                    <a:pt x="1423" y="98"/>
                    <a:pt x="1423" y="98"/>
                    <a:pt x="1423" y="98"/>
                  </a:cubicBezTo>
                  <a:cubicBezTo>
                    <a:pt x="1423" y="98"/>
                    <a:pt x="1423" y="98"/>
                    <a:pt x="1423" y="98"/>
                  </a:cubicBezTo>
                  <a:cubicBezTo>
                    <a:pt x="1423" y="98"/>
                    <a:pt x="1424" y="98"/>
                    <a:pt x="1424" y="98"/>
                  </a:cubicBezTo>
                  <a:cubicBezTo>
                    <a:pt x="1424" y="98"/>
                    <a:pt x="1424" y="98"/>
                    <a:pt x="1424" y="98"/>
                  </a:cubicBezTo>
                  <a:cubicBezTo>
                    <a:pt x="1424" y="99"/>
                    <a:pt x="1424" y="99"/>
                    <a:pt x="1425" y="99"/>
                  </a:cubicBezTo>
                  <a:cubicBezTo>
                    <a:pt x="1425" y="99"/>
                    <a:pt x="1425" y="99"/>
                    <a:pt x="1425" y="99"/>
                  </a:cubicBezTo>
                  <a:cubicBezTo>
                    <a:pt x="1425" y="99"/>
                    <a:pt x="1425" y="99"/>
                    <a:pt x="1425" y="99"/>
                  </a:cubicBezTo>
                  <a:cubicBezTo>
                    <a:pt x="1425" y="99"/>
                    <a:pt x="1425" y="99"/>
                    <a:pt x="1425" y="99"/>
                  </a:cubicBezTo>
                  <a:cubicBezTo>
                    <a:pt x="1425" y="100"/>
                    <a:pt x="1426" y="100"/>
                    <a:pt x="1426" y="100"/>
                  </a:cubicBezTo>
                  <a:cubicBezTo>
                    <a:pt x="1426" y="100"/>
                    <a:pt x="1426" y="100"/>
                    <a:pt x="1426" y="100"/>
                  </a:cubicBezTo>
                  <a:cubicBezTo>
                    <a:pt x="1426" y="100"/>
                    <a:pt x="1426" y="100"/>
                    <a:pt x="1426" y="100"/>
                  </a:cubicBezTo>
                  <a:cubicBezTo>
                    <a:pt x="1426" y="100"/>
                    <a:pt x="1426" y="100"/>
                    <a:pt x="1426" y="100"/>
                  </a:cubicBezTo>
                  <a:cubicBezTo>
                    <a:pt x="1427" y="100"/>
                    <a:pt x="1427" y="100"/>
                    <a:pt x="1427" y="100"/>
                  </a:cubicBezTo>
                  <a:cubicBezTo>
                    <a:pt x="1427" y="100"/>
                    <a:pt x="1427" y="100"/>
                    <a:pt x="1427" y="100"/>
                  </a:cubicBezTo>
                  <a:cubicBezTo>
                    <a:pt x="1427" y="101"/>
                    <a:pt x="1428" y="101"/>
                    <a:pt x="1428" y="101"/>
                  </a:cubicBezTo>
                  <a:cubicBezTo>
                    <a:pt x="1428" y="101"/>
                    <a:pt x="1428" y="101"/>
                    <a:pt x="1428" y="101"/>
                  </a:cubicBezTo>
                  <a:cubicBezTo>
                    <a:pt x="1428" y="101"/>
                    <a:pt x="1428" y="101"/>
                    <a:pt x="1429" y="101"/>
                  </a:cubicBezTo>
                  <a:cubicBezTo>
                    <a:pt x="1429" y="101"/>
                    <a:pt x="1429" y="101"/>
                    <a:pt x="1429" y="101"/>
                  </a:cubicBezTo>
                  <a:cubicBezTo>
                    <a:pt x="1429" y="101"/>
                    <a:pt x="1429" y="101"/>
                    <a:pt x="1429" y="101"/>
                  </a:cubicBezTo>
                  <a:cubicBezTo>
                    <a:pt x="1429" y="101"/>
                    <a:pt x="1429" y="101"/>
                    <a:pt x="1429" y="101"/>
                  </a:cubicBezTo>
                  <a:cubicBezTo>
                    <a:pt x="1430" y="102"/>
                    <a:pt x="1430" y="102"/>
                    <a:pt x="1430" y="102"/>
                  </a:cubicBezTo>
                  <a:cubicBezTo>
                    <a:pt x="1430" y="102"/>
                    <a:pt x="1430" y="102"/>
                    <a:pt x="1430" y="102"/>
                  </a:cubicBezTo>
                  <a:cubicBezTo>
                    <a:pt x="1431" y="102"/>
                    <a:pt x="1431" y="102"/>
                    <a:pt x="1431" y="102"/>
                  </a:cubicBezTo>
                  <a:cubicBezTo>
                    <a:pt x="1431" y="102"/>
                    <a:pt x="1431" y="102"/>
                    <a:pt x="1431" y="102"/>
                  </a:cubicBezTo>
                  <a:cubicBezTo>
                    <a:pt x="1432" y="103"/>
                    <a:pt x="1432" y="102"/>
                    <a:pt x="1433" y="103"/>
                  </a:cubicBezTo>
                  <a:cubicBezTo>
                    <a:pt x="1433" y="103"/>
                    <a:pt x="1433" y="103"/>
                    <a:pt x="1433" y="103"/>
                  </a:cubicBezTo>
                  <a:cubicBezTo>
                    <a:pt x="1433" y="103"/>
                    <a:pt x="1433" y="103"/>
                    <a:pt x="1433" y="103"/>
                  </a:cubicBezTo>
                  <a:cubicBezTo>
                    <a:pt x="1434" y="103"/>
                    <a:pt x="1434" y="103"/>
                    <a:pt x="1435" y="103"/>
                  </a:cubicBezTo>
                  <a:cubicBezTo>
                    <a:pt x="1435" y="103"/>
                    <a:pt x="1435" y="103"/>
                    <a:pt x="1435" y="103"/>
                  </a:cubicBezTo>
                  <a:cubicBezTo>
                    <a:pt x="1435" y="103"/>
                    <a:pt x="1435" y="103"/>
                    <a:pt x="1435" y="103"/>
                  </a:cubicBezTo>
                  <a:cubicBezTo>
                    <a:pt x="1436" y="103"/>
                    <a:pt x="1437" y="103"/>
                    <a:pt x="1438" y="103"/>
                  </a:cubicBezTo>
                  <a:cubicBezTo>
                    <a:pt x="1439" y="103"/>
                    <a:pt x="1440" y="103"/>
                    <a:pt x="1441" y="103"/>
                  </a:cubicBezTo>
                  <a:cubicBezTo>
                    <a:pt x="1442" y="103"/>
                    <a:pt x="1443" y="103"/>
                    <a:pt x="1444" y="103"/>
                  </a:cubicBezTo>
                  <a:cubicBezTo>
                    <a:pt x="1444" y="103"/>
                    <a:pt x="1444" y="103"/>
                    <a:pt x="1444" y="103"/>
                  </a:cubicBezTo>
                  <a:cubicBezTo>
                    <a:pt x="1444" y="103"/>
                    <a:pt x="1444" y="103"/>
                    <a:pt x="1444" y="103"/>
                  </a:cubicBezTo>
                  <a:cubicBezTo>
                    <a:pt x="1445" y="103"/>
                    <a:pt x="1445" y="103"/>
                    <a:pt x="1446" y="103"/>
                  </a:cubicBezTo>
                  <a:cubicBezTo>
                    <a:pt x="1446" y="103"/>
                    <a:pt x="1446" y="103"/>
                    <a:pt x="1446" y="103"/>
                  </a:cubicBezTo>
                  <a:cubicBezTo>
                    <a:pt x="1446" y="103"/>
                    <a:pt x="1446" y="103"/>
                    <a:pt x="1446" y="103"/>
                  </a:cubicBezTo>
                  <a:cubicBezTo>
                    <a:pt x="1446" y="102"/>
                    <a:pt x="1447" y="103"/>
                    <a:pt x="1447" y="102"/>
                  </a:cubicBezTo>
                  <a:cubicBezTo>
                    <a:pt x="1447" y="102"/>
                    <a:pt x="1447" y="102"/>
                    <a:pt x="1447" y="102"/>
                  </a:cubicBezTo>
                  <a:cubicBezTo>
                    <a:pt x="1448" y="102"/>
                    <a:pt x="1448" y="102"/>
                    <a:pt x="1448" y="102"/>
                  </a:cubicBezTo>
                  <a:cubicBezTo>
                    <a:pt x="1448" y="102"/>
                    <a:pt x="1448" y="102"/>
                    <a:pt x="1448" y="102"/>
                  </a:cubicBezTo>
                  <a:cubicBezTo>
                    <a:pt x="1449" y="102"/>
                    <a:pt x="1449" y="102"/>
                    <a:pt x="1449" y="102"/>
                  </a:cubicBezTo>
                  <a:cubicBezTo>
                    <a:pt x="1449" y="102"/>
                    <a:pt x="1449" y="102"/>
                    <a:pt x="1449" y="101"/>
                  </a:cubicBezTo>
                  <a:cubicBezTo>
                    <a:pt x="1449" y="102"/>
                    <a:pt x="1449" y="102"/>
                    <a:pt x="1449" y="102"/>
                  </a:cubicBezTo>
                  <a:cubicBezTo>
                    <a:pt x="1450" y="101"/>
                    <a:pt x="1450" y="101"/>
                    <a:pt x="1450" y="101"/>
                  </a:cubicBezTo>
                  <a:cubicBezTo>
                    <a:pt x="1450" y="101"/>
                    <a:pt x="1450" y="101"/>
                    <a:pt x="1450" y="101"/>
                  </a:cubicBezTo>
                  <a:cubicBezTo>
                    <a:pt x="1450" y="101"/>
                    <a:pt x="1450" y="101"/>
                    <a:pt x="1450" y="101"/>
                  </a:cubicBezTo>
                  <a:cubicBezTo>
                    <a:pt x="1451" y="101"/>
                    <a:pt x="1451" y="101"/>
                    <a:pt x="1451" y="101"/>
                  </a:cubicBezTo>
                  <a:cubicBezTo>
                    <a:pt x="1451" y="101"/>
                    <a:pt x="1451" y="101"/>
                    <a:pt x="1451" y="101"/>
                  </a:cubicBezTo>
                  <a:cubicBezTo>
                    <a:pt x="1451" y="101"/>
                    <a:pt x="1452" y="101"/>
                    <a:pt x="1452" y="100"/>
                  </a:cubicBezTo>
                  <a:cubicBezTo>
                    <a:pt x="1452" y="100"/>
                    <a:pt x="1452" y="100"/>
                    <a:pt x="1452" y="100"/>
                  </a:cubicBezTo>
                  <a:cubicBezTo>
                    <a:pt x="1452" y="100"/>
                    <a:pt x="1452" y="100"/>
                    <a:pt x="1453" y="100"/>
                  </a:cubicBezTo>
                  <a:cubicBezTo>
                    <a:pt x="1453" y="100"/>
                    <a:pt x="1453" y="100"/>
                    <a:pt x="1453" y="100"/>
                  </a:cubicBezTo>
                  <a:cubicBezTo>
                    <a:pt x="1453" y="100"/>
                    <a:pt x="1453" y="100"/>
                    <a:pt x="1453" y="100"/>
                  </a:cubicBezTo>
                  <a:cubicBezTo>
                    <a:pt x="1453" y="100"/>
                    <a:pt x="1453" y="100"/>
                    <a:pt x="1453" y="100"/>
                  </a:cubicBezTo>
                  <a:cubicBezTo>
                    <a:pt x="1453" y="100"/>
                    <a:pt x="1453" y="100"/>
                    <a:pt x="1454" y="99"/>
                  </a:cubicBezTo>
                  <a:cubicBezTo>
                    <a:pt x="1454" y="99"/>
                    <a:pt x="1454" y="99"/>
                    <a:pt x="1454" y="99"/>
                  </a:cubicBezTo>
                  <a:cubicBezTo>
                    <a:pt x="1454" y="99"/>
                    <a:pt x="1454" y="99"/>
                    <a:pt x="1454" y="99"/>
                  </a:cubicBezTo>
                  <a:cubicBezTo>
                    <a:pt x="1454" y="99"/>
                    <a:pt x="1454" y="99"/>
                    <a:pt x="1454" y="99"/>
                  </a:cubicBezTo>
                  <a:cubicBezTo>
                    <a:pt x="1454" y="99"/>
                    <a:pt x="1455" y="99"/>
                    <a:pt x="1455" y="99"/>
                  </a:cubicBezTo>
                  <a:cubicBezTo>
                    <a:pt x="1455" y="99"/>
                    <a:pt x="1455" y="99"/>
                    <a:pt x="1455" y="99"/>
                  </a:cubicBezTo>
                  <a:cubicBezTo>
                    <a:pt x="1455" y="98"/>
                    <a:pt x="1455" y="99"/>
                    <a:pt x="1455" y="98"/>
                  </a:cubicBezTo>
                  <a:cubicBezTo>
                    <a:pt x="1455" y="98"/>
                    <a:pt x="1455" y="98"/>
                    <a:pt x="1455" y="98"/>
                  </a:cubicBezTo>
                  <a:cubicBezTo>
                    <a:pt x="1455" y="98"/>
                    <a:pt x="1456" y="98"/>
                    <a:pt x="1456" y="98"/>
                  </a:cubicBezTo>
                  <a:cubicBezTo>
                    <a:pt x="1456" y="98"/>
                    <a:pt x="1456" y="98"/>
                    <a:pt x="1456" y="98"/>
                  </a:cubicBezTo>
                  <a:cubicBezTo>
                    <a:pt x="1456" y="98"/>
                    <a:pt x="1456" y="98"/>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8" y="97"/>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9" y="95"/>
                    <a:pt x="1459" y="95"/>
                    <a:pt x="1459" y="95"/>
                  </a:cubicBezTo>
                  <a:cubicBezTo>
                    <a:pt x="1459" y="95"/>
                    <a:pt x="1459" y="95"/>
                    <a:pt x="1459" y="95"/>
                  </a:cubicBezTo>
                  <a:cubicBezTo>
                    <a:pt x="1459" y="95"/>
                    <a:pt x="1459" y="95"/>
                    <a:pt x="1459" y="95"/>
                  </a:cubicBezTo>
                  <a:cubicBezTo>
                    <a:pt x="1459" y="95"/>
                    <a:pt x="1459" y="95"/>
                    <a:pt x="1459" y="95"/>
                  </a:cubicBezTo>
                  <a:cubicBezTo>
                    <a:pt x="1459" y="95"/>
                    <a:pt x="1459" y="95"/>
                    <a:pt x="1459" y="94"/>
                  </a:cubicBezTo>
                  <a:cubicBezTo>
                    <a:pt x="1459" y="95"/>
                    <a:pt x="1459" y="95"/>
                    <a:pt x="1459" y="95"/>
                  </a:cubicBezTo>
                  <a:cubicBezTo>
                    <a:pt x="1460" y="94"/>
                    <a:pt x="1460" y="94"/>
                    <a:pt x="1460" y="94"/>
                  </a:cubicBezTo>
                  <a:cubicBezTo>
                    <a:pt x="1460" y="94"/>
                    <a:pt x="1460" y="94"/>
                    <a:pt x="1460" y="94"/>
                  </a:cubicBezTo>
                  <a:cubicBezTo>
                    <a:pt x="1460" y="94"/>
                    <a:pt x="1460" y="94"/>
                    <a:pt x="1460" y="94"/>
                  </a:cubicBezTo>
                  <a:cubicBezTo>
                    <a:pt x="1460" y="94"/>
                    <a:pt x="1460" y="94"/>
                    <a:pt x="1460" y="94"/>
                  </a:cubicBezTo>
                  <a:cubicBezTo>
                    <a:pt x="1460" y="94"/>
                    <a:pt x="1460" y="93"/>
                    <a:pt x="1461" y="93"/>
                  </a:cubicBezTo>
                  <a:cubicBezTo>
                    <a:pt x="1461" y="93"/>
                    <a:pt x="1461" y="93"/>
                    <a:pt x="1461" y="93"/>
                  </a:cubicBezTo>
                  <a:cubicBezTo>
                    <a:pt x="1461" y="93"/>
                    <a:pt x="1461" y="93"/>
                    <a:pt x="1461" y="93"/>
                  </a:cubicBezTo>
                  <a:cubicBezTo>
                    <a:pt x="1461" y="93"/>
                    <a:pt x="1461" y="93"/>
                    <a:pt x="1461" y="93"/>
                  </a:cubicBezTo>
                  <a:cubicBezTo>
                    <a:pt x="1461" y="93"/>
                    <a:pt x="1461" y="93"/>
                    <a:pt x="1461" y="92"/>
                  </a:cubicBezTo>
                  <a:cubicBezTo>
                    <a:pt x="1461" y="92"/>
                    <a:pt x="1461" y="92"/>
                    <a:pt x="1461" y="92"/>
                  </a:cubicBezTo>
                  <a:cubicBezTo>
                    <a:pt x="1461" y="92"/>
                    <a:pt x="1461" y="92"/>
                    <a:pt x="1462" y="92"/>
                  </a:cubicBezTo>
                  <a:cubicBezTo>
                    <a:pt x="1462" y="92"/>
                    <a:pt x="1462" y="92"/>
                    <a:pt x="1462" y="92"/>
                  </a:cubicBezTo>
                  <a:cubicBezTo>
                    <a:pt x="1462" y="92"/>
                    <a:pt x="1462" y="92"/>
                    <a:pt x="1462" y="91"/>
                  </a:cubicBezTo>
                  <a:cubicBezTo>
                    <a:pt x="1462" y="91"/>
                    <a:pt x="1462" y="91"/>
                    <a:pt x="1462" y="91"/>
                  </a:cubicBezTo>
                  <a:cubicBezTo>
                    <a:pt x="1462" y="91"/>
                    <a:pt x="1462" y="91"/>
                    <a:pt x="1463" y="90"/>
                  </a:cubicBezTo>
                  <a:cubicBezTo>
                    <a:pt x="1463" y="90"/>
                    <a:pt x="1463" y="90"/>
                    <a:pt x="1463" y="90"/>
                  </a:cubicBezTo>
                  <a:cubicBezTo>
                    <a:pt x="1463" y="90"/>
                    <a:pt x="1463" y="90"/>
                    <a:pt x="1463" y="90"/>
                  </a:cubicBezTo>
                  <a:cubicBezTo>
                    <a:pt x="1463" y="90"/>
                    <a:pt x="1463" y="90"/>
                    <a:pt x="1463" y="90"/>
                  </a:cubicBezTo>
                  <a:cubicBezTo>
                    <a:pt x="1463" y="90"/>
                    <a:pt x="1463" y="89"/>
                    <a:pt x="1463" y="89"/>
                  </a:cubicBezTo>
                  <a:cubicBezTo>
                    <a:pt x="1463" y="89"/>
                    <a:pt x="1463" y="89"/>
                    <a:pt x="1463" y="89"/>
                  </a:cubicBezTo>
                  <a:cubicBezTo>
                    <a:pt x="1464" y="89"/>
                    <a:pt x="1463" y="89"/>
                    <a:pt x="1464" y="89"/>
                  </a:cubicBezTo>
                  <a:cubicBezTo>
                    <a:pt x="1464" y="89"/>
                    <a:pt x="1464" y="89"/>
                    <a:pt x="1464" y="89"/>
                  </a:cubicBezTo>
                  <a:cubicBezTo>
                    <a:pt x="1464" y="88"/>
                    <a:pt x="1464" y="88"/>
                    <a:pt x="1464" y="88"/>
                  </a:cubicBezTo>
                  <a:cubicBezTo>
                    <a:pt x="1464" y="88"/>
                    <a:pt x="1464" y="88"/>
                    <a:pt x="1464" y="88"/>
                  </a:cubicBezTo>
                  <a:cubicBezTo>
                    <a:pt x="1464" y="88"/>
                    <a:pt x="1464" y="87"/>
                    <a:pt x="1464" y="87"/>
                  </a:cubicBezTo>
                  <a:cubicBezTo>
                    <a:pt x="1464" y="87"/>
                    <a:pt x="1464" y="87"/>
                    <a:pt x="1464" y="87"/>
                  </a:cubicBezTo>
                  <a:cubicBezTo>
                    <a:pt x="1465" y="87"/>
                    <a:pt x="1465" y="87"/>
                    <a:pt x="1465" y="87"/>
                  </a:cubicBezTo>
                  <a:cubicBezTo>
                    <a:pt x="1465" y="87"/>
                    <a:pt x="1465" y="87"/>
                    <a:pt x="1465" y="87"/>
                  </a:cubicBezTo>
                  <a:cubicBezTo>
                    <a:pt x="1465" y="86"/>
                    <a:pt x="1465" y="86"/>
                    <a:pt x="1465" y="86"/>
                  </a:cubicBezTo>
                  <a:cubicBezTo>
                    <a:pt x="1465" y="86"/>
                    <a:pt x="1465" y="86"/>
                    <a:pt x="1465" y="86"/>
                  </a:cubicBezTo>
                  <a:cubicBezTo>
                    <a:pt x="1465" y="86"/>
                    <a:pt x="1465" y="85"/>
                    <a:pt x="1465" y="85"/>
                  </a:cubicBezTo>
                  <a:cubicBezTo>
                    <a:pt x="1465" y="85"/>
                    <a:pt x="1465" y="85"/>
                    <a:pt x="1465" y="85"/>
                  </a:cubicBezTo>
                  <a:cubicBezTo>
                    <a:pt x="1466" y="85"/>
                    <a:pt x="1466" y="85"/>
                    <a:pt x="1466" y="84"/>
                  </a:cubicBezTo>
                  <a:cubicBezTo>
                    <a:pt x="1466" y="84"/>
                    <a:pt x="1466" y="84"/>
                    <a:pt x="1466" y="84"/>
                  </a:cubicBezTo>
                  <a:cubicBezTo>
                    <a:pt x="1466" y="84"/>
                    <a:pt x="1466" y="84"/>
                    <a:pt x="1466" y="84"/>
                  </a:cubicBezTo>
                  <a:cubicBezTo>
                    <a:pt x="1466" y="83"/>
                    <a:pt x="1466" y="83"/>
                    <a:pt x="1466" y="83"/>
                  </a:cubicBezTo>
                  <a:cubicBezTo>
                    <a:pt x="1466" y="83"/>
                    <a:pt x="1466" y="83"/>
                    <a:pt x="1466" y="83"/>
                  </a:cubicBezTo>
                  <a:cubicBezTo>
                    <a:pt x="1466" y="83"/>
                    <a:pt x="1466" y="83"/>
                    <a:pt x="1466" y="83"/>
                  </a:cubicBezTo>
                  <a:cubicBezTo>
                    <a:pt x="1466" y="83"/>
                    <a:pt x="1466" y="83"/>
                    <a:pt x="1466" y="83"/>
                  </a:cubicBezTo>
                  <a:cubicBezTo>
                    <a:pt x="1467" y="82"/>
                    <a:pt x="1467" y="82"/>
                    <a:pt x="1467" y="82"/>
                  </a:cubicBezTo>
                  <a:cubicBezTo>
                    <a:pt x="1467" y="82"/>
                    <a:pt x="1467" y="82"/>
                    <a:pt x="1467" y="82"/>
                  </a:cubicBezTo>
                  <a:cubicBezTo>
                    <a:pt x="1467" y="81"/>
                    <a:pt x="1467" y="81"/>
                    <a:pt x="1467" y="81"/>
                  </a:cubicBezTo>
                  <a:cubicBezTo>
                    <a:pt x="1467" y="81"/>
                    <a:pt x="1467" y="81"/>
                    <a:pt x="1467" y="81"/>
                  </a:cubicBezTo>
                  <a:cubicBezTo>
                    <a:pt x="1467" y="81"/>
                    <a:pt x="1467" y="81"/>
                    <a:pt x="1467" y="81"/>
                  </a:cubicBezTo>
                  <a:cubicBezTo>
                    <a:pt x="1467" y="80"/>
                    <a:pt x="1467" y="80"/>
                    <a:pt x="1467" y="80"/>
                  </a:cubicBezTo>
                  <a:cubicBezTo>
                    <a:pt x="1467" y="80"/>
                    <a:pt x="1467" y="80"/>
                    <a:pt x="1467" y="80"/>
                  </a:cubicBezTo>
                  <a:cubicBezTo>
                    <a:pt x="1468" y="80"/>
                    <a:pt x="1468" y="80"/>
                    <a:pt x="1468" y="80"/>
                  </a:cubicBezTo>
                  <a:cubicBezTo>
                    <a:pt x="1468" y="79"/>
                    <a:pt x="1468" y="79"/>
                    <a:pt x="1468" y="79"/>
                  </a:cubicBezTo>
                  <a:cubicBezTo>
                    <a:pt x="1468" y="79"/>
                    <a:pt x="1468" y="79"/>
                    <a:pt x="1468" y="79"/>
                  </a:cubicBezTo>
                  <a:cubicBezTo>
                    <a:pt x="1468" y="78"/>
                    <a:pt x="1468" y="78"/>
                    <a:pt x="1468" y="77"/>
                  </a:cubicBezTo>
                  <a:cubicBezTo>
                    <a:pt x="1468" y="77"/>
                    <a:pt x="1468" y="77"/>
                    <a:pt x="1468" y="77"/>
                  </a:cubicBezTo>
                  <a:cubicBezTo>
                    <a:pt x="1468" y="77"/>
                    <a:pt x="1468" y="77"/>
                    <a:pt x="1468" y="77"/>
                  </a:cubicBezTo>
                  <a:cubicBezTo>
                    <a:pt x="1469" y="77"/>
                    <a:pt x="1468" y="76"/>
                    <a:pt x="1469" y="76"/>
                  </a:cubicBezTo>
                  <a:cubicBezTo>
                    <a:pt x="1468" y="76"/>
                    <a:pt x="1468" y="76"/>
                    <a:pt x="1469" y="76"/>
                  </a:cubicBezTo>
                  <a:cubicBezTo>
                    <a:pt x="1469" y="75"/>
                    <a:pt x="1469" y="75"/>
                    <a:pt x="1469" y="75"/>
                  </a:cubicBezTo>
                  <a:cubicBezTo>
                    <a:pt x="1469" y="74"/>
                    <a:pt x="1469" y="74"/>
                    <a:pt x="1469" y="74"/>
                  </a:cubicBezTo>
                  <a:cubicBezTo>
                    <a:pt x="1469" y="74"/>
                    <a:pt x="1469" y="74"/>
                    <a:pt x="1469" y="74"/>
                  </a:cubicBezTo>
                  <a:cubicBezTo>
                    <a:pt x="1469" y="74"/>
                    <a:pt x="1469" y="73"/>
                    <a:pt x="1469" y="73"/>
                  </a:cubicBezTo>
                  <a:cubicBezTo>
                    <a:pt x="1469" y="73"/>
                    <a:pt x="1469" y="73"/>
                    <a:pt x="1469" y="73"/>
                  </a:cubicBezTo>
                  <a:cubicBezTo>
                    <a:pt x="1470" y="72"/>
                    <a:pt x="1469" y="71"/>
                    <a:pt x="1470" y="71"/>
                  </a:cubicBezTo>
                  <a:cubicBezTo>
                    <a:pt x="1470" y="71"/>
                    <a:pt x="1470" y="71"/>
                    <a:pt x="1470" y="71"/>
                  </a:cubicBezTo>
                  <a:cubicBezTo>
                    <a:pt x="1470" y="70"/>
                    <a:pt x="1470" y="69"/>
                    <a:pt x="1470" y="69"/>
                  </a:cubicBezTo>
                  <a:cubicBezTo>
                    <a:pt x="1470" y="68"/>
                    <a:pt x="1470" y="68"/>
                    <a:pt x="1470" y="68"/>
                  </a:cubicBezTo>
                  <a:cubicBezTo>
                    <a:pt x="1470" y="67"/>
                    <a:pt x="1470" y="67"/>
                    <a:pt x="1470" y="66"/>
                  </a:cubicBezTo>
                  <a:cubicBezTo>
                    <a:pt x="1470" y="66"/>
                    <a:pt x="1470" y="66"/>
                    <a:pt x="1470" y="65"/>
                  </a:cubicBezTo>
                  <a:cubicBezTo>
                    <a:pt x="1471" y="64"/>
                    <a:pt x="1470" y="63"/>
                    <a:pt x="1471" y="62"/>
                  </a:cubicBezTo>
                  <a:cubicBezTo>
                    <a:pt x="1470" y="61"/>
                    <a:pt x="1471" y="61"/>
                    <a:pt x="1471" y="60"/>
                  </a:cubicBezTo>
                  <a:cubicBezTo>
                    <a:pt x="1471" y="56"/>
                    <a:pt x="1471" y="51"/>
                    <a:pt x="1471" y="47"/>
                  </a:cubicBezTo>
                  <a:cubicBezTo>
                    <a:pt x="1471" y="46"/>
                    <a:pt x="1471" y="46"/>
                    <a:pt x="1471" y="46"/>
                  </a:cubicBezTo>
                  <a:cubicBezTo>
                    <a:pt x="1470" y="44"/>
                    <a:pt x="1471" y="43"/>
                    <a:pt x="1470" y="42"/>
                  </a:cubicBezTo>
                  <a:cubicBezTo>
                    <a:pt x="1470" y="42"/>
                    <a:pt x="1470" y="41"/>
                    <a:pt x="1470" y="41"/>
                  </a:cubicBezTo>
                  <a:cubicBezTo>
                    <a:pt x="1470" y="40"/>
                    <a:pt x="1470" y="40"/>
                    <a:pt x="1470" y="39"/>
                  </a:cubicBezTo>
                  <a:cubicBezTo>
                    <a:pt x="1470" y="39"/>
                    <a:pt x="1470" y="38"/>
                    <a:pt x="1470" y="38"/>
                  </a:cubicBezTo>
                  <a:cubicBezTo>
                    <a:pt x="1470" y="38"/>
                    <a:pt x="1470" y="37"/>
                    <a:pt x="1470" y="36"/>
                  </a:cubicBezTo>
                  <a:cubicBezTo>
                    <a:pt x="1470" y="36"/>
                    <a:pt x="1469" y="36"/>
                    <a:pt x="1470" y="36"/>
                  </a:cubicBezTo>
                  <a:cubicBezTo>
                    <a:pt x="1469" y="35"/>
                    <a:pt x="1470" y="35"/>
                    <a:pt x="1469" y="34"/>
                  </a:cubicBezTo>
                  <a:cubicBezTo>
                    <a:pt x="1469" y="34"/>
                    <a:pt x="1469" y="34"/>
                    <a:pt x="1469" y="34"/>
                  </a:cubicBezTo>
                  <a:cubicBezTo>
                    <a:pt x="1469" y="34"/>
                    <a:pt x="1469" y="33"/>
                    <a:pt x="1469" y="33"/>
                  </a:cubicBezTo>
                  <a:cubicBezTo>
                    <a:pt x="1469" y="33"/>
                    <a:pt x="1469" y="32"/>
                    <a:pt x="1469" y="32"/>
                  </a:cubicBezTo>
                  <a:cubicBezTo>
                    <a:pt x="1469" y="32"/>
                    <a:pt x="1469" y="31"/>
                    <a:pt x="1469" y="31"/>
                  </a:cubicBezTo>
                  <a:cubicBezTo>
                    <a:pt x="1468" y="31"/>
                    <a:pt x="1468" y="31"/>
                    <a:pt x="1468" y="31"/>
                  </a:cubicBezTo>
                  <a:cubicBezTo>
                    <a:pt x="1469" y="31"/>
                    <a:pt x="1469" y="31"/>
                    <a:pt x="1469" y="31"/>
                  </a:cubicBezTo>
                  <a:cubicBezTo>
                    <a:pt x="1468" y="30"/>
                    <a:pt x="1469" y="30"/>
                    <a:pt x="1468" y="29"/>
                  </a:cubicBezTo>
                  <a:cubicBezTo>
                    <a:pt x="1468" y="29"/>
                    <a:pt x="1468" y="29"/>
                    <a:pt x="1468" y="29"/>
                  </a:cubicBezTo>
                  <a:cubicBezTo>
                    <a:pt x="1468" y="29"/>
                    <a:pt x="1468" y="29"/>
                    <a:pt x="1468" y="28"/>
                  </a:cubicBezTo>
                  <a:cubicBezTo>
                    <a:pt x="1468" y="28"/>
                    <a:pt x="1468" y="28"/>
                    <a:pt x="1468" y="28"/>
                  </a:cubicBezTo>
                  <a:cubicBezTo>
                    <a:pt x="1468" y="28"/>
                    <a:pt x="1468" y="27"/>
                    <a:pt x="1468" y="27"/>
                  </a:cubicBezTo>
                  <a:cubicBezTo>
                    <a:pt x="1468" y="27"/>
                    <a:pt x="1468" y="27"/>
                    <a:pt x="1468" y="27"/>
                  </a:cubicBezTo>
                  <a:cubicBezTo>
                    <a:pt x="1467" y="27"/>
                    <a:pt x="1467" y="26"/>
                    <a:pt x="1467" y="26"/>
                  </a:cubicBezTo>
                  <a:cubicBezTo>
                    <a:pt x="1467" y="26"/>
                    <a:pt x="1467" y="26"/>
                    <a:pt x="1467" y="26"/>
                  </a:cubicBezTo>
                  <a:cubicBezTo>
                    <a:pt x="1467" y="26"/>
                    <a:pt x="1467" y="25"/>
                    <a:pt x="1467" y="25"/>
                  </a:cubicBezTo>
                  <a:cubicBezTo>
                    <a:pt x="1467" y="25"/>
                    <a:pt x="1467" y="25"/>
                    <a:pt x="1467" y="25"/>
                  </a:cubicBezTo>
                  <a:cubicBezTo>
                    <a:pt x="1467" y="25"/>
                    <a:pt x="1467" y="24"/>
                    <a:pt x="1466" y="24"/>
                  </a:cubicBezTo>
                  <a:cubicBezTo>
                    <a:pt x="1466" y="24"/>
                    <a:pt x="1466" y="24"/>
                    <a:pt x="1466" y="24"/>
                  </a:cubicBezTo>
                  <a:cubicBezTo>
                    <a:pt x="1466" y="24"/>
                    <a:pt x="1466" y="23"/>
                    <a:pt x="1466" y="23"/>
                  </a:cubicBezTo>
                  <a:cubicBezTo>
                    <a:pt x="1466" y="23"/>
                    <a:pt x="1466" y="23"/>
                    <a:pt x="1466" y="23"/>
                  </a:cubicBezTo>
                  <a:cubicBezTo>
                    <a:pt x="1466" y="23"/>
                    <a:pt x="1466" y="22"/>
                    <a:pt x="1466" y="22"/>
                  </a:cubicBezTo>
                  <a:cubicBezTo>
                    <a:pt x="1466" y="22"/>
                    <a:pt x="1466" y="22"/>
                    <a:pt x="1466" y="22"/>
                  </a:cubicBezTo>
                  <a:cubicBezTo>
                    <a:pt x="1466" y="22"/>
                    <a:pt x="1466" y="22"/>
                    <a:pt x="1465" y="21"/>
                  </a:cubicBezTo>
                  <a:cubicBezTo>
                    <a:pt x="1465" y="21"/>
                    <a:pt x="1465" y="21"/>
                    <a:pt x="1465" y="21"/>
                  </a:cubicBezTo>
                  <a:cubicBezTo>
                    <a:pt x="1465" y="21"/>
                    <a:pt x="1465" y="21"/>
                    <a:pt x="1465" y="21"/>
                  </a:cubicBezTo>
                  <a:cubicBezTo>
                    <a:pt x="1465" y="21"/>
                    <a:pt x="1465" y="21"/>
                    <a:pt x="1465" y="21"/>
                  </a:cubicBezTo>
                  <a:cubicBezTo>
                    <a:pt x="1465" y="21"/>
                    <a:pt x="1465" y="20"/>
                    <a:pt x="1465" y="20"/>
                  </a:cubicBezTo>
                  <a:cubicBezTo>
                    <a:pt x="1465" y="20"/>
                    <a:pt x="1465" y="20"/>
                    <a:pt x="1465" y="20"/>
                  </a:cubicBezTo>
                  <a:cubicBezTo>
                    <a:pt x="1465" y="20"/>
                    <a:pt x="1465" y="20"/>
                    <a:pt x="1464" y="19"/>
                  </a:cubicBezTo>
                  <a:cubicBezTo>
                    <a:pt x="1464" y="19"/>
                    <a:pt x="1464" y="19"/>
                    <a:pt x="1464" y="19"/>
                  </a:cubicBezTo>
                  <a:cubicBezTo>
                    <a:pt x="1464" y="19"/>
                    <a:pt x="1464" y="19"/>
                    <a:pt x="1464" y="19"/>
                  </a:cubicBezTo>
                  <a:cubicBezTo>
                    <a:pt x="1464" y="19"/>
                    <a:pt x="1464" y="19"/>
                    <a:pt x="1464" y="19"/>
                  </a:cubicBezTo>
                  <a:cubicBezTo>
                    <a:pt x="1464" y="19"/>
                    <a:pt x="1464" y="18"/>
                    <a:pt x="1464" y="18"/>
                  </a:cubicBezTo>
                  <a:cubicBezTo>
                    <a:pt x="1464" y="18"/>
                    <a:pt x="1464" y="18"/>
                    <a:pt x="1464" y="18"/>
                  </a:cubicBezTo>
                  <a:cubicBezTo>
                    <a:pt x="1463" y="18"/>
                    <a:pt x="1464" y="18"/>
                    <a:pt x="1463" y="18"/>
                  </a:cubicBezTo>
                  <a:cubicBezTo>
                    <a:pt x="1463" y="18"/>
                    <a:pt x="1463" y="18"/>
                    <a:pt x="1463" y="18"/>
                  </a:cubicBezTo>
                  <a:cubicBezTo>
                    <a:pt x="1463" y="17"/>
                    <a:pt x="1463" y="17"/>
                    <a:pt x="1463" y="17"/>
                  </a:cubicBezTo>
                  <a:cubicBezTo>
                    <a:pt x="1463" y="17"/>
                    <a:pt x="1463" y="17"/>
                    <a:pt x="1463" y="17"/>
                  </a:cubicBezTo>
                  <a:cubicBezTo>
                    <a:pt x="1463" y="17"/>
                    <a:pt x="1463" y="17"/>
                    <a:pt x="1463" y="17"/>
                  </a:cubicBezTo>
                  <a:cubicBezTo>
                    <a:pt x="1463" y="17"/>
                    <a:pt x="1463" y="17"/>
                    <a:pt x="1463" y="17"/>
                  </a:cubicBezTo>
                  <a:cubicBezTo>
                    <a:pt x="1462" y="16"/>
                    <a:pt x="1463" y="16"/>
                    <a:pt x="1462" y="16"/>
                  </a:cubicBezTo>
                  <a:cubicBezTo>
                    <a:pt x="1462" y="16"/>
                    <a:pt x="1462" y="16"/>
                    <a:pt x="1462" y="16"/>
                  </a:cubicBezTo>
                  <a:cubicBezTo>
                    <a:pt x="1462" y="16"/>
                    <a:pt x="1462" y="16"/>
                    <a:pt x="1462" y="16"/>
                  </a:cubicBezTo>
                  <a:cubicBezTo>
                    <a:pt x="1462" y="16"/>
                    <a:pt x="1462" y="16"/>
                    <a:pt x="1462" y="16"/>
                  </a:cubicBezTo>
                  <a:cubicBezTo>
                    <a:pt x="1462" y="15"/>
                    <a:pt x="1462" y="15"/>
                    <a:pt x="1462" y="15"/>
                  </a:cubicBezTo>
                  <a:cubicBezTo>
                    <a:pt x="1462" y="15"/>
                    <a:pt x="1462" y="15"/>
                    <a:pt x="1462" y="15"/>
                  </a:cubicBezTo>
                  <a:cubicBezTo>
                    <a:pt x="1461" y="15"/>
                    <a:pt x="1461" y="14"/>
                    <a:pt x="1461" y="14"/>
                  </a:cubicBezTo>
                  <a:cubicBezTo>
                    <a:pt x="1461" y="14"/>
                    <a:pt x="1461" y="14"/>
                    <a:pt x="1461" y="14"/>
                  </a:cubicBezTo>
                  <a:cubicBezTo>
                    <a:pt x="1461" y="14"/>
                    <a:pt x="1461" y="14"/>
                    <a:pt x="1461" y="14"/>
                  </a:cubicBezTo>
                  <a:cubicBezTo>
                    <a:pt x="1461" y="14"/>
                    <a:pt x="1461" y="14"/>
                    <a:pt x="1461" y="14"/>
                  </a:cubicBezTo>
                  <a:cubicBezTo>
                    <a:pt x="1460" y="14"/>
                    <a:pt x="1460" y="14"/>
                    <a:pt x="1460" y="13"/>
                  </a:cubicBezTo>
                  <a:cubicBezTo>
                    <a:pt x="1460" y="13"/>
                    <a:pt x="1460" y="13"/>
                    <a:pt x="1460" y="13"/>
                  </a:cubicBezTo>
                  <a:cubicBezTo>
                    <a:pt x="1460" y="13"/>
                    <a:pt x="1460" y="13"/>
                    <a:pt x="1460" y="13"/>
                  </a:cubicBezTo>
                  <a:cubicBezTo>
                    <a:pt x="1460" y="13"/>
                    <a:pt x="1460" y="13"/>
                    <a:pt x="1460" y="13"/>
                  </a:cubicBezTo>
                  <a:cubicBezTo>
                    <a:pt x="1460" y="13"/>
                    <a:pt x="1460" y="13"/>
                    <a:pt x="1459" y="13"/>
                  </a:cubicBezTo>
                  <a:cubicBezTo>
                    <a:pt x="1460" y="13"/>
                    <a:pt x="1460" y="13"/>
                    <a:pt x="1460" y="13"/>
                  </a:cubicBezTo>
                  <a:cubicBezTo>
                    <a:pt x="1459" y="13"/>
                    <a:pt x="1459" y="13"/>
                    <a:pt x="1459" y="12"/>
                  </a:cubicBezTo>
                  <a:cubicBezTo>
                    <a:pt x="1459" y="12"/>
                    <a:pt x="1459" y="12"/>
                    <a:pt x="1459" y="12"/>
                  </a:cubicBezTo>
                  <a:cubicBezTo>
                    <a:pt x="1459" y="12"/>
                    <a:pt x="1459" y="12"/>
                    <a:pt x="1459" y="12"/>
                  </a:cubicBezTo>
                  <a:cubicBezTo>
                    <a:pt x="1459" y="12"/>
                    <a:pt x="1459" y="12"/>
                    <a:pt x="1459" y="12"/>
                  </a:cubicBezTo>
                  <a:cubicBezTo>
                    <a:pt x="1459" y="12"/>
                    <a:pt x="1459" y="12"/>
                    <a:pt x="1458" y="12"/>
                  </a:cubicBezTo>
                  <a:cubicBezTo>
                    <a:pt x="1458" y="12"/>
                    <a:pt x="1458" y="12"/>
                    <a:pt x="1458" y="12"/>
                  </a:cubicBezTo>
                  <a:cubicBezTo>
                    <a:pt x="1458" y="12"/>
                    <a:pt x="1458" y="11"/>
                    <a:pt x="1458" y="11"/>
                  </a:cubicBezTo>
                  <a:cubicBezTo>
                    <a:pt x="1458" y="11"/>
                    <a:pt x="1458" y="11"/>
                    <a:pt x="1458" y="11"/>
                  </a:cubicBezTo>
                  <a:cubicBezTo>
                    <a:pt x="1458" y="11"/>
                    <a:pt x="1457" y="11"/>
                    <a:pt x="1457" y="11"/>
                  </a:cubicBezTo>
                  <a:cubicBezTo>
                    <a:pt x="1457" y="11"/>
                    <a:pt x="1457" y="11"/>
                    <a:pt x="1457" y="11"/>
                  </a:cubicBezTo>
                  <a:cubicBezTo>
                    <a:pt x="1457" y="11"/>
                    <a:pt x="1457" y="10"/>
                    <a:pt x="1457" y="10"/>
                  </a:cubicBezTo>
                  <a:cubicBezTo>
                    <a:pt x="1457" y="10"/>
                    <a:pt x="1457" y="10"/>
                    <a:pt x="1457" y="10"/>
                  </a:cubicBezTo>
                  <a:cubicBezTo>
                    <a:pt x="1456" y="10"/>
                    <a:pt x="1456" y="10"/>
                    <a:pt x="1456" y="10"/>
                  </a:cubicBezTo>
                  <a:cubicBezTo>
                    <a:pt x="1456" y="10"/>
                    <a:pt x="1456" y="10"/>
                    <a:pt x="1456" y="10"/>
                  </a:cubicBezTo>
                  <a:cubicBezTo>
                    <a:pt x="1456" y="9"/>
                    <a:pt x="1455" y="9"/>
                    <a:pt x="1455" y="9"/>
                  </a:cubicBezTo>
                  <a:cubicBezTo>
                    <a:pt x="1455" y="9"/>
                    <a:pt x="1455" y="9"/>
                    <a:pt x="1455" y="9"/>
                  </a:cubicBezTo>
                  <a:cubicBezTo>
                    <a:pt x="1455" y="9"/>
                    <a:pt x="1455" y="9"/>
                    <a:pt x="1455" y="9"/>
                  </a:cubicBezTo>
                  <a:cubicBezTo>
                    <a:pt x="1455" y="9"/>
                    <a:pt x="1455" y="9"/>
                    <a:pt x="1455" y="9"/>
                  </a:cubicBezTo>
                  <a:cubicBezTo>
                    <a:pt x="1454" y="9"/>
                    <a:pt x="1454" y="9"/>
                    <a:pt x="1454" y="9"/>
                  </a:cubicBezTo>
                  <a:cubicBezTo>
                    <a:pt x="1454" y="9"/>
                    <a:pt x="1454" y="9"/>
                    <a:pt x="1454" y="9"/>
                  </a:cubicBezTo>
                  <a:cubicBezTo>
                    <a:pt x="1454" y="8"/>
                    <a:pt x="1453" y="8"/>
                    <a:pt x="1453" y="8"/>
                  </a:cubicBezTo>
                  <a:cubicBezTo>
                    <a:pt x="1453" y="8"/>
                    <a:pt x="1453" y="8"/>
                    <a:pt x="1453" y="8"/>
                  </a:cubicBezTo>
                  <a:cubicBezTo>
                    <a:pt x="1453" y="8"/>
                    <a:pt x="1453" y="8"/>
                    <a:pt x="1452" y="8"/>
                  </a:cubicBezTo>
                  <a:cubicBezTo>
                    <a:pt x="1453" y="8"/>
                    <a:pt x="1453" y="8"/>
                    <a:pt x="1453" y="8"/>
                  </a:cubicBezTo>
                  <a:cubicBezTo>
                    <a:pt x="1452" y="8"/>
                    <a:pt x="1452" y="8"/>
                    <a:pt x="1452" y="8"/>
                  </a:cubicBezTo>
                  <a:cubicBezTo>
                    <a:pt x="1452" y="8"/>
                    <a:pt x="1452" y="8"/>
                    <a:pt x="1452" y="8"/>
                  </a:cubicBezTo>
                  <a:cubicBezTo>
                    <a:pt x="1451" y="7"/>
                    <a:pt x="1451" y="7"/>
                    <a:pt x="1451" y="7"/>
                  </a:cubicBezTo>
                  <a:cubicBezTo>
                    <a:pt x="1451" y="7"/>
                    <a:pt x="1451" y="7"/>
                    <a:pt x="1450" y="7"/>
                  </a:cubicBezTo>
                  <a:cubicBezTo>
                    <a:pt x="1450" y="7"/>
                    <a:pt x="1450" y="7"/>
                    <a:pt x="1450" y="7"/>
                  </a:cubicBezTo>
                  <a:cubicBezTo>
                    <a:pt x="1450" y="7"/>
                    <a:pt x="1450" y="7"/>
                    <a:pt x="1450" y="7"/>
                  </a:cubicBezTo>
                  <a:cubicBezTo>
                    <a:pt x="1449" y="7"/>
                    <a:pt x="1449" y="7"/>
                    <a:pt x="1449" y="7"/>
                  </a:cubicBezTo>
                  <a:cubicBezTo>
                    <a:pt x="1449" y="7"/>
                    <a:pt x="1449" y="7"/>
                    <a:pt x="1448" y="7"/>
                  </a:cubicBezTo>
                  <a:cubicBezTo>
                    <a:pt x="1448" y="7"/>
                    <a:pt x="1448" y="7"/>
                    <a:pt x="1448" y="6"/>
                  </a:cubicBezTo>
                  <a:cubicBezTo>
                    <a:pt x="1448" y="6"/>
                    <a:pt x="1447" y="6"/>
                    <a:pt x="1447" y="6"/>
                  </a:cubicBezTo>
                  <a:cubicBezTo>
                    <a:pt x="1446" y="6"/>
                    <a:pt x="1446" y="6"/>
                    <a:pt x="1446" y="6"/>
                  </a:cubicBezTo>
                  <a:cubicBezTo>
                    <a:pt x="1445" y="6"/>
                    <a:pt x="1445" y="6"/>
                    <a:pt x="1444" y="6"/>
                  </a:cubicBezTo>
                  <a:cubicBezTo>
                    <a:pt x="1443" y="6"/>
                    <a:pt x="1443" y="6"/>
                    <a:pt x="1442" y="6"/>
                  </a:cubicBezTo>
                  <a:cubicBezTo>
                    <a:pt x="1441" y="6"/>
                    <a:pt x="1441" y="6"/>
                    <a:pt x="1440" y="6"/>
                  </a:cubicBezTo>
                  <a:cubicBezTo>
                    <a:pt x="1440" y="6"/>
                    <a:pt x="1439" y="6"/>
                    <a:pt x="1438" y="6"/>
                  </a:cubicBezTo>
                  <a:cubicBezTo>
                    <a:pt x="1438" y="6"/>
                    <a:pt x="1437" y="6"/>
                    <a:pt x="1436" y="6"/>
                  </a:cubicBezTo>
                  <a:cubicBezTo>
                    <a:pt x="1436" y="6"/>
                    <a:pt x="1436" y="6"/>
                    <a:pt x="1436" y="6"/>
                  </a:cubicBezTo>
                  <a:cubicBezTo>
                    <a:pt x="1435" y="6"/>
                    <a:pt x="1435" y="6"/>
                    <a:pt x="1434" y="6"/>
                  </a:cubicBezTo>
                  <a:cubicBezTo>
                    <a:pt x="1434" y="7"/>
                    <a:pt x="1434" y="7"/>
                    <a:pt x="1434" y="7"/>
                  </a:cubicBezTo>
                  <a:cubicBezTo>
                    <a:pt x="1434" y="7"/>
                    <a:pt x="1434" y="7"/>
                    <a:pt x="1434" y="7"/>
                  </a:cubicBezTo>
                  <a:cubicBezTo>
                    <a:pt x="1434" y="7"/>
                    <a:pt x="1433" y="7"/>
                    <a:pt x="1433" y="7"/>
                  </a:cubicBezTo>
                  <a:close/>
                  <a:moveTo>
                    <a:pt x="1010" y="17"/>
                  </a:moveTo>
                  <a:cubicBezTo>
                    <a:pt x="1010" y="17"/>
                    <a:pt x="1010" y="17"/>
                    <a:pt x="1010" y="17"/>
                  </a:cubicBezTo>
                  <a:cubicBezTo>
                    <a:pt x="1010" y="17"/>
                    <a:pt x="1010" y="17"/>
                    <a:pt x="1010" y="17"/>
                  </a:cubicBezTo>
                  <a:cubicBezTo>
                    <a:pt x="1010" y="18"/>
                    <a:pt x="1011" y="17"/>
                    <a:pt x="1011" y="18"/>
                  </a:cubicBezTo>
                  <a:cubicBezTo>
                    <a:pt x="1011" y="18"/>
                    <a:pt x="1011" y="18"/>
                    <a:pt x="1011" y="18"/>
                  </a:cubicBezTo>
                  <a:cubicBezTo>
                    <a:pt x="1012" y="18"/>
                    <a:pt x="1012" y="18"/>
                    <a:pt x="1012" y="18"/>
                  </a:cubicBezTo>
                  <a:cubicBezTo>
                    <a:pt x="1012" y="18"/>
                    <a:pt x="1012" y="18"/>
                    <a:pt x="1013" y="18"/>
                  </a:cubicBezTo>
                  <a:cubicBezTo>
                    <a:pt x="1013" y="18"/>
                    <a:pt x="1013" y="18"/>
                    <a:pt x="1013" y="18"/>
                  </a:cubicBezTo>
                  <a:cubicBezTo>
                    <a:pt x="1013" y="18"/>
                    <a:pt x="1013" y="18"/>
                    <a:pt x="1014" y="18"/>
                  </a:cubicBezTo>
                  <a:cubicBezTo>
                    <a:pt x="1014" y="18"/>
                    <a:pt x="1014" y="18"/>
                    <a:pt x="1014" y="18"/>
                  </a:cubicBezTo>
                  <a:cubicBezTo>
                    <a:pt x="1014" y="19"/>
                    <a:pt x="1014" y="19"/>
                    <a:pt x="1014" y="19"/>
                  </a:cubicBezTo>
                  <a:cubicBezTo>
                    <a:pt x="1015" y="19"/>
                    <a:pt x="1015" y="19"/>
                    <a:pt x="1015" y="19"/>
                  </a:cubicBezTo>
                  <a:cubicBezTo>
                    <a:pt x="1015" y="19"/>
                    <a:pt x="1015" y="19"/>
                    <a:pt x="1015" y="19"/>
                  </a:cubicBezTo>
                  <a:cubicBezTo>
                    <a:pt x="1015" y="19"/>
                    <a:pt x="1015" y="19"/>
                    <a:pt x="1015" y="19"/>
                  </a:cubicBezTo>
                  <a:cubicBezTo>
                    <a:pt x="1015" y="19"/>
                    <a:pt x="1015" y="19"/>
                    <a:pt x="1015" y="19"/>
                  </a:cubicBezTo>
                  <a:cubicBezTo>
                    <a:pt x="1016" y="19"/>
                    <a:pt x="1016" y="19"/>
                    <a:pt x="1016" y="19"/>
                  </a:cubicBezTo>
                  <a:cubicBezTo>
                    <a:pt x="1016" y="19"/>
                    <a:pt x="1016" y="19"/>
                    <a:pt x="1016" y="19"/>
                  </a:cubicBezTo>
                  <a:cubicBezTo>
                    <a:pt x="1017" y="20"/>
                    <a:pt x="1017" y="20"/>
                    <a:pt x="1017" y="20"/>
                  </a:cubicBezTo>
                  <a:cubicBezTo>
                    <a:pt x="1017" y="20"/>
                    <a:pt x="1017" y="20"/>
                    <a:pt x="1017" y="20"/>
                  </a:cubicBezTo>
                  <a:cubicBezTo>
                    <a:pt x="1017" y="20"/>
                    <a:pt x="1018" y="20"/>
                    <a:pt x="1018" y="20"/>
                  </a:cubicBezTo>
                  <a:cubicBezTo>
                    <a:pt x="1018" y="20"/>
                    <a:pt x="1018" y="20"/>
                    <a:pt x="1018" y="20"/>
                  </a:cubicBezTo>
                  <a:cubicBezTo>
                    <a:pt x="1018" y="20"/>
                    <a:pt x="1018" y="20"/>
                    <a:pt x="1019" y="20"/>
                  </a:cubicBezTo>
                  <a:cubicBezTo>
                    <a:pt x="1019" y="20"/>
                    <a:pt x="1019" y="20"/>
                    <a:pt x="1019" y="20"/>
                  </a:cubicBezTo>
                  <a:cubicBezTo>
                    <a:pt x="1019" y="21"/>
                    <a:pt x="1019" y="21"/>
                    <a:pt x="1019" y="21"/>
                  </a:cubicBezTo>
                  <a:cubicBezTo>
                    <a:pt x="1019" y="21"/>
                    <a:pt x="1019" y="21"/>
                    <a:pt x="1019" y="21"/>
                  </a:cubicBezTo>
                  <a:cubicBezTo>
                    <a:pt x="1019" y="21"/>
                    <a:pt x="1020" y="21"/>
                    <a:pt x="1020" y="21"/>
                  </a:cubicBezTo>
                  <a:cubicBezTo>
                    <a:pt x="1020" y="21"/>
                    <a:pt x="1020" y="21"/>
                    <a:pt x="1020" y="21"/>
                  </a:cubicBezTo>
                  <a:cubicBezTo>
                    <a:pt x="1020" y="21"/>
                    <a:pt x="1020" y="21"/>
                    <a:pt x="1021" y="21"/>
                  </a:cubicBezTo>
                  <a:cubicBezTo>
                    <a:pt x="1021" y="21"/>
                    <a:pt x="1021" y="21"/>
                    <a:pt x="1021" y="21"/>
                  </a:cubicBezTo>
                  <a:cubicBezTo>
                    <a:pt x="1021" y="22"/>
                    <a:pt x="1021" y="22"/>
                    <a:pt x="1021" y="21"/>
                  </a:cubicBezTo>
                  <a:cubicBezTo>
                    <a:pt x="1021" y="21"/>
                    <a:pt x="1021" y="21"/>
                    <a:pt x="1021" y="21"/>
                  </a:cubicBezTo>
                  <a:cubicBezTo>
                    <a:pt x="1021" y="20"/>
                    <a:pt x="1021" y="19"/>
                    <a:pt x="1021" y="17"/>
                  </a:cubicBezTo>
                  <a:cubicBezTo>
                    <a:pt x="1021" y="15"/>
                    <a:pt x="1021" y="12"/>
                    <a:pt x="1021" y="10"/>
                  </a:cubicBezTo>
                  <a:cubicBezTo>
                    <a:pt x="1021" y="10"/>
                    <a:pt x="1021" y="10"/>
                    <a:pt x="1021" y="10"/>
                  </a:cubicBezTo>
                  <a:cubicBezTo>
                    <a:pt x="1021" y="9"/>
                    <a:pt x="1020" y="9"/>
                    <a:pt x="1020" y="9"/>
                  </a:cubicBezTo>
                  <a:cubicBezTo>
                    <a:pt x="1020" y="9"/>
                    <a:pt x="1020" y="9"/>
                    <a:pt x="1020" y="9"/>
                  </a:cubicBezTo>
                  <a:cubicBezTo>
                    <a:pt x="1020" y="9"/>
                    <a:pt x="1020" y="9"/>
                    <a:pt x="1019" y="9"/>
                  </a:cubicBezTo>
                  <a:cubicBezTo>
                    <a:pt x="1019" y="9"/>
                    <a:pt x="1019" y="9"/>
                    <a:pt x="1019" y="9"/>
                  </a:cubicBezTo>
                  <a:cubicBezTo>
                    <a:pt x="1019" y="9"/>
                    <a:pt x="1019" y="9"/>
                    <a:pt x="1019" y="9"/>
                  </a:cubicBezTo>
                  <a:cubicBezTo>
                    <a:pt x="1019" y="9"/>
                    <a:pt x="1019" y="9"/>
                    <a:pt x="1018" y="9"/>
                  </a:cubicBezTo>
                  <a:cubicBezTo>
                    <a:pt x="1018" y="9"/>
                    <a:pt x="1018" y="9"/>
                    <a:pt x="1018" y="9"/>
                  </a:cubicBezTo>
                  <a:cubicBezTo>
                    <a:pt x="1018" y="8"/>
                    <a:pt x="1018" y="9"/>
                    <a:pt x="1017" y="8"/>
                  </a:cubicBezTo>
                  <a:cubicBezTo>
                    <a:pt x="1017" y="8"/>
                    <a:pt x="1017" y="8"/>
                    <a:pt x="1017" y="8"/>
                  </a:cubicBezTo>
                  <a:cubicBezTo>
                    <a:pt x="1017" y="8"/>
                    <a:pt x="1017" y="8"/>
                    <a:pt x="1016" y="8"/>
                  </a:cubicBezTo>
                  <a:cubicBezTo>
                    <a:pt x="1016" y="8"/>
                    <a:pt x="1016" y="8"/>
                    <a:pt x="1016" y="8"/>
                  </a:cubicBezTo>
                  <a:cubicBezTo>
                    <a:pt x="1016" y="8"/>
                    <a:pt x="1015" y="8"/>
                    <a:pt x="1015" y="8"/>
                  </a:cubicBezTo>
                  <a:cubicBezTo>
                    <a:pt x="1015" y="8"/>
                    <a:pt x="1015" y="8"/>
                    <a:pt x="1015" y="7"/>
                  </a:cubicBezTo>
                  <a:cubicBezTo>
                    <a:pt x="1014" y="7"/>
                    <a:pt x="1014" y="7"/>
                    <a:pt x="1014" y="7"/>
                  </a:cubicBezTo>
                  <a:cubicBezTo>
                    <a:pt x="1013" y="7"/>
                    <a:pt x="1013" y="7"/>
                    <a:pt x="1013" y="7"/>
                  </a:cubicBezTo>
                  <a:cubicBezTo>
                    <a:pt x="1013" y="7"/>
                    <a:pt x="1012" y="7"/>
                    <a:pt x="1012" y="7"/>
                  </a:cubicBezTo>
                  <a:cubicBezTo>
                    <a:pt x="1012" y="7"/>
                    <a:pt x="1012" y="7"/>
                    <a:pt x="1012" y="7"/>
                  </a:cubicBezTo>
                  <a:cubicBezTo>
                    <a:pt x="1011" y="7"/>
                    <a:pt x="1010" y="7"/>
                    <a:pt x="1010" y="7"/>
                  </a:cubicBezTo>
                  <a:cubicBezTo>
                    <a:pt x="1010" y="7"/>
                    <a:pt x="1010" y="7"/>
                    <a:pt x="1009" y="6"/>
                  </a:cubicBezTo>
                  <a:cubicBezTo>
                    <a:pt x="1009" y="6"/>
                    <a:pt x="1008" y="7"/>
                    <a:pt x="1007" y="6"/>
                  </a:cubicBezTo>
                  <a:cubicBezTo>
                    <a:pt x="1007" y="6"/>
                    <a:pt x="1007" y="6"/>
                    <a:pt x="1007" y="6"/>
                  </a:cubicBezTo>
                  <a:cubicBezTo>
                    <a:pt x="1005" y="6"/>
                    <a:pt x="1004" y="6"/>
                    <a:pt x="1003" y="6"/>
                  </a:cubicBezTo>
                  <a:cubicBezTo>
                    <a:pt x="1002" y="6"/>
                    <a:pt x="1001" y="6"/>
                    <a:pt x="1000" y="6"/>
                  </a:cubicBezTo>
                  <a:cubicBezTo>
                    <a:pt x="999" y="6"/>
                    <a:pt x="999" y="6"/>
                    <a:pt x="998" y="6"/>
                  </a:cubicBezTo>
                  <a:cubicBezTo>
                    <a:pt x="997" y="6"/>
                    <a:pt x="996" y="6"/>
                    <a:pt x="995" y="6"/>
                  </a:cubicBezTo>
                  <a:cubicBezTo>
                    <a:pt x="994" y="6"/>
                    <a:pt x="993" y="6"/>
                    <a:pt x="992" y="6"/>
                  </a:cubicBezTo>
                  <a:cubicBezTo>
                    <a:pt x="992" y="6"/>
                    <a:pt x="992" y="6"/>
                    <a:pt x="992" y="6"/>
                  </a:cubicBezTo>
                  <a:cubicBezTo>
                    <a:pt x="991" y="7"/>
                    <a:pt x="990" y="6"/>
                    <a:pt x="990" y="6"/>
                  </a:cubicBezTo>
                  <a:cubicBezTo>
                    <a:pt x="990" y="7"/>
                    <a:pt x="990" y="7"/>
                    <a:pt x="990" y="7"/>
                  </a:cubicBezTo>
                  <a:cubicBezTo>
                    <a:pt x="989" y="7"/>
                    <a:pt x="989" y="7"/>
                    <a:pt x="989" y="7"/>
                  </a:cubicBezTo>
                  <a:cubicBezTo>
                    <a:pt x="989" y="7"/>
                    <a:pt x="988" y="6"/>
                    <a:pt x="988" y="7"/>
                  </a:cubicBezTo>
                  <a:cubicBezTo>
                    <a:pt x="988" y="7"/>
                    <a:pt x="988" y="7"/>
                    <a:pt x="988" y="7"/>
                  </a:cubicBezTo>
                  <a:cubicBezTo>
                    <a:pt x="987" y="7"/>
                    <a:pt x="987" y="7"/>
                    <a:pt x="986" y="7"/>
                  </a:cubicBezTo>
                  <a:cubicBezTo>
                    <a:pt x="986" y="7"/>
                    <a:pt x="986" y="7"/>
                    <a:pt x="986" y="7"/>
                  </a:cubicBezTo>
                  <a:cubicBezTo>
                    <a:pt x="986" y="7"/>
                    <a:pt x="985" y="7"/>
                    <a:pt x="985" y="8"/>
                  </a:cubicBezTo>
                  <a:cubicBezTo>
                    <a:pt x="985" y="8"/>
                    <a:pt x="985" y="8"/>
                    <a:pt x="985" y="8"/>
                  </a:cubicBezTo>
                  <a:cubicBezTo>
                    <a:pt x="984" y="8"/>
                    <a:pt x="984" y="8"/>
                    <a:pt x="984" y="8"/>
                  </a:cubicBezTo>
                  <a:cubicBezTo>
                    <a:pt x="984" y="8"/>
                    <a:pt x="984" y="8"/>
                    <a:pt x="984" y="8"/>
                  </a:cubicBezTo>
                  <a:cubicBezTo>
                    <a:pt x="983" y="8"/>
                    <a:pt x="983" y="8"/>
                    <a:pt x="983" y="8"/>
                  </a:cubicBezTo>
                  <a:cubicBezTo>
                    <a:pt x="983" y="8"/>
                    <a:pt x="983" y="8"/>
                    <a:pt x="983" y="8"/>
                  </a:cubicBezTo>
                  <a:cubicBezTo>
                    <a:pt x="982" y="9"/>
                    <a:pt x="982" y="8"/>
                    <a:pt x="982" y="9"/>
                  </a:cubicBezTo>
                  <a:cubicBezTo>
                    <a:pt x="982" y="9"/>
                    <a:pt x="982" y="9"/>
                    <a:pt x="982" y="9"/>
                  </a:cubicBezTo>
                  <a:cubicBezTo>
                    <a:pt x="981" y="9"/>
                    <a:pt x="981" y="9"/>
                    <a:pt x="981" y="9"/>
                  </a:cubicBezTo>
                  <a:cubicBezTo>
                    <a:pt x="981" y="9"/>
                    <a:pt x="981" y="9"/>
                    <a:pt x="981" y="9"/>
                  </a:cubicBezTo>
                  <a:cubicBezTo>
                    <a:pt x="980" y="9"/>
                    <a:pt x="980" y="9"/>
                    <a:pt x="980" y="9"/>
                  </a:cubicBezTo>
                  <a:cubicBezTo>
                    <a:pt x="980" y="9"/>
                    <a:pt x="980" y="9"/>
                    <a:pt x="980" y="9"/>
                  </a:cubicBezTo>
                  <a:cubicBezTo>
                    <a:pt x="980" y="9"/>
                    <a:pt x="979" y="9"/>
                    <a:pt x="979" y="10"/>
                  </a:cubicBezTo>
                  <a:cubicBezTo>
                    <a:pt x="979" y="10"/>
                    <a:pt x="979" y="10"/>
                    <a:pt x="979" y="10"/>
                  </a:cubicBezTo>
                  <a:cubicBezTo>
                    <a:pt x="979" y="10"/>
                    <a:pt x="978" y="10"/>
                    <a:pt x="978" y="10"/>
                  </a:cubicBezTo>
                  <a:cubicBezTo>
                    <a:pt x="978" y="10"/>
                    <a:pt x="978" y="10"/>
                    <a:pt x="978" y="10"/>
                  </a:cubicBezTo>
                  <a:cubicBezTo>
                    <a:pt x="978" y="10"/>
                    <a:pt x="978" y="10"/>
                    <a:pt x="977" y="10"/>
                  </a:cubicBezTo>
                  <a:cubicBezTo>
                    <a:pt x="977" y="10"/>
                    <a:pt x="977" y="10"/>
                    <a:pt x="977" y="10"/>
                  </a:cubicBezTo>
                  <a:cubicBezTo>
                    <a:pt x="977" y="11"/>
                    <a:pt x="977" y="10"/>
                    <a:pt x="977" y="11"/>
                  </a:cubicBezTo>
                  <a:cubicBezTo>
                    <a:pt x="977" y="11"/>
                    <a:pt x="977" y="11"/>
                    <a:pt x="977" y="11"/>
                  </a:cubicBezTo>
                  <a:cubicBezTo>
                    <a:pt x="977" y="11"/>
                    <a:pt x="976" y="11"/>
                    <a:pt x="976" y="11"/>
                  </a:cubicBezTo>
                  <a:cubicBezTo>
                    <a:pt x="976" y="11"/>
                    <a:pt x="976" y="11"/>
                    <a:pt x="976" y="11"/>
                  </a:cubicBezTo>
                  <a:cubicBezTo>
                    <a:pt x="976" y="11"/>
                    <a:pt x="976" y="11"/>
                    <a:pt x="975" y="11"/>
                  </a:cubicBezTo>
                  <a:cubicBezTo>
                    <a:pt x="975" y="11"/>
                    <a:pt x="975" y="11"/>
                    <a:pt x="975" y="11"/>
                  </a:cubicBezTo>
                  <a:cubicBezTo>
                    <a:pt x="975" y="12"/>
                    <a:pt x="975" y="11"/>
                    <a:pt x="975" y="12"/>
                  </a:cubicBezTo>
                  <a:cubicBezTo>
                    <a:pt x="975" y="12"/>
                    <a:pt x="975" y="12"/>
                    <a:pt x="975" y="12"/>
                  </a:cubicBezTo>
                  <a:cubicBezTo>
                    <a:pt x="974" y="12"/>
                    <a:pt x="974" y="12"/>
                    <a:pt x="974" y="12"/>
                  </a:cubicBezTo>
                  <a:cubicBezTo>
                    <a:pt x="974" y="12"/>
                    <a:pt x="974" y="12"/>
                    <a:pt x="974" y="12"/>
                  </a:cubicBezTo>
                  <a:cubicBezTo>
                    <a:pt x="974" y="12"/>
                    <a:pt x="974" y="12"/>
                    <a:pt x="974" y="12"/>
                  </a:cubicBezTo>
                  <a:cubicBezTo>
                    <a:pt x="974" y="12"/>
                    <a:pt x="974" y="12"/>
                    <a:pt x="974" y="12"/>
                  </a:cubicBezTo>
                  <a:cubicBezTo>
                    <a:pt x="973" y="13"/>
                    <a:pt x="973" y="13"/>
                    <a:pt x="973" y="13"/>
                  </a:cubicBezTo>
                  <a:cubicBezTo>
                    <a:pt x="973" y="13"/>
                    <a:pt x="973" y="13"/>
                    <a:pt x="973" y="13"/>
                  </a:cubicBezTo>
                  <a:cubicBezTo>
                    <a:pt x="973" y="13"/>
                    <a:pt x="972" y="13"/>
                    <a:pt x="972" y="13"/>
                  </a:cubicBezTo>
                  <a:cubicBezTo>
                    <a:pt x="972" y="13"/>
                    <a:pt x="972" y="13"/>
                    <a:pt x="972" y="13"/>
                  </a:cubicBezTo>
                  <a:cubicBezTo>
                    <a:pt x="972" y="13"/>
                    <a:pt x="972" y="13"/>
                    <a:pt x="972" y="13"/>
                  </a:cubicBezTo>
                  <a:cubicBezTo>
                    <a:pt x="972" y="13"/>
                    <a:pt x="972" y="13"/>
                    <a:pt x="972" y="13"/>
                  </a:cubicBezTo>
                  <a:cubicBezTo>
                    <a:pt x="972" y="14"/>
                    <a:pt x="971" y="14"/>
                    <a:pt x="971" y="14"/>
                  </a:cubicBezTo>
                  <a:cubicBezTo>
                    <a:pt x="971" y="14"/>
                    <a:pt x="971" y="14"/>
                    <a:pt x="971" y="14"/>
                  </a:cubicBezTo>
                  <a:cubicBezTo>
                    <a:pt x="971" y="14"/>
                    <a:pt x="971" y="14"/>
                    <a:pt x="971" y="14"/>
                  </a:cubicBezTo>
                  <a:cubicBezTo>
                    <a:pt x="971" y="14"/>
                    <a:pt x="971" y="14"/>
                    <a:pt x="971" y="14"/>
                  </a:cubicBezTo>
                  <a:cubicBezTo>
                    <a:pt x="971" y="14"/>
                    <a:pt x="971" y="14"/>
                    <a:pt x="970" y="14"/>
                  </a:cubicBezTo>
                  <a:cubicBezTo>
                    <a:pt x="970" y="14"/>
                    <a:pt x="970" y="14"/>
                    <a:pt x="970" y="14"/>
                  </a:cubicBezTo>
                  <a:cubicBezTo>
                    <a:pt x="970" y="15"/>
                    <a:pt x="970" y="15"/>
                    <a:pt x="970" y="15"/>
                  </a:cubicBezTo>
                  <a:cubicBezTo>
                    <a:pt x="970" y="15"/>
                    <a:pt x="970" y="15"/>
                    <a:pt x="970" y="15"/>
                  </a:cubicBezTo>
                  <a:cubicBezTo>
                    <a:pt x="970" y="15"/>
                    <a:pt x="970" y="15"/>
                    <a:pt x="969" y="15"/>
                  </a:cubicBezTo>
                  <a:cubicBezTo>
                    <a:pt x="969" y="15"/>
                    <a:pt x="969" y="15"/>
                    <a:pt x="969" y="15"/>
                  </a:cubicBezTo>
                  <a:cubicBezTo>
                    <a:pt x="969" y="15"/>
                    <a:pt x="969" y="16"/>
                    <a:pt x="968" y="16"/>
                  </a:cubicBezTo>
                  <a:cubicBezTo>
                    <a:pt x="968" y="16"/>
                    <a:pt x="968" y="16"/>
                    <a:pt x="968" y="16"/>
                  </a:cubicBezTo>
                  <a:cubicBezTo>
                    <a:pt x="968" y="16"/>
                    <a:pt x="968" y="16"/>
                    <a:pt x="968" y="16"/>
                  </a:cubicBezTo>
                  <a:cubicBezTo>
                    <a:pt x="968" y="16"/>
                    <a:pt x="968" y="16"/>
                    <a:pt x="968" y="16"/>
                  </a:cubicBezTo>
                  <a:cubicBezTo>
                    <a:pt x="968" y="16"/>
                    <a:pt x="968" y="16"/>
                    <a:pt x="968" y="17"/>
                  </a:cubicBezTo>
                  <a:cubicBezTo>
                    <a:pt x="968" y="17"/>
                    <a:pt x="968" y="17"/>
                    <a:pt x="968" y="17"/>
                  </a:cubicBezTo>
                  <a:cubicBezTo>
                    <a:pt x="968" y="17"/>
                    <a:pt x="967" y="17"/>
                    <a:pt x="967" y="17"/>
                  </a:cubicBezTo>
                  <a:cubicBezTo>
                    <a:pt x="967" y="17"/>
                    <a:pt x="967" y="17"/>
                    <a:pt x="967" y="17"/>
                  </a:cubicBezTo>
                  <a:cubicBezTo>
                    <a:pt x="967" y="17"/>
                    <a:pt x="967" y="17"/>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5" y="18"/>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4" y="19"/>
                    <a:pt x="964" y="20"/>
                    <a:pt x="964" y="20"/>
                  </a:cubicBezTo>
                  <a:cubicBezTo>
                    <a:pt x="964" y="20"/>
                    <a:pt x="964" y="20"/>
                    <a:pt x="964" y="20"/>
                  </a:cubicBezTo>
                  <a:cubicBezTo>
                    <a:pt x="964" y="20"/>
                    <a:pt x="964" y="20"/>
                    <a:pt x="964" y="20"/>
                  </a:cubicBezTo>
                  <a:cubicBezTo>
                    <a:pt x="964" y="20"/>
                    <a:pt x="964" y="20"/>
                    <a:pt x="964" y="20"/>
                  </a:cubicBezTo>
                  <a:cubicBezTo>
                    <a:pt x="964" y="20"/>
                    <a:pt x="964" y="20"/>
                    <a:pt x="964" y="21"/>
                  </a:cubicBezTo>
                  <a:cubicBezTo>
                    <a:pt x="964" y="20"/>
                    <a:pt x="964" y="20"/>
                    <a:pt x="964" y="20"/>
                  </a:cubicBezTo>
                  <a:cubicBezTo>
                    <a:pt x="963" y="21"/>
                    <a:pt x="963" y="21"/>
                    <a:pt x="963" y="21"/>
                  </a:cubicBezTo>
                  <a:cubicBezTo>
                    <a:pt x="963" y="21"/>
                    <a:pt x="963" y="21"/>
                    <a:pt x="963" y="21"/>
                  </a:cubicBezTo>
                  <a:cubicBezTo>
                    <a:pt x="963" y="22"/>
                    <a:pt x="963" y="22"/>
                    <a:pt x="962" y="22"/>
                  </a:cubicBezTo>
                  <a:cubicBezTo>
                    <a:pt x="962" y="22"/>
                    <a:pt x="962" y="22"/>
                    <a:pt x="962" y="22"/>
                  </a:cubicBezTo>
                  <a:cubicBezTo>
                    <a:pt x="962" y="22"/>
                    <a:pt x="962" y="22"/>
                    <a:pt x="962" y="22"/>
                  </a:cubicBezTo>
                  <a:cubicBezTo>
                    <a:pt x="962" y="22"/>
                    <a:pt x="962" y="22"/>
                    <a:pt x="962" y="22"/>
                  </a:cubicBezTo>
                  <a:cubicBezTo>
                    <a:pt x="962" y="22"/>
                    <a:pt x="962" y="22"/>
                    <a:pt x="962" y="23"/>
                  </a:cubicBezTo>
                  <a:cubicBezTo>
                    <a:pt x="962" y="23"/>
                    <a:pt x="962" y="23"/>
                    <a:pt x="962" y="23"/>
                  </a:cubicBezTo>
                  <a:cubicBezTo>
                    <a:pt x="961" y="23"/>
                    <a:pt x="961" y="23"/>
                    <a:pt x="961" y="24"/>
                  </a:cubicBezTo>
                  <a:cubicBezTo>
                    <a:pt x="961" y="24"/>
                    <a:pt x="961" y="24"/>
                    <a:pt x="961" y="24"/>
                  </a:cubicBezTo>
                  <a:cubicBezTo>
                    <a:pt x="961" y="24"/>
                    <a:pt x="961" y="24"/>
                    <a:pt x="961" y="24"/>
                  </a:cubicBezTo>
                  <a:cubicBezTo>
                    <a:pt x="961" y="24"/>
                    <a:pt x="961" y="24"/>
                    <a:pt x="961" y="24"/>
                  </a:cubicBezTo>
                  <a:cubicBezTo>
                    <a:pt x="961" y="24"/>
                    <a:pt x="960" y="24"/>
                    <a:pt x="960" y="24"/>
                  </a:cubicBezTo>
                  <a:cubicBezTo>
                    <a:pt x="960" y="24"/>
                    <a:pt x="960" y="24"/>
                    <a:pt x="960" y="24"/>
                  </a:cubicBezTo>
                  <a:cubicBezTo>
                    <a:pt x="960" y="24"/>
                    <a:pt x="960" y="25"/>
                    <a:pt x="960" y="25"/>
                  </a:cubicBezTo>
                  <a:cubicBezTo>
                    <a:pt x="960" y="25"/>
                    <a:pt x="960" y="25"/>
                    <a:pt x="960" y="25"/>
                  </a:cubicBezTo>
                  <a:cubicBezTo>
                    <a:pt x="960" y="25"/>
                    <a:pt x="960" y="25"/>
                    <a:pt x="960" y="25"/>
                  </a:cubicBezTo>
                  <a:cubicBezTo>
                    <a:pt x="960" y="25"/>
                    <a:pt x="960" y="25"/>
                    <a:pt x="960" y="25"/>
                  </a:cubicBezTo>
                  <a:cubicBezTo>
                    <a:pt x="959" y="25"/>
                    <a:pt x="960" y="26"/>
                    <a:pt x="959" y="26"/>
                  </a:cubicBezTo>
                  <a:cubicBezTo>
                    <a:pt x="959" y="26"/>
                    <a:pt x="959" y="26"/>
                    <a:pt x="959" y="26"/>
                  </a:cubicBezTo>
                  <a:cubicBezTo>
                    <a:pt x="959" y="26"/>
                    <a:pt x="959" y="26"/>
                    <a:pt x="959" y="26"/>
                  </a:cubicBezTo>
                  <a:cubicBezTo>
                    <a:pt x="959" y="26"/>
                    <a:pt x="959" y="26"/>
                    <a:pt x="959" y="26"/>
                  </a:cubicBezTo>
                  <a:cubicBezTo>
                    <a:pt x="959" y="26"/>
                    <a:pt x="959" y="27"/>
                    <a:pt x="959" y="27"/>
                  </a:cubicBezTo>
                  <a:cubicBezTo>
                    <a:pt x="959" y="27"/>
                    <a:pt x="959" y="27"/>
                    <a:pt x="959" y="27"/>
                  </a:cubicBezTo>
                  <a:cubicBezTo>
                    <a:pt x="958" y="27"/>
                    <a:pt x="958" y="27"/>
                    <a:pt x="958" y="27"/>
                  </a:cubicBezTo>
                  <a:cubicBezTo>
                    <a:pt x="958" y="27"/>
                    <a:pt x="958" y="27"/>
                    <a:pt x="958" y="27"/>
                  </a:cubicBezTo>
                  <a:cubicBezTo>
                    <a:pt x="958" y="28"/>
                    <a:pt x="958" y="28"/>
                    <a:pt x="958" y="28"/>
                  </a:cubicBezTo>
                  <a:cubicBezTo>
                    <a:pt x="958" y="28"/>
                    <a:pt x="958" y="28"/>
                    <a:pt x="958" y="28"/>
                  </a:cubicBezTo>
                  <a:cubicBezTo>
                    <a:pt x="958" y="28"/>
                    <a:pt x="958" y="29"/>
                    <a:pt x="958" y="29"/>
                  </a:cubicBezTo>
                  <a:cubicBezTo>
                    <a:pt x="958" y="29"/>
                    <a:pt x="958" y="29"/>
                    <a:pt x="958" y="29"/>
                  </a:cubicBezTo>
                  <a:cubicBezTo>
                    <a:pt x="957" y="29"/>
                    <a:pt x="957" y="29"/>
                    <a:pt x="957" y="29"/>
                  </a:cubicBezTo>
                  <a:cubicBezTo>
                    <a:pt x="957" y="29"/>
                    <a:pt x="957" y="29"/>
                    <a:pt x="957" y="29"/>
                  </a:cubicBezTo>
                  <a:cubicBezTo>
                    <a:pt x="957" y="30"/>
                    <a:pt x="957" y="30"/>
                    <a:pt x="957" y="30"/>
                  </a:cubicBezTo>
                  <a:cubicBezTo>
                    <a:pt x="957" y="30"/>
                    <a:pt x="957" y="30"/>
                    <a:pt x="957" y="30"/>
                  </a:cubicBezTo>
                  <a:cubicBezTo>
                    <a:pt x="957" y="30"/>
                    <a:pt x="957" y="30"/>
                    <a:pt x="957" y="30"/>
                  </a:cubicBezTo>
                  <a:cubicBezTo>
                    <a:pt x="957" y="30"/>
                    <a:pt x="957" y="30"/>
                    <a:pt x="957" y="31"/>
                  </a:cubicBezTo>
                  <a:cubicBezTo>
                    <a:pt x="957" y="31"/>
                    <a:pt x="957" y="31"/>
                    <a:pt x="957" y="31"/>
                  </a:cubicBezTo>
                  <a:cubicBezTo>
                    <a:pt x="956" y="31"/>
                    <a:pt x="956" y="31"/>
                    <a:pt x="956" y="31"/>
                  </a:cubicBezTo>
                  <a:cubicBezTo>
                    <a:pt x="956" y="31"/>
                    <a:pt x="956" y="31"/>
                    <a:pt x="956" y="31"/>
                  </a:cubicBezTo>
                  <a:cubicBezTo>
                    <a:pt x="956" y="31"/>
                    <a:pt x="956" y="32"/>
                    <a:pt x="956" y="32"/>
                  </a:cubicBezTo>
                  <a:cubicBezTo>
                    <a:pt x="956" y="32"/>
                    <a:pt x="956" y="32"/>
                    <a:pt x="956" y="32"/>
                  </a:cubicBezTo>
                  <a:cubicBezTo>
                    <a:pt x="956" y="32"/>
                    <a:pt x="956" y="32"/>
                    <a:pt x="956" y="32"/>
                  </a:cubicBezTo>
                  <a:cubicBezTo>
                    <a:pt x="956" y="32"/>
                    <a:pt x="956" y="33"/>
                    <a:pt x="956" y="33"/>
                  </a:cubicBezTo>
                  <a:cubicBezTo>
                    <a:pt x="956" y="33"/>
                    <a:pt x="956" y="33"/>
                    <a:pt x="956" y="33"/>
                  </a:cubicBezTo>
                  <a:cubicBezTo>
                    <a:pt x="955" y="33"/>
                    <a:pt x="955" y="33"/>
                    <a:pt x="955" y="33"/>
                  </a:cubicBezTo>
                  <a:cubicBezTo>
                    <a:pt x="955" y="33"/>
                    <a:pt x="955" y="33"/>
                    <a:pt x="955" y="34"/>
                  </a:cubicBezTo>
                  <a:cubicBezTo>
                    <a:pt x="955" y="34"/>
                    <a:pt x="955" y="34"/>
                    <a:pt x="955" y="34"/>
                  </a:cubicBezTo>
                  <a:cubicBezTo>
                    <a:pt x="955" y="34"/>
                    <a:pt x="955" y="34"/>
                    <a:pt x="955" y="34"/>
                  </a:cubicBezTo>
                  <a:cubicBezTo>
                    <a:pt x="955" y="34"/>
                    <a:pt x="955" y="34"/>
                    <a:pt x="955" y="34"/>
                  </a:cubicBezTo>
                  <a:cubicBezTo>
                    <a:pt x="955" y="35"/>
                    <a:pt x="955" y="35"/>
                    <a:pt x="954" y="35"/>
                  </a:cubicBezTo>
                  <a:cubicBezTo>
                    <a:pt x="955" y="35"/>
                    <a:pt x="955" y="35"/>
                    <a:pt x="955" y="35"/>
                  </a:cubicBezTo>
                  <a:cubicBezTo>
                    <a:pt x="954" y="35"/>
                    <a:pt x="954" y="35"/>
                    <a:pt x="954" y="35"/>
                  </a:cubicBezTo>
                  <a:cubicBezTo>
                    <a:pt x="954" y="36"/>
                    <a:pt x="954" y="36"/>
                    <a:pt x="954" y="36"/>
                  </a:cubicBezTo>
                  <a:cubicBezTo>
                    <a:pt x="954" y="36"/>
                    <a:pt x="954" y="36"/>
                    <a:pt x="954" y="36"/>
                  </a:cubicBezTo>
                  <a:cubicBezTo>
                    <a:pt x="954" y="36"/>
                    <a:pt x="954" y="37"/>
                    <a:pt x="954" y="37"/>
                  </a:cubicBezTo>
                  <a:cubicBezTo>
                    <a:pt x="954" y="37"/>
                    <a:pt x="954" y="37"/>
                    <a:pt x="954" y="37"/>
                  </a:cubicBezTo>
                  <a:cubicBezTo>
                    <a:pt x="953" y="37"/>
                    <a:pt x="954" y="38"/>
                    <a:pt x="953" y="38"/>
                  </a:cubicBezTo>
                  <a:cubicBezTo>
                    <a:pt x="953" y="38"/>
                    <a:pt x="953" y="38"/>
                    <a:pt x="953" y="38"/>
                  </a:cubicBezTo>
                  <a:cubicBezTo>
                    <a:pt x="953" y="38"/>
                    <a:pt x="953" y="39"/>
                    <a:pt x="953" y="39"/>
                  </a:cubicBezTo>
                  <a:cubicBezTo>
                    <a:pt x="953" y="39"/>
                    <a:pt x="953" y="39"/>
                    <a:pt x="953" y="39"/>
                  </a:cubicBezTo>
                  <a:cubicBezTo>
                    <a:pt x="953" y="40"/>
                    <a:pt x="953" y="40"/>
                    <a:pt x="953" y="40"/>
                  </a:cubicBezTo>
                  <a:cubicBezTo>
                    <a:pt x="953" y="41"/>
                    <a:pt x="953" y="41"/>
                    <a:pt x="953" y="41"/>
                  </a:cubicBezTo>
                  <a:cubicBezTo>
                    <a:pt x="953" y="41"/>
                    <a:pt x="953" y="41"/>
                    <a:pt x="953" y="41"/>
                  </a:cubicBezTo>
                  <a:cubicBezTo>
                    <a:pt x="952" y="41"/>
                    <a:pt x="953" y="41"/>
                    <a:pt x="952" y="42"/>
                  </a:cubicBezTo>
                  <a:cubicBezTo>
                    <a:pt x="952" y="42"/>
                    <a:pt x="952" y="42"/>
                    <a:pt x="952" y="42"/>
                  </a:cubicBezTo>
                  <a:cubicBezTo>
                    <a:pt x="952" y="42"/>
                    <a:pt x="952" y="43"/>
                    <a:pt x="952" y="43"/>
                  </a:cubicBezTo>
                  <a:cubicBezTo>
                    <a:pt x="952" y="43"/>
                    <a:pt x="952" y="43"/>
                    <a:pt x="952" y="43"/>
                  </a:cubicBezTo>
                  <a:cubicBezTo>
                    <a:pt x="952" y="43"/>
                    <a:pt x="952" y="43"/>
                    <a:pt x="952" y="43"/>
                  </a:cubicBezTo>
                  <a:cubicBezTo>
                    <a:pt x="952" y="44"/>
                    <a:pt x="952" y="44"/>
                    <a:pt x="952" y="45"/>
                  </a:cubicBezTo>
                  <a:cubicBezTo>
                    <a:pt x="952" y="45"/>
                    <a:pt x="952" y="45"/>
                    <a:pt x="952" y="45"/>
                  </a:cubicBezTo>
                  <a:cubicBezTo>
                    <a:pt x="951" y="46"/>
                    <a:pt x="952" y="46"/>
                    <a:pt x="951" y="47"/>
                  </a:cubicBezTo>
                  <a:cubicBezTo>
                    <a:pt x="951" y="47"/>
                    <a:pt x="951" y="47"/>
                    <a:pt x="951" y="48"/>
                  </a:cubicBezTo>
                  <a:cubicBezTo>
                    <a:pt x="951" y="48"/>
                    <a:pt x="951" y="49"/>
                    <a:pt x="951" y="50"/>
                  </a:cubicBezTo>
                  <a:cubicBezTo>
                    <a:pt x="951" y="50"/>
                    <a:pt x="951" y="50"/>
                    <a:pt x="951" y="50"/>
                  </a:cubicBezTo>
                  <a:cubicBezTo>
                    <a:pt x="951" y="54"/>
                    <a:pt x="951" y="58"/>
                    <a:pt x="951" y="62"/>
                  </a:cubicBezTo>
                  <a:cubicBezTo>
                    <a:pt x="951" y="62"/>
                    <a:pt x="951" y="63"/>
                    <a:pt x="951" y="63"/>
                  </a:cubicBezTo>
                  <a:cubicBezTo>
                    <a:pt x="951" y="63"/>
                    <a:pt x="951" y="64"/>
                    <a:pt x="951" y="65"/>
                  </a:cubicBezTo>
                  <a:cubicBezTo>
                    <a:pt x="951" y="65"/>
                    <a:pt x="951" y="65"/>
                    <a:pt x="951" y="66"/>
                  </a:cubicBezTo>
                  <a:cubicBezTo>
                    <a:pt x="952" y="66"/>
                    <a:pt x="951" y="67"/>
                    <a:pt x="952" y="67"/>
                  </a:cubicBezTo>
                  <a:cubicBezTo>
                    <a:pt x="952" y="67"/>
                    <a:pt x="952" y="67"/>
                    <a:pt x="952" y="67"/>
                  </a:cubicBezTo>
                  <a:cubicBezTo>
                    <a:pt x="952" y="68"/>
                    <a:pt x="952" y="68"/>
                    <a:pt x="952" y="68"/>
                  </a:cubicBezTo>
                  <a:cubicBezTo>
                    <a:pt x="952" y="68"/>
                    <a:pt x="952" y="69"/>
                    <a:pt x="952" y="69"/>
                  </a:cubicBezTo>
                  <a:cubicBezTo>
                    <a:pt x="952" y="69"/>
                    <a:pt x="952" y="69"/>
                    <a:pt x="952" y="69"/>
                  </a:cubicBezTo>
                  <a:cubicBezTo>
                    <a:pt x="952" y="69"/>
                    <a:pt x="952" y="69"/>
                    <a:pt x="952" y="69"/>
                  </a:cubicBezTo>
                  <a:cubicBezTo>
                    <a:pt x="952" y="70"/>
                    <a:pt x="952" y="70"/>
                    <a:pt x="952" y="71"/>
                  </a:cubicBezTo>
                  <a:cubicBezTo>
                    <a:pt x="952" y="71"/>
                    <a:pt x="952" y="71"/>
                    <a:pt x="952" y="71"/>
                  </a:cubicBezTo>
                  <a:cubicBezTo>
                    <a:pt x="952" y="71"/>
                    <a:pt x="952" y="71"/>
                    <a:pt x="952" y="71"/>
                  </a:cubicBezTo>
                  <a:cubicBezTo>
                    <a:pt x="953" y="71"/>
                    <a:pt x="952" y="72"/>
                    <a:pt x="953" y="72"/>
                  </a:cubicBezTo>
                  <a:cubicBezTo>
                    <a:pt x="953" y="72"/>
                    <a:pt x="953" y="72"/>
                    <a:pt x="953" y="72"/>
                  </a:cubicBezTo>
                  <a:cubicBezTo>
                    <a:pt x="953" y="72"/>
                    <a:pt x="953" y="73"/>
                    <a:pt x="953" y="73"/>
                  </a:cubicBezTo>
                  <a:cubicBezTo>
                    <a:pt x="953" y="73"/>
                    <a:pt x="953" y="73"/>
                    <a:pt x="953" y="73"/>
                  </a:cubicBezTo>
                  <a:cubicBezTo>
                    <a:pt x="953" y="73"/>
                    <a:pt x="953" y="74"/>
                    <a:pt x="953" y="74"/>
                  </a:cubicBezTo>
                  <a:cubicBezTo>
                    <a:pt x="953" y="74"/>
                    <a:pt x="953" y="74"/>
                    <a:pt x="953" y="74"/>
                  </a:cubicBezTo>
                  <a:cubicBezTo>
                    <a:pt x="954" y="75"/>
                    <a:pt x="954" y="75"/>
                    <a:pt x="954" y="75"/>
                  </a:cubicBezTo>
                  <a:cubicBezTo>
                    <a:pt x="954" y="75"/>
                    <a:pt x="954" y="75"/>
                    <a:pt x="954" y="75"/>
                  </a:cubicBezTo>
                  <a:cubicBezTo>
                    <a:pt x="954" y="76"/>
                    <a:pt x="954" y="76"/>
                    <a:pt x="954" y="76"/>
                  </a:cubicBezTo>
                  <a:cubicBezTo>
                    <a:pt x="954" y="76"/>
                    <a:pt x="954" y="76"/>
                    <a:pt x="954" y="76"/>
                  </a:cubicBezTo>
                  <a:cubicBezTo>
                    <a:pt x="954" y="76"/>
                    <a:pt x="954" y="77"/>
                    <a:pt x="954" y="77"/>
                  </a:cubicBezTo>
                  <a:cubicBezTo>
                    <a:pt x="954" y="77"/>
                    <a:pt x="954" y="77"/>
                    <a:pt x="954" y="77"/>
                  </a:cubicBezTo>
                  <a:cubicBezTo>
                    <a:pt x="955" y="77"/>
                    <a:pt x="955" y="78"/>
                    <a:pt x="955" y="78"/>
                  </a:cubicBezTo>
                  <a:cubicBezTo>
                    <a:pt x="955" y="78"/>
                    <a:pt x="955" y="78"/>
                    <a:pt x="955" y="78"/>
                  </a:cubicBezTo>
                  <a:cubicBezTo>
                    <a:pt x="955" y="78"/>
                    <a:pt x="955" y="78"/>
                    <a:pt x="955" y="79"/>
                  </a:cubicBezTo>
                  <a:cubicBezTo>
                    <a:pt x="955" y="79"/>
                    <a:pt x="955" y="79"/>
                    <a:pt x="955" y="79"/>
                  </a:cubicBezTo>
                  <a:cubicBezTo>
                    <a:pt x="955" y="79"/>
                    <a:pt x="955" y="79"/>
                    <a:pt x="955" y="79"/>
                  </a:cubicBezTo>
                  <a:cubicBezTo>
                    <a:pt x="955" y="79"/>
                    <a:pt x="955" y="79"/>
                    <a:pt x="956" y="80"/>
                  </a:cubicBezTo>
                  <a:cubicBezTo>
                    <a:pt x="956" y="80"/>
                    <a:pt x="956" y="80"/>
                    <a:pt x="956" y="80"/>
                  </a:cubicBezTo>
                  <a:cubicBezTo>
                    <a:pt x="956" y="80"/>
                    <a:pt x="956" y="80"/>
                    <a:pt x="956" y="80"/>
                  </a:cubicBezTo>
                  <a:cubicBezTo>
                    <a:pt x="956" y="80"/>
                    <a:pt x="956" y="80"/>
                    <a:pt x="956" y="80"/>
                  </a:cubicBezTo>
                  <a:cubicBezTo>
                    <a:pt x="956" y="80"/>
                    <a:pt x="956" y="81"/>
                    <a:pt x="956" y="81"/>
                  </a:cubicBezTo>
                  <a:cubicBezTo>
                    <a:pt x="956" y="81"/>
                    <a:pt x="956" y="81"/>
                    <a:pt x="956" y="81"/>
                  </a:cubicBezTo>
                  <a:cubicBezTo>
                    <a:pt x="956" y="81"/>
                    <a:pt x="956" y="81"/>
                    <a:pt x="957" y="82"/>
                  </a:cubicBezTo>
                  <a:cubicBezTo>
                    <a:pt x="957" y="82"/>
                    <a:pt x="957" y="82"/>
                    <a:pt x="957" y="82"/>
                  </a:cubicBezTo>
                  <a:cubicBezTo>
                    <a:pt x="957" y="82"/>
                    <a:pt x="957" y="82"/>
                    <a:pt x="957" y="82"/>
                  </a:cubicBezTo>
                  <a:cubicBezTo>
                    <a:pt x="957" y="82"/>
                    <a:pt x="957" y="82"/>
                    <a:pt x="957" y="82"/>
                  </a:cubicBezTo>
                  <a:cubicBezTo>
                    <a:pt x="957" y="82"/>
                    <a:pt x="957" y="82"/>
                    <a:pt x="957" y="82"/>
                  </a:cubicBezTo>
                  <a:cubicBezTo>
                    <a:pt x="957" y="82"/>
                    <a:pt x="957" y="83"/>
                    <a:pt x="957" y="83"/>
                  </a:cubicBezTo>
                  <a:cubicBezTo>
                    <a:pt x="957" y="83"/>
                    <a:pt x="957" y="83"/>
                    <a:pt x="957" y="83"/>
                  </a:cubicBezTo>
                  <a:cubicBezTo>
                    <a:pt x="957" y="83"/>
                    <a:pt x="957" y="83"/>
                    <a:pt x="958" y="83"/>
                  </a:cubicBezTo>
                  <a:cubicBezTo>
                    <a:pt x="958" y="83"/>
                    <a:pt x="958" y="83"/>
                    <a:pt x="958" y="83"/>
                  </a:cubicBezTo>
                  <a:cubicBezTo>
                    <a:pt x="958" y="84"/>
                    <a:pt x="958" y="84"/>
                    <a:pt x="958" y="84"/>
                  </a:cubicBezTo>
                  <a:cubicBezTo>
                    <a:pt x="958" y="84"/>
                    <a:pt x="958" y="84"/>
                    <a:pt x="958" y="84"/>
                  </a:cubicBezTo>
                  <a:cubicBezTo>
                    <a:pt x="958" y="84"/>
                    <a:pt x="958" y="84"/>
                    <a:pt x="958" y="84"/>
                  </a:cubicBezTo>
                  <a:cubicBezTo>
                    <a:pt x="958" y="84"/>
                    <a:pt x="958" y="84"/>
                    <a:pt x="958" y="84"/>
                  </a:cubicBezTo>
                  <a:cubicBezTo>
                    <a:pt x="958" y="85"/>
                    <a:pt x="958" y="85"/>
                    <a:pt x="959" y="85"/>
                  </a:cubicBezTo>
                  <a:cubicBezTo>
                    <a:pt x="959" y="85"/>
                    <a:pt x="959" y="85"/>
                    <a:pt x="959" y="85"/>
                  </a:cubicBezTo>
                  <a:cubicBezTo>
                    <a:pt x="959" y="85"/>
                    <a:pt x="959" y="85"/>
                    <a:pt x="959" y="86"/>
                  </a:cubicBezTo>
                  <a:cubicBezTo>
                    <a:pt x="959" y="86"/>
                    <a:pt x="959" y="86"/>
                    <a:pt x="959" y="86"/>
                  </a:cubicBezTo>
                  <a:cubicBezTo>
                    <a:pt x="959" y="86"/>
                    <a:pt x="959" y="86"/>
                    <a:pt x="959" y="86"/>
                  </a:cubicBezTo>
                  <a:cubicBezTo>
                    <a:pt x="959" y="86"/>
                    <a:pt x="959" y="86"/>
                    <a:pt x="959" y="86"/>
                  </a:cubicBezTo>
                  <a:cubicBezTo>
                    <a:pt x="959" y="86"/>
                    <a:pt x="960" y="86"/>
                    <a:pt x="960" y="87"/>
                  </a:cubicBezTo>
                  <a:cubicBezTo>
                    <a:pt x="960" y="87"/>
                    <a:pt x="960" y="87"/>
                    <a:pt x="960" y="87"/>
                  </a:cubicBezTo>
                  <a:cubicBezTo>
                    <a:pt x="960" y="87"/>
                    <a:pt x="960" y="87"/>
                    <a:pt x="960" y="87"/>
                  </a:cubicBezTo>
                  <a:cubicBezTo>
                    <a:pt x="960" y="87"/>
                    <a:pt x="960" y="87"/>
                    <a:pt x="960" y="87"/>
                  </a:cubicBezTo>
                  <a:cubicBezTo>
                    <a:pt x="960" y="87"/>
                    <a:pt x="960" y="87"/>
                    <a:pt x="960" y="88"/>
                  </a:cubicBezTo>
                  <a:cubicBezTo>
                    <a:pt x="960" y="87"/>
                    <a:pt x="960" y="87"/>
                    <a:pt x="960" y="87"/>
                  </a:cubicBezTo>
                  <a:cubicBezTo>
                    <a:pt x="960" y="88"/>
                    <a:pt x="961" y="88"/>
                    <a:pt x="961" y="88"/>
                  </a:cubicBezTo>
                  <a:cubicBezTo>
                    <a:pt x="961" y="88"/>
                    <a:pt x="961" y="88"/>
                    <a:pt x="961" y="88"/>
                  </a:cubicBezTo>
                  <a:cubicBezTo>
                    <a:pt x="961" y="88"/>
                    <a:pt x="961" y="88"/>
                    <a:pt x="961" y="88"/>
                  </a:cubicBezTo>
                  <a:cubicBezTo>
                    <a:pt x="961" y="88"/>
                    <a:pt x="961" y="88"/>
                    <a:pt x="961" y="88"/>
                  </a:cubicBezTo>
                  <a:cubicBezTo>
                    <a:pt x="961" y="89"/>
                    <a:pt x="961" y="89"/>
                    <a:pt x="962" y="89"/>
                  </a:cubicBezTo>
                  <a:cubicBezTo>
                    <a:pt x="962" y="89"/>
                    <a:pt x="962" y="89"/>
                    <a:pt x="962" y="89"/>
                  </a:cubicBezTo>
                  <a:cubicBezTo>
                    <a:pt x="962" y="89"/>
                    <a:pt x="962" y="90"/>
                    <a:pt x="962" y="90"/>
                  </a:cubicBezTo>
                  <a:cubicBezTo>
                    <a:pt x="962" y="90"/>
                    <a:pt x="962" y="90"/>
                    <a:pt x="962" y="90"/>
                  </a:cubicBezTo>
                  <a:cubicBezTo>
                    <a:pt x="962" y="90"/>
                    <a:pt x="962" y="90"/>
                    <a:pt x="963" y="90"/>
                  </a:cubicBezTo>
                  <a:cubicBezTo>
                    <a:pt x="962" y="90"/>
                    <a:pt x="962" y="90"/>
                    <a:pt x="962" y="90"/>
                  </a:cubicBezTo>
                  <a:cubicBezTo>
                    <a:pt x="963" y="90"/>
                    <a:pt x="963" y="90"/>
                    <a:pt x="963" y="90"/>
                  </a:cubicBezTo>
                  <a:cubicBezTo>
                    <a:pt x="963" y="90"/>
                    <a:pt x="963" y="90"/>
                    <a:pt x="963" y="90"/>
                  </a:cubicBezTo>
                  <a:cubicBezTo>
                    <a:pt x="963" y="90"/>
                    <a:pt x="963" y="91"/>
                    <a:pt x="963" y="91"/>
                  </a:cubicBezTo>
                  <a:cubicBezTo>
                    <a:pt x="963" y="91"/>
                    <a:pt x="963" y="91"/>
                    <a:pt x="963" y="91"/>
                  </a:cubicBezTo>
                  <a:cubicBezTo>
                    <a:pt x="963" y="91"/>
                    <a:pt x="963" y="91"/>
                    <a:pt x="964" y="91"/>
                  </a:cubicBezTo>
                  <a:cubicBezTo>
                    <a:pt x="964" y="91"/>
                    <a:pt x="964" y="91"/>
                    <a:pt x="964" y="91"/>
                  </a:cubicBezTo>
                  <a:cubicBezTo>
                    <a:pt x="964" y="91"/>
                    <a:pt x="964" y="91"/>
                    <a:pt x="964" y="91"/>
                  </a:cubicBezTo>
                  <a:cubicBezTo>
                    <a:pt x="964" y="91"/>
                    <a:pt x="964" y="91"/>
                    <a:pt x="964" y="91"/>
                  </a:cubicBezTo>
                  <a:cubicBezTo>
                    <a:pt x="964" y="92"/>
                    <a:pt x="964" y="92"/>
                    <a:pt x="964" y="92"/>
                  </a:cubicBezTo>
                  <a:cubicBezTo>
                    <a:pt x="964" y="92"/>
                    <a:pt x="964" y="92"/>
                    <a:pt x="964" y="92"/>
                  </a:cubicBezTo>
                  <a:cubicBezTo>
                    <a:pt x="964" y="92"/>
                    <a:pt x="964" y="92"/>
                    <a:pt x="965" y="92"/>
                  </a:cubicBezTo>
                  <a:cubicBezTo>
                    <a:pt x="965" y="92"/>
                    <a:pt x="965" y="92"/>
                    <a:pt x="965" y="92"/>
                  </a:cubicBezTo>
                  <a:cubicBezTo>
                    <a:pt x="965" y="92"/>
                    <a:pt x="965" y="92"/>
                    <a:pt x="965" y="92"/>
                  </a:cubicBezTo>
                  <a:cubicBezTo>
                    <a:pt x="965" y="92"/>
                    <a:pt x="965" y="92"/>
                    <a:pt x="965" y="92"/>
                  </a:cubicBezTo>
                  <a:cubicBezTo>
                    <a:pt x="965" y="93"/>
                    <a:pt x="965" y="93"/>
                    <a:pt x="965" y="93"/>
                  </a:cubicBezTo>
                  <a:cubicBezTo>
                    <a:pt x="965" y="93"/>
                    <a:pt x="965" y="93"/>
                    <a:pt x="965" y="93"/>
                  </a:cubicBezTo>
                  <a:cubicBezTo>
                    <a:pt x="965" y="93"/>
                    <a:pt x="966" y="93"/>
                    <a:pt x="966" y="94"/>
                  </a:cubicBezTo>
                  <a:cubicBezTo>
                    <a:pt x="966" y="94"/>
                    <a:pt x="966" y="94"/>
                    <a:pt x="966" y="94"/>
                  </a:cubicBezTo>
                  <a:cubicBezTo>
                    <a:pt x="966"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5"/>
                    <a:pt x="968" y="95"/>
                    <a:pt x="968" y="95"/>
                  </a:cubicBezTo>
                  <a:cubicBezTo>
                    <a:pt x="968" y="95"/>
                    <a:pt x="968" y="95"/>
                    <a:pt x="968" y="95"/>
                  </a:cubicBezTo>
                  <a:cubicBezTo>
                    <a:pt x="968" y="95"/>
                    <a:pt x="968" y="95"/>
                    <a:pt x="968" y="95"/>
                  </a:cubicBezTo>
                  <a:cubicBezTo>
                    <a:pt x="968" y="95"/>
                    <a:pt x="968" y="95"/>
                    <a:pt x="968" y="95"/>
                  </a:cubicBezTo>
                  <a:cubicBezTo>
                    <a:pt x="969" y="96"/>
                    <a:pt x="969" y="96"/>
                    <a:pt x="969" y="96"/>
                  </a:cubicBezTo>
                  <a:cubicBezTo>
                    <a:pt x="969" y="96"/>
                    <a:pt x="969" y="96"/>
                    <a:pt x="969" y="96"/>
                  </a:cubicBezTo>
                  <a:cubicBezTo>
                    <a:pt x="970" y="96"/>
                    <a:pt x="970" y="96"/>
                    <a:pt x="971" y="97"/>
                  </a:cubicBezTo>
                  <a:cubicBezTo>
                    <a:pt x="970" y="97"/>
                    <a:pt x="970" y="97"/>
                    <a:pt x="970" y="97"/>
                  </a:cubicBezTo>
                  <a:cubicBezTo>
                    <a:pt x="971" y="97"/>
                    <a:pt x="971" y="97"/>
                    <a:pt x="971" y="97"/>
                  </a:cubicBezTo>
                  <a:cubicBezTo>
                    <a:pt x="971" y="97"/>
                    <a:pt x="971" y="97"/>
                    <a:pt x="971" y="97"/>
                  </a:cubicBezTo>
                  <a:cubicBezTo>
                    <a:pt x="971" y="97"/>
                    <a:pt x="971" y="97"/>
                    <a:pt x="972" y="97"/>
                  </a:cubicBezTo>
                  <a:cubicBezTo>
                    <a:pt x="972" y="97"/>
                    <a:pt x="972" y="97"/>
                    <a:pt x="972" y="97"/>
                  </a:cubicBezTo>
                  <a:cubicBezTo>
                    <a:pt x="972" y="98"/>
                    <a:pt x="972" y="97"/>
                    <a:pt x="972" y="98"/>
                  </a:cubicBezTo>
                  <a:cubicBezTo>
                    <a:pt x="972" y="98"/>
                    <a:pt x="972" y="98"/>
                    <a:pt x="972" y="98"/>
                  </a:cubicBezTo>
                  <a:cubicBezTo>
                    <a:pt x="972" y="98"/>
                    <a:pt x="973" y="98"/>
                    <a:pt x="973" y="98"/>
                  </a:cubicBezTo>
                  <a:cubicBezTo>
                    <a:pt x="973" y="98"/>
                    <a:pt x="973" y="98"/>
                    <a:pt x="973" y="98"/>
                  </a:cubicBezTo>
                  <a:cubicBezTo>
                    <a:pt x="973" y="98"/>
                    <a:pt x="973" y="98"/>
                    <a:pt x="974" y="98"/>
                  </a:cubicBezTo>
                  <a:cubicBezTo>
                    <a:pt x="974" y="98"/>
                    <a:pt x="974" y="98"/>
                    <a:pt x="974" y="98"/>
                  </a:cubicBezTo>
                  <a:cubicBezTo>
                    <a:pt x="974" y="99"/>
                    <a:pt x="974" y="99"/>
                    <a:pt x="974" y="99"/>
                  </a:cubicBezTo>
                  <a:cubicBezTo>
                    <a:pt x="974" y="99"/>
                    <a:pt x="974" y="99"/>
                    <a:pt x="974" y="99"/>
                  </a:cubicBezTo>
                  <a:cubicBezTo>
                    <a:pt x="974" y="99"/>
                    <a:pt x="975" y="99"/>
                    <a:pt x="975" y="99"/>
                  </a:cubicBezTo>
                  <a:cubicBezTo>
                    <a:pt x="975" y="99"/>
                    <a:pt x="975" y="99"/>
                    <a:pt x="975" y="99"/>
                  </a:cubicBezTo>
                  <a:cubicBezTo>
                    <a:pt x="975" y="99"/>
                    <a:pt x="975" y="99"/>
                    <a:pt x="976" y="99"/>
                  </a:cubicBezTo>
                  <a:cubicBezTo>
                    <a:pt x="976" y="99"/>
                    <a:pt x="976" y="99"/>
                    <a:pt x="976" y="99"/>
                  </a:cubicBezTo>
                  <a:cubicBezTo>
                    <a:pt x="976" y="100"/>
                    <a:pt x="976" y="100"/>
                    <a:pt x="977" y="100"/>
                  </a:cubicBezTo>
                  <a:cubicBezTo>
                    <a:pt x="977" y="100"/>
                    <a:pt x="977" y="100"/>
                    <a:pt x="977" y="100"/>
                  </a:cubicBezTo>
                  <a:cubicBezTo>
                    <a:pt x="977" y="100"/>
                    <a:pt x="977" y="100"/>
                    <a:pt x="977" y="100"/>
                  </a:cubicBezTo>
                  <a:cubicBezTo>
                    <a:pt x="977" y="100"/>
                    <a:pt x="977" y="100"/>
                    <a:pt x="977" y="100"/>
                  </a:cubicBezTo>
                  <a:cubicBezTo>
                    <a:pt x="977" y="100"/>
                    <a:pt x="977" y="100"/>
                    <a:pt x="977" y="100"/>
                  </a:cubicBezTo>
                  <a:cubicBezTo>
                    <a:pt x="978" y="100"/>
                    <a:pt x="978" y="100"/>
                    <a:pt x="978" y="100"/>
                  </a:cubicBezTo>
                  <a:cubicBezTo>
                    <a:pt x="978" y="100"/>
                    <a:pt x="978" y="100"/>
                    <a:pt x="978" y="100"/>
                  </a:cubicBezTo>
                  <a:cubicBezTo>
                    <a:pt x="978" y="100"/>
                    <a:pt x="978" y="100"/>
                    <a:pt x="978" y="100"/>
                  </a:cubicBezTo>
                  <a:cubicBezTo>
                    <a:pt x="979" y="101"/>
                    <a:pt x="979" y="101"/>
                    <a:pt x="979" y="101"/>
                  </a:cubicBezTo>
                  <a:cubicBezTo>
                    <a:pt x="979" y="101"/>
                    <a:pt x="979" y="101"/>
                    <a:pt x="979" y="101"/>
                  </a:cubicBezTo>
                  <a:cubicBezTo>
                    <a:pt x="980" y="101"/>
                    <a:pt x="980" y="101"/>
                    <a:pt x="980" y="101"/>
                  </a:cubicBezTo>
                  <a:cubicBezTo>
                    <a:pt x="980" y="101"/>
                    <a:pt x="980" y="101"/>
                    <a:pt x="980" y="101"/>
                  </a:cubicBezTo>
                  <a:cubicBezTo>
                    <a:pt x="980" y="101"/>
                    <a:pt x="980" y="101"/>
                    <a:pt x="980" y="101"/>
                  </a:cubicBezTo>
                  <a:cubicBezTo>
                    <a:pt x="981" y="101"/>
                    <a:pt x="981" y="101"/>
                    <a:pt x="981" y="101"/>
                  </a:cubicBezTo>
                  <a:cubicBezTo>
                    <a:pt x="981" y="101"/>
                    <a:pt x="981" y="101"/>
                    <a:pt x="982" y="102"/>
                  </a:cubicBezTo>
                  <a:cubicBezTo>
                    <a:pt x="982" y="101"/>
                    <a:pt x="982" y="101"/>
                    <a:pt x="982" y="101"/>
                  </a:cubicBezTo>
                  <a:cubicBezTo>
                    <a:pt x="982" y="102"/>
                    <a:pt x="982" y="102"/>
                    <a:pt x="983" y="102"/>
                  </a:cubicBezTo>
                  <a:cubicBezTo>
                    <a:pt x="983" y="102"/>
                    <a:pt x="983" y="102"/>
                    <a:pt x="983" y="102"/>
                  </a:cubicBezTo>
                  <a:cubicBezTo>
                    <a:pt x="983" y="102"/>
                    <a:pt x="983" y="102"/>
                    <a:pt x="983" y="102"/>
                  </a:cubicBezTo>
                  <a:cubicBezTo>
                    <a:pt x="983" y="102"/>
                    <a:pt x="984" y="102"/>
                    <a:pt x="984" y="102"/>
                  </a:cubicBezTo>
                  <a:cubicBezTo>
                    <a:pt x="985" y="102"/>
                    <a:pt x="985" y="102"/>
                    <a:pt x="985" y="102"/>
                  </a:cubicBezTo>
                  <a:cubicBezTo>
                    <a:pt x="985" y="102"/>
                    <a:pt x="985" y="102"/>
                    <a:pt x="985" y="102"/>
                  </a:cubicBezTo>
                  <a:cubicBezTo>
                    <a:pt x="985" y="103"/>
                    <a:pt x="986" y="102"/>
                    <a:pt x="986" y="103"/>
                  </a:cubicBezTo>
                  <a:cubicBezTo>
                    <a:pt x="986" y="102"/>
                    <a:pt x="986" y="102"/>
                    <a:pt x="986" y="102"/>
                  </a:cubicBezTo>
                  <a:cubicBezTo>
                    <a:pt x="986" y="103"/>
                    <a:pt x="986" y="103"/>
                    <a:pt x="986" y="103"/>
                  </a:cubicBezTo>
                  <a:cubicBezTo>
                    <a:pt x="987" y="103"/>
                    <a:pt x="988" y="103"/>
                    <a:pt x="989" y="103"/>
                  </a:cubicBezTo>
                  <a:cubicBezTo>
                    <a:pt x="989" y="103"/>
                    <a:pt x="989" y="103"/>
                    <a:pt x="989" y="103"/>
                  </a:cubicBezTo>
                  <a:cubicBezTo>
                    <a:pt x="991" y="103"/>
                    <a:pt x="992" y="103"/>
                    <a:pt x="993" y="103"/>
                  </a:cubicBezTo>
                  <a:cubicBezTo>
                    <a:pt x="995" y="103"/>
                    <a:pt x="996" y="103"/>
                    <a:pt x="997" y="103"/>
                  </a:cubicBezTo>
                  <a:cubicBezTo>
                    <a:pt x="999" y="103"/>
                    <a:pt x="1000" y="103"/>
                    <a:pt x="1002" y="103"/>
                  </a:cubicBezTo>
                  <a:cubicBezTo>
                    <a:pt x="1002" y="103"/>
                    <a:pt x="1002" y="103"/>
                    <a:pt x="1003" y="103"/>
                  </a:cubicBezTo>
                  <a:cubicBezTo>
                    <a:pt x="1004" y="102"/>
                    <a:pt x="1004" y="103"/>
                    <a:pt x="1005" y="103"/>
                  </a:cubicBezTo>
                  <a:cubicBezTo>
                    <a:pt x="1005" y="102"/>
                    <a:pt x="1005" y="102"/>
                    <a:pt x="1005" y="102"/>
                  </a:cubicBezTo>
                  <a:cubicBezTo>
                    <a:pt x="1006" y="103"/>
                    <a:pt x="1006" y="103"/>
                    <a:pt x="1006" y="103"/>
                  </a:cubicBezTo>
                  <a:cubicBezTo>
                    <a:pt x="1006" y="102"/>
                    <a:pt x="1007" y="103"/>
                    <a:pt x="1007" y="102"/>
                  </a:cubicBezTo>
                  <a:cubicBezTo>
                    <a:pt x="1007" y="102"/>
                    <a:pt x="1007" y="102"/>
                    <a:pt x="1007" y="102"/>
                  </a:cubicBezTo>
                  <a:cubicBezTo>
                    <a:pt x="1008" y="102"/>
                    <a:pt x="1008" y="102"/>
                    <a:pt x="1008" y="102"/>
                  </a:cubicBezTo>
                  <a:cubicBezTo>
                    <a:pt x="1008" y="102"/>
                    <a:pt x="1009" y="102"/>
                    <a:pt x="1009" y="102"/>
                  </a:cubicBezTo>
                  <a:cubicBezTo>
                    <a:pt x="1009" y="102"/>
                    <a:pt x="1009" y="102"/>
                    <a:pt x="1009" y="102"/>
                  </a:cubicBezTo>
                  <a:cubicBezTo>
                    <a:pt x="1009" y="102"/>
                    <a:pt x="1009" y="102"/>
                    <a:pt x="1009" y="102"/>
                  </a:cubicBezTo>
                  <a:cubicBezTo>
                    <a:pt x="1010" y="102"/>
                    <a:pt x="1010" y="102"/>
                    <a:pt x="1011" y="102"/>
                  </a:cubicBezTo>
                  <a:cubicBezTo>
                    <a:pt x="1011" y="101"/>
                    <a:pt x="1011" y="101"/>
                    <a:pt x="1011" y="101"/>
                  </a:cubicBezTo>
                  <a:cubicBezTo>
                    <a:pt x="1011" y="101"/>
                    <a:pt x="1011" y="101"/>
                    <a:pt x="1011" y="101"/>
                  </a:cubicBezTo>
                  <a:cubicBezTo>
                    <a:pt x="1011" y="101"/>
                    <a:pt x="1012" y="101"/>
                    <a:pt x="1012" y="101"/>
                  </a:cubicBezTo>
                  <a:cubicBezTo>
                    <a:pt x="1012" y="101"/>
                    <a:pt x="1012" y="101"/>
                    <a:pt x="1012" y="101"/>
                  </a:cubicBezTo>
                  <a:cubicBezTo>
                    <a:pt x="1013" y="101"/>
                    <a:pt x="1013" y="101"/>
                    <a:pt x="1013" y="101"/>
                  </a:cubicBezTo>
                  <a:cubicBezTo>
                    <a:pt x="1013" y="101"/>
                    <a:pt x="1013" y="101"/>
                    <a:pt x="1013" y="101"/>
                  </a:cubicBezTo>
                  <a:cubicBezTo>
                    <a:pt x="1013" y="101"/>
                    <a:pt x="1013" y="101"/>
                    <a:pt x="1013" y="101"/>
                  </a:cubicBezTo>
                  <a:cubicBezTo>
                    <a:pt x="1014" y="101"/>
                    <a:pt x="1014" y="101"/>
                    <a:pt x="1014" y="101"/>
                  </a:cubicBezTo>
                  <a:cubicBezTo>
                    <a:pt x="1014" y="100"/>
                    <a:pt x="1014" y="100"/>
                    <a:pt x="1014" y="100"/>
                  </a:cubicBezTo>
                  <a:cubicBezTo>
                    <a:pt x="1015" y="100"/>
                    <a:pt x="1015" y="100"/>
                    <a:pt x="1015" y="100"/>
                  </a:cubicBezTo>
                  <a:cubicBezTo>
                    <a:pt x="1015" y="100"/>
                    <a:pt x="1015" y="100"/>
                    <a:pt x="1015" y="100"/>
                  </a:cubicBezTo>
                  <a:cubicBezTo>
                    <a:pt x="1015" y="100"/>
                    <a:pt x="1015" y="100"/>
                    <a:pt x="1015" y="100"/>
                  </a:cubicBezTo>
                  <a:cubicBezTo>
                    <a:pt x="1016" y="100"/>
                    <a:pt x="1016" y="100"/>
                    <a:pt x="1016" y="100"/>
                  </a:cubicBezTo>
                  <a:cubicBezTo>
                    <a:pt x="1016" y="100"/>
                    <a:pt x="1016" y="100"/>
                    <a:pt x="1016" y="100"/>
                  </a:cubicBezTo>
                  <a:cubicBezTo>
                    <a:pt x="1016" y="100"/>
                    <a:pt x="1016" y="100"/>
                    <a:pt x="1016" y="100"/>
                  </a:cubicBezTo>
                  <a:cubicBezTo>
                    <a:pt x="1017" y="99"/>
                    <a:pt x="1017" y="100"/>
                    <a:pt x="1017" y="99"/>
                  </a:cubicBezTo>
                  <a:cubicBezTo>
                    <a:pt x="1017" y="99"/>
                    <a:pt x="1017" y="99"/>
                    <a:pt x="1017" y="99"/>
                  </a:cubicBezTo>
                  <a:cubicBezTo>
                    <a:pt x="1018" y="99"/>
                    <a:pt x="1018" y="99"/>
                    <a:pt x="1018" y="99"/>
                  </a:cubicBezTo>
                  <a:cubicBezTo>
                    <a:pt x="1018" y="99"/>
                    <a:pt x="1018" y="99"/>
                    <a:pt x="1018" y="99"/>
                  </a:cubicBezTo>
                  <a:cubicBezTo>
                    <a:pt x="1018" y="99"/>
                    <a:pt x="1019" y="99"/>
                    <a:pt x="1019" y="99"/>
                  </a:cubicBezTo>
                  <a:cubicBezTo>
                    <a:pt x="1019" y="99"/>
                    <a:pt x="1019" y="99"/>
                    <a:pt x="1019" y="99"/>
                  </a:cubicBezTo>
                  <a:cubicBezTo>
                    <a:pt x="1019" y="99"/>
                    <a:pt x="1019" y="99"/>
                    <a:pt x="1019" y="99"/>
                  </a:cubicBezTo>
                  <a:cubicBezTo>
                    <a:pt x="1019" y="99"/>
                    <a:pt x="1019" y="99"/>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1" y="98"/>
                    <a:pt x="1021" y="98"/>
                    <a:pt x="1021" y="98"/>
                  </a:cubicBezTo>
                  <a:cubicBezTo>
                    <a:pt x="1021" y="98"/>
                    <a:pt x="1021" y="98"/>
                    <a:pt x="1021" y="98"/>
                  </a:cubicBezTo>
                  <a:cubicBezTo>
                    <a:pt x="1021" y="94"/>
                    <a:pt x="1021" y="91"/>
                    <a:pt x="1021" y="87"/>
                  </a:cubicBezTo>
                  <a:cubicBezTo>
                    <a:pt x="1021" y="87"/>
                    <a:pt x="1021" y="87"/>
                    <a:pt x="1021" y="87"/>
                  </a:cubicBezTo>
                  <a:cubicBezTo>
                    <a:pt x="1021" y="87"/>
                    <a:pt x="1021" y="87"/>
                    <a:pt x="1021" y="87"/>
                  </a:cubicBezTo>
                  <a:cubicBezTo>
                    <a:pt x="1020" y="87"/>
                    <a:pt x="1020" y="87"/>
                    <a:pt x="1020" y="87"/>
                  </a:cubicBezTo>
                  <a:cubicBezTo>
                    <a:pt x="1020" y="87"/>
                    <a:pt x="1020" y="87"/>
                    <a:pt x="1020" y="87"/>
                  </a:cubicBezTo>
                  <a:cubicBezTo>
                    <a:pt x="1020" y="87"/>
                    <a:pt x="1019" y="87"/>
                    <a:pt x="1019" y="88"/>
                  </a:cubicBezTo>
                  <a:cubicBezTo>
                    <a:pt x="1019" y="88"/>
                    <a:pt x="1019" y="88"/>
                    <a:pt x="1019" y="88"/>
                  </a:cubicBezTo>
                  <a:cubicBezTo>
                    <a:pt x="1019" y="88"/>
                    <a:pt x="1019" y="88"/>
                    <a:pt x="1019" y="88"/>
                  </a:cubicBezTo>
                  <a:cubicBezTo>
                    <a:pt x="1019" y="88"/>
                    <a:pt x="1019" y="88"/>
                    <a:pt x="1019" y="88"/>
                  </a:cubicBezTo>
                  <a:cubicBezTo>
                    <a:pt x="1018" y="88"/>
                    <a:pt x="1018" y="88"/>
                    <a:pt x="1018" y="88"/>
                  </a:cubicBezTo>
                  <a:cubicBezTo>
                    <a:pt x="1018" y="88"/>
                    <a:pt x="1018" y="88"/>
                    <a:pt x="1018" y="88"/>
                  </a:cubicBezTo>
                  <a:cubicBezTo>
                    <a:pt x="1018" y="88"/>
                    <a:pt x="1018" y="88"/>
                    <a:pt x="1018" y="88"/>
                  </a:cubicBezTo>
                  <a:cubicBezTo>
                    <a:pt x="1018" y="88"/>
                    <a:pt x="1018" y="88"/>
                    <a:pt x="1017" y="89"/>
                  </a:cubicBezTo>
                  <a:cubicBezTo>
                    <a:pt x="1017" y="89"/>
                    <a:pt x="1017" y="89"/>
                    <a:pt x="1017" y="89"/>
                  </a:cubicBezTo>
                  <a:cubicBezTo>
                    <a:pt x="1017" y="89"/>
                    <a:pt x="1017" y="89"/>
                    <a:pt x="1017" y="89"/>
                  </a:cubicBezTo>
                  <a:cubicBezTo>
                    <a:pt x="1017" y="89"/>
                    <a:pt x="1017" y="89"/>
                    <a:pt x="1016" y="89"/>
                  </a:cubicBezTo>
                  <a:cubicBezTo>
                    <a:pt x="1016" y="89"/>
                    <a:pt x="1016" y="89"/>
                    <a:pt x="1016" y="89"/>
                  </a:cubicBezTo>
                  <a:cubicBezTo>
                    <a:pt x="1016" y="89"/>
                    <a:pt x="1016" y="89"/>
                    <a:pt x="1016" y="89"/>
                  </a:cubicBezTo>
                  <a:cubicBezTo>
                    <a:pt x="1016" y="89"/>
                    <a:pt x="1016" y="89"/>
                    <a:pt x="1016" y="89"/>
                  </a:cubicBezTo>
                  <a:cubicBezTo>
                    <a:pt x="1016" y="90"/>
                    <a:pt x="1015" y="89"/>
                    <a:pt x="1015" y="90"/>
                  </a:cubicBezTo>
                  <a:cubicBezTo>
                    <a:pt x="1015" y="90"/>
                    <a:pt x="1015" y="90"/>
                    <a:pt x="1015" y="90"/>
                  </a:cubicBezTo>
                  <a:cubicBezTo>
                    <a:pt x="1015" y="90"/>
                    <a:pt x="1014" y="90"/>
                    <a:pt x="1014" y="90"/>
                  </a:cubicBezTo>
                  <a:cubicBezTo>
                    <a:pt x="1014" y="90"/>
                    <a:pt x="1014" y="90"/>
                    <a:pt x="1014" y="90"/>
                  </a:cubicBezTo>
                  <a:cubicBezTo>
                    <a:pt x="1014" y="90"/>
                    <a:pt x="1013" y="90"/>
                    <a:pt x="1013" y="90"/>
                  </a:cubicBezTo>
                  <a:cubicBezTo>
                    <a:pt x="1013" y="90"/>
                    <a:pt x="1013" y="90"/>
                    <a:pt x="1013" y="90"/>
                  </a:cubicBezTo>
                  <a:cubicBezTo>
                    <a:pt x="1013" y="91"/>
                    <a:pt x="1012" y="91"/>
                    <a:pt x="1012" y="91"/>
                  </a:cubicBezTo>
                  <a:cubicBezTo>
                    <a:pt x="1012" y="91"/>
                    <a:pt x="1012" y="91"/>
                    <a:pt x="1012" y="91"/>
                  </a:cubicBezTo>
                  <a:cubicBezTo>
                    <a:pt x="1012" y="91"/>
                    <a:pt x="1011" y="91"/>
                    <a:pt x="1011" y="91"/>
                  </a:cubicBezTo>
                  <a:cubicBezTo>
                    <a:pt x="1011" y="91"/>
                    <a:pt x="1011" y="91"/>
                    <a:pt x="1011" y="91"/>
                  </a:cubicBezTo>
                  <a:cubicBezTo>
                    <a:pt x="1011" y="91"/>
                    <a:pt x="1010" y="91"/>
                    <a:pt x="1010" y="91"/>
                  </a:cubicBezTo>
                  <a:cubicBezTo>
                    <a:pt x="1010" y="92"/>
                    <a:pt x="1010" y="92"/>
                    <a:pt x="1010" y="91"/>
                  </a:cubicBezTo>
                  <a:cubicBezTo>
                    <a:pt x="1009" y="92"/>
                    <a:pt x="1009" y="91"/>
                    <a:pt x="1008" y="92"/>
                  </a:cubicBezTo>
                  <a:cubicBezTo>
                    <a:pt x="1008" y="92"/>
                    <a:pt x="1008" y="92"/>
                    <a:pt x="1008" y="92"/>
                  </a:cubicBezTo>
                  <a:cubicBezTo>
                    <a:pt x="1008" y="92"/>
                    <a:pt x="1007" y="92"/>
                    <a:pt x="1007" y="92"/>
                  </a:cubicBezTo>
                  <a:cubicBezTo>
                    <a:pt x="1007" y="92"/>
                    <a:pt x="1006" y="92"/>
                    <a:pt x="1006" y="92"/>
                  </a:cubicBezTo>
                  <a:cubicBezTo>
                    <a:pt x="1006" y="92"/>
                    <a:pt x="1005" y="92"/>
                    <a:pt x="1005" y="92"/>
                  </a:cubicBezTo>
                  <a:cubicBezTo>
                    <a:pt x="1004" y="93"/>
                    <a:pt x="1004" y="93"/>
                    <a:pt x="1004" y="92"/>
                  </a:cubicBezTo>
                  <a:cubicBezTo>
                    <a:pt x="1003" y="93"/>
                    <a:pt x="1003" y="92"/>
                    <a:pt x="1002" y="93"/>
                  </a:cubicBezTo>
                  <a:cubicBezTo>
                    <a:pt x="1001" y="93"/>
                    <a:pt x="1001" y="93"/>
                    <a:pt x="1001" y="93"/>
                  </a:cubicBezTo>
                  <a:cubicBezTo>
                    <a:pt x="998" y="93"/>
                    <a:pt x="996" y="93"/>
                    <a:pt x="993" y="93"/>
                  </a:cubicBezTo>
                  <a:cubicBezTo>
                    <a:pt x="993" y="93"/>
                    <a:pt x="993" y="93"/>
                    <a:pt x="992" y="93"/>
                  </a:cubicBezTo>
                  <a:cubicBezTo>
                    <a:pt x="992" y="92"/>
                    <a:pt x="991" y="93"/>
                    <a:pt x="990" y="92"/>
                  </a:cubicBezTo>
                  <a:cubicBezTo>
                    <a:pt x="990" y="93"/>
                    <a:pt x="990" y="93"/>
                    <a:pt x="990" y="93"/>
                  </a:cubicBezTo>
                  <a:cubicBezTo>
                    <a:pt x="990" y="92"/>
                    <a:pt x="990" y="92"/>
                    <a:pt x="990" y="92"/>
                  </a:cubicBezTo>
                  <a:cubicBezTo>
                    <a:pt x="989" y="92"/>
                    <a:pt x="989" y="92"/>
                    <a:pt x="988" y="92"/>
                  </a:cubicBezTo>
                  <a:cubicBezTo>
                    <a:pt x="988" y="92"/>
                    <a:pt x="988" y="92"/>
                    <a:pt x="988" y="92"/>
                  </a:cubicBezTo>
                  <a:cubicBezTo>
                    <a:pt x="988" y="92"/>
                    <a:pt x="988" y="92"/>
                    <a:pt x="988" y="92"/>
                  </a:cubicBezTo>
                  <a:cubicBezTo>
                    <a:pt x="988" y="92"/>
                    <a:pt x="987" y="92"/>
                    <a:pt x="987" y="92"/>
                  </a:cubicBezTo>
                  <a:cubicBezTo>
                    <a:pt x="987" y="92"/>
                    <a:pt x="987" y="92"/>
                    <a:pt x="987" y="92"/>
                  </a:cubicBezTo>
                  <a:cubicBezTo>
                    <a:pt x="986" y="91"/>
                    <a:pt x="986" y="92"/>
                    <a:pt x="986" y="91"/>
                  </a:cubicBezTo>
                  <a:cubicBezTo>
                    <a:pt x="986" y="92"/>
                    <a:pt x="985" y="91"/>
                    <a:pt x="985" y="91"/>
                  </a:cubicBezTo>
                  <a:cubicBezTo>
                    <a:pt x="985" y="91"/>
                    <a:pt x="985" y="91"/>
                    <a:pt x="985" y="91"/>
                  </a:cubicBezTo>
                  <a:cubicBezTo>
                    <a:pt x="985" y="91"/>
                    <a:pt x="984" y="91"/>
                    <a:pt x="984" y="91"/>
                  </a:cubicBezTo>
                  <a:cubicBezTo>
                    <a:pt x="984" y="91"/>
                    <a:pt x="984" y="91"/>
                    <a:pt x="984" y="91"/>
                  </a:cubicBezTo>
                  <a:cubicBezTo>
                    <a:pt x="984" y="91"/>
                    <a:pt x="984" y="91"/>
                    <a:pt x="984" y="91"/>
                  </a:cubicBezTo>
                  <a:cubicBezTo>
                    <a:pt x="983" y="91"/>
                    <a:pt x="983" y="91"/>
                    <a:pt x="983" y="90"/>
                  </a:cubicBezTo>
                  <a:cubicBezTo>
                    <a:pt x="983" y="90"/>
                    <a:pt x="983" y="90"/>
                    <a:pt x="983" y="90"/>
                  </a:cubicBezTo>
                  <a:cubicBezTo>
                    <a:pt x="983" y="90"/>
                    <a:pt x="983" y="90"/>
                    <a:pt x="983" y="90"/>
                  </a:cubicBezTo>
                  <a:cubicBezTo>
                    <a:pt x="982" y="90"/>
                    <a:pt x="982" y="90"/>
                    <a:pt x="982" y="90"/>
                  </a:cubicBezTo>
                  <a:cubicBezTo>
                    <a:pt x="982" y="90"/>
                    <a:pt x="982" y="90"/>
                    <a:pt x="982" y="90"/>
                  </a:cubicBezTo>
                  <a:cubicBezTo>
                    <a:pt x="982" y="90"/>
                    <a:pt x="981" y="90"/>
                    <a:pt x="981" y="90"/>
                  </a:cubicBezTo>
                  <a:cubicBezTo>
                    <a:pt x="981" y="90"/>
                    <a:pt x="981" y="90"/>
                    <a:pt x="981" y="90"/>
                  </a:cubicBezTo>
                  <a:cubicBezTo>
                    <a:pt x="981" y="89"/>
                    <a:pt x="981" y="90"/>
                    <a:pt x="981" y="89"/>
                  </a:cubicBezTo>
                  <a:cubicBezTo>
                    <a:pt x="981" y="89"/>
                    <a:pt x="981" y="89"/>
                    <a:pt x="981" y="89"/>
                  </a:cubicBezTo>
                  <a:cubicBezTo>
                    <a:pt x="980" y="89"/>
                    <a:pt x="980" y="89"/>
                    <a:pt x="980" y="89"/>
                  </a:cubicBezTo>
                  <a:cubicBezTo>
                    <a:pt x="980" y="89"/>
                    <a:pt x="980" y="89"/>
                    <a:pt x="980" y="89"/>
                  </a:cubicBezTo>
                  <a:cubicBezTo>
                    <a:pt x="980" y="89"/>
                    <a:pt x="979" y="89"/>
                    <a:pt x="979" y="89"/>
                  </a:cubicBezTo>
                  <a:cubicBezTo>
                    <a:pt x="979" y="89"/>
                    <a:pt x="979" y="89"/>
                    <a:pt x="979" y="89"/>
                  </a:cubicBezTo>
                  <a:cubicBezTo>
                    <a:pt x="979" y="88"/>
                    <a:pt x="979" y="88"/>
                    <a:pt x="979" y="88"/>
                  </a:cubicBezTo>
                  <a:cubicBezTo>
                    <a:pt x="979" y="88"/>
                    <a:pt x="979" y="88"/>
                    <a:pt x="979" y="88"/>
                  </a:cubicBezTo>
                  <a:cubicBezTo>
                    <a:pt x="978" y="88"/>
                    <a:pt x="978" y="88"/>
                    <a:pt x="978" y="88"/>
                  </a:cubicBezTo>
                  <a:cubicBezTo>
                    <a:pt x="978" y="88"/>
                    <a:pt x="978" y="88"/>
                    <a:pt x="978" y="88"/>
                  </a:cubicBezTo>
                  <a:cubicBezTo>
                    <a:pt x="978" y="88"/>
                    <a:pt x="978" y="88"/>
                    <a:pt x="978" y="88"/>
                  </a:cubicBezTo>
                  <a:cubicBezTo>
                    <a:pt x="978" y="88"/>
                    <a:pt x="978" y="88"/>
                    <a:pt x="977" y="88"/>
                  </a:cubicBezTo>
                  <a:cubicBezTo>
                    <a:pt x="977" y="88"/>
                    <a:pt x="977" y="88"/>
                    <a:pt x="977" y="88"/>
                  </a:cubicBezTo>
                  <a:cubicBezTo>
                    <a:pt x="977" y="87"/>
                    <a:pt x="977" y="87"/>
                    <a:pt x="977" y="87"/>
                  </a:cubicBezTo>
                  <a:cubicBezTo>
                    <a:pt x="977" y="87"/>
                    <a:pt x="977" y="87"/>
                    <a:pt x="977" y="87"/>
                  </a:cubicBezTo>
                  <a:cubicBezTo>
                    <a:pt x="977" y="87"/>
                    <a:pt x="977" y="87"/>
                    <a:pt x="976" y="87"/>
                  </a:cubicBezTo>
                  <a:cubicBezTo>
                    <a:pt x="976" y="87"/>
                    <a:pt x="976" y="87"/>
                    <a:pt x="976" y="87"/>
                  </a:cubicBezTo>
                  <a:cubicBezTo>
                    <a:pt x="976" y="87"/>
                    <a:pt x="976" y="87"/>
                    <a:pt x="976" y="87"/>
                  </a:cubicBezTo>
                  <a:cubicBezTo>
                    <a:pt x="976" y="87"/>
                    <a:pt x="976" y="87"/>
                    <a:pt x="976" y="87"/>
                  </a:cubicBezTo>
                  <a:cubicBezTo>
                    <a:pt x="976" y="86"/>
                    <a:pt x="976" y="86"/>
                    <a:pt x="976" y="86"/>
                  </a:cubicBezTo>
                  <a:cubicBezTo>
                    <a:pt x="976" y="86"/>
                    <a:pt x="976" y="86"/>
                    <a:pt x="976" y="86"/>
                  </a:cubicBezTo>
                  <a:cubicBezTo>
                    <a:pt x="975" y="86"/>
                    <a:pt x="975" y="86"/>
                    <a:pt x="975" y="85"/>
                  </a:cubicBezTo>
                  <a:cubicBezTo>
                    <a:pt x="975" y="85"/>
                    <a:pt x="975" y="85"/>
                    <a:pt x="975" y="85"/>
                  </a:cubicBezTo>
                  <a:cubicBezTo>
                    <a:pt x="975" y="85"/>
                    <a:pt x="974" y="85"/>
                    <a:pt x="974" y="85"/>
                  </a:cubicBezTo>
                  <a:cubicBezTo>
                    <a:pt x="974" y="85"/>
                    <a:pt x="974" y="85"/>
                    <a:pt x="974" y="85"/>
                  </a:cubicBezTo>
                  <a:cubicBezTo>
                    <a:pt x="974" y="85"/>
                    <a:pt x="974" y="85"/>
                    <a:pt x="974" y="85"/>
                  </a:cubicBezTo>
                  <a:cubicBezTo>
                    <a:pt x="974" y="85"/>
                    <a:pt x="974" y="85"/>
                    <a:pt x="974" y="85"/>
                  </a:cubicBezTo>
                  <a:cubicBezTo>
                    <a:pt x="974" y="85"/>
                    <a:pt x="974" y="85"/>
                    <a:pt x="974" y="84"/>
                  </a:cubicBezTo>
                  <a:cubicBezTo>
                    <a:pt x="974" y="85"/>
                    <a:pt x="974" y="85"/>
                    <a:pt x="974" y="85"/>
                  </a:cubicBezTo>
                  <a:cubicBezTo>
                    <a:pt x="973" y="84"/>
                    <a:pt x="973" y="84"/>
                    <a:pt x="973" y="84"/>
                  </a:cubicBezTo>
                  <a:cubicBezTo>
                    <a:pt x="973" y="84"/>
                    <a:pt x="973" y="84"/>
                    <a:pt x="973" y="84"/>
                  </a:cubicBezTo>
                  <a:cubicBezTo>
                    <a:pt x="973" y="84"/>
                    <a:pt x="973" y="84"/>
                    <a:pt x="973" y="84"/>
                  </a:cubicBezTo>
                  <a:cubicBezTo>
                    <a:pt x="973" y="84"/>
                    <a:pt x="973" y="84"/>
                    <a:pt x="973" y="84"/>
                  </a:cubicBezTo>
                  <a:cubicBezTo>
                    <a:pt x="973" y="84"/>
                    <a:pt x="973" y="84"/>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2"/>
                    <a:pt x="971" y="82"/>
                  </a:cubicBezTo>
                  <a:cubicBezTo>
                    <a:pt x="971" y="82"/>
                    <a:pt x="971" y="82"/>
                    <a:pt x="971" y="82"/>
                  </a:cubicBezTo>
                  <a:cubicBezTo>
                    <a:pt x="971" y="82"/>
                    <a:pt x="971" y="82"/>
                    <a:pt x="971" y="82"/>
                  </a:cubicBezTo>
                  <a:cubicBezTo>
                    <a:pt x="971" y="82"/>
                    <a:pt x="971" y="82"/>
                    <a:pt x="971" y="82"/>
                  </a:cubicBezTo>
                  <a:cubicBezTo>
                    <a:pt x="971" y="82"/>
                    <a:pt x="971" y="81"/>
                    <a:pt x="970" y="81"/>
                  </a:cubicBezTo>
                  <a:cubicBezTo>
                    <a:pt x="970" y="81"/>
                    <a:pt x="970" y="81"/>
                    <a:pt x="970" y="81"/>
                  </a:cubicBezTo>
                  <a:cubicBezTo>
                    <a:pt x="970" y="81"/>
                    <a:pt x="970" y="81"/>
                    <a:pt x="970" y="81"/>
                  </a:cubicBezTo>
                  <a:cubicBezTo>
                    <a:pt x="970" y="81"/>
                    <a:pt x="970" y="81"/>
                    <a:pt x="970" y="81"/>
                  </a:cubicBezTo>
                  <a:cubicBezTo>
                    <a:pt x="970" y="81"/>
                    <a:pt x="970" y="80"/>
                    <a:pt x="970" y="80"/>
                  </a:cubicBezTo>
                  <a:cubicBezTo>
                    <a:pt x="970" y="80"/>
                    <a:pt x="970" y="80"/>
                    <a:pt x="970" y="80"/>
                  </a:cubicBezTo>
                  <a:cubicBezTo>
                    <a:pt x="970" y="80"/>
                    <a:pt x="970" y="80"/>
                    <a:pt x="969" y="80"/>
                  </a:cubicBezTo>
                  <a:cubicBezTo>
                    <a:pt x="969" y="80"/>
                    <a:pt x="969" y="80"/>
                    <a:pt x="969" y="80"/>
                  </a:cubicBezTo>
                  <a:cubicBezTo>
                    <a:pt x="969" y="79"/>
                    <a:pt x="969" y="79"/>
                    <a:pt x="969" y="79"/>
                  </a:cubicBezTo>
                  <a:cubicBezTo>
                    <a:pt x="969" y="79"/>
                    <a:pt x="969" y="79"/>
                    <a:pt x="969" y="79"/>
                  </a:cubicBezTo>
                  <a:cubicBezTo>
                    <a:pt x="969" y="79"/>
                    <a:pt x="969" y="79"/>
                    <a:pt x="969" y="79"/>
                  </a:cubicBezTo>
                  <a:cubicBezTo>
                    <a:pt x="969" y="79"/>
                    <a:pt x="969" y="79"/>
                    <a:pt x="969" y="79"/>
                  </a:cubicBezTo>
                  <a:cubicBezTo>
                    <a:pt x="969" y="78"/>
                    <a:pt x="968" y="78"/>
                    <a:pt x="968" y="78"/>
                  </a:cubicBezTo>
                  <a:cubicBezTo>
                    <a:pt x="968" y="78"/>
                    <a:pt x="968" y="78"/>
                    <a:pt x="968" y="78"/>
                  </a:cubicBezTo>
                  <a:cubicBezTo>
                    <a:pt x="968" y="78"/>
                    <a:pt x="968" y="78"/>
                    <a:pt x="968" y="78"/>
                  </a:cubicBezTo>
                  <a:cubicBezTo>
                    <a:pt x="968" y="78"/>
                    <a:pt x="968" y="78"/>
                    <a:pt x="968" y="78"/>
                  </a:cubicBezTo>
                  <a:cubicBezTo>
                    <a:pt x="968" y="77"/>
                    <a:pt x="968" y="77"/>
                    <a:pt x="968" y="77"/>
                  </a:cubicBezTo>
                  <a:cubicBezTo>
                    <a:pt x="968" y="77"/>
                    <a:pt x="968" y="77"/>
                    <a:pt x="968" y="77"/>
                  </a:cubicBezTo>
                  <a:cubicBezTo>
                    <a:pt x="968" y="77"/>
                    <a:pt x="967" y="77"/>
                    <a:pt x="967" y="76"/>
                  </a:cubicBezTo>
                  <a:cubicBezTo>
                    <a:pt x="967" y="76"/>
                    <a:pt x="967" y="76"/>
                    <a:pt x="967" y="76"/>
                  </a:cubicBezTo>
                  <a:cubicBezTo>
                    <a:pt x="967" y="76"/>
                    <a:pt x="967" y="76"/>
                    <a:pt x="967" y="76"/>
                  </a:cubicBezTo>
                  <a:cubicBezTo>
                    <a:pt x="967" y="76"/>
                    <a:pt x="967" y="76"/>
                    <a:pt x="967" y="76"/>
                  </a:cubicBezTo>
                  <a:cubicBezTo>
                    <a:pt x="967" y="76"/>
                    <a:pt x="967" y="75"/>
                    <a:pt x="967" y="75"/>
                  </a:cubicBezTo>
                  <a:cubicBezTo>
                    <a:pt x="967" y="75"/>
                    <a:pt x="967" y="75"/>
                    <a:pt x="967" y="75"/>
                  </a:cubicBezTo>
                  <a:cubicBezTo>
                    <a:pt x="966" y="75"/>
                    <a:pt x="966" y="75"/>
                    <a:pt x="966" y="74"/>
                  </a:cubicBezTo>
                  <a:cubicBezTo>
                    <a:pt x="966" y="74"/>
                    <a:pt x="966" y="74"/>
                    <a:pt x="966" y="74"/>
                  </a:cubicBezTo>
                  <a:cubicBezTo>
                    <a:pt x="966" y="74"/>
                    <a:pt x="966" y="74"/>
                    <a:pt x="966" y="74"/>
                  </a:cubicBezTo>
                  <a:cubicBezTo>
                    <a:pt x="966" y="74"/>
                    <a:pt x="966" y="74"/>
                    <a:pt x="966" y="73"/>
                  </a:cubicBezTo>
                  <a:cubicBezTo>
                    <a:pt x="966" y="73"/>
                    <a:pt x="966" y="73"/>
                    <a:pt x="966" y="73"/>
                  </a:cubicBezTo>
                  <a:cubicBezTo>
                    <a:pt x="966" y="73"/>
                    <a:pt x="966" y="73"/>
                    <a:pt x="966" y="73"/>
                  </a:cubicBezTo>
                  <a:cubicBezTo>
                    <a:pt x="966" y="73"/>
                    <a:pt x="966" y="73"/>
                    <a:pt x="966" y="73"/>
                  </a:cubicBezTo>
                  <a:cubicBezTo>
                    <a:pt x="965" y="72"/>
                    <a:pt x="965" y="72"/>
                    <a:pt x="965" y="72"/>
                  </a:cubicBezTo>
                  <a:cubicBezTo>
                    <a:pt x="965" y="72"/>
                    <a:pt x="965" y="72"/>
                    <a:pt x="965" y="72"/>
                  </a:cubicBezTo>
                  <a:cubicBezTo>
                    <a:pt x="965" y="71"/>
                    <a:pt x="965" y="71"/>
                    <a:pt x="965" y="71"/>
                  </a:cubicBezTo>
                  <a:cubicBezTo>
                    <a:pt x="965" y="71"/>
                    <a:pt x="965" y="71"/>
                    <a:pt x="965" y="71"/>
                  </a:cubicBezTo>
                  <a:cubicBezTo>
                    <a:pt x="965" y="71"/>
                    <a:pt x="965" y="71"/>
                    <a:pt x="965" y="71"/>
                  </a:cubicBezTo>
                  <a:cubicBezTo>
                    <a:pt x="965" y="70"/>
                    <a:pt x="965" y="70"/>
                    <a:pt x="965" y="70"/>
                  </a:cubicBezTo>
                  <a:cubicBezTo>
                    <a:pt x="964" y="70"/>
                    <a:pt x="964" y="70"/>
                    <a:pt x="964" y="70"/>
                  </a:cubicBezTo>
                  <a:cubicBezTo>
                    <a:pt x="964" y="70"/>
                    <a:pt x="964" y="70"/>
                    <a:pt x="964" y="70"/>
                  </a:cubicBezTo>
                  <a:cubicBezTo>
                    <a:pt x="964" y="69"/>
                    <a:pt x="964" y="69"/>
                    <a:pt x="964" y="69"/>
                  </a:cubicBezTo>
                  <a:cubicBezTo>
                    <a:pt x="964" y="69"/>
                    <a:pt x="964" y="69"/>
                    <a:pt x="964" y="69"/>
                  </a:cubicBezTo>
                  <a:cubicBezTo>
                    <a:pt x="964" y="68"/>
                    <a:pt x="964" y="68"/>
                    <a:pt x="964" y="67"/>
                  </a:cubicBezTo>
                  <a:cubicBezTo>
                    <a:pt x="964" y="67"/>
                    <a:pt x="964" y="67"/>
                    <a:pt x="964" y="67"/>
                  </a:cubicBezTo>
                  <a:cubicBezTo>
                    <a:pt x="964" y="67"/>
                    <a:pt x="964" y="66"/>
                    <a:pt x="964" y="66"/>
                  </a:cubicBezTo>
                  <a:cubicBezTo>
                    <a:pt x="963" y="66"/>
                    <a:pt x="963" y="66"/>
                    <a:pt x="963" y="66"/>
                  </a:cubicBezTo>
                  <a:cubicBezTo>
                    <a:pt x="963" y="65"/>
                    <a:pt x="964" y="64"/>
                    <a:pt x="963" y="64"/>
                  </a:cubicBezTo>
                  <a:cubicBezTo>
                    <a:pt x="963" y="64"/>
                    <a:pt x="963" y="64"/>
                    <a:pt x="963" y="64"/>
                  </a:cubicBezTo>
                  <a:cubicBezTo>
                    <a:pt x="963" y="64"/>
                    <a:pt x="963" y="64"/>
                    <a:pt x="963" y="64"/>
                  </a:cubicBezTo>
                  <a:cubicBezTo>
                    <a:pt x="963" y="63"/>
                    <a:pt x="963" y="62"/>
                    <a:pt x="963" y="62"/>
                  </a:cubicBezTo>
                  <a:cubicBezTo>
                    <a:pt x="963" y="62"/>
                    <a:pt x="963" y="61"/>
                    <a:pt x="963" y="61"/>
                  </a:cubicBezTo>
                  <a:cubicBezTo>
                    <a:pt x="962" y="60"/>
                    <a:pt x="963" y="58"/>
                    <a:pt x="962" y="57"/>
                  </a:cubicBezTo>
                  <a:cubicBezTo>
                    <a:pt x="962" y="56"/>
                    <a:pt x="962" y="55"/>
                    <a:pt x="962" y="55"/>
                  </a:cubicBezTo>
                  <a:cubicBezTo>
                    <a:pt x="963" y="53"/>
                    <a:pt x="962" y="52"/>
                    <a:pt x="963" y="50"/>
                  </a:cubicBezTo>
                  <a:cubicBezTo>
                    <a:pt x="963" y="50"/>
                    <a:pt x="963" y="50"/>
                    <a:pt x="963" y="49"/>
                  </a:cubicBezTo>
                  <a:cubicBezTo>
                    <a:pt x="963" y="49"/>
                    <a:pt x="963" y="48"/>
                    <a:pt x="963" y="47"/>
                  </a:cubicBezTo>
                  <a:cubicBezTo>
                    <a:pt x="963" y="47"/>
                    <a:pt x="963" y="47"/>
                    <a:pt x="963" y="47"/>
                  </a:cubicBezTo>
                  <a:cubicBezTo>
                    <a:pt x="963" y="46"/>
                    <a:pt x="963" y="46"/>
                    <a:pt x="963" y="45"/>
                  </a:cubicBezTo>
                  <a:cubicBezTo>
                    <a:pt x="963" y="45"/>
                    <a:pt x="963" y="45"/>
                    <a:pt x="963" y="45"/>
                  </a:cubicBezTo>
                  <a:cubicBezTo>
                    <a:pt x="963" y="45"/>
                    <a:pt x="963" y="45"/>
                    <a:pt x="963" y="45"/>
                  </a:cubicBezTo>
                  <a:cubicBezTo>
                    <a:pt x="964" y="45"/>
                    <a:pt x="963" y="44"/>
                    <a:pt x="964" y="44"/>
                  </a:cubicBezTo>
                  <a:cubicBezTo>
                    <a:pt x="964" y="44"/>
                    <a:pt x="964" y="43"/>
                    <a:pt x="964" y="43"/>
                  </a:cubicBezTo>
                  <a:cubicBezTo>
                    <a:pt x="964" y="43"/>
                    <a:pt x="964" y="43"/>
                    <a:pt x="964" y="42"/>
                  </a:cubicBezTo>
                  <a:cubicBezTo>
                    <a:pt x="964" y="42"/>
                    <a:pt x="964" y="42"/>
                    <a:pt x="964" y="42"/>
                  </a:cubicBezTo>
                  <a:cubicBezTo>
                    <a:pt x="964" y="42"/>
                    <a:pt x="964" y="42"/>
                    <a:pt x="964" y="41"/>
                  </a:cubicBezTo>
                  <a:cubicBezTo>
                    <a:pt x="964" y="41"/>
                    <a:pt x="964" y="41"/>
                    <a:pt x="964" y="41"/>
                  </a:cubicBezTo>
                  <a:cubicBezTo>
                    <a:pt x="965" y="41"/>
                    <a:pt x="965" y="41"/>
                    <a:pt x="965" y="41"/>
                  </a:cubicBezTo>
                  <a:cubicBezTo>
                    <a:pt x="965" y="41"/>
                    <a:pt x="965" y="40"/>
                    <a:pt x="965" y="40"/>
                  </a:cubicBezTo>
                  <a:cubicBezTo>
                    <a:pt x="965" y="40"/>
                    <a:pt x="965" y="40"/>
                    <a:pt x="965" y="40"/>
                  </a:cubicBezTo>
                  <a:cubicBezTo>
                    <a:pt x="965" y="40"/>
                    <a:pt x="965" y="40"/>
                    <a:pt x="965" y="40"/>
                  </a:cubicBezTo>
                  <a:cubicBezTo>
                    <a:pt x="965" y="40"/>
                    <a:pt x="965" y="39"/>
                    <a:pt x="965" y="39"/>
                  </a:cubicBezTo>
                  <a:cubicBezTo>
                    <a:pt x="965" y="39"/>
                    <a:pt x="965" y="39"/>
                    <a:pt x="965" y="39"/>
                  </a:cubicBezTo>
                  <a:cubicBezTo>
                    <a:pt x="965" y="39"/>
                    <a:pt x="965" y="39"/>
                    <a:pt x="965" y="39"/>
                  </a:cubicBezTo>
                  <a:cubicBezTo>
                    <a:pt x="965" y="39"/>
                    <a:pt x="965" y="38"/>
                    <a:pt x="966" y="38"/>
                  </a:cubicBezTo>
                  <a:cubicBezTo>
                    <a:pt x="966" y="38"/>
                    <a:pt x="966" y="38"/>
                    <a:pt x="966" y="38"/>
                  </a:cubicBezTo>
                  <a:cubicBezTo>
                    <a:pt x="966" y="38"/>
                    <a:pt x="966" y="38"/>
                    <a:pt x="966" y="37"/>
                  </a:cubicBezTo>
                  <a:cubicBezTo>
                    <a:pt x="966" y="37"/>
                    <a:pt x="966" y="37"/>
                    <a:pt x="966" y="37"/>
                  </a:cubicBezTo>
                  <a:cubicBezTo>
                    <a:pt x="966" y="37"/>
                    <a:pt x="966" y="37"/>
                    <a:pt x="966" y="37"/>
                  </a:cubicBezTo>
                  <a:cubicBezTo>
                    <a:pt x="966" y="37"/>
                    <a:pt x="966" y="37"/>
                    <a:pt x="966" y="36"/>
                  </a:cubicBezTo>
                  <a:cubicBezTo>
                    <a:pt x="966" y="36"/>
                    <a:pt x="966" y="36"/>
                    <a:pt x="966" y="36"/>
                  </a:cubicBezTo>
                  <a:cubicBezTo>
                    <a:pt x="966" y="36"/>
                    <a:pt x="966" y="36"/>
                    <a:pt x="967" y="36"/>
                  </a:cubicBezTo>
                  <a:cubicBezTo>
                    <a:pt x="967" y="36"/>
                    <a:pt x="967" y="36"/>
                    <a:pt x="967" y="36"/>
                  </a:cubicBezTo>
                  <a:cubicBezTo>
                    <a:pt x="967" y="36"/>
                    <a:pt x="967" y="35"/>
                    <a:pt x="967" y="35"/>
                  </a:cubicBezTo>
                  <a:cubicBezTo>
                    <a:pt x="967" y="35"/>
                    <a:pt x="967" y="35"/>
                    <a:pt x="967" y="35"/>
                  </a:cubicBezTo>
                  <a:cubicBezTo>
                    <a:pt x="967" y="35"/>
                    <a:pt x="967" y="35"/>
                    <a:pt x="967" y="34"/>
                  </a:cubicBezTo>
                  <a:cubicBezTo>
                    <a:pt x="967" y="34"/>
                    <a:pt x="967" y="34"/>
                    <a:pt x="967" y="34"/>
                  </a:cubicBezTo>
                  <a:cubicBezTo>
                    <a:pt x="968" y="34"/>
                    <a:pt x="967" y="34"/>
                    <a:pt x="968" y="34"/>
                  </a:cubicBezTo>
                  <a:cubicBezTo>
                    <a:pt x="968" y="34"/>
                    <a:pt x="968" y="34"/>
                    <a:pt x="968" y="34"/>
                  </a:cubicBezTo>
                  <a:cubicBezTo>
                    <a:pt x="968" y="33"/>
                    <a:pt x="968" y="33"/>
                    <a:pt x="968" y="33"/>
                  </a:cubicBezTo>
                  <a:cubicBezTo>
                    <a:pt x="968" y="33"/>
                    <a:pt x="968" y="33"/>
                    <a:pt x="968" y="33"/>
                  </a:cubicBezTo>
                  <a:cubicBezTo>
                    <a:pt x="968" y="33"/>
                    <a:pt x="968" y="32"/>
                    <a:pt x="968" y="32"/>
                  </a:cubicBezTo>
                  <a:cubicBezTo>
                    <a:pt x="968" y="32"/>
                    <a:pt x="968" y="32"/>
                    <a:pt x="968" y="32"/>
                  </a:cubicBezTo>
                  <a:cubicBezTo>
                    <a:pt x="968" y="32"/>
                    <a:pt x="969" y="32"/>
                    <a:pt x="969" y="32"/>
                  </a:cubicBezTo>
                  <a:cubicBezTo>
                    <a:pt x="969" y="32"/>
                    <a:pt x="969" y="32"/>
                    <a:pt x="969" y="32"/>
                  </a:cubicBezTo>
                  <a:cubicBezTo>
                    <a:pt x="969" y="32"/>
                    <a:pt x="969" y="31"/>
                    <a:pt x="969" y="31"/>
                  </a:cubicBezTo>
                  <a:cubicBezTo>
                    <a:pt x="969" y="31"/>
                    <a:pt x="969" y="31"/>
                    <a:pt x="969" y="31"/>
                  </a:cubicBezTo>
                  <a:cubicBezTo>
                    <a:pt x="969" y="31"/>
                    <a:pt x="969" y="31"/>
                    <a:pt x="969" y="31"/>
                  </a:cubicBezTo>
                  <a:cubicBezTo>
                    <a:pt x="969" y="31"/>
                    <a:pt x="969" y="31"/>
                    <a:pt x="969" y="31"/>
                  </a:cubicBezTo>
                  <a:cubicBezTo>
                    <a:pt x="970" y="31"/>
                    <a:pt x="970" y="30"/>
                    <a:pt x="970" y="30"/>
                  </a:cubicBezTo>
                  <a:cubicBezTo>
                    <a:pt x="970" y="30"/>
                    <a:pt x="970" y="30"/>
                    <a:pt x="970" y="30"/>
                  </a:cubicBezTo>
                  <a:cubicBezTo>
                    <a:pt x="970" y="30"/>
                    <a:pt x="970" y="30"/>
                    <a:pt x="970" y="30"/>
                  </a:cubicBezTo>
                  <a:cubicBezTo>
                    <a:pt x="970" y="30"/>
                    <a:pt x="970" y="30"/>
                    <a:pt x="970" y="30"/>
                  </a:cubicBezTo>
                  <a:cubicBezTo>
                    <a:pt x="970" y="30"/>
                    <a:pt x="971" y="29"/>
                    <a:pt x="971" y="29"/>
                  </a:cubicBezTo>
                  <a:cubicBezTo>
                    <a:pt x="971" y="29"/>
                    <a:pt x="971" y="29"/>
                    <a:pt x="971" y="29"/>
                  </a:cubicBezTo>
                  <a:cubicBezTo>
                    <a:pt x="971" y="29"/>
                    <a:pt x="971" y="29"/>
                    <a:pt x="971" y="28"/>
                  </a:cubicBezTo>
                  <a:cubicBezTo>
                    <a:pt x="971" y="28"/>
                    <a:pt x="971" y="28"/>
                    <a:pt x="971" y="28"/>
                  </a:cubicBezTo>
                  <a:cubicBezTo>
                    <a:pt x="971" y="28"/>
                    <a:pt x="971" y="28"/>
                    <a:pt x="971" y="28"/>
                  </a:cubicBezTo>
                  <a:cubicBezTo>
                    <a:pt x="971" y="28"/>
                    <a:pt x="971" y="28"/>
                    <a:pt x="971" y="28"/>
                  </a:cubicBezTo>
                  <a:cubicBezTo>
                    <a:pt x="972" y="28"/>
                    <a:pt x="972" y="27"/>
                    <a:pt x="972" y="27"/>
                  </a:cubicBezTo>
                  <a:cubicBezTo>
                    <a:pt x="972" y="27"/>
                    <a:pt x="972" y="27"/>
                    <a:pt x="972" y="27"/>
                  </a:cubicBezTo>
                  <a:cubicBezTo>
                    <a:pt x="972" y="27"/>
                    <a:pt x="972" y="27"/>
                    <a:pt x="973" y="27"/>
                  </a:cubicBezTo>
                  <a:cubicBezTo>
                    <a:pt x="973" y="27"/>
                    <a:pt x="973" y="27"/>
                    <a:pt x="973" y="27"/>
                  </a:cubicBezTo>
                  <a:cubicBezTo>
                    <a:pt x="973" y="27"/>
                    <a:pt x="973" y="26"/>
                    <a:pt x="973" y="26"/>
                  </a:cubicBezTo>
                  <a:cubicBezTo>
                    <a:pt x="973" y="26"/>
                    <a:pt x="973" y="26"/>
                    <a:pt x="973" y="26"/>
                  </a:cubicBezTo>
                  <a:cubicBezTo>
                    <a:pt x="973" y="26"/>
                    <a:pt x="973" y="26"/>
                    <a:pt x="973" y="26"/>
                  </a:cubicBezTo>
                  <a:cubicBezTo>
                    <a:pt x="973" y="26"/>
                    <a:pt x="973" y="26"/>
                    <a:pt x="973" y="26"/>
                  </a:cubicBezTo>
                  <a:cubicBezTo>
                    <a:pt x="973" y="26"/>
                    <a:pt x="973" y="26"/>
                    <a:pt x="974" y="26"/>
                  </a:cubicBezTo>
                  <a:cubicBezTo>
                    <a:pt x="974" y="26"/>
                    <a:pt x="974" y="26"/>
                    <a:pt x="974" y="26"/>
                  </a:cubicBezTo>
                  <a:cubicBezTo>
                    <a:pt x="974" y="26"/>
                    <a:pt x="974" y="25"/>
                    <a:pt x="974" y="25"/>
                  </a:cubicBezTo>
                  <a:cubicBezTo>
                    <a:pt x="974" y="25"/>
                    <a:pt x="974" y="25"/>
                    <a:pt x="974" y="25"/>
                  </a:cubicBezTo>
                  <a:cubicBezTo>
                    <a:pt x="974" y="25"/>
                    <a:pt x="974" y="25"/>
                    <a:pt x="974" y="25"/>
                  </a:cubicBezTo>
                  <a:cubicBezTo>
                    <a:pt x="974" y="25"/>
                    <a:pt x="974" y="25"/>
                    <a:pt x="974" y="25"/>
                  </a:cubicBezTo>
                  <a:cubicBezTo>
                    <a:pt x="974" y="25"/>
                    <a:pt x="975" y="25"/>
                    <a:pt x="975" y="25"/>
                  </a:cubicBezTo>
                  <a:cubicBezTo>
                    <a:pt x="975" y="25"/>
                    <a:pt x="975" y="25"/>
                    <a:pt x="975" y="25"/>
                  </a:cubicBezTo>
                  <a:cubicBezTo>
                    <a:pt x="975" y="24"/>
                    <a:pt x="975" y="24"/>
                    <a:pt x="975" y="24"/>
                  </a:cubicBezTo>
                  <a:cubicBezTo>
                    <a:pt x="975" y="24"/>
                    <a:pt x="975" y="24"/>
                    <a:pt x="975" y="24"/>
                  </a:cubicBezTo>
                  <a:cubicBezTo>
                    <a:pt x="975" y="24"/>
                    <a:pt x="976" y="24"/>
                    <a:pt x="976" y="23"/>
                  </a:cubicBezTo>
                  <a:cubicBezTo>
                    <a:pt x="976" y="23"/>
                    <a:pt x="976" y="23"/>
                    <a:pt x="976" y="23"/>
                  </a:cubicBezTo>
                  <a:cubicBezTo>
                    <a:pt x="976" y="23"/>
                    <a:pt x="976" y="23"/>
                    <a:pt x="976" y="23"/>
                  </a:cubicBezTo>
                  <a:cubicBezTo>
                    <a:pt x="976" y="23"/>
                    <a:pt x="976" y="23"/>
                    <a:pt x="976" y="23"/>
                  </a:cubicBezTo>
                  <a:cubicBezTo>
                    <a:pt x="976" y="23"/>
                    <a:pt x="977" y="23"/>
                    <a:pt x="977" y="23"/>
                  </a:cubicBezTo>
                  <a:cubicBezTo>
                    <a:pt x="977" y="23"/>
                    <a:pt x="977" y="23"/>
                    <a:pt x="977" y="23"/>
                  </a:cubicBezTo>
                  <a:cubicBezTo>
                    <a:pt x="977" y="23"/>
                    <a:pt x="977" y="23"/>
                    <a:pt x="977" y="22"/>
                  </a:cubicBezTo>
                  <a:cubicBezTo>
                    <a:pt x="977" y="22"/>
                    <a:pt x="977" y="22"/>
                    <a:pt x="977" y="22"/>
                  </a:cubicBezTo>
                  <a:cubicBezTo>
                    <a:pt x="978" y="22"/>
                    <a:pt x="978" y="22"/>
                    <a:pt x="978" y="22"/>
                  </a:cubicBezTo>
                  <a:cubicBezTo>
                    <a:pt x="978" y="22"/>
                    <a:pt x="978" y="22"/>
                    <a:pt x="978" y="22"/>
                  </a:cubicBezTo>
                  <a:cubicBezTo>
                    <a:pt x="978" y="22"/>
                    <a:pt x="978" y="22"/>
                    <a:pt x="979" y="21"/>
                  </a:cubicBezTo>
                  <a:cubicBezTo>
                    <a:pt x="979" y="21"/>
                    <a:pt x="979" y="21"/>
                    <a:pt x="979" y="21"/>
                  </a:cubicBezTo>
                  <a:cubicBezTo>
                    <a:pt x="979" y="21"/>
                    <a:pt x="979" y="21"/>
                    <a:pt x="979" y="21"/>
                  </a:cubicBezTo>
                  <a:cubicBezTo>
                    <a:pt x="979" y="21"/>
                    <a:pt x="979" y="21"/>
                    <a:pt x="979" y="21"/>
                  </a:cubicBezTo>
                  <a:cubicBezTo>
                    <a:pt x="980" y="21"/>
                    <a:pt x="980" y="21"/>
                    <a:pt x="980" y="21"/>
                  </a:cubicBezTo>
                  <a:cubicBezTo>
                    <a:pt x="980" y="21"/>
                    <a:pt x="980" y="21"/>
                    <a:pt x="980" y="21"/>
                  </a:cubicBezTo>
                  <a:cubicBezTo>
                    <a:pt x="980" y="21"/>
                    <a:pt x="980" y="21"/>
                    <a:pt x="981" y="20"/>
                  </a:cubicBezTo>
                  <a:cubicBezTo>
                    <a:pt x="981" y="20"/>
                    <a:pt x="981" y="20"/>
                    <a:pt x="981" y="20"/>
                  </a:cubicBezTo>
                  <a:cubicBezTo>
                    <a:pt x="981" y="20"/>
                    <a:pt x="981" y="20"/>
                    <a:pt x="981" y="20"/>
                  </a:cubicBezTo>
                  <a:cubicBezTo>
                    <a:pt x="981" y="20"/>
                    <a:pt x="981" y="20"/>
                    <a:pt x="981" y="20"/>
                  </a:cubicBezTo>
                  <a:cubicBezTo>
                    <a:pt x="981" y="20"/>
                    <a:pt x="982" y="20"/>
                    <a:pt x="982" y="20"/>
                  </a:cubicBezTo>
                  <a:cubicBezTo>
                    <a:pt x="982" y="20"/>
                    <a:pt x="982" y="20"/>
                    <a:pt x="982" y="20"/>
                  </a:cubicBezTo>
                  <a:cubicBezTo>
                    <a:pt x="982" y="20"/>
                    <a:pt x="982" y="20"/>
                    <a:pt x="983" y="19"/>
                  </a:cubicBezTo>
                  <a:cubicBezTo>
                    <a:pt x="983" y="19"/>
                    <a:pt x="983" y="19"/>
                    <a:pt x="983" y="19"/>
                  </a:cubicBezTo>
                  <a:cubicBezTo>
                    <a:pt x="983" y="19"/>
                    <a:pt x="983" y="19"/>
                    <a:pt x="983" y="19"/>
                  </a:cubicBezTo>
                  <a:cubicBezTo>
                    <a:pt x="983" y="19"/>
                    <a:pt x="983" y="19"/>
                    <a:pt x="983" y="19"/>
                  </a:cubicBezTo>
                  <a:cubicBezTo>
                    <a:pt x="984" y="19"/>
                    <a:pt x="984" y="19"/>
                    <a:pt x="984" y="19"/>
                  </a:cubicBezTo>
                  <a:cubicBezTo>
                    <a:pt x="984" y="19"/>
                    <a:pt x="984" y="19"/>
                    <a:pt x="984" y="19"/>
                  </a:cubicBezTo>
                  <a:cubicBezTo>
                    <a:pt x="984" y="18"/>
                    <a:pt x="985" y="19"/>
                    <a:pt x="985" y="18"/>
                  </a:cubicBezTo>
                  <a:cubicBezTo>
                    <a:pt x="985" y="18"/>
                    <a:pt x="985" y="18"/>
                    <a:pt x="985" y="18"/>
                  </a:cubicBezTo>
                  <a:cubicBezTo>
                    <a:pt x="985" y="18"/>
                    <a:pt x="986" y="18"/>
                    <a:pt x="986" y="18"/>
                  </a:cubicBezTo>
                  <a:cubicBezTo>
                    <a:pt x="986" y="18"/>
                    <a:pt x="986" y="18"/>
                    <a:pt x="986" y="18"/>
                  </a:cubicBezTo>
                  <a:cubicBezTo>
                    <a:pt x="986" y="18"/>
                    <a:pt x="986" y="18"/>
                    <a:pt x="986" y="18"/>
                  </a:cubicBezTo>
                  <a:cubicBezTo>
                    <a:pt x="986" y="18"/>
                    <a:pt x="987" y="18"/>
                    <a:pt x="987" y="18"/>
                  </a:cubicBezTo>
                  <a:cubicBezTo>
                    <a:pt x="987" y="18"/>
                    <a:pt x="987" y="18"/>
                    <a:pt x="987" y="18"/>
                  </a:cubicBezTo>
                  <a:cubicBezTo>
                    <a:pt x="987" y="18"/>
                    <a:pt x="987" y="18"/>
                    <a:pt x="987" y="18"/>
                  </a:cubicBezTo>
                  <a:cubicBezTo>
                    <a:pt x="987" y="17"/>
                    <a:pt x="988" y="18"/>
                    <a:pt x="988" y="17"/>
                  </a:cubicBezTo>
                  <a:cubicBezTo>
                    <a:pt x="988" y="17"/>
                    <a:pt x="988" y="17"/>
                    <a:pt x="988" y="17"/>
                  </a:cubicBezTo>
                  <a:cubicBezTo>
                    <a:pt x="988" y="17"/>
                    <a:pt x="989" y="17"/>
                    <a:pt x="989" y="17"/>
                  </a:cubicBezTo>
                  <a:cubicBezTo>
                    <a:pt x="989" y="17"/>
                    <a:pt x="989" y="17"/>
                    <a:pt x="989" y="17"/>
                  </a:cubicBezTo>
                  <a:cubicBezTo>
                    <a:pt x="990" y="17"/>
                    <a:pt x="990" y="17"/>
                    <a:pt x="990" y="17"/>
                  </a:cubicBezTo>
                  <a:cubicBezTo>
                    <a:pt x="990" y="17"/>
                    <a:pt x="991" y="17"/>
                    <a:pt x="991" y="17"/>
                  </a:cubicBezTo>
                  <a:cubicBezTo>
                    <a:pt x="991" y="17"/>
                    <a:pt x="991" y="17"/>
                    <a:pt x="991" y="17"/>
                  </a:cubicBezTo>
                  <a:cubicBezTo>
                    <a:pt x="991" y="17"/>
                    <a:pt x="991" y="17"/>
                    <a:pt x="991" y="17"/>
                  </a:cubicBezTo>
                  <a:cubicBezTo>
                    <a:pt x="992" y="16"/>
                    <a:pt x="993" y="17"/>
                    <a:pt x="993" y="16"/>
                  </a:cubicBezTo>
                  <a:cubicBezTo>
                    <a:pt x="993" y="16"/>
                    <a:pt x="993" y="16"/>
                    <a:pt x="994" y="16"/>
                  </a:cubicBezTo>
                  <a:cubicBezTo>
                    <a:pt x="995" y="16"/>
                    <a:pt x="996" y="16"/>
                    <a:pt x="997" y="16"/>
                  </a:cubicBezTo>
                  <a:cubicBezTo>
                    <a:pt x="998" y="16"/>
                    <a:pt x="999" y="16"/>
                    <a:pt x="1000" y="16"/>
                  </a:cubicBezTo>
                  <a:cubicBezTo>
                    <a:pt x="1002" y="16"/>
                    <a:pt x="1003" y="16"/>
                    <a:pt x="1004" y="16"/>
                  </a:cubicBezTo>
                  <a:cubicBezTo>
                    <a:pt x="1004" y="16"/>
                    <a:pt x="1004" y="16"/>
                    <a:pt x="1005" y="16"/>
                  </a:cubicBezTo>
                  <a:cubicBezTo>
                    <a:pt x="1005" y="17"/>
                    <a:pt x="1006" y="16"/>
                    <a:pt x="1006" y="17"/>
                  </a:cubicBezTo>
                  <a:cubicBezTo>
                    <a:pt x="1007" y="16"/>
                    <a:pt x="1007" y="16"/>
                    <a:pt x="1007" y="17"/>
                  </a:cubicBezTo>
                  <a:cubicBezTo>
                    <a:pt x="1007" y="17"/>
                    <a:pt x="1008" y="17"/>
                    <a:pt x="1008" y="17"/>
                  </a:cubicBezTo>
                  <a:cubicBezTo>
                    <a:pt x="1009" y="17"/>
                    <a:pt x="1009" y="17"/>
                    <a:pt x="1009" y="17"/>
                  </a:cubicBezTo>
                  <a:cubicBezTo>
                    <a:pt x="1009" y="17"/>
                    <a:pt x="1009" y="17"/>
                    <a:pt x="1009" y="17"/>
                  </a:cubicBezTo>
                  <a:cubicBezTo>
                    <a:pt x="1009" y="17"/>
                    <a:pt x="1010" y="17"/>
                    <a:pt x="1010" y="17"/>
                  </a:cubicBezTo>
                  <a:close/>
                  <a:moveTo>
                    <a:pt x="1066" y="103"/>
                  </a:moveTo>
                  <a:cubicBezTo>
                    <a:pt x="1066" y="103"/>
                    <a:pt x="1066" y="103"/>
                    <a:pt x="1066" y="103"/>
                  </a:cubicBezTo>
                  <a:cubicBezTo>
                    <a:pt x="1067" y="103"/>
                    <a:pt x="1068" y="103"/>
                    <a:pt x="1069" y="103"/>
                  </a:cubicBezTo>
                  <a:cubicBezTo>
                    <a:pt x="1069" y="102"/>
                    <a:pt x="1069" y="102"/>
                    <a:pt x="1069" y="102"/>
                  </a:cubicBezTo>
                  <a:cubicBezTo>
                    <a:pt x="1069" y="103"/>
                    <a:pt x="1069" y="103"/>
                    <a:pt x="1069" y="103"/>
                  </a:cubicBezTo>
                  <a:cubicBezTo>
                    <a:pt x="1069" y="102"/>
                    <a:pt x="1070" y="103"/>
                    <a:pt x="1070" y="102"/>
                  </a:cubicBezTo>
                  <a:cubicBezTo>
                    <a:pt x="1070" y="102"/>
                    <a:pt x="1070" y="102"/>
                    <a:pt x="1070" y="102"/>
                  </a:cubicBezTo>
                  <a:cubicBezTo>
                    <a:pt x="1071" y="102"/>
                    <a:pt x="1071" y="102"/>
                    <a:pt x="1071" y="102"/>
                  </a:cubicBezTo>
                  <a:cubicBezTo>
                    <a:pt x="1071" y="102"/>
                    <a:pt x="1071" y="102"/>
                    <a:pt x="1072" y="102"/>
                  </a:cubicBezTo>
                  <a:cubicBezTo>
                    <a:pt x="1072" y="102"/>
                    <a:pt x="1072" y="102"/>
                    <a:pt x="1072" y="102"/>
                  </a:cubicBezTo>
                  <a:cubicBezTo>
                    <a:pt x="1072" y="102"/>
                    <a:pt x="1072" y="102"/>
                    <a:pt x="1072" y="102"/>
                  </a:cubicBezTo>
                  <a:cubicBezTo>
                    <a:pt x="1072" y="102"/>
                    <a:pt x="1073" y="102"/>
                    <a:pt x="1073" y="102"/>
                  </a:cubicBezTo>
                  <a:cubicBezTo>
                    <a:pt x="1073" y="101"/>
                    <a:pt x="1073" y="101"/>
                    <a:pt x="1073" y="101"/>
                  </a:cubicBezTo>
                  <a:cubicBezTo>
                    <a:pt x="1073" y="101"/>
                    <a:pt x="1073" y="101"/>
                    <a:pt x="1073" y="101"/>
                  </a:cubicBezTo>
                  <a:cubicBezTo>
                    <a:pt x="1074" y="101"/>
                    <a:pt x="1074" y="101"/>
                    <a:pt x="1075" y="101"/>
                  </a:cubicBezTo>
                  <a:cubicBezTo>
                    <a:pt x="1074" y="101"/>
                    <a:pt x="1074" y="101"/>
                    <a:pt x="1074" y="101"/>
                  </a:cubicBezTo>
                  <a:cubicBezTo>
                    <a:pt x="1075" y="101"/>
                    <a:pt x="1075" y="101"/>
                    <a:pt x="1076" y="101"/>
                  </a:cubicBezTo>
                  <a:cubicBezTo>
                    <a:pt x="1076" y="101"/>
                    <a:pt x="1076" y="101"/>
                    <a:pt x="1076" y="101"/>
                  </a:cubicBezTo>
                  <a:cubicBezTo>
                    <a:pt x="1076" y="101"/>
                    <a:pt x="1076" y="101"/>
                    <a:pt x="1076" y="100"/>
                  </a:cubicBezTo>
                  <a:cubicBezTo>
                    <a:pt x="1076" y="100"/>
                    <a:pt x="1076" y="100"/>
                    <a:pt x="1076" y="100"/>
                  </a:cubicBezTo>
                  <a:cubicBezTo>
                    <a:pt x="1076" y="100"/>
                    <a:pt x="1076" y="100"/>
                    <a:pt x="1076" y="100"/>
                  </a:cubicBezTo>
                  <a:cubicBezTo>
                    <a:pt x="1077" y="100"/>
                    <a:pt x="1077" y="100"/>
                    <a:pt x="1077" y="100"/>
                  </a:cubicBezTo>
                  <a:cubicBezTo>
                    <a:pt x="1077" y="100"/>
                    <a:pt x="1077" y="100"/>
                    <a:pt x="1077" y="100"/>
                  </a:cubicBezTo>
                  <a:cubicBezTo>
                    <a:pt x="1077" y="100"/>
                    <a:pt x="1078" y="100"/>
                    <a:pt x="1078" y="100"/>
                  </a:cubicBezTo>
                  <a:cubicBezTo>
                    <a:pt x="1078" y="100"/>
                    <a:pt x="1078" y="100"/>
                    <a:pt x="1078" y="100"/>
                  </a:cubicBezTo>
                  <a:cubicBezTo>
                    <a:pt x="1078" y="100"/>
                    <a:pt x="1079" y="100"/>
                    <a:pt x="1079" y="99"/>
                  </a:cubicBezTo>
                  <a:cubicBezTo>
                    <a:pt x="1079" y="99"/>
                    <a:pt x="1079" y="99"/>
                    <a:pt x="1079" y="99"/>
                  </a:cubicBezTo>
                  <a:cubicBezTo>
                    <a:pt x="1079" y="99"/>
                    <a:pt x="1079" y="99"/>
                    <a:pt x="1079" y="99"/>
                  </a:cubicBezTo>
                  <a:cubicBezTo>
                    <a:pt x="1079" y="99"/>
                    <a:pt x="1079" y="99"/>
                    <a:pt x="1079" y="99"/>
                  </a:cubicBezTo>
                  <a:cubicBezTo>
                    <a:pt x="1080" y="99"/>
                    <a:pt x="1080" y="99"/>
                    <a:pt x="1080" y="99"/>
                  </a:cubicBezTo>
                  <a:cubicBezTo>
                    <a:pt x="1080" y="99"/>
                    <a:pt x="1080" y="99"/>
                    <a:pt x="1080" y="99"/>
                  </a:cubicBezTo>
                  <a:cubicBezTo>
                    <a:pt x="1080" y="99"/>
                    <a:pt x="1081" y="99"/>
                    <a:pt x="1081" y="98"/>
                  </a:cubicBezTo>
                  <a:cubicBezTo>
                    <a:pt x="1081" y="98"/>
                    <a:pt x="1081" y="98"/>
                    <a:pt x="1081" y="98"/>
                  </a:cubicBezTo>
                  <a:cubicBezTo>
                    <a:pt x="1081" y="98"/>
                    <a:pt x="1081" y="98"/>
                    <a:pt x="1081" y="98"/>
                  </a:cubicBezTo>
                  <a:cubicBezTo>
                    <a:pt x="1081" y="98"/>
                    <a:pt x="1081" y="98"/>
                    <a:pt x="1081" y="98"/>
                  </a:cubicBezTo>
                  <a:cubicBezTo>
                    <a:pt x="1081" y="98"/>
                    <a:pt x="1082" y="98"/>
                    <a:pt x="1082" y="98"/>
                  </a:cubicBezTo>
                  <a:cubicBezTo>
                    <a:pt x="1082" y="98"/>
                    <a:pt x="1082" y="98"/>
                    <a:pt x="1082" y="98"/>
                  </a:cubicBezTo>
                  <a:cubicBezTo>
                    <a:pt x="1082" y="97"/>
                    <a:pt x="1082" y="98"/>
                    <a:pt x="1082" y="97"/>
                  </a:cubicBezTo>
                  <a:cubicBezTo>
                    <a:pt x="1082" y="97"/>
                    <a:pt x="1082" y="97"/>
                    <a:pt x="1082" y="97"/>
                  </a:cubicBezTo>
                  <a:cubicBezTo>
                    <a:pt x="1083" y="97"/>
                    <a:pt x="1083" y="97"/>
                    <a:pt x="1083" y="97"/>
                  </a:cubicBezTo>
                  <a:cubicBezTo>
                    <a:pt x="1083" y="97"/>
                    <a:pt x="1083" y="97"/>
                    <a:pt x="1083" y="97"/>
                  </a:cubicBezTo>
                  <a:cubicBezTo>
                    <a:pt x="1083" y="97"/>
                    <a:pt x="1083" y="97"/>
                    <a:pt x="1083" y="97"/>
                  </a:cubicBezTo>
                  <a:cubicBezTo>
                    <a:pt x="1083" y="93"/>
                    <a:pt x="1083" y="90"/>
                    <a:pt x="1083" y="87"/>
                  </a:cubicBezTo>
                  <a:cubicBezTo>
                    <a:pt x="1083" y="86"/>
                    <a:pt x="1083" y="86"/>
                    <a:pt x="1083" y="87"/>
                  </a:cubicBezTo>
                  <a:cubicBezTo>
                    <a:pt x="1083" y="87"/>
                    <a:pt x="1083" y="87"/>
                    <a:pt x="1083" y="87"/>
                  </a:cubicBezTo>
                  <a:cubicBezTo>
                    <a:pt x="1083" y="87"/>
                    <a:pt x="1083" y="87"/>
                    <a:pt x="1083" y="87"/>
                  </a:cubicBezTo>
                  <a:cubicBezTo>
                    <a:pt x="1083" y="87"/>
                    <a:pt x="1083" y="87"/>
                    <a:pt x="1083" y="87"/>
                  </a:cubicBezTo>
                  <a:cubicBezTo>
                    <a:pt x="1082" y="87"/>
                    <a:pt x="1082" y="87"/>
                    <a:pt x="1082" y="87"/>
                  </a:cubicBezTo>
                  <a:cubicBezTo>
                    <a:pt x="1082" y="87"/>
                    <a:pt x="1082" y="87"/>
                    <a:pt x="1082" y="87"/>
                  </a:cubicBezTo>
                  <a:cubicBezTo>
                    <a:pt x="1082" y="87"/>
                    <a:pt x="1082" y="87"/>
                    <a:pt x="1082" y="88"/>
                  </a:cubicBezTo>
                  <a:cubicBezTo>
                    <a:pt x="1082" y="88"/>
                    <a:pt x="1082" y="88"/>
                    <a:pt x="1082" y="88"/>
                  </a:cubicBezTo>
                  <a:cubicBezTo>
                    <a:pt x="1081" y="88"/>
                    <a:pt x="1081" y="88"/>
                    <a:pt x="1081" y="88"/>
                  </a:cubicBezTo>
                  <a:cubicBezTo>
                    <a:pt x="1081" y="88"/>
                    <a:pt x="1081" y="88"/>
                    <a:pt x="1081" y="88"/>
                  </a:cubicBezTo>
                  <a:cubicBezTo>
                    <a:pt x="1081" y="88"/>
                    <a:pt x="1081" y="88"/>
                    <a:pt x="1080" y="88"/>
                  </a:cubicBezTo>
                  <a:cubicBezTo>
                    <a:pt x="1080" y="88"/>
                    <a:pt x="1080" y="88"/>
                    <a:pt x="1080" y="88"/>
                  </a:cubicBezTo>
                  <a:cubicBezTo>
                    <a:pt x="1080" y="88"/>
                    <a:pt x="1080" y="88"/>
                    <a:pt x="1080" y="89"/>
                  </a:cubicBezTo>
                  <a:cubicBezTo>
                    <a:pt x="1080" y="89"/>
                    <a:pt x="1080" y="89"/>
                    <a:pt x="1080" y="89"/>
                  </a:cubicBezTo>
                  <a:cubicBezTo>
                    <a:pt x="1080" y="89"/>
                    <a:pt x="1080" y="89"/>
                    <a:pt x="1079" y="89"/>
                  </a:cubicBezTo>
                  <a:cubicBezTo>
                    <a:pt x="1079" y="89"/>
                    <a:pt x="1079" y="89"/>
                    <a:pt x="1079" y="89"/>
                  </a:cubicBezTo>
                  <a:cubicBezTo>
                    <a:pt x="1079" y="89"/>
                    <a:pt x="1079" y="89"/>
                    <a:pt x="1079" y="89"/>
                  </a:cubicBezTo>
                  <a:cubicBezTo>
                    <a:pt x="1079" y="89"/>
                    <a:pt x="1079" y="89"/>
                    <a:pt x="1079" y="89"/>
                  </a:cubicBezTo>
                  <a:cubicBezTo>
                    <a:pt x="1079" y="90"/>
                    <a:pt x="1078" y="89"/>
                    <a:pt x="1078" y="90"/>
                  </a:cubicBezTo>
                  <a:cubicBezTo>
                    <a:pt x="1078" y="90"/>
                    <a:pt x="1078" y="90"/>
                    <a:pt x="1078" y="90"/>
                  </a:cubicBezTo>
                  <a:cubicBezTo>
                    <a:pt x="1078" y="90"/>
                    <a:pt x="1078" y="90"/>
                    <a:pt x="1078" y="90"/>
                  </a:cubicBezTo>
                  <a:cubicBezTo>
                    <a:pt x="1078" y="90"/>
                    <a:pt x="1078" y="90"/>
                    <a:pt x="1078" y="90"/>
                  </a:cubicBezTo>
                  <a:cubicBezTo>
                    <a:pt x="1077" y="90"/>
                    <a:pt x="1077" y="90"/>
                    <a:pt x="1077" y="90"/>
                  </a:cubicBezTo>
                  <a:cubicBezTo>
                    <a:pt x="1077" y="90"/>
                    <a:pt x="1077" y="90"/>
                    <a:pt x="1077" y="90"/>
                  </a:cubicBezTo>
                  <a:cubicBezTo>
                    <a:pt x="1077" y="90"/>
                    <a:pt x="1077" y="90"/>
                    <a:pt x="1077" y="90"/>
                  </a:cubicBezTo>
                  <a:cubicBezTo>
                    <a:pt x="1077" y="91"/>
                    <a:pt x="1076" y="91"/>
                    <a:pt x="1076" y="91"/>
                  </a:cubicBezTo>
                  <a:cubicBezTo>
                    <a:pt x="1076" y="91"/>
                    <a:pt x="1076" y="91"/>
                    <a:pt x="1076" y="91"/>
                  </a:cubicBezTo>
                  <a:cubicBezTo>
                    <a:pt x="1076" y="91"/>
                    <a:pt x="1076" y="91"/>
                    <a:pt x="1076" y="91"/>
                  </a:cubicBezTo>
                  <a:cubicBezTo>
                    <a:pt x="1076" y="91"/>
                    <a:pt x="1075" y="91"/>
                    <a:pt x="1075" y="91"/>
                  </a:cubicBezTo>
                  <a:cubicBezTo>
                    <a:pt x="1075" y="91"/>
                    <a:pt x="1075" y="91"/>
                    <a:pt x="1075" y="91"/>
                  </a:cubicBezTo>
                  <a:cubicBezTo>
                    <a:pt x="1075" y="91"/>
                    <a:pt x="1075" y="91"/>
                    <a:pt x="1075" y="91"/>
                  </a:cubicBezTo>
                  <a:cubicBezTo>
                    <a:pt x="1075" y="91"/>
                    <a:pt x="1075" y="91"/>
                    <a:pt x="1075" y="91"/>
                  </a:cubicBezTo>
                  <a:cubicBezTo>
                    <a:pt x="1074" y="92"/>
                    <a:pt x="1074" y="92"/>
                    <a:pt x="1074" y="92"/>
                  </a:cubicBezTo>
                  <a:cubicBezTo>
                    <a:pt x="1074" y="92"/>
                    <a:pt x="1074" y="92"/>
                    <a:pt x="1074" y="92"/>
                  </a:cubicBezTo>
                  <a:cubicBezTo>
                    <a:pt x="1073" y="92"/>
                    <a:pt x="1073" y="92"/>
                    <a:pt x="1073" y="92"/>
                  </a:cubicBezTo>
                  <a:cubicBezTo>
                    <a:pt x="1073" y="92"/>
                    <a:pt x="1073" y="92"/>
                    <a:pt x="1073" y="92"/>
                  </a:cubicBezTo>
                  <a:cubicBezTo>
                    <a:pt x="1073" y="92"/>
                    <a:pt x="1073" y="92"/>
                    <a:pt x="1073" y="92"/>
                  </a:cubicBezTo>
                  <a:cubicBezTo>
                    <a:pt x="1072" y="92"/>
                    <a:pt x="1072" y="92"/>
                    <a:pt x="1072" y="92"/>
                  </a:cubicBezTo>
                  <a:cubicBezTo>
                    <a:pt x="1072" y="93"/>
                    <a:pt x="1072" y="93"/>
                    <a:pt x="1071" y="92"/>
                  </a:cubicBezTo>
                  <a:cubicBezTo>
                    <a:pt x="1071" y="93"/>
                    <a:pt x="1071" y="93"/>
                    <a:pt x="1070" y="93"/>
                  </a:cubicBezTo>
                  <a:cubicBezTo>
                    <a:pt x="1070" y="93"/>
                    <a:pt x="1070" y="93"/>
                    <a:pt x="1070" y="93"/>
                  </a:cubicBezTo>
                  <a:cubicBezTo>
                    <a:pt x="1070" y="93"/>
                    <a:pt x="1070" y="93"/>
                    <a:pt x="1070" y="93"/>
                  </a:cubicBezTo>
                  <a:cubicBezTo>
                    <a:pt x="1070" y="93"/>
                    <a:pt x="1069" y="93"/>
                    <a:pt x="1069" y="93"/>
                  </a:cubicBezTo>
                  <a:cubicBezTo>
                    <a:pt x="1069" y="93"/>
                    <a:pt x="1069" y="93"/>
                    <a:pt x="1069" y="93"/>
                  </a:cubicBezTo>
                  <a:cubicBezTo>
                    <a:pt x="1068" y="94"/>
                    <a:pt x="1067" y="93"/>
                    <a:pt x="1067" y="93"/>
                  </a:cubicBezTo>
                  <a:cubicBezTo>
                    <a:pt x="1067" y="94"/>
                    <a:pt x="1067" y="94"/>
                    <a:pt x="1066" y="94"/>
                  </a:cubicBezTo>
                  <a:cubicBezTo>
                    <a:pt x="1064" y="94"/>
                    <a:pt x="1061" y="94"/>
                    <a:pt x="1058" y="94"/>
                  </a:cubicBezTo>
                  <a:cubicBezTo>
                    <a:pt x="1058" y="94"/>
                    <a:pt x="1058" y="93"/>
                    <a:pt x="1058" y="93"/>
                  </a:cubicBezTo>
                  <a:cubicBezTo>
                    <a:pt x="1057" y="93"/>
                    <a:pt x="1057" y="93"/>
                    <a:pt x="1056" y="93"/>
                  </a:cubicBezTo>
                  <a:cubicBezTo>
                    <a:pt x="1056" y="93"/>
                    <a:pt x="1056" y="93"/>
                    <a:pt x="1056" y="93"/>
                  </a:cubicBezTo>
                  <a:cubicBezTo>
                    <a:pt x="1056" y="93"/>
                    <a:pt x="1055" y="93"/>
                    <a:pt x="1055" y="93"/>
                  </a:cubicBezTo>
                  <a:cubicBezTo>
                    <a:pt x="1055" y="93"/>
                    <a:pt x="1055" y="93"/>
                    <a:pt x="1055" y="93"/>
                  </a:cubicBezTo>
                  <a:cubicBezTo>
                    <a:pt x="1054" y="93"/>
                    <a:pt x="1054" y="93"/>
                    <a:pt x="1054" y="93"/>
                  </a:cubicBezTo>
                  <a:cubicBezTo>
                    <a:pt x="1054" y="93"/>
                    <a:pt x="1054" y="93"/>
                    <a:pt x="1054" y="92"/>
                  </a:cubicBezTo>
                  <a:cubicBezTo>
                    <a:pt x="1053" y="92"/>
                    <a:pt x="1053" y="92"/>
                    <a:pt x="1053" y="92"/>
                  </a:cubicBezTo>
                  <a:cubicBezTo>
                    <a:pt x="1053" y="92"/>
                    <a:pt x="1053" y="92"/>
                    <a:pt x="1053" y="92"/>
                  </a:cubicBezTo>
                  <a:cubicBezTo>
                    <a:pt x="1053" y="92"/>
                    <a:pt x="1052" y="92"/>
                    <a:pt x="1052" y="92"/>
                  </a:cubicBezTo>
                  <a:cubicBezTo>
                    <a:pt x="1052" y="92"/>
                    <a:pt x="1052" y="92"/>
                    <a:pt x="1052" y="92"/>
                  </a:cubicBezTo>
                  <a:cubicBezTo>
                    <a:pt x="1052" y="92"/>
                    <a:pt x="1052" y="92"/>
                    <a:pt x="1051" y="91"/>
                  </a:cubicBezTo>
                  <a:cubicBezTo>
                    <a:pt x="1051" y="91"/>
                    <a:pt x="1051" y="91"/>
                    <a:pt x="1051" y="91"/>
                  </a:cubicBezTo>
                  <a:cubicBezTo>
                    <a:pt x="1051" y="91"/>
                    <a:pt x="1051" y="91"/>
                    <a:pt x="1051" y="91"/>
                  </a:cubicBezTo>
                  <a:cubicBezTo>
                    <a:pt x="1051" y="91"/>
                    <a:pt x="1051" y="91"/>
                    <a:pt x="1051" y="91"/>
                  </a:cubicBezTo>
                  <a:cubicBezTo>
                    <a:pt x="1051" y="91"/>
                    <a:pt x="1051" y="91"/>
                    <a:pt x="1051" y="91"/>
                  </a:cubicBezTo>
                  <a:cubicBezTo>
                    <a:pt x="1051" y="91"/>
                    <a:pt x="1050" y="91"/>
                    <a:pt x="1050" y="91"/>
                  </a:cubicBezTo>
                  <a:cubicBezTo>
                    <a:pt x="1050" y="91"/>
                    <a:pt x="1050" y="91"/>
                    <a:pt x="1050" y="91"/>
                  </a:cubicBezTo>
                  <a:cubicBezTo>
                    <a:pt x="1050" y="91"/>
                    <a:pt x="1050" y="91"/>
                    <a:pt x="1050"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89"/>
                    <a:pt x="1048" y="90"/>
                    <a:pt x="1048" y="89"/>
                  </a:cubicBezTo>
                  <a:cubicBezTo>
                    <a:pt x="1048" y="89"/>
                    <a:pt x="1048" y="89"/>
                    <a:pt x="1048" y="89"/>
                  </a:cubicBezTo>
                  <a:cubicBezTo>
                    <a:pt x="1048" y="89"/>
                    <a:pt x="1048" y="89"/>
                    <a:pt x="1048" y="89"/>
                  </a:cubicBezTo>
                  <a:cubicBezTo>
                    <a:pt x="1048" y="89"/>
                    <a:pt x="1048" y="89"/>
                    <a:pt x="1048" y="89"/>
                  </a:cubicBezTo>
                  <a:cubicBezTo>
                    <a:pt x="1048" y="89"/>
                    <a:pt x="1047" y="89"/>
                    <a:pt x="1047" y="89"/>
                  </a:cubicBezTo>
                  <a:cubicBezTo>
                    <a:pt x="1047" y="89"/>
                    <a:pt x="1047" y="89"/>
                    <a:pt x="1047" y="89"/>
                  </a:cubicBezTo>
                  <a:cubicBezTo>
                    <a:pt x="1047" y="89"/>
                    <a:pt x="1047" y="88"/>
                    <a:pt x="1047" y="88"/>
                  </a:cubicBezTo>
                  <a:cubicBezTo>
                    <a:pt x="1047" y="88"/>
                    <a:pt x="1047" y="88"/>
                    <a:pt x="1047" y="88"/>
                  </a:cubicBezTo>
                  <a:cubicBezTo>
                    <a:pt x="1047" y="88"/>
                    <a:pt x="1047" y="88"/>
                    <a:pt x="1047" y="88"/>
                  </a:cubicBezTo>
                  <a:cubicBezTo>
                    <a:pt x="1047" y="88"/>
                    <a:pt x="1047" y="88"/>
                    <a:pt x="1047" y="88"/>
                  </a:cubicBezTo>
                  <a:cubicBezTo>
                    <a:pt x="1047" y="88"/>
                    <a:pt x="1046" y="88"/>
                    <a:pt x="1046" y="88"/>
                  </a:cubicBezTo>
                  <a:cubicBezTo>
                    <a:pt x="1046" y="88"/>
                    <a:pt x="1046" y="88"/>
                    <a:pt x="1046" y="88"/>
                  </a:cubicBezTo>
                  <a:cubicBezTo>
                    <a:pt x="1046" y="87"/>
                    <a:pt x="1046" y="87"/>
                    <a:pt x="1046" y="87"/>
                  </a:cubicBezTo>
                  <a:cubicBezTo>
                    <a:pt x="1046" y="87"/>
                    <a:pt x="1046" y="87"/>
                    <a:pt x="1046" y="87"/>
                  </a:cubicBezTo>
                  <a:cubicBezTo>
                    <a:pt x="1046" y="87"/>
                    <a:pt x="1046" y="87"/>
                    <a:pt x="1046" y="87"/>
                  </a:cubicBezTo>
                  <a:cubicBezTo>
                    <a:pt x="1046" y="87"/>
                    <a:pt x="1046" y="87"/>
                    <a:pt x="1046" y="87"/>
                  </a:cubicBezTo>
                  <a:cubicBezTo>
                    <a:pt x="1045" y="87"/>
                    <a:pt x="1046" y="86"/>
                    <a:pt x="1045" y="86"/>
                  </a:cubicBezTo>
                  <a:cubicBezTo>
                    <a:pt x="1045" y="86"/>
                    <a:pt x="1045" y="86"/>
                    <a:pt x="1045" y="86"/>
                  </a:cubicBezTo>
                  <a:cubicBezTo>
                    <a:pt x="1045" y="86"/>
                    <a:pt x="1045" y="86"/>
                    <a:pt x="1045" y="86"/>
                  </a:cubicBezTo>
                  <a:cubicBezTo>
                    <a:pt x="1045" y="86"/>
                    <a:pt x="1045" y="86"/>
                    <a:pt x="1045" y="86"/>
                  </a:cubicBezTo>
                  <a:cubicBezTo>
                    <a:pt x="1045" y="86"/>
                    <a:pt x="1045" y="86"/>
                    <a:pt x="1045" y="85"/>
                  </a:cubicBezTo>
                  <a:cubicBezTo>
                    <a:pt x="1045" y="85"/>
                    <a:pt x="1045" y="85"/>
                    <a:pt x="1045" y="85"/>
                  </a:cubicBezTo>
                  <a:cubicBezTo>
                    <a:pt x="1044" y="85"/>
                    <a:pt x="1044" y="85"/>
                    <a:pt x="1044" y="85"/>
                  </a:cubicBezTo>
                  <a:cubicBezTo>
                    <a:pt x="1044" y="85"/>
                    <a:pt x="1044" y="85"/>
                    <a:pt x="1044" y="85"/>
                  </a:cubicBezTo>
                  <a:cubicBezTo>
                    <a:pt x="1044" y="85"/>
                    <a:pt x="1044" y="84"/>
                    <a:pt x="1044" y="84"/>
                  </a:cubicBezTo>
                  <a:cubicBezTo>
                    <a:pt x="1044" y="84"/>
                    <a:pt x="1044" y="84"/>
                    <a:pt x="1044" y="84"/>
                  </a:cubicBezTo>
                  <a:cubicBezTo>
                    <a:pt x="1044" y="84"/>
                    <a:pt x="1044" y="84"/>
                    <a:pt x="1044" y="84"/>
                  </a:cubicBezTo>
                  <a:cubicBezTo>
                    <a:pt x="1044" y="84"/>
                    <a:pt x="1044" y="84"/>
                    <a:pt x="1044" y="84"/>
                  </a:cubicBezTo>
                  <a:cubicBezTo>
                    <a:pt x="1043" y="84"/>
                    <a:pt x="1043" y="83"/>
                    <a:pt x="1043" y="83"/>
                  </a:cubicBezTo>
                  <a:cubicBezTo>
                    <a:pt x="1043" y="83"/>
                    <a:pt x="1043" y="83"/>
                    <a:pt x="1043" y="83"/>
                  </a:cubicBezTo>
                  <a:cubicBezTo>
                    <a:pt x="1043" y="83"/>
                    <a:pt x="1043" y="83"/>
                    <a:pt x="1043" y="82"/>
                  </a:cubicBezTo>
                  <a:cubicBezTo>
                    <a:pt x="1043" y="82"/>
                    <a:pt x="1043" y="82"/>
                    <a:pt x="1043" y="82"/>
                  </a:cubicBezTo>
                  <a:cubicBezTo>
                    <a:pt x="1043" y="82"/>
                    <a:pt x="1043" y="82"/>
                    <a:pt x="1043" y="82"/>
                  </a:cubicBezTo>
                  <a:cubicBezTo>
                    <a:pt x="1043" y="82"/>
                    <a:pt x="1043" y="82"/>
                    <a:pt x="1042" y="81"/>
                  </a:cubicBezTo>
                  <a:cubicBezTo>
                    <a:pt x="1042" y="81"/>
                    <a:pt x="1042" y="81"/>
                    <a:pt x="1042" y="81"/>
                  </a:cubicBezTo>
                  <a:cubicBezTo>
                    <a:pt x="1042" y="81"/>
                    <a:pt x="1042" y="81"/>
                    <a:pt x="1042" y="81"/>
                  </a:cubicBezTo>
                  <a:cubicBezTo>
                    <a:pt x="1042" y="81"/>
                    <a:pt x="1042" y="80"/>
                    <a:pt x="1042" y="80"/>
                  </a:cubicBezTo>
                  <a:cubicBezTo>
                    <a:pt x="1042" y="80"/>
                    <a:pt x="1042" y="80"/>
                    <a:pt x="1042" y="79"/>
                  </a:cubicBezTo>
                  <a:cubicBezTo>
                    <a:pt x="1042" y="79"/>
                    <a:pt x="1042" y="79"/>
                    <a:pt x="1042" y="79"/>
                  </a:cubicBezTo>
                  <a:cubicBezTo>
                    <a:pt x="1042" y="79"/>
                    <a:pt x="1042" y="79"/>
                    <a:pt x="1041" y="78"/>
                  </a:cubicBezTo>
                  <a:cubicBezTo>
                    <a:pt x="1041" y="78"/>
                    <a:pt x="1041" y="78"/>
                    <a:pt x="1041" y="78"/>
                  </a:cubicBezTo>
                  <a:cubicBezTo>
                    <a:pt x="1041" y="77"/>
                    <a:pt x="1041" y="77"/>
                    <a:pt x="1041" y="76"/>
                  </a:cubicBezTo>
                  <a:cubicBezTo>
                    <a:pt x="1041" y="76"/>
                    <a:pt x="1041" y="76"/>
                    <a:pt x="1041" y="76"/>
                  </a:cubicBezTo>
                  <a:cubicBezTo>
                    <a:pt x="1041" y="76"/>
                    <a:pt x="1041" y="75"/>
                    <a:pt x="1041" y="74"/>
                  </a:cubicBezTo>
                  <a:cubicBezTo>
                    <a:pt x="1041" y="74"/>
                    <a:pt x="1041" y="74"/>
                    <a:pt x="1041" y="73"/>
                  </a:cubicBezTo>
                  <a:cubicBezTo>
                    <a:pt x="1040" y="71"/>
                    <a:pt x="1040" y="71"/>
                    <a:pt x="1043" y="71"/>
                  </a:cubicBezTo>
                  <a:cubicBezTo>
                    <a:pt x="1057" y="71"/>
                    <a:pt x="1072" y="71"/>
                    <a:pt x="1086" y="71"/>
                  </a:cubicBezTo>
                  <a:cubicBezTo>
                    <a:pt x="1086" y="71"/>
                    <a:pt x="1087" y="71"/>
                    <a:pt x="1087" y="71"/>
                  </a:cubicBezTo>
                  <a:cubicBezTo>
                    <a:pt x="1088" y="71"/>
                    <a:pt x="1088" y="70"/>
                    <a:pt x="1088" y="70"/>
                  </a:cubicBezTo>
                  <a:cubicBezTo>
                    <a:pt x="1088" y="67"/>
                    <a:pt x="1088" y="64"/>
                    <a:pt x="1088" y="60"/>
                  </a:cubicBezTo>
                  <a:cubicBezTo>
                    <a:pt x="1088" y="60"/>
                    <a:pt x="1088" y="60"/>
                    <a:pt x="1088" y="60"/>
                  </a:cubicBezTo>
                  <a:cubicBezTo>
                    <a:pt x="1087" y="59"/>
                    <a:pt x="1088" y="58"/>
                    <a:pt x="1087" y="57"/>
                  </a:cubicBezTo>
                  <a:cubicBezTo>
                    <a:pt x="1087" y="57"/>
                    <a:pt x="1087" y="57"/>
                    <a:pt x="1087" y="57"/>
                  </a:cubicBezTo>
                  <a:cubicBezTo>
                    <a:pt x="1087" y="56"/>
                    <a:pt x="1087" y="56"/>
                    <a:pt x="1087" y="55"/>
                  </a:cubicBezTo>
                  <a:cubicBezTo>
                    <a:pt x="1087" y="55"/>
                    <a:pt x="1087" y="55"/>
                    <a:pt x="1087" y="55"/>
                  </a:cubicBezTo>
                  <a:cubicBezTo>
                    <a:pt x="1087" y="54"/>
                    <a:pt x="1087" y="54"/>
                    <a:pt x="1087" y="53"/>
                  </a:cubicBezTo>
                  <a:cubicBezTo>
                    <a:pt x="1087" y="53"/>
                    <a:pt x="1087" y="53"/>
                    <a:pt x="1087" y="53"/>
                  </a:cubicBezTo>
                  <a:cubicBezTo>
                    <a:pt x="1087" y="53"/>
                    <a:pt x="1087" y="53"/>
                    <a:pt x="1087" y="53"/>
                  </a:cubicBezTo>
                  <a:cubicBezTo>
                    <a:pt x="1086" y="53"/>
                    <a:pt x="1087" y="52"/>
                    <a:pt x="1086" y="52"/>
                  </a:cubicBezTo>
                  <a:cubicBezTo>
                    <a:pt x="1086" y="52"/>
                    <a:pt x="1086" y="52"/>
                    <a:pt x="1086" y="52"/>
                  </a:cubicBezTo>
                  <a:cubicBezTo>
                    <a:pt x="1086" y="52"/>
                    <a:pt x="1086" y="51"/>
                    <a:pt x="1086" y="51"/>
                  </a:cubicBezTo>
                  <a:cubicBezTo>
                    <a:pt x="1086" y="51"/>
                    <a:pt x="1086" y="51"/>
                    <a:pt x="1086" y="51"/>
                  </a:cubicBezTo>
                  <a:cubicBezTo>
                    <a:pt x="1086" y="51"/>
                    <a:pt x="1086" y="51"/>
                    <a:pt x="1086" y="51"/>
                  </a:cubicBezTo>
                  <a:cubicBezTo>
                    <a:pt x="1086" y="51"/>
                    <a:pt x="1086" y="50"/>
                    <a:pt x="1086" y="50"/>
                  </a:cubicBezTo>
                  <a:cubicBezTo>
                    <a:pt x="1086" y="50"/>
                    <a:pt x="1086" y="50"/>
                    <a:pt x="1086" y="50"/>
                  </a:cubicBezTo>
                  <a:cubicBezTo>
                    <a:pt x="1086" y="50"/>
                    <a:pt x="1086" y="50"/>
                    <a:pt x="1086" y="50"/>
                  </a:cubicBezTo>
                  <a:cubicBezTo>
                    <a:pt x="1086" y="50"/>
                    <a:pt x="1086" y="49"/>
                    <a:pt x="1085" y="49"/>
                  </a:cubicBezTo>
                  <a:cubicBezTo>
                    <a:pt x="1085" y="49"/>
                    <a:pt x="1085" y="49"/>
                    <a:pt x="1085" y="49"/>
                  </a:cubicBezTo>
                  <a:cubicBezTo>
                    <a:pt x="1085" y="49"/>
                    <a:pt x="1085" y="48"/>
                    <a:pt x="1085" y="48"/>
                  </a:cubicBezTo>
                  <a:cubicBezTo>
                    <a:pt x="1085" y="48"/>
                    <a:pt x="1085" y="48"/>
                    <a:pt x="1085" y="48"/>
                  </a:cubicBezTo>
                  <a:cubicBezTo>
                    <a:pt x="1085" y="48"/>
                    <a:pt x="1085" y="48"/>
                    <a:pt x="1085" y="48"/>
                  </a:cubicBezTo>
                  <a:cubicBezTo>
                    <a:pt x="1085" y="48"/>
                    <a:pt x="1085" y="47"/>
                    <a:pt x="1085" y="47"/>
                  </a:cubicBezTo>
                  <a:cubicBezTo>
                    <a:pt x="1085" y="47"/>
                    <a:pt x="1085" y="47"/>
                    <a:pt x="1085" y="47"/>
                  </a:cubicBezTo>
                  <a:cubicBezTo>
                    <a:pt x="1084" y="47"/>
                    <a:pt x="1084" y="47"/>
                    <a:pt x="1084" y="47"/>
                  </a:cubicBezTo>
                  <a:cubicBezTo>
                    <a:pt x="1084" y="47"/>
                    <a:pt x="1084" y="47"/>
                    <a:pt x="1084" y="47"/>
                  </a:cubicBezTo>
                  <a:cubicBezTo>
                    <a:pt x="1084" y="46"/>
                    <a:pt x="1084" y="46"/>
                    <a:pt x="1084" y="46"/>
                  </a:cubicBezTo>
                  <a:cubicBezTo>
                    <a:pt x="1084" y="46"/>
                    <a:pt x="1084" y="46"/>
                    <a:pt x="1084" y="46"/>
                  </a:cubicBezTo>
                  <a:cubicBezTo>
                    <a:pt x="1084" y="46"/>
                    <a:pt x="1084" y="45"/>
                    <a:pt x="1083" y="45"/>
                  </a:cubicBezTo>
                  <a:cubicBezTo>
                    <a:pt x="1084" y="45"/>
                    <a:pt x="1084" y="45"/>
                    <a:pt x="1084" y="45"/>
                  </a:cubicBezTo>
                  <a:cubicBezTo>
                    <a:pt x="1084" y="45"/>
                    <a:pt x="1083" y="45"/>
                    <a:pt x="1083" y="45"/>
                  </a:cubicBezTo>
                  <a:cubicBezTo>
                    <a:pt x="1083" y="45"/>
                    <a:pt x="1083" y="45"/>
                    <a:pt x="1083" y="45"/>
                  </a:cubicBezTo>
                  <a:cubicBezTo>
                    <a:pt x="1083" y="45"/>
                    <a:pt x="1083" y="44"/>
                    <a:pt x="1083" y="44"/>
                  </a:cubicBezTo>
                  <a:cubicBezTo>
                    <a:pt x="1083" y="44"/>
                    <a:pt x="1083" y="44"/>
                    <a:pt x="1083" y="44"/>
                  </a:cubicBezTo>
                  <a:cubicBezTo>
                    <a:pt x="1083" y="44"/>
                    <a:pt x="1082" y="43"/>
                    <a:pt x="1082" y="43"/>
                  </a:cubicBezTo>
                  <a:cubicBezTo>
                    <a:pt x="1082" y="43"/>
                    <a:pt x="1082" y="43"/>
                    <a:pt x="1082" y="43"/>
                  </a:cubicBezTo>
                  <a:cubicBezTo>
                    <a:pt x="1082" y="43"/>
                    <a:pt x="1082" y="43"/>
                    <a:pt x="1082" y="43"/>
                  </a:cubicBezTo>
                  <a:cubicBezTo>
                    <a:pt x="1082" y="43"/>
                    <a:pt x="1082" y="43"/>
                    <a:pt x="1082" y="43"/>
                  </a:cubicBezTo>
                  <a:cubicBezTo>
                    <a:pt x="1082" y="43"/>
                    <a:pt x="1082" y="42"/>
                    <a:pt x="1081" y="42"/>
                  </a:cubicBezTo>
                  <a:cubicBezTo>
                    <a:pt x="1081" y="42"/>
                    <a:pt x="1081" y="42"/>
                    <a:pt x="1081" y="42"/>
                  </a:cubicBezTo>
                  <a:cubicBezTo>
                    <a:pt x="1081" y="42"/>
                    <a:pt x="1081" y="42"/>
                    <a:pt x="1081" y="42"/>
                  </a:cubicBezTo>
                  <a:cubicBezTo>
                    <a:pt x="1081" y="42"/>
                    <a:pt x="1081" y="42"/>
                    <a:pt x="1081" y="42"/>
                  </a:cubicBezTo>
                  <a:cubicBezTo>
                    <a:pt x="1081" y="42"/>
                    <a:pt x="1081" y="41"/>
                    <a:pt x="1081" y="41"/>
                  </a:cubicBezTo>
                  <a:cubicBezTo>
                    <a:pt x="1081" y="41"/>
                    <a:pt x="1081" y="41"/>
                    <a:pt x="1081" y="41"/>
                  </a:cubicBezTo>
                  <a:cubicBezTo>
                    <a:pt x="1081" y="41"/>
                    <a:pt x="1081" y="41"/>
                    <a:pt x="1080" y="41"/>
                  </a:cubicBezTo>
                  <a:cubicBezTo>
                    <a:pt x="1080" y="41"/>
                    <a:pt x="1080" y="41"/>
                    <a:pt x="1080" y="41"/>
                  </a:cubicBezTo>
                  <a:cubicBezTo>
                    <a:pt x="1080" y="40"/>
                    <a:pt x="1079" y="39"/>
                    <a:pt x="1078" y="39"/>
                  </a:cubicBezTo>
                  <a:cubicBezTo>
                    <a:pt x="1078" y="38"/>
                    <a:pt x="1078" y="38"/>
                    <a:pt x="1078" y="38"/>
                  </a:cubicBezTo>
                  <a:cubicBezTo>
                    <a:pt x="1078" y="38"/>
                    <a:pt x="1078" y="38"/>
                    <a:pt x="1078" y="38"/>
                  </a:cubicBezTo>
                  <a:cubicBezTo>
                    <a:pt x="1078" y="38"/>
                    <a:pt x="1078" y="38"/>
                    <a:pt x="1078" y="38"/>
                  </a:cubicBezTo>
                  <a:cubicBezTo>
                    <a:pt x="1078" y="38"/>
                    <a:pt x="1077" y="38"/>
                    <a:pt x="1077" y="38"/>
                  </a:cubicBezTo>
                  <a:cubicBezTo>
                    <a:pt x="1077" y="38"/>
                    <a:pt x="1077" y="38"/>
                    <a:pt x="1077" y="38"/>
                  </a:cubicBezTo>
                  <a:cubicBezTo>
                    <a:pt x="1077" y="38"/>
                    <a:pt x="1077" y="37"/>
                    <a:pt x="1076" y="37"/>
                  </a:cubicBezTo>
                  <a:cubicBezTo>
                    <a:pt x="1076" y="37"/>
                    <a:pt x="1076" y="37"/>
                    <a:pt x="1076" y="37"/>
                  </a:cubicBezTo>
                  <a:cubicBezTo>
                    <a:pt x="1076" y="37"/>
                    <a:pt x="1076" y="37"/>
                    <a:pt x="1076" y="37"/>
                  </a:cubicBezTo>
                  <a:cubicBezTo>
                    <a:pt x="1076" y="37"/>
                    <a:pt x="1076" y="37"/>
                    <a:pt x="1076" y="37"/>
                  </a:cubicBezTo>
                  <a:cubicBezTo>
                    <a:pt x="1076" y="37"/>
                    <a:pt x="1075" y="37"/>
                    <a:pt x="1075" y="36"/>
                  </a:cubicBezTo>
                  <a:cubicBezTo>
                    <a:pt x="1075" y="36"/>
                    <a:pt x="1075" y="36"/>
                    <a:pt x="1075" y="36"/>
                  </a:cubicBezTo>
                  <a:cubicBezTo>
                    <a:pt x="1075" y="36"/>
                    <a:pt x="1075" y="36"/>
                    <a:pt x="1075" y="36"/>
                  </a:cubicBezTo>
                  <a:cubicBezTo>
                    <a:pt x="1075" y="36"/>
                    <a:pt x="1075" y="36"/>
                    <a:pt x="1075" y="36"/>
                  </a:cubicBezTo>
                  <a:cubicBezTo>
                    <a:pt x="1075" y="36"/>
                    <a:pt x="1075" y="36"/>
                    <a:pt x="1075" y="36"/>
                  </a:cubicBezTo>
                  <a:cubicBezTo>
                    <a:pt x="1074" y="36"/>
                    <a:pt x="1074" y="36"/>
                    <a:pt x="1074" y="36"/>
                  </a:cubicBezTo>
                  <a:cubicBezTo>
                    <a:pt x="1074" y="36"/>
                    <a:pt x="1074" y="36"/>
                    <a:pt x="1074" y="36"/>
                  </a:cubicBezTo>
                  <a:cubicBezTo>
                    <a:pt x="1074" y="35"/>
                    <a:pt x="1074" y="36"/>
                    <a:pt x="1073" y="35"/>
                  </a:cubicBezTo>
                  <a:cubicBezTo>
                    <a:pt x="1073" y="35"/>
                    <a:pt x="1073" y="35"/>
                    <a:pt x="1073" y="35"/>
                  </a:cubicBezTo>
                  <a:cubicBezTo>
                    <a:pt x="1073" y="35"/>
                    <a:pt x="1073" y="35"/>
                    <a:pt x="1073" y="35"/>
                  </a:cubicBezTo>
                  <a:cubicBezTo>
                    <a:pt x="1073" y="35"/>
                    <a:pt x="1073" y="35"/>
                    <a:pt x="1073" y="35"/>
                  </a:cubicBezTo>
                  <a:cubicBezTo>
                    <a:pt x="1073" y="35"/>
                    <a:pt x="1072" y="35"/>
                    <a:pt x="1072" y="35"/>
                  </a:cubicBezTo>
                  <a:cubicBezTo>
                    <a:pt x="1072" y="35"/>
                    <a:pt x="1072" y="35"/>
                    <a:pt x="1072" y="35"/>
                  </a:cubicBezTo>
                  <a:cubicBezTo>
                    <a:pt x="1072" y="35"/>
                    <a:pt x="1072" y="35"/>
                    <a:pt x="1072" y="35"/>
                  </a:cubicBezTo>
                  <a:cubicBezTo>
                    <a:pt x="1072" y="34"/>
                    <a:pt x="1071" y="35"/>
                    <a:pt x="1071" y="34"/>
                  </a:cubicBezTo>
                  <a:cubicBezTo>
                    <a:pt x="1071" y="34"/>
                    <a:pt x="1071" y="34"/>
                    <a:pt x="1071" y="34"/>
                  </a:cubicBezTo>
                  <a:cubicBezTo>
                    <a:pt x="1071" y="34"/>
                    <a:pt x="1070" y="34"/>
                    <a:pt x="1070" y="34"/>
                  </a:cubicBezTo>
                  <a:cubicBezTo>
                    <a:pt x="1070" y="34"/>
                    <a:pt x="1070" y="34"/>
                    <a:pt x="1070" y="34"/>
                  </a:cubicBezTo>
                  <a:cubicBezTo>
                    <a:pt x="1070" y="34"/>
                    <a:pt x="1069" y="34"/>
                    <a:pt x="1069" y="34"/>
                  </a:cubicBezTo>
                  <a:cubicBezTo>
                    <a:pt x="1069" y="34"/>
                    <a:pt x="1069" y="34"/>
                    <a:pt x="1069" y="34"/>
                  </a:cubicBezTo>
                  <a:cubicBezTo>
                    <a:pt x="1068" y="33"/>
                    <a:pt x="1068" y="34"/>
                    <a:pt x="1068" y="33"/>
                  </a:cubicBezTo>
                  <a:cubicBezTo>
                    <a:pt x="1067" y="33"/>
                    <a:pt x="1067" y="33"/>
                    <a:pt x="1067" y="33"/>
                  </a:cubicBezTo>
                  <a:cubicBezTo>
                    <a:pt x="1067" y="33"/>
                    <a:pt x="1066" y="33"/>
                    <a:pt x="1066" y="33"/>
                  </a:cubicBezTo>
                  <a:cubicBezTo>
                    <a:pt x="1066" y="33"/>
                    <a:pt x="1066" y="33"/>
                    <a:pt x="1065" y="33"/>
                  </a:cubicBezTo>
                  <a:cubicBezTo>
                    <a:pt x="1065" y="33"/>
                    <a:pt x="1064" y="33"/>
                    <a:pt x="1063" y="33"/>
                  </a:cubicBezTo>
                  <a:cubicBezTo>
                    <a:pt x="1061" y="33"/>
                    <a:pt x="1059" y="33"/>
                    <a:pt x="1058" y="33"/>
                  </a:cubicBezTo>
                  <a:cubicBezTo>
                    <a:pt x="1057" y="33"/>
                    <a:pt x="1056" y="33"/>
                    <a:pt x="1055" y="33"/>
                  </a:cubicBezTo>
                  <a:cubicBezTo>
                    <a:pt x="1055" y="33"/>
                    <a:pt x="1055" y="33"/>
                    <a:pt x="1055" y="33"/>
                  </a:cubicBezTo>
                  <a:cubicBezTo>
                    <a:pt x="1054" y="33"/>
                    <a:pt x="1054" y="33"/>
                    <a:pt x="1053" y="33"/>
                  </a:cubicBezTo>
                  <a:cubicBezTo>
                    <a:pt x="1053" y="33"/>
                    <a:pt x="1053" y="33"/>
                    <a:pt x="1053" y="33"/>
                  </a:cubicBezTo>
                  <a:cubicBezTo>
                    <a:pt x="1053" y="34"/>
                    <a:pt x="1052" y="33"/>
                    <a:pt x="1052" y="34"/>
                  </a:cubicBezTo>
                  <a:cubicBezTo>
                    <a:pt x="1052" y="34"/>
                    <a:pt x="1052" y="34"/>
                    <a:pt x="1052" y="34"/>
                  </a:cubicBezTo>
                  <a:cubicBezTo>
                    <a:pt x="1052" y="34"/>
                    <a:pt x="1051" y="34"/>
                    <a:pt x="1051" y="34"/>
                  </a:cubicBezTo>
                  <a:cubicBezTo>
                    <a:pt x="1051" y="34"/>
                    <a:pt x="1051" y="34"/>
                    <a:pt x="1051" y="34"/>
                  </a:cubicBezTo>
                  <a:cubicBezTo>
                    <a:pt x="1051" y="34"/>
                    <a:pt x="1050" y="34"/>
                    <a:pt x="1050" y="34"/>
                  </a:cubicBezTo>
                  <a:cubicBezTo>
                    <a:pt x="1050" y="34"/>
                    <a:pt x="1050" y="34"/>
                    <a:pt x="1050" y="34"/>
                  </a:cubicBezTo>
                  <a:cubicBezTo>
                    <a:pt x="1050" y="35"/>
                    <a:pt x="1049" y="34"/>
                    <a:pt x="1049" y="35"/>
                  </a:cubicBezTo>
                  <a:cubicBezTo>
                    <a:pt x="1049" y="35"/>
                    <a:pt x="1049" y="35"/>
                    <a:pt x="1049" y="35"/>
                  </a:cubicBezTo>
                  <a:cubicBezTo>
                    <a:pt x="1049" y="35"/>
                    <a:pt x="1048" y="35"/>
                    <a:pt x="1048" y="35"/>
                  </a:cubicBezTo>
                  <a:cubicBezTo>
                    <a:pt x="1048" y="35"/>
                    <a:pt x="1048" y="35"/>
                    <a:pt x="1048" y="35"/>
                  </a:cubicBezTo>
                  <a:cubicBezTo>
                    <a:pt x="1048" y="35"/>
                    <a:pt x="1048" y="35"/>
                    <a:pt x="1047" y="35"/>
                  </a:cubicBezTo>
                  <a:cubicBezTo>
                    <a:pt x="1047" y="35"/>
                    <a:pt x="1047" y="35"/>
                    <a:pt x="1047" y="35"/>
                  </a:cubicBezTo>
                  <a:cubicBezTo>
                    <a:pt x="1047" y="36"/>
                    <a:pt x="1047" y="36"/>
                    <a:pt x="1047" y="36"/>
                  </a:cubicBezTo>
                  <a:cubicBezTo>
                    <a:pt x="1047" y="36"/>
                    <a:pt x="1047" y="36"/>
                    <a:pt x="1047" y="36"/>
                  </a:cubicBezTo>
                  <a:cubicBezTo>
                    <a:pt x="1047" y="36"/>
                    <a:pt x="1046" y="36"/>
                    <a:pt x="1046" y="36"/>
                  </a:cubicBezTo>
                  <a:cubicBezTo>
                    <a:pt x="1046" y="36"/>
                    <a:pt x="1046" y="36"/>
                    <a:pt x="1046" y="36"/>
                  </a:cubicBezTo>
                  <a:cubicBezTo>
                    <a:pt x="1046" y="36"/>
                    <a:pt x="1045" y="36"/>
                    <a:pt x="1045" y="36"/>
                  </a:cubicBezTo>
                  <a:cubicBezTo>
                    <a:pt x="1045" y="36"/>
                    <a:pt x="1045" y="36"/>
                    <a:pt x="1045" y="36"/>
                  </a:cubicBezTo>
                  <a:cubicBezTo>
                    <a:pt x="1045" y="36"/>
                    <a:pt x="1045" y="37"/>
                    <a:pt x="1045" y="37"/>
                  </a:cubicBezTo>
                  <a:cubicBezTo>
                    <a:pt x="1045" y="37"/>
                    <a:pt x="1045" y="37"/>
                    <a:pt x="1045" y="37"/>
                  </a:cubicBezTo>
                  <a:cubicBezTo>
                    <a:pt x="1045" y="37"/>
                    <a:pt x="1044" y="37"/>
                    <a:pt x="1044" y="37"/>
                  </a:cubicBezTo>
                  <a:cubicBezTo>
                    <a:pt x="1044" y="37"/>
                    <a:pt x="1044" y="37"/>
                    <a:pt x="1044" y="37"/>
                  </a:cubicBezTo>
                  <a:cubicBezTo>
                    <a:pt x="1044" y="37"/>
                    <a:pt x="1044" y="37"/>
                    <a:pt x="1044" y="38"/>
                  </a:cubicBezTo>
                  <a:cubicBezTo>
                    <a:pt x="1044" y="38"/>
                    <a:pt x="1044" y="38"/>
                    <a:pt x="1044" y="38"/>
                  </a:cubicBezTo>
                  <a:cubicBezTo>
                    <a:pt x="1043" y="38"/>
                    <a:pt x="1043" y="38"/>
                    <a:pt x="1043" y="38"/>
                  </a:cubicBezTo>
                  <a:cubicBezTo>
                    <a:pt x="1043" y="38"/>
                    <a:pt x="1043" y="38"/>
                    <a:pt x="1043" y="38"/>
                  </a:cubicBezTo>
                  <a:cubicBezTo>
                    <a:pt x="1043" y="38"/>
                    <a:pt x="1043" y="38"/>
                    <a:pt x="1043" y="38"/>
                  </a:cubicBezTo>
                  <a:cubicBezTo>
                    <a:pt x="1043" y="38"/>
                    <a:pt x="1043" y="38"/>
                    <a:pt x="1043" y="38"/>
                  </a:cubicBezTo>
                  <a:cubicBezTo>
                    <a:pt x="1043" y="38"/>
                    <a:pt x="1042" y="38"/>
                    <a:pt x="1042" y="39"/>
                  </a:cubicBezTo>
                  <a:cubicBezTo>
                    <a:pt x="1042" y="39"/>
                    <a:pt x="1042" y="39"/>
                    <a:pt x="1042" y="39"/>
                  </a:cubicBezTo>
                  <a:cubicBezTo>
                    <a:pt x="1042" y="39"/>
                    <a:pt x="1042" y="39"/>
                    <a:pt x="1042" y="39"/>
                  </a:cubicBezTo>
                  <a:cubicBezTo>
                    <a:pt x="1042" y="39"/>
                    <a:pt x="1042" y="39"/>
                    <a:pt x="1042" y="39"/>
                  </a:cubicBezTo>
                  <a:cubicBezTo>
                    <a:pt x="1042" y="39"/>
                    <a:pt x="1042" y="39"/>
                    <a:pt x="1041" y="39"/>
                  </a:cubicBezTo>
                  <a:cubicBezTo>
                    <a:pt x="1041" y="39"/>
                    <a:pt x="1041" y="39"/>
                    <a:pt x="1041" y="39"/>
                  </a:cubicBezTo>
                  <a:cubicBezTo>
                    <a:pt x="1041" y="40"/>
                    <a:pt x="1040" y="40"/>
                    <a:pt x="1040" y="40"/>
                  </a:cubicBezTo>
                  <a:cubicBezTo>
                    <a:pt x="1040" y="40"/>
                    <a:pt x="1040" y="40"/>
                    <a:pt x="1040" y="40"/>
                  </a:cubicBezTo>
                  <a:cubicBezTo>
                    <a:pt x="1040" y="40"/>
                    <a:pt x="1040" y="40"/>
                    <a:pt x="1040" y="41"/>
                  </a:cubicBezTo>
                  <a:cubicBezTo>
                    <a:pt x="1040" y="41"/>
                    <a:pt x="1040" y="41"/>
                    <a:pt x="1040" y="41"/>
                  </a:cubicBezTo>
                  <a:cubicBezTo>
                    <a:pt x="1040" y="41"/>
                    <a:pt x="1039" y="41"/>
                    <a:pt x="1039" y="41"/>
                  </a:cubicBezTo>
                  <a:cubicBezTo>
                    <a:pt x="1039" y="41"/>
                    <a:pt x="1039" y="41"/>
                    <a:pt x="1039" y="41"/>
                  </a:cubicBezTo>
                  <a:cubicBezTo>
                    <a:pt x="1039" y="41"/>
                    <a:pt x="1039" y="41"/>
                    <a:pt x="1039" y="41"/>
                  </a:cubicBezTo>
                  <a:cubicBezTo>
                    <a:pt x="1039" y="41"/>
                    <a:pt x="1039" y="41"/>
                    <a:pt x="1039" y="41"/>
                  </a:cubicBezTo>
                  <a:cubicBezTo>
                    <a:pt x="1039" y="41"/>
                    <a:pt x="1039" y="42"/>
                    <a:pt x="1039" y="42"/>
                  </a:cubicBezTo>
                  <a:cubicBezTo>
                    <a:pt x="1039" y="42"/>
                    <a:pt x="1039" y="42"/>
                    <a:pt x="1039" y="42"/>
                  </a:cubicBezTo>
                  <a:cubicBezTo>
                    <a:pt x="1039" y="42"/>
                    <a:pt x="1038" y="42"/>
                    <a:pt x="1038" y="42"/>
                  </a:cubicBezTo>
                  <a:cubicBezTo>
                    <a:pt x="1038" y="42"/>
                    <a:pt x="1038" y="42"/>
                    <a:pt x="1038" y="42"/>
                  </a:cubicBezTo>
                  <a:cubicBezTo>
                    <a:pt x="1038" y="42"/>
                    <a:pt x="1038" y="43"/>
                    <a:pt x="1038" y="43"/>
                  </a:cubicBezTo>
                  <a:cubicBezTo>
                    <a:pt x="1038" y="43"/>
                    <a:pt x="1038" y="43"/>
                    <a:pt x="1038" y="43"/>
                  </a:cubicBezTo>
                  <a:cubicBezTo>
                    <a:pt x="1038" y="43"/>
                    <a:pt x="1037" y="43"/>
                    <a:pt x="1037" y="43"/>
                  </a:cubicBezTo>
                  <a:cubicBezTo>
                    <a:pt x="1037" y="43"/>
                    <a:pt x="1037" y="43"/>
                    <a:pt x="1037" y="43"/>
                  </a:cubicBezTo>
                  <a:cubicBezTo>
                    <a:pt x="1037" y="44"/>
                    <a:pt x="1037" y="44"/>
                    <a:pt x="1037" y="44"/>
                  </a:cubicBezTo>
                  <a:cubicBezTo>
                    <a:pt x="1037" y="44"/>
                    <a:pt x="1037" y="44"/>
                    <a:pt x="1037" y="44"/>
                  </a:cubicBezTo>
                  <a:cubicBezTo>
                    <a:pt x="1037" y="44"/>
                    <a:pt x="1037" y="44"/>
                    <a:pt x="1036" y="45"/>
                  </a:cubicBezTo>
                  <a:cubicBezTo>
                    <a:pt x="1036" y="45"/>
                    <a:pt x="1036" y="45"/>
                    <a:pt x="1036" y="45"/>
                  </a:cubicBezTo>
                  <a:cubicBezTo>
                    <a:pt x="1036" y="45"/>
                    <a:pt x="1036" y="45"/>
                    <a:pt x="1036" y="45"/>
                  </a:cubicBezTo>
                  <a:cubicBezTo>
                    <a:pt x="1036" y="45"/>
                    <a:pt x="1036" y="45"/>
                    <a:pt x="1036" y="45"/>
                  </a:cubicBezTo>
                  <a:cubicBezTo>
                    <a:pt x="1036" y="45"/>
                    <a:pt x="1036" y="46"/>
                    <a:pt x="1036" y="46"/>
                  </a:cubicBezTo>
                  <a:cubicBezTo>
                    <a:pt x="1036" y="46"/>
                    <a:pt x="1036" y="46"/>
                    <a:pt x="1036" y="46"/>
                  </a:cubicBezTo>
                  <a:cubicBezTo>
                    <a:pt x="1035" y="46"/>
                    <a:pt x="1035" y="46"/>
                    <a:pt x="1035" y="46"/>
                  </a:cubicBezTo>
                  <a:cubicBezTo>
                    <a:pt x="1035" y="46"/>
                    <a:pt x="1035" y="46"/>
                    <a:pt x="1035" y="46"/>
                  </a:cubicBezTo>
                  <a:cubicBezTo>
                    <a:pt x="1035" y="46"/>
                    <a:pt x="1035" y="47"/>
                    <a:pt x="1035" y="47"/>
                  </a:cubicBezTo>
                  <a:cubicBezTo>
                    <a:pt x="1035" y="47"/>
                    <a:pt x="1035" y="47"/>
                    <a:pt x="1035" y="47"/>
                  </a:cubicBezTo>
                  <a:cubicBezTo>
                    <a:pt x="1035" y="47"/>
                    <a:pt x="1035" y="47"/>
                    <a:pt x="1035" y="47"/>
                  </a:cubicBezTo>
                  <a:cubicBezTo>
                    <a:pt x="1035" y="47"/>
                    <a:pt x="1035" y="47"/>
                    <a:pt x="1035" y="47"/>
                  </a:cubicBezTo>
                  <a:cubicBezTo>
                    <a:pt x="1034" y="47"/>
                    <a:pt x="1034" y="48"/>
                    <a:pt x="1034" y="48"/>
                  </a:cubicBezTo>
                  <a:cubicBezTo>
                    <a:pt x="1034" y="48"/>
                    <a:pt x="1034" y="48"/>
                    <a:pt x="1034" y="48"/>
                  </a:cubicBezTo>
                  <a:cubicBezTo>
                    <a:pt x="1034" y="48"/>
                    <a:pt x="1034" y="48"/>
                    <a:pt x="1034" y="49"/>
                  </a:cubicBezTo>
                  <a:cubicBezTo>
                    <a:pt x="1034" y="49"/>
                    <a:pt x="1034" y="49"/>
                    <a:pt x="1034" y="49"/>
                  </a:cubicBezTo>
                  <a:cubicBezTo>
                    <a:pt x="1034" y="49"/>
                    <a:pt x="1034" y="49"/>
                    <a:pt x="1033" y="49"/>
                  </a:cubicBezTo>
                  <a:cubicBezTo>
                    <a:pt x="1033" y="49"/>
                    <a:pt x="1033" y="49"/>
                    <a:pt x="1033" y="49"/>
                  </a:cubicBezTo>
                  <a:cubicBezTo>
                    <a:pt x="1033" y="49"/>
                    <a:pt x="1033" y="50"/>
                    <a:pt x="1033" y="50"/>
                  </a:cubicBezTo>
                  <a:cubicBezTo>
                    <a:pt x="1033" y="50"/>
                    <a:pt x="1033" y="50"/>
                    <a:pt x="1033" y="50"/>
                  </a:cubicBezTo>
                  <a:cubicBezTo>
                    <a:pt x="1033" y="50"/>
                    <a:pt x="1033" y="51"/>
                    <a:pt x="1033" y="51"/>
                  </a:cubicBezTo>
                  <a:cubicBezTo>
                    <a:pt x="1033" y="51"/>
                    <a:pt x="1033" y="51"/>
                    <a:pt x="1033" y="51"/>
                  </a:cubicBezTo>
                  <a:cubicBezTo>
                    <a:pt x="1033" y="51"/>
                    <a:pt x="1033" y="51"/>
                    <a:pt x="1032" y="51"/>
                  </a:cubicBezTo>
                  <a:cubicBezTo>
                    <a:pt x="1032" y="51"/>
                    <a:pt x="1032" y="51"/>
                    <a:pt x="1032" y="51"/>
                  </a:cubicBezTo>
                  <a:cubicBezTo>
                    <a:pt x="1032" y="52"/>
                    <a:pt x="1032" y="52"/>
                    <a:pt x="1032" y="52"/>
                  </a:cubicBezTo>
                  <a:cubicBezTo>
                    <a:pt x="1032" y="52"/>
                    <a:pt x="1032" y="52"/>
                    <a:pt x="1032" y="52"/>
                  </a:cubicBezTo>
                  <a:cubicBezTo>
                    <a:pt x="1032" y="53"/>
                    <a:pt x="1032" y="53"/>
                    <a:pt x="1032" y="53"/>
                  </a:cubicBezTo>
                  <a:cubicBezTo>
                    <a:pt x="1032" y="53"/>
                    <a:pt x="1032" y="53"/>
                    <a:pt x="1032" y="53"/>
                  </a:cubicBezTo>
                  <a:cubicBezTo>
                    <a:pt x="1031" y="53"/>
                    <a:pt x="1032" y="54"/>
                    <a:pt x="1031" y="54"/>
                  </a:cubicBezTo>
                  <a:cubicBezTo>
                    <a:pt x="1031" y="54"/>
                    <a:pt x="1031" y="54"/>
                    <a:pt x="1031" y="54"/>
                  </a:cubicBezTo>
                  <a:cubicBezTo>
                    <a:pt x="1031" y="54"/>
                    <a:pt x="1031" y="55"/>
                    <a:pt x="1031" y="55"/>
                  </a:cubicBezTo>
                  <a:cubicBezTo>
                    <a:pt x="1031" y="55"/>
                    <a:pt x="1031" y="55"/>
                    <a:pt x="1031" y="55"/>
                  </a:cubicBezTo>
                  <a:cubicBezTo>
                    <a:pt x="1031" y="56"/>
                    <a:pt x="1031" y="56"/>
                    <a:pt x="1031" y="56"/>
                  </a:cubicBezTo>
                  <a:cubicBezTo>
                    <a:pt x="1031" y="56"/>
                    <a:pt x="1031" y="57"/>
                    <a:pt x="1031" y="57"/>
                  </a:cubicBezTo>
                  <a:cubicBezTo>
                    <a:pt x="1030" y="57"/>
                    <a:pt x="1031" y="57"/>
                    <a:pt x="1030" y="58"/>
                  </a:cubicBezTo>
                  <a:cubicBezTo>
                    <a:pt x="1030" y="58"/>
                    <a:pt x="1030" y="58"/>
                    <a:pt x="1030" y="58"/>
                  </a:cubicBezTo>
                  <a:cubicBezTo>
                    <a:pt x="1030" y="58"/>
                    <a:pt x="1030" y="59"/>
                    <a:pt x="1030" y="59"/>
                  </a:cubicBezTo>
                  <a:cubicBezTo>
                    <a:pt x="1030" y="59"/>
                    <a:pt x="1030" y="59"/>
                    <a:pt x="1030" y="59"/>
                  </a:cubicBezTo>
                  <a:cubicBezTo>
                    <a:pt x="1030" y="59"/>
                    <a:pt x="1030" y="59"/>
                    <a:pt x="1030" y="59"/>
                  </a:cubicBezTo>
                  <a:cubicBezTo>
                    <a:pt x="1030" y="60"/>
                    <a:pt x="1030" y="61"/>
                    <a:pt x="1030" y="61"/>
                  </a:cubicBezTo>
                  <a:cubicBezTo>
                    <a:pt x="1030" y="61"/>
                    <a:pt x="1030" y="61"/>
                    <a:pt x="1030" y="61"/>
                  </a:cubicBezTo>
                  <a:cubicBezTo>
                    <a:pt x="1029" y="62"/>
                    <a:pt x="1030" y="63"/>
                    <a:pt x="1029" y="64"/>
                  </a:cubicBezTo>
                  <a:cubicBezTo>
                    <a:pt x="1029" y="64"/>
                    <a:pt x="1029" y="65"/>
                    <a:pt x="1029" y="65"/>
                  </a:cubicBezTo>
                  <a:cubicBezTo>
                    <a:pt x="1029" y="67"/>
                    <a:pt x="1029" y="70"/>
                    <a:pt x="1029" y="72"/>
                  </a:cubicBezTo>
                  <a:cubicBezTo>
                    <a:pt x="1029" y="72"/>
                    <a:pt x="1029" y="73"/>
                    <a:pt x="1029" y="73"/>
                  </a:cubicBezTo>
                  <a:cubicBezTo>
                    <a:pt x="1030" y="74"/>
                    <a:pt x="1029" y="75"/>
                    <a:pt x="1030" y="76"/>
                  </a:cubicBezTo>
                  <a:cubicBezTo>
                    <a:pt x="1030" y="76"/>
                    <a:pt x="1030" y="76"/>
                    <a:pt x="1030" y="76"/>
                  </a:cubicBezTo>
                  <a:cubicBezTo>
                    <a:pt x="1030" y="77"/>
                    <a:pt x="1030" y="77"/>
                    <a:pt x="1030" y="78"/>
                  </a:cubicBezTo>
                  <a:cubicBezTo>
                    <a:pt x="1030" y="78"/>
                    <a:pt x="1030" y="78"/>
                    <a:pt x="1030" y="78"/>
                  </a:cubicBezTo>
                  <a:cubicBezTo>
                    <a:pt x="1030" y="79"/>
                    <a:pt x="1030" y="79"/>
                    <a:pt x="1030" y="80"/>
                  </a:cubicBezTo>
                  <a:cubicBezTo>
                    <a:pt x="1030" y="80"/>
                    <a:pt x="1030" y="80"/>
                    <a:pt x="1030" y="80"/>
                  </a:cubicBezTo>
                  <a:cubicBezTo>
                    <a:pt x="1031" y="80"/>
                    <a:pt x="1030" y="81"/>
                    <a:pt x="1031" y="81"/>
                  </a:cubicBezTo>
                  <a:cubicBezTo>
                    <a:pt x="1031" y="81"/>
                    <a:pt x="1031" y="81"/>
                    <a:pt x="1031" y="81"/>
                  </a:cubicBezTo>
                  <a:cubicBezTo>
                    <a:pt x="1031" y="82"/>
                    <a:pt x="1031" y="82"/>
                    <a:pt x="1031" y="82"/>
                  </a:cubicBezTo>
                  <a:cubicBezTo>
                    <a:pt x="1031" y="82"/>
                    <a:pt x="1031" y="82"/>
                    <a:pt x="1031" y="82"/>
                  </a:cubicBezTo>
                  <a:cubicBezTo>
                    <a:pt x="1031" y="83"/>
                    <a:pt x="1031" y="83"/>
                    <a:pt x="1031" y="83"/>
                  </a:cubicBezTo>
                  <a:cubicBezTo>
                    <a:pt x="1031" y="83"/>
                    <a:pt x="1031" y="83"/>
                    <a:pt x="1031" y="83"/>
                  </a:cubicBezTo>
                  <a:cubicBezTo>
                    <a:pt x="1031" y="83"/>
                    <a:pt x="1031" y="83"/>
                    <a:pt x="1031" y="83"/>
                  </a:cubicBezTo>
                  <a:cubicBezTo>
                    <a:pt x="1031" y="84"/>
                    <a:pt x="1031" y="84"/>
                    <a:pt x="1031" y="84"/>
                  </a:cubicBezTo>
                  <a:cubicBezTo>
                    <a:pt x="1032" y="84"/>
                    <a:pt x="1032" y="84"/>
                    <a:pt x="1032" y="84"/>
                  </a:cubicBezTo>
                  <a:cubicBezTo>
                    <a:pt x="1032" y="84"/>
                    <a:pt x="1032" y="84"/>
                    <a:pt x="1032" y="84"/>
                  </a:cubicBezTo>
                  <a:cubicBezTo>
                    <a:pt x="1032" y="85"/>
                    <a:pt x="1032" y="85"/>
                    <a:pt x="1032" y="85"/>
                  </a:cubicBezTo>
                  <a:cubicBezTo>
                    <a:pt x="1032" y="85"/>
                    <a:pt x="1032" y="85"/>
                    <a:pt x="1032" y="85"/>
                  </a:cubicBezTo>
                  <a:cubicBezTo>
                    <a:pt x="1032" y="86"/>
                    <a:pt x="1032" y="86"/>
                    <a:pt x="1032" y="86"/>
                  </a:cubicBezTo>
                  <a:cubicBezTo>
                    <a:pt x="1032" y="86"/>
                    <a:pt x="1032" y="86"/>
                    <a:pt x="1032" y="86"/>
                  </a:cubicBezTo>
                  <a:cubicBezTo>
                    <a:pt x="1033" y="86"/>
                    <a:pt x="1033" y="87"/>
                    <a:pt x="1033" y="87"/>
                  </a:cubicBezTo>
                  <a:cubicBezTo>
                    <a:pt x="1033" y="87"/>
                    <a:pt x="1033" y="87"/>
                    <a:pt x="1033" y="87"/>
                  </a:cubicBezTo>
                  <a:cubicBezTo>
                    <a:pt x="1033" y="87"/>
                    <a:pt x="1033" y="87"/>
                    <a:pt x="1033" y="87"/>
                  </a:cubicBezTo>
                  <a:cubicBezTo>
                    <a:pt x="1033" y="87"/>
                    <a:pt x="1033" y="87"/>
                    <a:pt x="1033" y="88"/>
                  </a:cubicBezTo>
                  <a:cubicBezTo>
                    <a:pt x="1033" y="88"/>
                    <a:pt x="1033" y="88"/>
                    <a:pt x="1033" y="88"/>
                  </a:cubicBezTo>
                  <a:cubicBezTo>
                    <a:pt x="1033" y="88"/>
                    <a:pt x="1033" y="88"/>
                    <a:pt x="1033" y="88"/>
                  </a:cubicBezTo>
                  <a:cubicBezTo>
                    <a:pt x="1033" y="88"/>
                    <a:pt x="1033" y="88"/>
                    <a:pt x="1033" y="88"/>
                  </a:cubicBezTo>
                  <a:cubicBezTo>
                    <a:pt x="1034" y="88"/>
                    <a:pt x="1034" y="88"/>
                    <a:pt x="1034" y="88"/>
                  </a:cubicBezTo>
                  <a:cubicBezTo>
                    <a:pt x="1034" y="88"/>
                    <a:pt x="1034" y="88"/>
                    <a:pt x="1034" y="88"/>
                  </a:cubicBezTo>
                  <a:cubicBezTo>
                    <a:pt x="1034" y="89"/>
                    <a:pt x="1034" y="89"/>
                    <a:pt x="1034" y="89"/>
                  </a:cubicBezTo>
                  <a:cubicBezTo>
                    <a:pt x="1034" y="89"/>
                    <a:pt x="1034" y="89"/>
                    <a:pt x="1034" y="89"/>
                  </a:cubicBezTo>
                  <a:cubicBezTo>
                    <a:pt x="1034" y="89"/>
                    <a:pt x="1034" y="90"/>
                    <a:pt x="1034" y="90"/>
                  </a:cubicBezTo>
                  <a:cubicBezTo>
                    <a:pt x="1034" y="90"/>
                    <a:pt x="1034" y="90"/>
                    <a:pt x="1034" y="90"/>
                  </a:cubicBezTo>
                  <a:cubicBezTo>
                    <a:pt x="1034" y="90"/>
                    <a:pt x="1034" y="90"/>
                    <a:pt x="1035" y="90"/>
                  </a:cubicBezTo>
                  <a:cubicBezTo>
                    <a:pt x="1035" y="90"/>
                    <a:pt x="1035" y="90"/>
                    <a:pt x="1035" y="90"/>
                  </a:cubicBezTo>
                  <a:cubicBezTo>
                    <a:pt x="1035" y="90"/>
                    <a:pt x="1035" y="91"/>
                    <a:pt x="1035" y="91"/>
                  </a:cubicBezTo>
                  <a:cubicBezTo>
                    <a:pt x="1035" y="91"/>
                    <a:pt x="1035" y="91"/>
                    <a:pt x="1035" y="91"/>
                  </a:cubicBezTo>
                  <a:cubicBezTo>
                    <a:pt x="1035" y="91"/>
                    <a:pt x="1035" y="91"/>
                    <a:pt x="1035" y="91"/>
                  </a:cubicBezTo>
                  <a:cubicBezTo>
                    <a:pt x="1035" y="91"/>
                    <a:pt x="1035" y="91"/>
                    <a:pt x="1035" y="91"/>
                  </a:cubicBezTo>
                  <a:cubicBezTo>
                    <a:pt x="1035" y="92"/>
                    <a:pt x="1035" y="92"/>
                    <a:pt x="1036" y="92"/>
                  </a:cubicBezTo>
                  <a:cubicBezTo>
                    <a:pt x="1036" y="92"/>
                    <a:pt x="1036" y="92"/>
                    <a:pt x="1036" y="92"/>
                  </a:cubicBezTo>
                  <a:cubicBezTo>
                    <a:pt x="1036" y="92"/>
                    <a:pt x="1036" y="92"/>
                    <a:pt x="1036" y="92"/>
                  </a:cubicBezTo>
                  <a:cubicBezTo>
                    <a:pt x="1036" y="92"/>
                    <a:pt x="1036" y="92"/>
                    <a:pt x="1036" y="92"/>
                  </a:cubicBezTo>
                  <a:cubicBezTo>
                    <a:pt x="1036" y="93"/>
                    <a:pt x="1036" y="93"/>
                    <a:pt x="1036" y="93"/>
                  </a:cubicBezTo>
                  <a:cubicBezTo>
                    <a:pt x="1036" y="93"/>
                    <a:pt x="1036" y="93"/>
                    <a:pt x="1036" y="93"/>
                  </a:cubicBezTo>
                  <a:cubicBezTo>
                    <a:pt x="1036" y="93"/>
                    <a:pt x="1036" y="93"/>
                    <a:pt x="1037" y="93"/>
                  </a:cubicBezTo>
                  <a:cubicBezTo>
                    <a:pt x="1037" y="93"/>
                    <a:pt x="1037" y="93"/>
                    <a:pt x="1037" y="93"/>
                  </a:cubicBezTo>
                  <a:cubicBezTo>
                    <a:pt x="1037" y="93"/>
                    <a:pt x="1037" y="93"/>
                    <a:pt x="1037" y="94"/>
                  </a:cubicBezTo>
                  <a:cubicBezTo>
                    <a:pt x="1037" y="94"/>
                    <a:pt x="1037" y="94"/>
                    <a:pt x="1037" y="94"/>
                  </a:cubicBezTo>
                  <a:cubicBezTo>
                    <a:pt x="1037" y="94"/>
                    <a:pt x="1037" y="94"/>
                    <a:pt x="1038" y="94"/>
                  </a:cubicBezTo>
                  <a:cubicBezTo>
                    <a:pt x="1038" y="94"/>
                    <a:pt x="1038" y="94"/>
                    <a:pt x="1038" y="94"/>
                  </a:cubicBezTo>
                  <a:cubicBezTo>
                    <a:pt x="1038" y="95"/>
                    <a:pt x="1038" y="95"/>
                    <a:pt x="1038" y="95"/>
                  </a:cubicBezTo>
                  <a:cubicBezTo>
                    <a:pt x="1038" y="95"/>
                    <a:pt x="1038" y="95"/>
                    <a:pt x="1038" y="95"/>
                  </a:cubicBezTo>
                  <a:cubicBezTo>
                    <a:pt x="1038" y="95"/>
                    <a:pt x="1038" y="95"/>
                    <a:pt x="1038" y="95"/>
                  </a:cubicBezTo>
                  <a:cubicBezTo>
                    <a:pt x="1038" y="95"/>
                    <a:pt x="1038" y="95"/>
                    <a:pt x="1038" y="95"/>
                  </a:cubicBezTo>
                  <a:cubicBezTo>
                    <a:pt x="1038" y="95"/>
                    <a:pt x="1039" y="95"/>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40" y="97"/>
                    <a:pt x="1040" y="97"/>
                    <a:pt x="1040" y="97"/>
                  </a:cubicBezTo>
                  <a:cubicBezTo>
                    <a:pt x="1040" y="97"/>
                    <a:pt x="1040" y="97"/>
                    <a:pt x="1040" y="97"/>
                  </a:cubicBezTo>
                  <a:cubicBezTo>
                    <a:pt x="1041" y="97"/>
                    <a:pt x="1041" y="97"/>
                    <a:pt x="1041" y="97"/>
                  </a:cubicBezTo>
                  <a:cubicBezTo>
                    <a:pt x="1041" y="97"/>
                    <a:pt x="1041" y="97"/>
                    <a:pt x="1041" y="97"/>
                  </a:cubicBezTo>
                  <a:cubicBezTo>
                    <a:pt x="1041" y="97"/>
                    <a:pt x="1041" y="98"/>
                    <a:pt x="1041" y="98"/>
                  </a:cubicBezTo>
                  <a:cubicBezTo>
                    <a:pt x="1041" y="98"/>
                    <a:pt x="1041" y="98"/>
                    <a:pt x="1041" y="98"/>
                  </a:cubicBezTo>
                  <a:cubicBezTo>
                    <a:pt x="1041" y="98"/>
                    <a:pt x="1042" y="98"/>
                    <a:pt x="1042" y="98"/>
                  </a:cubicBezTo>
                  <a:cubicBezTo>
                    <a:pt x="1042" y="98"/>
                    <a:pt x="1042" y="98"/>
                    <a:pt x="1042" y="98"/>
                  </a:cubicBezTo>
                  <a:cubicBezTo>
                    <a:pt x="1042" y="98"/>
                    <a:pt x="1042" y="98"/>
                    <a:pt x="1042" y="98"/>
                  </a:cubicBezTo>
                  <a:cubicBezTo>
                    <a:pt x="1042" y="98"/>
                    <a:pt x="1042" y="98"/>
                    <a:pt x="1042" y="98"/>
                  </a:cubicBezTo>
                  <a:cubicBezTo>
                    <a:pt x="1042" y="99"/>
                    <a:pt x="1043" y="98"/>
                    <a:pt x="1043" y="99"/>
                  </a:cubicBezTo>
                  <a:cubicBezTo>
                    <a:pt x="1043" y="99"/>
                    <a:pt x="1043" y="99"/>
                    <a:pt x="1043" y="99"/>
                  </a:cubicBezTo>
                  <a:cubicBezTo>
                    <a:pt x="1043" y="99"/>
                    <a:pt x="1043" y="99"/>
                    <a:pt x="1043" y="99"/>
                  </a:cubicBezTo>
                  <a:cubicBezTo>
                    <a:pt x="1043" y="99"/>
                    <a:pt x="1043" y="99"/>
                    <a:pt x="1043" y="99"/>
                  </a:cubicBezTo>
                  <a:cubicBezTo>
                    <a:pt x="1043" y="99"/>
                    <a:pt x="1044" y="99"/>
                    <a:pt x="1044" y="99"/>
                  </a:cubicBezTo>
                  <a:cubicBezTo>
                    <a:pt x="1044" y="99"/>
                    <a:pt x="1044" y="99"/>
                    <a:pt x="1044" y="99"/>
                  </a:cubicBezTo>
                  <a:cubicBezTo>
                    <a:pt x="1044" y="100"/>
                    <a:pt x="1044" y="100"/>
                    <a:pt x="1045" y="100"/>
                  </a:cubicBezTo>
                  <a:cubicBezTo>
                    <a:pt x="1045" y="100"/>
                    <a:pt x="1045" y="100"/>
                    <a:pt x="1045" y="100"/>
                  </a:cubicBezTo>
                  <a:cubicBezTo>
                    <a:pt x="1045" y="100"/>
                    <a:pt x="1045" y="100"/>
                    <a:pt x="1045" y="100"/>
                  </a:cubicBezTo>
                  <a:cubicBezTo>
                    <a:pt x="1045" y="100"/>
                    <a:pt x="1045" y="100"/>
                    <a:pt x="1045" y="100"/>
                  </a:cubicBezTo>
                  <a:cubicBezTo>
                    <a:pt x="1045" y="100"/>
                    <a:pt x="1045" y="100"/>
                    <a:pt x="1045" y="100"/>
                  </a:cubicBezTo>
                  <a:cubicBezTo>
                    <a:pt x="1045" y="100"/>
                    <a:pt x="1046" y="100"/>
                    <a:pt x="1046" y="100"/>
                  </a:cubicBezTo>
                  <a:cubicBezTo>
                    <a:pt x="1046" y="100"/>
                    <a:pt x="1046" y="100"/>
                    <a:pt x="1046" y="100"/>
                  </a:cubicBezTo>
                  <a:cubicBezTo>
                    <a:pt x="1046" y="100"/>
                    <a:pt x="1046" y="100"/>
                    <a:pt x="1046" y="100"/>
                  </a:cubicBezTo>
                  <a:cubicBezTo>
                    <a:pt x="1046" y="101"/>
                    <a:pt x="1047" y="101"/>
                    <a:pt x="1047" y="101"/>
                  </a:cubicBezTo>
                  <a:cubicBezTo>
                    <a:pt x="1047" y="101"/>
                    <a:pt x="1047" y="101"/>
                    <a:pt x="1047" y="101"/>
                  </a:cubicBezTo>
                  <a:cubicBezTo>
                    <a:pt x="1047" y="101"/>
                    <a:pt x="1047" y="101"/>
                    <a:pt x="1047" y="101"/>
                  </a:cubicBezTo>
                  <a:cubicBezTo>
                    <a:pt x="1047" y="101"/>
                    <a:pt x="1047" y="101"/>
                    <a:pt x="1047" y="101"/>
                  </a:cubicBezTo>
                  <a:cubicBezTo>
                    <a:pt x="1048" y="102"/>
                    <a:pt x="1048" y="101"/>
                    <a:pt x="1048" y="101"/>
                  </a:cubicBezTo>
                  <a:cubicBezTo>
                    <a:pt x="1048" y="101"/>
                    <a:pt x="1048" y="101"/>
                    <a:pt x="1048" y="101"/>
                  </a:cubicBezTo>
                  <a:cubicBezTo>
                    <a:pt x="1049" y="102"/>
                    <a:pt x="1049" y="102"/>
                    <a:pt x="1050" y="102"/>
                  </a:cubicBezTo>
                  <a:cubicBezTo>
                    <a:pt x="1049" y="102"/>
                    <a:pt x="1049" y="102"/>
                    <a:pt x="1049" y="102"/>
                  </a:cubicBezTo>
                  <a:cubicBezTo>
                    <a:pt x="1050" y="102"/>
                    <a:pt x="1050" y="102"/>
                    <a:pt x="1051" y="102"/>
                  </a:cubicBezTo>
                  <a:cubicBezTo>
                    <a:pt x="1051" y="102"/>
                    <a:pt x="1051" y="102"/>
                    <a:pt x="1051" y="102"/>
                  </a:cubicBezTo>
                  <a:cubicBezTo>
                    <a:pt x="1051" y="102"/>
                    <a:pt x="1051" y="102"/>
                    <a:pt x="1051" y="102"/>
                  </a:cubicBezTo>
                  <a:cubicBezTo>
                    <a:pt x="1051" y="103"/>
                    <a:pt x="1052" y="102"/>
                    <a:pt x="1052" y="103"/>
                  </a:cubicBezTo>
                  <a:cubicBezTo>
                    <a:pt x="1052" y="102"/>
                    <a:pt x="1052" y="102"/>
                    <a:pt x="1052" y="102"/>
                  </a:cubicBezTo>
                  <a:cubicBezTo>
                    <a:pt x="1053" y="103"/>
                    <a:pt x="1053" y="103"/>
                    <a:pt x="1053" y="103"/>
                  </a:cubicBezTo>
                  <a:cubicBezTo>
                    <a:pt x="1053" y="103"/>
                    <a:pt x="1054" y="103"/>
                    <a:pt x="1054" y="103"/>
                  </a:cubicBezTo>
                  <a:cubicBezTo>
                    <a:pt x="1054" y="103"/>
                    <a:pt x="1055" y="103"/>
                    <a:pt x="1055" y="103"/>
                  </a:cubicBezTo>
                  <a:cubicBezTo>
                    <a:pt x="1056" y="103"/>
                    <a:pt x="1057" y="103"/>
                    <a:pt x="1058" y="103"/>
                  </a:cubicBezTo>
                  <a:cubicBezTo>
                    <a:pt x="1059" y="103"/>
                    <a:pt x="1060" y="103"/>
                    <a:pt x="1062" y="103"/>
                  </a:cubicBezTo>
                  <a:cubicBezTo>
                    <a:pt x="1063" y="103"/>
                    <a:pt x="1064" y="103"/>
                    <a:pt x="1066" y="103"/>
                  </a:cubicBezTo>
                  <a:close/>
                  <a:moveTo>
                    <a:pt x="749" y="83"/>
                  </a:moveTo>
                  <a:cubicBezTo>
                    <a:pt x="749" y="83"/>
                    <a:pt x="749" y="83"/>
                    <a:pt x="749" y="83"/>
                  </a:cubicBezTo>
                  <a:cubicBezTo>
                    <a:pt x="749" y="83"/>
                    <a:pt x="749" y="84"/>
                    <a:pt x="749" y="84"/>
                  </a:cubicBezTo>
                  <a:cubicBezTo>
                    <a:pt x="749" y="84"/>
                    <a:pt x="749" y="84"/>
                    <a:pt x="749" y="84"/>
                  </a:cubicBezTo>
                  <a:cubicBezTo>
                    <a:pt x="750" y="84"/>
                    <a:pt x="750" y="85"/>
                    <a:pt x="750" y="85"/>
                  </a:cubicBezTo>
                  <a:cubicBezTo>
                    <a:pt x="750" y="85"/>
                    <a:pt x="750" y="85"/>
                    <a:pt x="750" y="85"/>
                  </a:cubicBezTo>
                  <a:cubicBezTo>
                    <a:pt x="750" y="85"/>
                    <a:pt x="750" y="85"/>
                    <a:pt x="750" y="85"/>
                  </a:cubicBezTo>
                  <a:cubicBezTo>
                    <a:pt x="750" y="85"/>
                    <a:pt x="750" y="86"/>
                    <a:pt x="750" y="86"/>
                  </a:cubicBezTo>
                  <a:cubicBezTo>
                    <a:pt x="750" y="86"/>
                    <a:pt x="750" y="86"/>
                    <a:pt x="750" y="86"/>
                  </a:cubicBezTo>
                  <a:cubicBezTo>
                    <a:pt x="750" y="86"/>
                    <a:pt x="750" y="86"/>
                    <a:pt x="750" y="87"/>
                  </a:cubicBezTo>
                  <a:cubicBezTo>
                    <a:pt x="750" y="87"/>
                    <a:pt x="750" y="87"/>
                    <a:pt x="750" y="87"/>
                  </a:cubicBezTo>
                  <a:cubicBezTo>
                    <a:pt x="751" y="87"/>
                    <a:pt x="751" y="87"/>
                    <a:pt x="751" y="87"/>
                  </a:cubicBezTo>
                  <a:cubicBezTo>
                    <a:pt x="751" y="87"/>
                    <a:pt x="751" y="87"/>
                    <a:pt x="751" y="87"/>
                  </a:cubicBezTo>
                  <a:cubicBezTo>
                    <a:pt x="751" y="87"/>
                    <a:pt x="751" y="87"/>
                    <a:pt x="751" y="87"/>
                  </a:cubicBezTo>
                  <a:cubicBezTo>
                    <a:pt x="751" y="88"/>
                    <a:pt x="751" y="88"/>
                    <a:pt x="751" y="88"/>
                  </a:cubicBezTo>
                  <a:cubicBezTo>
                    <a:pt x="751" y="88"/>
                    <a:pt x="751" y="88"/>
                    <a:pt x="751" y="88"/>
                  </a:cubicBezTo>
                  <a:cubicBezTo>
                    <a:pt x="751" y="88"/>
                    <a:pt x="751" y="88"/>
                    <a:pt x="751" y="88"/>
                  </a:cubicBezTo>
                  <a:cubicBezTo>
                    <a:pt x="751" y="88"/>
                    <a:pt x="751" y="88"/>
                    <a:pt x="751" y="89"/>
                  </a:cubicBezTo>
                  <a:cubicBezTo>
                    <a:pt x="751" y="89"/>
                    <a:pt x="751" y="89"/>
                    <a:pt x="751" y="89"/>
                  </a:cubicBezTo>
                  <a:cubicBezTo>
                    <a:pt x="752" y="89"/>
                    <a:pt x="752" y="89"/>
                    <a:pt x="752" y="89"/>
                  </a:cubicBezTo>
                  <a:cubicBezTo>
                    <a:pt x="752" y="89"/>
                    <a:pt x="752" y="89"/>
                    <a:pt x="752" y="89"/>
                  </a:cubicBezTo>
                  <a:cubicBezTo>
                    <a:pt x="752" y="90"/>
                    <a:pt x="752" y="90"/>
                    <a:pt x="752" y="90"/>
                  </a:cubicBezTo>
                  <a:cubicBezTo>
                    <a:pt x="752" y="90"/>
                    <a:pt x="752" y="90"/>
                    <a:pt x="752" y="90"/>
                  </a:cubicBezTo>
                  <a:cubicBezTo>
                    <a:pt x="752" y="90"/>
                    <a:pt x="753" y="91"/>
                    <a:pt x="753" y="91"/>
                  </a:cubicBezTo>
                  <a:cubicBezTo>
                    <a:pt x="753" y="91"/>
                    <a:pt x="753" y="91"/>
                    <a:pt x="753" y="91"/>
                  </a:cubicBezTo>
                  <a:cubicBezTo>
                    <a:pt x="753" y="91"/>
                    <a:pt x="753" y="92"/>
                    <a:pt x="754" y="92"/>
                  </a:cubicBezTo>
                  <a:cubicBezTo>
                    <a:pt x="754" y="92"/>
                    <a:pt x="754" y="92"/>
                    <a:pt x="754" y="92"/>
                  </a:cubicBezTo>
                  <a:cubicBezTo>
                    <a:pt x="754" y="92"/>
                    <a:pt x="754" y="92"/>
                    <a:pt x="754" y="92"/>
                  </a:cubicBezTo>
                  <a:cubicBezTo>
                    <a:pt x="754" y="92"/>
                    <a:pt x="754" y="92"/>
                    <a:pt x="754" y="92"/>
                  </a:cubicBezTo>
                  <a:cubicBezTo>
                    <a:pt x="754" y="93"/>
                    <a:pt x="754" y="93"/>
                    <a:pt x="755" y="93"/>
                  </a:cubicBezTo>
                  <a:cubicBezTo>
                    <a:pt x="755" y="93"/>
                    <a:pt x="755" y="93"/>
                    <a:pt x="755" y="93"/>
                  </a:cubicBezTo>
                  <a:cubicBezTo>
                    <a:pt x="755" y="94"/>
                    <a:pt x="755" y="94"/>
                    <a:pt x="755" y="94"/>
                  </a:cubicBezTo>
                  <a:cubicBezTo>
                    <a:pt x="755" y="94"/>
                    <a:pt x="755" y="94"/>
                    <a:pt x="755" y="94"/>
                  </a:cubicBezTo>
                  <a:cubicBezTo>
                    <a:pt x="755" y="94"/>
                    <a:pt x="755" y="94"/>
                    <a:pt x="755" y="94"/>
                  </a:cubicBezTo>
                  <a:cubicBezTo>
                    <a:pt x="755" y="94"/>
                    <a:pt x="755" y="94"/>
                    <a:pt x="755" y="94"/>
                  </a:cubicBezTo>
                  <a:cubicBezTo>
                    <a:pt x="755" y="94"/>
                    <a:pt x="756" y="94"/>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7" y="95"/>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8" y="96"/>
                    <a:pt x="758" y="97"/>
                    <a:pt x="758" y="97"/>
                  </a:cubicBezTo>
                  <a:cubicBezTo>
                    <a:pt x="758" y="97"/>
                    <a:pt x="758" y="97"/>
                    <a:pt x="758" y="97"/>
                  </a:cubicBezTo>
                  <a:cubicBezTo>
                    <a:pt x="758" y="97"/>
                    <a:pt x="758" y="97"/>
                    <a:pt x="758" y="97"/>
                  </a:cubicBezTo>
                  <a:cubicBezTo>
                    <a:pt x="758" y="97"/>
                    <a:pt x="758" y="97"/>
                    <a:pt x="758" y="97"/>
                  </a:cubicBezTo>
                  <a:cubicBezTo>
                    <a:pt x="758" y="97"/>
                    <a:pt x="759" y="97"/>
                    <a:pt x="759" y="98"/>
                  </a:cubicBezTo>
                  <a:cubicBezTo>
                    <a:pt x="759" y="98"/>
                    <a:pt x="759" y="98"/>
                    <a:pt x="759" y="98"/>
                  </a:cubicBezTo>
                  <a:cubicBezTo>
                    <a:pt x="759" y="98"/>
                    <a:pt x="759" y="98"/>
                    <a:pt x="760" y="98"/>
                  </a:cubicBezTo>
                  <a:cubicBezTo>
                    <a:pt x="760" y="98"/>
                    <a:pt x="760" y="98"/>
                    <a:pt x="760" y="98"/>
                  </a:cubicBezTo>
                  <a:cubicBezTo>
                    <a:pt x="760" y="98"/>
                    <a:pt x="760" y="98"/>
                    <a:pt x="761" y="99"/>
                  </a:cubicBezTo>
                  <a:cubicBezTo>
                    <a:pt x="761" y="99"/>
                    <a:pt x="761" y="99"/>
                    <a:pt x="761" y="99"/>
                  </a:cubicBezTo>
                  <a:cubicBezTo>
                    <a:pt x="761" y="99"/>
                    <a:pt x="761" y="99"/>
                    <a:pt x="761" y="99"/>
                  </a:cubicBezTo>
                  <a:cubicBezTo>
                    <a:pt x="761" y="99"/>
                    <a:pt x="761" y="99"/>
                    <a:pt x="761" y="99"/>
                  </a:cubicBezTo>
                  <a:cubicBezTo>
                    <a:pt x="761" y="99"/>
                    <a:pt x="761" y="99"/>
                    <a:pt x="762" y="99"/>
                  </a:cubicBezTo>
                  <a:cubicBezTo>
                    <a:pt x="762" y="99"/>
                    <a:pt x="762" y="99"/>
                    <a:pt x="762" y="99"/>
                  </a:cubicBezTo>
                  <a:cubicBezTo>
                    <a:pt x="762" y="100"/>
                    <a:pt x="762" y="100"/>
                    <a:pt x="762" y="100"/>
                  </a:cubicBezTo>
                  <a:cubicBezTo>
                    <a:pt x="762" y="100"/>
                    <a:pt x="762" y="100"/>
                    <a:pt x="762" y="100"/>
                  </a:cubicBezTo>
                  <a:cubicBezTo>
                    <a:pt x="762" y="100"/>
                    <a:pt x="763" y="100"/>
                    <a:pt x="763" y="100"/>
                  </a:cubicBezTo>
                  <a:cubicBezTo>
                    <a:pt x="763" y="100"/>
                    <a:pt x="763" y="100"/>
                    <a:pt x="763" y="100"/>
                  </a:cubicBezTo>
                  <a:cubicBezTo>
                    <a:pt x="763" y="100"/>
                    <a:pt x="764" y="100"/>
                    <a:pt x="764" y="100"/>
                  </a:cubicBezTo>
                  <a:cubicBezTo>
                    <a:pt x="764" y="100"/>
                    <a:pt x="764" y="100"/>
                    <a:pt x="764" y="100"/>
                  </a:cubicBezTo>
                  <a:cubicBezTo>
                    <a:pt x="764" y="101"/>
                    <a:pt x="764" y="101"/>
                    <a:pt x="764" y="101"/>
                  </a:cubicBezTo>
                  <a:cubicBezTo>
                    <a:pt x="764" y="101"/>
                    <a:pt x="764" y="101"/>
                    <a:pt x="764" y="101"/>
                  </a:cubicBezTo>
                  <a:cubicBezTo>
                    <a:pt x="765" y="101"/>
                    <a:pt x="765" y="101"/>
                    <a:pt x="765" y="101"/>
                  </a:cubicBezTo>
                  <a:cubicBezTo>
                    <a:pt x="765" y="101"/>
                    <a:pt x="765" y="101"/>
                    <a:pt x="765" y="101"/>
                  </a:cubicBezTo>
                  <a:cubicBezTo>
                    <a:pt x="766" y="101"/>
                    <a:pt x="766" y="101"/>
                    <a:pt x="766" y="101"/>
                  </a:cubicBezTo>
                  <a:cubicBezTo>
                    <a:pt x="766" y="101"/>
                    <a:pt x="766" y="101"/>
                    <a:pt x="766" y="101"/>
                  </a:cubicBezTo>
                  <a:cubicBezTo>
                    <a:pt x="766" y="102"/>
                    <a:pt x="766" y="102"/>
                    <a:pt x="766" y="102"/>
                  </a:cubicBezTo>
                  <a:cubicBezTo>
                    <a:pt x="767" y="102"/>
                    <a:pt x="767" y="102"/>
                    <a:pt x="767" y="102"/>
                  </a:cubicBezTo>
                  <a:cubicBezTo>
                    <a:pt x="767" y="102"/>
                    <a:pt x="767" y="102"/>
                    <a:pt x="767" y="102"/>
                  </a:cubicBezTo>
                  <a:cubicBezTo>
                    <a:pt x="768" y="102"/>
                    <a:pt x="768" y="102"/>
                    <a:pt x="768" y="102"/>
                  </a:cubicBezTo>
                  <a:cubicBezTo>
                    <a:pt x="768" y="102"/>
                    <a:pt x="768" y="102"/>
                    <a:pt x="769" y="102"/>
                  </a:cubicBezTo>
                  <a:cubicBezTo>
                    <a:pt x="769" y="102"/>
                    <a:pt x="769" y="102"/>
                    <a:pt x="769" y="102"/>
                  </a:cubicBezTo>
                  <a:cubicBezTo>
                    <a:pt x="769" y="102"/>
                    <a:pt x="769" y="102"/>
                    <a:pt x="769" y="102"/>
                  </a:cubicBezTo>
                  <a:cubicBezTo>
                    <a:pt x="769" y="102"/>
                    <a:pt x="770" y="102"/>
                    <a:pt x="770" y="103"/>
                  </a:cubicBezTo>
                  <a:cubicBezTo>
                    <a:pt x="770" y="102"/>
                    <a:pt x="770" y="102"/>
                    <a:pt x="770" y="102"/>
                  </a:cubicBezTo>
                  <a:cubicBezTo>
                    <a:pt x="770" y="103"/>
                    <a:pt x="770" y="103"/>
                    <a:pt x="770" y="103"/>
                  </a:cubicBezTo>
                  <a:cubicBezTo>
                    <a:pt x="771" y="103"/>
                    <a:pt x="772" y="103"/>
                    <a:pt x="772" y="103"/>
                  </a:cubicBezTo>
                  <a:cubicBezTo>
                    <a:pt x="772" y="103"/>
                    <a:pt x="773" y="103"/>
                    <a:pt x="773" y="103"/>
                  </a:cubicBezTo>
                  <a:cubicBezTo>
                    <a:pt x="774" y="103"/>
                    <a:pt x="775" y="103"/>
                    <a:pt x="776" y="103"/>
                  </a:cubicBezTo>
                  <a:cubicBezTo>
                    <a:pt x="777" y="103"/>
                    <a:pt x="778" y="103"/>
                    <a:pt x="779" y="103"/>
                  </a:cubicBezTo>
                  <a:cubicBezTo>
                    <a:pt x="781" y="103"/>
                    <a:pt x="782" y="103"/>
                    <a:pt x="784" y="103"/>
                  </a:cubicBezTo>
                  <a:cubicBezTo>
                    <a:pt x="784" y="103"/>
                    <a:pt x="784" y="103"/>
                    <a:pt x="784" y="103"/>
                  </a:cubicBezTo>
                  <a:cubicBezTo>
                    <a:pt x="785" y="103"/>
                    <a:pt x="786" y="103"/>
                    <a:pt x="786" y="103"/>
                  </a:cubicBezTo>
                  <a:cubicBezTo>
                    <a:pt x="786" y="102"/>
                    <a:pt x="786" y="102"/>
                    <a:pt x="786" y="102"/>
                  </a:cubicBezTo>
                  <a:cubicBezTo>
                    <a:pt x="787" y="103"/>
                    <a:pt x="787" y="103"/>
                    <a:pt x="787" y="103"/>
                  </a:cubicBezTo>
                  <a:cubicBezTo>
                    <a:pt x="787" y="102"/>
                    <a:pt x="788" y="103"/>
                    <a:pt x="788" y="102"/>
                  </a:cubicBezTo>
                  <a:cubicBezTo>
                    <a:pt x="788" y="102"/>
                    <a:pt x="788" y="102"/>
                    <a:pt x="788" y="102"/>
                  </a:cubicBezTo>
                  <a:cubicBezTo>
                    <a:pt x="789" y="102"/>
                    <a:pt x="789" y="102"/>
                    <a:pt x="789" y="102"/>
                  </a:cubicBezTo>
                  <a:cubicBezTo>
                    <a:pt x="789" y="102"/>
                    <a:pt x="789" y="102"/>
                    <a:pt x="790" y="102"/>
                  </a:cubicBezTo>
                  <a:cubicBezTo>
                    <a:pt x="790" y="102"/>
                    <a:pt x="790" y="102"/>
                    <a:pt x="790" y="102"/>
                  </a:cubicBezTo>
                  <a:cubicBezTo>
                    <a:pt x="790" y="102"/>
                    <a:pt x="790" y="102"/>
                    <a:pt x="790" y="102"/>
                  </a:cubicBezTo>
                  <a:cubicBezTo>
                    <a:pt x="790" y="102"/>
                    <a:pt x="791" y="102"/>
                    <a:pt x="791" y="101"/>
                  </a:cubicBezTo>
                  <a:cubicBezTo>
                    <a:pt x="791" y="102"/>
                    <a:pt x="791" y="102"/>
                    <a:pt x="791" y="102"/>
                  </a:cubicBezTo>
                  <a:cubicBezTo>
                    <a:pt x="791" y="101"/>
                    <a:pt x="792" y="101"/>
                    <a:pt x="792" y="101"/>
                  </a:cubicBezTo>
                  <a:cubicBezTo>
                    <a:pt x="792" y="101"/>
                    <a:pt x="792" y="101"/>
                    <a:pt x="792" y="101"/>
                  </a:cubicBezTo>
                  <a:cubicBezTo>
                    <a:pt x="792" y="101"/>
                    <a:pt x="792" y="101"/>
                    <a:pt x="792" y="101"/>
                  </a:cubicBezTo>
                  <a:cubicBezTo>
                    <a:pt x="793" y="101"/>
                    <a:pt x="793" y="101"/>
                    <a:pt x="793" y="101"/>
                  </a:cubicBezTo>
                  <a:cubicBezTo>
                    <a:pt x="793" y="101"/>
                    <a:pt x="793" y="101"/>
                    <a:pt x="793" y="101"/>
                  </a:cubicBezTo>
                  <a:cubicBezTo>
                    <a:pt x="794" y="100"/>
                    <a:pt x="794" y="101"/>
                    <a:pt x="794" y="100"/>
                  </a:cubicBezTo>
                  <a:cubicBezTo>
                    <a:pt x="794" y="100"/>
                    <a:pt x="794" y="100"/>
                    <a:pt x="794" y="100"/>
                  </a:cubicBezTo>
                  <a:cubicBezTo>
                    <a:pt x="794" y="100"/>
                    <a:pt x="795" y="100"/>
                    <a:pt x="795" y="100"/>
                  </a:cubicBezTo>
                  <a:cubicBezTo>
                    <a:pt x="795" y="100"/>
                    <a:pt x="795" y="100"/>
                    <a:pt x="795" y="100"/>
                  </a:cubicBezTo>
                  <a:cubicBezTo>
                    <a:pt x="795" y="100"/>
                    <a:pt x="795" y="100"/>
                    <a:pt x="795" y="100"/>
                  </a:cubicBezTo>
                  <a:cubicBezTo>
                    <a:pt x="795" y="100"/>
                    <a:pt x="796" y="100"/>
                    <a:pt x="796" y="100"/>
                  </a:cubicBezTo>
                  <a:cubicBezTo>
                    <a:pt x="796" y="100"/>
                    <a:pt x="796" y="100"/>
                    <a:pt x="796" y="100"/>
                  </a:cubicBezTo>
                  <a:cubicBezTo>
                    <a:pt x="796" y="100"/>
                    <a:pt x="797" y="100"/>
                    <a:pt x="797" y="99"/>
                  </a:cubicBezTo>
                  <a:cubicBezTo>
                    <a:pt x="797" y="99"/>
                    <a:pt x="797" y="99"/>
                    <a:pt x="797" y="99"/>
                  </a:cubicBezTo>
                  <a:cubicBezTo>
                    <a:pt x="797" y="99"/>
                    <a:pt x="797" y="99"/>
                    <a:pt x="797" y="99"/>
                  </a:cubicBezTo>
                  <a:cubicBezTo>
                    <a:pt x="797" y="99"/>
                    <a:pt x="797" y="99"/>
                    <a:pt x="797" y="99"/>
                  </a:cubicBezTo>
                  <a:cubicBezTo>
                    <a:pt x="798" y="99"/>
                    <a:pt x="798" y="99"/>
                    <a:pt x="798" y="99"/>
                  </a:cubicBezTo>
                  <a:cubicBezTo>
                    <a:pt x="798" y="99"/>
                    <a:pt x="798" y="99"/>
                    <a:pt x="798" y="99"/>
                  </a:cubicBezTo>
                  <a:cubicBezTo>
                    <a:pt x="798" y="99"/>
                    <a:pt x="798" y="98"/>
                    <a:pt x="798" y="98"/>
                  </a:cubicBezTo>
                  <a:cubicBezTo>
                    <a:pt x="799" y="98"/>
                    <a:pt x="799" y="98"/>
                    <a:pt x="799" y="98"/>
                  </a:cubicBezTo>
                  <a:cubicBezTo>
                    <a:pt x="799" y="98"/>
                    <a:pt x="799" y="98"/>
                    <a:pt x="799" y="98"/>
                  </a:cubicBezTo>
                  <a:cubicBezTo>
                    <a:pt x="799" y="98"/>
                    <a:pt x="799" y="98"/>
                    <a:pt x="799" y="98"/>
                  </a:cubicBezTo>
                  <a:cubicBezTo>
                    <a:pt x="799" y="98"/>
                    <a:pt x="800" y="98"/>
                    <a:pt x="800" y="98"/>
                  </a:cubicBezTo>
                  <a:cubicBezTo>
                    <a:pt x="800" y="98"/>
                    <a:pt x="800" y="98"/>
                    <a:pt x="800" y="98"/>
                  </a:cubicBezTo>
                  <a:cubicBezTo>
                    <a:pt x="800" y="98"/>
                    <a:pt x="800" y="97"/>
                    <a:pt x="800" y="97"/>
                  </a:cubicBezTo>
                  <a:cubicBezTo>
                    <a:pt x="800" y="97"/>
                    <a:pt x="800" y="97"/>
                    <a:pt x="800" y="97"/>
                  </a:cubicBezTo>
                  <a:cubicBezTo>
                    <a:pt x="801" y="97"/>
                    <a:pt x="801" y="96"/>
                    <a:pt x="801" y="96"/>
                  </a:cubicBezTo>
                  <a:cubicBezTo>
                    <a:pt x="801" y="93"/>
                    <a:pt x="801" y="90"/>
                    <a:pt x="801" y="87"/>
                  </a:cubicBezTo>
                  <a:cubicBezTo>
                    <a:pt x="801" y="87"/>
                    <a:pt x="801" y="87"/>
                    <a:pt x="801" y="87"/>
                  </a:cubicBezTo>
                  <a:cubicBezTo>
                    <a:pt x="801" y="87"/>
                    <a:pt x="801" y="87"/>
                    <a:pt x="801" y="87"/>
                  </a:cubicBezTo>
                  <a:cubicBezTo>
                    <a:pt x="800" y="87"/>
                    <a:pt x="800" y="87"/>
                    <a:pt x="800" y="87"/>
                  </a:cubicBezTo>
                  <a:cubicBezTo>
                    <a:pt x="800" y="87"/>
                    <a:pt x="800" y="87"/>
                    <a:pt x="800" y="87"/>
                  </a:cubicBezTo>
                  <a:cubicBezTo>
                    <a:pt x="800" y="87"/>
                    <a:pt x="800" y="87"/>
                    <a:pt x="800" y="87"/>
                  </a:cubicBezTo>
                  <a:cubicBezTo>
                    <a:pt x="800" y="87"/>
                    <a:pt x="800" y="87"/>
                    <a:pt x="800" y="87"/>
                  </a:cubicBezTo>
                  <a:cubicBezTo>
                    <a:pt x="800" y="87"/>
                    <a:pt x="799" y="87"/>
                    <a:pt x="799" y="88"/>
                  </a:cubicBezTo>
                  <a:cubicBezTo>
                    <a:pt x="799" y="88"/>
                    <a:pt x="799" y="88"/>
                    <a:pt x="799" y="88"/>
                  </a:cubicBezTo>
                  <a:cubicBezTo>
                    <a:pt x="799" y="88"/>
                    <a:pt x="799" y="88"/>
                    <a:pt x="799" y="88"/>
                  </a:cubicBezTo>
                  <a:cubicBezTo>
                    <a:pt x="799" y="88"/>
                    <a:pt x="799" y="88"/>
                    <a:pt x="799" y="88"/>
                  </a:cubicBezTo>
                  <a:cubicBezTo>
                    <a:pt x="799" y="88"/>
                    <a:pt x="798" y="88"/>
                    <a:pt x="798" y="88"/>
                  </a:cubicBezTo>
                  <a:cubicBezTo>
                    <a:pt x="798" y="88"/>
                    <a:pt x="798" y="88"/>
                    <a:pt x="798" y="88"/>
                  </a:cubicBezTo>
                  <a:cubicBezTo>
                    <a:pt x="798" y="88"/>
                    <a:pt x="798" y="89"/>
                    <a:pt x="798" y="89"/>
                  </a:cubicBezTo>
                  <a:cubicBezTo>
                    <a:pt x="798" y="89"/>
                    <a:pt x="798" y="89"/>
                    <a:pt x="798" y="89"/>
                  </a:cubicBezTo>
                  <a:cubicBezTo>
                    <a:pt x="798" y="89"/>
                    <a:pt x="797" y="89"/>
                    <a:pt x="797" y="89"/>
                  </a:cubicBezTo>
                  <a:cubicBezTo>
                    <a:pt x="797" y="89"/>
                    <a:pt x="797" y="89"/>
                    <a:pt x="797" y="89"/>
                  </a:cubicBezTo>
                  <a:cubicBezTo>
                    <a:pt x="797" y="89"/>
                    <a:pt x="797" y="89"/>
                    <a:pt x="797" y="89"/>
                  </a:cubicBezTo>
                  <a:cubicBezTo>
                    <a:pt x="797" y="89"/>
                    <a:pt x="797" y="89"/>
                    <a:pt x="797" y="89"/>
                  </a:cubicBezTo>
                  <a:cubicBezTo>
                    <a:pt x="797" y="90"/>
                    <a:pt x="796" y="89"/>
                    <a:pt x="796" y="90"/>
                  </a:cubicBezTo>
                  <a:cubicBezTo>
                    <a:pt x="796" y="90"/>
                    <a:pt x="796" y="90"/>
                    <a:pt x="796" y="90"/>
                  </a:cubicBezTo>
                  <a:cubicBezTo>
                    <a:pt x="796" y="90"/>
                    <a:pt x="796" y="90"/>
                    <a:pt x="795" y="90"/>
                  </a:cubicBezTo>
                  <a:cubicBezTo>
                    <a:pt x="795" y="90"/>
                    <a:pt x="795" y="90"/>
                    <a:pt x="795" y="90"/>
                  </a:cubicBezTo>
                  <a:cubicBezTo>
                    <a:pt x="795" y="90"/>
                    <a:pt x="795" y="90"/>
                    <a:pt x="795" y="90"/>
                  </a:cubicBezTo>
                  <a:cubicBezTo>
                    <a:pt x="795" y="90"/>
                    <a:pt x="795" y="90"/>
                    <a:pt x="795" y="90"/>
                  </a:cubicBezTo>
                  <a:cubicBezTo>
                    <a:pt x="794" y="91"/>
                    <a:pt x="794" y="91"/>
                    <a:pt x="794" y="91"/>
                  </a:cubicBezTo>
                  <a:cubicBezTo>
                    <a:pt x="794" y="91"/>
                    <a:pt x="794" y="91"/>
                    <a:pt x="794" y="91"/>
                  </a:cubicBezTo>
                  <a:cubicBezTo>
                    <a:pt x="794" y="91"/>
                    <a:pt x="793" y="91"/>
                    <a:pt x="793" y="91"/>
                  </a:cubicBezTo>
                  <a:cubicBezTo>
                    <a:pt x="793" y="91"/>
                    <a:pt x="793" y="91"/>
                    <a:pt x="793" y="91"/>
                  </a:cubicBezTo>
                  <a:cubicBezTo>
                    <a:pt x="793" y="91"/>
                    <a:pt x="793" y="91"/>
                    <a:pt x="793" y="91"/>
                  </a:cubicBezTo>
                  <a:cubicBezTo>
                    <a:pt x="793" y="91"/>
                    <a:pt x="792" y="92"/>
                    <a:pt x="792" y="91"/>
                  </a:cubicBezTo>
                  <a:cubicBezTo>
                    <a:pt x="792" y="92"/>
                    <a:pt x="792" y="92"/>
                    <a:pt x="792" y="92"/>
                  </a:cubicBezTo>
                  <a:cubicBezTo>
                    <a:pt x="792" y="92"/>
                    <a:pt x="792" y="92"/>
                    <a:pt x="792" y="92"/>
                  </a:cubicBezTo>
                  <a:cubicBezTo>
                    <a:pt x="791" y="92"/>
                    <a:pt x="791" y="92"/>
                    <a:pt x="791" y="92"/>
                  </a:cubicBezTo>
                  <a:cubicBezTo>
                    <a:pt x="791" y="92"/>
                    <a:pt x="791" y="92"/>
                    <a:pt x="791" y="92"/>
                  </a:cubicBezTo>
                  <a:cubicBezTo>
                    <a:pt x="790" y="92"/>
                    <a:pt x="790" y="92"/>
                    <a:pt x="789" y="92"/>
                  </a:cubicBezTo>
                  <a:cubicBezTo>
                    <a:pt x="789" y="92"/>
                    <a:pt x="789" y="92"/>
                    <a:pt x="789" y="92"/>
                  </a:cubicBezTo>
                  <a:cubicBezTo>
                    <a:pt x="789" y="93"/>
                    <a:pt x="789" y="93"/>
                    <a:pt x="788" y="93"/>
                  </a:cubicBezTo>
                  <a:cubicBezTo>
                    <a:pt x="788" y="93"/>
                    <a:pt x="788" y="93"/>
                    <a:pt x="788" y="93"/>
                  </a:cubicBezTo>
                  <a:cubicBezTo>
                    <a:pt x="788" y="93"/>
                    <a:pt x="787" y="93"/>
                    <a:pt x="787" y="93"/>
                  </a:cubicBezTo>
                  <a:cubicBezTo>
                    <a:pt x="787" y="93"/>
                    <a:pt x="787" y="93"/>
                    <a:pt x="787" y="93"/>
                  </a:cubicBezTo>
                  <a:cubicBezTo>
                    <a:pt x="786" y="93"/>
                    <a:pt x="786" y="93"/>
                    <a:pt x="786" y="93"/>
                  </a:cubicBezTo>
                  <a:cubicBezTo>
                    <a:pt x="786" y="93"/>
                    <a:pt x="785" y="93"/>
                    <a:pt x="785" y="93"/>
                  </a:cubicBezTo>
                  <a:cubicBezTo>
                    <a:pt x="785" y="94"/>
                    <a:pt x="784" y="94"/>
                    <a:pt x="784" y="94"/>
                  </a:cubicBezTo>
                  <a:cubicBezTo>
                    <a:pt x="782" y="94"/>
                    <a:pt x="779" y="94"/>
                    <a:pt x="776" y="94"/>
                  </a:cubicBezTo>
                  <a:cubicBezTo>
                    <a:pt x="776" y="94"/>
                    <a:pt x="776" y="94"/>
                    <a:pt x="776" y="93"/>
                  </a:cubicBezTo>
                  <a:cubicBezTo>
                    <a:pt x="775" y="93"/>
                    <a:pt x="775" y="93"/>
                    <a:pt x="774" y="93"/>
                  </a:cubicBezTo>
                  <a:cubicBezTo>
                    <a:pt x="774" y="93"/>
                    <a:pt x="774" y="93"/>
                    <a:pt x="774" y="93"/>
                  </a:cubicBezTo>
                  <a:cubicBezTo>
                    <a:pt x="774" y="93"/>
                    <a:pt x="774" y="93"/>
                    <a:pt x="774" y="93"/>
                  </a:cubicBezTo>
                  <a:cubicBezTo>
                    <a:pt x="774" y="93"/>
                    <a:pt x="773" y="93"/>
                    <a:pt x="773" y="93"/>
                  </a:cubicBezTo>
                  <a:cubicBezTo>
                    <a:pt x="773" y="93"/>
                    <a:pt x="773" y="93"/>
                    <a:pt x="773" y="93"/>
                  </a:cubicBezTo>
                  <a:cubicBezTo>
                    <a:pt x="773" y="93"/>
                    <a:pt x="773" y="93"/>
                    <a:pt x="773" y="93"/>
                  </a:cubicBezTo>
                  <a:cubicBezTo>
                    <a:pt x="772" y="93"/>
                    <a:pt x="772" y="93"/>
                    <a:pt x="772" y="92"/>
                  </a:cubicBezTo>
                  <a:cubicBezTo>
                    <a:pt x="772" y="92"/>
                    <a:pt x="772" y="92"/>
                    <a:pt x="772" y="92"/>
                  </a:cubicBezTo>
                  <a:cubicBezTo>
                    <a:pt x="771" y="92"/>
                    <a:pt x="771" y="92"/>
                    <a:pt x="771" y="92"/>
                  </a:cubicBezTo>
                  <a:cubicBezTo>
                    <a:pt x="771" y="92"/>
                    <a:pt x="771" y="92"/>
                    <a:pt x="771" y="92"/>
                  </a:cubicBezTo>
                  <a:cubicBezTo>
                    <a:pt x="771" y="92"/>
                    <a:pt x="771" y="92"/>
                    <a:pt x="771" y="92"/>
                  </a:cubicBezTo>
                  <a:cubicBezTo>
                    <a:pt x="770" y="92"/>
                    <a:pt x="770" y="92"/>
                    <a:pt x="770" y="92"/>
                  </a:cubicBezTo>
                  <a:cubicBezTo>
                    <a:pt x="770" y="92"/>
                    <a:pt x="770" y="92"/>
                    <a:pt x="770" y="92"/>
                  </a:cubicBezTo>
                  <a:cubicBezTo>
                    <a:pt x="770" y="92"/>
                    <a:pt x="769" y="92"/>
                    <a:pt x="769" y="91"/>
                  </a:cubicBezTo>
                  <a:cubicBezTo>
                    <a:pt x="769" y="91"/>
                    <a:pt x="769" y="91"/>
                    <a:pt x="769" y="91"/>
                  </a:cubicBezTo>
                  <a:cubicBezTo>
                    <a:pt x="769" y="91"/>
                    <a:pt x="769" y="91"/>
                    <a:pt x="769" y="91"/>
                  </a:cubicBezTo>
                  <a:cubicBezTo>
                    <a:pt x="769" y="91"/>
                    <a:pt x="769" y="91"/>
                    <a:pt x="769" y="91"/>
                  </a:cubicBezTo>
                  <a:cubicBezTo>
                    <a:pt x="768" y="91"/>
                    <a:pt x="768" y="91"/>
                    <a:pt x="768" y="91"/>
                  </a:cubicBezTo>
                  <a:cubicBezTo>
                    <a:pt x="768" y="91"/>
                    <a:pt x="768" y="91"/>
                    <a:pt x="768" y="91"/>
                  </a:cubicBezTo>
                  <a:cubicBezTo>
                    <a:pt x="768" y="90"/>
                    <a:pt x="768" y="91"/>
                    <a:pt x="767" y="90"/>
                  </a:cubicBezTo>
                  <a:cubicBezTo>
                    <a:pt x="767" y="90"/>
                    <a:pt x="767" y="90"/>
                    <a:pt x="767" y="90"/>
                  </a:cubicBezTo>
                  <a:cubicBezTo>
                    <a:pt x="767" y="90"/>
                    <a:pt x="767" y="90"/>
                    <a:pt x="766" y="90"/>
                  </a:cubicBezTo>
                  <a:cubicBezTo>
                    <a:pt x="766" y="90"/>
                    <a:pt x="766" y="90"/>
                    <a:pt x="766" y="90"/>
                  </a:cubicBezTo>
                  <a:cubicBezTo>
                    <a:pt x="766" y="90"/>
                    <a:pt x="766" y="89"/>
                    <a:pt x="766" y="89"/>
                  </a:cubicBezTo>
                  <a:cubicBezTo>
                    <a:pt x="766" y="89"/>
                    <a:pt x="766" y="89"/>
                    <a:pt x="766" y="89"/>
                  </a:cubicBezTo>
                  <a:cubicBezTo>
                    <a:pt x="766" y="89"/>
                    <a:pt x="766" y="89"/>
                    <a:pt x="766" y="89"/>
                  </a:cubicBezTo>
                  <a:cubicBezTo>
                    <a:pt x="766" y="89"/>
                    <a:pt x="766" y="89"/>
                    <a:pt x="766" y="89"/>
                  </a:cubicBezTo>
                  <a:cubicBezTo>
                    <a:pt x="765" y="88"/>
                    <a:pt x="765" y="88"/>
                    <a:pt x="764" y="87"/>
                  </a:cubicBezTo>
                  <a:cubicBezTo>
                    <a:pt x="764" y="87"/>
                    <a:pt x="764" y="87"/>
                    <a:pt x="764" y="87"/>
                  </a:cubicBezTo>
                  <a:cubicBezTo>
                    <a:pt x="764" y="87"/>
                    <a:pt x="764" y="87"/>
                    <a:pt x="764" y="87"/>
                  </a:cubicBezTo>
                  <a:cubicBezTo>
                    <a:pt x="764" y="87"/>
                    <a:pt x="764" y="87"/>
                    <a:pt x="764" y="87"/>
                  </a:cubicBezTo>
                  <a:cubicBezTo>
                    <a:pt x="764" y="87"/>
                    <a:pt x="763" y="87"/>
                    <a:pt x="763" y="87"/>
                  </a:cubicBezTo>
                  <a:cubicBezTo>
                    <a:pt x="763" y="87"/>
                    <a:pt x="763" y="87"/>
                    <a:pt x="763" y="87"/>
                  </a:cubicBezTo>
                  <a:cubicBezTo>
                    <a:pt x="763" y="86"/>
                    <a:pt x="763" y="86"/>
                    <a:pt x="763" y="86"/>
                  </a:cubicBezTo>
                  <a:cubicBezTo>
                    <a:pt x="763" y="86"/>
                    <a:pt x="763" y="86"/>
                    <a:pt x="763" y="86"/>
                  </a:cubicBezTo>
                  <a:cubicBezTo>
                    <a:pt x="763" y="86"/>
                    <a:pt x="763" y="86"/>
                    <a:pt x="763" y="86"/>
                  </a:cubicBezTo>
                  <a:cubicBezTo>
                    <a:pt x="763" y="86"/>
                    <a:pt x="763" y="86"/>
                    <a:pt x="763" y="86"/>
                  </a:cubicBezTo>
                  <a:cubicBezTo>
                    <a:pt x="763" y="85"/>
                    <a:pt x="762" y="85"/>
                    <a:pt x="762" y="85"/>
                  </a:cubicBezTo>
                  <a:cubicBezTo>
                    <a:pt x="762" y="85"/>
                    <a:pt x="762" y="85"/>
                    <a:pt x="762" y="85"/>
                  </a:cubicBezTo>
                  <a:cubicBezTo>
                    <a:pt x="762" y="85"/>
                    <a:pt x="762" y="85"/>
                    <a:pt x="762" y="84"/>
                  </a:cubicBezTo>
                  <a:cubicBezTo>
                    <a:pt x="762" y="85"/>
                    <a:pt x="762" y="85"/>
                    <a:pt x="762" y="85"/>
                  </a:cubicBezTo>
                  <a:cubicBezTo>
                    <a:pt x="762" y="84"/>
                    <a:pt x="762" y="84"/>
                    <a:pt x="762" y="84"/>
                  </a:cubicBezTo>
                  <a:cubicBezTo>
                    <a:pt x="762" y="84"/>
                    <a:pt x="762" y="84"/>
                    <a:pt x="762" y="84"/>
                  </a:cubicBezTo>
                  <a:cubicBezTo>
                    <a:pt x="762" y="84"/>
                    <a:pt x="762" y="84"/>
                    <a:pt x="762" y="84"/>
                  </a:cubicBezTo>
                  <a:cubicBezTo>
                    <a:pt x="762" y="84"/>
                    <a:pt x="761" y="84"/>
                    <a:pt x="761" y="83"/>
                  </a:cubicBezTo>
                  <a:cubicBezTo>
                    <a:pt x="761" y="83"/>
                    <a:pt x="761" y="83"/>
                    <a:pt x="761" y="83"/>
                  </a:cubicBezTo>
                  <a:cubicBezTo>
                    <a:pt x="761" y="83"/>
                    <a:pt x="761" y="83"/>
                    <a:pt x="761" y="83"/>
                  </a:cubicBezTo>
                  <a:cubicBezTo>
                    <a:pt x="761" y="83"/>
                    <a:pt x="761" y="83"/>
                    <a:pt x="761" y="83"/>
                  </a:cubicBezTo>
                  <a:cubicBezTo>
                    <a:pt x="761" y="83"/>
                    <a:pt x="761" y="83"/>
                    <a:pt x="761" y="83"/>
                  </a:cubicBezTo>
                  <a:cubicBezTo>
                    <a:pt x="761" y="82"/>
                    <a:pt x="761" y="82"/>
                    <a:pt x="760" y="82"/>
                  </a:cubicBezTo>
                  <a:cubicBezTo>
                    <a:pt x="761" y="82"/>
                    <a:pt x="761" y="82"/>
                    <a:pt x="761" y="82"/>
                  </a:cubicBezTo>
                  <a:cubicBezTo>
                    <a:pt x="760" y="81"/>
                    <a:pt x="760" y="81"/>
                    <a:pt x="760" y="81"/>
                  </a:cubicBezTo>
                  <a:cubicBezTo>
                    <a:pt x="760" y="81"/>
                    <a:pt x="760" y="81"/>
                    <a:pt x="760" y="81"/>
                  </a:cubicBezTo>
                  <a:cubicBezTo>
                    <a:pt x="760" y="81"/>
                    <a:pt x="760" y="80"/>
                    <a:pt x="760" y="80"/>
                  </a:cubicBezTo>
                  <a:cubicBezTo>
                    <a:pt x="760" y="80"/>
                    <a:pt x="760" y="80"/>
                    <a:pt x="760" y="80"/>
                  </a:cubicBezTo>
                  <a:cubicBezTo>
                    <a:pt x="760" y="80"/>
                    <a:pt x="760" y="79"/>
                    <a:pt x="760" y="79"/>
                  </a:cubicBezTo>
                  <a:cubicBezTo>
                    <a:pt x="759" y="79"/>
                    <a:pt x="759" y="79"/>
                    <a:pt x="759" y="79"/>
                  </a:cubicBezTo>
                  <a:cubicBezTo>
                    <a:pt x="759" y="78"/>
                    <a:pt x="759" y="78"/>
                    <a:pt x="759" y="77"/>
                  </a:cubicBezTo>
                  <a:cubicBezTo>
                    <a:pt x="759" y="77"/>
                    <a:pt x="759" y="77"/>
                    <a:pt x="759" y="77"/>
                  </a:cubicBezTo>
                  <a:cubicBezTo>
                    <a:pt x="759" y="77"/>
                    <a:pt x="759" y="76"/>
                    <a:pt x="759" y="75"/>
                  </a:cubicBezTo>
                  <a:cubicBezTo>
                    <a:pt x="759" y="75"/>
                    <a:pt x="759" y="75"/>
                    <a:pt x="759" y="75"/>
                  </a:cubicBezTo>
                  <a:cubicBezTo>
                    <a:pt x="758" y="74"/>
                    <a:pt x="759" y="73"/>
                    <a:pt x="758" y="72"/>
                  </a:cubicBezTo>
                  <a:cubicBezTo>
                    <a:pt x="758" y="72"/>
                    <a:pt x="758" y="71"/>
                    <a:pt x="759" y="71"/>
                  </a:cubicBezTo>
                  <a:cubicBezTo>
                    <a:pt x="759" y="71"/>
                    <a:pt x="760" y="71"/>
                    <a:pt x="760" y="71"/>
                  </a:cubicBezTo>
                  <a:cubicBezTo>
                    <a:pt x="775" y="71"/>
                    <a:pt x="789" y="71"/>
                    <a:pt x="804" y="71"/>
                  </a:cubicBezTo>
                  <a:cubicBezTo>
                    <a:pt x="805" y="71"/>
                    <a:pt x="805" y="71"/>
                    <a:pt x="806" y="70"/>
                  </a:cubicBezTo>
                  <a:cubicBezTo>
                    <a:pt x="806" y="68"/>
                    <a:pt x="806" y="65"/>
                    <a:pt x="806" y="62"/>
                  </a:cubicBezTo>
                  <a:cubicBezTo>
                    <a:pt x="805" y="61"/>
                    <a:pt x="806" y="60"/>
                    <a:pt x="805" y="59"/>
                  </a:cubicBezTo>
                  <a:cubicBezTo>
                    <a:pt x="805" y="58"/>
                    <a:pt x="805" y="58"/>
                    <a:pt x="805" y="58"/>
                  </a:cubicBezTo>
                  <a:cubicBezTo>
                    <a:pt x="805" y="58"/>
                    <a:pt x="805" y="57"/>
                    <a:pt x="805" y="56"/>
                  </a:cubicBezTo>
                  <a:cubicBezTo>
                    <a:pt x="805" y="56"/>
                    <a:pt x="805" y="56"/>
                    <a:pt x="805" y="56"/>
                  </a:cubicBezTo>
                  <a:cubicBezTo>
                    <a:pt x="805" y="55"/>
                    <a:pt x="805" y="55"/>
                    <a:pt x="805" y="54"/>
                  </a:cubicBezTo>
                  <a:cubicBezTo>
                    <a:pt x="805" y="54"/>
                    <a:pt x="805" y="54"/>
                    <a:pt x="805" y="54"/>
                  </a:cubicBezTo>
                  <a:cubicBezTo>
                    <a:pt x="805" y="54"/>
                    <a:pt x="805" y="54"/>
                    <a:pt x="805" y="54"/>
                  </a:cubicBezTo>
                  <a:cubicBezTo>
                    <a:pt x="805" y="54"/>
                    <a:pt x="805" y="53"/>
                    <a:pt x="804" y="53"/>
                  </a:cubicBezTo>
                  <a:cubicBezTo>
                    <a:pt x="804" y="53"/>
                    <a:pt x="804" y="53"/>
                    <a:pt x="804" y="53"/>
                  </a:cubicBezTo>
                  <a:cubicBezTo>
                    <a:pt x="804" y="53"/>
                    <a:pt x="804" y="53"/>
                    <a:pt x="804" y="53"/>
                  </a:cubicBezTo>
                  <a:cubicBezTo>
                    <a:pt x="804" y="52"/>
                    <a:pt x="804" y="52"/>
                    <a:pt x="804" y="51"/>
                  </a:cubicBezTo>
                  <a:cubicBezTo>
                    <a:pt x="804" y="51"/>
                    <a:pt x="804" y="51"/>
                    <a:pt x="804" y="51"/>
                  </a:cubicBezTo>
                  <a:cubicBezTo>
                    <a:pt x="804" y="51"/>
                    <a:pt x="804" y="51"/>
                    <a:pt x="804" y="50"/>
                  </a:cubicBezTo>
                  <a:cubicBezTo>
                    <a:pt x="804" y="50"/>
                    <a:pt x="804" y="50"/>
                    <a:pt x="804" y="50"/>
                  </a:cubicBezTo>
                  <a:cubicBezTo>
                    <a:pt x="803" y="50"/>
                    <a:pt x="804" y="50"/>
                    <a:pt x="803" y="49"/>
                  </a:cubicBezTo>
                  <a:cubicBezTo>
                    <a:pt x="803" y="49"/>
                    <a:pt x="803" y="49"/>
                    <a:pt x="803" y="49"/>
                  </a:cubicBezTo>
                  <a:cubicBezTo>
                    <a:pt x="803" y="49"/>
                    <a:pt x="803" y="49"/>
                    <a:pt x="803" y="49"/>
                  </a:cubicBezTo>
                  <a:cubicBezTo>
                    <a:pt x="803" y="49"/>
                    <a:pt x="803" y="49"/>
                    <a:pt x="803" y="49"/>
                  </a:cubicBezTo>
                  <a:cubicBezTo>
                    <a:pt x="803" y="48"/>
                    <a:pt x="803" y="48"/>
                    <a:pt x="803" y="48"/>
                  </a:cubicBezTo>
                  <a:cubicBezTo>
                    <a:pt x="803" y="48"/>
                    <a:pt x="803" y="48"/>
                    <a:pt x="803" y="48"/>
                  </a:cubicBezTo>
                  <a:cubicBezTo>
                    <a:pt x="802" y="47"/>
                    <a:pt x="803" y="47"/>
                    <a:pt x="802" y="47"/>
                  </a:cubicBezTo>
                  <a:cubicBezTo>
                    <a:pt x="802" y="47"/>
                    <a:pt x="802" y="47"/>
                    <a:pt x="802" y="47"/>
                  </a:cubicBezTo>
                  <a:cubicBezTo>
                    <a:pt x="802" y="47"/>
                    <a:pt x="802" y="46"/>
                    <a:pt x="802" y="46"/>
                  </a:cubicBezTo>
                  <a:cubicBezTo>
                    <a:pt x="802" y="46"/>
                    <a:pt x="802" y="46"/>
                    <a:pt x="802" y="46"/>
                  </a:cubicBezTo>
                  <a:cubicBezTo>
                    <a:pt x="802" y="46"/>
                    <a:pt x="802" y="46"/>
                    <a:pt x="802" y="46"/>
                  </a:cubicBezTo>
                  <a:cubicBezTo>
                    <a:pt x="802" y="46"/>
                    <a:pt x="802" y="46"/>
                    <a:pt x="802" y="46"/>
                  </a:cubicBezTo>
                  <a:cubicBezTo>
                    <a:pt x="802" y="45"/>
                    <a:pt x="801" y="45"/>
                    <a:pt x="801" y="45"/>
                  </a:cubicBezTo>
                  <a:cubicBezTo>
                    <a:pt x="801" y="45"/>
                    <a:pt x="801" y="45"/>
                    <a:pt x="801" y="45"/>
                  </a:cubicBezTo>
                  <a:cubicBezTo>
                    <a:pt x="801" y="45"/>
                    <a:pt x="801" y="45"/>
                    <a:pt x="801" y="45"/>
                  </a:cubicBezTo>
                  <a:cubicBezTo>
                    <a:pt x="801" y="45"/>
                    <a:pt x="801" y="45"/>
                    <a:pt x="801" y="44"/>
                  </a:cubicBezTo>
                  <a:cubicBezTo>
                    <a:pt x="801" y="44"/>
                    <a:pt x="801" y="44"/>
                    <a:pt x="801" y="44"/>
                  </a:cubicBezTo>
                  <a:cubicBezTo>
                    <a:pt x="801" y="44"/>
                    <a:pt x="801" y="44"/>
                    <a:pt x="801" y="44"/>
                  </a:cubicBezTo>
                  <a:cubicBezTo>
                    <a:pt x="801" y="44"/>
                    <a:pt x="801" y="44"/>
                    <a:pt x="801" y="44"/>
                  </a:cubicBezTo>
                  <a:cubicBezTo>
                    <a:pt x="800" y="44"/>
                    <a:pt x="800" y="44"/>
                    <a:pt x="800" y="43"/>
                  </a:cubicBezTo>
                  <a:cubicBezTo>
                    <a:pt x="800" y="43"/>
                    <a:pt x="800" y="43"/>
                    <a:pt x="800" y="43"/>
                  </a:cubicBezTo>
                  <a:cubicBezTo>
                    <a:pt x="800" y="43"/>
                    <a:pt x="800" y="43"/>
                    <a:pt x="800" y="43"/>
                  </a:cubicBezTo>
                  <a:cubicBezTo>
                    <a:pt x="800" y="43"/>
                    <a:pt x="800" y="43"/>
                    <a:pt x="800" y="43"/>
                  </a:cubicBezTo>
                  <a:cubicBezTo>
                    <a:pt x="800" y="43"/>
                    <a:pt x="800" y="42"/>
                    <a:pt x="800" y="42"/>
                  </a:cubicBezTo>
                  <a:cubicBezTo>
                    <a:pt x="800" y="42"/>
                    <a:pt x="800" y="42"/>
                    <a:pt x="800" y="42"/>
                  </a:cubicBezTo>
                  <a:cubicBezTo>
                    <a:pt x="799" y="42"/>
                    <a:pt x="799" y="42"/>
                    <a:pt x="799" y="42"/>
                  </a:cubicBezTo>
                  <a:cubicBezTo>
                    <a:pt x="799" y="42"/>
                    <a:pt x="799" y="42"/>
                    <a:pt x="799" y="42"/>
                  </a:cubicBezTo>
                  <a:cubicBezTo>
                    <a:pt x="799" y="42"/>
                    <a:pt x="799" y="41"/>
                    <a:pt x="799" y="41"/>
                  </a:cubicBezTo>
                  <a:cubicBezTo>
                    <a:pt x="799" y="41"/>
                    <a:pt x="799" y="41"/>
                    <a:pt x="799" y="41"/>
                  </a:cubicBezTo>
                  <a:cubicBezTo>
                    <a:pt x="799" y="41"/>
                    <a:pt x="799" y="41"/>
                    <a:pt x="798" y="41"/>
                  </a:cubicBezTo>
                  <a:cubicBezTo>
                    <a:pt x="798" y="41"/>
                    <a:pt x="798" y="41"/>
                    <a:pt x="798" y="41"/>
                  </a:cubicBezTo>
                  <a:cubicBezTo>
                    <a:pt x="798" y="41"/>
                    <a:pt x="798" y="41"/>
                    <a:pt x="798" y="41"/>
                  </a:cubicBezTo>
                  <a:cubicBezTo>
                    <a:pt x="798" y="41"/>
                    <a:pt x="798" y="41"/>
                    <a:pt x="798" y="41"/>
                  </a:cubicBezTo>
                  <a:cubicBezTo>
                    <a:pt x="798" y="40"/>
                    <a:pt x="798" y="40"/>
                    <a:pt x="798" y="40"/>
                  </a:cubicBezTo>
                  <a:cubicBezTo>
                    <a:pt x="798" y="40"/>
                    <a:pt x="798" y="40"/>
                    <a:pt x="798" y="40"/>
                  </a:cubicBezTo>
                  <a:cubicBezTo>
                    <a:pt x="798" y="40"/>
                    <a:pt x="798" y="40"/>
                    <a:pt x="797" y="40"/>
                  </a:cubicBezTo>
                  <a:cubicBezTo>
                    <a:pt x="797" y="40"/>
                    <a:pt x="797" y="40"/>
                    <a:pt x="797" y="40"/>
                  </a:cubicBezTo>
                  <a:cubicBezTo>
                    <a:pt x="797" y="40"/>
                    <a:pt x="797" y="40"/>
                    <a:pt x="797" y="40"/>
                  </a:cubicBezTo>
                  <a:cubicBezTo>
                    <a:pt x="797" y="40"/>
                    <a:pt x="797" y="40"/>
                    <a:pt x="797" y="40"/>
                  </a:cubicBezTo>
                  <a:cubicBezTo>
                    <a:pt x="797" y="39"/>
                    <a:pt x="797" y="39"/>
                    <a:pt x="797" y="39"/>
                  </a:cubicBezTo>
                  <a:cubicBezTo>
                    <a:pt x="797" y="39"/>
                    <a:pt x="797" y="39"/>
                    <a:pt x="797" y="39"/>
                  </a:cubicBezTo>
                  <a:cubicBezTo>
                    <a:pt x="797" y="39"/>
                    <a:pt x="797" y="39"/>
                    <a:pt x="796" y="39"/>
                  </a:cubicBezTo>
                  <a:cubicBezTo>
                    <a:pt x="796" y="39"/>
                    <a:pt x="796" y="39"/>
                    <a:pt x="796" y="39"/>
                  </a:cubicBezTo>
                  <a:cubicBezTo>
                    <a:pt x="796" y="39"/>
                    <a:pt x="796" y="39"/>
                    <a:pt x="796" y="39"/>
                  </a:cubicBezTo>
                  <a:cubicBezTo>
                    <a:pt x="796" y="39"/>
                    <a:pt x="796" y="39"/>
                    <a:pt x="796" y="39"/>
                  </a:cubicBezTo>
                  <a:cubicBezTo>
                    <a:pt x="796" y="38"/>
                    <a:pt x="796" y="38"/>
                    <a:pt x="796" y="38"/>
                  </a:cubicBezTo>
                  <a:cubicBezTo>
                    <a:pt x="796" y="38"/>
                    <a:pt x="796" y="38"/>
                    <a:pt x="796" y="38"/>
                  </a:cubicBezTo>
                  <a:cubicBezTo>
                    <a:pt x="796" y="38"/>
                    <a:pt x="795" y="38"/>
                    <a:pt x="795" y="38"/>
                  </a:cubicBezTo>
                  <a:cubicBezTo>
                    <a:pt x="795" y="38"/>
                    <a:pt x="795" y="38"/>
                    <a:pt x="795" y="38"/>
                  </a:cubicBezTo>
                  <a:cubicBezTo>
                    <a:pt x="795" y="38"/>
                    <a:pt x="795" y="38"/>
                    <a:pt x="795" y="37"/>
                  </a:cubicBezTo>
                  <a:cubicBezTo>
                    <a:pt x="795" y="37"/>
                    <a:pt x="795" y="37"/>
                    <a:pt x="795" y="37"/>
                  </a:cubicBezTo>
                  <a:cubicBezTo>
                    <a:pt x="795" y="37"/>
                    <a:pt x="794" y="37"/>
                    <a:pt x="794" y="37"/>
                  </a:cubicBezTo>
                  <a:cubicBezTo>
                    <a:pt x="794" y="37"/>
                    <a:pt x="794" y="37"/>
                    <a:pt x="794" y="37"/>
                  </a:cubicBezTo>
                  <a:cubicBezTo>
                    <a:pt x="794" y="37"/>
                    <a:pt x="794" y="37"/>
                    <a:pt x="794" y="37"/>
                  </a:cubicBezTo>
                  <a:cubicBezTo>
                    <a:pt x="794" y="37"/>
                    <a:pt x="794" y="37"/>
                    <a:pt x="794" y="37"/>
                  </a:cubicBezTo>
                  <a:cubicBezTo>
                    <a:pt x="793" y="37"/>
                    <a:pt x="793" y="36"/>
                    <a:pt x="793" y="36"/>
                  </a:cubicBezTo>
                  <a:cubicBezTo>
                    <a:pt x="793" y="37"/>
                    <a:pt x="793" y="37"/>
                    <a:pt x="793" y="37"/>
                  </a:cubicBezTo>
                  <a:cubicBezTo>
                    <a:pt x="793" y="36"/>
                    <a:pt x="793" y="36"/>
                    <a:pt x="793" y="36"/>
                  </a:cubicBezTo>
                  <a:cubicBezTo>
                    <a:pt x="793" y="36"/>
                    <a:pt x="793" y="36"/>
                    <a:pt x="793" y="36"/>
                  </a:cubicBezTo>
                  <a:cubicBezTo>
                    <a:pt x="792" y="36"/>
                    <a:pt x="792" y="36"/>
                    <a:pt x="792" y="36"/>
                  </a:cubicBezTo>
                  <a:cubicBezTo>
                    <a:pt x="792" y="36"/>
                    <a:pt x="792" y="36"/>
                    <a:pt x="792" y="36"/>
                  </a:cubicBezTo>
                  <a:cubicBezTo>
                    <a:pt x="792" y="36"/>
                    <a:pt x="791" y="36"/>
                    <a:pt x="791" y="35"/>
                  </a:cubicBezTo>
                  <a:cubicBezTo>
                    <a:pt x="791" y="35"/>
                    <a:pt x="791" y="35"/>
                    <a:pt x="791" y="35"/>
                  </a:cubicBezTo>
                  <a:cubicBezTo>
                    <a:pt x="791" y="35"/>
                    <a:pt x="791" y="35"/>
                    <a:pt x="790" y="35"/>
                  </a:cubicBezTo>
                  <a:cubicBezTo>
                    <a:pt x="790" y="35"/>
                    <a:pt x="790" y="35"/>
                    <a:pt x="790" y="35"/>
                  </a:cubicBezTo>
                  <a:cubicBezTo>
                    <a:pt x="790" y="35"/>
                    <a:pt x="790" y="35"/>
                    <a:pt x="790" y="35"/>
                  </a:cubicBezTo>
                  <a:cubicBezTo>
                    <a:pt x="790" y="35"/>
                    <a:pt x="790" y="35"/>
                    <a:pt x="790" y="35"/>
                  </a:cubicBezTo>
                  <a:cubicBezTo>
                    <a:pt x="790" y="34"/>
                    <a:pt x="789" y="34"/>
                    <a:pt x="789" y="34"/>
                  </a:cubicBezTo>
                  <a:cubicBezTo>
                    <a:pt x="789" y="34"/>
                    <a:pt x="789" y="34"/>
                    <a:pt x="789" y="34"/>
                  </a:cubicBezTo>
                  <a:cubicBezTo>
                    <a:pt x="789" y="34"/>
                    <a:pt x="789" y="34"/>
                    <a:pt x="789" y="34"/>
                  </a:cubicBezTo>
                  <a:cubicBezTo>
                    <a:pt x="789" y="34"/>
                    <a:pt x="788" y="34"/>
                    <a:pt x="788" y="34"/>
                  </a:cubicBezTo>
                  <a:cubicBezTo>
                    <a:pt x="788" y="34"/>
                    <a:pt x="788" y="34"/>
                    <a:pt x="788" y="34"/>
                  </a:cubicBezTo>
                  <a:cubicBezTo>
                    <a:pt x="787" y="34"/>
                    <a:pt x="787" y="34"/>
                    <a:pt x="787" y="34"/>
                  </a:cubicBezTo>
                  <a:cubicBezTo>
                    <a:pt x="787" y="34"/>
                    <a:pt x="787" y="34"/>
                    <a:pt x="787" y="34"/>
                  </a:cubicBezTo>
                  <a:cubicBezTo>
                    <a:pt x="787" y="34"/>
                    <a:pt x="787" y="34"/>
                    <a:pt x="787" y="34"/>
                  </a:cubicBezTo>
                  <a:cubicBezTo>
                    <a:pt x="786" y="33"/>
                    <a:pt x="786" y="34"/>
                    <a:pt x="785" y="33"/>
                  </a:cubicBezTo>
                  <a:cubicBezTo>
                    <a:pt x="785" y="33"/>
                    <a:pt x="785" y="33"/>
                    <a:pt x="785" y="33"/>
                  </a:cubicBezTo>
                  <a:cubicBezTo>
                    <a:pt x="785" y="33"/>
                    <a:pt x="785" y="33"/>
                    <a:pt x="785" y="33"/>
                  </a:cubicBezTo>
                  <a:cubicBezTo>
                    <a:pt x="785" y="33"/>
                    <a:pt x="784" y="33"/>
                    <a:pt x="784" y="33"/>
                  </a:cubicBezTo>
                  <a:cubicBezTo>
                    <a:pt x="784" y="33"/>
                    <a:pt x="783" y="33"/>
                    <a:pt x="783" y="33"/>
                  </a:cubicBezTo>
                  <a:cubicBezTo>
                    <a:pt x="782" y="33"/>
                    <a:pt x="781" y="33"/>
                    <a:pt x="781" y="33"/>
                  </a:cubicBezTo>
                  <a:cubicBezTo>
                    <a:pt x="779" y="33"/>
                    <a:pt x="777" y="33"/>
                    <a:pt x="776" y="33"/>
                  </a:cubicBezTo>
                  <a:cubicBezTo>
                    <a:pt x="775" y="33"/>
                    <a:pt x="774" y="33"/>
                    <a:pt x="773" y="33"/>
                  </a:cubicBezTo>
                  <a:cubicBezTo>
                    <a:pt x="773" y="33"/>
                    <a:pt x="773" y="33"/>
                    <a:pt x="773" y="33"/>
                  </a:cubicBezTo>
                  <a:cubicBezTo>
                    <a:pt x="772" y="33"/>
                    <a:pt x="772" y="33"/>
                    <a:pt x="771" y="33"/>
                  </a:cubicBezTo>
                  <a:cubicBezTo>
                    <a:pt x="771" y="33"/>
                    <a:pt x="771" y="33"/>
                    <a:pt x="771" y="33"/>
                  </a:cubicBezTo>
                  <a:cubicBezTo>
                    <a:pt x="771" y="34"/>
                    <a:pt x="770" y="33"/>
                    <a:pt x="770" y="34"/>
                  </a:cubicBezTo>
                  <a:cubicBezTo>
                    <a:pt x="770" y="34"/>
                    <a:pt x="770" y="34"/>
                    <a:pt x="770" y="34"/>
                  </a:cubicBezTo>
                  <a:cubicBezTo>
                    <a:pt x="770" y="34"/>
                    <a:pt x="770" y="34"/>
                    <a:pt x="770" y="34"/>
                  </a:cubicBezTo>
                  <a:cubicBezTo>
                    <a:pt x="769" y="34"/>
                    <a:pt x="769" y="34"/>
                    <a:pt x="769" y="34"/>
                  </a:cubicBezTo>
                  <a:cubicBezTo>
                    <a:pt x="769" y="34"/>
                    <a:pt x="769" y="34"/>
                    <a:pt x="769" y="34"/>
                  </a:cubicBezTo>
                  <a:cubicBezTo>
                    <a:pt x="768" y="34"/>
                    <a:pt x="768" y="34"/>
                    <a:pt x="768" y="34"/>
                  </a:cubicBezTo>
                  <a:cubicBezTo>
                    <a:pt x="768" y="34"/>
                    <a:pt x="768" y="34"/>
                    <a:pt x="768" y="34"/>
                  </a:cubicBezTo>
                  <a:cubicBezTo>
                    <a:pt x="767" y="34"/>
                    <a:pt x="767" y="34"/>
                    <a:pt x="767" y="35"/>
                  </a:cubicBezTo>
                  <a:cubicBezTo>
                    <a:pt x="767" y="35"/>
                    <a:pt x="767" y="35"/>
                    <a:pt x="767" y="35"/>
                  </a:cubicBezTo>
                  <a:cubicBezTo>
                    <a:pt x="767" y="35"/>
                    <a:pt x="766" y="35"/>
                    <a:pt x="766" y="35"/>
                  </a:cubicBezTo>
                  <a:cubicBezTo>
                    <a:pt x="766" y="35"/>
                    <a:pt x="766" y="35"/>
                    <a:pt x="766" y="35"/>
                  </a:cubicBezTo>
                  <a:cubicBezTo>
                    <a:pt x="766" y="35"/>
                    <a:pt x="766" y="35"/>
                    <a:pt x="766" y="35"/>
                  </a:cubicBezTo>
                  <a:cubicBezTo>
                    <a:pt x="766" y="35"/>
                    <a:pt x="765" y="35"/>
                    <a:pt x="765" y="35"/>
                  </a:cubicBezTo>
                  <a:cubicBezTo>
                    <a:pt x="765" y="35"/>
                    <a:pt x="765" y="35"/>
                    <a:pt x="765" y="35"/>
                  </a:cubicBezTo>
                  <a:cubicBezTo>
                    <a:pt x="765" y="36"/>
                    <a:pt x="765" y="35"/>
                    <a:pt x="764" y="36"/>
                  </a:cubicBezTo>
                  <a:cubicBezTo>
                    <a:pt x="764" y="36"/>
                    <a:pt x="764" y="36"/>
                    <a:pt x="764" y="36"/>
                  </a:cubicBezTo>
                  <a:cubicBezTo>
                    <a:pt x="764" y="36"/>
                    <a:pt x="764" y="36"/>
                    <a:pt x="764" y="36"/>
                  </a:cubicBezTo>
                  <a:cubicBezTo>
                    <a:pt x="764" y="36"/>
                    <a:pt x="764" y="36"/>
                    <a:pt x="764" y="36"/>
                  </a:cubicBezTo>
                  <a:cubicBezTo>
                    <a:pt x="764" y="36"/>
                    <a:pt x="764" y="36"/>
                    <a:pt x="764" y="36"/>
                  </a:cubicBezTo>
                  <a:cubicBezTo>
                    <a:pt x="764" y="36"/>
                    <a:pt x="763" y="36"/>
                    <a:pt x="763" y="36"/>
                  </a:cubicBezTo>
                  <a:cubicBezTo>
                    <a:pt x="763" y="36"/>
                    <a:pt x="763" y="36"/>
                    <a:pt x="763" y="36"/>
                  </a:cubicBezTo>
                  <a:cubicBezTo>
                    <a:pt x="763" y="37"/>
                    <a:pt x="763" y="37"/>
                    <a:pt x="763" y="37"/>
                  </a:cubicBezTo>
                  <a:cubicBezTo>
                    <a:pt x="763" y="37"/>
                    <a:pt x="763" y="37"/>
                    <a:pt x="763" y="37"/>
                  </a:cubicBezTo>
                  <a:cubicBezTo>
                    <a:pt x="762" y="37"/>
                    <a:pt x="762" y="37"/>
                    <a:pt x="762" y="37"/>
                  </a:cubicBezTo>
                  <a:cubicBezTo>
                    <a:pt x="762" y="37"/>
                    <a:pt x="762" y="37"/>
                    <a:pt x="762" y="37"/>
                  </a:cubicBezTo>
                  <a:cubicBezTo>
                    <a:pt x="762" y="37"/>
                    <a:pt x="762" y="37"/>
                    <a:pt x="762" y="37"/>
                  </a:cubicBezTo>
                  <a:cubicBezTo>
                    <a:pt x="762" y="37"/>
                    <a:pt x="762" y="37"/>
                    <a:pt x="762" y="37"/>
                  </a:cubicBezTo>
                  <a:cubicBezTo>
                    <a:pt x="761" y="38"/>
                    <a:pt x="761" y="38"/>
                    <a:pt x="761" y="38"/>
                  </a:cubicBezTo>
                  <a:cubicBezTo>
                    <a:pt x="761" y="38"/>
                    <a:pt x="761" y="38"/>
                    <a:pt x="761" y="38"/>
                  </a:cubicBezTo>
                  <a:cubicBezTo>
                    <a:pt x="760" y="38"/>
                    <a:pt x="760" y="38"/>
                    <a:pt x="760" y="39"/>
                  </a:cubicBezTo>
                  <a:cubicBezTo>
                    <a:pt x="760" y="39"/>
                    <a:pt x="760" y="39"/>
                    <a:pt x="760" y="39"/>
                  </a:cubicBezTo>
                  <a:cubicBezTo>
                    <a:pt x="760" y="39"/>
                    <a:pt x="759" y="39"/>
                    <a:pt x="759" y="39"/>
                  </a:cubicBezTo>
                  <a:cubicBezTo>
                    <a:pt x="759" y="39"/>
                    <a:pt x="759" y="39"/>
                    <a:pt x="759" y="39"/>
                  </a:cubicBezTo>
                  <a:cubicBezTo>
                    <a:pt x="759" y="39"/>
                    <a:pt x="759" y="39"/>
                    <a:pt x="759" y="40"/>
                  </a:cubicBezTo>
                  <a:cubicBezTo>
                    <a:pt x="759" y="40"/>
                    <a:pt x="759" y="40"/>
                    <a:pt x="759" y="40"/>
                  </a:cubicBezTo>
                  <a:cubicBezTo>
                    <a:pt x="759" y="40"/>
                    <a:pt x="759" y="40"/>
                    <a:pt x="758" y="40"/>
                  </a:cubicBezTo>
                  <a:cubicBezTo>
                    <a:pt x="758" y="40"/>
                    <a:pt x="758" y="40"/>
                    <a:pt x="758" y="40"/>
                  </a:cubicBezTo>
                  <a:cubicBezTo>
                    <a:pt x="758" y="40"/>
                    <a:pt x="758" y="40"/>
                    <a:pt x="758" y="40"/>
                  </a:cubicBezTo>
                  <a:cubicBezTo>
                    <a:pt x="758" y="40"/>
                    <a:pt x="758" y="40"/>
                    <a:pt x="758" y="40"/>
                  </a:cubicBezTo>
                  <a:cubicBezTo>
                    <a:pt x="758" y="40"/>
                    <a:pt x="758" y="40"/>
                    <a:pt x="758" y="41"/>
                  </a:cubicBezTo>
                  <a:cubicBezTo>
                    <a:pt x="758" y="41"/>
                    <a:pt x="758" y="41"/>
                    <a:pt x="758" y="41"/>
                  </a:cubicBezTo>
                  <a:cubicBezTo>
                    <a:pt x="758" y="41"/>
                    <a:pt x="758" y="41"/>
                    <a:pt x="757" y="41"/>
                  </a:cubicBezTo>
                  <a:cubicBezTo>
                    <a:pt x="757" y="41"/>
                    <a:pt x="757" y="41"/>
                    <a:pt x="757" y="41"/>
                  </a:cubicBezTo>
                  <a:cubicBezTo>
                    <a:pt x="757" y="41"/>
                    <a:pt x="757" y="41"/>
                    <a:pt x="757" y="41"/>
                  </a:cubicBezTo>
                  <a:cubicBezTo>
                    <a:pt x="757" y="41"/>
                    <a:pt x="757" y="41"/>
                    <a:pt x="757" y="41"/>
                  </a:cubicBezTo>
                  <a:cubicBezTo>
                    <a:pt x="757" y="41"/>
                    <a:pt x="757" y="42"/>
                    <a:pt x="757" y="42"/>
                  </a:cubicBezTo>
                  <a:cubicBezTo>
                    <a:pt x="757" y="42"/>
                    <a:pt x="757" y="42"/>
                    <a:pt x="757" y="42"/>
                  </a:cubicBezTo>
                  <a:cubicBezTo>
                    <a:pt x="757" y="42"/>
                    <a:pt x="756" y="42"/>
                    <a:pt x="756" y="42"/>
                  </a:cubicBezTo>
                  <a:cubicBezTo>
                    <a:pt x="756" y="42"/>
                    <a:pt x="756" y="42"/>
                    <a:pt x="756" y="42"/>
                  </a:cubicBezTo>
                  <a:cubicBezTo>
                    <a:pt x="756" y="42"/>
                    <a:pt x="756" y="42"/>
                    <a:pt x="756" y="42"/>
                  </a:cubicBezTo>
                  <a:cubicBezTo>
                    <a:pt x="756" y="42"/>
                    <a:pt x="756" y="42"/>
                    <a:pt x="756" y="42"/>
                  </a:cubicBezTo>
                  <a:cubicBezTo>
                    <a:pt x="756" y="42"/>
                    <a:pt x="756" y="43"/>
                    <a:pt x="756" y="43"/>
                  </a:cubicBezTo>
                  <a:cubicBezTo>
                    <a:pt x="756" y="43"/>
                    <a:pt x="756" y="43"/>
                    <a:pt x="756" y="43"/>
                  </a:cubicBezTo>
                  <a:cubicBezTo>
                    <a:pt x="756" y="43"/>
                    <a:pt x="755" y="43"/>
                    <a:pt x="755" y="43"/>
                  </a:cubicBezTo>
                  <a:cubicBezTo>
                    <a:pt x="755" y="43"/>
                    <a:pt x="755" y="43"/>
                    <a:pt x="755" y="43"/>
                  </a:cubicBezTo>
                  <a:cubicBezTo>
                    <a:pt x="755" y="43"/>
                    <a:pt x="755" y="44"/>
                    <a:pt x="755" y="44"/>
                  </a:cubicBezTo>
                  <a:cubicBezTo>
                    <a:pt x="755" y="44"/>
                    <a:pt x="755" y="44"/>
                    <a:pt x="755" y="44"/>
                  </a:cubicBezTo>
                  <a:cubicBezTo>
                    <a:pt x="755" y="44"/>
                    <a:pt x="754" y="44"/>
                    <a:pt x="754" y="44"/>
                  </a:cubicBezTo>
                  <a:cubicBezTo>
                    <a:pt x="754" y="44"/>
                    <a:pt x="754" y="44"/>
                    <a:pt x="754" y="44"/>
                  </a:cubicBezTo>
                  <a:cubicBezTo>
                    <a:pt x="754" y="45"/>
                    <a:pt x="754" y="45"/>
                    <a:pt x="754" y="45"/>
                  </a:cubicBezTo>
                  <a:cubicBezTo>
                    <a:pt x="754" y="45"/>
                    <a:pt x="754" y="45"/>
                    <a:pt x="754" y="45"/>
                  </a:cubicBezTo>
                  <a:cubicBezTo>
                    <a:pt x="753" y="46"/>
                    <a:pt x="753" y="46"/>
                    <a:pt x="753" y="46"/>
                  </a:cubicBezTo>
                  <a:cubicBezTo>
                    <a:pt x="753" y="46"/>
                    <a:pt x="753" y="46"/>
                    <a:pt x="753" y="46"/>
                  </a:cubicBezTo>
                  <a:cubicBezTo>
                    <a:pt x="753" y="46"/>
                    <a:pt x="753" y="46"/>
                    <a:pt x="753" y="47"/>
                  </a:cubicBezTo>
                  <a:cubicBezTo>
                    <a:pt x="753" y="47"/>
                    <a:pt x="753" y="47"/>
                    <a:pt x="753" y="47"/>
                  </a:cubicBezTo>
                  <a:cubicBezTo>
                    <a:pt x="753" y="47"/>
                    <a:pt x="753" y="47"/>
                    <a:pt x="753" y="47"/>
                  </a:cubicBezTo>
                  <a:cubicBezTo>
                    <a:pt x="753" y="47"/>
                    <a:pt x="753" y="47"/>
                    <a:pt x="753" y="47"/>
                  </a:cubicBezTo>
                  <a:cubicBezTo>
                    <a:pt x="752" y="47"/>
                    <a:pt x="752" y="47"/>
                    <a:pt x="752" y="48"/>
                  </a:cubicBezTo>
                  <a:cubicBezTo>
                    <a:pt x="752" y="48"/>
                    <a:pt x="752" y="48"/>
                    <a:pt x="752" y="48"/>
                  </a:cubicBezTo>
                  <a:cubicBezTo>
                    <a:pt x="752" y="48"/>
                    <a:pt x="752" y="48"/>
                    <a:pt x="752" y="48"/>
                  </a:cubicBezTo>
                  <a:cubicBezTo>
                    <a:pt x="752" y="48"/>
                    <a:pt x="752" y="48"/>
                    <a:pt x="752" y="48"/>
                  </a:cubicBezTo>
                  <a:cubicBezTo>
                    <a:pt x="752" y="48"/>
                    <a:pt x="752" y="49"/>
                    <a:pt x="752" y="49"/>
                  </a:cubicBezTo>
                  <a:cubicBezTo>
                    <a:pt x="752" y="49"/>
                    <a:pt x="752" y="49"/>
                    <a:pt x="752" y="49"/>
                  </a:cubicBezTo>
                  <a:cubicBezTo>
                    <a:pt x="751" y="49"/>
                    <a:pt x="751" y="49"/>
                    <a:pt x="751" y="50"/>
                  </a:cubicBezTo>
                  <a:cubicBezTo>
                    <a:pt x="751" y="50"/>
                    <a:pt x="751" y="50"/>
                    <a:pt x="751" y="50"/>
                  </a:cubicBezTo>
                  <a:cubicBezTo>
                    <a:pt x="751" y="50"/>
                    <a:pt x="751" y="50"/>
                    <a:pt x="751" y="50"/>
                  </a:cubicBezTo>
                  <a:cubicBezTo>
                    <a:pt x="751" y="50"/>
                    <a:pt x="751" y="50"/>
                    <a:pt x="751" y="50"/>
                  </a:cubicBezTo>
                  <a:cubicBezTo>
                    <a:pt x="751" y="51"/>
                    <a:pt x="751" y="51"/>
                    <a:pt x="750" y="51"/>
                  </a:cubicBezTo>
                  <a:cubicBezTo>
                    <a:pt x="751" y="51"/>
                    <a:pt x="751" y="51"/>
                    <a:pt x="751" y="51"/>
                  </a:cubicBezTo>
                  <a:cubicBezTo>
                    <a:pt x="750" y="51"/>
                    <a:pt x="750" y="52"/>
                    <a:pt x="750" y="52"/>
                  </a:cubicBezTo>
                  <a:cubicBezTo>
                    <a:pt x="750" y="52"/>
                    <a:pt x="750" y="52"/>
                    <a:pt x="750" y="52"/>
                  </a:cubicBezTo>
                  <a:cubicBezTo>
                    <a:pt x="750" y="52"/>
                    <a:pt x="750" y="52"/>
                    <a:pt x="750" y="52"/>
                  </a:cubicBezTo>
                  <a:cubicBezTo>
                    <a:pt x="750" y="52"/>
                    <a:pt x="750" y="53"/>
                    <a:pt x="750" y="53"/>
                  </a:cubicBezTo>
                  <a:cubicBezTo>
                    <a:pt x="750" y="53"/>
                    <a:pt x="750" y="53"/>
                    <a:pt x="750" y="53"/>
                  </a:cubicBezTo>
                  <a:cubicBezTo>
                    <a:pt x="750" y="53"/>
                    <a:pt x="750" y="53"/>
                    <a:pt x="749" y="54"/>
                  </a:cubicBezTo>
                  <a:cubicBezTo>
                    <a:pt x="749" y="54"/>
                    <a:pt x="749" y="54"/>
                    <a:pt x="749" y="54"/>
                  </a:cubicBezTo>
                  <a:cubicBezTo>
                    <a:pt x="749" y="54"/>
                    <a:pt x="749" y="54"/>
                    <a:pt x="749" y="54"/>
                  </a:cubicBezTo>
                  <a:cubicBezTo>
                    <a:pt x="749" y="54"/>
                    <a:pt x="749" y="54"/>
                    <a:pt x="749" y="55"/>
                  </a:cubicBezTo>
                  <a:cubicBezTo>
                    <a:pt x="749" y="55"/>
                    <a:pt x="749" y="55"/>
                    <a:pt x="749" y="55"/>
                  </a:cubicBezTo>
                  <a:cubicBezTo>
                    <a:pt x="749" y="55"/>
                    <a:pt x="749" y="55"/>
                    <a:pt x="749" y="56"/>
                  </a:cubicBezTo>
                  <a:cubicBezTo>
                    <a:pt x="749" y="56"/>
                    <a:pt x="749" y="56"/>
                    <a:pt x="749" y="56"/>
                  </a:cubicBezTo>
                  <a:cubicBezTo>
                    <a:pt x="749" y="56"/>
                    <a:pt x="749" y="56"/>
                    <a:pt x="749" y="56"/>
                  </a:cubicBezTo>
                  <a:cubicBezTo>
                    <a:pt x="748" y="56"/>
                    <a:pt x="749" y="57"/>
                    <a:pt x="748" y="57"/>
                  </a:cubicBezTo>
                  <a:cubicBezTo>
                    <a:pt x="748" y="57"/>
                    <a:pt x="748" y="57"/>
                    <a:pt x="748" y="57"/>
                  </a:cubicBezTo>
                  <a:cubicBezTo>
                    <a:pt x="748" y="58"/>
                    <a:pt x="748" y="58"/>
                    <a:pt x="748" y="58"/>
                  </a:cubicBezTo>
                  <a:cubicBezTo>
                    <a:pt x="748" y="59"/>
                    <a:pt x="748" y="59"/>
                    <a:pt x="748" y="59"/>
                  </a:cubicBezTo>
                  <a:cubicBezTo>
                    <a:pt x="748" y="59"/>
                    <a:pt x="748" y="60"/>
                    <a:pt x="748" y="60"/>
                  </a:cubicBezTo>
                  <a:cubicBezTo>
                    <a:pt x="748" y="60"/>
                    <a:pt x="748" y="60"/>
                    <a:pt x="748" y="60"/>
                  </a:cubicBezTo>
                  <a:cubicBezTo>
                    <a:pt x="747" y="61"/>
                    <a:pt x="748" y="62"/>
                    <a:pt x="747" y="62"/>
                  </a:cubicBezTo>
                  <a:cubicBezTo>
                    <a:pt x="747" y="63"/>
                    <a:pt x="747" y="63"/>
                    <a:pt x="747" y="63"/>
                  </a:cubicBezTo>
                  <a:cubicBezTo>
                    <a:pt x="747" y="64"/>
                    <a:pt x="747" y="66"/>
                    <a:pt x="747" y="67"/>
                  </a:cubicBezTo>
                  <a:cubicBezTo>
                    <a:pt x="747" y="68"/>
                    <a:pt x="747" y="69"/>
                    <a:pt x="747" y="69"/>
                  </a:cubicBezTo>
                  <a:cubicBezTo>
                    <a:pt x="747" y="71"/>
                    <a:pt x="747" y="72"/>
                    <a:pt x="747" y="74"/>
                  </a:cubicBezTo>
                  <a:cubicBezTo>
                    <a:pt x="747" y="74"/>
                    <a:pt x="747" y="75"/>
                    <a:pt x="747" y="75"/>
                  </a:cubicBezTo>
                  <a:cubicBezTo>
                    <a:pt x="748" y="75"/>
                    <a:pt x="747" y="76"/>
                    <a:pt x="748" y="77"/>
                  </a:cubicBezTo>
                  <a:cubicBezTo>
                    <a:pt x="748" y="77"/>
                    <a:pt x="748" y="77"/>
                    <a:pt x="748" y="77"/>
                  </a:cubicBezTo>
                  <a:cubicBezTo>
                    <a:pt x="748" y="78"/>
                    <a:pt x="748" y="78"/>
                    <a:pt x="748" y="79"/>
                  </a:cubicBezTo>
                  <a:cubicBezTo>
                    <a:pt x="748" y="79"/>
                    <a:pt x="748" y="79"/>
                    <a:pt x="748" y="79"/>
                  </a:cubicBezTo>
                  <a:cubicBezTo>
                    <a:pt x="748" y="79"/>
                    <a:pt x="748" y="79"/>
                    <a:pt x="748" y="79"/>
                  </a:cubicBezTo>
                  <a:cubicBezTo>
                    <a:pt x="748" y="79"/>
                    <a:pt x="748" y="80"/>
                    <a:pt x="748" y="80"/>
                  </a:cubicBezTo>
                  <a:cubicBezTo>
                    <a:pt x="748" y="80"/>
                    <a:pt x="748" y="80"/>
                    <a:pt x="748" y="81"/>
                  </a:cubicBezTo>
                  <a:cubicBezTo>
                    <a:pt x="749" y="81"/>
                    <a:pt x="748" y="81"/>
                    <a:pt x="749" y="82"/>
                  </a:cubicBezTo>
                  <a:cubicBezTo>
                    <a:pt x="749" y="82"/>
                    <a:pt x="749" y="82"/>
                    <a:pt x="749" y="82"/>
                  </a:cubicBezTo>
                  <a:cubicBezTo>
                    <a:pt x="749" y="82"/>
                    <a:pt x="749" y="83"/>
                    <a:pt x="749" y="83"/>
                  </a:cubicBezTo>
                  <a:close/>
                  <a:moveTo>
                    <a:pt x="1231" y="92"/>
                  </a:moveTo>
                  <a:cubicBezTo>
                    <a:pt x="1231" y="92"/>
                    <a:pt x="1231" y="92"/>
                    <a:pt x="1231" y="92"/>
                  </a:cubicBezTo>
                  <a:cubicBezTo>
                    <a:pt x="1231" y="92"/>
                    <a:pt x="1230" y="92"/>
                    <a:pt x="1230" y="92"/>
                  </a:cubicBezTo>
                  <a:cubicBezTo>
                    <a:pt x="1230" y="92"/>
                    <a:pt x="1230" y="92"/>
                    <a:pt x="1230" y="92"/>
                  </a:cubicBezTo>
                  <a:cubicBezTo>
                    <a:pt x="1230" y="92"/>
                    <a:pt x="1230" y="92"/>
                    <a:pt x="1230" y="92"/>
                  </a:cubicBezTo>
                  <a:cubicBezTo>
                    <a:pt x="1230" y="92"/>
                    <a:pt x="1229" y="92"/>
                    <a:pt x="1229" y="91"/>
                  </a:cubicBezTo>
                  <a:cubicBezTo>
                    <a:pt x="1229" y="91"/>
                    <a:pt x="1229" y="91"/>
                    <a:pt x="1229" y="91"/>
                  </a:cubicBezTo>
                  <a:cubicBezTo>
                    <a:pt x="1229" y="91"/>
                    <a:pt x="1229" y="91"/>
                    <a:pt x="1229" y="91"/>
                  </a:cubicBezTo>
                  <a:cubicBezTo>
                    <a:pt x="1229" y="91"/>
                    <a:pt x="1229" y="91"/>
                    <a:pt x="1229" y="91"/>
                  </a:cubicBezTo>
                  <a:cubicBezTo>
                    <a:pt x="1229" y="91"/>
                    <a:pt x="1228" y="91"/>
                    <a:pt x="1228" y="91"/>
                  </a:cubicBezTo>
                  <a:cubicBezTo>
                    <a:pt x="1228" y="91"/>
                    <a:pt x="1228" y="91"/>
                    <a:pt x="1228" y="91"/>
                  </a:cubicBezTo>
                  <a:cubicBezTo>
                    <a:pt x="1228" y="91"/>
                    <a:pt x="1228" y="91"/>
                    <a:pt x="1227" y="90"/>
                  </a:cubicBezTo>
                  <a:cubicBezTo>
                    <a:pt x="1227" y="90"/>
                    <a:pt x="1227" y="90"/>
                    <a:pt x="1227" y="90"/>
                  </a:cubicBezTo>
                  <a:cubicBezTo>
                    <a:pt x="1227" y="90"/>
                    <a:pt x="1227" y="90"/>
                    <a:pt x="1227" y="90"/>
                  </a:cubicBezTo>
                  <a:cubicBezTo>
                    <a:pt x="1227" y="90"/>
                    <a:pt x="1227" y="90"/>
                    <a:pt x="1227" y="90"/>
                  </a:cubicBezTo>
                  <a:cubicBezTo>
                    <a:pt x="1227" y="90"/>
                    <a:pt x="1226" y="90"/>
                    <a:pt x="1226" y="89"/>
                  </a:cubicBezTo>
                  <a:cubicBezTo>
                    <a:pt x="1226" y="89"/>
                    <a:pt x="1226" y="89"/>
                    <a:pt x="1226" y="89"/>
                  </a:cubicBezTo>
                  <a:cubicBezTo>
                    <a:pt x="1226" y="89"/>
                    <a:pt x="1226" y="89"/>
                    <a:pt x="1226" y="89"/>
                  </a:cubicBezTo>
                  <a:cubicBezTo>
                    <a:pt x="1226" y="89"/>
                    <a:pt x="1226" y="89"/>
                    <a:pt x="1226" y="89"/>
                  </a:cubicBezTo>
                  <a:cubicBezTo>
                    <a:pt x="1225" y="89"/>
                    <a:pt x="1225" y="89"/>
                    <a:pt x="1225" y="89"/>
                  </a:cubicBezTo>
                  <a:cubicBezTo>
                    <a:pt x="1225" y="89"/>
                    <a:pt x="1225" y="89"/>
                    <a:pt x="1225" y="89"/>
                  </a:cubicBezTo>
                  <a:cubicBezTo>
                    <a:pt x="1225" y="89"/>
                    <a:pt x="1225" y="88"/>
                    <a:pt x="1225" y="88"/>
                  </a:cubicBezTo>
                  <a:cubicBezTo>
                    <a:pt x="1225" y="88"/>
                    <a:pt x="1225" y="88"/>
                    <a:pt x="1225" y="88"/>
                  </a:cubicBezTo>
                  <a:cubicBezTo>
                    <a:pt x="1225" y="88"/>
                    <a:pt x="1225" y="88"/>
                    <a:pt x="1224" y="88"/>
                  </a:cubicBezTo>
                  <a:cubicBezTo>
                    <a:pt x="1225" y="88"/>
                    <a:pt x="1225" y="88"/>
                    <a:pt x="1225" y="88"/>
                  </a:cubicBezTo>
                  <a:cubicBezTo>
                    <a:pt x="1224" y="88"/>
                    <a:pt x="1224" y="88"/>
                    <a:pt x="1224" y="88"/>
                  </a:cubicBezTo>
                  <a:cubicBezTo>
                    <a:pt x="1224" y="88"/>
                    <a:pt x="1224" y="88"/>
                    <a:pt x="1224" y="88"/>
                  </a:cubicBezTo>
                  <a:cubicBezTo>
                    <a:pt x="1224" y="87"/>
                    <a:pt x="1224" y="87"/>
                    <a:pt x="1224" y="87"/>
                  </a:cubicBezTo>
                  <a:cubicBezTo>
                    <a:pt x="1224" y="87"/>
                    <a:pt x="1224" y="87"/>
                    <a:pt x="1224" y="87"/>
                  </a:cubicBezTo>
                  <a:cubicBezTo>
                    <a:pt x="1224" y="87"/>
                    <a:pt x="1224" y="87"/>
                    <a:pt x="1224" y="87"/>
                  </a:cubicBezTo>
                  <a:cubicBezTo>
                    <a:pt x="1224" y="87"/>
                    <a:pt x="1224" y="87"/>
                    <a:pt x="1224" y="87"/>
                  </a:cubicBezTo>
                  <a:cubicBezTo>
                    <a:pt x="1223" y="87"/>
                    <a:pt x="1223" y="86"/>
                    <a:pt x="1223" y="86"/>
                  </a:cubicBezTo>
                  <a:cubicBezTo>
                    <a:pt x="1223" y="86"/>
                    <a:pt x="1223" y="86"/>
                    <a:pt x="1223" y="86"/>
                  </a:cubicBezTo>
                  <a:cubicBezTo>
                    <a:pt x="1223" y="86"/>
                    <a:pt x="1223" y="86"/>
                    <a:pt x="1222" y="86"/>
                  </a:cubicBezTo>
                  <a:cubicBezTo>
                    <a:pt x="1222" y="86"/>
                    <a:pt x="1222" y="86"/>
                    <a:pt x="1222" y="86"/>
                  </a:cubicBezTo>
                  <a:cubicBezTo>
                    <a:pt x="1222" y="85"/>
                    <a:pt x="1222" y="85"/>
                    <a:pt x="1222" y="85"/>
                  </a:cubicBezTo>
                  <a:cubicBezTo>
                    <a:pt x="1222" y="85"/>
                    <a:pt x="1222" y="85"/>
                    <a:pt x="1222" y="85"/>
                  </a:cubicBezTo>
                  <a:cubicBezTo>
                    <a:pt x="1222" y="85"/>
                    <a:pt x="1222" y="85"/>
                    <a:pt x="1222" y="84"/>
                  </a:cubicBezTo>
                  <a:cubicBezTo>
                    <a:pt x="1222" y="84"/>
                    <a:pt x="1222" y="84"/>
                    <a:pt x="1222" y="84"/>
                  </a:cubicBezTo>
                  <a:cubicBezTo>
                    <a:pt x="1222" y="84"/>
                    <a:pt x="1222" y="84"/>
                    <a:pt x="1221" y="84"/>
                  </a:cubicBezTo>
                  <a:cubicBezTo>
                    <a:pt x="1221" y="84"/>
                    <a:pt x="1221" y="84"/>
                    <a:pt x="1221" y="84"/>
                  </a:cubicBezTo>
                  <a:cubicBezTo>
                    <a:pt x="1221" y="84"/>
                    <a:pt x="1221" y="83"/>
                    <a:pt x="1221" y="83"/>
                  </a:cubicBezTo>
                  <a:cubicBezTo>
                    <a:pt x="1221" y="83"/>
                    <a:pt x="1221" y="83"/>
                    <a:pt x="1221" y="83"/>
                  </a:cubicBezTo>
                  <a:cubicBezTo>
                    <a:pt x="1221" y="83"/>
                    <a:pt x="1221" y="83"/>
                    <a:pt x="1221" y="82"/>
                  </a:cubicBezTo>
                  <a:cubicBezTo>
                    <a:pt x="1221" y="82"/>
                    <a:pt x="1221" y="82"/>
                    <a:pt x="1221" y="82"/>
                  </a:cubicBezTo>
                  <a:cubicBezTo>
                    <a:pt x="1221" y="82"/>
                    <a:pt x="1221" y="82"/>
                    <a:pt x="1220" y="82"/>
                  </a:cubicBezTo>
                  <a:cubicBezTo>
                    <a:pt x="1220" y="82"/>
                    <a:pt x="1220" y="82"/>
                    <a:pt x="1220" y="81"/>
                  </a:cubicBezTo>
                  <a:cubicBezTo>
                    <a:pt x="1220" y="81"/>
                    <a:pt x="1220" y="81"/>
                    <a:pt x="1220" y="81"/>
                  </a:cubicBezTo>
                  <a:cubicBezTo>
                    <a:pt x="1220" y="81"/>
                    <a:pt x="1220" y="81"/>
                    <a:pt x="1220" y="81"/>
                  </a:cubicBezTo>
                  <a:cubicBezTo>
                    <a:pt x="1220" y="80"/>
                    <a:pt x="1220" y="80"/>
                    <a:pt x="1220" y="80"/>
                  </a:cubicBezTo>
                  <a:cubicBezTo>
                    <a:pt x="1220" y="80"/>
                    <a:pt x="1220" y="80"/>
                    <a:pt x="1220" y="80"/>
                  </a:cubicBezTo>
                  <a:cubicBezTo>
                    <a:pt x="1220" y="80"/>
                    <a:pt x="1220" y="80"/>
                    <a:pt x="1220" y="80"/>
                  </a:cubicBezTo>
                  <a:cubicBezTo>
                    <a:pt x="1220" y="79"/>
                    <a:pt x="1220" y="79"/>
                    <a:pt x="1220" y="79"/>
                  </a:cubicBezTo>
                  <a:cubicBezTo>
                    <a:pt x="1219" y="79"/>
                    <a:pt x="1220" y="79"/>
                    <a:pt x="1219" y="78"/>
                  </a:cubicBezTo>
                  <a:cubicBezTo>
                    <a:pt x="1219" y="78"/>
                    <a:pt x="1219" y="78"/>
                    <a:pt x="1219" y="78"/>
                  </a:cubicBezTo>
                  <a:cubicBezTo>
                    <a:pt x="1219" y="78"/>
                    <a:pt x="1219" y="77"/>
                    <a:pt x="1219" y="77"/>
                  </a:cubicBezTo>
                  <a:cubicBezTo>
                    <a:pt x="1219" y="77"/>
                    <a:pt x="1219" y="77"/>
                    <a:pt x="1219" y="77"/>
                  </a:cubicBezTo>
                  <a:cubicBezTo>
                    <a:pt x="1219" y="76"/>
                    <a:pt x="1219" y="75"/>
                    <a:pt x="1219" y="75"/>
                  </a:cubicBezTo>
                  <a:cubicBezTo>
                    <a:pt x="1219" y="74"/>
                    <a:pt x="1218" y="74"/>
                    <a:pt x="1219" y="74"/>
                  </a:cubicBezTo>
                  <a:cubicBezTo>
                    <a:pt x="1218" y="71"/>
                    <a:pt x="1218" y="71"/>
                    <a:pt x="1221" y="71"/>
                  </a:cubicBezTo>
                  <a:cubicBezTo>
                    <a:pt x="1235" y="71"/>
                    <a:pt x="1250" y="71"/>
                    <a:pt x="1264" y="71"/>
                  </a:cubicBezTo>
                  <a:cubicBezTo>
                    <a:pt x="1264" y="71"/>
                    <a:pt x="1264" y="71"/>
                    <a:pt x="1265" y="71"/>
                  </a:cubicBezTo>
                  <a:cubicBezTo>
                    <a:pt x="1266" y="71"/>
                    <a:pt x="1266" y="70"/>
                    <a:pt x="1266" y="70"/>
                  </a:cubicBezTo>
                  <a:cubicBezTo>
                    <a:pt x="1266" y="67"/>
                    <a:pt x="1266" y="64"/>
                    <a:pt x="1266" y="61"/>
                  </a:cubicBezTo>
                  <a:cubicBezTo>
                    <a:pt x="1266" y="61"/>
                    <a:pt x="1265" y="60"/>
                    <a:pt x="1266" y="60"/>
                  </a:cubicBezTo>
                  <a:cubicBezTo>
                    <a:pt x="1265" y="59"/>
                    <a:pt x="1266" y="58"/>
                    <a:pt x="1265" y="58"/>
                  </a:cubicBezTo>
                  <a:cubicBezTo>
                    <a:pt x="1265" y="57"/>
                    <a:pt x="1265" y="57"/>
                    <a:pt x="1265" y="57"/>
                  </a:cubicBezTo>
                  <a:cubicBezTo>
                    <a:pt x="1265" y="57"/>
                    <a:pt x="1265" y="56"/>
                    <a:pt x="1265" y="56"/>
                  </a:cubicBezTo>
                  <a:cubicBezTo>
                    <a:pt x="1265" y="55"/>
                    <a:pt x="1265" y="55"/>
                    <a:pt x="1265" y="55"/>
                  </a:cubicBezTo>
                  <a:cubicBezTo>
                    <a:pt x="1265" y="55"/>
                    <a:pt x="1265" y="54"/>
                    <a:pt x="1265" y="54"/>
                  </a:cubicBezTo>
                  <a:cubicBezTo>
                    <a:pt x="1265" y="54"/>
                    <a:pt x="1264" y="54"/>
                    <a:pt x="1265" y="54"/>
                  </a:cubicBezTo>
                  <a:cubicBezTo>
                    <a:pt x="1264" y="53"/>
                    <a:pt x="1265" y="53"/>
                    <a:pt x="1264" y="52"/>
                  </a:cubicBezTo>
                  <a:cubicBezTo>
                    <a:pt x="1264" y="52"/>
                    <a:pt x="1264" y="52"/>
                    <a:pt x="1264" y="52"/>
                  </a:cubicBezTo>
                  <a:cubicBezTo>
                    <a:pt x="1264" y="52"/>
                    <a:pt x="1264" y="51"/>
                    <a:pt x="1264" y="51"/>
                  </a:cubicBezTo>
                  <a:cubicBezTo>
                    <a:pt x="1264" y="51"/>
                    <a:pt x="1264" y="51"/>
                    <a:pt x="1264" y="51"/>
                  </a:cubicBezTo>
                  <a:cubicBezTo>
                    <a:pt x="1264" y="51"/>
                    <a:pt x="1264" y="50"/>
                    <a:pt x="1264" y="50"/>
                  </a:cubicBezTo>
                  <a:cubicBezTo>
                    <a:pt x="1264" y="50"/>
                    <a:pt x="1264" y="50"/>
                    <a:pt x="1264" y="50"/>
                  </a:cubicBezTo>
                  <a:cubicBezTo>
                    <a:pt x="1263" y="50"/>
                    <a:pt x="1264" y="49"/>
                    <a:pt x="1263" y="49"/>
                  </a:cubicBezTo>
                  <a:cubicBezTo>
                    <a:pt x="1263" y="49"/>
                    <a:pt x="1263" y="49"/>
                    <a:pt x="1263" y="49"/>
                  </a:cubicBezTo>
                  <a:cubicBezTo>
                    <a:pt x="1263" y="49"/>
                    <a:pt x="1263" y="48"/>
                    <a:pt x="1263" y="48"/>
                  </a:cubicBezTo>
                  <a:cubicBezTo>
                    <a:pt x="1263" y="48"/>
                    <a:pt x="1263" y="48"/>
                    <a:pt x="1263" y="48"/>
                  </a:cubicBezTo>
                  <a:cubicBezTo>
                    <a:pt x="1263" y="48"/>
                    <a:pt x="1263" y="48"/>
                    <a:pt x="1263" y="48"/>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6"/>
                    <a:pt x="1262" y="46"/>
                    <a:pt x="1262" y="46"/>
                  </a:cubicBezTo>
                  <a:cubicBezTo>
                    <a:pt x="1262" y="46"/>
                    <a:pt x="1262" y="46"/>
                    <a:pt x="1262" y="46"/>
                  </a:cubicBezTo>
                  <a:cubicBezTo>
                    <a:pt x="1262" y="46"/>
                    <a:pt x="1262" y="46"/>
                    <a:pt x="1262" y="46"/>
                  </a:cubicBezTo>
                  <a:cubicBezTo>
                    <a:pt x="1262" y="46"/>
                    <a:pt x="1262" y="46"/>
                    <a:pt x="1261" y="45"/>
                  </a:cubicBezTo>
                  <a:cubicBezTo>
                    <a:pt x="1261" y="45"/>
                    <a:pt x="1261" y="45"/>
                    <a:pt x="1261" y="45"/>
                  </a:cubicBezTo>
                  <a:cubicBezTo>
                    <a:pt x="1261" y="45"/>
                    <a:pt x="1261" y="45"/>
                    <a:pt x="1261" y="45"/>
                  </a:cubicBezTo>
                  <a:cubicBezTo>
                    <a:pt x="1261" y="45"/>
                    <a:pt x="1261" y="45"/>
                    <a:pt x="1261" y="45"/>
                  </a:cubicBezTo>
                  <a:cubicBezTo>
                    <a:pt x="1261" y="45"/>
                    <a:pt x="1261" y="44"/>
                    <a:pt x="1261" y="44"/>
                  </a:cubicBezTo>
                  <a:cubicBezTo>
                    <a:pt x="1261" y="44"/>
                    <a:pt x="1261" y="44"/>
                    <a:pt x="1261" y="44"/>
                  </a:cubicBezTo>
                  <a:cubicBezTo>
                    <a:pt x="1261" y="44"/>
                    <a:pt x="1261" y="44"/>
                    <a:pt x="1260" y="44"/>
                  </a:cubicBezTo>
                  <a:cubicBezTo>
                    <a:pt x="1260" y="44"/>
                    <a:pt x="1260" y="44"/>
                    <a:pt x="1260" y="44"/>
                  </a:cubicBezTo>
                  <a:cubicBezTo>
                    <a:pt x="1260" y="44"/>
                    <a:pt x="1260" y="43"/>
                    <a:pt x="1260" y="43"/>
                  </a:cubicBezTo>
                  <a:cubicBezTo>
                    <a:pt x="1260" y="43"/>
                    <a:pt x="1260" y="43"/>
                    <a:pt x="1260" y="43"/>
                  </a:cubicBezTo>
                  <a:cubicBezTo>
                    <a:pt x="1260" y="43"/>
                    <a:pt x="1260" y="43"/>
                    <a:pt x="1260" y="43"/>
                  </a:cubicBezTo>
                  <a:cubicBezTo>
                    <a:pt x="1260" y="43"/>
                    <a:pt x="1260" y="43"/>
                    <a:pt x="1260" y="43"/>
                  </a:cubicBezTo>
                  <a:cubicBezTo>
                    <a:pt x="1259" y="42"/>
                    <a:pt x="1259" y="42"/>
                    <a:pt x="1259" y="42"/>
                  </a:cubicBezTo>
                  <a:cubicBezTo>
                    <a:pt x="1259" y="42"/>
                    <a:pt x="1259" y="42"/>
                    <a:pt x="1259" y="42"/>
                  </a:cubicBezTo>
                  <a:cubicBezTo>
                    <a:pt x="1259" y="42"/>
                    <a:pt x="1259" y="41"/>
                    <a:pt x="1259" y="41"/>
                  </a:cubicBezTo>
                  <a:cubicBezTo>
                    <a:pt x="1259" y="41"/>
                    <a:pt x="1259" y="41"/>
                    <a:pt x="1259" y="41"/>
                  </a:cubicBezTo>
                  <a:cubicBezTo>
                    <a:pt x="1259" y="41"/>
                    <a:pt x="1258" y="41"/>
                    <a:pt x="1258" y="41"/>
                  </a:cubicBezTo>
                  <a:cubicBezTo>
                    <a:pt x="1258" y="41"/>
                    <a:pt x="1258" y="41"/>
                    <a:pt x="1258" y="41"/>
                  </a:cubicBezTo>
                  <a:cubicBezTo>
                    <a:pt x="1258" y="41"/>
                    <a:pt x="1258" y="41"/>
                    <a:pt x="1258" y="41"/>
                  </a:cubicBezTo>
                  <a:cubicBezTo>
                    <a:pt x="1258" y="41"/>
                    <a:pt x="1258" y="41"/>
                    <a:pt x="1258" y="41"/>
                  </a:cubicBezTo>
                  <a:cubicBezTo>
                    <a:pt x="1257" y="40"/>
                    <a:pt x="1257" y="39"/>
                    <a:pt x="1256" y="39"/>
                  </a:cubicBezTo>
                  <a:cubicBezTo>
                    <a:pt x="1256" y="39"/>
                    <a:pt x="1256" y="39"/>
                    <a:pt x="1256" y="39"/>
                  </a:cubicBezTo>
                  <a:cubicBezTo>
                    <a:pt x="1256" y="39"/>
                    <a:pt x="1256" y="39"/>
                    <a:pt x="1256" y="39"/>
                  </a:cubicBezTo>
                  <a:cubicBezTo>
                    <a:pt x="1256" y="39"/>
                    <a:pt x="1256" y="39"/>
                    <a:pt x="1256" y="39"/>
                  </a:cubicBezTo>
                  <a:cubicBezTo>
                    <a:pt x="1256" y="38"/>
                    <a:pt x="1256" y="38"/>
                    <a:pt x="1255" y="38"/>
                  </a:cubicBezTo>
                  <a:cubicBezTo>
                    <a:pt x="1256" y="38"/>
                    <a:pt x="1256" y="38"/>
                    <a:pt x="1256" y="38"/>
                  </a:cubicBezTo>
                  <a:cubicBezTo>
                    <a:pt x="1255" y="38"/>
                    <a:pt x="1255" y="38"/>
                    <a:pt x="1255" y="38"/>
                  </a:cubicBezTo>
                  <a:cubicBezTo>
                    <a:pt x="1255" y="38"/>
                    <a:pt x="1255" y="38"/>
                    <a:pt x="1255" y="38"/>
                  </a:cubicBezTo>
                  <a:cubicBezTo>
                    <a:pt x="1255" y="38"/>
                    <a:pt x="1255" y="38"/>
                    <a:pt x="1255" y="37"/>
                  </a:cubicBezTo>
                  <a:cubicBezTo>
                    <a:pt x="1255" y="37"/>
                    <a:pt x="1255" y="37"/>
                    <a:pt x="1255" y="37"/>
                  </a:cubicBezTo>
                  <a:cubicBezTo>
                    <a:pt x="1254" y="37"/>
                    <a:pt x="1254" y="37"/>
                    <a:pt x="1254" y="37"/>
                  </a:cubicBezTo>
                  <a:cubicBezTo>
                    <a:pt x="1254" y="37"/>
                    <a:pt x="1254" y="37"/>
                    <a:pt x="1254" y="37"/>
                  </a:cubicBezTo>
                  <a:cubicBezTo>
                    <a:pt x="1254" y="37"/>
                    <a:pt x="1254" y="37"/>
                    <a:pt x="1254" y="37"/>
                  </a:cubicBezTo>
                  <a:cubicBezTo>
                    <a:pt x="1254" y="37"/>
                    <a:pt x="1254" y="37"/>
                    <a:pt x="1254" y="37"/>
                  </a:cubicBezTo>
                  <a:cubicBezTo>
                    <a:pt x="1254" y="37"/>
                    <a:pt x="1253" y="37"/>
                    <a:pt x="1253" y="36"/>
                  </a:cubicBezTo>
                  <a:cubicBezTo>
                    <a:pt x="1253" y="36"/>
                    <a:pt x="1253" y="36"/>
                    <a:pt x="1253" y="36"/>
                  </a:cubicBezTo>
                  <a:cubicBezTo>
                    <a:pt x="1253" y="36"/>
                    <a:pt x="1253" y="36"/>
                    <a:pt x="1252" y="36"/>
                  </a:cubicBezTo>
                  <a:cubicBezTo>
                    <a:pt x="1252" y="36"/>
                    <a:pt x="1252" y="36"/>
                    <a:pt x="1252" y="36"/>
                  </a:cubicBezTo>
                  <a:cubicBezTo>
                    <a:pt x="1252" y="36"/>
                    <a:pt x="1252" y="36"/>
                    <a:pt x="1252" y="36"/>
                  </a:cubicBezTo>
                  <a:cubicBezTo>
                    <a:pt x="1252" y="36"/>
                    <a:pt x="1252" y="36"/>
                    <a:pt x="1252" y="36"/>
                  </a:cubicBezTo>
                  <a:cubicBezTo>
                    <a:pt x="1252" y="35"/>
                    <a:pt x="1252" y="36"/>
                    <a:pt x="1251" y="35"/>
                  </a:cubicBezTo>
                  <a:cubicBezTo>
                    <a:pt x="1251" y="35"/>
                    <a:pt x="1251" y="35"/>
                    <a:pt x="1251" y="35"/>
                  </a:cubicBezTo>
                  <a:cubicBezTo>
                    <a:pt x="1251" y="35"/>
                    <a:pt x="1251" y="35"/>
                    <a:pt x="1251" y="35"/>
                  </a:cubicBezTo>
                  <a:cubicBezTo>
                    <a:pt x="1250" y="35"/>
                    <a:pt x="1250" y="35"/>
                    <a:pt x="1250" y="35"/>
                  </a:cubicBezTo>
                  <a:cubicBezTo>
                    <a:pt x="1250" y="35"/>
                    <a:pt x="1250" y="35"/>
                    <a:pt x="1250" y="35"/>
                  </a:cubicBezTo>
                  <a:cubicBezTo>
                    <a:pt x="1250" y="35"/>
                    <a:pt x="1250" y="35"/>
                    <a:pt x="1250" y="35"/>
                  </a:cubicBezTo>
                  <a:cubicBezTo>
                    <a:pt x="1249" y="34"/>
                    <a:pt x="1249" y="35"/>
                    <a:pt x="1249" y="34"/>
                  </a:cubicBezTo>
                  <a:cubicBezTo>
                    <a:pt x="1249" y="34"/>
                    <a:pt x="1249" y="34"/>
                    <a:pt x="1249" y="34"/>
                  </a:cubicBezTo>
                  <a:cubicBezTo>
                    <a:pt x="1249" y="34"/>
                    <a:pt x="1248" y="34"/>
                    <a:pt x="1248" y="34"/>
                  </a:cubicBezTo>
                  <a:cubicBezTo>
                    <a:pt x="1248" y="34"/>
                    <a:pt x="1248" y="34"/>
                    <a:pt x="1248" y="34"/>
                  </a:cubicBezTo>
                  <a:cubicBezTo>
                    <a:pt x="1248" y="34"/>
                    <a:pt x="1247" y="34"/>
                    <a:pt x="1247" y="34"/>
                  </a:cubicBezTo>
                  <a:cubicBezTo>
                    <a:pt x="1247" y="34"/>
                    <a:pt x="1247" y="34"/>
                    <a:pt x="1246" y="34"/>
                  </a:cubicBezTo>
                  <a:cubicBezTo>
                    <a:pt x="1246" y="33"/>
                    <a:pt x="1246" y="34"/>
                    <a:pt x="1245" y="33"/>
                  </a:cubicBezTo>
                  <a:cubicBezTo>
                    <a:pt x="1245" y="33"/>
                    <a:pt x="1245" y="33"/>
                    <a:pt x="1245" y="33"/>
                  </a:cubicBezTo>
                  <a:cubicBezTo>
                    <a:pt x="1245" y="33"/>
                    <a:pt x="1244" y="33"/>
                    <a:pt x="1244" y="33"/>
                  </a:cubicBezTo>
                  <a:cubicBezTo>
                    <a:pt x="1243" y="33"/>
                    <a:pt x="1243" y="33"/>
                    <a:pt x="1243" y="33"/>
                  </a:cubicBezTo>
                  <a:cubicBezTo>
                    <a:pt x="1242" y="33"/>
                    <a:pt x="1241" y="33"/>
                    <a:pt x="1241" y="33"/>
                  </a:cubicBezTo>
                  <a:cubicBezTo>
                    <a:pt x="1239" y="33"/>
                    <a:pt x="1237" y="33"/>
                    <a:pt x="1236" y="33"/>
                  </a:cubicBezTo>
                  <a:cubicBezTo>
                    <a:pt x="1235" y="33"/>
                    <a:pt x="1234" y="33"/>
                    <a:pt x="1233" y="33"/>
                  </a:cubicBezTo>
                  <a:cubicBezTo>
                    <a:pt x="1233" y="33"/>
                    <a:pt x="1233" y="33"/>
                    <a:pt x="1233" y="33"/>
                  </a:cubicBezTo>
                  <a:cubicBezTo>
                    <a:pt x="1232" y="33"/>
                    <a:pt x="1232" y="33"/>
                    <a:pt x="1231" y="33"/>
                  </a:cubicBezTo>
                  <a:cubicBezTo>
                    <a:pt x="1231" y="33"/>
                    <a:pt x="1231" y="33"/>
                    <a:pt x="1231" y="33"/>
                  </a:cubicBezTo>
                  <a:cubicBezTo>
                    <a:pt x="1231" y="33"/>
                    <a:pt x="1231" y="33"/>
                    <a:pt x="1231" y="33"/>
                  </a:cubicBezTo>
                  <a:cubicBezTo>
                    <a:pt x="1231" y="34"/>
                    <a:pt x="1230" y="33"/>
                    <a:pt x="1230" y="34"/>
                  </a:cubicBezTo>
                  <a:cubicBezTo>
                    <a:pt x="1230" y="34"/>
                    <a:pt x="1230" y="34"/>
                    <a:pt x="1230" y="34"/>
                  </a:cubicBezTo>
                  <a:cubicBezTo>
                    <a:pt x="1230" y="34"/>
                    <a:pt x="1229" y="34"/>
                    <a:pt x="1229" y="34"/>
                  </a:cubicBezTo>
                  <a:cubicBezTo>
                    <a:pt x="1229" y="34"/>
                    <a:pt x="1229" y="34"/>
                    <a:pt x="1229" y="34"/>
                  </a:cubicBezTo>
                  <a:cubicBezTo>
                    <a:pt x="1229" y="34"/>
                    <a:pt x="1229" y="34"/>
                    <a:pt x="1229" y="34"/>
                  </a:cubicBezTo>
                  <a:cubicBezTo>
                    <a:pt x="1228" y="34"/>
                    <a:pt x="1228" y="34"/>
                    <a:pt x="1228" y="34"/>
                  </a:cubicBezTo>
                  <a:cubicBezTo>
                    <a:pt x="1228" y="34"/>
                    <a:pt x="1228" y="34"/>
                    <a:pt x="1228" y="34"/>
                  </a:cubicBezTo>
                  <a:cubicBezTo>
                    <a:pt x="1227" y="35"/>
                    <a:pt x="1227" y="34"/>
                    <a:pt x="1227" y="35"/>
                  </a:cubicBezTo>
                  <a:cubicBezTo>
                    <a:pt x="1227" y="35"/>
                    <a:pt x="1227" y="35"/>
                    <a:pt x="1227" y="35"/>
                  </a:cubicBezTo>
                  <a:cubicBezTo>
                    <a:pt x="1226" y="35"/>
                    <a:pt x="1226" y="35"/>
                    <a:pt x="1226" y="35"/>
                  </a:cubicBezTo>
                  <a:cubicBezTo>
                    <a:pt x="1226" y="35"/>
                    <a:pt x="1226" y="35"/>
                    <a:pt x="1226" y="35"/>
                  </a:cubicBezTo>
                  <a:cubicBezTo>
                    <a:pt x="1226" y="35"/>
                    <a:pt x="1225" y="35"/>
                    <a:pt x="1225" y="35"/>
                  </a:cubicBezTo>
                  <a:cubicBezTo>
                    <a:pt x="1225" y="35"/>
                    <a:pt x="1225" y="35"/>
                    <a:pt x="1225" y="35"/>
                  </a:cubicBezTo>
                  <a:cubicBezTo>
                    <a:pt x="1225" y="36"/>
                    <a:pt x="1225" y="36"/>
                    <a:pt x="1225" y="36"/>
                  </a:cubicBezTo>
                  <a:cubicBezTo>
                    <a:pt x="1225" y="36"/>
                    <a:pt x="1225" y="36"/>
                    <a:pt x="1225" y="36"/>
                  </a:cubicBezTo>
                  <a:cubicBezTo>
                    <a:pt x="1224" y="36"/>
                    <a:pt x="1224" y="36"/>
                    <a:pt x="1224" y="36"/>
                  </a:cubicBezTo>
                  <a:cubicBezTo>
                    <a:pt x="1224" y="36"/>
                    <a:pt x="1224" y="36"/>
                    <a:pt x="1224" y="36"/>
                  </a:cubicBezTo>
                  <a:cubicBezTo>
                    <a:pt x="1224" y="36"/>
                    <a:pt x="1223" y="36"/>
                    <a:pt x="1223" y="36"/>
                  </a:cubicBezTo>
                  <a:cubicBezTo>
                    <a:pt x="1223" y="36"/>
                    <a:pt x="1223" y="36"/>
                    <a:pt x="1223" y="36"/>
                  </a:cubicBezTo>
                  <a:cubicBezTo>
                    <a:pt x="1223" y="37"/>
                    <a:pt x="1223" y="37"/>
                    <a:pt x="1223" y="37"/>
                  </a:cubicBezTo>
                  <a:cubicBezTo>
                    <a:pt x="1223" y="37"/>
                    <a:pt x="1223" y="37"/>
                    <a:pt x="1223" y="37"/>
                  </a:cubicBezTo>
                  <a:cubicBezTo>
                    <a:pt x="1222" y="37"/>
                    <a:pt x="1222" y="37"/>
                    <a:pt x="1222" y="37"/>
                  </a:cubicBezTo>
                  <a:cubicBezTo>
                    <a:pt x="1222" y="37"/>
                    <a:pt x="1222" y="37"/>
                    <a:pt x="1222" y="37"/>
                  </a:cubicBezTo>
                  <a:cubicBezTo>
                    <a:pt x="1222" y="37"/>
                    <a:pt x="1222" y="37"/>
                    <a:pt x="1221" y="38"/>
                  </a:cubicBezTo>
                  <a:cubicBezTo>
                    <a:pt x="1222" y="38"/>
                    <a:pt x="1222" y="38"/>
                    <a:pt x="1222" y="38"/>
                  </a:cubicBezTo>
                  <a:cubicBezTo>
                    <a:pt x="1221" y="38"/>
                    <a:pt x="1221" y="38"/>
                    <a:pt x="1221" y="38"/>
                  </a:cubicBezTo>
                  <a:cubicBezTo>
                    <a:pt x="1221" y="38"/>
                    <a:pt x="1221" y="38"/>
                    <a:pt x="1221" y="38"/>
                  </a:cubicBezTo>
                  <a:cubicBezTo>
                    <a:pt x="1221" y="38"/>
                    <a:pt x="1220" y="38"/>
                    <a:pt x="1220" y="39"/>
                  </a:cubicBezTo>
                  <a:cubicBezTo>
                    <a:pt x="1220" y="39"/>
                    <a:pt x="1220" y="39"/>
                    <a:pt x="1220" y="39"/>
                  </a:cubicBezTo>
                  <a:cubicBezTo>
                    <a:pt x="1220" y="39"/>
                    <a:pt x="1220" y="39"/>
                    <a:pt x="1220" y="39"/>
                  </a:cubicBezTo>
                  <a:cubicBezTo>
                    <a:pt x="1220" y="39"/>
                    <a:pt x="1220" y="39"/>
                    <a:pt x="1220" y="39"/>
                  </a:cubicBezTo>
                  <a:cubicBezTo>
                    <a:pt x="1220" y="39"/>
                    <a:pt x="1219" y="39"/>
                    <a:pt x="1219" y="39"/>
                  </a:cubicBezTo>
                  <a:cubicBezTo>
                    <a:pt x="1219" y="39"/>
                    <a:pt x="1219" y="39"/>
                    <a:pt x="1219" y="39"/>
                  </a:cubicBezTo>
                  <a:cubicBezTo>
                    <a:pt x="1219" y="40"/>
                    <a:pt x="1219" y="40"/>
                    <a:pt x="1218" y="40"/>
                  </a:cubicBezTo>
                  <a:cubicBezTo>
                    <a:pt x="1218" y="40"/>
                    <a:pt x="1218" y="40"/>
                    <a:pt x="1218" y="40"/>
                  </a:cubicBezTo>
                  <a:cubicBezTo>
                    <a:pt x="1218" y="40"/>
                    <a:pt x="1218" y="40"/>
                    <a:pt x="1218" y="40"/>
                  </a:cubicBezTo>
                  <a:cubicBezTo>
                    <a:pt x="1218" y="40"/>
                    <a:pt x="1218" y="40"/>
                    <a:pt x="1218" y="40"/>
                  </a:cubicBezTo>
                  <a:cubicBezTo>
                    <a:pt x="1218" y="40"/>
                    <a:pt x="1218" y="40"/>
                    <a:pt x="1218" y="41"/>
                  </a:cubicBezTo>
                  <a:cubicBezTo>
                    <a:pt x="1218" y="41"/>
                    <a:pt x="1218" y="41"/>
                    <a:pt x="1218" y="41"/>
                  </a:cubicBezTo>
                  <a:cubicBezTo>
                    <a:pt x="1217" y="41"/>
                    <a:pt x="1217" y="41"/>
                    <a:pt x="1217" y="41"/>
                  </a:cubicBezTo>
                  <a:cubicBezTo>
                    <a:pt x="1217" y="41"/>
                    <a:pt x="1217" y="41"/>
                    <a:pt x="1217" y="41"/>
                  </a:cubicBezTo>
                  <a:cubicBezTo>
                    <a:pt x="1217" y="41"/>
                    <a:pt x="1217" y="41"/>
                    <a:pt x="1217" y="41"/>
                  </a:cubicBezTo>
                  <a:cubicBezTo>
                    <a:pt x="1217" y="41"/>
                    <a:pt x="1217" y="41"/>
                    <a:pt x="1217" y="41"/>
                  </a:cubicBezTo>
                  <a:cubicBezTo>
                    <a:pt x="1217" y="41"/>
                    <a:pt x="1217" y="42"/>
                    <a:pt x="1217" y="42"/>
                  </a:cubicBezTo>
                  <a:cubicBezTo>
                    <a:pt x="1217" y="42"/>
                    <a:pt x="1217" y="42"/>
                    <a:pt x="1217" y="42"/>
                  </a:cubicBezTo>
                  <a:cubicBezTo>
                    <a:pt x="1216" y="42"/>
                    <a:pt x="1216" y="42"/>
                    <a:pt x="1216" y="42"/>
                  </a:cubicBezTo>
                  <a:cubicBezTo>
                    <a:pt x="1216" y="42"/>
                    <a:pt x="1216" y="42"/>
                    <a:pt x="1216" y="42"/>
                  </a:cubicBezTo>
                  <a:cubicBezTo>
                    <a:pt x="1216" y="42"/>
                    <a:pt x="1216" y="42"/>
                    <a:pt x="1216" y="42"/>
                  </a:cubicBezTo>
                  <a:cubicBezTo>
                    <a:pt x="1216" y="42"/>
                    <a:pt x="1216" y="42"/>
                    <a:pt x="1216" y="42"/>
                  </a:cubicBezTo>
                  <a:cubicBezTo>
                    <a:pt x="1216" y="43"/>
                    <a:pt x="1215" y="43"/>
                    <a:pt x="1215" y="43"/>
                  </a:cubicBezTo>
                  <a:cubicBezTo>
                    <a:pt x="1215" y="43"/>
                    <a:pt x="1215" y="43"/>
                    <a:pt x="1215" y="43"/>
                  </a:cubicBezTo>
                  <a:cubicBezTo>
                    <a:pt x="1215" y="44"/>
                    <a:pt x="1215" y="44"/>
                    <a:pt x="1215" y="44"/>
                  </a:cubicBezTo>
                  <a:cubicBezTo>
                    <a:pt x="1215" y="44"/>
                    <a:pt x="1215" y="44"/>
                    <a:pt x="1215" y="44"/>
                  </a:cubicBezTo>
                  <a:cubicBezTo>
                    <a:pt x="1215" y="44"/>
                    <a:pt x="1215" y="44"/>
                    <a:pt x="1215" y="44"/>
                  </a:cubicBezTo>
                  <a:cubicBezTo>
                    <a:pt x="1215" y="44"/>
                    <a:pt x="1215" y="44"/>
                    <a:pt x="1215" y="44"/>
                  </a:cubicBezTo>
                  <a:cubicBezTo>
                    <a:pt x="1214" y="44"/>
                    <a:pt x="1214" y="45"/>
                    <a:pt x="1214" y="45"/>
                  </a:cubicBezTo>
                  <a:cubicBezTo>
                    <a:pt x="1214" y="45"/>
                    <a:pt x="1214" y="45"/>
                    <a:pt x="1214" y="45"/>
                  </a:cubicBezTo>
                  <a:cubicBezTo>
                    <a:pt x="1214" y="45"/>
                    <a:pt x="1214" y="45"/>
                    <a:pt x="1214" y="45"/>
                  </a:cubicBezTo>
                  <a:cubicBezTo>
                    <a:pt x="1214" y="45"/>
                    <a:pt x="1214" y="45"/>
                    <a:pt x="1214" y="45"/>
                  </a:cubicBezTo>
                  <a:cubicBezTo>
                    <a:pt x="1213" y="45"/>
                    <a:pt x="1213" y="46"/>
                    <a:pt x="1213" y="46"/>
                  </a:cubicBezTo>
                  <a:cubicBezTo>
                    <a:pt x="1213" y="46"/>
                    <a:pt x="1213" y="46"/>
                    <a:pt x="1213" y="46"/>
                  </a:cubicBezTo>
                  <a:cubicBezTo>
                    <a:pt x="1213" y="46"/>
                    <a:pt x="1213" y="47"/>
                    <a:pt x="1213" y="47"/>
                  </a:cubicBezTo>
                  <a:cubicBezTo>
                    <a:pt x="1213" y="47"/>
                    <a:pt x="1213" y="47"/>
                    <a:pt x="1213" y="47"/>
                  </a:cubicBezTo>
                  <a:cubicBezTo>
                    <a:pt x="1213" y="47"/>
                    <a:pt x="1212" y="47"/>
                    <a:pt x="1212" y="47"/>
                  </a:cubicBezTo>
                  <a:cubicBezTo>
                    <a:pt x="1212" y="47"/>
                    <a:pt x="1212" y="47"/>
                    <a:pt x="1212" y="47"/>
                  </a:cubicBezTo>
                  <a:cubicBezTo>
                    <a:pt x="1212" y="47"/>
                    <a:pt x="1212" y="48"/>
                    <a:pt x="1212" y="48"/>
                  </a:cubicBezTo>
                  <a:cubicBezTo>
                    <a:pt x="1212" y="48"/>
                    <a:pt x="1212" y="48"/>
                    <a:pt x="1212" y="48"/>
                  </a:cubicBezTo>
                  <a:cubicBezTo>
                    <a:pt x="1212" y="48"/>
                    <a:pt x="1212" y="48"/>
                    <a:pt x="1212" y="49"/>
                  </a:cubicBezTo>
                  <a:cubicBezTo>
                    <a:pt x="1212" y="49"/>
                    <a:pt x="1212" y="49"/>
                    <a:pt x="1212" y="49"/>
                  </a:cubicBezTo>
                  <a:cubicBezTo>
                    <a:pt x="1211" y="49"/>
                    <a:pt x="1212" y="49"/>
                    <a:pt x="1211" y="49"/>
                  </a:cubicBezTo>
                  <a:cubicBezTo>
                    <a:pt x="1211" y="49"/>
                    <a:pt x="1211" y="49"/>
                    <a:pt x="1211" y="49"/>
                  </a:cubicBezTo>
                  <a:cubicBezTo>
                    <a:pt x="1211" y="49"/>
                    <a:pt x="1211" y="50"/>
                    <a:pt x="1211" y="50"/>
                  </a:cubicBezTo>
                  <a:cubicBezTo>
                    <a:pt x="1211" y="50"/>
                    <a:pt x="1211" y="50"/>
                    <a:pt x="1211" y="50"/>
                  </a:cubicBezTo>
                  <a:cubicBezTo>
                    <a:pt x="1211" y="50"/>
                    <a:pt x="1211" y="51"/>
                    <a:pt x="1211" y="51"/>
                  </a:cubicBezTo>
                  <a:cubicBezTo>
                    <a:pt x="1211" y="51"/>
                    <a:pt x="1211" y="51"/>
                    <a:pt x="1211" y="51"/>
                  </a:cubicBezTo>
                  <a:cubicBezTo>
                    <a:pt x="1210" y="51"/>
                    <a:pt x="1210" y="51"/>
                    <a:pt x="1210" y="51"/>
                  </a:cubicBezTo>
                  <a:cubicBezTo>
                    <a:pt x="1210" y="51"/>
                    <a:pt x="1210" y="51"/>
                    <a:pt x="1210" y="51"/>
                  </a:cubicBezTo>
                  <a:cubicBezTo>
                    <a:pt x="1210" y="52"/>
                    <a:pt x="1210" y="52"/>
                    <a:pt x="1210" y="52"/>
                  </a:cubicBezTo>
                  <a:cubicBezTo>
                    <a:pt x="1210" y="52"/>
                    <a:pt x="1210" y="52"/>
                    <a:pt x="1210" y="52"/>
                  </a:cubicBezTo>
                  <a:cubicBezTo>
                    <a:pt x="1210" y="53"/>
                    <a:pt x="1210" y="53"/>
                    <a:pt x="1210" y="53"/>
                  </a:cubicBezTo>
                  <a:cubicBezTo>
                    <a:pt x="1210" y="53"/>
                    <a:pt x="1210" y="53"/>
                    <a:pt x="1210" y="53"/>
                  </a:cubicBezTo>
                  <a:cubicBezTo>
                    <a:pt x="1209" y="53"/>
                    <a:pt x="1209" y="54"/>
                    <a:pt x="1209" y="54"/>
                  </a:cubicBezTo>
                  <a:cubicBezTo>
                    <a:pt x="1209" y="54"/>
                    <a:pt x="1209" y="54"/>
                    <a:pt x="1209" y="54"/>
                  </a:cubicBezTo>
                  <a:cubicBezTo>
                    <a:pt x="1209" y="54"/>
                    <a:pt x="1209" y="54"/>
                    <a:pt x="1209" y="54"/>
                  </a:cubicBezTo>
                  <a:cubicBezTo>
                    <a:pt x="1209" y="54"/>
                    <a:pt x="1209" y="55"/>
                    <a:pt x="1209" y="55"/>
                  </a:cubicBezTo>
                  <a:cubicBezTo>
                    <a:pt x="1209" y="55"/>
                    <a:pt x="1209" y="55"/>
                    <a:pt x="1209" y="55"/>
                  </a:cubicBezTo>
                  <a:cubicBezTo>
                    <a:pt x="1209" y="55"/>
                    <a:pt x="1209" y="55"/>
                    <a:pt x="1209" y="55"/>
                  </a:cubicBezTo>
                  <a:cubicBezTo>
                    <a:pt x="1209" y="56"/>
                    <a:pt x="1209" y="56"/>
                    <a:pt x="1209" y="56"/>
                  </a:cubicBezTo>
                  <a:cubicBezTo>
                    <a:pt x="1209" y="56"/>
                    <a:pt x="1209" y="56"/>
                    <a:pt x="1209" y="56"/>
                  </a:cubicBezTo>
                  <a:cubicBezTo>
                    <a:pt x="1208" y="57"/>
                    <a:pt x="1208" y="57"/>
                    <a:pt x="1208" y="57"/>
                  </a:cubicBezTo>
                  <a:cubicBezTo>
                    <a:pt x="1208" y="58"/>
                    <a:pt x="1208" y="58"/>
                    <a:pt x="1208" y="58"/>
                  </a:cubicBezTo>
                  <a:cubicBezTo>
                    <a:pt x="1208" y="58"/>
                    <a:pt x="1208" y="58"/>
                    <a:pt x="1208" y="58"/>
                  </a:cubicBezTo>
                  <a:cubicBezTo>
                    <a:pt x="1208" y="58"/>
                    <a:pt x="1208" y="59"/>
                    <a:pt x="1208" y="59"/>
                  </a:cubicBezTo>
                  <a:cubicBezTo>
                    <a:pt x="1208" y="59"/>
                    <a:pt x="1208" y="59"/>
                    <a:pt x="1208" y="59"/>
                  </a:cubicBezTo>
                  <a:cubicBezTo>
                    <a:pt x="1208" y="60"/>
                    <a:pt x="1208" y="60"/>
                    <a:pt x="1208" y="61"/>
                  </a:cubicBezTo>
                  <a:cubicBezTo>
                    <a:pt x="1208" y="61"/>
                    <a:pt x="1208" y="61"/>
                    <a:pt x="1207" y="61"/>
                  </a:cubicBezTo>
                  <a:cubicBezTo>
                    <a:pt x="1207" y="62"/>
                    <a:pt x="1208" y="63"/>
                    <a:pt x="1207" y="63"/>
                  </a:cubicBezTo>
                  <a:cubicBezTo>
                    <a:pt x="1207" y="64"/>
                    <a:pt x="1207" y="64"/>
                    <a:pt x="1207" y="64"/>
                  </a:cubicBezTo>
                  <a:cubicBezTo>
                    <a:pt x="1207" y="67"/>
                    <a:pt x="1207" y="70"/>
                    <a:pt x="1207" y="73"/>
                  </a:cubicBezTo>
                  <a:cubicBezTo>
                    <a:pt x="1207" y="73"/>
                    <a:pt x="1207" y="73"/>
                    <a:pt x="1207" y="74"/>
                  </a:cubicBezTo>
                  <a:cubicBezTo>
                    <a:pt x="1208" y="74"/>
                    <a:pt x="1207" y="75"/>
                    <a:pt x="1207" y="76"/>
                  </a:cubicBezTo>
                  <a:cubicBezTo>
                    <a:pt x="1208" y="76"/>
                    <a:pt x="1208" y="76"/>
                    <a:pt x="1208" y="76"/>
                  </a:cubicBezTo>
                  <a:cubicBezTo>
                    <a:pt x="1208" y="77"/>
                    <a:pt x="1207" y="78"/>
                    <a:pt x="1208" y="78"/>
                  </a:cubicBezTo>
                  <a:cubicBezTo>
                    <a:pt x="1208" y="78"/>
                    <a:pt x="1208" y="78"/>
                    <a:pt x="1208" y="78"/>
                  </a:cubicBezTo>
                  <a:cubicBezTo>
                    <a:pt x="1208" y="79"/>
                    <a:pt x="1208" y="79"/>
                    <a:pt x="1208" y="80"/>
                  </a:cubicBezTo>
                  <a:cubicBezTo>
                    <a:pt x="1208" y="80"/>
                    <a:pt x="1208" y="80"/>
                    <a:pt x="1208" y="80"/>
                  </a:cubicBezTo>
                  <a:cubicBezTo>
                    <a:pt x="1208" y="80"/>
                    <a:pt x="1208" y="80"/>
                    <a:pt x="1208" y="80"/>
                  </a:cubicBezTo>
                  <a:cubicBezTo>
                    <a:pt x="1208" y="80"/>
                    <a:pt x="1208" y="81"/>
                    <a:pt x="1209" y="81"/>
                  </a:cubicBezTo>
                  <a:cubicBezTo>
                    <a:pt x="1209" y="81"/>
                    <a:pt x="1209" y="81"/>
                    <a:pt x="1209" y="81"/>
                  </a:cubicBezTo>
                  <a:cubicBezTo>
                    <a:pt x="1209" y="82"/>
                    <a:pt x="1209" y="82"/>
                    <a:pt x="1209" y="82"/>
                  </a:cubicBezTo>
                  <a:cubicBezTo>
                    <a:pt x="1209" y="82"/>
                    <a:pt x="1209" y="82"/>
                    <a:pt x="1209" y="82"/>
                  </a:cubicBezTo>
                  <a:cubicBezTo>
                    <a:pt x="1209" y="82"/>
                    <a:pt x="1209" y="83"/>
                    <a:pt x="1209" y="83"/>
                  </a:cubicBezTo>
                  <a:cubicBezTo>
                    <a:pt x="1209" y="83"/>
                    <a:pt x="1209" y="83"/>
                    <a:pt x="1209" y="84"/>
                  </a:cubicBezTo>
                  <a:cubicBezTo>
                    <a:pt x="1209" y="84"/>
                    <a:pt x="1209" y="84"/>
                    <a:pt x="1209" y="84"/>
                  </a:cubicBezTo>
                  <a:cubicBezTo>
                    <a:pt x="1209" y="84"/>
                    <a:pt x="1209" y="84"/>
                    <a:pt x="1210" y="84"/>
                  </a:cubicBezTo>
                  <a:cubicBezTo>
                    <a:pt x="1210" y="85"/>
                    <a:pt x="1210" y="85"/>
                    <a:pt x="1210" y="85"/>
                  </a:cubicBezTo>
                  <a:cubicBezTo>
                    <a:pt x="1210" y="85"/>
                    <a:pt x="1210" y="85"/>
                    <a:pt x="1210" y="85"/>
                  </a:cubicBezTo>
                  <a:cubicBezTo>
                    <a:pt x="1210" y="85"/>
                    <a:pt x="1210" y="85"/>
                    <a:pt x="1210" y="85"/>
                  </a:cubicBezTo>
                  <a:cubicBezTo>
                    <a:pt x="1210" y="86"/>
                    <a:pt x="1210" y="86"/>
                    <a:pt x="1210" y="86"/>
                  </a:cubicBezTo>
                  <a:cubicBezTo>
                    <a:pt x="1210" y="86"/>
                    <a:pt x="1210" y="86"/>
                    <a:pt x="1210" y="86"/>
                  </a:cubicBezTo>
                  <a:cubicBezTo>
                    <a:pt x="1210" y="86"/>
                    <a:pt x="1210" y="86"/>
                    <a:pt x="1210" y="86"/>
                  </a:cubicBezTo>
                  <a:cubicBezTo>
                    <a:pt x="1210" y="87"/>
                    <a:pt x="1210" y="87"/>
                    <a:pt x="1211" y="87"/>
                  </a:cubicBezTo>
                  <a:cubicBezTo>
                    <a:pt x="1211" y="87"/>
                    <a:pt x="1211" y="87"/>
                    <a:pt x="1211" y="87"/>
                  </a:cubicBezTo>
                  <a:cubicBezTo>
                    <a:pt x="1211" y="87"/>
                    <a:pt x="1211" y="88"/>
                    <a:pt x="1211" y="88"/>
                  </a:cubicBezTo>
                  <a:cubicBezTo>
                    <a:pt x="1211" y="88"/>
                    <a:pt x="1211" y="88"/>
                    <a:pt x="1211" y="88"/>
                  </a:cubicBezTo>
                  <a:cubicBezTo>
                    <a:pt x="1211" y="88"/>
                    <a:pt x="1211" y="88"/>
                    <a:pt x="1211" y="89"/>
                  </a:cubicBezTo>
                  <a:cubicBezTo>
                    <a:pt x="1211" y="89"/>
                    <a:pt x="1211" y="89"/>
                    <a:pt x="1211" y="89"/>
                  </a:cubicBezTo>
                  <a:cubicBezTo>
                    <a:pt x="1212" y="89"/>
                    <a:pt x="1211" y="89"/>
                    <a:pt x="1212" y="89"/>
                  </a:cubicBezTo>
                  <a:cubicBezTo>
                    <a:pt x="1212" y="89"/>
                    <a:pt x="1212" y="89"/>
                    <a:pt x="1212" y="89"/>
                  </a:cubicBezTo>
                  <a:cubicBezTo>
                    <a:pt x="1212" y="89"/>
                    <a:pt x="1212" y="90"/>
                    <a:pt x="1212" y="90"/>
                  </a:cubicBezTo>
                  <a:cubicBezTo>
                    <a:pt x="1212" y="90"/>
                    <a:pt x="1212" y="90"/>
                    <a:pt x="1212" y="90"/>
                  </a:cubicBezTo>
                  <a:cubicBezTo>
                    <a:pt x="1212" y="90"/>
                    <a:pt x="1212" y="90"/>
                    <a:pt x="1212" y="90"/>
                  </a:cubicBezTo>
                  <a:cubicBezTo>
                    <a:pt x="1212" y="90"/>
                    <a:pt x="1212" y="90"/>
                    <a:pt x="1212" y="90"/>
                  </a:cubicBezTo>
                  <a:cubicBezTo>
                    <a:pt x="1213" y="91"/>
                    <a:pt x="1213" y="91"/>
                    <a:pt x="1213" y="91"/>
                  </a:cubicBezTo>
                  <a:cubicBezTo>
                    <a:pt x="1213" y="91"/>
                    <a:pt x="1213" y="91"/>
                    <a:pt x="1213" y="91"/>
                  </a:cubicBezTo>
                  <a:cubicBezTo>
                    <a:pt x="1213" y="92"/>
                    <a:pt x="1213" y="92"/>
                    <a:pt x="1213" y="92"/>
                  </a:cubicBezTo>
                  <a:cubicBezTo>
                    <a:pt x="1213" y="92"/>
                    <a:pt x="1213" y="92"/>
                    <a:pt x="1213" y="92"/>
                  </a:cubicBezTo>
                  <a:cubicBezTo>
                    <a:pt x="1214" y="92"/>
                    <a:pt x="1214" y="92"/>
                    <a:pt x="1214" y="92"/>
                  </a:cubicBezTo>
                  <a:cubicBezTo>
                    <a:pt x="1214" y="92"/>
                    <a:pt x="1214" y="92"/>
                    <a:pt x="1214" y="92"/>
                  </a:cubicBezTo>
                  <a:cubicBezTo>
                    <a:pt x="1214" y="93"/>
                    <a:pt x="1214" y="93"/>
                    <a:pt x="1214" y="93"/>
                  </a:cubicBezTo>
                  <a:cubicBezTo>
                    <a:pt x="1214" y="93"/>
                    <a:pt x="1214" y="93"/>
                    <a:pt x="1214" y="93"/>
                  </a:cubicBezTo>
                  <a:cubicBezTo>
                    <a:pt x="1214" y="93"/>
                    <a:pt x="1214" y="93"/>
                    <a:pt x="1214" y="93"/>
                  </a:cubicBezTo>
                  <a:cubicBezTo>
                    <a:pt x="1214" y="93"/>
                    <a:pt x="1214" y="93"/>
                    <a:pt x="1214" y="93"/>
                  </a:cubicBezTo>
                  <a:cubicBezTo>
                    <a:pt x="1215" y="93"/>
                    <a:pt x="1215" y="94"/>
                    <a:pt x="1215" y="94"/>
                  </a:cubicBezTo>
                  <a:cubicBezTo>
                    <a:pt x="1215" y="94"/>
                    <a:pt x="1215" y="94"/>
                    <a:pt x="1215" y="94"/>
                  </a:cubicBezTo>
                  <a:cubicBezTo>
                    <a:pt x="1215" y="94"/>
                    <a:pt x="1215" y="94"/>
                    <a:pt x="1216" y="94"/>
                  </a:cubicBezTo>
                  <a:cubicBezTo>
                    <a:pt x="1216" y="94"/>
                    <a:pt x="1216" y="94"/>
                    <a:pt x="1216" y="94"/>
                  </a:cubicBezTo>
                  <a:cubicBezTo>
                    <a:pt x="1216" y="95"/>
                    <a:pt x="1216" y="95"/>
                    <a:pt x="1216" y="95"/>
                  </a:cubicBezTo>
                  <a:cubicBezTo>
                    <a:pt x="1216" y="95"/>
                    <a:pt x="1216" y="95"/>
                    <a:pt x="1216" y="95"/>
                  </a:cubicBezTo>
                  <a:cubicBezTo>
                    <a:pt x="1216" y="95"/>
                    <a:pt x="1216" y="95"/>
                    <a:pt x="1216" y="95"/>
                  </a:cubicBezTo>
                  <a:cubicBezTo>
                    <a:pt x="1216" y="95"/>
                    <a:pt x="1216" y="95"/>
                    <a:pt x="1216" y="95"/>
                  </a:cubicBezTo>
                  <a:cubicBezTo>
                    <a:pt x="1216" y="95"/>
                    <a:pt x="1216" y="95"/>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7"/>
                    <a:pt x="1218" y="97"/>
                  </a:cubicBezTo>
                  <a:cubicBezTo>
                    <a:pt x="1218" y="97"/>
                    <a:pt x="1218" y="97"/>
                    <a:pt x="1218" y="97"/>
                  </a:cubicBezTo>
                  <a:cubicBezTo>
                    <a:pt x="1218" y="97"/>
                    <a:pt x="1218" y="97"/>
                    <a:pt x="1219" y="97"/>
                  </a:cubicBezTo>
                  <a:cubicBezTo>
                    <a:pt x="1219" y="97"/>
                    <a:pt x="1219" y="97"/>
                    <a:pt x="1219" y="97"/>
                  </a:cubicBezTo>
                  <a:cubicBezTo>
                    <a:pt x="1219" y="97"/>
                    <a:pt x="1219" y="98"/>
                    <a:pt x="1219" y="98"/>
                  </a:cubicBezTo>
                  <a:cubicBezTo>
                    <a:pt x="1219" y="98"/>
                    <a:pt x="1219" y="98"/>
                    <a:pt x="1219" y="98"/>
                  </a:cubicBezTo>
                  <a:cubicBezTo>
                    <a:pt x="1219" y="98"/>
                    <a:pt x="1219" y="98"/>
                    <a:pt x="1219" y="98"/>
                  </a:cubicBezTo>
                  <a:cubicBezTo>
                    <a:pt x="1219" y="98"/>
                    <a:pt x="1219" y="98"/>
                    <a:pt x="1219" y="98"/>
                  </a:cubicBezTo>
                  <a:cubicBezTo>
                    <a:pt x="1219" y="98"/>
                    <a:pt x="1220" y="98"/>
                    <a:pt x="1220" y="98"/>
                  </a:cubicBezTo>
                  <a:cubicBezTo>
                    <a:pt x="1220" y="98"/>
                    <a:pt x="1220" y="98"/>
                    <a:pt x="1220" y="98"/>
                  </a:cubicBezTo>
                  <a:cubicBezTo>
                    <a:pt x="1220" y="99"/>
                    <a:pt x="1220" y="99"/>
                    <a:pt x="1220" y="99"/>
                  </a:cubicBezTo>
                  <a:cubicBezTo>
                    <a:pt x="1220" y="99"/>
                    <a:pt x="1220" y="99"/>
                    <a:pt x="1220" y="99"/>
                  </a:cubicBezTo>
                  <a:cubicBezTo>
                    <a:pt x="1221" y="99"/>
                    <a:pt x="1221" y="99"/>
                    <a:pt x="1221" y="99"/>
                  </a:cubicBezTo>
                  <a:cubicBezTo>
                    <a:pt x="1221" y="99"/>
                    <a:pt x="1221" y="99"/>
                    <a:pt x="1221" y="99"/>
                  </a:cubicBezTo>
                  <a:cubicBezTo>
                    <a:pt x="1221" y="99"/>
                    <a:pt x="1222" y="99"/>
                    <a:pt x="1222" y="99"/>
                  </a:cubicBezTo>
                  <a:cubicBezTo>
                    <a:pt x="1222" y="99"/>
                    <a:pt x="1222" y="99"/>
                    <a:pt x="1222" y="99"/>
                  </a:cubicBezTo>
                  <a:cubicBezTo>
                    <a:pt x="1222" y="100"/>
                    <a:pt x="1222" y="100"/>
                    <a:pt x="1222" y="100"/>
                  </a:cubicBezTo>
                  <a:cubicBezTo>
                    <a:pt x="1222" y="100"/>
                    <a:pt x="1222" y="100"/>
                    <a:pt x="1222" y="100"/>
                  </a:cubicBezTo>
                  <a:cubicBezTo>
                    <a:pt x="1222" y="100"/>
                    <a:pt x="1222" y="100"/>
                    <a:pt x="1222" y="100"/>
                  </a:cubicBezTo>
                  <a:cubicBezTo>
                    <a:pt x="1223" y="100"/>
                    <a:pt x="1223" y="100"/>
                    <a:pt x="1223" y="100"/>
                  </a:cubicBezTo>
                  <a:cubicBezTo>
                    <a:pt x="1223" y="100"/>
                    <a:pt x="1223" y="100"/>
                    <a:pt x="1223" y="100"/>
                  </a:cubicBezTo>
                  <a:cubicBezTo>
                    <a:pt x="1223" y="100"/>
                    <a:pt x="1223" y="100"/>
                    <a:pt x="1224" y="100"/>
                  </a:cubicBezTo>
                  <a:cubicBezTo>
                    <a:pt x="1224" y="100"/>
                    <a:pt x="1224" y="100"/>
                    <a:pt x="1224" y="100"/>
                  </a:cubicBezTo>
                  <a:cubicBezTo>
                    <a:pt x="1224" y="101"/>
                    <a:pt x="1224" y="101"/>
                    <a:pt x="1224" y="101"/>
                  </a:cubicBezTo>
                  <a:cubicBezTo>
                    <a:pt x="1224" y="101"/>
                    <a:pt x="1224" y="101"/>
                    <a:pt x="1225" y="101"/>
                  </a:cubicBezTo>
                  <a:cubicBezTo>
                    <a:pt x="1225" y="101"/>
                    <a:pt x="1225" y="101"/>
                    <a:pt x="1225" y="101"/>
                  </a:cubicBezTo>
                  <a:cubicBezTo>
                    <a:pt x="1225" y="101"/>
                    <a:pt x="1225" y="101"/>
                    <a:pt x="1225" y="101"/>
                  </a:cubicBezTo>
                  <a:cubicBezTo>
                    <a:pt x="1225" y="101"/>
                    <a:pt x="1225" y="101"/>
                    <a:pt x="1225" y="101"/>
                  </a:cubicBezTo>
                  <a:cubicBezTo>
                    <a:pt x="1226" y="102"/>
                    <a:pt x="1226" y="101"/>
                    <a:pt x="1226" y="101"/>
                  </a:cubicBezTo>
                  <a:cubicBezTo>
                    <a:pt x="1226" y="101"/>
                    <a:pt x="1226" y="101"/>
                    <a:pt x="1226" y="101"/>
                  </a:cubicBezTo>
                  <a:cubicBezTo>
                    <a:pt x="1227" y="102"/>
                    <a:pt x="1227" y="102"/>
                    <a:pt x="1227" y="102"/>
                  </a:cubicBezTo>
                  <a:cubicBezTo>
                    <a:pt x="1227" y="102"/>
                    <a:pt x="1227" y="102"/>
                    <a:pt x="1227" y="102"/>
                  </a:cubicBezTo>
                  <a:cubicBezTo>
                    <a:pt x="1228" y="102"/>
                    <a:pt x="1228" y="102"/>
                    <a:pt x="1229" y="102"/>
                  </a:cubicBezTo>
                  <a:cubicBezTo>
                    <a:pt x="1229" y="102"/>
                    <a:pt x="1229" y="102"/>
                    <a:pt x="1229" y="102"/>
                  </a:cubicBezTo>
                  <a:cubicBezTo>
                    <a:pt x="1229" y="102"/>
                    <a:pt x="1229" y="102"/>
                    <a:pt x="1229" y="102"/>
                  </a:cubicBezTo>
                  <a:cubicBezTo>
                    <a:pt x="1229" y="103"/>
                    <a:pt x="1230" y="102"/>
                    <a:pt x="1230" y="103"/>
                  </a:cubicBezTo>
                  <a:cubicBezTo>
                    <a:pt x="1230" y="102"/>
                    <a:pt x="1230" y="102"/>
                    <a:pt x="1230" y="102"/>
                  </a:cubicBezTo>
                  <a:cubicBezTo>
                    <a:pt x="1230" y="103"/>
                    <a:pt x="1230" y="103"/>
                    <a:pt x="1230" y="103"/>
                  </a:cubicBezTo>
                  <a:cubicBezTo>
                    <a:pt x="1231" y="103"/>
                    <a:pt x="1232" y="103"/>
                    <a:pt x="1232" y="103"/>
                  </a:cubicBezTo>
                  <a:cubicBezTo>
                    <a:pt x="1232" y="103"/>
                    <a:pt x="1232" y="103"/>
                    <a:pt x="1233" y="103"/>
                  </a:cubicBezTo>
                  <a:cubicBezTo>
                    <a:pt x="1234" y="103"/>
                    <a:pt x="1235" y="103"/>
                    <a:pt x="1236" y="103"/>
                  </a:cubicBezTo>
                  <a:cubicBezTo>
                    <a:pt x="1237" y="103"/>
                    <a:pt x="1238" y="103"/>
                    <a:pt x="1239" y="103"/>
                  </a:cubicBezTo>
                  <a:cubicBezTo>
                    <a:pt x="1241" y="103"/>
                    <a:pt x="1242" y="103"/>
                    <a:pt x="1244" y="103"/>
                  </a:cubicBezTo>
                  <a:cubicBezTo>
                    <a:pt x="1244" y="103"/>
                    <a:pt x="1244" y="103"/>
                    <a:pt x="1244" y="103"/>
                  </a:cubicBezTo>
                  <a:cubicBezTo>
                    <a:pt x="1245" y="103"/>
                    <a:pt x="1246" y="103"/>
                    <a:pt x="1246" y="103"/>
                  </a:cubicBezTo>
                  <a:cubicBezTo>
                    <a:pt x="1246" y="103"/>
                    <a:pt x="1247" y="103"/>
                    <a:pt x="1247" y="103"/>
                  </a:cubicBezTo>
                  <a:cubicBezTo>
                    <a:pt x="1247" y="102"/>
                    <a:pt x="1248" y="103"/>
                    <a:pt x="1248" y="102"/>
                  </a:cubicBezTo>
                  <a:cubicBezTo>
                    <a:pt x="1248" y="102"/>
                    <a:pt x="1248" y="102"/>
                    <a:pt x="1248" y="102"/>
                  </a:cubicBezTo>
                  <a:cubicBezTo>
                    <a:pt x="1248" y="102"/>
                    <a:pt x="1248" y="102"/>
                    <a:pt x="1248" y="102"/>
                  </a:cubicBezTo>
                  <a:cubicBezTo>
                    <a:pt x="1249" y="102"/>
                    <a:pt x="1249" y="102"/>
                    <a:pt x="1250" y="102"/>
                  </a:cubicBezTo>
                  <a:cubicBezTo>
                    <a:pt x="1250" y="102"/>
                    <a:pt x="1250" y="102"/>
                    <a:pt x="1250" y="102"/>
                  </a:cubicBezTo>
                  <a:cubicBezTo>
                    <a:pt x="1250" y="102"/>
                    <a:pt x="1250" y="102"/>
                    <a:pt x="1250" y="102"/>
                  </a:cubicBezTo>
                  <a:cubicBezTo>
                    <a:pt x="1250" y="102"/>
                    <a:pt x="1251" y="102"/>
                    <a:pt x="1251" y="102"/>
                  </a:cubicBezTo>
                  <a:cubicBezTo>
                    <a:pt x="1251" y="101"/>
                    <a:pt x="1251" y="101"/>
                    <a:pt x="1251" y="101"/>
                  </a:cubicBezTo>
                  <a:cubicBezTo>
                    <a:pt x="1251" y="101"/>
                    <a:pt x="1251" y="101"/>
                    <a:pt x="1251" y="101"/>
                  </a:cubicBezTo>
                  <a:cubicBezTo>
                    <a:pt x="1252" y="101"/>
                    <a:pt x="1252" y="101"/>
                    <a:pt x="1252" y="101"/>
                  </a:cubicBezTo>
                  <a:cubicBezTo>
                    <a:pt x="1252" y="101"/>
                    <a:pt x="1252" y="101"/>
                    <a:pt x="1252" y="101"/>
                  </a:cubicBezTo>
                  <a:cubicBezTo>
                    <a:pt x="1252" y="101"/>
                    <a:pt x="1252" y="101"/>
                    <a:pt x="1252" y="101"/>
                  </a:cubicBezTo>
                  <a:cubicBezTo>
                    <a:pt x="1253" y="101"/>
                    <a:pt x="1253" y="101"/>
                    <a:pt x="1253" y="101"/>
                  </a:cubicBezTo>
                  <a:cubicBezTo>
                    <a:pt x="1253" y="101"/>
                    <a:pt x="1253" y="101"/>
                    <a:pt x="1253" y="101"/>
                  </a:cubicBezTo>
                  <a:cubicBezTo>
                    <a:pt x="1253" y="101"/>
                    <a:pt x="1253" y="101"/>
                    <a:pt x="1253" y="101"/>
                  </a:cubicBezTo>
                  <a:cubicBezTo>
                    <a:pt x="1254" y="101"/>
                    <a:pt x="1254" y="101"/>
                    <a:pt x="1254" y="100"/>
                  </a:cubicBezTo>
                  <a:cubicBezTo>
                    <a:pt x="1254" y="100"/>
                    <a:pt x="1254" y="100"/>
                    <a:pt x="1254" y="100"/>
                  </a:cubicBezTo>
                  <a:cubicBezTo>
                    <a:pt x="1254" y="100"/>
                    <a:pt x="1255" y="100"/>
                    <a:pt x="1255" y="100"/>
                  </a:cubicBezTo>
                  <a:cubicBezTo>
                    <a:pt x="1255" y="100"/>
                    <a:pt x="1255" y="100"/>
                    <a:pt x="1255" y="100"/>
                  </a:cubicBezTo>
                  <a:cubicBezTo>
                    <a:pt x="1255" y="100"/>
                    <a:pt x="1256" y="100"/>
                    <a:pt x="1256" y="100"/>
                  </a:cubicBezTo>
                  <a:cubicBezTo>
                    <a:pt x="1256" y="100"/>
                    <a:pt x="1256" y="100"/>
                    <a:pt x="1256" y="100"/>
                  </a:cubicBezTo>
                  <a:cubicBezTo>
                    <a:pt x="1256" y="100"/>
                    <a:pt x="1256" y="100"/>
                    <a:pt x="1257" y="99"/>
                  </a:cubicBezTo>
                  <a:cubicBezTo>
                    <a:pt x="1257" y="99"/>
                    <a:pt x="1257" y="99"/>
                    <a:pt x="1257" y="99"/>
                  </a:cubicBezTo>
                  <a:cubicBezTo>
                    <a:pt x="1257" y="99"/>
                    <a:pt x="1257" y="99"/>
                    <a:pt x="1257" y="99"/>
                  </a:cubicBezTo>
                  <a:cubicBezTo>
                    <a:pt x="1257" y="99"/>
                    <a:pt x="1257" y="99"/>
                    <a:pt x="1257" y="99"/>
                  </a:cubicBezTo>
                  <a:cubicBezTo>
                    <a:pt x="1257" y="99"/>
                    <a:pt x="1258" y="99"/>
                    <a:pt x="1258" y="99"/>
                  </a:cubicBezTo>
                  <a:cubicBezTo>
                    <a:pt x="1258" y="99"/>
                    <a:pt x="1258" y="99"/>
                    <a:pt x="1258" y="99"/>
                  </a:cubicBezTo>
                  <a:cubicBezTo>
                    <a:pt x="1258" y="99"/>
                    <a:pt x="1259" y="99"/>
                    <a:pt x="1259" y="98"/>
                  </a:cubicBezTo>
                  <a:cubicBezTo>
                    <a:pt x="1259" y="98"/>
                    <a:pt x="1259" y="98"/>
                    <a:pt x="1259" y="98"/>
                  </a:cubicBezTo>
                  <a:cubicBezTo>
                    <a:pt x="1259" y="98"/>
                    <a:pt x="1259" y="98"/>
                    <a:pt x="1259" y="98"/>
                  </a:cubicBezTo>
                  <a:cubicBezTo>
                    <a:pt x="1259" y="98"/>
                    <a:pt x="1259" y="98"/>
                    <a:pt x="1259" y="98"/>
                  </a:cubicBezTo>
                  <a:cubicBezTo>
                    <a:pt x="1259" y="98"/>
                    <a:pt x="1260" y="98"/>
                    <a:pt x="1260" y="98"/>
                  </a:cubicBezTo>
                  <a:cubicBezTo>
                    <a:pt x="1260" y="98"/>
                    <a:pt x="1260" y="98"/>
                    <a:pt x="1260" y="98"/>
                  </a:cubicBezTo>
                  <a:cubicBezTo>
                    <a:pt x="1260" y="98"/>
                    <a:pt x="1260" y="97"/>
                    <a:pt x="1260" y="97"/>
                  </a:cubicBezTo>
                  <a:cubicBezTo>
                    <a:pt x="1260" y="97"/>
                    <a:pt x="1260" y="97"/>
                    <a:pt x="1260" y="97"/>
                  </a:cubicBezTo>
                  <a:cubicBezTo>
                    <a:pt x="1260" y="97"/>
                    <a:pt x="1261" y="97"/>
                    <a:pt x="1261" y="97"/>
                  </a:cubicBezTo>
                  <a:cubicBezTo>
                    <a:pt x="1261" y="97"/>
                    <a:pt x="1261" y="97"/>
                    <a:pt x="1261" y="97"/>
                  </a:cubicBezTo>
                  <a:cubicBezTo>
                    <a:pt x="1261" y="94"/>
                    <a:pt x="1261" y="91"/>
                    <a:pt x="1261" y="87"/>
                  </a:cubicBezTo>
                  <a:cubicBezTo>
                    <a:pt x="1261" y="86"/>
                    <a:pt x="1260" y="87"/>
                    <a:pt x="1260" y="87"/>
                  </a:cubicBezTo>
                  <a:cubicBezTo>
                    <a:pt x="1260" y="87"/>
                    <a:pt x="1260" y="87"/>
                    <a:pt x="1260" y="87"/>
                  </a:cubicBezTo>
                  <a:cubicBezTo>
                    <a:pt x="1260" y="87"/>
                    <a:pt x="1260" y="87"/>
                    <a:pt x="1259" y="88"/>
                  </a:cubicBezTo>
                  <a:cubicBezTo>
                    <a:pt x="1259" y="88"/>
                    <a:pt x="1259" y="88"/>
                    <a:pt x="1259" y="88"/>
                  </a:cubicBezTo>
                  <a:cubicBezTo>
                    <a:pt x="1259" y="88"/>
                    <a:pt x="1259" y="88"/>
                    <a:pt x="1259" y="88"/>
                  </a:cubicBezTo>
                  <a:cubicBezTo>
                    <a:pt x="1259" y="88"/>
                    <a:pt x="1259" y="88"/>
                    <a:pt x="1259" y="88"/>
                  </a:cubicBezTo>
                  <a:cubicBezTo>
                    <a:pt x="1259" y="88"/>
                    <a:pt x="1258" y="88"/>
                    <a:pt x="1258" y="88"/>
                  </a:cubicBezTo>
                  <a:cubicBezTo>
                    <a:pt x="1258" y="88"/>
                    <a:pt x="1258" y="88"/>
                    <a:pt x="1258" y="88"/>
                  </a:cubicBezTo>
                  <a:cubicBezTo>
                    <a:pt x="1258" y="88"/>
                    <a:pt x="1258" y="88"/>
                    <a:pt x="1258" y="89"/>
                  </a:cubicBezTo>
                  <a:cubicBezTo>
                    <a:pt x="1258" y="89"/>
                    <a:pt x="1258" y="89"/>
                    <a:pt x="1258" y="89"/>
                  </a:cubicBezTo>
                  <a:cubicBezTo>
                    <a:pt x="1258" y="89"/>
                    <a:pt x="1257" y="89"/>
                    <a:pt x="1257" y="89"/>
                  </a:cubicBezTo>
                  <a:cubicBezTo>
                    <a:pt x="1257" y="89"/>
                    <a:pt x="1257" y="89"/>
                    <a:pt x="1257" y="89"/>
                  </a:cubicBezTo>
                  <a:cubicBezTo>
                    <a:pt x="1257" y="89"/>
                    <a:pt x="1257" y="89"/>
                    <a:pt x="1257" y="89"/>
                  </a:cubicBezTo>
                  <a:cubicBezTo>
                    <a:pt x="1257" y="89"/>
                    <a:pt x="1257" y="89"/>
                    <a:pt x="1257" y="89"/>
                  </a:cubicBezTo>
                  <a:cubicBezTo>
                    <a:pt x="1256" y="90"/>
                    <a:pt x="1256" y="89"/>
                    <a:pt x="1256" y="90"/>
                  </a:cubicBezTo>
                  <a:cubicBezTo>
                    <a:pt x="1256" y="90"/>
                    <a:pt x="1256" y="90"/>
                    <a:pt x="1256" y="90"/>
                  </a:cubicBezTo>
                  <a:cubicBezTo>
                    <a:pt x="1256" y="90"/>
                    <a:pt x="1255" y="90"/>
                    <a:pt x="1255" y="90"/>
                  </a:cubicBezTo>
                  <a:cubicBezTo>
                    <a:pt x="1255" y="90"/>
                    <a:pt x="1255" y="90"/>
                    <a:pt x="1255" y="90"/>
                  </a:cubicBezTo>
                  <a:cubicBezTo>
                    <a:pt x="1255" y="90"/>
                    <a:pt x="1255" y="90"/>
                    <a:pt x="1255" y="90"/>
                  </a:cubicBezTo>
                  <a:cubicBezTo>
                    <a:pt x="1255" y="90"/>
                    <a:pt x="1255" y="90"/>
                    <a:pt x="1255" y="90"/>
                  </a:cubicBezTo>
                  <a:cubicBezTo>
                    <a:pt x="1255" y="90"/>
                    <a:pt x="1255" y="90"/>
                    <a:pt x="1255" y="90"/>
                  </a:cubicBezTo>
                  <a:cubicBezTo>
                    <a:pt x="1254" y="91"/>
                    <a:pt x="1254" y="90"/>
                    <a:pt x="1254" y="91"/>
                  </a:cubicBezTo>
                  <a:cubicBezTo>
                    <a:pt x="1254" y="91"/>
                    <a:pt x="1254" y="91"/>
                    <a:pt x="1254" y="91"/>
                  </a:cubicBezTo>
                  <a:cubicBezTo>
                    <a:pt x="1254" y="91"/>
                    <a:pt x="1253" y="91"/>
                    <a:pt x="1253" y="91"/>
                  </a:cubicBezTo>
                  <a:cubicBezTo>
                    <a:pt x="1253" y="91"/>
                    <a:pt x="1253" y="91"/>
                    <a:pt x="1253" y="91"/>
                  </a:cubicBezTo>
                  <a:cubicBezTo>
                    <a:pt x="1253" y="91"/>
                    <a:pt x="1253" y="91"/>
                    <a:pt x="1252" y="91"/>
                  </a:cubicBezTo>
                  <a:cubicBezTo>
                    <a:pt x="1252" y="91"/>
                    <a:pt x="1252" y="91"/>
                    <a:pt x="1252" y="91"/>
                  </a:cubicBezTo>
                  <a:cubicBezTo>
                    <a:pt x="1252" y="92"/>
                    <a:pt x="1252" y="91"/>
                    <a:pt x="1251" y="92"/>
                  </a:cubicBezTo>
                  <a:cubicBezTo>
                    <a:pt x="1251" y="92"/>
                    <a:pt x="1251" y="92"/>
                    <a:pt x="1251" y="92"/>
                  </a:cubicBezTo>
                  <a:cubicBezTo>
                    <a:pt x="1251" y="92"/>
                    <a:pt x="1251" y="92"/>
                    <a:pt x="1251" y="92"/>
                  </a:cubicBezTo>
                  <a:cubicBezTo>
                    <a:pt x="1251" y="92"/>
                    <a:pt x="1251" y="92"/>
                    <a:pt x="1250" y="92"/>
                  </a:cubicBezTo>
                  <a:cubicBezTo>
                    <a:pt x="1250" y="92"/>
                    <a:pt x="1250" y="92"/>
                    <a:pt x="1250" y="92"/>
                  </a:cubicBezTo>
                  <a:cubicBezTo>
                    <a:pt x="1250" y="93"/>
                    <a:pt x="1249" y="93"/>
                    <a:pt x="1249" y="92"/>
                  </a:cubicBezTo>
                  <a:cubicBezTo>
                    <a:pt x="1249" y="93"/>
                    <a:pt x="1249" y="93"/>
                    <a:pt x="1248" y="93"/>
                  </a:cubicBezTo>
                  <a:cubicBezTo>
                    <a:pt x="1248" y="93"/>
                    <a:pt x="1248" y="93"/>
                    <a:pt x="1248" y="93"/>
                  </a:cubicBezTo>
                  <a:cubicBezTo>
                    <a:pt x="1248" y="93"/>
                    <a:pt x="1247" y="93"/>
                    <a:pt x="1247" y="93"/>
                  </a:cubicBezTo>
                  <a:cubicBezTo>
                    <a:pt x="1247" y="93"/>
                    <a:pt x="1247" y="93"/>
                    <a:pt x="1246" y="93"/>
                  </a:cubicBezTo>
                  <a:cubicBezTo>
                    <a:pt x="1246" y="93"/>
                    <a:pt x="1245" y="93"/>
                    <a:pt x="1245" y="93"/>
                  </a:cubicBezTo>
                  <a:cubicBezTo>
                    <a:pt x="1245" y="94"/>
                    <a:pt x="1244" y="94"/>
                    <a:pt x="1244" y="94"/>
                  </a:cubicBezTo>
                  <a:cubicBezTo>
                    <a:pt x="1242" y="94"/>
                    <a:pt x="1239" y="94"/>
                    <a:pt x="1236" y="94"/>
                  </a:cubicBezTo>
                  <a:cubicBezTo>
                    <a:pt x="1236" y="94"/>
                    <a:pt x="1236" y="94"/>
                    <a:pt x="1236" y="93"/>
                  </a:cubicBezTo>
                  <a:cubicBezTo>
                    <a:pt x="1235" y="93"/>
                    <a:pt x="1235" y="93"/>
                    <a:pt x="1234" y="93"/>
                  </a:cubicBezTo>
                  <a:cubicBezTo>
                    <a:pt x="1234" y="93"/>
                    <a:pt x="1234" y="93"/>
                    <a:pt x="1234" y="93"/>
                  </a:cubicBezTo>
                  <a:cubicBezTo>
                    <a:pt x="1234" y="93"/>
                    <a:pt x="1233" y="93"/>
                    <a:pt x="1233" y="93"/>
                  </a:cubicBezTo>
                  <a:cubicBezTo>
                    <a:pt x="1233" y="93"/>
                    <a:pt x="1233" y="93"/>
                    <a:pt x="1233" y="93"/>
                  </a:cubicBezTo>
                  <a:cubicBezTo>
                    <a:pt x="1232" y="93"/>
                    <a:pt x="1232" y="93"/>
                    <a:pt x="1232" y="93"/>
                  </a:cubicBezTo>
                  <a:cubicBezTo>
                    <a:pt x="1232" y="93"/>
                    <a:pt x="1232" y="93"/>
                    <a:pt x="1232" y="93"/>
                  </a:cubicBezTo>
                  <a:cubicBezTo>
                    <a:pt x="1232" y="92"/>
                    <a:pt x="1232" y="92"/>
                    <a:pt x="1232" y="92"/>
                  </a:cubicBezTo>
                  <a:cubicBezTo>
                    <a:pt x="1231" y="92"/>
                    <a:pt x="1231" y="92"/>
                    <a:pt x="1231" y="92"/>
                  </a:cubicBezTo>
                  <a:close/>
                  <a:moveTo>
                    <a:pt x="589" y="84"/>
                  </a:moveTo>
                  <a:cubicBezTo>
                    <a:pt x="589" y="84"/>
                    <a:pt x="589" y="84"/>
                    <a:pt x="589" y="84"/>
                  </a:cubicBezTo>
                  <a:cubicBezTo>
                    <a:pt x="589" y="84"/>
                    <a:pt x="589" y="83"/>
                    <a:pt x="589" y="83"/>
                  </a:cubicBezTo>
                  <a:cubicBezTo>
                    <a:pt x="589" y="83"/>
                    <a:pt x="589" y="83"/>
                    <a:pt x="589" y="82"/>
                  </a:cubicBezTo>
                  <a:cubicBezTo>
                    <a:pt x="589" y="82"/>
                    <a:pt x="589" y="81"/>
                    <a:pt x="589" y="80"/>
                  </a:cubicBezTo>
                  <a:cubicBezTo>
                    <a:pt x="589" y="79"/>
                    <a:pt x="589" y="77"/>
                    <a:pt x="589" y="76"/>
                  </a:cubicBezTo>
                  <a:cubicBezTo>
                    <a:pt x="589" y="75"/>
                    <a:pt x="589" y="74"/>
                    <a:pt x="589" y="73"/>
                  </a:cubicBezTo>
                  <a:cubicBezTo>
                    <a:pt x="589" y="73"/>
                    <a:pt x="589" y="73"/>
                    <a:pt x="589" y="73"/>
                  </a:cubicBezTo>
                  <a:cubicBezTo>
                    <a:pt x="589" y="73"/>
                    <a:pt x="589" y="73"/>
                    <a:pt x="589" y="73"/>
                  </a:cubicBezTo>
                  <a:cubicBezTo>
                    <a:pt x="589" y="73"/>
                    <a:pt x="589" y="72"/>
                    <a:pt x="589" y="72"/>
                  </a:cubicBezTo>
                  <a:cubicBezTo>
                    <a:pt x="589" y="72"/>
                    <a:pt x="588" y="72"/>
                    <a:pt x="589" y="72"/>
                  </a:cubicBezTo>
                  <a:cubicBezTo>
                    <a:pt x="588" y="71"/>
                    <a:pt x="589" y="71"/>
                    <a:pt x="588" y="71"/>
                  </a:cubicBezTo>
                  <a:cubicBezTo>
                    <a:pt x="588" y="71"/>
                    <a:pt x="588" y="71"/>
                    <a:pt x="588" y="71"/>
                  </a:cubicBezTo>
                  <a:cubicBezTo>
                    <a:pt x="588" y="70"/>
                    <a:pt x="588" y="70"/>
                    <a:pt x="588" y="70"/>
                  </a:cubicBezTo>
                  <a:cubicBezTo>
                    <a:pt x="588" y="70"/>
                    <a:pt x="588" y="70"/>
                    <a:pt x="588" y="70"/>
                  </a:cubicBezTo>
                  <a:cubicBezTo>
                    <a:pt x="588" y="69"/>
                    <a:pt x="588" y="69"/>
                    <a:pt x="588" y="69"/>
                  </a:cubicBezTo>
                  <a:cubicBezTo>
                    <a:pt x="588" y="69"/>
                    <a:pt x="588" y="69"/>
                    <a:pt x="588" y="69"/>
                  </a:cubicBezTo>
                  <a:cubicBezTo>
                    <a:pt x="587" y="69"/>
                    <a:pt x="587" y="68"/>
                    <a:pt x="587" y="68"/>
                  </a:cubicBezTo>
                  <a:cubicBezTo>
                    <a:pt x="587" y="68"/>
                    <a:pt x="587" y="68"/>
                    <a:pt x="587" y="68"/>
                  </a:cubicBezTo>
                  <a:cubicBezTo>
                    <a:pt x="587" y="68"/>
                    <a:pt x="587" y="68"/>
                    <a:pt x="587" y="68"/>
                  </a:cubicBezTo>
                  <a:cubicBezTo>
                    <a:pt x="587" y="68"/>
                    <a:pt x="587" y="68"/>
                    <a:pt x="587" y="67"/>
                  </a:cubicBezTo>
                  <a:cubicBezTo>
                    <a:pt x="587" y="67"/>
                    <a:pt x="587" y="67"/>
                    <a:pt x="587" y="67"/>
                  </a:cubicBezTo>
                  <a:cubicBezTo>
                    <a:pt x="587" y="67"/>
                    <a:pt x="587" y="67"/>
                    <a:pt x="587" y="67"/>
                  </a:cubicBezTo>
                  <a:cubicBezTo>
                    <a:pt x="587" y="67"/>
                    <a:pt x="587" y="67"/>
                    <a:pt x="587" y="67"/>
                  </a:cubicBezTo>
                  <a:cubicBezTo>
                    <a:pt x="587" y="67"/>
                    <a:pt x="587" y="67"/>
                    <a:pt x="587" y="67"/>
                  </a:cubicBezTo>
                  <a:cubicBezTo>
                    <a:pt x="586" y="67"/>
                    <a:pt x="586" y="66"/>
                    <a:pt x="586" y="66"/>
                  </a:cubicBezTo>
                  <a:cubicBezTo>
                    <a:pt x="586" y="66"/>
                    <a:pt x="586" y="66"/>
                    <a:pt x="586" y="66"/>
                  </a:cubicBezTo>
                  <a:cubicBezTo>
                    <a:pt x="586" y="66"/>
                    <a:pt x="586" y="65"/>
                    <a:pt x="586" y="65"/>
                  </a:cubicBezTo>
                  <a:cubicBezTo>
                    <a:pt x="586" y="65"/>
                    <a:pt x="586" y="65"/>
                    <a:pt x="586" y="65"/>
                  </a:cubicBezTo>
                  <a:cubicBezTo>
                    <a:pt x="586" y="65"/>
                    <a:pt x="586" y="65"/>
                    <a:pt x="585" y="65"/>
                  </a:cubicBezTo>
                  <a:cubicBezTo>
                    <a:pt x="585" y="65"/>
                    <a:pt x="585" y="65"/>
                    <a:pt x="585" y="65"/>
                  </a:cubicBezTo>
                  <a:cubicBezTo>
                    <a:pt x="585" y="65"/>
                    <a:pt x="585" y="64"/>
                    <a:pt x="585" y="64"/>
                  </a:cubicBezTo>
                  <a:cubicBezTo>
                    <a:pt x="585" y="64"/>
                    <a:pt x="585" y="64"/>
                    <a:pt x="585" y="64"/>
                  </a:cubicBezTo>
                  <a:cubicBezTo>
                    <a:pt x="585" y="64"/>
                    <a:pt x="585" y="64"/>
                    <a:pt x="584" y="64"/>
                  </a:cubicBezTo>
                  <a:cubicBezTo>
                    <a:pt x="584" y="64"/>
                    <a:pt x="584" y="64"/>
                    <a:pt x="584" y="64"/>
                  </a:cubicBezTo>
                  <a:cubicBezTo>
                    <a:pt x="584" y="63"/>
                    <a:pt x="584" y="63"/>
                    <a:pt x="584" y="63"/>
                  </a:cubicBezTo>
                  <a:cubicBezTo>
                    <a:pt x="584" y="63"/>
                    <a:pt x="584" y="63"/>
                    <a:pt x="584" y="63"/>
                  </a:cubicBezTo>
                  <a:cubicBezTo>
                    <a:pt x="584" y="63"/>
                    <a:pt x="584"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0"/>
                    <a:pt x="581" y="60"/>
                    <a:pt x="581" y="60"/>
                  </a:cubicBezTo>
                  <a:cubicBezTo>
                    <a:pt x="581" y="60"/>
                    <a:pt x="581" y="60"/>
                    <a:pt x="581" y="60"/>
                  </a:cubicBezTo>
                  <a:cubicBezTo>
                    <a:pt x="581" y="60"/>
                    <a:pt x="581" y="60"/>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79" y="59"/>
                    <a:pt x="579" y="58"/>
                    <a:pt x="579" y="58"/>
                  </a:cubicBezTo>
                  <a:cubicBezTo>
                    <a:pt x="579" y="58"/>
                    <a:pt x="579" y="58"/>
                    <a:pt x="579" y="58"/>
                  </a:cubicBezTo>
                  <a:cubicBezTo>
                    <a:pt x="579" y="58"/>
                    <a:pt x="578" y="58"/>
                    <a:pt x="578" y="58"/>
                  </a:cubicBezTo>
                  <a:cubicBezTo>
                    <a:pt x="578" y="58"/>
                    <a:pt x="578" y="58"/>
                    <a:pt x="578" y="58"/>
                  </a:cubicBezTo>
                  <a:cubicBezTo>
                    <a:pt x="578" y="58"/>
                    <a:pt x="578" y="57"/>
                    <a:pt x="578" y="57"/>
                  </a:cubicBezTo>
                  <a:cubicBezTo>
                    <a:pt x="578" y="57"/>
                    <a:pt x="578" y="57"/>
                    <a:pt x="578" y="57"/>
                  </a:cubicBezTo>
                  <a:cubicBezTo>
                    <a:pt x="578" y="57"/>
                    <a:pt x="578" y="57"/>
                    <a:pt x="577" y="57"/>
                  </a:cubicBezTo>
                  <a:cubicBezTo>
                    <a:pt x="577" y="57"/>
                    <a:pt x="577" y="57"/>
                    <a:pt x="577" y="57"/>
                  </a:cubicBezTo>
                  <a:cubicBezTo>
                    <a:pt x="577" y="57"/>
                    <a:pt x="577" y="57"/>
                    <a:pt x="577" y="57"/>
                  </a:cubicBezTo>
                  <a:cubicBezTo>
                    <a:pt x="577" y="57"/>
                    <a:pt x="577" y="57"/>
                    <a:pt x="577" y="57"/>
                  </a:cubicBezTo>
                  <a:cubicBezTo>
                    <a:pt x="577" y="56"/>
                    <a:pt x="577" y="56"/>
                    <a:pt x="576" y="56"/>
                  </a:cubicBezTo>
                  <a:cubicBezTo>
                    <a:pt x="576" y="56"/>
                    <a:pt x="576" y="56"/>
                    <a:pt x="576" y="56"/>
                  </a:cubicBezTo>
                  <a:cubicBezTo>
                    <a:pt x="576" y="56"/>
                    <a:pt x="576" y="56"/>
                    <a:pt x="575" y="56"/>
                  </a:cubicBezTo>
                  <a:cubicBezTo>
                    <a:pt x="575" y="56"/>
                    <a:pt x="575" y="56"/>
                    <a:pt x="575" y="56"/>
                  </a:cubicBezTo>
                  <a:cubicBezTo>
                    <a:pt x="575" y="55"/>
                    <a:pt x="575" y="55"/>
                    <a:pt x="575" y="55"/>
                  </a:cubicBezTo>
                  <a:cubicBezTo>
                    <a:pt x="575" y="55"/>
                    <a:pt x="575" y="55"/>
                    <a:pt x="575" y="55"/>
                  </a:cubicBezTo>
                  <a:cubicBezTo>
                    <a:pt x="575" y="55"/>
                    <a:pt x="574" y="55"/>
                    <a:pt x="574" y="55"/>
                  </a:cubicBezTo>
                  <a:cubicBezTo>
                    <a:pt x="574" y="55"/>
                    <a:pt x="574" y="55"/>
                    <a:pt x="574" y="55"/>
                  </a:cubicBezTo>
                  <a:cubicBezTo>
                    <a:pt x="574" y="55"/>
                    <a:pt x="574" y="55"/>
                    <a:pt x="574" y="55"/>
                  </a:cubicBezTo>
                  <a:cubicBezTo>
                    <a:pt x="574" y="55"/>
                    <a:pt x="574" y="55"/>
                    <a:pt x="574" y="55"/>
                  </a:cubicBezTo>
                  <a:cubicBezTo>
                    <a:pt x="574" y="54"/>
                    <a:pt x="573" y="54"/>
                    <a:pt x="573" y="54"/>
                  </a:cubicBezTo>
                  <a:cubicBezTo>
                    <a:pt x="573" y="54"/>
                    <a:pt x="573" y="54"/>
                    <a:pt x="573" y="54"/>
                  </a:cubicBezTo>
                  <a:cubicBezTo>
                    <a:pt x="573" y="54"/>
                    <a:pt x="573" y="54"/>
                    <a:pt x="573" y="54"/>
                  </a:cubicBezTo>
                  <a:cubicBezTo>
                    <a:pt x="573" y="54"/>
                    <a:pt x="573" y="54"/>
                    <a:pt x="573" y="54"/>
                  </a:cubicBezTo>
                  <a:cubicBezTo>
                    <a:pt x="573" y="54"/>
                    <a:pt x="572" y="54"/>
                    <a:pt x="572" y="53"/>
                  </a:cubicBezTo>
                  <a:cubicBezTo>
                    <a:pt x="572" y="54"/>
                    <a:pt x="572" y="54"/>
                    <a:pt x="572" y="54"/>
                  </a:cubicBezTo>
                  <a:cubicBezTo>
                    <a:pt x="572" y="53"/>
                    <a:pt x="572" y="53"/>
                    <a:pt x="572" y="53"/>
                  </a:cubicBezTo>
                  <a:cubicBezTo>
                    <a:pt x="572" y="53"/>
                    <a:pt x="572" y="53"/>
                    <a:pt x="572" y="53"/>
                  </a:cubicBezTo>
                  <a:cubicBezTo>
                    <a:pt x="571" y="53"/>
                    <a:pt x="571" y="53"/>
                    <a:pt x="571" y="53"/>
                  </a:cubicBezTo>
                  <a:cubicBezTo>
                    <a:pt x="571" y="53"/>
                    <a:pt x="571" y="53"/>
                    <a:pt x="571" y="53"/>
                  </a:cubicBezTo>
                  <a:cubicBezTo>
                    <a:pt x="571" y="53"/>
                    <a:pt x="571" y="53"/>
                    <a:pt x="570" y="52"/>
                  </a:cubicBezTo>
                  <a:cubicBezTo>
                    <a:pt x="570" y="52"/>
                    <a:pt x="570" y="52"/>
                    <a:pt x="570" y="52"/>
                  </a:cubicBezTo>
                  <a:cubicBezTo>
                    <a:pt x="570" y="52"/>
                    <a:pt x="570" y="52"/>
                    <a:pt x="570" y="52"/>
                  </a:cubicBezTo>
                  <a:cubicBezTo>
                    <a:pt x="570" y="52"/>
                    <a:pt x="570" y="52"/>
                    <a:pt x="570" y="52"/>
                  </a:cubicBezTo>
                  <a:cubicBezTo>
                    <a:pt x="570" y="52"/>
                    <a:pt x="570" y="52"/>
                    <a:pt x="570" y="52"/>
                  </a:cubicBezTo>
                  <a:cubicBezTo>
                    <a:pt x="570" y="52"/>
                    <a:pt x="570" y="52"/>
                    <a:pt x="569" y="52"/>
                  </a:cubicBezTo>
                  <a:cubicBezTo>
                    <a:pt x="569" y="52"/>
                    <a:pt x="569" y="52"/>
                    <a:pt x="569" y="52"/>
                  </a:cubicBezTo>
                  <a:cubicBezTo>
                    <a:pt x="569" y="52"/>
                    <a:pt x="569" y="52"/>
                    <a:pt x="569" y="51"/>
                  </a:cubicBezTo>
                  <a:cubicBezTo>
                    <a:pt x="569" y="51"/>
                    <a:pt x="569" y="51"/>
                    <a:pt x="569" y="51"/>
                  </a:cubicBezTo>
                  <a:cubicBezTo>
                    <a:pt x="569" y="51"/>
                    <a:pt x="568" y="51"/>
                    <a:pt x="568" y="51"/>
                  </a:cubicBezTo>
                  <a:cubicBezTo>
                    <a:pt x="568" y="51"/>
                    <a:pt x="568" y="51"/>
                    <a:pt x="568" y="51"/>
                  </a:cubicBezTo>
                  <a:cubicBezTo>
                    <a:pt x="568" y="51"/>
                    <a:pt x="568" y="51"/>
                    <a:pt x="568" y="51"/>
                  </a:cubicBezTo>
                  <a:cubicBezTo>
                    <a:pt x="568" y="51"/>
                    <a:pt x="568" y="51"/>
                    <a:pt x="568" y="51"/>
                  </a:cubicBezTo>
                  <a:cubicBezTo>
                    <a:pt x="568" y="50"/>
                    <a:pt x="567" y="51"/>
                    <a:pt x="567" y="50"/>
                  </a:cubicBezTo>
                  <a:cubicBezTo>
                    <a:pt x="567" y="50"/>
                    <a:pt x="567" y="50"/>
                    <a:pt x="567" y="50"/>
                  </a:cubicBezTo>
                  <a:cubicBezTo>
                    <a:pt x="567" y="50"/>
                    <a:pt x="566" y="50"/>
                    <a:pt x="566" y="50"/>
                  </a:cubicBezTo>
                  <a:cubicBezTo>
                    <a:pt x="566" y="50"/>
                    <a:pt x="566" y="50"/>
                    <a:pt x="566" y="50"/>
                  </a:cubicBezTo>
                  <a:cubicBezTo>
                    <a:pt x="566" y="50"/>
                    <a:pt x="566" y="50"/>
                    <a:pt x="566" y="50"/>
                  </a:cubicBezTo>
                  <a:cubicBezTo>
                    <a:pt x="566" y="50"/>
                    <a:pt x="566" y="50"/>
                    <a:pt x="566" y="50"/>
                  </a:cubicBezTo>
                  <a:cubicBezTo>
                    <a:pt x="565" y="50"/>
                    <a:pt x="565" y="49"/>
                    <a:pt x="565" y="49"/>
                  </a:cubicBezTo>
                  <a:cubicBezTo>
                    <a:pt x="565" y="49"/>
                    <a:pt x="565" y="49"/>
                    <a:pt x="565" y="49"/>
                  </a:cubicBezTo>
                  <a:cubicBezTo>
                    <a:pt x="565" y="49"/>
                    <a:pt x="565" y="49"/>
                    <a:pt x="565" y="49"/>
                  </a:cubicBezTo>
                  <a:cubicBezTo>
                    <a:pt x="565" y="49"/>
                    <a:pt x="565" y="49"/>
                    <a:pt x="565" y="49"/>
                  </a:cubicBezTo>
                  <a:cubicBezTo>
                    <a:pt x="565" y="49"/>
                    <a:pt x="565" y="49"/>
                    <a:pt x="565" y="49"/>
                  </a:cubicBezTo>
                  <a:cubicBezTo>
                    <a:pt x="564" y="49"/>
                    <a:pt x="564" y="49"/>
                    <a:pt x="564" y="49"/>
                  </a:cubicBezTo>
                  <a:cubicBezTo>
                    <a:pt x="564" y="49"/>
                    <a:pt x="564" y="49"/>
                    <a:pt x="564" y="49"/>
                  </a:cubicBezTo>
                  <a:cubicBezTo>
                    <a:pt x="564" y="48"/>
                    <a:pt x="563" y="48"/>
                    <a:pt x="563" y="48"/>
                  </a:cubicBezTo>
                  <a:cubicBezTo>
                    <a:pt x="563" y="48"/>
                    <a:pt x="563" y="48"/>
                    <a:pt x="563" y="48"/>
                  </a:cubicBezTo>
                  <a:cubicBezTo>
                    <a:pt x="563" y="48"/>
                    <a:pt x="563" y="48"/>
                    <a:pt x="563" y="48"/>
                  </a:cubicBezTo>
                  <a:cubicBezTo>
                    <a:pt x="563" y="48"/>
                    <a:pt x="563" y="48"/>
                    <a:pt x="563" y="48"/>
                  </a:cubicBezTo>
                  <a:cubicBezTo>
                    <a:pt x="563" y="48"/>
                    <a:pt x="562" y="48"/>
                    <a:pt x="562" y="48"/>
                  </a:cubicBezTo>
                  <a:cubicBezTo>
                    <a:pt x="562" y="48"/>
                    <a:pt x="562" y="48"/>
                    <a:pt x="562" y="48"/>
                  </a:cubicBezTo>
                  <a:cubicBezTo>
                    <a:pt x="562" y="47"/>
                    <a:pt x="562" y="47"/>
                    <a:pt x="561" y="47"/>
                  </a:cubicBezTo>
                  <a:cubicBezTo>
                    <a:pt x="561" y="47"/>
                    <a:pt x="561" y="47"/>
                    <a:pt x="561" y="47"/>
                  </a:cubicBezTo>
                  <a:cubicBezTo>
                    <a:pt x="561" y="47"/>
                    <a:pt x="561" y="47"/>
                    <a:pt x="561" y="47"/>
                  </a:cubicBezTo>
                  <a:cubicBezTo>
                    <a:pt x="561" y="47"/>
                    <a:pt x="561" y="47"/>
                    <a:pt x="561" y="47"/>
                  </a:cubicBezTo>
                  <a:cubicBezTo>
                    <a:pt x="561" y="47"/>
                    <a:pt x="561" y="47"/>
                    <a:pt x="560" y="47"/>
                  </a:cubicBezTo>
                  <a:cubicBezTo>
                    <a:pt x="560" y="47"/>
                    <a:pt x="560" y="47"/>
                    <a:pt x="560" y="47"/>
                  </a:cubicBezTo>
                  <a:cubicBezTo>
                    <a:pt x="560" y="46"/>
                    <a:pt x="560" y="46"/>
                    <a:pt x="560" y="46"/>
                  </a:cubicBezTo>
                  <a:cubicBezTo>
                    <a:pt x="560" y="46"/>
                    <a:pt x="560" y="46"/>
                    <a:pt x="560" y="46"/>
                  </a:cubicBezTo>
                  <a:cubicBezTo>
                    <a:pt x="560" y="46"/>
                    <a:pt x="559" y="46"/>
                    <a:pt x="559" y="46"/>
                  </a:cubicBezTo>
                  <a:cubicBezTo>
                    <a:pt x="559" y="46"/>
                    <a:pt x="559" y="46"/>
                    <a:pt x="559" y="46"/>
                  </a:cubicBezTo>
                  <a:cubicBezTo>
                    <a:pt x="559" y="46"/>
                    <a:pt x="559" y="46"/>
                    <a:pt x="559" y="45"/>
                  </a:cubicBezTo>
                  <a:cubicBezTo>
                    <a:pt x="559" y="45"/>
                    <a:pt x="559" y="45"/>
                    <a:pt x="559" y="45"/>
                  </a:cubicBezTo>
                  <a:cubicBezTo>
                    <a:pt x="559" y="45"/>
                    <a:pt x="558" y="45"/>
                    <a:pt x="558" y="45"/>
                  </a:cubicBezTo>
                  <a:cubicBezTo>
                    <a:pt x="558" y="45"/>
                    <a:pt x="558" y="45"/>
                    <a:pt x="558" y="45"/>
                  </a:cubicBezTo>
                  <a:cubicBezTo>
                    <a:pt x="558" y="45"/>
                    <a:pt x="558" y="45"/>
                    <a:pt x="558" y="45"/>
                  </a:cubicBezTo>
                  <a:cubicBezTo>
                    <a:pt x="558" y="45"/>
                    <a:pt x="558" y="45"/>
                    <a:pt x="558" y="45"/>
                  </a:cubicBezTo>
                  <a:cubicBezTo>
                    <a:pt x="557" y="45"/>
                    <a:pt x="557" y="45"/>
                    <a:pt x="557" y="44"/>
                  </a:cubicBezTo>
                  <a:cubicBezTo>
                    <a:pt x="557" y="45"/>
                    <a:pt x="557" y="45"/>
                    <a:pt x="557" y="45"/>
                  </a:cubicBezTo>
                  <a:cubicBezTo>
                    <a:pt x="557" y="44"/>
                    <a:pt x="557" y="44"/>
                    <a:pt x="557" y="44"/>
                  </a:cubicBezTo>
                  <a:cubicBezTo>
                    <a:pt x="557" y="44"/>
                    <a:pt x="557" y="44"/>
                    <a:pt x="557" y="44"/>
                  </a:cubicBezTo>
                  <a:cubicBezTo>
                    <a:pt x="556" y="44"/>
                    <a:pt x="556" y="44"/>
                    <a:pt x="556" y="44"/>
                  </a:cubicBezTo>
                  <a:cubicBezTo>
                    <a:pt x="556" y="44"/>
                    <a:pt x="556" y="44"/>
                    <a:pt x="556" y="44"/>
                  </a:cubicBezTo>
                  <a:cubicBezTo>
                    <a:pt x="556" y="43"/>
                    <a:pt x="555" y="43"/>
                    <a:pt x="555" y="43"/>
                  </a:cubicBezTo>
                  <a:cubicBezTo>
                    <a:pt x="555" y="43"/>
                    <a:pt x="555" y="43"/>
                    <a:pt x="555" y="43"/>
                  </a:cubicBezTo>
                  <a:cubicBezTo>
                    <a:pt x="555" y="43"/>
                    <a:pt x="555" y="43"/>
                    <a:pt x="555" y="43"/>
                  </a:cubicBezTo>
                  <a:cubicBezTo>
                    <a:pt x="555" y="43"/>
                    <a:pt x="555" y="43"/>
                    <a:pt x="555" y="43"/>
                  </a:cubicBezTo>
                  <a:cubicBezTo>
                    <a:pt x="555" y="43"/>
                    <a:pt x="555" y="42"/>
                    <a:pt x="554" y="42"/>
                  </a:cubicBezTo>
                  <a:cubicBezTo>
                    <a:pt x="554" y="42"/>
                    <a:pt x="554" y="42"/>
                    <a:pt x="554" y="42"/>
                  </a:cubicBezTo>
                  <a:cubicBezTo>
                    <a:pt x="554" y="42"/>
                    <a:pt x="554" y="42"/>
                    <a:pt x="553" y="42"/>
                  </a:cubicBezTo>
                  <a:cubicBezTo>
                    <a:pt x="553" y="42"/>
                    <a:pt x="553" y="42"/>
                    <a:pt x="553" y="42"/>
                  </a:cubicBezTo>
                  <a:cubicBezTo>
                    <a:pt x="553" y="42"/>
                    <a:pt x="553" y="41"/>
                    <a:pt x="553" y="41"/>
                  </a:cubicBezTo>
                  <a:cubicBezTo>
                    <a:pt x="553" y="41"/>
                    <a:pt x="553" y="41"/>
                    <a:pt x="553" y="41"/>
                  </a:cubicBezTo>
                  <a:cubicBezTo>
                    <a:pt x="553" y="41"/>
                    <a:pt x="553" y="41"/>
                    <a:pt x="553" y="41"/>
                  </a:cubicBezTo>
                  <a:cubicBezTo>
                    <a:pt x="553" y="41"/>
                    <a:pt x="553" y="41"/>
                    <a:pt x="553" y="41"/>
                  </a:cubicBezTo>
                  <a:cubicBezTo>
                    <a:pt x="553" y="41"/>
                    <a:pt x="553" y="41"/>
                    <a:pt x="552" y="41"/>
                  </a:cubicBezTo>
                  <a:cubicBezTo>
                    <a:pt x="552" y="41"/>
                    <a:pt x="552" y="41"/>
                    <a:pt x="552" y="41"/>
                  </a:cubicBezTo>
                  <a:cubicBezTo>
                    <a:pt x="552" y="40"/>
                    <a:pt x="552" y="40"/>
                    <a:pt x="551" y="39"/>
                  </a:cubicBezTo>
                  <a:cubicBezTo>
                    <a:pt x="551" y="39"/>
                    <a:pt x="551" y="39"/>
                    <a:pt x="551" y="39"/>
                  </a:cubicBezTo>
                  <a:cubicBezTo>
                    <a:pt x="551" y="39"/>
                    <a:pt x="551" y="39"/>
                    <a:pt x="551" y="39"/>
                  </a:cubicBezTo>
                  <a:cubicBezTo>
                    <a:pt x="551" y="39"/>
                    <a:pt x="551" y="39"/>
                    <a:pt x="551" y="39"/>
                  </a:cubicBezTo>
                  <a:cubicBezTo>
                    <a:pt x="551" y="39"/>
                    <a:pt x="551" y="38"/>
                    <a:pt x="551" y="38"/>
                  </a:cubicBezTo>
                  <a:cubicBezTo>
                    <a:pt x="551" y="38"/>
                    <a:pt x="551" y="38"/>
                    <a:pt x="551" y="38"/>
                  </a:cubicBezTo>
                  <a:cubicBezTo>
                    <a:pt x="551" y="38"/>
                    <a:pt x="550" y="38"/>
                    <a:pt x="550" y="38"/>
                  </a:cubicBezTo>
                  <a:cubicBezTo>
                    <a:pt x="550" y="38"/>
                    <a:pt x="550" y="38"/>
                    <a:pt x="550" y="38"/>
                  </a:cubicBezTo>
                  <a:cubicBezTo>
                    <a:pt x="550" y="38"/>
                    <a:pt x="550" y="37"/>
                    <a:pt x="550" y="37"/>
                  </a:cubicBezTo>
                  <a:cubicBezTo>
                    <a:pt x="550" y="37"/>
                    <a:pt x="550" y="37"/>
                    <a:pt x="550" y="37"/>
                  </a:cubicBezTo>
                  <a:cubicBezTo>
                    <a:pt x="550" y="37"/>
                    <a:pt x="550" y="37"/>
                    <a:pt x="550" y="36"/>
                  </a:cubicBezTo>
                  <a:cubicBezTo>
                    <a:pt x="550" y="36"/>
                    <a:pt x="550" y="36"/>
                    <a:pt x="550" y="36"/>
                  </a:cubicBezTo>
                  <a:cubicBezTo>
                    <a:pt x="550" y="36"/>
                    <a:pt x="550" y="36"/>
                    <a:pt x="550" y="36"/>
                  </a:cubicBezTo>
                  <a:cubicBezTo>
                    <a:pt x="549" y="36"/>
                    <a:pt x="549" y="36"/>
                    <a:pt x="549" y="35"/>
                  </a:cubicBezTo>
                  <a:cubicBezTo>
                    <a:pt x="549" y="35"/>
                    <a:pt x="549" y="35"/>
                    <a:pt x="549" y="35"/>
                  </a:cubicBezTo>
                  <a:cubicBezTo>
                    <a:pt x="549" y="35"/>
                    <a:pt x="549" y="34"/>
                    <a:pt x="549" y="34"/>
                  </a:cubicBezTo>
                  <a:cubicBezTo>
                    <a:pt x="549" y="34"/>
                    <a:pt x="549" y="34"/>
                    <a:pt x="549" y="33"/>
                  </a:cubicBezTo>
                  <a:cubicBezTo>
                    <a:pt x="549" y="31"/>
                    <a:pt x="549" y="29"/>
                    <a:pt x="549" y="27"/>
                  </a:cubicBezTo>
                  <a:cubicBezTo>
                    <a:pt x="549" y="27"/>
                    <a:pt x="549" y="27"/>
                    <a:pt x="549" y="27"/>
                  </a:cubicBezTo>
                  <a:cubicBezTo>
                    <a:pt x="549" y="27"/>
                    <a:pt x="549" y="26"/>
                    <a:pt x="549" y="26"/>
                  </a:cubicBezTo>
                  <a:cubicBezTo>
                    <a:pt x="549" y="26"/>
                    <a:pt x="549" y="26"/>
                    <a:pt x="549" y="26"/>
                  </a:cubicBezTo>
                  <a:cubicBezTo>
                    <a:pt x="549" y="25"/>
                    <a:pt x="549" y="25"/>
                    <a:pt x="550" y="25"/>
                  </a:cubicBezTo>
                  <a:cubicBezTo>
                    <a:pt x="550" y="25"/>
                    <a:pt x="550" y="25"/>
                    <a:pt x="550" y="25"/>
                  </a:cubicBezTo>
                  <a:cubicBezTo>
                    <a:pt x="550" y="25"/>
                    <a:pt x="550" y="24"/>
                    <a:pt x="550" y="24"/>
                  </a:cubicBezTo>
                  <a:cubicBezTo>
                    <a:pt x="550" y="24"/>
                    <a:pt x="550" y="24"/>
                    <a:pt x="550" y="24"/>
                  </a:cubicBezTo>
                  <a:cubicBezTo>
                    <a:pt x="550" y="24"/>
                    <a:pt x="550" y="24"/>
                    <a:pt x="550" y="23"/>
                  </a:cubicBezTo>
                  <a:cubicBezTo>
                    <a:pt x="550" y="24"/>
                    <a:pt x="550" y="24"/>
                    <a:pt x="550" y="24"/>
                  </a:cubicBezTo>
                  <a:cubicBezTo>
                    <a:pt x="551" y="23"/>
                    <a:pt x="550" y="23"/>
                    <a:pt x="551" y="23"/>
                  </a:cubicBezTo>
                  <a:cubicBezTo>
                    <a:pt x="551" y="23"/>
                    <a:pt x="551" y="23"/>
                    <a:pt x="551" y="23"/>
                  </a:cubicBezTo>
                  <a:cubicBezTo>
                    <a:pt x="551" y="23"/>
                    <a:pt x="551" y="23"/>
                    <a:pt x="551" y="22"/>
                  </a:cubicBezTo>
                  <a:cubicBezTo>
                    <a:pt x="551" y="22"/>
                    <a:pt x="551" y="22"/>
                    <a:pt x="551" y="22"/>
                  </a:cubicBezTo>
                  <a:cubicBezTo>
                    <a:pt x="551" y="22"/>
                    <a:pt x="551" y="22"/>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3" y="21"/>
                    <a:pt x="553" y="21"/>
                    <a:pt x="553" y="20"/>
                  </a:cubicBezTo>
                  <a:cubicBezTo>
                    <a:pt x="553" y="20"/>
                    <a:pt x="553" y="20"/>
                    <a:pt x="553" y="20"/>
                  </a:cubicBezTo>
                  <a:cubicBezTo>
                    <a:pt x="553" y="20"/>
                    <a:pt x="554" y="20"/>
                    <a:pt x="554" y="20"/>
                  </a:cubicBezTo>
                  <a:cubicBezTo>
                    <a:pt x="554" y="20"/>
                    <a:pt x="554" y="20"/>
                    <a:pt x="554" y="20"/>
                  </a:cubicBezTo>
                  <a:cubicBezTo>
                    <a:pt x="554" y="20"/>
                    <a:pt x="554" y="19"/>
                    <a:pt x="554" y="19"/>
                  </a:cubicBezTo>
                  <a:cubicBezTo>
                    <a:pt x="554" y="19"/>
                    <a:pt x="554" y="19"/>
                    <a:pt x="554" y="19"/>
                  </a:cubicBezTo>
                  <a:cubicBezTo>
                    <a:pt x="554" y="19"/>
                    <a:pt x="554" y="19"/>
                    <a:pt x="554" y="19"/>
                  </a:cubicBezTo>
                  <a:cubicBezTo>
                    <a:pt x="555" y="19"/>
                    <a:pt x="555" y="19"/>
                    <a:pt x="555" y="19"/>
                  </a:cubicBezTo>
                  <a:cubicBezTo>
                    <a:pt x="555" y="19"/>
                    <a:pt x="555" y="19"/>
                    <a:pt x="555" y="19"/>
                  </a:cubicBezTo>
                  <a:cubicBezTo>
                    <a:pt x="555" y="19"/>
                    <a:pt x="555" y="19"/>
                    <a:pt x="555" y="19"/>
                  </a:cubicBezTo>
                  <a:cubicBezTo>
                    <a:pt x="555" y="18"/>
                    <a:pt x="556" y="19"/>
                    <a:pt x="556" y="18"/>
                  </a:cubicBezTo>
                  <a:cubicBezTo>
                    <a:pt x="556" y="18"/>
                    <a:pt x="556" y="18"/>
                    <a:pt x="556" y="18"/>
                  </a:cubicBezTo>
                  <a:cubicBezTo>
                    <a:pt x="556" y="18"/>
                    <a:pt x="556" y="18"/>
                    <a:pt x="557" y="18"/>
                  </a:cubicBezTo>
                  <a:cubicBezTo>
                    <a:pt x="556" y="18"/>
                    <a:pt x="556" y="18"/>
                    <a:pt x="556" y="18"/>
                  </a:cubicBezTo>
                  <a:cubicBezTo>
                    <a:pt x="557" y="18"/>
                    <a:pt x="557" y="18"/>
                    <a:pt x="557" y="18"/>
                  </a:cubicBezTo>
                  <a:cubicBezTo>
                    <a:pt x="557" y="18"/>
                    <a:pt x="557" y="18"/>
                    <a:pt x="557" y="18"/>
                  </a:cubicBezTo>
                  <a:cubicBezTo>
                    <a:pt x="557" y="17"/>
                    <a:pt x="558" y="17"/>
                    <a:pt x="558" y="17"/>
                  </a:cubicBezTo>
                  <a:cubicBezTo>
                    <a:pt x="558" y="17"/>
                    <a:pt x="558" y="17"/>
                    <a:pt x="558" y="17"/>
                  </a:cubicBezTo>
                  <a:cubicBezTo>
                    <a:pt x="558" y="17"/>
                    <a:pt x="559" y="17"/>
                    <a:pt x="559" y="17"/>
                  </a:cubicBezTo>
                  <a:cubicBezTo>
                    <a:pt x="559" y="17"/>
                    <a:pt x="559" y="17"/>
                    <a:pt x="559" y="17"/>
                  </a:cubicBezTo>
                  <a:cubicBezTo>
                    <a:pt x="559" y="17"/>
                    <a:pt x="560" y="17"/>
                    <a:pt x="560" y="17"/>
                  </a:cubicBezTo>
                  <a:cubicBezTo>
                    <a:pt x="560" y="17"/>
                    <a:pt x="560" y="17"/>
                    <a:pt x="560" y="17"/>
                  </a:cubicBezTo>
                  <a:cubicBezTo>
                    <a:pt x="560" y="17"/>
                    <a:pt x="560" y="17"/>
                    <a:pt x="560" y="17"/>
                  </a:cubicBezTo>
                  <a:cubicBezTo>
                    <a:pt x="561" y="16"/>
                    <a:pt x="561" y="17"/>
                    <a:pt x="562" y="16"/>
                  </a:cubicBezTo>
                  <a:cubicBezTo>
                    <a:pt x="562" y="16"/>
                    <a:pt x="562" y="16"/>
                    <a:pt x="562" y="16"/>
                  </a:cubicBezTo>
                  <a:cubicBezTo>
                    <a:pt x="562" y="16"/>
                    <a:pt x="562" y="16"/>
                    <a:pt x="562" y="16"/>
                  </a:cubicBezTo>
                  <a:cubicBezTo>
                    <a:pt x="563" y="16"/>
                    <a:pt x="564" y="16"/>
                    <a:pt x="565" y="16"/>
                  </a:cubicBezTo>
                  <a:cubicBezTo>
                    <a:pt x="566" y="16"/>
                    <a:pt x="567" y="16"/>
                    <a:pt x="568" y="16"/>
                  </a:cubicBezTo>
                  <a:cubicBezTo>
                    <a:pt x="569" y="16"/>
                    <a:pt x="570" y="16"/>
                    <a:pt x="571" y="16"/>
                  </a:cubicBezTo>
                  <a:cubicBezTo>
                    <a:pt x="571" y="16"/>
                    <a:pt x="572" y="16"/>
                    <a:pt x="572" y="16"/>
                  </a:cubicBezTo>
                  <a:cubicBezTo>
                    <a:pt x="572" y="17"/>
                    <a:pt x="573" y="16"/>
                    <a:pt x="573" y="17"/>
                  </a:cubicBezTo>
                  <a:cubicBezTo>
                    <a:pt x="574" y="16"/>
                    <a:pt x="574" y="16"/>
                    <a:pt x="574" y="16"/>
                  </a:cubicBezTo>
                  <a:cubicBezTo>
                    <a:pt x="574" y="17"/>
                    <a:pt x="574" y="17"/>
                    <a:pt x="574" y="17"/>
                  </a:cubicBezTo>
                  <a:cubicBezTo>
                    <a:pt x="574" y="17"/>
                    <a:pt x="575" y="17"/>
                    <a:pt x="575" y="17"/>
                  </a:cubicBezTo>
                  <a:cubicBezTo>
                    <a:pt x="575" y="17"/>
                    <a:pt x="575" y="17"/>
                    <a:pt x="575" y="17"/>
                  </a:cubicBezTo>
                  <a:cubicBezTo>
                    <a:pt x="575" y="17"/>
                    <a:pt x="575" y="17"/>
                    <a:pt x="575" y="17"/>
                  </a:cubicBezTo>
                  <a:cubicBezTo>
                    <a:pt x="576" y="17"/>
                    <a:pt x="576" y="17"/>
                    <a:pt x="576" y="17"/>
                  </a:cubicBezTo>
                  <a:cubicBezTo>
                    <a:pt x="577" y="17"/>
                    <a:pt x="577" y="17"/>
                    <a:pt x="577" y="17"/>
                  </a:cubicBezTo>
                  <a:cubicBezTo>
                    <a:pt x="577" y="17"/>
                    <a:pt x="577" y="17"/>
                    <a:pt x="577" y="17"/>
                  </a:cubicBezTo>
                  <a:cubicBezTo>
                    <a:pt x="577" y="17"/>
                    <a:pt x="577" y="17"/>
                    <a:pt x="578" y="18"/>
                  </a:cubicBezTo>
                  <a:cubicBezTo>
                    <a:pt x="578" y="18"/>
                    <a:pt x="578" y="18"/>
                    <a:pt x="578" y="18"/>
                  </a:cubicBezTo>
                  <a:cubicBezTo>
                    <a:pt x="578" y="18"/>
                    <a:pt x="578" y="18"/>
                    <a:pt x="578" y="18"/>
                  </a:cubicBezTo>
                  <a:cubicBezTo>
                    <a:pt x="578" y="18"/>
                    <a:pt x="578" y="18"/>
                    <a:pt x="579" y="18"/>
                  </a:cubicBezTo>
                  <a:cubicBezTo>
                    <a:pt x="579" y="18"/>
                    <a:pt x="579" y="18"/>
                    <a:pt x="579" y="18"/>
                  </a:cubicBezTo>
                  <a:cubicBezTo>
                    <a:pt x="579" y="18"/>
                    <a:pt x="579" y="18"/>
                    <a:pt x="580" y="18"/>
                  </a:cubicBezTo>
                  <a:cubicBezTo>
                    <a:pt x="580" y="18"/>
                    <a:pt x="580" y="18"/>
                    <a:pt x="580" y="18"/>
                  </a:cubicBezTo>
                  <a:cubicBezTo>
                    <a:pt x="580" y="19"/>
                    <a:pt x="580" y="18"/>
                    <a:pt x="580" y="19"/>
                  </a:cubicBezTo>
                  <a:cubicBezTo>
                    <a:pt x="580" y="19"/>
                    <a:pt x="580" y="19"/>
                    <a:pt x="580" y="19"/>
                  </a:cubicBezTo>
                  <a:cubicBezTo>
                    <a:pt x="580" y="19"/>
                    <a:pt x="581" y="19"/>
                    <a:pt x="581" y="19"/>
                  </a:cubicBezTo>
                  <a:cubicBezTo>
                    <a:pt x="581" y="19"/>
                    <a:pt x="581" y="19"/>
                    <a:pt x="581" y="19"/>
                  </a:cubicBezTo>
                  <a:cubicBezTo>
                    <a:pt x="581" y="19"/>
                    <a:pt x="581" y="19"/>
                    <a:pt x="582" y="19"/>
                  </a:cubicBezTo>
                  <a:cubicBezTo>
                    <a:pt x="582" y="19"/>
                    <a:pt x="582" y="19"/>
                    <a:pt x="582" y="19"/>
                  </a:cubicBezTo>
                  <a:cubicBezTo>
                    <a:pt x="582" y="20"/>
                    <a:pt x="582" y="19"/>
                    <a:pt x="582" y="20"/>
                  </a:cubicBezTo>
                  <a:cubicBezTo>
                    <a:pt x="582" y="20"/>
                    <a:pt x="582" y="20"/>
                    <a:pt x="582" y="20"/>
                  </a:cubicBezTo>
                  <a:cubicBezTo>
                    <a:pt x="582" y="20"/>
                    <a:pt x="583" y="20"/>
                    <a:pt x="583" y="20"/>
                  </a:cubicBezTo>
                  <a:cubicBezTo>
                    <a:pt x="583" y="20"/>
                    <a:pt x="583" y="20"/>
                    <a:pt x="583" y="20"/>
                  </a:cubicBezTo>
                  <a:cubicBezTo>
                    <a:pt x="583" y="20"/>
                    <a:pt x="583" y="20"/>
                    <a:pt x="583" y="20"/>
                  </a:cubicBezTo>
                  <a:cubicBezTo>
                    <a:pt x="583" y="20"/>
                    <a:pt x="583" y="20"/>
                    <a:pt x="583" y="20"/>
                  </a:cubicBezTo>
                  <a:cubicBezTo>
                    <a:pt x="584" y="21"/>
                    <a:pt x="584" y="21"/>
                    <a:pt x="584" y="21"/>
                  </a:cubicBezTo>
                  <a:cubicBezTo>
                    <a:pt x="584" y="21"/>
                    <a:pt x="584" y="21"/>
                    <a:pt x="584" y="21"/>
                  </a:cubicBezTo>
                  <a:cubicBezTo>
                    <a:pt x="584" y="21"/>
                    <a:pt x="584" y="21"/>
                    <a:pt x="584" y="21"/>
                  </a:cubicBezTo>
                  <a:cubicBezTo>
                    <a:pt x="584" y="21"/>
                    <a:pt x="584" y="21"/>
                    <a:pt x="584" y="21"/>
                  </a:cubicBezTo>
                  <a:cubicBezTo>
                    <a:pt x="585" y="21"/>
                    <a:pt x="585" y="21"/>
                    <a:pt x="585" y="21"/>
                  </a:cubicBezTo>
                  <a:cubicBezTo>
                    <a:pt x="585" y="21"/>
                    <a:pt x="585" y="21"/>
                    <a:pt x="585" y="21"/>
                  </a:cubicBezTo>
                  <a:cubicBezTo>
                    <a:pt x="586" y="21"/>
                    <a:pt x="585" y="21"/>
                    <a:pt x="585" y="20"/>
                  </a:cubicBezTo>
                  <a:cubicBezTo>
                    <a:pt x="585" y="18"/>
                    <a:pt x="585" y="15"/>
                    <a:pt x="585" y="13"/>
                  </a:cubicBezTo>
                  <a:cubicBezTo>
                    <a:pt x="585" y="11"/>
                    <a:pt x="586" y="10"/>
                    <a:pt x="585" y="9"/>
                  </a:cubicBezTo>
                  <a:cubicBezTo>
                    <a:pt x="585" y="9"/>
                    <a:pt x="585" y="9"/>
                    <a:pt x="585" y="9"/>
                  </a:cubicBezTo>
                  <a:cubicBezTo>
                    <a:pt x="585" y="9"/>
                    <a:pt x="585" y="9"/>
                    <a:pt x="584" y="9"/>
                  </a:cubicBezTo>
                  <a:cubicBezTo>
                    <a:pt x="584" y="9"/>
                    <a:pt x="584" y="9"/>
                    <a:pt x="584" y="9"/>
                  </a:cubicBezTo>
                  <a:cubicBezTo>
                    <a:pt x="584" y="8"/>
                    <a:pt x="584" y="8"/>
                    <a:pt x="584" y="8"/>
                  </a:cubicBezTo>
                  <a:cubicBezTo>
                    <a:pt x="584" y="8"/>
                    <a:pt x="584" y="8"/>
                    <a:pt x="584" y="8"/>
                  </a:cubicBezTo>
                  <a:cubicBezTo>
                    <a:pt x="583" y="8"/>
                    <a:pt x="583" y="8"/>
                    <a:pt x="583" y="8"/>
                  </a:cubicBezTo>
                  <a:cubicBezTo>
                    <a:pt x="583" y="8"/>
                    <a:pt x="583" y="8"/>
                    <a:pt x="583" y="8"/>
                  </a:cubicBezTo>
                  <a:cubicBezTo>
                    <a:pt x="583" y="8"/>
                    <a:pt x="583" y="8"/>
                    <a:pt x="583" y="8"/>
                  </a:cubicBezTo>
                  <a:cubicBezTo>
                    <a:pt x="582" y="8"/>
                    <a:pt x="582" y="8"/>
                    <a:pt x="582" y="8"/>
                  </a:cubicBezTo>
                  <a:cubicBezTo>
                    <a:pt x="582" y="8"/>
                    <a:pt x="582" y="8"/>
                    <a:pt x="582" y="8"/>
                  </a:cubicBezTo>
                  <a:cubicBezTo>
                    <a:pt x="582" y="8"/>
                    <a:pt x="582" y="8"/>
                    <a:pt x="582" y="8"/>
                  </a:cubicBezTo>
                  <a:cubicBezTo>
                    <a:pt x="581" y="7"/>
                    <a:pt x="581" y="7"/>
                    <a:pt x="581" y="7"/>
                  </a:cubicBezTo>
                  <a:cubicBezTo>
                    <a:pt x="581" y="7"/>
                    <a:pt x="581" y="7"/>
                    <a:pt x="581" y="7"/>
                  </a:cubicBezTo>
                  <a:cubicBezTo>
                    <a:pt x="580" y="7"/>
                    <a:pt x="580" y="7"/>
                    <a:pt x="579" y="7"/>
                  </a:cubicBezTo>
                  <a:cubicBezTo>
                    <a:pt x="579" y="7"/>
                    <a:pt x="579" y="7"/>
                    <a:pt x="579" y="7"/>
                  </a:cubicBezTo>
                  <a:cubicBezTo>
                    <a:pt x="578" y="7"/>
                    <a:pt x="578" y="7"/>
                    <a:pt x="577" y="7"/>
                  </a:cubicBezTo>
                  <a:cubicBezTo>
                    <a:pt x="577" y="7"/>
                    <a:pt x="577" y="7"/>
                    <a:pt x="577" y="6"/>
                  </a:cubicBezTo>
                  <a:cubicBezTo>
                    <a:pt x="577" y="6"/>
                    <a:pt x="576" y="6"/>
                    <a:pt x="575" y="6"/>
                  </a:cubicBezTo>
                  <a:cubicBezTo>
                    <a:pt x="575" y="6"/>
                    <a:pt x="575" y="6"/>
                    <a:pt x="575" y="6"/>
                  </a:cubicBezTo>
                  <a:cubicBezTo>
                    <a:pt x="573" y="6"/>
                    <a:pt x="572" y="6"/>
                    <a:pt x="571" y="6"/>
                  </a:cubicBezTo>
                  <a:cubicBezTo>
                    <a:pt x="570" y="6"/>
                    <a:pt x="569" y="6"/>
                    <a:pt x="568" y="6"/>
                  </a:cubicBezTo>
                  <a:cubicBezTo>
                    <a:pt x="567" y="6"/>
                    <a:pt x="567" y="6"/>
                    <a:pt x="566" y="6"/>
                  </a:cubicBezTo>
                  <a:cubicBezTo>
                    <a:pt x="565" y="6"/>
                    <a:pt x="564" y="6"/>
                    <a:pt x="564" y="6"/>
                  </a:cubicBezTo>
                  <a:cubicBezTo>
                    <a:pt x="563" y="6"/>
                    <a:pt x="562" y="6"/>
                    <a:pt x="561" y="6"/>
                  </a:cubicBezTo>
                  <a:cubicBezTo>
                    <a:pt x="561" y="6"/>
                    <a:pt x="561" y="6"/>
                    <a:pt x="560" y="6"/>
                  </a:cubicBezTo>
                  <a:cubicBezTo>
                    <a:pt x="560" y="7"/>
                    <a:pt x="559" y="6"/>
                    <a:pt x="559" y="6"/>
                  </a:cubicBezTo>
                  <a:cubicBezTo>
                    <a:pt x="559" y="7"/>
                    <a:pt x="559" y="7"/>
                    <a:pt x="558" y="7"/>
                  </a:cubicBezTo>
                  <a:cubicBezTo>
                    <a:pt x="558" y="7"/>
                    <a:pt x="557" y="6"/>
                    <a:pt x="557" y="7"/>
                  </a:cubicBezTo>
                  <a:cubicBezTo>
                    <a:pt x="557" y="7"/>
                    <a:pt x="557" y="7"/>
                    <a:pt x="557" y="7"/>
                  </a:cubicBezTo>
                  <a:cubicBezTo>
                    <a:pt x="557" y="7"/>
                    <a:pt x="556" y="7"/>
                    <a:pt x="556" y="7"/>
                  </a:cubicBezTo>
                  <a:cubicBezTo>
                    <a:pt x="556" y="7"/>
                    <a:pt x="556" y="7"/>
                    <a:pt x="556" y="7"/>
                  </a:cubicBezTo>
                  <a:cubicBezTo>
                    <a:pt x="555" y="7"/>
                    <a:pt x="555" y="7"/>
                    <a:pt x="555" y="8"/>
                  </a:cubicBezTo>
                  <a:cubicBezTo>
                    <a:pt x="555" y="8"/>
                    <a:pt x="555" y="8"/>
                    <a:pt x="555" y="8"/>
                  </a:cubicBezTo>
                  <a:cubicBezTo>
                    <a:pt x="554" y="8"/>
                    <a:pt x="554" y="8"/>
                    <a:pt x="553" y="8"/>
                  </a:cubicBezTo>
                  <a:cubicBezTo>
                    <a:pt x="553" y="8"/>
                    <a:pt x="553" y="8"/>
                    <a:pt x="553" y="8"/>
                  </a:cubicBezTo>
                  <a:cubicBezTo>
                    <a:pt x="553" y="8"/>
                    <a:pt x="553" y="8"/>
                    <a:pt x="553" y="8"/>
                  </a:cubicBezTo>
                  <a:cubicBezTo>
                    <a:pt x="553" y="8"/>
                    <a:pt x="553" y="8"/>
                    <a:pt x="553" y="8"/>
                  </a:cubicBezTo>
                  <a:cubicBezTo>
                    <a:pt x="552" y="9"/>
                    <a:pt x="552" y="8"/>
                    <a:pt x="552" y="9"/>
                  </a:cubicBezTo>
                  <a:cubicBezTo>
                    <a:pt x="552" y="9"/>
                    <a:pt x="552" y="9"/>
                    <a:pt x="552" y="9"/>
                  </a:cubicBezTo>
                  <a:cubicBezTo>
                    <a:pt x="552" y="9"/>
                    <a:pt x="551" y="9"/>
                    <a:pt x="551" y="9"/>
                  </a:cubicBezTo>
                  <a:cubicBezTo>
                    <a:pt x="551" y="9"/>
                    <a:pt x="551" y="9"/>
                    <a:pt x="551" y="9"/>
                  </a:cubicBezTo>
                  <a:cubicBezTo>
                    <a:pt x="551" y="9"/>
                    <a:pt x="550" y="9"/>
                    <a:pt x="550" y="9"/>
                  </a:cubicBezTo>
                  <a:cubicBezTo>
                    <a:pt x="550" y="9"/>
                    <a:pt x="550" y="9"/>
                    <a:pt x="550" y="9"/>
                  </a:cubicBezTo>
                  <a:cubicBezTo>
                    <a:pt x="550" y="9"/>
                    <a:pt x="550" y="9"/>
                    <a:pt x="550" y="10"/>
                  </a:cubicBezTo>
                  <a:cubicBezTo>
                    <a:pt x="550" y="10"/>
                    <a:pt x="550" y="10"/>
                    <a:pt x="550" y="10"/>
                  </a:cubicBezTo>
                  <a:cubicBezTo>
                    <a:pt x="550" y="10"/>
                    <a:pt x="549" y="10"/>
                    <a:pt x="549" y="10"/>
                  </a:cubicBezTo>
                  <a:cubicBezTo>
                    <a:pt x="549" y="10"/>
                    <a:pt x="549" y="10"/>
                    <a:pt x="549" y="10"/>
                  </a:cubicBezTo>
                  <a:cubicBezTo>
                    <a:pt x="549" y="10"/>
                    <a:pt x="549" y="10"/>
                    <a:pt x="549" y="10"/>
                  </a:cubicBezTo>
                  <a:cubicBezTo>
                    <a:pt x="549" y="10"/>
                    <a:pt x="549" y="10"/>
                    <a:pt x="549" y="10"/>
                  </a:cubicBezTo>
                  <a:cubicBezTo>
                    <a:pt x="549" y="10"/>
                    <a:pt x="549" y="10"/>
                    <a:pt x="549" y="10"/>
                  </a:cubicBezTo>
                  <a:cubicBezTo>
                    <a:pt x="548" y="11"/>
                    <a:pt x="548" y="10"/>
                    <a:pt x="548" y="11"/>
                  </a:cubicBezTo>
                  <a:cubicBezTo>
                    <a:pt x="548" y="11"/>
                    <a:pt x="548" y="11"/>
                    <a:pt x="548" y="11"/>
                  </a:cubicBezTo>
                  <a:cubicBezTo>
                    <a:pt x="548" y="11"/>
                    <a:pt x="548" y="11"/>
                    <a:pt x="548" y="11"/>
                  </a:cubicBezTo>
                  <a:cubicBezTo>
                    <a:pt x="548" y="11"/>
                    <a:pt x="548" y="11"/>
                    <a:pt x="548" y="11"/>
                  </a:cubicBezTo>
                  <a:cubicBezTo>
                    <a:pt x="547" y="11"/>
                    <a:pt x="547" y="11"/>
                    <a:pt x="547" y="11"/>
                  </a:cubicBezTo>
                  <a:cubicBezTo>
                    <a:pt x="547" y="11"/>
                    <a:pt x="547" y="11"/>
                    <a:pt x="547" y="11"/>
                  </a:cubicBezTo>
                  <a:cubicBezTo>
                    <a:pt x="547" y="11"/>
                    <a:pt x="547" y="12"/>
                    <a:pt x="546" y="12"/>
                  </a:cubicBezTo>
                  <a:cubicBezTo>
                    <a:pt x="546" y="12"/>
                    <a:pt x="546" y="12"/>
                    <a:pt x="546" y="12"/>
                  </a:cubicBezTo>
                  <a:cubicBezTo>
                    <a:pt x="546" y="12"/>
                    <a:pt x="546" y="12"/>
                    <a:pt x="545" y="12"/>
                  </a:cubicBezTo>
                  <a:cubicBezTo>
                    <a:pt x="546" y="12"/>
                    <a:pt x="546" y="12"/>
                    <a:pt x="546" y="12"/>
                  </a:cubicBezTo>
                  <a:cubicBezTo>
                    <a:pt x="545" y="12"/>
                    <a:pt x="545" y="13"/>
                    <a:pt x="545" y="13"/>
                  </a:cubicBezTo>
                  <a:cubicBezTo>
                    <a:pt x="545" y="13"/>
                    <a:pt x="545" y="13"/>
                    <a:pt x="545" y="13"/>
                  </a:cubicBezTo>
                  <a:cubicBezTo>
                    <a:pt x="545" y="13"/>
                    <a:pt x="545" y="13"/>
                    <a:pt x="545" y="13"/>
                  </a:cubicBezTo>
                  <a:cubicBezTo>
                    <a:pt x="545" y="13"/>
                    <a:pt x="545" y="13"/>
                    <a:pt x="545" y="13"/>
                  </a:cubicBezTo>
                  <a:cubicBezTo>
                    <a:pt x="545" y="13"/>
                    <a:pt x="545" y="13"/>
                    <a:pt x="544" y="13"/>
                  </a:cubicBezTo>
                  <a:cubicBezTo>
                    <a:pt x="544" y="13"/>
                    <a:pt x="544" y="13"/>
                    <a:pt x="544" y="13"/>
                  </a:cubicBezTo>
                  <a:cubicBezTo>
                    <a:pt x="544" y="14"/>
                    <a:pt x="544" y="14"/>
                    <a:pt x="544" y="14"/>
                  </a:cubicBezTo>
                  <a:cubicBezTo>
                    <a:pt x="544" y="14"/>
                    <a:pt x="544" y="14"/>
                    <a:pt x="544" y="14"/>
                  </a:cubicBezTo>
                  <a:cubicBezTo>
                    <a:pt x="544" y="14"/>
                    <a:pt x="544" y="14"/>
                    <a:pt x="544" y="14"/>
                  </a:cubicBezTo>
                  <a:cubicBezTo>
                    <a:pt x="544" y="14"/>
                    <a:pt x="544" y="14"/>
                    <a:pt x="544" y="14"/>
                  </a:cubicBezTo>
                  <a:cubicBezTo>
                    <a:pt x="544" y="14"/>
                    <a:pt x="543" y="14"/>
                    <a:pt x="543" y="14"/>
                  </a:cubicBezTo>
                  <a:cubicBezTo>
                    <a:pt x="543" y="14"/>
                    <a:pt x="543" y="14"/>
                    <a:pt x="543" y="14"/>
                  </a:cubicBezTo>
                  <a:cubicBezTo>
                    <a:pt x="543" y="15"/>
                    <a:pt x="543" y="15"/>
                    <a:pt x="543" y="15"/>
                  </a:cubicBezTo>
                  <a:cubicBezTo>
                    <a:pt x="543" y="15"/>
                    <a:pt x="543" y="15"/>
                    <a:pt x="543" y="15"/>
                  </a:cubicBezTo>
                  <a:cubicBezTo>
                    <a:pt x="543" y="15"/>
                    <a:pt x="543" y="15"/>
                    <a:pt x="543" y="15"/>
                  </a:cubicBezTo>
                  <a:cubicBezTo>
                    <a:pt x="543" y="15"/>
                    <a:pt x="543" y="15"/>
                    <a:pt x="543" y="15"/>
                  </a:cubicBezTo>
                  <a:cubicBezTo>
                    <a:pt x="543" y="15"/>
                    <a:pt x="542" y="15"/>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1" y="16"/>
                    <a:pt x="541" y="17"/>
                    <a:pt x="541" y="17"/>
                  </a:cubicBezTo>
                  <a:cubicBezTo>
                    <a:pt x="541" y="17"/>
                    <a:pt x="541" y="17"/>
                    <a:pt x="541" y="17"/>
                  </a:cubicBezTo>
                  <a:cubicBezTo>
                    <a:pt x="541" y="17"/>
                    <a:pt x="541" y="17"/>
                    <a:pt x="541" y="17"/>
                  </a:cubicBezTo>
                  <a:cubicBezTo>
                    <a:pt x="541" y="17"/>
                    <a:pt x="541" y="17"/>
                    <a:pt x="541" y="17"/>
                  </a:cubicBezTo>
                  <a:cubicBezTo>
                    <a:pt x="541" y="17"/>
                    <a:pt x="541" y="18"/>
                    <a:pt x="541" y="18"/>
                  </a:cubicBezTo>
                  <a:cubicBezTo>
                    <a:pt x="541" y="18"/>
                    <a:pt x="541" y="18"/>
                    <a:pt x="541" y="18"/>
                  </a:cubicBezTo>
                  <a:cubicBezTo>
                    <a:pt x="540" y="18"/>
                    <a:pt x="540" y="18"/>
                    <a:pt x="540" y="18"/>
                  </a:cubicBezTo>
                  <a:cubicBezTo>
                    <a:pt x="540" y="18"/>
                    <a:pt x="540" y="18"/>
                    <a:pt x="540" y="18"/>
                  </a:cubicBezTo>
                  <a:cubicBezTo>
                    <a:pt x="540" y="18"/>
                    <a:pt x="540" y="19"/>
                    <a:pt x="540" y="19"/>
                  </a:cubicBezTo>
                  <a:cubicBezTo>
                    <a:pt x="540" y="19"/>
                    <a:pt x="540" y="19"/>
                    <a:pt x="540" y="19"/>
                  </a:cubicBezTo>
                  <a:cubicBezTo>
                    <a:pt x="540" y="19"/>
                    <a:pt x="540" y="19"/>
                    <a:pt x="540" y="19"/>
                  </a:cubicBezTo>
                  <a:cubicBezTo>
                    <a:pt x="540" y="19"/>
                    <a:pt x="540" y="19"/>
                    <a:pt x="540" y="19"/>
                  </a:cubicBezTo>
                  <a:cubicBezTo>
                    <a:pt x="539" y="20"/>
                    <a:pt x="539" y="20"/>
                    <a:pt x="539" y="20"/>
                  </a:cubicBezTo>
                  <a:cubicBezTo>
                    <a:pt x="539" y="20"/>
                    <a:pt x="539" y="20"/>
                    <a:pt x="539" y="20"/>
                  </a:cubicBezTo>
                  <a:cubicBezTo>
                    <a:pt x="539" y="20"/>
                    <a:pt x="539" y="21"/>
                    <a:pt x="539" y="21"/>
                  </a:cubicBezTo>
                  <a:cubicBezTo>
                    <a:pt x="539" y="21"/>
                    <a:pt x="539" y="21"/>
                    <a:pt x="539" y="21"/>
                  </a:cubicBezTo>
                  <a:cubicBezTo>
                    <a:pt x="539" y="21"/>
                    <a:pt x="539" y="21"/>
                    <a:pt x="539" y="21"/>
                  </a:cubicBezTo>
                  <a:cubicBezTo>
                    <a:pt x="539" y="21"/>
                    <a:pt x="539" y="22"/>
                    <a:pt x="538" y="22"/>
                  </a:cubicBezTo>
                  <a:cubicBezTo>
                    <a:pt x="538" y="22"/>
                    <a:pt x="538" y="22"/>
                    <a:pt x="538" y="22"/>
                  </a:cubicBezTo>
                  <a:cubicBezTo>
                    <a:pt x="538" y="22"/>
                    <a:pt x="538" y="22"/>
                    <a:pt x="538" y="23"/>
                  </a:cubicBezTo>
                  <a:cubicBezTo>
                    <a:pt x="538" y="23"/>
                    <a:pt x="538" y="23"/>
                    <a:pt x="538" y="23"/>
                  </a:cubicBezTo>
                  <a:cubicBezTo>
                    <a:pt x="538" y="23"/>
                    <a:pt x="538" y="23"/>
                    <a:pt x="538" y="23"/>
                  </a:cubicBezTo>
                  <a:cubicBezTo>
                    <a:pt x="538" y="23"/>
                    <a:pt x="538" y="23"/>
                    <a:pt x="538" y="24"/>
                  </a:cubicBezTo>
                  <a:cubicBezTo>
                    <a:pt x="538" y="24"/>
                    <a:pt x="538" y="24"/>
                    <a:pt x="538" y="24"/>
                  </a:cubicBezTo>
                  <a:cubicBezTo>
                    <a:pt x="538" y="24"/>
                    <a:pt x="538" y="24"/>
                    <a:pt x="538" y="24"/>
                  </a:cubicBezTo>
                  <a:cubicBezTo>
                    <a:pt x="537" y="24"/>
                    <a:pt x="538" y="25"/>
                    <a:pt x="537" y="25"/>
                  </a:cubicBezTo>
                  <a:cubicBezTo>
                    <a:pt x="538" y="25"/>
                    <a:pt x="538" y="25"/>
                    <a:pt x="537" y="25"/>
                  </a:cubicBezTo>
                  <a:cubicBezTo>
                    <a:pt x="537" y="26"/>
                    <a:pt x="537" y="26"/>
                    <a:pt x="537" y="27"/>
                  </a:cubicBezTo>
                  <a:cubicBezTo>
                    <a:pt x="537" y="28"/>
                    <a:pt x="537" y="29"/>
                    <a:pt x="537" y="30"/>
                  </a:cubicBezTo>
                  <a:cubicBezTo>
                    <a:pt x="537" y="32"/>
                    <a:pt x="537" y="35"/>
                    <a:pt x="538" y="37"/>
                  </a:cubicBezTo>
                  <a:cubicBezTo>
                    <a:pt x="539" y="42"/>
                    <a:pt x="541" y="46"/>
                    <a:pt x="545" y="49"/>
                  </a:cubicBezTo>
                  <a:cubicBezTo>
                    <a:pt x="548" y="52"/>
                    <a:pt x="552" y="55"/>
                    <a:pt x="556" y="57"/>
                  </a:cubicBezTo>
                  <a:cubicBezTo>
                    <a:pt x="559" y="58"/>
                    <a:pt x="561" y="60"/>
                    <a:pt x="563" y="61"/>
                  </a:cubicBezTo>
                  <a:cubicBezTo>
                    <a:pt x="567" y="63"/>
                    <a:pt x="570" y="65"/>
                    <a:pt x="573" y="68"/>
                  </a:cubicBezTo>
                  <a:cubicBezTo>
                    <a:pt x="576" y="71"/>
                    <a:pt x="578" y="75"/>
                    <a:pt x="578" y="79"/>
                  </a:cubicBezTo>
                  <a:cubicBezTo>
                    <a:pt x="578" y="86"/>
                    <a:pt x="574" y="90"/>
                    <a:pt x="568" y="92"/>
                  </a:cubicBezTo>
                  <a:cubicBezTo>
                    <a:pt x="566" y="93"/>
                    <a:pt x="563" y="93"/>
                    <a:pt x="561" y="93"/>
                  </a:cubicBezTo>
                  <a:cubicBezTo>
                    <a:pt x="553" y="93"/>
                    <a:pt x="545" y="91"/>
                    <a:pt x="538" y="86"/>
                  </a:cubicBezTo>
                  <a:cubicBezTo>
                    <a:pt x="538" y="85"/>
                    <a:pt x="537" y="85"/>
                    <a:pt x="537" y="85"/>
                  </a:cubicBezTo>
                  <a:cubicBezTo>
                    <a:pt x="537" y="89"/>
                    <a:pt x="537" y="93"/>
                    <a:pt x="537" y="97"/>
                  </a:cubicBezTo>
                  <a:cubicBezTo>
                    <a:pt x="537" y="98"/>
                    <a:pt x="537" y="98"/>
                    <a:pt x="538" y="98"/>
                  </a:cubicBezTo>
                  <a:cubicBezTo>
                    <a:pt x="539" y="99"/>
                    <a:pt x="541" y="100"/>
                    <a:pt x="543" y="100"/>
                  </a:cubicBezTo>
                  <a:cubicBezTo>
                    <a:pt x="546" y="102"/>
                    <a:pt x="550" y="102"/>
                    <a:pt x="553" y="103"/>
                  </a:cubicBezTo>
                  <a:cubicBezTo>
                    <a:pt x="555" y="103"/>
                    <a:pt x="556" y="103"/>
                    <a:pt x="557" y="103"/>
                  </a:cubicBezTo>
                  <a:cubicBezTo>
                    <a:pt x="558" y="103"/>
                    <a:pt x="559" y="103"/>
                    <a:pt x="560" y="103"/>
                  </a:cubicBezTo>
                  <a:cubicBezTo>
                    <a:pt x="561" y="103"/>
                    <a:pt x="562" y="103"/>
                    <a:pt x="564" y="103"/>
                  </a:cubicBezTo>
                  <a:cubicBezTo>
                    <a:pt x="564" y="103"/>
                    <a:pt x="564" y="103"/>
                    <a:pt x="564" y="103"/>
                  </a:cubicBezTo>
                  <a:cubicBezTo>
                    <a:pt x="565" y="103"/>
                    <a:pt x="566" y="103"/>
                    <a:pt x="566" y="103"/>
                  </a:cubicBezTo>
                  <a:cubicBezTo>
                    <a:pt x="566" y="102"/>
                    <a:pt x="567" y="102"/>
                    <a:pt x="567" y="103"/>
                  </a:cubicBezTo>
                  <a:cubicBezTo>
                    <a:pt x="567" y="102"/>
                    <a:pt x="568" y="103"/>
                    <a:pt x="568" y="102"/>
                  </a:cubicBezTo>
                  <a:cubicBezTo>
                    <a:pt x="568" y="102"/>
                    <a:pt x="568" y="102"/>
                    <a:pt x="568" y="102"/>
                  </a:cubicBezTo>
                  <a:cubicBezTo>
                    <a:pt x="569" y="102"/>
                    <a:pt x="569" y="102"/>
                    <a:pt x="569" y="102"/>
                  </a:cubicBezTo>
                  <a:cubicBezTo>
                    <a:pt x="569" y="102"/>
                    <a:pt x="569" y="102"/>
                    <a:pt x="570" y="102"/>
                  </a:cubicBezTo>
                  <a:cubicBezTo>
                    <a:pt x="570" y="102"/>
                    <a:pt x="570" y="102"/>
                    <a:pt x="570" y="102"/>
                  </a:cubicBezTo>
                  <a:cubicBezTo>
                    <a:pt x="570" y="102"/>
                    <a:pt x="570" y="102"/>
                    <a:pt x="570" y="102"/>
                  </a:cubicBezTo>
                  <a:cubicBezTo>
                    <a:pt x="570" y="102"/>
                    <a:pt x="571" y="102"/>
                    <a:pt x="571" y="101"/>
                  </a:cubicBezTo>
                  <a:cubicBezTo>
                    <a:pt x="571" y="101"/>
                    <a:pt x="571" y="101"/>
                    <a:pt x="571" y="101"/>
                  </a:cubicBezTo>
                  <a:cubicBezTo>
                    <a:pt x="571" y="101"/>
                    <a:pt x="572" y="101"/>
                    <a:pt x="572" y="101"/>
                  </a:cubicBezTo>
                  <a:cubicBezTo>
                    <a:pt x="572" y="101"/>
                    <a:pt x="572" y="101"/>
                    <a:pt x="572" y="101"/>
                  </a:cubicBezTo>
                  <a:cubicBezTo>
                    <a:pt x="572" y="101"/>
                    <a:pt x="573" y="101"/>
                    <a:pt x="573" y="101"/>
                  </a:cubicBezTo>
                  <a:cubicBezTo>
                    <a:pt x="573" y="101"/>
                    <a:pt x="573" y="101"/>
                    <a:pt x="573" y="101"/>
                  </a:cubicBezTo>
                  <a:cubicBezTo>
                    <a:pt x="573" y="101"/>
                    <a:pt x="574" y="101"/>
                    <a:pt x="574" y="100"/>
                  </a:cubicBezTo>
                  <a:cubicBezTo>
                    <a:pt x="574" y="100"/>
                    <a:pt x="574" y="100"/>
                    <a:pt x="574" y="100"/>
                  </a:cubicBezTo>
                  <a:cubicBezTo>
                    <a:pt x="574" y="100"/>
                    <a:pt x="574" y="100"/>
                    <a:pt x="574" y="100"/>
                  </a:cubicBezTo>
                  <a:cubicBezTo>
                    <a:pt x="574" y="100"/>
                    <a:pt x="575" y="100"/>
                    <a:pt x="575" y="100"/>
                  </a:cubicBezTo>
                  <a:cubicBezTo>
                    <a:pt x="575" y="100"/>
                    <a:pt x="575" y="100"/>
                    <a:pt x="575" y="100"/>
                  </a:cubicBezTo>
                  <a:cubicBezTo>
                    <a:pt x="575" y="100"/>
                    <a:pt x="576" y="100"/>
                    <a:pt x="576" y="100"/>
                  </a:cubicBezTo>
                  <a:cubicBezTo>
                    <a:pt x="576" y="100"/>
                    <a:pt x="576" y="100"/>
                    <a:pt x="576" y="100"/>
                  </a:cubicBezTo>
                  <a:cubicBezTo>
                    <a:pt x="576" y="100"/>
                    <a:pt x="576" y="100"/>
                    <a:pt x="576" y="99"/>
                  </a:cubicBezTo>
                  <a:cubicBezTo>
                    <a:pt x="576" y="99"/>
                    <a:pt x="576" y="99"/>
                    <a:pt x="576" y="99"/>
                  </a:cubicBezTo>
                  <a:cubicBezTo>
                    <a:pt x="577" y="99"/>
                    <a:pt x="577" y="99"/>
                    <a:pt x="577" y="99"/>
                  </a:cubicBezTo>
                  <a:cubicBezTo>
                    <a:pt x="577" y="99"/>
                    <a:pt x="577" y="99"/>
                    <a:pt x="577" y="99"/>
                  </a:cubicBezTo>
                  <a:cubicBezTo>
                    <a:pt x="577" y="99"/>
                    <a:pt x="578" y="99"/>
                    <a:pt x="578" y="99"/>
                  </a:cubicBezTo>
                  <a:cubicBezTo>
                    <a:pt x="578" y="99"/>
                    <a:pt x="578" y="99"/>
                    <a:pt x="578" y="99"/>
                  </a:cubicBezTo>
                  <a:cubicBezTo>
                    <a:pt x="578" y="99"/>
                    <a:pt x="578" y="98"/>
                    <a:pt x="578" y="98"/>
                  </a:cubicBezTo>
                  <a:cubicBezTo>
                    <a:pt x="578" y="98"/>
                    <a:pt x="578" y="98"/>
                    <a:pt x="578" y="98"/>
                  </a:cubicBezTo>
                  <a:cubicBezTo>
                    <a:pt x="578" y="98"/>
                    <a:pt x="579" y="98"/>
                    <a:pt x="579" y="98"/>
                  </a:cubicBezTo>
                  <a:cubicBezTo>
                    <a:pt x="579" y="98"/>
                    <a:pt x="579" y="98"/>
                    <a:pt x="579" y="98"/>
                  </a:cubicBezTo>
                  <a:cubicBezTo>
                    <a:pt x="579" y="98"/>
                    <a:pt x="579" y="98"/>
                    <a:pt x="579" y="98"/>
                  </a:cubicBezTo>
                  <a:cubicBezTo>
                    <a:pt x="579" y="98"/>
                    <a:pt x="579" y="98"/>
                    <a:pt x="579" y="98"/>
                  </a:cubicBezTo>
                  <a:cubicBezTo>
                    <a:pt x="579" y="97"/>
                    <a:pt x="580" y="98"/>
                    <a:pt x="580" y="97"/>
                  </a:cubicBezTo>
                  <a:cubicBezTo>
                    <a:pt x="580" y="97"/>
                    <a:pt x="580" y="97"/>
                    <a:pt x="580" y="97"/>
                  </a:cubicBezTo>
                  <a:cubicBezTo>
                    <a:pt x="580" y="97"/>
                    <a:pt x="580" y="97"/>
                    <a:pt x="580" y="97"/>
                  </a:cubicBezTo>
                  <a:cubicBezTo>
                    <a:pt x="580" y="97"/>
                    <a:pt x="580" y="97"/>
                    <a:pt x="580" y="97"/>
                  </a:cubicBezTo>
                  <a:cubicBezTo>
                    <a:pt x="580" y="97"/>
                    <a:pt x="580" y="97"/>
                    <a:pt x="581" y="97"/>
                  </a:cubicBezTo>
                  <a:cubicBezTo>
                    <a:pt x="581" y="97"/>
                    <a:pt x="581" y="97"/>
                    <a:pt x="581" y="97"/>
                  </a:cubicBezTo>
                  <a:cubicBezTo>
                    <a:pt x="581" y="96"/>
                    <a:pt x="581" y="97"/>
                    <a:pt x="581" y="96"/>
                  </a:cubicBezTo>
                  <a:cubicBezTo>
                    <a:pt x="581" y="96"/>
                    <a:pt x="581" y="96"/>
                    <a:pt x="581" y="96"/>
                  </a:cubicBezTo>
                  <a:cubicBezTo>
                    <a:pt x="581" y="96"/>
                    <a:pt x="582" y="96"/>
                    <a:pt x="582" y="96"/>
                  </a:cubicBezTo>
                  <a:cubicBezTo>
                    <a:pt x="582" y="96"/>
                    <a:pt x="582" y="96"/>
                    <a:pt x="582" y="96"/>
                  </a:cubicBezTo>
                  <a:cubicBezTo>
                    <a:pt x="582" y="96"/>
                    <a:pt x="582" y="96"/>
                    <a:pt x="582" y="96"/>
                  </a:cubicBezTo>
                  <a:cubicBezTo>
                    <a:pt x="582" y="96"/>
                    <a:pt x="582" y="96"/>
                    <a:pt x="582" y="96"/>
                  </a:cubicBezTo>
                  <a:cubicBezTo>
                    <a:pt x="582" y="95"/>
                    <a:pt x="582" y="95"/>
                    <a:pt x="582" y="95"/>
                  </a:cubicBezTo>
                  <a:cubicBezTo>
                    <a:pt x="582" y="95"/>
                    <a:pt x="582" y="95"/>
                    <a:pt x="582" y="95"/>
                  </a:cubicBezTo>
                  <a:cubicBezTo>
                    <a:pt x="582" y="95"/>
                    <a:pt x="583" y="95"/>
                    <a:pt x="583" y="95"/>
                  </a:cubicBezTo>
                  <a:cubicBezTo>
                    <a:pt x="583" y="95"/>
                    <a:pt x="583" y="95"/>
                    <a:pt x="583" y="95"/>
                  </a:cubicBezTo>
                  <a:cubicBezTo>
                    <a:pt x="583" y="95"/>
                    <a:pt x="583" y="95"/>
                    <a:pt x="583" y="95"/>
                  </a:cubicBezTo>
                  <a:cubicBezTo>
                    <a:pt x="583" y="95"/>
                    <a:pt x="583" y="95"/>
                    <a:pt x="583" y="95"/>
                  </a:cubicBezTo>
                  <a:cubicBezTo>
                    <a:pt x="583" y="94"/>
                    <a:pt x="583" y="94"/>
                    <a:pt x="583" y="94"/>
                  </a:cubicBezTo>
                  <a:cubicBezTo>
                    <a:pt x="583" y="94"/>
                    <a:pt x="583" y="94"/>
                    <a:pt x="583" y="94"/>
                  </a:cubicBezTo>
                  <a:cubicBezTo>
                    <a:pt x="583" y="94"/>
                    <a:pt x="584" y="94"/>
                    <a:pt x="584" y="94"/>
                  </a:cubicBezTo>
                  <a:cubicBezTo>
                    <a:pt x="584" y="94"/>
                    <a:pt x="584" y="94"/>
                    <a:pt x="584" y="94"/>
                  </a:cubicBezTo>
                  <a:cubicBezTo>
                    <a:pt x="584" y="94"/>
                    <a:pt x="584" y="94"/>
                    <a:pt x="584" y="93"/>
                  </a:cubicBezTo>
                  <a:cubicBezTo>
                    <a:pt x="584" y="93"/>
                    <a:pt x="584" y="93"/>
                    <a:pt x="584" y="93"/>
                  </a:cubicBezTo>
                  <a:cubicBezTo>
                    <a:pt x="584" y="93"/>
                    <a:pt x="584" y="93"/>
                    <a:pt x="584" y="93"/>
                  </a:cubicBezTo>
                  <a:cubicBezTo>
                    <a:pt x="584" y="93"/>
                    <a:pt x="584" y="93"/>
                    <a:pt x="584" y="93"/>
                  </a:cubicBezTo>
                  <a:cubicBezTo>
                    <a:pt x="585" y="93"/>
                    <a:pt x="585" y="93"/>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6" y="92"/>
                    <a:pt x="586" y="91"/>
                    <a:pt x="586" y="91"/>
                  </a:cubicBezTo>
                  <a:cubicBezTo>
                    <a:pt x="586" y="91"/>
                    <a:pt x="586" y="91"/>
                    <a:pt x="586" y="91"/>
                  </a:cubicBezTo>
                  <a:cubicBezTo>
                    <a:pt x="586" y="91"/>
                    <a:pt x="586" y="91"/>
                    <a:pt x="586" y="90"/>
                  </a:cubicBezTo>
                  <a:cubicBezTo>
                    <a:pt x="586" y="90"/>
                    <a:pt x="586" y="90"/>
                    <a:pt x="586" y="90"/>
                  </a:cubicBezTo>
                  <a:cubicBezTo>
                    <a:pt x="586" y="90"/>
                    <a:pt x="586" y="90"/>
                    <a:pt x="586" y="90"/>
                  </a:cubicBezTo>
                  <a:cubicBezTo>
                    <a:pt x="586" y="90"/>
                    <a:pt x="586" y="90"/>
                    <a:pt x="586" y="90"/>
                  </a:cubicBezTo>
                  <a:cubicBezTo>
                    <a:pt x="587" y="90"/>
                    <a:pt x="587" y="89"/>
                    <a:pt x="587" y="89"/>
                  </a:cubicBezTo>
                  <a:cubicBezTo>
                    <a:pt x="587" y="89"/>
                    <a:pt x="587" y="89"/>
                    <a:pt x="587" y="89"/>
                  </a:cubicBezTo>
                  <a:cubicBezTo>
                    <a:pt x="587" y="89"/>
                    <a:pt x="587" y="89"/>
                    <a:pt x="587" y="89"/>
                  </a:cubicBezTo>
                  <a:cubicBezTo>
                    <a:pt x="587" y="89"/>
                    <a:pt x="587" y="89"/>
                    <a:pt x="587" y="89"/>
                  </a:cubicBezTo>
                  <a:cubicBezTo>
                    <a:pt x="588" y="88"/>
                    <a:pt x="587" y="88"/>
                    <a:pt x="588" y="88"/>
                  </a:cubicBezTo>
                  <a:cubicBezTo>
                    <a:pt x="588" y="88"/>
                    <a:pt x="588" y="88"/>
                    <a:pt x="588" y="88"/>
                  </a:cubicBezTo>
                  <a:cubicBezTo>
                    <a:pt x="588" y="87"/>
                    <a:pt x="588" y="87"/>
                    <a:pt x="588" y="87"/>
                  </a:cubicBezTo>
                  <a:cubicBezTo>
                    <a:pt x="588" y="87"/>
                    <a:pt x="588" y="87"/>
                    <a:pt x="588" y="87"/>
                  </a:cubicBezTo>
                  <a:cubicBezTo>
                    <a:pt x="588" y="86"/>
                    <a:pt x="588" y="86"/>
                    <a:pt x="588" y="86"/>
                  </a:cubicBezTo>
                  <a:cubicBezTo>
                    <a:pt x="588" y="86"/>
                    <a:pt x="588" y="86"/>
                    <a:pt x="588" y="85"/>
                  </a:cubicBezTo>
                  <a:cubicBezTo>
                    <a:pt x="589" y="85"/>
                    <a:pt x="588" y="85"/>
                    <a:pt x="589" y="84"/>
                  </a:cubicBezTo>
                  <a:close/>
                  <a:moveTo>
                    <a:pt x="300" y="53"/>
                  </a:moveTo>
                  <a:cubicBezTo>
                    <a:pt x="297" y="43"/>
                    <a:pt x="290" y="37"/>
                    <a:pt x="280" y="34"/>
                  </a:cubicBezTo>
                  <a:cubicBezTo>
                    <a:pt x="274" y="32"/>
                    <a:pt x="268" y="32"/>
                    <a:pt x="262" y="33"/>
                  </a:cubicBezTo>
                  <a:cubicBezTo>
                    <a:pt x="251" y="35"/>
                    <a:pt x="243" y="42"/>
                    <a:pt x="239" y="52"/>
                  </a:cubicBezTo>
                  <a:cubicBezTo>
                    <a:pt x="235" y="62"/>
                    <a:pt x="235" y="72"/>
                    <a:pt x="238" y="82"/>
                  </a:cubicBezTo>
                  <a:cubicBezTo>
                    <a:pt x="241" y="91"/>
                    <a:pt x="248" y="98"/>
                    <a:pt x="257" y="101"/>
                  </a:cubicBezTo>
                  <a:cubicBezTo>
                    <a:pt x="263" y="103"/>
                    <a:pt x="269" y="104"/>
                    <a:pt x="275" y="103"/>
                  </a:cubicBezTo>
                  <a:cubicBezTo>
                    <a:pt x="286" y="101"/>
                    <a:pt x="294" y="95"/>
                    <a:pt x="299" y="86"/>
                  </a:cubicBezTo>
                  <a:cubicBezTo>
                    <a:pt x="301" y="80"/>
                    <a:pt x="302" y="74"/>
                    <a:pt x="302" y="67"/>
                  </a:cubicBezTo>
                  <a:cubicBezTo>
                    <a:pt x="302" y="63"/>
                    <a:pt x="302" y="58"/>
                    <a:pt x="300" y="53"/>
                  </a:cubicBezTo>
                  <a:close/>
                  <a:moveTo>
                    <a:pt x="422" y="54"/>
                  </a:moveTo>
                  <a:cubicBezTo>
                    <a:pt x="419" y="43"/>
                    <a:pt x="412" y="37"/>
                    <a:pt x="401" y="34"/>
                  </a:cubicBezTo>
                  <a:cubicBezTo>
                    <a:pt x="396" y="32"/>
                    <a:pt x="390" y="32"/>
                    <a:pt x="384" y="33"/>
                  </a:cubicBezTo>
                  <a:cubicBezTo>
                    <a:pt x="374" y="35"/>
                    <a:pt x="366" y="41"/>
                    <a:pt x="362" y="50"/>
                  </a:cubicBezTo>
                  <a:cubicBezTo>
                    <a:pt x="357" y="60"/>
                    <a:pt x="356" y="74"/>
                    <a:pt x="361" y="84"/>
                  </a:cubicBezTo>
                  <a:cubicBezTo>
                    <a:pt x="365" y="94"/>
                    <a:pt x="371" y="100"/>
                    <a:pt x="381" y="102"/>
                  </a:cubicBezTo>
                  <a:cubicBezTo>
                    <a:pt x="386" y="103"/>
                    <a:pt x="392" y="103"/>
                    <a:pt x="397" y="103"/>
                  </a:cubicBezTo>
                  <a:cubicBezTo>
                    <a:pt x="408" y="101"/>
                    <a:pt x="415" y="95"/>
                    <a:pt x="420" y="85"/>
                  </a:cubicBezTo>
                  <a:cubicBezTo>
                    <a:pt x="423" y="80"/>
                    <a:pt x="424" y="74"/>
                    <a:pt x="424" y="67"/>
                  </a:cubicBezTo>
                  <a:cubicBezTo>
                    <a:pt x="424" y="63"/>
                    <a:pt x="423" y="58"/>
                    <a:pt x="422" y="54"/>
                  </a:cubicBezTo>
                  <a:close/>
                  <a:moveTo>
                    <a:pt x="1580" y="22"/>
                  </a:moveTo>
                  <a:cubicBezTo>
                    <a:pt x="1580" y="22"/>
                    <a:pt x="1580" y="22"/>
                    <a:pt x="1580" y="22"/>
                  </a:cubicBezTo>
                  <a:cubicBezTo>
                    <a:pt x="1580" y="22"/>
                    <a:pt x="1580" y="21"/>
                    <a:pt x="1580" y="21"/>
                  </a:cubicBezTo>
                  <a:cubicBezTo>
                    <a:pt x="1580" y="21"/>
                    <a:pt x="1580" y="21"/>
                    <a:pt x="1580" y="21"/>
                  </a:cubicBezTo>
                  <a:cubicBezTo>
                    <a:pt x="1580" y="21"/>
                    <a:pt x="1580" y="20"/>
                    <a:pt x="1580" y="20"/>
                  </a:cubicBezTo>
                  <a:cubicBezTo>
                    <a:pt x="1580" y="20"/>
                    <a:pt x="1580" y="20"/>
                    <a:pt x="1580" y="20"/>
                  </a:cubicBezTo>
                  <a:cubicBezTo>
                    <a:pt x="1579" y="20"/>
                    <a:pt x="1579" y="20"/>
                    <a:pt x="1579" y="19"/>
                  </a:cubicBezTo>
                  <a:cubicBezTo>
                    <a:pt x="1579" y="19"/>
                    <a:pt x="1579" y="19"/>
                    <a:pt x="1579" y="19"/>
                  </a:cubicBezTo>
                  <a:cubicBezTo>
                    <a:pt x="1579" y="19"/>
                    <a:pt x="1579" y="19"/>
                    <a:pt x="1579" y="19"/>
                  </a:cubicBezTo>
                  <a:cubicBezTo>
                    <a:pt x="1579" y="19"/>
                    <a:pt x="1579" y="19"/>
                    <a:pt x="1579" y="19"/>
                  </a:cubicBezTo>
                  <a:cubicBezTo>
                    <a:pt x="1579" y="18"/>
                    <a:pt x="1579" y="18"/>
                    <a:pt x="1579" y="18"/>
                  </a:cubicBezTo>
                  <a:cubicBezTo>
                    <a:pt x="1579" y="18"/>
                    <a:pt x="1579" y="18"/>
                    <a:pt x="1579" y="18"/>
                  </a:cubicBezTo>
                  <a:cubicBezTo>
                    <a:pt x="1578" y="18"/>
                    <a:pt x="1578" y="17"/>
                    <a:pt x="1578" y="17"/>
                  </a:cubicBezTo>
                  <a:cubicBezTo>
                    <a:pt x="1578" y="17"/>
                    <a:pt x="1578" y="17"/>
                    <a:pt x="1578" y="17"/>
                  </a:cubicBezTo>
                  <a:cubicBezTo>
                    <a:pt x="1578" y="17"/>
                    <a:pt x="1578" y="17"/>
                    <a:pt x="1578" y="17"/>
                  </a:cubicBezTo>
                  <a:cubicBezTo>
                    <a:pt x="1578" y="17"/>
                    <a:pt x="1578" y="17"/>
                    <a:pt x="1578" y="17"/>
                  </a:cubicBezTo>
                  <a:cubicBezTo>
                    <a:pt x="1578" y="17"/>
                    <a:pt x="1578" y="16"/>
                    <a:pt x="1577" y="16"/>
                  </a:cubicBezTo>
                  <a:cubicBezTo>
                    <a:pt x="1577" y="16"/>
                    <a:pt x="1577" y="16"/>
                    <a:pt x="1577" y="16"/>
                  </a:cubicBezTo>
                  <a:cubicBezTo>
                    <a:pt x="1577" y="16"/>
                    <a:pt x="1577" y="16"/>
                    <a:pt x="1577" y="16"/>
                  </a:cubicBezTo>
                  <a:cubicBezTo>
                    <a:pt x="1577" y="16"/>
                    <a:pt x="1577" y="16"/>
                    <a:pt x="1577" y="16"/>
                  </a:cubicBezTo>
                  <a:cubicBezTo>
                    <a:pt x="1577" y="16"/>
                    <a:pt x="1577" y="15"/>
                    <a:pt x="1576" y="15"/>
                  </a:cubicBezTo>
                  <a:cubicBezTo>
                    <a:pt x="1576" y="15"/>
                    <a:pt x="1576" y="15"/>
                    <a:pt x="1576" y="15"/>
                  </a:cubicBezTo>
                  <a:cubicBezTo>
                    <a:pt x="1576" y="15"/>
                    <a:pt x="1576" y="15"/>
                    <a:pt x="1576" y="15"/>
                  </a:cubicBezTo>
                  <a:cubicBezTo>
                    <a:pt x="1576" y="15"/>
                    <a:pt x="1576" y="15"/>
                    <a:pt x="1576" y="15"/>
                  </a:cubicBezTo>
                  <a:cubicBezTo>
                    <a:pt x="1576" y="14"/>
                    <a:pt x="1576" y="14"/>
                    <a:pt x="1576" y="14"/>
                  </a:cubicBezTo>
                  <a:cubicBezTo>
                    <a:pt x="1576" y="14"/>
                    <a:pt x="1576" y="14"/>
                    <a:pt x="1576" y="14"/>
                  </a:cubicBezTo>
                  <a:cubicBezTo>
                    <a:pt x="1576" y="14"/>
                    <a:pt x="1576" y="14"/>
                    <a:pt x="1575" y="14"/>
                  </a:cubicBezTo>
                  <a:cubicBezTo>
                    <a:pt x="1575" y="14"/>
                    <a:pt x="1575" y="14"/>
                    <a:pt x="1575" y="14"/>
                  </a:cubicBezTo>
                  <a:cubicBezTo>
                    <a:pt x="1575" y="14"/>
                    <a:pt x="1575" y="14"/>
                    <a:pt x="1575" y="13"/>
                  </a:cubicBezTo>
                  <a:cubicBezTo>
                    <a:pt x="1575" y="13"/>
                    <a:pt x="1575" y="13"/>
                    <a:pt x="1575" y="13"/>
                  </a:cubicBezTo>
                  <a:cubicBezTo>
                    <a:pt x="1575" y="13"/>
                    <a:pt x="1575" y="13"/>
                    <a:pt x="1575" y="13"/>
                  </a:cubicBezTo>
                  <a:cubicBezTo>
                    <a:pt x="1575" y="13"/>
                    <a:pt x="1575" y="13"/>
                    <a:pt x="1575" y="13"/>
                  </a:cubicBezTo>
                  <a:cubicBezTo>
                    <a:pt x="1575" y="13"/>
                    <a:pt x="1575" y="13"/>
                    <a:pt x="1574" y="13"/>
                  </a:cubicBezTo>
                  <a:cubicBezTo>
                    <a:pt x="1574" y="13"/>
                    <a:pt x="1574" y="13"/>
                    <a:pt x="1574" y="13"/>
                  </a:cubicBezTo>
                  <a:cubicBezTo>
                    <a:pt x="1574" y="13"/>
                    <a:pt x="1574" y="13"/>
                    <a:pt x="1574" y="12"/>
                  </a:cubicBezTo>
                  <a:cubicBezTo>
                    <a:pt x="1574" y="12"/>
                    <a:pt x="1574" y="12"/>
                    <a:pt x="1574" y="12"/>
                  </a:cubicBezTo>
                  <a:cubicBezTo>
                    <a:pt x="1574" y="12"/>
                    <a:pt x="1574" y="12"/>
                    <a:pt x="1574" y="12"/>
                  </a:cubicBezTo>
                  <a:cubicBezTo>
                    <a:pt x="1574" y="12"/>
                    <a:pt x="1574" y="12"/>
                    <a:pt x="1574" y="12"/>
                  </a:cubicBezTo>
                  <a:cubicBezTo>
                    <a:pt x="1574" y="12"/>
                    <a:pt x="1573" y="12"/>
                    <a:pt x="1573" y="12"/>
                  </a:cubicBezTo>
                  <a:cubicBezTo>
                    <a:pt x="1573" y="12"/>
                    <a:pt x="1573" y="12"/>
                    <a:pt x="1573" y="12"/>
                  </a:cubicBezTo>
                  <a:cubicBezTo>
                    <a:pt x="1573" y="12"/>
                    <a:pt x="1573" y="11"/>
                    <a:pt x="1573" y="11"/>
                  </a:cubicBezTo>
                  <a:cubicBezTo>
                    <a:pt x="1573" y="11"/>
                    <a:pt x="1573" y="11"/>
                    <a:pt x="1573" y="11"/>
                  </a:cubicBezTo>
                  <a:cubicBezTo>
                    <a:pt x="1573" y="11"/>
                    <a:pt x="1572" y="11"/>
                    <a:pt x="1572" y="11"/>
                  </a:cubicBezTo>
                  <a:cubicBezTo>
                    <a:pt x="1572" y="11"/>
                    <a:pt x="1572" y="11"/>
                    <a:pt x="1572" y="11"/>
                  </a:cubicBezTo>
                  <a:cubicBezTo>
                    <a:pt x="1572" y="11"/>
                    <a:pt x="1572" y="11"/>
                    <a:pt x="1572" y="11"/>
                  </a:cubicBezTo>
                  <a:cubicBezTo>
                    <a:pt x="1572" y="11"/>
                    <a:pt x="1572" y="11"/>
                    <a:pt x="1572" y="11"/>
                  </a:cubicBezTo>
                  <a:cubicBezTo>
                    <a:pt x="1572" y="10"/>
                    <a:pt x="1571" y="10"/>
                    <a:pt x="1571" y="10"/>
                  </a:cubicBezTo>
                  <a:cubicBezTo>
                    <a:pt x="1571" y="10"/>
                    <a:pt x="1571" y="10"/>
                    <a:pt x="1571" y="10"/>
                  </a:cubicBezTo>
                  <a:cubicBezTo>
                    <a:pt x="1571" y="10"/>
                    <a:pt x="1570" y="10"/>
                    <a:pt x="1570" y="10"/>
                  </a:cubicBezTo>
                  <a:cubicBezTo>
                    <a:pt x="1570" y="10"/>
                    <a:pt x="1570" y="10"/>
                    <a:pt x="1570" y="10"/>
                  </a:cubicBezTo>
                  <a:cubicBezTo>
                    <a:pt x="1570" y="9"/>
                    <a:pt x="1570" y="9"/>
                    <a:pt x="1570" y="9"/>
                  </a:cubicBezTo>
                  <a:cubicBezTo>
                    <a:pt x="1570" y="9"/>
                    <a:pt x="1570" y="9"/>
                    <a:pt x="1570" y="9"/>
                  </a:cubicBezTo>
                  <a:cubicBezTo>
                    <a:pt x="1570" y="9"/>
                    <a:pt x="1569" y="9"/>
                    <a:pt x="1569" y="9"/>
                  </a:cubicBezTo>
                  <a:cubicBezTo>
                    <a:pt x="1569" y="9"/>
                    <a:pt x="1569" y="9"/>
                    <a:pt x="1569" y="9"/>
                  </a:cubicBezTo>
                  <a:cubicBezTo>
                    <a:pt x="1569" y="9"/>
                    <a:pt x="1569" y="9"/>
                    <a:pt x="1568" y="9"/>
                  </a:cubicBezTo>
                  <a:cubicBezTo>
                    <a:pt x="1568" y="9"/>
                    <a:pt x="1568" y="9"/>
                    <a:pt x="1568" y="9"/>
                  </a:cubicBezTo>
                  <a:cubicBezTo>
                    <a:pt x="1568" y="8"/>
                    <a:pt x="1568" y="8"/>
                    <a:pt x="1568" y="8"/>
                  </a:cubicBezTo>
                  <a:cubicBezTo>
                    <a:pt x="1568" y="8"/>
                    <a:pt x="1568" y="8"/>
                    <a:pt x="1568" y="8"/>
                  </a:cubicBezTo>
                  <a:cubicBezTo>
                    <a:pt x="1568" y="8"/>
                    <a:pt x="1567" y="8"/>
                    <a:pt x="1567" y="8"/>
                  </a:cubicBezTo>
                  <a:cubicBezTo>
                    <a:pt x="1567" y="8"/>
                    <a:pt x="1567" y="8"/>
                    <a:pt x="1567" y="8"/>
                  </a:cubicBezTo>
                  <a:cubicBezTo>
                    <a:pt x="1567" y="8"/>
                    <a:pt x="1566" y="8"/>
                    <a:pt x="1566" y="8"/>
                  </a:cubicBezTo>
                  <a:cubicBezTo>
                    <a:pt x="1566" y="8"/>
                    <a:pt x="1566" y="8"/>
                    <a:pt x="1566" y="7"/>
                  </a:cubicBezTo>
                  <a:cubicBezTo>
                    <a:pt x="1565" y="7"/>
                    <a:pt x="1565" y="7"/>
                    <a:pt x="1565" y="7"/>
                  </a:cubicBezTo>
                  <a:cubicBezTo>
                    <a:pt x="1565" y="7"/>
                    <a:pt x="1565" y="7"/>
                    <a:pt x="1565" y="7"/>
                  </a:cubicBezTo>
                  <a:cubicBezTo>
                    <a:pt x="1564" y="7"/>
                    <a:pt x="1564" y="7"/>
                    <a:pt x="1564" y="7"/>
                  </a:cubicBezTo>
                  <a:cubicBezTo>
                    <a:pt x="1564" y="7"/>
                    <a:pt x="1564" y="7"/>
                    <a:pt x="1564" y="7"/>
                  </a:cubicBezTo>
                  <a:cubicBezTo>
                    <a:pt x="1564" y="7"/>
                    <a:pt x="1564" y="7"/>
                    <a:pt x="1564" y="7"/>
                  </a:cubicBezTo>
                  <a:cubicBezTo>
                    <a:pt x="1563" y="7"/>
                    <a:pt x="1563" y="7"/>
                    <a:pt x="1562" y="7"/>
                  </a:cubicBezTo>
                  <a:cubicBezTo>
                    <a:pt x="1562" y="7"/>
                    <a:pt x="1562" y="7"/>
                    <a:pt x="1562" y="7"/>
                  </a:cubicBezTo>
                  <a:cubicBezTo>
                    <a:pt x="1562" y="6"/>
                    <a:pt x="1562" y="6"/>
                    <a:pt x="1562" y="6"/>
                  </a:cubicBezTo>
                  <a:cubicBezTo>
                    <a:pt x="1562" y="6"/>
                    <a:pt x="1561" y="7"/>
                    <a:pt x="1560" y="6"/>
                  </a:cubicBezTo>
                  <a:cubicBezTo>
                    <a:pt x="1560" y="6"/>
                    <a:pt x="1560" y="6"/>
                    <a:pt x="1560" y="6"/>
                  </a:cubicBezTo>
                  <a:cubicBezTo>
                    <a:pt x="1559" y="6"/>
                    <a:pt x="1558" y="6"/>
                    <a:pt x="1558" y="6"/>
                  </a:cubicBezTo>
                  <a:cubicBezTo>
                    <a:pt x="1557" y="6"/>
                    <a:pt x="1556" y="6"/>
                    <a:pt x="1556" y="6"/>
                  </a:cubicBezTo>
                  <a:cubicBezTo>
                    <a:pt x="1555" y="6"/>
                    <a:pt x="1554" y="6"/>
                    <a:pt x="1554" y="6"/>
                  </a:cubicBezTo>
                  <a:cubicBezTo>
                    <a:pt x="1553" y="6"/>
                    <a:pt x="1552" y="6"/>
                    <a:pt x="1551" y="6"/>
                  </a:cubicBezTo>
                  <a:cubicBezTo>
                    <a:pt x="1550" y="6"/>
                    <a:pt x="1549" y="6"/>
                    <a:pt x="1549" y="6"/>
                  </a:cubicBezTo>
                  <a:cubicBezTo>
                    <a:pt x="1548" y="6"/>
                    <a:pt x="1548" y="6"/>
                    <a:pt x="1548" y="6"/>
                  </a:cubicBezTo>
                  <a:cubicBezTo>
                    <a:pt x="1547" y="7"/>
                    <a:pt x="1547" y="6"/>
                    <a:pt x="1546" y="6"/>
                  </a:cubicBezTo>
                  <a:cubicBezTo>
                    <a:pt x="1546" y="7"/>
                    <a:pt x="1546" y="7"/>
                    <a:pt x="1546" y="7"/>
                  </a:cubicBezTo>
                  <a:cubicBezTo>
                    <a:pt x="1546" y="7"/>
                    <a:pt x="1546" y="7"/>
                    <a:pt x="1546" y="7"/>
                  </a:cubicBezTo>
                  <a:cubicBezTo>
                    <a:pt x="1546" y="7"/>
                    <a:pt x="1545" y="7"/>
                    <a:pt x="1545" y="7"/>
                  </a:cubicBezTo>
                  <a:cubicBezTo>
                    <a:pt x="1545" y="7"/>
                    <a:pt x="1545" y="7"/>
                    <a:pt x="1545" y="7"/>
                  </a:cubicBezTo>
                  <a:cubicBezTo>
                    <a:pt x="1544" y="7"/>
                    <a:pt x="1544" y="7"/>
                    <a:pt x="1543" y="7"/>
                  </a:cubicBezTo>
                  <a:cubicBezTo>
                    <a:pt x="1543" y="7"/>
                    <a:pt x="1543" y="7"/>
                    <a:pt x="1543" y="7"/>
                  </a:cubicBezTo>
                  <a:cubicBezTo>
                    <a:pt x="1543" y="7"/>
                    <a:pt x="1543" y="7"/>
                    <a:pt x="1543" y="7"/>
                  </a:cubicBezTo>
                  <a:cubicBezTo>
                    <a:pt x="1543" y="7"/>
                    <a:pt x="1543" y="7"/>
                    <a:pt x="1542" y="8"/>
                  </a:cubicBezTo>
                  <a:cubicBezTo>
                    <a:pt x="1542" y="8"/>
                    <a:pt x="1542" y="8"/>
                    <a:pt x="1542" y="8"/>
                  </a:cubicBezTo>
                  <a:cubicBezTo>
                    <a:pt x="1542" y="8"/>
                    <a:pt x="1542" y="8"/>
                    <a:pt x="1542" y="8"/>
                  </a:cubicBezTo>
                  <a:cubicBezTo>
                    <a:pt x="1542" y="8"/>
                    <a:pt x="1542" y="8"/>
                    <a:pt x="1541" y="8"/>
                  </a:cubicBezTo>
                  <a:cubicBezTo>
                    <a:pt x="1541" y="8"/>
                    <a:pt x="1541" y="8"/>
                    <a:pt x="1541" y="8"/>
                  </a:cubicBezTo>
                  <a:cubicBezTo>
                    <a:pt x="1541" y="8"/>
                    <a:pt x="1541" y="8"/>
                    <a:pt x="1541" y="8"/>
                  </a:cubicBezTo>
                  <a:cubicBezTo>
                    <a:pt x="1541" y="8"/>
                    <a:pt x="1541" y="8"/>
                    <a:pt x="1541" y="8"/>
                  </a:cubicBezTo>
                  <a:cubicBezTo>
                    <a:pt x="1540" y="8"/>
                    <a:pt x="1540" y="8"/>
                    <a:pt x="1540" y="8"/>
                  </a:cubicBezTo>
                  <a:cubicBezTo>
                    <a:pt x="1540" y="8"/>
                    <a:pt x="1540" y="8"/>
                    <a:pt x="1540" y="9"/>
                  </a:cubicBezTo>
                  <a:cubicBezTo>
                    <a:pt x="1540" y="9"/>
                    <a:pt x="1540" y="9"/>
                    <a:pt x="1540" y="9"/>
                  </a:cubicBezTo>
                  <a:cubicBezTo>
                    <a:pt x="1539" y="9"/>
                    <a:pt x="1539" y="9"/>
                    <a:pt x="1539" y="9"/>
                  </a:cubicBezTo>
                  <a:cubicBezTo>
                    <a:pt x="1539" y="9"/>
                    <a:pt x="1539" y="9"/>
                    <a:pt x="1539" y="9"/>
                  </a:cubicBezTo>
                  <a:cubicBezTo>
                    <a:pt x="1539" y="9"/>
                    <a:pt x="1538" y="9"/>
                    <a:pt x="1538" y="9"/>
                  </a:cubicBezTo>
                  <a:cubicBezTo>
                    <a:pt x="1538" y="9"/>
                    <a:pt x="1538" y="9"/>
                    <a:pt x="1538" y="9"/>
                  </a:cubicBezTo>
                  <a:cubicBezTo>
                    <a:pt x="1538" y="9"/>
                    <a:pt x="1538" y="9"/>
                    <a:pt x="1538" y="10"/>
                  </a:cubicBezTo>
                  <a:cubicBezTo>
                    <a:pt x="1538" y="10"/>
                    <a:pt x="1538" y="10"/>
                    <a:pt x="1538" y="10"/>
                  </a:cubicBezTo>
                  <a:cubicBezTo>
                    <a:pt x="1537" y="10"/>
                    <a:pt x="1537" y="10"/>
                    <a:pt x="1537" y="10"/>
                  </a:cubicBezTo>
                  <a:cubicBezTo>
                    <a:pt x="1537" y="10"/>
                    <a:pt x="1537" y="10"/>
                    <a:pt x="1537" y="10"/>
                  </a:cubicBezTo>
                  <a:cubicBezTo>
                    <a:pt x="1537" y="10"/>
                    <a:pt x="1537" y="10"/>
                    <a:pt x="1536" y="10"/>
                  </a:cubicBezTo>
                  <a:cubicBezTo>
                    <a:pt x="1536" y="10"/>
                    <a:pt x="1536" y="10"/>
                    <a:pt x="1536" y="10"/>
                  </a:cubicBezTo>
                  <a:cubicBezTo>
                    <a:pt x="1536" y="11"/>
                    <a:pt x="1536" y="10"/>
                    <a:pt x="1536" y="11"/>
                  </a:cubicBezTo>
                  <a:cubicBezTo>
                    <a:pt x="1536" y="11"/>
                    <a:pt x="1536" y="11"/>
                    <a:pt x="1536" y="11"/>
                  </a:cubicBezTo>
                  <a:cubicBezTo>
                    <a:pt x="1536" y="11"/>
                    <a:pt x="1536" y="11"/>
                    <a:pt x="1535" y="11"/>
                  </a:cubicBezTo>
                  <a:cubicBezTo>
                    <a:pt x="1535" y="11"/>
                    <a:pt x="1535" y="11"/>
                    <a:pt x="1535" y="11"/>
                  </a:cubicBezTo>
                  <a:cubicBezTo>
                    <a:pt x="1535" y="11"/>
                    <a:pt x="1535" y="11"/>
                    <a:pt x="1535" y="11"/>
                  </a:cubicBezTo>
                  <a:cubicBezTo>
                    <a:pt x="1535" y="11"/>
                    <a:pt x="1535" y="11"/>
                    <a:pt x="1535" y="11"/>
                  </a:cubicBezTo>
                  <a:cubicBezTo>
                    <a:pt x="1535" y="11"/>
                    <a:pt x="1534" y="12"/>
                    <a:pt x="1534" y="12"/>
                  </a:cubicBezTo>
                  <a:cubicBezTo>
                    <a:pt x="1534" y="12"/>
                    <a:pt x="1534" y="12"/>
                    <a:pt x="1534" y="12"/>
                  </a:cubicBezTo>
                  <a:cubicBezTo>
                    <a:pt x="1534" y="12"/>
                    <a:pt x="1534" y="12"/>
                    <a:pt x="1534" y="12"/>
                  </a:cubicBezTo>
                  <a:cubicBezTo>
                    <a:pt x="1534" y="12"/>
                    <a:pt x="1534" y="12"/>
                    <a:pt x="1534" y="12"/>
                  </a:cubicBezTo>
                  <a:cubicBezTo>
                    <a:pt x="1534" y="12"/>
                    <a:pt x="1533" y="12"/>
                    <a:pt x="1533" y="13"/>
                  </a:cubicBezTo>
                  <a:cubicBezTo>
                    <a:pt x="1533" y="12"/>
                    <a:pt x="1533" y="12"/>
                    <a:pt x="1533" y="12"/>
                  </a:cubicBezTo>
                  <a:cubicBezTo>
                    <a:pt x="1533" y="12"/>
                    <a:pt x="1533" y="13"/>
                    <a:pt x="1533" y="13"/>
                  </a:cubicBezTo>
                  <a:cubicBezTo>
                    <a:pt x="1533" y="13"/>
                    <a:pt x="1533" y="13"/>
                    <a:pt x="1533" y="13"/>
                  </a:cubicBezTo>
                  <a:cubicBezTo>
                    <a:pt x="1533" y="13"/>
                    <a:pt x="1533" y="13"/>
                    <a:pt x="1533" y="13"/>
                  </a:cubicBezTo>
                  <a:cubicBezTo>
                    <a:pt x="1533" y="13"/>
                    <a:pt x="1533" y="13"/>
                    <a:pt x="1533" y="13"/>
                  </a:cubicBezTo>
                  <a:cubicBezTo>
                    <a:pt x="1533" y="13"/>
                    <a:pt x="1532" y="13"/>
                    <a:pt x="1532" y="13"/>
                  </a:cubicBezTo>
                  <a:cubicBezTo>
                    <a:pt x="1532" y="13"/>
                    <a:pt x="1532" y="13"/>
                    <a:pt x="1532" y="13"/>
                  </a:cubicBezTo>
                  <a:cubicBezTo>
                    <a:pt x="1532" y="14"/>
                    <a:pt x="1531" y="14"/>
                    <a:pt x="1531" y="15"/>
                  </a:cubicBezTo>
                  <a:cubicBezTo>
                    <a:pt x="1531" y="15"/>
                    <a:pt x="1531" y="15"/>
                    <a:pt x="1531" y="15"/>
                  </a:cubicBezTo>
                  <a:cubicBezTo>
                    <a:pt x="1531" y="15"/>
                    <a:pt x="1531" y="15"/>
                    <a:pt x="1531" y="15"/>
                  </a:cubicBezTo>
                  <a:cubicBezTo>
                    <a:pt x="1531" y="19"/>
                    <a:pt x="1531" y="22"/>
                    <a:pt x="1531" y="26"/>
                  </a:cubicBezTo>
                  <a:cubicBezTo>
                    <a:pt x="1531" y="26"/>
                    <a:pt x="1531" y="26"/>
                    <a:pt x="1531" y="26"/>
                  </a:cubicBezTo>
                  <a:cubicBezTo>
                    <a:pt x="1531" y="26"/>
                    <a:pt x="1531" y="26"/>
                    <a:pt x="1531" y="26"/>
                  </a:cubicBezTo>
                  <a:cubicBezTo>
                    <a:pt x="1531" y="26"/>
                    <a:pt x="1531" y="26"/>
                    <a:pt x="1532" y="26"/>
                  </a:cubicBezTo>
                  <a:cubicBezTo>
                    <a:pt x="1531" y="26"/>
                    <a:pt x="1531" y="26"/>
                    <a:pt x="1531" y="26"/>
                  </a:cubicBezTo>
                  <a:cubicBezTo>
                    <a:pt x="1532" y="26"/>
                    <a:pt x="1532" y="26"/>
                    <a:pt x="1532" y="26"/>
                  </a:cubicBezTo>
                  <a:cubicBezTo>
                    <a:pt x="1532" y="26"/>
                    <a:pt x="1532" y="26"/>
                    <a:pt x="1532" y="26"/>
                  </a:cubicBezTo>
                  <a:cubicBezTo>
                    <a:pt x="1532" y="26"/>
                    <a:pt x="1532" y="25"/>
                    <a:pt x="1532" y="25"/>
                  </a:cubicBezTo>
                  <a:cubicBezTo>
                    <a:pt x="1532" y="25"/>
                    <a:pt x="1532" y="25"/>
                    <a:pt x="1532" y="25"/>
                  </a:cubicBezTo>
                  <a:cubicBezTo>
                    <a:pt x="1532" y="25"/>
                    <a:pt x="1533" y="25"/>
                    <a:pt x="1533" y="25"/>
                  </a:cubicBezTo>
                  <a:cubicBezTo>
                    <a:pt x="1533" y="25"/>
                    <a:pt x="1533" y="25"/>
                    <a:pt x="1533" y="25"/>
                  </a:cubicBezTo>
                  <a:cubicBezTo>
                    <a:pt x="1533" y="25"/>
                    <a:pt x="1533" y="25"/>
                    <a:pt x="1533" y="24"/>
                  </a:cubicBezTo>
                  <a:cubicBezTo>
                    <a:pt x="1533" y="25"/>
                    <a:pt x="1533" y="25"/>
                    <a:pt x="1533" y="25"/>
                  </a:cubicBezTo>
                  <a:cubicBezTo>
                    <a:pt x="1533" y="24"/>
                    <a:pt x="1533" y="24"/>
                    <a:pt x="1533" y="24"/>
                  </a:cubicBezTo>
                  <a:cubicBezTo>
                    <a:pt x="1533" y="24"/>
                    <a:pt x="1533" y="24"/>
                    <a:pt x="1533" y="24"/>
                  </a:cubicBezTo>
                  <a:cubicBezTo>
                    <a:pt x="1533" y="24"/>
                    <a:pt x="1534" y="24"/>
                    <a:pt x="1534" y="24"/>
                  </a:cubicBezTo>
                  <a:cubicBezTo>
                    <a:pt x="1534" y="24"/>
                    <a:pt x="1534" y="24"/>
                    <a:pt x="1534" y="24"/>
                  </a:cubicBezTo>
                  <a:cubicBezTo>
                    <a:pt x="1534" y="24"/>
                    <a:pt x="1534" y="24"/>
                    <a:pt x="1534" y="23"/>
                  </a:cubicBezTo>
                  <a:cubicBezTo>
                    <a:pt x="1534" y="24"/>
                    <a:pt x="1534" y="24"/>
                    <a:pt x="1534" y="24"/>
                  </a:cubicBezTo>
                  <a:cubicBezTo>
                    <a:pt x="1534" y="23"/>
                    <a:pt x="1534" y="23"/>
                    <a:pt x="1534" y="23"/>
                  </a:cubicBezTo>
                  <a:cubicBezTo>
                    <a:pt x="1534" y="23"/>
                    <a:pt x="1534" y="23"/>
                    <a:pt x="1534" y="23"/>
                  </a:cubicBezTo>
                  <a:cubicBezTo>
                    <a:pt x="1534" y="23"/>
                    <a:pt x="1535" y="23"/>
                    <a:pt x="1535" y="23"/>
                  </a:cubicBezTo>
                  <a:cubicBezTo>
                    <a:pt x="1535" y="23"/>
                    <a:pt x="1535" y="23"/>
                    <a:pt x="1535" y="23"/>
                  </a:cubicBezTo>
                  <a:cubicBezTo>
                    <a:pt x="1535" y="23"/>
                    <a:pt x="1535" y="23"/>
                    <a:pt x="1535" y="23"/>
                  </a:cubicBezTo>
                  <a:cubicBezTo>
                    <a:pt x="1535" y="23"/>
                    <a:pt x="1535" y="23"/>
                    <a:pt x="1535" y="23"/>
                  </a:cubicBezTo>
                  <a:cubicBezTo>
                    <a:pt x="1535" y="22"/>
                    <a:pt x="1536" y="22"/>
                    <a:pt x="1536" y="22"/>
                  </a:cubicBezTo>
                  <a:cubicBezTo>
                    <a:pt x="1536" y="22"/>
                    <a:pt x="1536" y="22"/>
                    <a:pt x="1536" y="22"/>
                  </a:cubicBezTo>
                  <a:cubicBezTo>
                    <a:pt x="1536" y="22"/>
                    <a:pt x="1536" y="22"/>
                    <a:pt x="1536" y="22"/>
                  </a:cubicBezTo>
                  <a:cubicBezTo>
                    <a:pt x="1536" y="22"/>
                    <a:pt x="1536" y="22"/>
                    <a:pt x="1536" y="22"/>
                  </a:cubicBezTo>
                  <a:cubicBezTo>
                    <a:pt x="1536" y="22"/>
                    <a:pt x="1536" y="22"/>
                    <a:pt x="1536" y="21"/>
                  </a:cubicBezTo>
                  <a:cubicBezTo>
                    <a:pt x="1536" y="21"/>
                    <a:pt x="1536" y="21"/>
                    <a:pt x="1536" y="21"/>
                  </a:cubicBezTo>
                  <a:cubicBezTo>
                    <a:pt x="1537" y="21"/>
                    <a:pt x="1537" y="21"/>
                    <a:pt x="1537" y="21"/>
                  </a:cubicBezTo>
                  <a:cubicBezTo>
                    <a:pt x="1537" y="21"/>
                    <a:pt x="1537" y="21"/>
                    <a:pt x="1537" y="21"/>
                  </a:cubicBezTo>
                  <a:cubicBezTo>
                    <a:pt x="1538" y="21"/>
                    <a:pt x="1538" y="21"/>
                    <a:pt x="1538" y="20"/>
                  </a:cubicBezTo>
                  <a:cubicBezTo>
                    <a:pt x="1538" y="20"/>
                    <a:pt x="1538" y="20"/>
                    <a:pt x="1538" y="20"/>
                  </a:cubicBezTo>
                  <a:cubicBezTo>
                    <a:pt x="1538" y="20"/>
                    <a:pt x="1538" y="20"/>
                    <a:pt x="1539" y="20"/>
                  </a:cubicBezTo>
                  <a:cubicBezTo>
                    <a:pt x="1538" y="20"/>
                    <a:pt x="1538" y="20"/>
                    <a:pt x="1538" y="20"/>
                  </a:cubicBezTo>
                  <a:cubicBezTo>
                    <a:pt x="1539" y="20"/>
                    <a:pt x="1539" y="20"/>
                    <a:pt x="1539" y="20"/>
                  </a:cubicBezTo>
                  <a:cubicBezTo>
                    <a:pt x="1539" y="20"/>
                    <a:pt x="1539" y="20"/>
                    <a:pt x="1539" y="20"/>
                  </a:cubicBezTo>
                  <a:cubicBezTo>
                    <a:pt x="1539" y="19"/>
                    <a:pt x="1539" y="20"/>
                    <a:pt x="1540" y="19"/>
                  </a:cubicBezTo>
                  <a:cubicBezTo>
                    <a:pt x="1540" y="19"/>
                    <a:pt x="1540" y="19"/>
                    <a:pt x="1540" y="19"/>
                  </a:cubicBezTo>
                  <a:cubicBezTo>
                    <a:pt x="1540" y="19"/>
                    <a:pt x="1540" y="19"/>
                    <a:pt x="1540" y="19"/>
                  </a:cubicBezTo>
                  <a:cubicBezTo>
                    <a:pt x="1540" y="19"/>
                    <a:pt x="1540" y="19"/>
                    <a:pt x="1540" y="19"/>
                  </a:cubicBezTo>
                  <a:cubicBezTo>
                    <a:pt x="1540" y="19"/>
                    <a:pt x="1540" y="19"/>
                    <a:pt x="1541" y="19"/>
                  </a:cubicBezTo>
                  <a:cubicBezTo>
                    <a:pt x="1541" y="19"/>
                    <a:pt x="1541" y="19"/>
                    <a:pt x="1541" y="19"/>
                  </a:cubicBezTo>
                  <a:cubicBezTo>
                    <a:pt x="1541" y="18"/>
                    <a:pt x="1541" y="19"/>
                    <a:pt x="1541" y="18"/>
                  </a:cubicBezTo>
                  <a:cubicBezTo>
                    <a:pt x="1541" y="18"/>
                    <a:pt x="1541" y="18"/>
                    <a:pt x="1541" y="18"/>
                  </a:cubicBezTo>
                  <a:cubicBezTo>
                    <a:pt x="1542" y="18"/>
                    <a:pt x="1542" y="18"/>
                    <a:pt x="1542" y="18"/>
                  </a:cubicBezTo>
                  <a:cubicBezTo>
                    <a:pt x="1542" y="18"/>
                    <a:pt x="1542" y="18"/>
                    <a:pt x="1542" y="18"/>
                  </a:cubicBezTo>
                  <a:cubicBezTo>
                    <a:pt x="1542" y="18"/>
                    <a:pt x="1543" y="18"/>
                    <a:pt x="1543" y="18"/>
                  </a:cubicBezTo>
                  <a:cubicBezTo>
                    <a:pt x="1543" y="18"/>
                    <a:pt x="1543" y="18"/>
                    <a:pt x="1543" y="18"/>
                  </a:cubicBezTo>
                  <a:cubicBezTo>
                    <a:pt x="1543" y="17"/>
                    <a:pt x="1543" y="17"/>
                    <a:pt x="1543" y="17"/>
                  </a:cubicBezTo>
                  <a:cubicBezTo>
                    <a:pt x="1543" y="17"/>
                    <a:pt x="1543" y="17"/>
                    <a:pt x="1543" y="17"/>
                  </a:cubicBezTo>
                  <a:cubicBezTo>
                    <a:pt x="1544" y="17"/>
                    <a:pt x="1544" y="17"/>
                    <a:pt x="1544" y="17"/>
                  </a:cubicBezTo>
                  <a:cubicBezTo>
                    <a:pt x="1544" y="17"/>
                    <a:pt x="1544" y="17"/>
                    <a:pt x="1544" y="17"/>
                  </a:cubicBezTo>
                  <a:cubicBezTo>
                    <a:pt x="1544" y="17"/>
                    <a:pt x="1544" y="17"/>
                    <a:pt x="1544" y="17"/>
                  </a:cubicBezTo>
                  <a:cubicBezTo>
                    <a:pt x="1545" y="17"/>
                    <a:pt x="1545" y="17"/>
                    <a:pt x="1545" y="17"/>
                  </a:cubicBezTo>
                  <a:cubicBezTo>
                    <a:pt x="1545" y="17"/>
                    <a:pt x="1545" y="17"/>
                    <a:pt x="1545" y="17"/>
                  </a:cubicBezTo>
                  <a:cubicBezTo>
                    <a:pt x="1545" y="17"/>
                    <a:pt x="1545" y="17"/>
                    <a:pt x="1545" y="17"/>
                  </a:cubicBezTo>
                  <a:cubicBezTo>
                    <a:pt x="1546" y="16"/>
                    <a:pt x="1546" y="16"/>
                    <a:pt x="1546" y="16"/>
                  </a:cubicBezTo>
                  <a:cubicBezTo>
                    <a:pt x="1546" y="16"/>
                    <a:pt x="1546" y="16"/>
                    <a:pt x="1546" y="16"/>
                  </a:cubicBezTo>
                  <a:cubicBezTo>
                    <a:pt x="1546" y="16"/>
                    <a:pt x="1546" y="16"/>
                    <a:pt x="1546" y="16"/>
                  </a:cubicBezTo>
                  <a:cubicBezTo>
                    <a:pt x="1547" y="16"/>
                    <a:pt x="1547" y="16"/>
                    <a:pt x="1548" y="16"/>
                  </a:cubicBezTo>
                  <a:cubicBezTo>
                    <a:pt x="1548" y="16"/>
                    <a:pt x="1548" y="16"/>
                    <a:pt x="1548" y="16"/>
                  </a:cubicBezTo>
                  <a:cubicBezTo>
                    <a:pt x="1548" y="16"/>
                    <a:pt x="1549" y="16"/>
                    <a:pt x="1549" y="16"/>
                  </a:cubicBezTo>
                  <a:cubicBezTo>
                    <a:pt x="1549" y="15"/>
                    <a:pt x="1549" y="15"/>
                    <a:pt x="1549" y="15"/>
                  </a:cubicBezTo>
                  <a:cubicBezTo>
                    <a:pt x="1549" y="15"/>
                    <a:pt x="1549" y="15"/>
                    <a:pt x="1549" y="15"/>
                  </a:cubicBezTo>
                  <a:cubicBezTo>
                    <a:pt x="1550" y="15"/>
                    <a:pt x="1550" y="16"/>
                    <a:pt x="1551" y="15"/>
                  </a:cubicBezTo>
                  <a:cubicBezTo>
                    <a:pt x="1551" y="15"/>
                    <a:pt x="1552" y="15"/>
                    <a:pt x="1552" y="15"/>
                  </a:cubicBezTo>
                  <a:cubicBezTo>
                    <a:pt x="1553" y="15"/>
                    <a:pt x="1554" y="15"/>
                    <a:pt x="1555" y="15"/>
                  </a:cubicBezTo>
                  <a:cubicBezTo>
                    <a:pt x="1555" y="15"/>
                    <a:pt x="1555" y="15"/>
                    <a:pt x="1556" y="15"/>
                  </a:cubicBezTo>
                  <a:cubicBezTo>
                    <a:pt x="1556" y="16"/>
                    <a:pt x="1557" y="15"/>
                    <a:pt x="1558" y="16"/>
                  </a:cubicBezTo>
                  <a:cubicBezTo>
                    <a:pt x="1558" y="15"/>
                    <a:pt x="1558" y="15"/>
                    <a:pt x="1558" y="15"/>
                  </a:cubicBezTo>
                  <a:cubicBezTo>
                    <a:pt x="1558" y="16"/>
                    <a:pt x="1558" y="16"/>
                    <a:pt x="1558" y="16"/>
                  </a:cubicBezTo>
                  <a:cubicBezTo>
                    <a:pt x="1558" y="16"/>
                    <a:pt x="1559" y="16"/>
                    <a:pt x="1559" y="16"/>
                  </a:cubicBezTo>
                  <a:cubicBezTo>
                    <a:pt x="1559" y="16"/>
                    <a:pt x="1559" y="16"/>
                    <a:pt x="1559" y="16"/>
                  </a:cubicBezTo>
                  <a:cubicBezTo>
                    <a:pt x="1559" y="16"/>
                    <a:pt x="1559" y="16"/>
                    <a:pt x="1559" y="16"/>
                  </a:cubicBezTo>
                  <a:cubicBezTo>
                    <a:pt x="1560" y="16"/>
                    <a:pt x="1560" y="16"/>
                    <a:pt x="1560" y="16"/>
                  </a:cubicBezTo>
                  <a:cubicBezTo>
                    <a:pt x="1560" y="16"/>
                    <a:pt x="1560" y="16"/>
                    <a:pt x="1560" y="16"/>
                  </a:cubicBezTo>
                  <a:cubicBezTo>
                    <a:pt x="1560" y="16"/>
                    <a:pt x="1560" y="16"/>
                    <a:pt x="1560" y="16"/>
                  </a:cubicBezTo>
                  <a:cubicBezTo>
                    <a:pt x="1561" y="16"/>
                    <a:pt x="1561" y="16"/>
                    <a:pt x="1561" y="17"/>
                  </a:cubicBezTo>
                  <a:cubicBezTo>
                    <a:pt x="1561" y="17"/>
                    <a:pt x="1561" y="17"/>
                    <a:pt x="1561" y="17"/>
                  </a:cubicBezTo>
                  <a:cubicBezTo>
                    <a:pt x="1561" y="17"/>
                    <a:pt x="1562" y="17"/>
                    <a:pt x="1562" y="17"/>
                  </a:cubicBezTo>
                  <a:cubicBezTo>
                    <a:pt x="1562" y="17"/>
                    <a:pt x="1562" y="17"/>
                    <a:pt x="1562" y="17"/>
                  </a:cubicBezTo>
                  <a:cubicBezTo>
                    <a:pt x="1562" y="17"/>
                    <a:pt x="1562" y="17"/>
                    <a:pt x="1563" y="17"/>
                  </a:cubicBezTo>
                  <a:cubicBezTo>
                    <a:pt x="1563" y="17"/>
                    <a:pt x="1563" y="17"/>
                    <a:pt x="1563" y="17"/>
                  </a:cubicBezTo>
                  <a:cubicBezTo>
                    <a:pt x="1563" y="17"/>
                    <a:pt x="1563" y="17"/>
                    <a:pt x="1563" y="18"/>
                  </a:cubicBezTo>
                  <a:cubicBezTo>
                    <a:pt x="1563" y="18"/>
                    <a:pt x="1563" y="18"/>
                    <a:pt x="1563" y="18"/>
                  </a:cubicBezTo>
                  <a:cubicBezTo>
                    <a:pt x="1563" y="18"/>
                    <a:pt x="1563" y="18"/>
                    <a:pt x="1564" y="18"/>
                  </a:cubicBezTo>
                  <a:cubicBezTo>
                    <a:pt x="1564" y="18"/>
                    <a:pt x="1564" y="18"/>
                    <a:pt x="1564" y="18"/>
                  </a:cubicBezTo>
                  <a:cubicBezTo>
                    <a:pt x="1564" y="18"/>
                    <a:pt x="1564" y="18"/>
                    <a:pt x="1564" y="18"/>
                  </a:cubicBezTo>
                  <a:cubicBezTo>
                    <a:pt x="1564" y="18"/>
                    <a:pt x="1564" y="18"/>
                    <a:pt x="1564" y="18"/>
                  </a:cubicBezTo>
                  <a:cubicBezTo>
                    <a:pt x="1564" y="18"/>
                    <a:pt x="1565" y="19"/>
                    <a:pt x="1565" y="19"/>
                  </a:cubicBezTo>
                  <a:cubicBezTo>
                    <a:pt x="1565" y="19"/>
                    <a:pt x="1565" y="19"/>
                    <a:pt x="1565" y="19"/>
                  </a:cubicBezTo>
                  <a:cubicBezTo>
                    <a:pt x="1565" y="19"/>
                    <a:pt x="1565" y="19"/>
                    <a:pt x="1565" y="19"/>
                  </a:cubicBezTo>
                  <a:cubicBezTo>
                    <a:pt x="1565" y="19"/>
                    <a:pt x="1565" y="19"/>
                    <a:pt x="1565" y="19"/>
                  </a:cubicBezTo>
                  <a:cubicBezTo>
                    <a:pt x="1566" y="20"/>
                    <a:pt x="1566" y="20"/>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8" y="22"/>
                    <a:pt x="1568" y="22"/>
                    <a:pt x="1568" y="22"/>
                  </a:cubicBezTo>
                  <a:cubicBezTo>
                    <a:pt x="1568" y="22"/>
                    <a:pt x="1568" y="22"/>
                    <a:pt x="1568" y="22"/>
                  </a:cubicBezTo>
                  <a:cubicBezTo>
                    <a:pt x="1568" y="22"/>
                    <a:pt x="1568" y="22"/>
                    <a:pt x="1568" y="23"/>
                  </a:cubicBezTo>
                  <a:cubicBezTo>
                    <a:pt x="1568" y="23"/>
                    <a:pt x="1568" y="23"/>
                    <a:pt x="1568" y="23"/>
                  </a:cubicBezTo>
                  <a:cubicBezTo>
                    <a:pt x="1568" y="23"/>
                    <a:pt x="1568" y="23"/>
                    <a:pt x="1568" y="23"/>
                  </a:cubicBezTo>
                  <a:cubicBezTo>
                    <a:pt x="1568" y="23"/>
                    <a:pt x="1568" y="23"/>
                    <a:pt x="1568" y="23"/>
                  </a:cubicBezTo>
                  <a:cubicBezTo>
                    <a:pt x="1569" y="23"/>
                    <a:pt x="1569" y="24"/>
                    <a:pt x="1569" y="24"/>
                  </a:cubicBezTo>
                  <a:cubicBezTo>
                    <a:pt x="1569" y="24"/>
                    <a:pt x="1569" y="24"/>
                    <a:pt x="1569" y="24"/>
                  </a:cubicBezTo>
                  <a:cubicBezTo>
                    <a:pt x="1569" y="24"/>
                    <a:pt x="1569" y="24"/>
                    <a:pt x="1569" y="25"/>
                  </a:cubicBezTo>
                  <a:cubicBezTo>
                    <a:pt x="1569" y="25"/>
                    <a:pt x="1569" y="25"/>
                    <a:pt x="1569" y="25"/>
                  </a:cubicBezTo>
                  <a:cubicBezTo>
                    <a:pt x="1569" y="25"/>
                    <a:pt x="1569" y="25"/>
                    <a:pt x="1569" y="25"/>
                  </a:cubicBezTo>
                  <a:cubicBezTo>
                    <a:pt x="1569" y="25"/>
                    <a:pt x="1569" y="25"/>
                    <a:pt x="1570" y="26"/>
                  </a:cubicBezTo>
                  <a:cubicBezTo>
                    <a:pt x="1570" y="26"/>
                    <a:pt x="1570" y="26"/>
                    <a:pt x="1570" y="26"/>
                  </a:cubicBezTo>
                  <a:cubicBezTo>
                    <a:pt x="1570" y="26"/>
                    <a:pt x="1570" y="26"/>
                    <a:pt x="1570" y="27"/>
                  </a:cubicBezTo>
                  <a:cubicBezTo>
                    <a:pt x="1570" y="27"/>
                    <a:pt x="1570" y="27"/>
                    <a:pt x="1570" y="27"/>
                  </a:cubicBezTo>
                  <a:cubicBezTo>
                    <a:pt x="1570" y="27"/>
                    <a:pt x="1570" y="28"/>
                    <a:pt x="1570" y="28"/>
                  </a:cubicBezTo>
                  <a:cubicBezTo>
                    <a:pt x="1570" y="28"/>
                    <a:pt x="1570" y="29"/>
                    <a:pt x="1570" y="29"/>
                  </a:cubicBezTo>
                  <a:cubicBezTo>
                    <a:pt x="1570" y="31"/>
                    <a:pt x="1570" y="33"/>
                    <a:pt x="1570" y="36"/>
                  </a:cubicBezTo>
                  <a:cubicBezTo>
                    <a:pt x="1570" y="36"/>
                    <a:pt x="1570" y="36"/>
                    <a:pt x="1570" y="36"/>
                  </a:cubicBezTo>
                  <a:cubicBezTo>
                    <a:pt x="1570" y="37"/>
                    <a:pt x="1570" y="37"/>
                    <a:pt x="1570" y="38"/>
                  </a:cubicBezTo>
                  <a:cubicBezTo>
                    <a:pt x="1570" y="38"/>
                    <a:pt x="1570" y="38"/>
                    <a:pt x="1570" y="38"/>
                  </a:cubicBezTo>
                  <a:cubicBezTo>
                    <a:pt x="1570" y="39"/>
                    <a:pt x="1570" y="39"/>
                    <a:pt x="1570" y="39"/>
                  </a:cubicBezTo>
                  <a:cubicBezTo>
                    <a:pt x="1570" y="39"/>
                    <a:pt x="1570" y="39"/>
                    <a:pt x="1570" y="39"/>
                  </a:cubicBezTo>
                  <a:cubicBezTo>
                    <a:pt x="1570" y="40"/>
                    <a:pt x="1570" y="40"/>
                    <a:pt x="1570" y="40"/>
                  </a:cubicBezTo>
                  <a:cubicBezTo>
                    <a:pt x="1569" y="40"/>
                    <a:pt x="1569" y="40"/>
                    <a:pt x="1569" y="41"/>
                  </a:cubicBezTo>
                  <a:cubicBezTo>
                    <a:pt x="1569" y="41"/>
                    <a:pt x="1569" y="41"/>
                    <a:pt x="1569" y="41"/>
                  </a:cubicBezTo>
                  <a:cubicBezTo>
                    <a:pt x="1569" y="41"/>
                    <a:pt x="1569" y="41"/>
                    <a:pt x="1569" y="42"/>
                  </a:cubicBezTo>
                  <a:cubicBezTo>
                    <a:pt x="1569" y="42"/>
                    <a:pt x="1569" y="42"/>
                    <a:pt x="1569" y="42"/>
                  </a:cubicBezTo>
                  <a:cubicBezTo>
                    <a:pt x="1569" y="42"/>
                    <a:pt x="1569" y="42"/>
                    <a:pt x="1569" y="42"/>
                  </a:cubicBezTo>
                  <a:cubicBezTo>
                    <a:pt x="1569" y="43"/>
                    <a:pt x="1569" y="43"/>
                    <a:pt x="1568" y="43"/>
                  </a:cubicBezTo>
                  <a:cubicBezTo>
                    <a:pt x="1568" y="43"/>
                    <a:pt x="1568" y="43"/>
                    <a:pt x="1568" y="43"/>
                  </a:cubicBezTo>
                  <a:cubicBezTo>
                    <a:pt x="1568" y="43"/>
                    <a:pt x="1568" y="43"/>
                    <a:pt x="1568" y="43"/>
                  </a:cubicBezTo>
                  <a:cubicBezTo>
                    <a:pt x="1568" y="44"/>
                    <a:pt x="1568" y="44"/>
                    <a:pt x="1568" y="44"/>
                  </a:cubicBezTo>
                  <a:cubicBezTo>
                    <a:pt x="1568" y="44"/>
                    <a:pt x="1568" y="44"/>
                    <a:pt x="1568" y="44"/>
                  </a:cubicBezTo>
                  <a:cubicBezTo>
                    <a:pt x="1568" y="44"/>
                    <a:pt x="1568" y="45"/>
                    <a:pt x="1567" y="45"/>
                  </a:cubicBezTo>
                  <a:cubicBezTo>
                    <a:pt x="1567" y="45"/>
                    <a:pt x="1567" y="45"/>
                    <a:pt x="1567" y="45"/>
                  </a:cubicBezTo>
                  <a:cubicBezTo>
                    <a:pt x="1567" y="45"/>
                    <a:pt x="1567" y="45"/>
                    <a:pt x="1567" y="45"/>
                  </a:cubicBezTo>
                  <a:cubicBezTo>
                    <a:pt x="1567" y="45"/>
                    <a:pt x="1567" y="45"/>
                    <a:pt x="1567" y="45"/>
                  </a:cubicBezTo>
                  <a:cubicBezTo>
                    <a:pt x="1567" y="45"/>
                    <a:pt x="1567" y="45"/>
                    <a:pt x="1567" y="45"/>
                  </a:cubicBezTo>
                  <a:cubicBezTo>
                    <a:pt x="1567" y="46"/>
                    <a:pt x="1567" y="46"/>
                    <a:pt x="1567" y="46"/>
                  </a:cubicBezTo>
                  <a:cubicBezTo>
                    <a:pt x="1567" y="46"/>
                    <a:pt x="1567" y="46"/>
                    <a:pt x="1567" y="46"/>
                  </a:cubicBezTo>
                  <a:cubicBezTo>
                    <a:pt x="1567" y="46"/>
                    <a:pt x="1567" y="46"/>
                    <a:pt x="1566" y="47"/>
                  </a:cubicBezTo>
                  <a:cubicBezTo>
                    <a:pt x="1566" y="47"/>
                    <a:pt x="1566" y="47"/>
                    <a:pt x="1566" y="47"/>
                  </a:cubicBezTo>
                  <a:cubicBezTo>
                    <a:pt x="1566" y="47"/>
                    <a:pt x="1566" y="47"/>
                    <a:pt x="1566" y="47"/>
                  </a:cubicBezTo>
                  <a:cubicBezTo>
                    <a:pt x="1566" y="47"/>
                    <a:pt x="1566" y="47"/>
                    <a:pt x="1566" y="47"/>
                  </a:cubicBezTo>
                  <a:cubicBezTo>
                    <a:pt x="1566" y="47"/>
                    <a:pt x="1566" y="47"/>
                    <a:pt x="1566" y="48"/>
                  </a:cubicBezTo>
                  <a:cubicBezTo>
                    <a:pt x="1566" y="48"/>
                    <a:pt x="1566" y="48"/>
                    <a:pt x="1566" y="48"/>
                  </a:cubicBezTo>
                  <a:cubicBezTo>
                    <a:pt x="1566" y="48"/>
                    <a:pt x="1565" y="48"/>
                    <a:pt x="1565" y="48"/>
                  </a:cubicBezTo>
                  <a:cubicBezTo>
                    <a:pt x="1565" y="48"/>
                    <a:pt x="1565" y="48"/>
                    <a:pt x="1565" y="48"/>
                  </a:cubicBezTo>
                  <a:cubicBezTo>
                    <a:pt x="1565" y="48"/>
                    <a:pt x="1565" y="48"/>
                    <a:pt x="1565" y="48"/>
                  </a:cubicBezTo>
                  <a:cubicBezTo>
                    <a:pt x="1565" y="48"/>
                    <a:pt x="1565" y="48"/>
                    <a:pt x="1565" y="48"/>
                  </a:cubicBezTo>
                  <a:cubicBezTo>
                    <a:pt x="1565" y="48"/>
                    <a:pt x="1565" y="49"/>
                    <a:pt x="1565" y="49"/>
                  </a:cubicBezTo>
                  <a:cubicBezTo>
                    <a:pt x="1565" y="49"/>
                    <a:pt x="1565" y="49"/>
                    <a:pt x="1565" y="49"/>
                  </a:cubicBezTo>
                  <a:cubicBezTo>
                    <a:pt x="1565" y="49"/>
                    <a:pt x="1564" y="49"/>
                    <a:pt x="1564" y="49"/>
                  </a:cubicBezTo>
                  <a:cubicBezTo>
                    <a:pt x="1564" y="49"/>
                    <a:pt x="1564" y="49"/>
                    <a:pt x="1564" y="49"/>
                  </a:cubicBezTo>
                  <a:cubicBezTo>
                    <a:pt x="1564" y="49"/>
                    <a:pt x="1564" y="50"/>
                    <a:pt x="1564" y="50"/>
                  </a:cubicBezTo>
                  <a:cubicBezTo>
                    <a:pt x="1564" y="50"/>
                    <a:pt x="1564" y="50"/>
                    <a:pt x="1564" y="50"/>
                  </a:cubicBezTo>
                  <a:cubicBezTo>
                    <a:pt x="1564" y="50"/>
                    <a:pt x="1564" y="50"/>
                    <a:pt x="1564" y="50"/>
                  </a:cubicBezTo>
                  <a:cubicBezTo>
                    <a:pt x="1564" y="50"/>
                    <a:pt x="1564" y="50"/>
                    <a:pt x="1564" y="50"/>
                  </a:cubicBezTo>
                  <a:cubicBezTo>
                    <a:pt x="1563" y="50"/>
                    <a:pt x="1563" y="50"/>
                    <a:pt x="1563" y="50"/>
                  </a:cubicBezTo>
                  <a:cubicBezTo>
                    <a:pt x="1563" y="50"/>
                    <a:pt x="1563" y="50"/>
                    <a:pt x="1563" y="50"/>
                  </a:cubicBezTo>
                  <a:cubicBezTo>
                    <a:pt x="1562" y="52"/>
                    <a:pt x="1561" y="53"/>
                    <a:pt x="1559" y="54"/>
                  </a:cubicBezTo>
                  <a:cubicBezTo>
                    <a:pt x="1560" y="54"/>
                    <a:pt x="1560" y="54"/>
                    <a:pt x="1560" y="54"/>
                  </a:cubicBezTo>
                  <a:cubicBezTo>
                    <a:pt x="1559" y="54"/>
                    <a:pt x="1559" y="54"/>
                    <a:pt x="1559" y="55"/>
                  </a:cubicBezTo>
                  <a:cubicBezTo>
                    <a:pt x="1559" y="55"/>
                    <a:pt x="1559" y="55"/>
                    <a:pt x="1559" y="55"/>
                  </a:cubicBezTo>
                  <a:cubicBezTo>
                    <a:pt x="1559" y="55"/>
                    <a:pt x="1559" y="55"/>
                    <a:pt x="1559" y="55"/>
                  </a:cubicBezTo>
                  <a:cubicBezTo>
                    <a:pt x="1559" y="55"/>
                    <a:pt x="1559" y="55"/>
                    <a:pt x="1559" y="55"/>
                  </a:cubicBezTo>
                  <a:cubicBezTo>
                    <a:pt x="1559" y="55"/>
                    <a:pt x="1558" y="55"/>
                    <a:pt x="1558" y="55"/>
                  </a:cubicBezTo>
                  <a:cubicBezTo>
                    <a:pt x="1558" y="55"/>
                    <a:pt x="1558" y="55"/>
                    <a:pt x="1558" y="55"/>
                  </a:cubicBezTo>
                  <a:cubicBezTo>
                    <a:pt x="1558" y="55"/>
                    <a:pt x="1558" y="55"/>
                    <a:pt x="1558" y="56"/>
                  </a:cubicBezTo>
                  <a:cubicBezTo>
                    <a:pt x="1558" y="56"/>
                    <a:pt x="1558" y="56"/>
                    <a:pt x="1558" y="56"/>
                  </a:cubicBezTo>
                  <a:cubicBezTo>
                    <a:pt x="1558" y="56"/>
                    <a:pt x="1557" y="56"/>
                    <a:pt x="1557" y="56"/>
                  </a:cubicBezTo>
                  <a:cubicBezTo>
                    <a:pt x="1557" y="56"/>
                    <a:pt x="1557" y="56"/>
                    <a:pt x="1557" y="56"/>
                  </a:cubicBezTo>
                  <a:cubicBezTo>
                    <a:pt x="1557" y="56"/>
                    <a:pt x="1557" y="56"/>
                    <a:pt x="1557" y="57"/>
                  </a:cubicBezTo>
                  <a:cubicBezTo>
                    <a:pt x="1557" y="57"/>
                    <a:pt x="1557" y="57"/>
                    <a:pt x="1557" y="57"/>
                  </a:cubicBezTo>
                  <a:cubicBezTo>
                    <a:pt x="1557" y="57"/>
                    <a:pt x="1556" y="57"/>
                    <a:pt x="1556" y="57"/>
                  </a:cubicBezTo>
                  <a:cubicBezTo>
                    <a:pt x="1556" y="57"/>
                    <a:pt x="1556" y="57"/>
                    <a:pt x="1556" y="57"/>
                  </a:cubicBezTo>
                  <a:cubicBezTo>
                    <a:pt x="1556" y="57"/>
                    <a:pt x="1556" y="57"/>
                    <a:pt x="1556" y="57"/>
                  </a:cubicBezTo>
                  <a:cubicBezTo>
                    <a:pt x="1556" y="57"/>
                    <a:pt x="1556" y="57"/>
                    <a:pt x="1556" y="57"/>
                  </a:cubicBezTo>
                  <a:cubicBezTo>
                    <a:pt x="1556" y="58"/>
                    <a:pt x="1555" y="57"/>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4" y="59"/>
                    <a:pt x="1554" y="58"/>
                    <a:pt x="1554" y="59"/>
                  </a:cubicBezTo>
                  <a:cubicBezTo>
                    <a:pt x="1554" y="59"/>
                    <a:pt x="1554" y="59"/>
                    <a:pt x="1554" y="59"/>
                  </a:cubicBezTo>
                  <a:cubicBezTo>
                    <a:pt x="1554" y="59"/>
                    <a:pt x="1554" y="59"/>
                    <a:pt x="1554" y="59"/>
                  </a:cubicBezTo>
                  <a:cubicBezTo>
                    <a:pt x="1554" y="59"/>
                    <a:pt x="1554" y="59"/>
                    <a:pt x="1554" y="59"/>
                  </a:cubicBezTo>
                  <a:cubicBezTo>
                    <a:pt x="1553" y="59"/>
                    <a:pt x="1553" y="59"/>
                    <a:pt x="1553" y="59"/>
                  </a:cubicBezTo>
                  <a:cubicBezTo>
                    <a:pt x="1553" y="59"/>
                    <a:pt x="1553" y="59"/>
                    <a:pt x="1553" y="59"/>
                  </a:cubicBezTo>
                  <a:cubicBezTo>
                    <a:pt x="1553" y="60"/>
                    <a:pt x="1553" y="60"/>
                    <a:pt x="1553" y="60"/>
                  </a:cubicBezTo>
                  <a:cubicBezTo>
                    <a:pt x="1553" y="60"/>
                    <a:pt x="1553" y="60"/>
                    <a:pt x="1553" y="60"/>
                  </a:cubicBezTo>
                  <a:cubicBezTo>
                    <a:pt x="1552" y="60"/>
                    <a:pt x="1552" y="60"/>
                    <a:pt x="1552" y="60"/>
                  </a:cubicBezTo>
                  <a:cubicBezTo>
                    <a:pt x="1552" y="60"/>
                    <a:pt x="1552" y="60"/>
                    <a:pt x="1552" y="60"/>
                  </a:cubicBezTo>
                  <a:cubicBezTo>
                    <a:pt x="1552" y="60"/>
                    <a:pt x="1552" y="60"/>
                    <a:pt x="1552" y="60"/>
                  </a:cubicBezTo>
                  <a:cubicBezTo>
                    <a:pt x="1552" y="60"/>
                    <a:pt x="1552" y="60"/>
                    <a:pt x="1552" y="60"/>
                  </a:cubicBezTo>
                  <a:cubicBezTo>
                    <a:pt x="1552" y="61"/>
                    <a:pt x="1551" y="61"/>
                    <a:pt x="1551" y="61"/>
                  </a:cubicBezTo>
                  <a:cubicBezTo>
                    <a:pt x="1551" y="61"/>
                    <a:pt x="1551" y="61"/>
                    <a:pt x="1551" y="61"/>
                  </a:cubicBezTo>
                  <a:cubicBezTo>
                    <a:pt x="1551" y="61"/>
                    <a:pt x="1551" y="61"/>
                    <a:pt x="1551" y="61"/>
                  </a:cubicBezTo>
                  <a:cubicBezTo>
                    <a:pt x="1551" y="61"/>
                    <a:pt x="1551" y="61"/>
                    <a:pt x="1551" y="61"/>
                  </a:cubicBezTo>
                  <a:cubicBezTo>
                    <a:pt x="1550" y="61"/>
                    <a:pt x="1550" y="62"/>
                    <a:pt x="1550" y="62"/>
                  </a:cubicBezTo>
                  <a:cubicBezTo>
                    <a:pt x="1550" y="62"/>
                    <a:pt x="1550" y="62"/>
                    <a:pt x="1550" y="62"/>
                  </a:cubicBezTo>
                  <a:cubicBezTo>
                    <a:pt x="1550" y="62"/>
                    <a:pt x="1549" y="62"/>
                    <a:pt x="1549" y="62"/>
                  </a:cubicBezTo>
                  <a:cubicBezTo>
                    <a:pt x="1549" y="62"/>
                    <a:pt x="1549" y="62"/>
                    <a:pt x="1549" y="62"/>
                  </a:cubicBezTo>
                  <a:cubicBezTo>
                    <a:pt x="1549" y="62"/>
                    <a:pt x="1549" y="63"/>
                    <a:pt x="1548" y="63"/>
                  </a:cubicBezTo>
                  <a:cubicBezTo>
                    <a:pt x="1548" y="63"/>
                    <a:pt x="1548" y="63"/>
                    <a:pt x="1548" y="63"/>
                  </a:cubicBezTo>
                  <a:cubicBezTo>
                    <a:pt x="1548" y="63"/>
                    <a:pt x="1548" y="63"/>
                    <a:pt x="1548" y="63"/>
                  </a:cubicBezTo>
                  <a:cubicBezTo>
                    <a:pt x="1548" y="63"/>
                    <a:pt x="1548" y="63"/>
                    <a:pt x="1548" y="63"/>
                  </a:cubicBezTo>
                  <a:cubicBezTo>
                    <a:pt x="1548" y="64"/>
                    <a:pt x="1547" y="64"/>
                    <a:pt x="1547" y="64"/>
                  </a:cubicBezTo>
                  <a:cubicBezTo>
                    <a:pt x="1547" y="64"/>
                    <a:pt x="1547" y="64"/>
                    <a:pt x="1547" y="64"/>
                  </a:cubicBezTo>
                  <a:cubicBezTo>
                    <a:pt x="1547" y="64"/>
                    <a:pt x="1547" y="64"/>
                    <a:pt x="1547" y="64"/>
                  </a:cubicBezTo>
                  <a:cubicBezTo>
                    <a:pt x="1547" y="64"/>
                    <a:pt x="1547" y="64"/>
                    <a:pt x="1547" y="64"/>
                  </a:cubicBezTo>
                  <a:cubicBezTo>
                    <a:pt x="1546" y="64"/>
                    <a:pt x="1546" y="65"/>
                    <a:pt x="1546" y="65"/>
                  </a:cubicBezTo>
                  <a:cubicBezTo>
                    <a:pt x="1546" y="65"/>
                    <a:pt x="1546" y="65"/>
                    <a:pt x="1546" y="65"/>
                  </a:cubicBezTo>
                  <a:cubicBezTo>
                    <a:pt x="1546" y="65"/>
                    <a:pt x="1546" y="65"/>
                    <a:pt x="1546" y="65"/>
                  </a:cubicBezTo>
                  <a:cubicBezTo>
                    <a:pt x="1546" y="65"/>
                    <a:pt x="1546" y="65"/>
                    <a:pt x="1546" y="65"/>
                  </a:cubicBezTo>
                  <a:cubicBezTo>
                    <a:pt x="1545" y="65"/>
                    <a:pt x="1545" y="65"/>
                    <a:pt x="1545" y="65"/>
                  </a:cubicBezTo>
                  <a:cubicBezTo>
                    <a:pt x="1545" y="65"/>
                    <a:pt x="1545" y="65"/>
                    <a:pt x="1545" y="65"/>
                  </a:cubicBezTo>
                  <a:cubicBezTo>
                    <a:pt x="1545" y="65"/>
                    <a:pt x="1545" y="66"/>
                    <a:pt x="1545" y="66"/>
                  </a:cubicBezTo>
                  <a:cubicBezTo>
                    <a:pt x="1545" y="66"/>
                    <a:pt x="1545" y="66"/>
                    <a:pt x="1545" y="66"/>
                  </a:cubicBezTo>
                  <a:cubicBezTo>
                    <a:pt x="1545" y="66"/>
                    <a:pt x="1545" y="66"/>
                    <a:pt x="1544" y="66"/>
                  </a:cubicBezTo>
                  <a:cubicBezTo>
                    <a:pt x="1544" y="66"/>
                    <a:pt x="1544" y="66"/>
                    <a:pt x="1544" y="66"/>
                  </a:cubicBezTo>
                  <a:cubicBezTo>
                    <a:pt x="1544" y="66"/>
                    <a:pt x="1544" y="66"/>
                    <a:pt x="1544" y="66"/>
                  </a:cubicBezTo>
                  <a:cubicBezTo>
                    <a:pt x="1544" y="66"/>
                    <a:pt x="1544" y="66"/>
                    <a:pt x="1544" y="66"/>
                  </a:cubicBezTo>
                  <a:cubicBezTo>
                    <a:pt x="1544" y="66"/>
                    <a:pt x="1544"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2" y="68"/>
                    <a:pt x="1542" y="68"/>
                    <a:pt x="1542" y="68"/>
                  </a:cubicBezTo>
                  <a:cubicBezTo>
                    <a:pt x="1542" y="68"/>
                    <a:pt x="1542" y="68"/>
                    <a:pt x="1542" y="68"/>
                  </a:cubicBezTo>
                  <a:cubicBezTo>
                    <a:pt x="1542" y="68"/>
                    <a:pt x="1541" y="68"/>
                    <a:pt x="1541" y="68"/>
                  </a:cubicBezTo>
                  <a:cubicBezTo>
                    <a:pt x="1541" y="68"/>
                    <a:pt x="1541" y="68"/>
                    <a:pt x="1541" y="68"/>
                  </a:cubicBezTo>
                  <a:cubicBezTo>
                    <a:pt x="1541" y="69"/>
                    <a:pt x="1541" y="69"/>
                    <a:pt x="1541" y="69"/>
                  </a:cubicBezTo>
                  <a:cubicBezTo>
                    <a:pt x="1541" y="69"/>
                    <a:pt x="1541" y="69"/>
                    <a:pt x="1541" y="69"/>
                  </a:cubicBezTo>
                  <a:cubicBezTo>
                    <a:pt x="1541" y="69"/>
                    <a:pt x="1541" y="69"/>
                    <a:pt x="1541" y="69"/>
                  </a:cubicBezTo>
                  <a:cubicBezTo>
                    <a:pt x="1541" y="69"/>
                    <a:pt x="1541" y="69"/>
                    <a:pt x="1541" y="69"/>
                  </a:cubicBezTo>
                  <a:cubicBezTo>
                    <a:pt x="1540" y="69"/>
                    <a:pt x="1540" y="70"/>
                    <a:pt x="1540" y="70"/>
                  </a:cubicBezTo>
                  <a:cubicBezTo>
                    <a:pt x="1540" y="70"/>
                    <a:pt x="1540" y="70"/>
                    <a:pt x="1540" y="70"/>
                  </a:cubicBezTo>
                  <a:cubicBezTo>
                    <a:pt x="1539" y="70"/>
                    <a:pt x="1539" y="70"/>
                    <a:pt x="1539" y="70"/>
                  </a:cubicBezTo>
                  <a:cubicBezTo>
                    <a:pt x="1539" y="70"/>
                    <a:pt x="1539" y="70"/>
                    <a:pt x="1539" y="70"/>
                  </a:cubicBezTo>
                  <a:cubicBezTo>
                    <a:pt x="1539" y="70"/>
                    <a:pt x="1539" y="70"/>
                    <a:pt x="1539" y="71"/>
                  </a:cubicBezTo>
                  <a:cubicBezTo>
                    <a:pt x="1539" y="71"/>
                    <a:pt x="1539" y="71"/>
                    <a:pt x="1539" y="71"/>
                  </a:cubicBezTo>
                  <a:cubicBezTo>
                    <a:pt x="1539" y="71"/>
                    <a:pt x="1539" y="71"/>
                    <a:pt x="1539" y="71"/>
                  </a:cubicBezTo>
                  <a:cubicBezTo>
                    <a:pt x="1539" y="71"/>
                    <a:pt x="1539" y="71"/>
                    <a:pt x="1539" y="71"/>
                  </a:cubicBezTo>
                  <a:cubicBezTo>
                    <a:pt x="1538" y="71"/>
                    <a:pt x="1538" y="71"/>
                    <a:pt x="1538" y="71"/>
                  </a:cubicBezTo>
                  <a:cubicBezTo>
                    <a:pt x="1538" y="71"/>
                    <a:pt x="1538" y="71"/>
                    <a:pt x="1538" y="71"/>
                  </a:cubicBezTo>
                  <a:cubicBezTo>
                    <a:pt x="1538" y="71"/>
                    <a:pt x="1538" y="71"/>
                    <a:pt x="1538" y="72"/>
                  </a:cubicBezTo>
                  <a:cubicBezTo>
                    <a:pt x="1538" y="72"/>
                    <a:pt x="1538" y="72"/>
                    <a:pt x="1538" y="72"/>
                  </a:cubicBezTo>
                  <a:cubicBezTo>
                    <a:pt x="1538" y="72"/>
                    <a:pt x="1538" y="72"/>
                    <a:pt x="1537" y="72"/>
                  </a:cubicBezTo>
                  <a:cubicBezTo>
                    <a:pt x="1538" y="72"/>
                    <a:pt x="1538" y="72"/>
                    <a:pt x="1538" y="72"/>
                  </a:cubicBezTo>
                  <a:cubicBezTo>
                    <a:pt x="1537" y="72"/>
                    <a:pt x="1537" y="72"/>
                    <a:pt x="1537" y="72"/>
                  </a:cubicBezTo>
                  <a:cubicBezTo>
                    <a:pt x="1537" y="72"/>
                    <a:pt x="1537" y="72"/>
                    <a:pt x="1537" y="72"/>
                  </a:cubicBezTo>
                  <a:cubicBezTo>
                    <a:pt x="1537" y="72"/>
                    <a:pt x="1537" y="73"/>
                    <a:pt x="1537" y="73"/>
                  </a:cubicBezTo>
                  <a:cubicBezTo>
                    <a:pt x="1537" y="73"/>
                    <a:pt x="1537" y="73"/>
                    <a:pt x="1537" y="73"/>
                  </a:cubicBezTo>
                  <a:cubicBezTo>
                    <a:pt x="1537" y="73"/>
                    <a:pt x="1537" y="73"/>
                    <a:pt x="1536" y="73"/>
                  </a:cubicBezTo>
                  <a:cubicBezTo>
                    <a:pt x="1536" y="73"/>
                    <a:pt x="1536" y="73"/>
                    <a:pt x="1536" y="73"/>
                  </a:cubicBezTo>
                  <a:cubicBezTo>
                    <a:pt x="1536" y="73"/>
                    <a:pt x="1536" y="73"/>
                    <a:pt x="1536" y="73"/>
                  </a:cubicBezTo>
                  <a:cubicBezTo>
                    <a:pt x="1536" y="73"/>
                    <a:pt x="1536" y="73"/>
                    <a:pt x="1536" y="73"/>
                  </a:cubicBezTo>
                  <a:cubicBezTo>
                    <a:pt x="1536" y="73"/>
                    <a:pt x="1536" y="74"/>
                    <a:pt x="1536" y="74"/>
                  </a:cubicBezTo>
                  <a:cubicBezTo>
                    <a:pt x="1536" y="74"/>
                    <a:pt x="1536" y="74"/>
                    <a:pt x="1536" y="74"/>
                  </a:cubicBezTo>
                  <a:cubicBezTo>
                    <a:pt x="1536" y="74"/>
                    <a:pt x="1536" y="74"/>
                    <a:pt x="1535" y="74"/>
                  </a:cubicBezTo>
                  <a:cubicBezTo>
                    <a:pt x="1535" y="74"/>
                    <a:pt x="1535" y="74"/>
                    <a:pt x="1535" y="74"/>
                  </a:cubicBezTo>
                  <a:cubicBezTo>
                    <a:pt x="1535" y="74"/>
                    <a:pt x="1535" y="74"/>
                    <a:pt x="1535" y="74"/>
                  </a:cubicBezTo>
                  <a:cubicBezTo>
                    <a:pt x="1535" y="74"/>
                    <a:pt x="1535" y="74"/>
                    <a:pt x="1535" y="74"/>
                  </a:cubicBezTo>
                  <a:cubicBezTo>
                    <a:pt x="1535" y="74"/>
                    <a:pt x="1535" y="75"/>
                    <a:pt x="1535" y="75"/>
                  </a:cubicBezTo>
                  <a:cubicBezTo>
                    <a:pt x="1535" y="75"/>
                    <a:pt x="1535" y="75"/>
                    <a:pt x="1535" y="75"/>
                  </a:cubicBezTo>
                  <a:cubicBezTo>
                    <a:pt x="1535" y="75"/>
                    <a:pt x="1534" y="75"/>
                    <a:pt x="1534" y="75"/>
                  </a:cubicBezTo>
                  <a:cubicBezTo>
                    <a:pt x="1534" y="75"/>
                    <a:pt x="1534" y="75"/>
                    <a:pt x="1534" y="75"/>
                  </a:cubicBezTo>
                  <a:cubicBezTo>
                    <a:pt x="1534" y="75"/>
                    <a:pt x="1534" y="76"/>
                    <a:pt x="1534" y="76"/>
                  </a:cubicBezTo>
                  <a:cubicBezTo>
                    <a:pt x="1534" y="76"/>
                    <a:pt x="1534" y="76"/>
                    <a:pt x="1534" y="76"/>
                  </a:cubicBezTo>
                  <a:cubicBezTo>
                    <a:pt x="1534" y="76"/>
                    <a:pt x="1533" y="76"/>
                    <a:pt x="1533" y="77"/>
                  </a:cubicBezTo>
                  <a:cubicBezTo>
                    <a:pt x="1533" y="76"/>
                    <a:pt x="1533" y="76"/>
                    <a:pt x="1533" y="76"/>
                  </a:cubicBezTo>
                  <a:cubicBezTo>
                    <a:pt x="1533" y="77"/>
                    <a:pt x="1533" y="77"/>
                    <a:pt x="1533" y="77"/>
                  </a:cubicBezTo>
                  <a:cubicBezTo>
                    <a:pt x="1533" y="77"/>
                    <a:pt x="1533" y="77"/>
                    <a:pt x="1533" y="77"/>
                  </a:cubicBezTo>
                  <a:cubicBezTo>
                    <a:pt x="1533" y="77"/>
                    <a:pt x="1533" y="77"/>
                    <a:pt x="1533" y="77"/>
                  </a:cubicBezTo>
                  <a:cubicBezTo>
                    <a:pt x="1533" y="77"/>
                    <a:pt x="1533" y="77"/>
                    <a:pt x="1533" y="77"/>
                  </a:cubicBezTo>
                  <a:cubicBezTo>
                    <a:pt x="1533" y="78"/>
                    <a:pt x="1532" y="78"/>
                    <a:pt x="1532" y="78"/>
                  </a:cubicBezTo>
                  <a:cubicBezTo>
                    <a:pt x="1532" y="78"/>
                    <a:pt x="1532" y="78"/>
                    <a:pt x="1532" y="78"/>
                  </a:cubicBezTo>
                  <a:cubicBezTo>
                    <a:pt x="1532" y="78"/>
                    <a:pt x="1532" y="78"/>
                    <a:pt x="1532" y="79"/>
                  </a:cubicBezTo>
                  <a:cubicBezTo>
                    <a:pt x="1532" y="79"/>
                    <a:pt x="1532" y="79"/>
                    <a:pt x="1532" y="79"/>
                  </a:cubicBezTo>
                  <a:cubicBezTo>
                    <a:pt x="1532" y="79"/>
                    <a:pt x="1532" y="79"/>
                    <a:pt x="1532" y="79"/>
                  </a:cubicBezTo>
                  <a:cubicBezTo>
                    <a:pt x="1532" y="79"/>
                    <a:pt x="1532" y="79"/>
                    <a:pt x="1532" y="79"/>
                  </a:cubicBezTo>
                  <a:cubicBezTo>
                    <a:pt x="1531" y="79"/>
                    <a:pt x="1531" y="79"/>
                    <a:pt x="1531" y="80"/>
                  </a:cubicBezTo>
                  <a:cubicBezTo>
                    <a:pt x="1531" y="80"/>
                    <a:pt x="1531" y="80"/>
                    <a:pt x="1531" y="80"/>
                  </a:cubicBezTo>
                  <a:cubicBezTo>
                    <a:pt x="1531" y="80"/>
                    <a:pt x="1531" y="80"/>
                    <a:pt x="1531" y="80"/>
                  </a:cubicBezTo>
                  <a:cubicBezTo>
                    <a:pt x="1531" y="80"/>
                    <a:pt x="1531" y="80"/>
                    <a:pt x="1531" y="80"/>
                  </a:cubicBezTo>
                  <a:cubicBezTo>
                    <a:pt x="1531" y="80"/>
                    <a:pt x="1531" y="80"/>
                    <a:pt x="1531" y="80"/>
                  </a:cubicBezTo>
                  <a:cubicBezTo>
                    <a:pt x="1531" y="80"/>
                    <a:pt x="1531" y="81"/>
                    <a:pt x="1531" y="81"/>
                  </a:cubicBezTo>
                  <a:cubicBezTo>
                    <a:pt x="1531" y="81"/>
                    <a:pt x="1531" y="81"/>
                    <a:pt x="1531" y="81"/>
                  </a:cubicBezTo>
                  <a:cubicBezTo>
                    <a:pt x="1530" y="81"/>
                    <a:pt x="1530" y="81"/>
                    <a:pt x="1530" y="81"/>
                  </a:cubicBezTo>
                  <a:cubicBezTo>
                    <a:pt x="1530" y="81"/>
                    <a:pt x="1530" y="81"/>
                    <a:pt x="1530" y="81"/>
                  </a:cubicBezTo>
                  <a:cubicBezTo>
                    <a:pt x="1530" y="82"/>
                    <a:pt x="1530" y="82"/>
                    <a:pt x="1530" y="82"/>
                  </a:cubicBezTo>
                  <a:cubicBezTo>
                    <a:pt x="1530" y="82"/>
                    <a:pt x="1530" y="82"/>
                    <a:pt x="1530" y="82"/>
                  </a:cubicBezTo>
                  <a:cubicBezTo>
                    <a:pt x="1530" y="82"/>
                    <a:pt x="1530" y="83"/>
                    <a:pt x="1530" y="83"/>
                  </a:cubicBezTo>
                  <a:cubicBezTo>
                    <a:pt x="1530" y="83"/>
                    <a:pt x="1530" y="83"/>
                    <a:pt x="1529" y="83"/>
                  </a:cubicBezTo>
                  <a:cubicBezTo>
                    <a:pt x="1529" y="83"/>
                    <a:pt x="1529" y="84"/>
                    <a:pt x="1529" y="84"/>
                  </a:cubicBezTo>
                  <a:cubicBezTo>
                    <a:pt x="1529" y="84"/>
                    <a:pt x="1529" y="84"/>
                    <a:pt x="1529" y="84"/>
                  </a:cubicBezTo>
                  <a:cubicBezTo>
                    <a:pt x="1529" y="84"/>
                    <a:pt x="1529" y="84"/>
                    <a:pt x="1529" y="85"/>
                  </a:cubicBezTo>
                  <a:cubicBezTo>
                    <a:pt x="1529" y="85"/>
                    <a:pt x="1529" y="85"/>
                    <a:pt x="1529" y="85"/>
                  </a:cubicBezTo>
                  <a:cubicBezTo>
                    <a:pt x="1529" y="85"/>
                    <a:pt x="1529" y="85"/>
                    <a:pt x="1528" y="86"/>
                  </a:cubicBezTo>
                  <a:cubicBezTo>
                    <a:pt x="1529" y="86"/>
                    <a:pt x="1529" y="86"/>
                    <a:pt x="1529" y="86"/>
                  </a:cubicBezTo>
                  <a:cubicBezTo>
                    <a:pt x="1528" y="86"/>
                    <a:pt x="1528" y="86"/>
                    <a:pt x="1528" y="86"/>
                  </a:cubicBezTo>
                  <a:cubicBezTo>
                    <a:pt x="1528" y="86"/>
                    <a:pt x="1528" y="87"/>
                    <a:pt x="1528" y="87"/>
                  </a:cubicBezTo>
                  <a:cubicBezTo>
                    <a:pt x="1528" y="87"/>
                    <a:pt x="1528" y="87"/>
                    <a:pt x="1528" y="87"/>
                  </a:cubicBezTo>
                  <a:cubicBezTo>
                    <a:pt x="1528" y="88"/>
                    <a:pt x="1528" y="88"/>
                    <a:pt x="1528" y="88"/>
                  </a:cubicBezTo>
                  <a:cubicBezTo>
                    <a:pt x="1528" y="88"/>
                    <a:pt x="1528" y="89"/>
                    <a:pt x="1528" y="89"/>
                  </a:cubicBezTo>
                  <a:cubicBezTo>
                    <a:pt x="1527" y="89"/>
                    <a:pt x="1528" y="90"/>
                    <a:pt x="1527" y="90"/>
                  </a:cubicBezTo>
                  <a:cubicBezTo>
                    <a:pt x="1527" y="91"/>
                    <a:pt x="1527" y="91"/>
                    <a:pt x="1527" y="91"/>
                  </a:cubicBezTo>
                  <a:cubicBezTo>
                    <a:pt x="1527" y="92"/>
                    <a:pt x="1527" y="93"/>
                    <a:pt x="1527" y="94"/>
                  </a:cubicBezTo>
                  <a:cubicBezTo>
                    <a:pt x="1527" y="96"/>
                    <a:pt x="1527" y="99"/>
                    <a:pt x="1527" y="101"/>
                  </a:cubicBezTo>
                  <a:cubicBezTo>
                    <a:pt x="1527" y="102"/>
                    <a:pt x="1528" y="102"/>
                    <a:pt x="1529" y="102"/>
                  </a:cubicBezTo>
                  <a:cubicBezTo>
                    <a:pt x="1547" y="102"/>
                    <a:pt x="1565" y="102"/>
                    <a:pt x="1584" y="102"/>
                  </a:cubicBezTo>
                  <a:cubicBezTo>
                    <a:pt x="1584" y="102"/>
                    <a:pt x="1585" y="102"/>
                    <a:pt x="1585" y="101"/>
                  </a:cubicBezTo>
                  <a:cubicBezTo>
                    <a:pt x="1585" y="101"/>
                    <a:pt x="1585" y="101"/>
                    <a:pt x="1585" y="101"/>
                  </a:cubicBezTo>
                  <a:cubicBezTo>
                    <a:pt x="1586" y="98"/>
                    <a:pt x="1586" y="95"/>
                    <a:pt x="1585" y="92"/>
                  </a:cubicBezTo>
                  <a:cubicBezTo>
                    <a:pt x="1585" y="92"/>
                    <a:pt x="1585" y="92"/>
                    <a:pt x="1585" y="92"/>
                  </a:cubicBezTo>
                  <a:cubicBezTo>
                    <a:pt x="1585" y="91"/>
                    <a:pt x="1584" y="92"/>
                    <a:pt x="1583" y="92"/>
                  </a:cubicBezTo>
                  <a:cubicBezTo>
                    <a:pt x="1569" y="92"/>
                    <a:pt x="1555" y="92"/>
                    <a:pt x="1540" y="92"/>
                  </a:cubicBezTo>
                  <a:cubicBezTo>
                    <a:pt x="1540" y="92"/>
                    <a:pt x="1539" y="92"/>
                    <a:pt x="1539" y="91"/>
                  </a:cubicBezTo>
                  <a:cubicBezTo>
                    <a:pt x="1538" y="91"/>
                    <a:pt x="1538" y="90"/>
                    <a:pt x="1539" y="90"/>
                  </a:cubicBezTo>
                  <a:cubicBezTo>
                    <a:pt x="1539" y="89"/>
                    <a:pt x="1539" y="88"/>
                    <a:pt x="1539" y="88"/>
                  </a:cubicBezTo>
                  <a:cubicBezTo>
                    <a:pt x="1539" y="88"/>
                    <a:pt x="1539" y="87"/>
                    <a:pt x="1539" y="87"/>
                  </a:cubicBezTo>
                  <a:cubicBezTo>
                    <a:pt x="1539" y="87"/>
                    <a:pt x="1539" y="86"/>
                    <a:pt x="1539" y="86"/>
                  </a:cubicBezTo>
                  <a:cubicBezTo>
                    <a:pt x="1539" y="86"/>
                    <a:pt x="1539" y="86"/>
                    <a:pt x="1539" y="86"/>
                  </a:cubicBezTo>
                  <a:cubicBezTo>
                    <a:pt x="1539" y="86"/>
                    <a:pt x="1539" y="85"/>
                    <a:pt x="1540" y="85"/>
                  </a:cubicBezTo>
                  <a:cubicBezTo>
                    <a:pt x="1539" y="85"/>
                    <a:pt x="1540" y="85"/>
                    <a:pt x="1540" y="85"/>
                  </a:cubicBezTo>
                  <a:cubicBezTo>
                    <a:pt x="1540" y="85"/>
                    <a:pt x="1540" y="84"/>
                    <a:pt x="1540" y="84"/>
                  </a:cubicBezTo>
                  <a:cubicBezTo>
                    <a:pt x="1540" y="84"/>
                    <a:pt x="1540" y="84"/>
                    <a:pt x="1540" y="84"/>
                  </a:cubicBezTo>
                  <a:cubicBezTo>
                    <a:pt x="1540" y="84"/>
                    <a:pt x="1540" y="84"/>
                    <a:pt x="1540" y="83"/>
                  </a:cubicBezTo>
                  <a:cubicBezTo>
                    <a:pt x="1540" y="83"/>
                    <a:pt x="1540" y="83"/>
                    <a:pt x="1540" y="83"/>
                  </a:cubicBezTo>
                  <a:cubicBezTo>
                    <a:pt x="1540" y="83"/>
                    <a:pt x="1540" y="83"/>
                    <a:pt x="1541" y="83"/>
                  </a:cubicBezTo>
                  <a:cubicBezTo>
                    <a:pt x="1541" y="83"/>
                    <a:pt x="1541" y="83"/>
                    <a:pt x="1541" y="83"/>
                  </a:cubicBezTo>
                  <a:cubicBezTo>
                    <a:pt x="1541" y="83"/>
                    <a:pt x="1541" y="82"/>
                    <a:pt x="1541" y="82"/>
                  </a:cubicBezTo>
                  <a:cubicBezTo>
                    <a:pt x="1541" y="82"/>
                    <a:pt x="1541" y="82"/>
                    <a:pt x="1541" y="82"/>
                  </a:cubicBezTo>
                  <a:cubicBezTo>
                    <a:pt x="1541" y="82"/>
                    <a:pt x="1541" y="82"/>
                    <a:pt x="1541" y="82"/>
                  </a:cubicBezTo>
                  <a:cubicBezTo>
                    <a:pt x="1541" y="82"/>
                    <a:pt x="1541" y="82"/>
                    <a:pt x="1541" y="82"/>
                  </a:cubicBezTo>
                  <a:cubicBezTo>
                    <a:pt x="1542" y="82"/>
                    <a:pt x="1541" y="81"/>
                    <a:pt x="1542" y="81"/>
                  </a:cubicBezTo>
                  <a:cubicBezTo>
                    <a:pt x="1542" y="81"/>
                    <a:pt x="1542" y="81"/>
                    <a:pt x="1542" y="81"/>
                  </a:cubicBezTo>
                  <a:cubicBezTo>
                    <a:pt x="1542" y="81"/>
                    <a:pt x="1542" y="81"/>
                    <a:pt x="1542" y="81"/>
                  </a:cubicBezTo>
                  <a:cubicBezTo>
                    <a:pt x="1542" y="81"/>
                    <a:pt x="1542" y="81"/>
                    <a:pt x="1542" y="81"/>
                  </a:cubicBezTo>
                  <a:cubicBezTo>
                    <a:pt x="1542" y="81"/>
                    <a:pt x="1542" y="80"/>
                    <a:pt x="1542" y="80"/>
                  </a:cubicBezTo>
                  <a:cubicBezTo>
                    <a:pt x="1542" y="80"/>
                    <a:pt x="1542" y="80"/>
                    <a:pt x="1542" y="80"/>
                  </a:cubicBezTo>
                  <a:cubicBezTo>
                    <a:pt x="1543" y="80"/>
                    <a:pt x="1543" y="80"/>
                    <a:pt x="1543" y="79"/>
                  </a:cubicBezTo>
                  <a:cubicBezTo>
                    <a:pt x="1543" y="79"/>
                    <a:pt x="1543" y="79"/>
                    <a:pt x="1543" y="79"/>
                  </a:cubicBezTo>
                  <a:cubicBezTo>
                    <a:pt x="1543" y="79"/>
                    <a:pt x="1543" y="79"/>
                    <a:pt x="1543" y="79"/>
                  </a:cubicBezTo>
                  <a:cubicBezTo>
                    <a:pt x="1543" y="79"/>
                    <a:pt x="1543" y="79"/>
                    <a:pt x="1543" y="79"/>
                  </a:cubicBezTo>
                  <a:cubicBezTo>
                    <a:pt x="1544" y="79"/>
                    <a:pt x="1544" y="79"/>
                    <a:pt x="1544" y="79"/>
                  </a:cubicBezTo>
                  <a:cubicBezTo>
                    <a:pt x="1544" y="79"/>
                    <a:pt x="1544" y="79"/>
                    <a:pt x="1544" y="79"/>
                  </a:cubicBezTo>
                  <a:cubicBezTo>
                    <a:pt x="1544" y="78"/>
                    <a:pt x="1544" y="78"/>
                    <a:pt x="1544" y="78"/>
                  </a:cubicBezTo>
                  <a:cubicBezTo>
                    <a:pt x="1544" y="78"/>
                    <a:pt x="1544" y="78"/>
                    <a:pt x="1544" y="78"/>
                  </a:cubicBezTo>
                  <a:cubicBezTo>
                    <a:pt x="1544" y="78"/>
                    <a:pt x="1544" y="78"/>
                    <a:pt x="1544" y="78"/>
                  </a:cubicBezTo>
                  <a:cubicBezTo>
                    <a:pt x="1544" y="78"/>
                    <a:pt x="1544" y="78"/>
                    <a:pt x="1544" y="78"/>
                  </a:cubicBezTo>
                  <a:cubicBezTo>
                    <a:pt x="1545" y="78"/>
                    <a:pt x="1545" y="78"/>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6" y="77"/>
                    <a:pt x="1546" y="77"/>
                    <a:pt x="1546" y="76"/>
                  </a:cubicBezTo>
                  <a:cubicBezTo>
                    <a:pt x="1546" y="76"/>
                    <a:pt x="1546" y="76"/>
                    <a:pt x="1546" y="76"/>
                  </a:cubicBezTo>
                  <a:cubicBezTo>
                    <a:pt x="1546" y="76"/>
                    <a:pt x="1546" y="76"/>
                    <a:pt x="1546" y="76"/>
                  </a:cubicBezTo>
                  <a:cubicBezTo>
                    <a:pt x="1546" y="76"/>
                    <a:pt x="1546" y="76"/>
                    <a:pt x="1546" y="76"/>
                  </a:cubicBezTo>
                  <a:cubicBezTo>
                    <a:pt x="1547" y="76"/>
                    <a:pt x="1547" y="75"/>
                    <a:pt x="1548" y="75"/>
                  </a:cubicBezTo>
                  <a:cubicBezTo>
                    <a:pt x="1548" y="75"/>
                    <a:pt x="1548" y="75"/>
                    <a:pt x="1548" y="75"/>
                  </a:cubicBezTo>
                  <a:cubicBezTo>
                    <a:pt x="1548" y="75"/>
                    <a:pt x="1548" y="75"/>
                    <a:pt x="1548" y="75"/>
                  </a:cubicBezTo>
                  <a:cubicBezTo>
                    <a:pt x="1548" y="75"/>
                    <a:pt x="1548" y="75"/>
                    <a:pt x="1548" y="75"/>
                  </a:cubicBezTo>
                  <a:cubicBezTo>
                    <a:pt x="1548" y="75"/>
                    <a:pt x="1548" y="74"/>
                    <a:pt x="1548" y="74"/>
                  </a:cubicBezTo>
                  <a:cubicBezTo>
                    <a:pt x="1548" y="74"/>
                    <a:pt x="1548" y="74"/>
                    <a:pt x="1548" y="74"/>
                  </a:cubicBezTo>
                  <a:cubicBezTo>
                    <a:pt x="1549" y="74"/>
                    <a:pt x="1549" y="74"/>
                    <a:pt x="1549" y="74"/>
                  </a:cubicBezTo>
                  <a:cubicBezTo>
                    <a:pt x="1549" y="74"/>
                    <a:pt x="1549" y="74"/>
                    <a:pt x="1549" y="74"/>
                  </a:cubicBezTo>
                  <a:cubicBezTo>
                    <a:pt x="1549" y="74"/>
                    <a:pt x="1550" y="73"/>
                    <a:pt x="1550" y="73"/>
                  </a:cubicBezTo>
                  <a:cubicBezTo>
                    <a:pt x="1550" y="73"/>
                    <a:pt x="1550" y="73"/>
                    <a:pt x="1550" y="73"/>
                  </a:cubicBezTo>
                  <a:cubicBezTo>
                    <a:pt x="1550" y="73"/>
                    <a:pt x="1550" y="73"/>
                    <a:pt x="1550" y="73"/>
                  </a:cubicBezTo>
                  <a:cubicBezTo>
                    <a:pt x="1550" y="73"/>
                    <a:pt x="1550" y="73"/>
                    <a:pt x="1550" y="73"/>
                  </a:cubicBezTo>
                  <a:cubicBezTo>
                    <a:pt x="1550" y="73"/>
                    <a:pt x="1551" y="73"/>
                    <a:pt x="1551" y="72"/>
                  </a:cubicBezTo>
                  <a:cubicBezTo>
                    <a:pt x="1551" y="72"/>
                    <a:pt x="1551" y="72"/>
                    <a:pt x="1551" y="72"/>
                  </a:cubicBezTo>
                  <a:cubicBezTo>
                    <a:pt x="1551" y="72"/>
                    <a:pt x="1551" y="72"/>
                    <a:pt x="1551" y="72"/>
                  </a:cubicBezTo>
                  <a:cubicBezTo>
                    <a:pt x="1551" y="72"/>
                    <a:pt x="1551" y="72"/>
                    <a:pt x="1551" y="72"/>
                  </a:cubicBezTo>
                  <a:cubicBezTo>
                    <a:pt x="1552" y="72"/>
                    <a:pt x="1552" y="72"/>
                    <a:pt x="1552" y="72"/>
                  </a:cubicBezTo>
                  <a:cubicBezTo>
                    <a:pt x="1552" y="72"/>
                    <a:pt x="1552" y="72"/>
                    <a:pt x="1552" y="72"/>
                  </a:cubicBezTo>
                  <a:cubicBezTo>
                    <a:pt x="1552" y="71"/>
                    <a:pt x="1552" y="71"/>
                    <a:pt x="1552" y="71"/>
                  </a:cubicBezTo>
                  <a:cubicBezTo>
                    <a:pt x="1552" y="71"/>
                    <a:pt x="1552" y="71"/>
                    <a:pt x="1552" y="71"/>
                  </a:cubicBezTo>
                  <a:cubicBezTo>
                    <a:pt x="1553" y="71"/>
                    <a:pt x="1553" y="71"/>
                    <a:pt x="1553" y="71"/>
                  </a:cubicBezTo>
                  <a:cubicBezTo>
                    <a:pt x="1553" y="71"/>
                    <a:pt x="1553" y="71"/>
                    <a:pt x="1553" y="71"/>
                  </a:cubicBezTo>
                  <a:cubicBezTo>
                    <a:pt x="1553" y="71"/>
                    <a:pt x="1553" y="71"/>
                    <a:pt x="1553" y="71"/>
                  </a:cubicBezTo>
                  <a:cubicBezTo>
                    <a:pt x="1553" y="71"/>
                    <a:pt x="1553" y="71"/>
                    <a:pt x="1553" y="71"/>
                  </a:cubicBezTo>
                  <a:cubicBezTo>
                    <a:pt x="1553" y="70"/>
                    <a:pt x="1554" y="70"/>
                    <a:pt x="1554" y="70"/>
                  </a:cubicBezTo>
                  <a:cubicBezTo>
                    <a:pt x="1554" y="70"/>
                    <a:pt x="1554" y="70"/>
                    <a:pt x="1554" y="70"/>
                  </a:cubicBezTo>
                  <a:cubicBezTo>
                    <a:pt x="1554" y="70"/>
                    <a:pt x="1554" y="70"/>
                    <a:pt x="1554" y="70"/>
                  </a:cubicBezTo>
                  <a:cubicBezTo>
                    <a:pt x="1554" y="70"/>
                    <a:pt x="1554" y="70"/>
                    <a:pt x="1554" y="70"/>
                  </a:cubicBezTo>
                  <a:cubicBezTo>
                    <a:pt x="1554" y="70"/>
                    <a:pt x="1554" y="70"/>
                    <a:pt x="1555" y="70"/>
                  </a:cubicBezTo>
                  <a:cubicBezTo>
                    <a:pt x="1555" y="70"/>
                    <a:pt x="1555" y="70"/>
                    <a:pt x="1555" y="70"/>
                  </a:cubicBezTo>
                  <a:cubicBezTo>
                    <a:pt x="1555" y="69"/>
                    <a:pt x="1555" y="69"/>
                    <a:pt x="1555" y="69"/>
                  </a:cubicBezTo>
                  <a:cubicBezTo>
                    <a:pt x="1555" y="69"/>
                    <a:pt x="1555" y="69"/>
                    <a:pt x="1555" y="69"/>
                  </a:cubicBezTo>
                  <a:cubicBezTo>
                    <a:pt x="1555" y="69"/>
                    <a:pt x="1555" y="69"/>
                    <a:pt x="1556" y="69"/>
                  </a:cubicBezTo>
                  <a:cubicBezTo>
                    <a:pt x="1556" y="69"/>
                    <a:pt x="1556" y="69"/>
                    <a:pt x="1556" y="69"/>
                  </a:cubicBezTo>
                  <a:cubicBezTo>
                    <a:pt x="1556" y="69"/>
                    <a:pt x="1556" y="68"/>
                    <a:pt x="1557" y="68"/>
                  </a:cubicBezTo>
                  <a:cubicBezTo>
                    <a:pt x="1557" y="68"/>
                    <a:pt x="1557" y="68"/>
                    <a:pt x="1557" y="68"/>
                  </a:cubicBezTo>
                  <a:cubicBezTo>
                    <a:pt x="1557" y="68"/>
                    <a:pt x="1557" y="68"/>
                    <a:pt x="1557" y="68"/>
                  </a:cubicBezTo>
                  <a:cubicBezTo>
                    <a:pt x="1557" y="68"/>
                    <a:pt x="1557" y="68"/>
                    <a:pt x="1557" y="68"/>
                  </a:cubicBezTo>
                  <a:cubicBezTo>
                    <a:pt x="1557" y="68"/>
                    <a:pt x="1558" y="68"/>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9" y="66"/>
                    <a:pt x="1559" y="67"/>
                    <a:pt x="1559" y="66"/>
                  </a:cubicBezTo>
                  <a:cubicBezTo>
                    <a:pt x="1559" y="66"/>
                    <a:pt x="1559" y="66"/>
                    <a:pt x="1559" y="66"/>
                  </a:cubicBezTo>
                  <a:cubicBezTo>
                    <a:pt x="1559" y="66"/>
                    <a:pt x="1559" y="66"/>
                    <a:pt x="1559" y="66"/>
                  </a:cubicBezTo>
                  <a:cubicBezTo>
                    <a:pt x="1559" y="66"/>
                    <a:pt x="1559" y="66"/>
                    <a:pt x="1559" y="66"/>
                  </a:cubicBezTo>
                  <a:cubicBezTo>
                    <a:pt x="1560" y="66"/>
                    <a:pt x="1560" y="66"/>
                    <a:pt x="1560" y="66"/>
                  </a:cubicBezTo>
                  <a:cubicBezTo>
                    <a:pt x="1560" y="66"/>
                    <a:pt x="1560" y="66"/>
                    <a:pt x="1560" y="66"/>
                  </a:cubicBezTo>
                  <a:cubicBezTo>
                    <a:pt x="1560" y="66"/>
                    <a:pt x="1560" y="65"/>
                    <a:pt x="1560" y="65"/>
                  </a:cubicBezTo>
                  <a:cubicBezTo>
                    <a:pt x="1560" y="65"/>
                    <a:pt x="1560" y="65"/>
                    <a:pt x="1560" y="65"/>
                  </a:cubicBezTo>
                  <a:cubicBezTo>
                    <a:pt x="1561" y="65"/>
                    <a:pt x="1561" y="65"/>
                    <a:pt x="1561" y="65"/>
                  </a:cubicBezTo>
                  <a:cubicBezTo>
                    <a:pt x="1561" y="65"/>
                    <a:pt x="1561" y="65"/>
                    <a:pt x="1561" y="65"/>
                  </a:cubicBezTo>
                  <a:cubicBezTo>
                    <a:pt x="1561" y="65"/>
                    <a:pt x="1561" y="65"/>
                    <a:pt x="1561" y="65"/>
                  </a:cubicBezTo>
                  <a:cubicBezTo>
                    <a:pt x="1561" y="65"/>
                    <a:pt x="1561" y="65"/>
                    <a:pt x="1561" y="65"/>
                  </a:cubicBezTo>
                  <a:cubicBezTo>
                    <a:pt x="1562" y="65"/>
                    <a:pt x="1562" y="64"/>
                    <a:pt x="1562" y="64"/>
                  </a:cubicBezTo>
                  <a:cubicBezTo>
                    <a:pt x="1562" y="64"/>
                    <a:pt x="1562" y="64"/>
                    <a:pt x="1562" y="64"/>
                  </a:cubicBezTo>
                  <a:cubicBezTo>
                    <a:pt x="1562" y="64"/>
                    <a:pt x="1562" y="64"/>
                    <a:pt x="1562" y="64"/>
                  </a:cubicBezTo>
                  <a:cubicBezTo>
                    <a:pt x="1562" y="64"/>
                    <a:pt x="1562" y="64"/>
                    <a:pt x="1562" y="64"/>
                  </a:cubicBezTo>
                  <a:cubicBezTo>
                    <a:pt x="1562" y="64"/>
                    <a:pt x="1563" y="64"/>
                    <a:pt x="1563" y="63"/>
                  </a:cubicBezTo>
                  <a:cubicBezTo>
                    <a:pt x="1563" y="64"/>
                    <a:pt x="1563" y="64"/>
                    <a:pt x="1563" y="64"/>
                  </a:cubicBezTo>
                  <a:cubicBezTo>
                    <a:pt x="1563" y="63"/>
                    <a:pt x="1563" y="63"/>
                    <a:pt x="1563" y="63"/>
                  </a:cubicBezTo>
                  <a:cubicBezTo>
                    <a:pt x="1563" y="63"/>
                    <a:pt x="1563" y="63"/>
                    <a:pt x="1563" y="63"/>
                  </a:cubicBezTo>
                  <a:cubicBezTo>
                    <a:pt x="1563" y="63"/>
                    <a:pt x="1563" y="63"/>
                    <a:pt x="1564" y="63"/>
                  </a:cubicBezTo>
                  <a:cubicBezTo>
                    <a:pt x="1564" y="63"/>
                    <a:pt x="1564" y="63"/>
                    <a:pt x="1564" y="63"/>
                  </a:cubicBezTo>
                  <a:cubicBezTo>
                    <a:pt x="1564" y="63"/>
                    <a:pt x="1564" y="63"/>
                    <a:pt x="1564" y="62"/>
                  </a:cubicBezTo>
                  <a:cubicBezTo>
                    <a:pt x="1564" y="62"/>
                    <a:pt x="1564" y="62"/>
                    <a:pt x="1564" y="62"/>
                  </a:cubicBezTo>
                  <a:cubicBezTo>
                    <a:pt x="1564" y="62"/>
                    <a:pt x="1565" y="62"/>
                    <a:pt x="1565" y="62"/>
                  </a:cubicBezTo>
                  <a:cubicBezTo>
                    <a:pt x="1565" y="62"/>
                    <a:pt x="1565" y="62"/>
                    <a:pt x="1565" y="62"/>
                  </a:cubicBezTo>
                  <a:cubicBezTo>
                    <a:pt x="1565" y="62"/>
                    <a:pt x="1565" y="62"/>
                    <a:pt x="1565" y="62"/>
                  </a:cubicBezTo>
                  <a:cubicBezTo>
                    <a:pt x="1565" y="62"/>
                    <a:pt x="1565" y="62"/>
                    <a:pt x="1565" y="62"/>
                  </a:cubicBezTo>
                  <a:cubicBezTo>
                    <a:pt x="1565" y="62"/>
                    <a:pt x="1566" y="61"/>
                    <a:pt x="1566" y="61"/>
                  </a:cubicBezTo>
                  <a:cubicBezTo>
                    <a:pt x="1566" y="61"/>
                    <a:pt x="1566" y="61"/>
                    <a:pt x="1566" y="61"/>
                  </a:cubicBezTo>
                  <a:cubicBezTo>
                    <a:pt x="1566" y="61"/>
                    <a:pt x="1566" y="61"/>
                    <a:pt x="1566" y="61"/>
                  </a:cubicBezTo>
                  <a:cubicBezTo>
                    <a:pt x="1566" y="61"/>
                    <a:pt x="1566" y="61"/>
                    <a:pt x="1566" y="61"/>
                  </a:cubicBezTo>
                  <a:cubicBezTo>
                    <a:pt x="1567" y="61"/>
                    <a:pt x="1567" y="61"/>
                    <a:pt x="1567" y="60"/>
                  </a:cubicBezTo>
                  <a:cubicBezTo>
                    <a:pt x="1567" y="60"/>
                    <a:pt x="1567" y="60"/>
                    <a:pt x="1567" y="60"/>
                  </a:cubicBezTo>
                  <a:cubicBezTo>
                    <a:pt x="1567" y="60"/>
                    <a:pt x="1567" y="60"/>
                    <a:pt x="1567" y="60"/>
                  </a:cubicBezTo>
                  <a:cubicBezTo>
                    <a:pt x="1567" y="60"/>
                    <a:pt x="1567" y="60"/>
                    <a:pt x="1567" y="60"/>
                  </a:cubicBezTo>
                  <a:cubicBezTo>
                    <a:pt x="1568" y="60"/>
                    <a:pt x="1568" y="59"/>
                    <a:pt x="1568" y="59"/>
                  </a:cubicBezTo>
                  <a:cubicBezTo>
                    <a:pt x="1568" y="59"/>
                    <a:pt x="1568" y="59"/>
                    <a:pt x="1568" y="59"/>
                  </a:cubicBezTo>
                  <a:cubicBezTo>
                    <a:pt x="1569" y="59"/>
                    <a:pt x="1569" y="59"/>
                    <a:pt x="1569" y="59"/>
                  </a:cubicBezTo>
                  <a:cubicBezTo>
                    <a:pt x="1569" y="59"/>
                    <a:pt x="1569" y="59"/>
                    <a:pt x="1569" y="59"/>
                  </a:cubicBezTo>
                  <a:cubicBezTo>
                    <a:pt x="1569" y="59"/>
                    <a:pt x="1569" y="58"/>
                    <a:pt x="1569" y="58"/>
                  </a:cubicBezTo>
                  <a:cubicBezTo>
                    <a:pt x="1569" y="58"/>
                    <a:pt x="1569" y="58"/>
                    <a:pt x="1569" y="58"/>
                  </a:cubicBezTo>
                  <a:cubicBezTo>
                    <a:pt x="1569" y="58"/>
                    <a:pt x="1569" y="58"/>
                    <a:pt x="1569" y="58"/>
                  </a:cubicBezTo>
                  <a:cubicBezTo>
                    <a:pt x="1569" y="58"/>
                    <a:pt x="1569" y="58"/>
                    <a:pt x="1569" y="58"/>
                  </a:cubicBezTo>
                  <a:cubicBezTo>
                    <a:pt x="1570" y="58"/>
                    <a:pt x="1570" y="58"/>
                    <a:pt x="1570" y="58"/>
                  </a:cubicBezTo>
                  <a:cubicBezTo>
                    <a:pt x="1570" y="58"/>
                    <a:pt x="1570" y="58"/>
                    <a:pt x="1570" y="58"/>
                  </a:cubicBezTo>
                  <a:cubicBezTo>
                    <a:pt x="1570" y="58"/>
                    <a:pt x="1570" y="57"/>
                    <a:pt x="1570" y="57"/>
                  </a:cubicBezTo>
                  <a:cubicBezTo>
                    <a:pt x="1570" y="57"/>
                    <a:pt x="1570" y="57"/>
                    <a:pt x="1570" y="57"/>
                  </a:cubicBezTo>
                  <a:cubicBezTo>
                    <a:pt x="1570" y="57"/>
                    <a:pt x="1570" y="57"/>
                    <a:pt x="1571" y="57"/>
                  </a:cubicBezTo>
                  <a:cubicBezTo>
                    <a:pt x="1571" y="57"/>
                    <a:pt x="1571" y="57"/>
                    <a:pt x="1571" y="57"/>
                  </a:cubicBezTo>
                  <a:cubicBezTo>
                    <a:pt x="1571" y="57"/>
                    <a:pt x="1571" y="57"/>
                    <a:pt x="1571" y="57"/>
                  </a:cubicBezTo>
                  <a:cubicBezTo>
                    <a:pt x="1571" y="57"/>
                    <a:pt x="1571" y="57"/>
                    <a:pt x="1571" y="57"/>
                  </a:cubicBezTo>
                  <a:cubicBezTo>
                    <a:pt x="1571" y="56"/>
                    <a:pt x="1571" y="56"/>
                    <a:pt x="1571" y="56"/>
                  </a:cubicBezTo>
                  <a:cubicBezTo>
                    <a:pt x="1571" y="56"/>
                    <a:pt x="1571" y="56"/>
                    <a:pt x="1571" y="56"/>
                  </a:cubicBezTo>
                  <a:cubicBezTo>
                    <a:pt x="1571" y="56"/>
                    <a:pt x="1572" y="56"/>
                    <a:pt x="1572" y="56"/>
                  </a:cubicBezTo>
                  <a:cubicBezTo>
                    <a:pt x="1572" y="56"/>
                    <a:pt x="1572" y="56"/>
                    <a:pt x="1572" y="56"/>
                  </a:cubicBezTo>
                  <a:cubicBezTo>
                    <a:pt x="1572" y="56"/>
                    <a:pt x="1572" y="56"/>
                    <a:pt x="1572" y="56"/>
                  </a:cubicBezTo>
                  <a:cubicBezTo>
                    <a:pt x="1572" y="56"/>
                    <a:pt x="1572" y="56"/>
                    <a:pt x="1572" y="56"/>
                  </a:cubicBezTo>
                  <a:cubicBezTo>
                    <a:pt x="1572" y="55"/>
                    <a:pt x="1572" y="55"/>
                    <a:pt x="1572" y="55"/>
                  </a:cubicBezTo>
                  <a:cubicBezTo>
                    <a:pt x="1572" y="55"/>
                    <a:pt x="1572" y="55"/>
                    <a:pt x="1572" y="55"/>
                  </a:cubicBezTo>
                  <a:cubicBezTo>
                    <a:pt x="1572" y="55"/>
                    <a:pt x="1573" y="55"/>
                    <a:pt x="1573" y="55"/>
                  </a:cubicBezTo>
                  <a:cubicBezTo>
                    <a:pt x="1573" y="55"/>
                    <a:pt x="1573" y="55"/>
                    <a:pt x="1573" y="55"/>
                  </a:cubicBezTo>
                  <a:cubicBezTo>
                    <a:pt x="1573" y="55"/>
                    <a:pt x="1573" y="55"/>
                    <a:pt x="1573" y="54"/>
                  </a:cubicBezTo>
                  <a:cubicBezTo>
                    <a:pt x="1573" y="54"/>
                    <a:pt x="1573" y="54"/>
                    <a:pt x="1573" y="54"/>
                  </a:cubicBezTo>
                  <a:cubicBezTo>
                    <a:pt x="1573" y="54"/>
                    <a:pt x="1573" y="54"/>
                    <a:pt x="1573" y="54"/>
                  </a:cubicBezTo>
                  <a:cubicBezTo>
                    <a:pt x="1573" y="54"/>
                    <a:pt x="1573" y="54"/>
                    <a:pt x="1573" y="54"/>
                  </a:cubicBezTo>
                  <a:cubicBezTo>
                    <a:pt x="1574" y="54"/>
                    <a:pt x="1574" y="53"/>
                    <a:pt x="1574" y="53"/>
                  </a:cubicBezTo>
                  <a:cubicBezTo>
                    <a:pt x="1574" y="53"/>
                    <a:pt x="1574" y="53"/>
                    <a:pt x="1574" y="53"/>
                  </a:cubicBezTo>
                  <a:cubicBezTo>
                    <a:pt x="1574" y="53"/>
                    <a:pt x="1574" y="53"/>
                    <a:pt x="1574" y="53"/>
                  </a:cubicBezTo>
                  <a:cubicBezTo>
                    <a:pt x="1574" y="53"/>
                    <a:pt x="1574" y="53"/>
                    <a:pt x="1574" y="53"/>
                  </a:cubicBezTo>
                  <a:cubicBezTo>
                    <a:pt x="1575" y="53"/>
                    <a:pt x="1575" y="53"/>
                    <a:pt x="1575" y="52"/>
                  </a:cubicBezTo>
                  <a:cubicBezTo>
                    <a:pt x="1575" y="52"/>
                    <a:pt x="1575" y="52"/>
                    <a:pt x="1575" y="52"/>
                  </a:cubicBezTo>
                  <a:cubicBezTo>
                    <a:pt x="1575" y="52"/>
                    <a:pt x="1575" y="52"/>
                    <a:pt x="1575" y="52"/>
                  </a:cubicBezTo>
                  <a:cubicBezTo>
                    <a:pt x="1575" y="52"/>
                    <a:pt x="1575" y="52"/>
                    <a:pt x="1575" y="52"/>
                  </a:cubicBezTo>
                  <a:cubicBezTo>
                    <a:pt x="1575" y="52"/>
                    <a:pt x="1575" y="52"/>
                    <a:pt x="1575" y="51"/>
                  </a:cubicBezTo>
                  <a:cubicBezTo>
                    <a:pt x="1575" y="51"/>
                    <a:pt x="1575" y="51"/>
                    <a:pt x="1575" y="51"/>
                  </a:cubicBezTo>
                  <a:cubicBezTo>
                    <a:pt x="1576" y="51"/>
                    <a:pt x="1576" y="51"/>
                    <a:pt x="1576" y="51"/>
                  </a:cubicBezTo>
                  <a:cubicBezTo>
                    <a:pt x="1576" y="51"/>
                    <a:pt x="1576" y="51"/>
                    <a:pt x="1576" y="51"/>
                  </a:cubicBezTo>
                  <a:cubicBezTo>
                    <a:pt x="1576" y="51"/>
                    <a:pt x="1576" y="51"/>
                    <a:pt x="1576" y="50"/>
                  </a:cubicBezTo>
                  <a:cubicBezTo>
                    <a:pt x="1576" y="50"/>
                    <a:pt x="1576" y="50"/>
                    <a:pt x="1576" y="50"/>
                  </a:cubicBezTo>
                  <a:cubicBezTo>
                    <a:pt x="1576" y="50"/>
                    <a:pt x="1576" y="50"/>
                    <a:pt x="1576" y="50"/>
                  </a:cubicBezTo>
                  <a:cubicBezTo>
                    <a:pt x="1576" y="50"/>
                    <a:pt x="1576" y="50"/>
                    <a:pt x="1576" y="50"/>
                  </a:cubicBezTo>
                  <a:cubicBezTo>
                    <a:pt x="1577" y="50"/>
                    <a:pt x="1577" y="49"/>
                    <a:pt x="1577" y="49"/>
                  </a:cubicBezTo>
                  <a:cubicBezTo>
                    <a:pt x="1577" y="49"/>
                    <a:pt x="1577" y="49"/>
                    <a:pt x="1577" y="49"/>
                  </a:cubicBezTo>
                  <a:cubicBezTo>
                    <a:pt x="1577" y="49"/>
                    <a:pt x="1577" y="49"/>
                    <a:pt x="1577" y="49"/>
                  </a:cubicBezTo>
                  <a:cubicBezTo>
                    <a:pt x="1577" y="49"/>
                    <a:pt x="1577" y="49"/>
                    <a:pt x="1577" y="49"/>
                  </a:cubicBezTo>
                  <a:cubicBezTo>
                    <a:pt x="1577" y="49"/>
                    <a:pt x="1577" y="48"/>
                    <a:pt x="1578" y="48"/>
                  </a:cubicBezTo>
                  <a:cubicBezTo>
                    <a:pt x="1577" y="48"/>
                    <a:pt x="1577" y="48"/>
                    <a:pt x="1577" y="48"/>
                  </a:cubicBezTo>
                  <a:cubicBezTo>
                    <a:pt x="1578" y="48"/>
                    <a:pt x="1578" y="48"/>
                    <a:pt x="1578" y="48"/>
                  </a:cubicBezTo>
                  <a:cubicBezTo>
                    <a:pt x="1578" y="48"/>
                    <a:pt x="1578" y="48"/>
                    <a:pt x="1578" y="48"/>
                  </a:cubicBezTo>
                  <a:cubicBezTo>
                    <a:pt x="1578" y="47"/>
                    <a:pt x="1578" y="47"/>
                    <a:pt x="1578" y="47"/>
                  </a:cubicBezTo>
                  <a:cubicBezTo>
                    <a:pt x="1578" y="47"/>
                    <a:pt x="1578" y="47"/>
                    <a:pt x="1578" y="47"/>
                  </a:cubicBezTo>
                  <a:cubicBezTo>
                    <a:pt x="1578" y="47"/>
                    <a:pt x="1578" y="46"/>
                    <a:pt x="1579" y="46"/>
                  </a:cubicBezTo>
                  <a:cubicBezTo>
                    <a:pt x="1579" y="46"/>
                    <a:pt x="1579" y="46"/>
                    <a:pt x="1579" y="46"/>
                  </a:cubicBezTo>
                  <a:cubicBezTo>
                    <a:pt x="1579" y="46"/>
                    <a:pt x="1579" y="46"/>
                    <a:pt x="1579" y="45"/>
                  </a:cubicBezTo>
                  <a:cubicBezTo>
                    <a:pt x="1579" y="45"/>
                    <a:pt x="1579" y="45"/>
                    <a:pt x="1579" y="45"/>
                  </a:cubicBezTo>
                  <a:cubicBezTo>
                    <a:pt x="1579" y="45"/>
                    <a:pt x="1579" y="45"/>
                    <a:pt x="1579" y="45"/>
                  </a:cubicBezTo>
                  <a:cubicBezTo>
                    <a:pt x="1579" y="45"/>
                    <a:pt x="1579" y="45"/>
                    <a:pt x="1579" y="45"/>
                  </a:cubicBezTo>
                  <a:cubicBezTo>
                    <a:pt x="1580" y="45"/>
                    <a:pt x="1579" y="44"/>
                    <a:pt x="1580" y="44"/>
                  </a:cubicBezTo>
                  <a:cubicBezTo>
                    <a:pt x="1580" y="44"/>
                    <a:pt x="1580" y="44"/>
                    <a:pt x="1580" y="44"/>
                  </a:cubicBezTo>
                  <a:cubicBezTo>
                    <a:pt x="1580" y="43"/>
                    <a:pt x="1580" y="43"/>
                    <a:pt x="1580" y="43"/>
                  </a:cubicBezTo>
                  <a:cubicBezTo>
                    <a:pt x="1580" y="43"/>
                    <a:pt x="1580" y="43"/>
                    <a:pt x="1580" y="43"/>
                  </a:cubicBezTo>
                  <a:cubicBezTo>
                    <a:pt x="1580" y="43"/>
                    <a:pt x="1580" y="43"/>
                    <a:pt x="1580" y="43"/>
                  </a:cubicBezTo>
                  <a:cubicBezTo>
                    <a:pt x="1580" y="42"/>
                    <a:pt x="1580" y="42"/>
                    <a:pt x="1580" y="42"/>
                  </a:cubicBezTo>
                  <a:cubicBezTo>
                    <a:pt x="1580" y="42"/>
                    <a:pt x="1580" y="42"/>
                    <a:pt x="1580" y="42"/>
                  </a:cubicBezTo>
                  <a:cubicBezTo>
                    <a:pt x="1581" y="41"/>
                    <a:pt x="1580" y="41"/>
                    <a:pt x="1581" y="40"/>
                  </a:cubicBezTo>
                  <a:cubicBezTo>
                    <a:pt x="1581" y="40"/>
                    <a:pt x="1581" y="40"/>
                    <a:pt x="1581" y="40"/>
                  </a:cubicBezTo>
                  <a:cubicBezTo>
                    <a:pt x="1581" y="40"/>
                    <a:pt x="1581" y="40"/>
                    <a:pt x="1581" y="40"/>
                  </a:cubicBezTo>
                  <a:cubicBezTo>
                    <a:pt x="1581" y="40"/>
                    <a:pt x="1581" y="39"/>
                    <a:pt x="1581" y="39"/>
                  </a:cubicBezTo>
                  <a:cubicBezTo>
                    <a:pt x="1581" y="39"/>
                    <a:pt x="1581" y="39"/>
                    <a:pt x="1581" y="39"/>
                  </a:cubicBezTo>
                  <a:cubicBezTo>
                    <a:pt x="1581" y="38"/>
                    <a:pt x="1581" y="37"/>
                    <a:pt x="1581" y="37"/>
                  </a:cubicBezTo>
                  <a:cubicBezTo>
                    <a:pt x="1581" y="37"/>
                    <a:pt x="1581" y="37"/>
                    <a:pt x="1581" y="36"/>
                  </a:cubicBezTo>
                  <a:cubicBezTo>
                    <a:pt x="1582" y="35"/>
                    <a:pt x="1581" y="34"/>
                    <a:pt x="1582" y="33"/>
                  </a:cubicBezTo>
                  <a:cubicBezTo>
                    <a:pt x="1582" y="32"/>
                    <a:pt x="1582" y="31"/>
                    <a:pt x="1582" y="29"/>
                  </a:cubicBezTo>
                  <a:cubicBezTo>
                    <a:pt x="1581" y="28"/>
                    <a:pt x="1582" y="27"/>
                    <a:pt x="1581" y="26"/>
                  </a:cubicBezTo>
                  <a:cubicBezTo>
                    <a:pt x="1581" y="26"/>
                    <a:pt x="1581" y="26"/>
                    <a:pt x="1581" y="26"/>
                  </a:cubicBezTo>
                  <a:cubicBezTo>
                    <a:pt x="1581" y="26"/>
                    <a:pt x="1581" y="25"/>
                    <a:pt x="1581" y="25"/>
                  </a:cubicBezTo>
                  <a:cubicBezTo>
                    <a:pt x="1581" y="25"/>
                    <a:pt x="1581" y="24"/>
                    <a:pt x="1581" y="24"/>
                  </a:cubicBezTo>
                  <a:cubicBezTo>
                    <a:pt x="1581" y="24"/>
                    <a:pt x="1581" y="24"/>
                    <a:pt x="1581" y="23"/>
                  </a:cubicBezTo>
                  <a:cubicBezTo>
                    <a:pt x="1581" y="23"/>
                    <a:pt x="1581" y="23"/>
                    <a:pt x="1581" y="23"/>
                  </a:cubicBezTo>
                  <a:cubicBezTo>
                    <a:pt x="1580" y="23"/>
                    <a:pt x="1581" y="22"/>
                    <a:pt x="1580" y="22"/>
                  </a:cubicBezTo>
                  <a:close/>
                  <a:moveTo>
                    <a:pt x="1749" y="37"/>
                  </a:moveTo>
                  <a:cubicBezTo>
                    <a:pt x="1749" y="37"/>
                    <a:pt x="1749" y="37"/>
                    <a:pt x="1749" y="36"/>
                  </a:cubicBezTo>
                  <a:cubicBezTo>
                    <a:pt x="1750" y="35"/>
                    <a:pt x="1749" y="34"/>
                    <a:pt x="1750" y="33"/>
                  </a:cubicBezTo>
                  <a:cubicBezTo>
                    <a:pt x="1750" y="32"/>
                    <a:pt x="1750" y="31"/>
                    <a:pt x="1750" y="29"/>
                  </a:cubicBezTo>
                  <a:cubicBezTo>
                    <a:pt x="1749" y="28"/>
                    <a:pt x="1750" y="28"/>
                    <a:pt x="1750" y="27"/>
                  </a:cubicBezTo>
                  <a:cubicBezTo>
                    <a:pt x="1749" y="26"/>
                    <a:pt x="1749" y="26"/>
                    <a:pt x="1749" y="26"/>
                  </a:cubicBezTo>
                  <a:cubicBezTo>
                    <a:pt x="1749" y="26"/>
                    <a:pt x="1749" y="25"/>
                    <a:pt x="1749" y="25"/>
                  </a:cubicBezTo>
                  <a:cubicBezTo>
                    <a:pt x="1749" y="25"/>
                    <a:pt x="1749" y="24"/>
                    <a:pt x="1749" y="24"/>
                  </a:cubicBezTo>
                  <a:cubicBezTo>
                    <a:pt x="1749" y="24"/>
                    <a:pt x="1749" y="24"/>
                    <a:pt x="1749" y="23"/>
                  </a:cubicBezTo>
                  <a:cubicBezTo>
                    <a:pt x="1749" y="23"/>
                    <a:pt x="1749" y="23"/>
                    <a:pt x="1749" y="23"/>
                  </a:cubicBezTo>
                  <a:cubicBezTo>
                    <a:pt x="1749" y="23"/>
                    <a:pt x="1749" y="22"/>
                    <a:pt x="1748" y="22"/>
                  </a:cubicBezTo>
                  <a:cubicBezTo>
                    <a:pt x="1748" y="22"/>
                    <a:pt x="1748" y="22"/>
                    <a:pt x="1748" y="22"/>
                  </a:cubicBezTo>
                  <a:cubicBezTo>
                    <a:pt x="1748" y="22"/>
                    <a:pt x="1748" y="21"/>
                    <a:pt x="1748" y="21"/>
                  </a:cubicBezTo>
                  <a:cubicBezTo>
                    <a:pt x="1748" y="21"/>
                    <a:pt x="1748" y="21"/>
                    <a:pt x="1748" y="21"/>
                  </a:cubicBezTo>
                  <a:cubicBezTo>
                    <a:pt x="1748" y="21"/>
                    <a:pt x="1748" y="21"/>
                    <a:pt x="1748" y="21"/>
                  </a:cubicBezTo>
                  <a:cubicBezTo>
                    <a:pt x="1748" y="21"/>
                    <a:pt x="1748" y="20"/>
                    <a:pt x="1748" y="20"/>
                  </a:cubicBezTo>
                  <a:cubicBezTo>
                    <a:pt x="1748" y="20"/>
                    <a:pt x="1748" y="20"/>
                    <a:pt x="1748" y="20"/>
                  </a:cubicBezTo>
                  <a:cubicBezTo>
                    <a:pt x="1748" y="20"/>
                    <a:pt x="1748" y="20"/>
                    <a:pt x="1747" y="19"/>
                  </a:cubicBezTo>
                  <a:cubicBezTo>
                    <a:pt x="1747" y="19"/>
                    <a:pt x="1747" y="19"/>
                    <a:pt x="1747" y="19"/>
                  </a:cubicBezTo>
                  <a:cubicBezTo>
                    <a:pt x="1747" y="19"/>
                    <a:pt x="1747" y="19"/>
                    <a:pt x="1747" y="19"/>
                  </a:cubicBezTo>
                  <a:cubicBezTo>
                    <a:pt x="1747" y="19"/>
                    <a:pt x="1747" y="19"/>
                    <a:pt x="1747" y="19"/>
                  </a:cubicBezTo>
                  <a:cubicBezTo>
                    <a:pt x="1747" y="18"/>
                    <a:pt x="1747" y="18"/>
                    <a:pt x="1747" y="18"/>
                  </a:cubicBezTo>
                  <a:cubicBezTo>
                    <a:pt x="1747" y="18"/>
                    <a:pt x="1747" y="18"/>
                    <a:pt x="1747" y="18"/>
                  </a:cubicBezTo>
                  <a:cubicBezTo>
                    <a:pt x="1746" y="18"/>
                    <a:pt x="1747" y="17"/>
                    <a:pt x="1746" y="17"/>
                  </a:cubicBezTo>
                  <a:cubicBezTo>
                    <a:pt x="1746" y="17"/>
                    <a:pt x="1746" y="17"/>
                    <a:pt x="1746" y="17"/>
                  </a:cubicBezTo>
                  <a:cubicBezTo>
                    <a:pt x="1746" y="17"/>
                    <a:pt x="1746" y="17"/>
                    <a:pt x="1746" y="17"/>
                  </a:cubicBezTo>
                  <a:cubicBezTo>
                    <a:pt x="1746" y="17"/>
                    <a:pt x="1746" y="17"/>
                    <a:pt x="1746" y="17"/>
                  </a:cubicBezTo>
                  <a:cubicBezTo>
                    <a:pt x="1746" y="17"/>
                    <a:pt x="1746" y="16"/>
                    <a:pt x="1746" y="16"/>
                  </a:cubicBezTo>
                  <a:cubicBezTo>
                    <a:pt x="1746" y="16"/>
                    <a:pt x="1746" y="16"/>
                    <a:pt x="1746" y="16"/>
                  </a:cubicBezTo>
                  <a:cubicBezTo>
                    <a:pt x="1746" y="16"/>
                    <a:pt x="1745" y="16"/>
                    <a:pt x="1745" y="16"/>
                  </a:cubicBezTo>
                  <a:cubicBezTo>
                    <a:pt x="1745" y="16"/>
                    <a:pt x="1745" y="16"/>
                    <a:pt x="1745" y="16"/>
                  </a:cubicBezTo>
                  <a:cubicBezTo>
                    <a:pt x="1745" y="16"/>
                    <a:pt x="1745" y="15"/>
                    <a:pt x="1745" y="15"/>
                  </a:cubicBezTo>
                  <a:cubicBezTo>
                    <a:pt x="1745" y="15"/>
                    <a:pt x="1745" y="15"/>
                    <a:pt x="1745" y="15"/>
                  </a:cubicBezTo>
                  <a:cubicBezTo>
                    <a:pt x="1745" y="15"/>
                    <a:pt x="1744" y="15"/>
                    <a:pt x="1744" y="15"/>
                  </a:cubicBezTo>
                  <a:cubicBezTo>
                    <a:pt x="1744" y="15"/>
                    <a:pt x="1744" y="15"/>
                    <a:pt x="1744" y="15"/>
                  </a:cubicBezTo>
                  <a:cubicBezTo>
                    <a:pt x="1744" y="14"/>
                    <a:pt x="1744" y="14"/>
                    <a:pt x="1744" y="14"/>
                  </a:cubicBezTo>
                  <a:cubicBezTo>
                    <a:pt x="1744" y="14"/>
                    <a:pt x="1744" y="14"/>
                    <a:pt x="1744" y="14"/>
                  </a:cubicBezTo>
                  <a:cubicBezTo>
                    <a:pt x="1744" y="14"/>
                    <a:pt x="1744" y="14"/>
                    <a:pt x="1744" y="14"/>
                  </a:cubicBezTo>
                  <a:cubicBezTo>
                    <a:pt x="1744" y="14"/>
                    <a:pt x="1744" y="14"/>
                    <a:pt x="1744" y="14"/>
                  </a:cubicBezTo>
                  <a:cubicBezTo>
                    <a:pt x="1743" y="14"/>
                    <a:pt x="1743" y="14"/>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2" y="13"/>
                    <a:pt x="1742" y="13"/>
                    <a:pt x="1742" y="12"/>
                  </a:cubicBezTo>
                  <a:cubicBezTo>
                    <a:pt x="1742" y="12"/>
                    <a:pt x="1742" y="12"/>
                    <a:pt x="1742" y="12"/>
                  </a:cubicBezTo>
                  <a:cubicBezTo>
                    <a:pt x="1742" y="12"/>
                    <a:pt x="1742" y="12"/>
                    <a:pt x="1742" y="12"/>
                  </a:cubicBezTo>
                  <a:cubicBezTo>
                    <a:pt x="1742" y="12"/>
                    <a:pt x="1742" y="12"/>
                    <a:pt x="1742" y="12"/>
                  </a:cubicBezTo>
                  <a:cubicBezTo>
                    <a:pt x="1742" y="12"/>
                    <a:pt x="1742" y="12"/>
                    <a:pt x="1741" y="12"/>
                  </a:cubicBezTo>
                  <a:cubicBezTo>
                    <a:pt x="1741" y="12"/>
                    <a:pt x="1741" y="12"/>
                    <a:pt x="1741" y="12"/>
                  </a:cubicBezTo>
                  <a:cubicBezTo>
                    <a:pt x="1741" y="11"/>
                    <a:pt x="1741" y="11"/>
                    <a:pt x="1740" y="11"/>
                  </a:cubicBezTo>
                  <a:cubicBezTo>
                    <a:pt x="1740" y="11"/>
                    <a:pt x="1740" y="11"/>
                    <a:pt x="1740" y="11"/>
                  </a:cubicBezTo>
                  <a:cubicBezTo>
                    <a:pt x="1740" y="11"/>
                    <a:pt x="1740" y="11"/>
                    <a:pt x="1740" y="11"/>
                  </a:cubicBezTo>
                  <a:cubicBezTo>
                    <a:pt x="1740" y="11"/>
                    <a:pt x="1740" y="11"/>
                    <a:pt x="1740" y="11"/>
                  </a:cubicBezTo>
                  <a:cubicBezTo>
                    <a:pt x="1740" y="10"/>
                    <a:pt x="1740" y="11"/>
                    <a:pt x="1739" y="10"/>
                  </a:cubicBezTo>
                  <a:cubicBezTo>
                    <a:pt x="1739" y="10"/>
                    <a:pt x="1739" y="10"/>
                    <a:pt x="1739" y="10"/>
                  </a:cubicBezTo>
                  <a:cubicBezTo>
                    <a:pt x="1739" y="10"/>
                    <a:pt x="1739" y="10"/>
                    <a:pt x="1739" y="10"/>
                  </a:cubicBezTo>
                  <a:cubicBezTo>
                    <a:pt x="1739" y="10"/>
                    <a:pt x="1739" y="10"/>
                    <a:pt x="1739" y="10"/>
                  </a:cubicBezTo>
                  <a:cubicBezTo>
                    <a:pt x="1739" y="10"/>
                    <a:pt x="1739" y="10"/>
                    <a:pt x="1738" y="10"/>
                  </a:cubicBezTo>
                  <a:cubicBezTo>
                    <a:pt x="1738" y="10"/>
                    <a:pt x="1738" y="10"/>
                    <a:pt x="1738" y="10"/>
                  </a:cubicBezTo>
                  <a:cubicBezTo>
                    <a:pt x="1738" y="9"/>
                    <a:pt x="1738" y="9"/>
                    <a:pt x="1738" y="9"/>
                  </a:cubicBezTo>
                  <a:cubicBezTo>
                    <a:pt x="1738" y="9"/>
                    <a:pt x="1738" y="9"/>
                    <a:pt x="1738" y="9"/>
                  </a:cubicBezTo>
                  <a:cubicBezTo>
                    <a:pt x="1738" y="9"/>
                    <a:pt x="1737" y="9"/>
                    <a:pt x="1737" y="9"/>
                  </a:cubicBezTo>
                  <a:cubicBezTo>
                    <a:pt x="1737" y="9"/>
                    <a:pt x="1737" y="9"/>
                    <a:pt x="1737" y="9"/>
                  </a:cubicBezTo>
                  <a:cubicBezTo>
                    <a:pt x="1737" y="9"/>
                    <a:pt x="1737" y="9"/>
                    <a:pt x="1737" y="9"/>
                  </a:cubicBezTo>
                  <a:cubicBezTo>
                    <a:pt x="1737" y="9"/>
                    <a:pt x="1737" y="9"/>
                    <a:pt x="1737" y="9"/>
                  </a:cubicBezTo>
                  <a:cubicBezTo>
                    <a:pt x="1736" y="8"/>
                    <a:pt x="1736" y="8"/>
                    <a:pt x="1736" y="8"/>
                  </a:cubicBezTo>
                  <a:cubicBezTo>
                    <a:pt x="1736" y="8"/>
                    <a:pt x="1736" y="8"/>
                    <a:pt x="1736" y="8"/>
                  </a:cubicBezTo>
                  <a:cubicBezTo>
                    <a:pt x="1736" y="8"/>
                    <a:pt x="1735" y="8"/>
                    <a:pt x="1735" y="8"/>
                  </a:cubicBezTo>
                  <a:cubicBezTo>
                    <a:pt x="1735" y="8"/>
                    <a:pt x="1735" y="8"/>
                    <a:pt x="1735" y="8"/>
                  </a:cubicBezTo>
                  <a:cubicBezTo>
                    <a:pt x="1735" y="8"/>
                    <a:pt x="1734" y="8"/>
                    <a:pt x="1734" y="8"/>
                  </a:cubicBezTo>
                  <a:cubicBezTo>
                    <a:pt x="1734" y="8"/>
                    <a:pt x="1734" y="8"/>
                    <a:pt x="1734" y="7"/>
                  </a:cubicBezTo>
                  <a:cubicBezTo>
                    <a:pt x="1734" y="7"/>
                    <a:pt x="1733" y="7"/>
                    <a:pt x="1733" y="7"/>
                  </a:cubicBezTo>
                  <a:cubicBezTo>
                    <a:pt x="1733" y="7"/>
                    <a:pt x="1733" y="7"/>
                    <a:pt x="1733" y="7"/>
                  </a:cubicBezTo>
                  <a:cubicBezTo>
                    <a:pt x="1733" y="7"/>
                    <a:pt x="1732" y="7"/>
                    <a:pt x="1732" y="7"/>
                  </a:cubicBezTo>
                  <a:cubicBezTo>
                    <a:pt x="1732" y="7"/>
                    <a:pt x="1732" y="7"/>
                    <a:pt x="1732" y="7"/>
                  </a:cubicBezTo>
                  <a:cubicBezTo>
                    <a:pt x="1732" y="7"/>
                    <a:pt x="1732" y="7"/>
                    <a:pt x="1732" y="7"/>
                  </a:cubicBezTo>
                  <a:cubicBezTo>
                    <a:pt x="1731" y="7"/>
                    <a:pt x="1731" y="7"/>
                    <a:pt x="1731" y="7"/>
                  </a:cubicBezTo>
                  <a:cubicBezTo>
                    <a:pt x="1730" y="7"/>
                    <a:pt x="1730" y="7"/>
                    <a:pt x="1730" y="7"/>
                  </a:cubicBezTo>
                  <a:cubicBezTo>
                    <a:pt x="1730" y="6"/>
                    <a:pt x="1730" y="6"/>
                    <a:pt x="1730" y="6"/>
                  </a:cubicBezTo>
                  <a:cubicBezTo>
                    <a:pt x="1730" y="6"/>
                    <a:pt x="1729" y="7"/>
                    <a:pt x="1729" y="6"/>
                  </a:cubicBezTo>
                  <a:cubicBezTo>
                    <a:pt x="1728" y="6"/>
                    <a:pt x="1728" y="6"/>
                    <a:pt x="1728" y="6"/>
                  </a:cubicBezTo>
                  <a:cubicBezTo>
                    <a:pt x="1727" y="6"/>
                    <a:pt x="1726" y="6"/>
                    <a:pt x="1726" y="6"/>
                  </a:cubicBezTo>
                  <a:cubicBezTo>
                    <a:pt x="1725" y="6"/>
                    <a:pt x="1724" y="6"/>
                    <a:pt x="1724" y="6"/>
                  </a:cubicBezTo>
                  <a:cubicBezTo>
                    <a:pt x="1723" y="6"/>
                    <a:pt x="1722" y="6"/>
                    <a:pt x="1722" y="6"/>
                  </a:cubicBezTo>
                  <a:cubicBezTo>
                    <a:pt x="1721" y="6"/>
                    <a:pt x="1720" y="6"/>
                    <a:pt x="1719" y="6"/>
                  </a:cubicBezTo>
                  <a:cubicBezTo>
                    <a:pt x="1719" y="6"/>
                    <a:pt x="1718" y="6"/>
                    <a:pt x="1717" y="6"/>
                  </a:cubicBezTo>
                  <a:cubicBezTo>
                    <a:pt x="1717" y="6"/>
                    <a:pt x="1716" y="6"/>
                    <a:pt x="1716" y="6"/>
                  </a:cubicBezTo>
                  <a:cubicBezTo>
                    <a:pt x="1716" y="7"/>
                    <a:pt x="1715" y="6"/>
                    <a:pt x="1714" y="6"/>
                  </a:cubicBezTo>
                  <a:cubicBezTo>
                    <a:pt x="1714" y="7"/>
                    <a:pt x="1714" y="7"/>
                    <a:pt x="1714" y="7"/>
                  </a:cubicBezTo>
                  <a:cubicBezTo>
                    <a:pt x="1714" y="7"/>
                    <a:pt x="1714" y="7"/>
                    <a:pt x="1714" y="7"/>
                  </a:cubicBezTo>
                  <a:cubicBezTo>
                    <a:pt x="1714" y="7"/>
                    <a:pt x="1713" y="7"/>
                    <a:pt x="1713" y="7"/>
                  </a:cubicBezTo>
                  <a:cubicBezTo>
                    <a:pt x="1713" y="7"/>
                    <a:pt x="1713" y="7"/>
                    <a:pt x="1713" y="7"/>
                  </a:cubicBezTo>
                  <a:cubicBezTo>
                    <a:pt x="1712" y="7"/>
                    <a:pt x="1712" y="7"/>
                    <a:pt x="1712" y="7"/>
                  </a:cubicBezTo>
                  <a:cubicBezTo>
                    <a:pt x="1711" y="7"/>
                    <a:pt x="1711" y="7"/>
                    <a:pt x="1711" y="7"/>
                  </a:cubicBezTo>
                  <a:cubicBezTo>
                    <a:pt x="1711" y="7"/>
                    <a:pt x="1711" y="7"/>
                    <a:pt x="1711" y="7"/>
                  </a:cubicBezTo>
                  <a:cubicBezTo>
                    <a:pt x="1711" y="7"/>
                    <a:pt x="1711" y="7"/>
                    <a:pt x="1710" y="8"/>
                  </a:cubicBezTo>
                  <a:cubicBezTo>
                    <a:pt x="1710" y="8"/>
                    <a:pt x="1710" y="8"/>
                    <a:pt x="1710" y="8"/>
                  </a:cubicBezTo>
                  <a:cubicBezTo>
                    <a:pt x="1710" y="8"/>
                    <a:pt x="1710" y="8"/>
                    <a:pt x="1710" y="8"/>
                  </a:cubicBezTo>
                  <a:cubicBezTo>
                    <a:pt x="1710" y="8"/>
                    <a:pt x="1710" y="8"/>
                    <a:pt x="1709" y="8"/>
                  </a:cubicBezTo>
                  <a:cubicBezTo>
                    <a:pt x="1709" y="8"/>
                    <a:pt x="1709" y="8"/>
                    <a:pt x="1709" y="8"/>
                  </a:cubicBezTo>
                  <a:cubicBezTo>
                    <a:pt x="1709" y="8"/>
                    <a:pt x="1709" y="8"/>
                    <a:pt x="1709" y="8"/>
                  </a:cubicBezTo>
                  <a:cubicBezTo>
                    <a:pt x="1709" y="8"/>
                    <a:pt x="1709" y="8"/>
                    <a:pt x="1709" y="8"/>
                  </a:cubicBezTo>
                  <a:cubicBezTo>
                    <a:pt x="1709" y="8"/>
                    <a:pt x="1709" y="8"/>
                    <a:pt x="1709" y="8"/>
                  </a:cubicBezTo>
                  <a:cubicBezTo>
                    <a:pt x="1708" y="8"/>
                    <a:pt x="1708" y="8"/>
                    <a:pt x="1708" y="9"/>
                  </a:cubicBezTo>
                  <a:cubicBezTo>
                    <a:pt x="1708" y="9"/>
                    <a:pt x="1708" y="9"/>
                    <a:pt x="1708" y="9"/>
                  </a:cubicBezTo>
                  <a:cubicBezTo>
                    <a:pt x="1708" y="9"/>
                    <a:pt x="1707" y="9"/>
                    <a:pt x="1707" y="9"/>
                  </a:cubicBezTo>
                  <a:cubicBezTo>
                    <a:pt x="1707" y="9"/>
                    <a:pt x="1707" y="9"/>
                    <a:pt x="1707" y="9"/>
                  </a:cubicBezTo>
                  <a:cubicBezTo>
                    <a:pt x="1707" y="9"/>
                    <a:pt x="1707" y="9"/>
                    <a:pt x="1706" y="9"/>
                  </a:cubicBezTo>
                  <a:cubicBezTo>
                    <a:pt x="1706" y="9"/>
                    <a:pt x="1706" y="9"/>
                    <a:pt x="1706" y="9"/>
                  </a:cubicBezTo>
                  <a:cubicBezTo>
                    <a:pt x="1706" y="9"/>
                    <a:pt x="1706" y="9"/>
                    <a:pt x="1706" y="10"/>
                  </a:cubicBezTo>
                  <a:cubicBezTo>
                    <a:pt x="1706" y="10"/>
                    <a:pt x="1706" y="10"/>
                    <a:pt x="1706" y="10"/>
                  </a:cubicBezTo>
                  <a:cubicBezTo>
                    <a:pt x="1706" y="10"/>
                    <a:pt x="1705" y="10"/>
                    <a:pt x="1705" y="10"/>
                  </a:cubicBezTo>
                  <a:cubicBezTo>
                    <a:pt x="1705" y="10"/>
                    <a:pt x="1705" y="10"/>
                    <a:pt x="1705" y="10"/>
                  </a:cubicBezTo>
                  <a:cubicBezTo>
                    <a:pt x="1705" y="10"/>
                    <a:pt x="1705" y="10"/>
                    <a:pt x="1705" y="10"/>
                  </a:cubicBezTo>
                  <a:cubicBezTo>
                    <a:pt x="1705" y="10"/>
                    <a:pt x="1705" y="10"/>
                    <a:pt x="1705" y="10"/>
                  </a:cubicBezTo>
                  <a:cubicBezTo>
                    <a:pt x="1704" y="11"/>
                    <a:pt x="1704" y="10"/>
                    <a:pt x="1704" y="11"/>
                  </a:cubicBezTo>
                  <a:cubicBezTo>
                    <a:pt x="1704" y="11"/>
                    <a:pt x="1704" y="11"/>
                    <a:pt x="1704" y="11"/>
                  </a:cubicBezTo>
                  <a:cubicBezTo>
                    <a:pt x="1704" y="11"/>
                    <a:pt x="1704" y="11"/>
                    <a:pt x="1704" y="11"/>
                  </a:cubicBezTo>
                  <a:cubicBezTo>
                    <a:pt x="1704" y="11"/>
                    <a:pt x="1704" y="11"/>
                    <a:pt x="1704" y="11"/>
                  </a:cubicBezTo>
                  <a:cubicBezTo>
                    <a:pt x="1703" y="11"/>
                    <a:pt x="1703" y="11"/>
                    <a:pt x="1703" y="11"/>
                  </a:cubicBezTo>
                  <a:cubicBezTo>
                    <a:pt x="1703" y="11"/>
                    <a:pt x="1703" y="11"/>
                    <a:pt x="1703" y="11"/>
                  </a:cubicBezTo>
                  <a:cubicBezTo>
                    <a:pt x="1703" y="11"/>
                    <a:pt x="1703" y="12"/>
                    <a:pt x="1703" y="12"/>
                  </a:cubicBezTo>
                  <a:cubicBezTo>
                    <a:pt x="1703" y="12"/>
                    <a:pt x="1703" y="12"/>
                    <a:pt x="1703" y="12"/>
                  </a:cubicBezTo>
                  <a:cubicBezTo>
                    <a:pt x="1702" y="12"/>
                    <a:pt x="1702" y="12"/>
                    <a:pt x="1702" y="12"/>
                  </a:cubicBezTo>
                  <a:cubicBezTo>
                    <a:pt x="1702" y="12"/>
                    <a:pt x="1702" y="12"/>
                    <a:pt x="1702" y="12"/>
                  </a:cubicBezTo>
                  <a:cubicBezTo>
                    <a:pt x="1702" y="12"/>
                    <a:pt x="1702" y="12"/>
                    <a:pt x="1702" y="12"/>
                  </a:cubicBezTo>
                  <a:cubicBezTo>
                    <a:pt x="1702" y="12"/>
                    <a:pt x="1702" y="12"/>
                    <a:pt x="1702" y="12"/>
                  </a:cubicBezTo>
                  <a:cubicBezTo>
                    <a:pt x="1701" y="12"/>
                    <a:pt x="1701" y="13"/>
                    <a:pt x="1701" y="13"/>
                  </a:cubicBezTo>
                  <a:cubicBezTo>
                    <a:pt x="1701" y="13"/>
                    <a:pt x="1701" y="13"/>
                    <a:pt x="1701" y="13"/>
                  </a:cubicBezTo>
                  <a:cubicBezTo>
                    <a:pt x="1701" y="13"/>
                    <a:pt x="1701" y="13"/>
                    <a:pt x="1701" y="13"/>
                  </a:cubicBezTo>
                  <a:cubicBezTo>
                    <a:pt x="1701" y="13"/>
                    <a:pt x="1701" y="13"/>
                    <a:pt x="1701" y="13"/>
                  </a:cubicBezTo>
                  <a:cubicBezTo>
                    <a:pt x="1701" y="13"/>
                    <a:pt x="1701" y="13"/>
                    <a:pt x="1700" y="13"/>
                  </a:cubicBezTo>
                  <a:cubicBezTo>
                    <a:pt x="1700" y="13"/>
                    <a:pt x="1700" y="13"/>
                    <a:pt x="1700" y="13"/>
                  </a:cubicBezTo>
                  <a:cubicBezTo>
                    <a:pt x="1700" y="14"/>
                    <a:pt x="1699" y="14"/>
                    <a:pt x="1699" y="15"/>
                  </a:cubicBezTo>
                  <a:cubicBezTo>
                    <a:pt x="1699" y="15"/>
                    <a:pt x="1699" y="15"/>
                    <a:pt x="1699" y="15"/>
                  </a:cubicBezTo>
                  <a:cubicBezTo>
                    <a:pt x="1699" y="15"/>
                    <a:pt x="1699" y="15"/>
                    <a:pt x="1699" y="15"/>
                  </a:cubicBezTo>
                  <a:cubicBezTo>
                    <a:pt x="1699" y="19"/>
                    <a:pt x="1699" y="22"/>
                    <a:pt x="1699" y="26"/>
                  </a:cubicBezTo>
                  <a:cubicBezTo>
                    <a:pt x="1699" y="26"/>
                    <a:pt x="1699" y="26"/>
                    <a:pt x="1699" y="26"/>
                  </a:cubicBezTo>
                  <a:cubicBezTo>
                    <a:pt x="1699" y="26"/>
                    <a:pt x="1699" y="26"/>
                    <a:pt x="1699" y="26"/>
                  </a:cubicBezTo>
                  <a:cubicBezTo>
                    <a:pt x="1699" y="26"/>
                    <a:pt x="1700" y="26"/>
                    <a:pt x="1700" y="26"/>
                  </a:cubicBezTo>
                  <a:cubicBezTo>
                    <a:pt x="1700" y="26"/>
                    <a:pt x="1700" y="26"/>
                    <a:pt x="1700" y="26"/>
                  </a:cubicBezTo>
                  <a:cubicBezTo>
                    <a:pt x="1700" y="26"/>
                    <a:pt x="1700" y="26"/>
                    <a:pt x="1700" y="26"/>
                  </a:cubicBezTo>
                  <a:cubicBezTo>
                    <a:pt x="1700" y="26"/>
                    <a:pt x="1700" y="26"/>
                    <a:pt x="1700" y="26"/>
                  </a:cubicBezTo>
                  <a:cubicBezTo>
                    <a:pt x="1700" y="26"/>
                    <a:pt x="1700" y="25"/>
                    <a:pt x="1700" y="25"/>
                  </a:cubicBezTo>
                  <a:cubicBezTo>
                    <a:pt x="1700" y="25"/>
                    <a:pt x="1700" y="25"/>
                    <a:pt x="1700" y="25"/>
                  </a:cubicBezTo>
                  <a:cubicBezTo>
                    <a:pt x="1701" y="25"/>
                    <a:pt x="1701" y="25"/>
                    <a:pt x="1701" y="25"/>
                  </a:cubicBezTo>
                  <a:cubicBezTo>
                    <a:pt x="1701" y="25"/>
                    <a:pt x="1701" y="25"/>
                    <a:pt x="1701" y="25"/>
                  </a:cubicBezTo>
                  <a:cubicBezTo>
                    <a:pt x="1701" y="25"/>
                    <a:pt x="1701" y="25"/>
                    <a:pt x="1701" y="24"/>
                  </a:cubicBezTo>
                  <a:cubicBezTo>
                    <a:pt x="1701" y="25"/>
                    <a:pt x="1701" y="25"/>
                    <a:pt x="1701" y="25"/>
                  </a:cubicBezTo>
                  <a:cubicBezTo>
                    <a:pt x="1701" y="24"/>
                    <a:pt x="1701" y="24"/>
                    <a:pt x="1701" y="24"/>
                  </a:cubicBezTo>
                  <a:cubicBezTo>
                    <a:pt x="1701" y="24"/>
                    <a:pt x="1701" y="24"/>
                    <a:pt x="1701" y="24"/>
                  </a:cubicBezTo>
                  <a:cubicBezTo>
                    <a:pt x="1702" y="24"/>
                    <a:pt x="1702" y="24"/>
                    <a:pt x="1702" y="24"/>
                  </a:cubicBezTo>
                  <a:cubicBezTo>
                    <a:pt x="1702" y="24"/>
                    <a:pt x="1702" y="24"/>
                    <a:pt x="1702" y="24"/>
                  </a:cubicBezTo>
                  <a:cubicBezTo>
                    <a:pt x="1702" y="24"/>
                    <a:pt x="1702" y="24"/>
                    <a:pt x="1702" y="23"/>
                  </a:cubicBezTo>
                  <a:cubicBezTo>
                    <a:pt x="1702" y="24"/>
                    <a:pt x="1702" y="24"/>
                    <a:pt x="1702" y="24"/>
                  </a:cubicBezTo>
                  <a:cubicBezTo>
                    <a:pt x="1702" y="23"/>
                    <a:pt x="1702" y="23"/>
                    <a:pt x="1702" y="23"/>
                  </a:cubicBezTo>
                  <a:cubicBezTo>
                    <a:pt x="1702" y="23"/>
                    <a:pt x="1702" y="23"/>
                    <a:pt x="1702" y="23"/>
                  </a:cubicBezTo>
                  <a:cubicBezTo>
                    <a:pt x="1703" y="23"/>
                    <a:pt x="1703" y="23"/>
                    <a:pt x="1703" y="23"/>
                  </a:cubicBezTo>
                  <a:cubicBezTo>
                    <a:pt x="1703" y="23"/>
                    <a:pt x="1703" y="23"/>
                    <a:pt x="1703" y="23"/>
                  </a:cubicBezTo>
                  <a:cubicBezTo>
                    <a:pt x="1703" y="23"/>
                    <a:pt x="1703" y="23"/>
                    <a:pt x="1703" y="23"/>
                  </a:cubicBezTo>
                  <a:cubicBezTo>
                    <a:pt x="1703" y="23"/>
                    <a:pt x="1703" y="23"/>
                    <a:pt x="1703" y="23"/>
                  </a:cubicBezTo>
                  <a:cubicBezTo>
                    <a:pt x="1703" y="22"/>
                    <a:pt x="1704" y="22"/>
                    <a:pt x="1704" y="22"/>
                  </a:cubicBezTo>
                  <a:cubicBezTo>
                    <a:pt x="1704" y="22"/>
                    <a:pt x="1704" y="22"/>
                    <a:pt x="1704" y="22"/>
                  </a:cubicBezTo>
                  <a:cubicBezTo>
                    <a:pt x="1704" y="22"/>
                    <a:pt x="1704" y="22"/>
                    <a:pt x="1704" y="22"/>
                  </a:cubicBezTo>
                  <a:cubicBezTo>
                    <a:pt x="1704" y="22"/>
                    <a:pt x="1704" y="22"/>
                    <a:pt x="1704" y="22"/>
                  </a:cubicBezTo>
                  <a:cubicBezTo>
                    <a:pt x="1704" y="22"/>
                    <a:pt x="1704" y="22"/>
                    <a:pt x="1705" y="21"/>
                  </a:cubicBezTo>
                  <a:cubicBezTo>
                    <a:pt x="1705" y="21"/>
                    <a:pt x="1705" y="21"/>
                    <a:pt x="1705" y="21"/>
                  </a:cubicBezTo>
                  <a:cubicBezTo>
                    <a:pt x="1705" y="21"/>
                    <a:pt x="1705" y="21"/>
                    <a:pt x="1706" y="21"/>
                  </a:cubicBezTo>
                  <a:cubicBezTo>
                    <a:pt x="1706" y="21"/>
                    <a:pt x="1706" y="21"/>
                    <a:pt x="1706" y="21"/>
                  </a:cubicBezTo>
                  <a:cubicBezTo>
                    <a:pt x="1706" y="21"/>
                    <a:pt x="1706" y="21"/>
                    <a:pt x="1706" y="20"/>
                  </a:cubicBezTo>
                  <a:cubicBezTo>
                    <a:pt x="1706" y="20"/>
                    <a:pt x="1706" y="20"/>
                    <a:pt x="1706" y="20"/>
                  </a:cubicBezTo>
                  <a:cubicBezTo>
                    <a:pt x="1706" y="20"/>
                    <a:pt x="1707" y="20"/>
                    <a:pt x="1707" y="20"/>
                  </a:cubicBezTo>
                  <a:cubicBezTo>
                    <a:pt x="1707" y="20"/>
                    <a:pt x="1707" y="20"/>
                    <a:pt x="1707" y="20"/>
                  </a:cubicBezTo>
                  <a:cubicBezTo>
                    <a:pt x="1707" y="20"/>
                    <a:pt x="1707" y="20"/>
                    <a:pt x="1707" y="20"/>
                  </a:cubicBezTo>
                  <a:cubicBezTo>
                    <a:pt x="1707" y="20"/>
                    <a:pt x="1707" y="20"/>
                    <a:pt x="1707" y="20"/>
                  </a:cubicBezTo>
                  <a:cubicBezTo>
                    <a:pt x="1707" y="19"/>
                    <a:pt x="1708" y="20"/>
                    <a:pt x="1708" y="19"/>
                  </a:cubicBezTo>
                  <a:cubicBezTo>
                    <a:pt x="1708" y="19"/>
                    <a:pt x="1708" y="19"/>
                    <a:pt x="1708" y="19"/>
                  </a:cubicBezTo>
                  <a:cubicBezTo>
                    <a:pt x="1708" y="19"/>
                    <a:pt x="1708" y="19"/>
                    <a:pt x="1708" y="19"/>
                  </a:cubicBezTo>
                  <a:cubicBezTo>
                    <a:pt x="1708" y="19"/>
                    <a:pt x="1708" y="19"/>
                    <a:pt x="1708" y="19"/>
                  </a:cubicBezTo>
                  <a:cubicBezTo>
                    <a:pt x="1709" y="19"/>
                    <a:pt x="1709" y="19"/>
                    <a:pt x="1709" y="19"/>
                  </a:cubicBezTo>
                  <a:cubicBezTo>
                    <a:pt x="1709" y="19"/>
                    <a:pt x="1709" y="19"/>
                    <a:pt x="1709" y="19"/>
                  </a:cubicBezTo>
                  <a:cubicBezTo>
                    <a:pt x="1709" y="18"/>
                    <a:pt x="1709" y="19"/>
                    <a:pt x="1709" y="18"/>
                  </a:cubicBezTo>
                  <a:cubicBezTo>
                    <a:pt x="1709" y="18"/>
                    <a:pt x="1709" y="18"/>
                    <a:pt x="1709" y="18"/>
                  </a:cubicBezTo>
                  <a:cubicBezTo>
                    <a:pt x="1710" y="18"/>
                    <a:pt x="1710" y="18"/>
                    <a:pt x="1710" y="18"/>
                  </a:cubicBezTo>
                  <a:cubicBezTo>
                    <a:pt x="1710" y="18"/>
                    <a:pt x="1710" y="18"/>
                    <a:pt x="1710" y="18"/>
                  </a:cubicBezTo>
                  <a:cubicBezTo>
                    <a:pt x="1710" y="18"/>
                    <a:pt x="1711" y="18"/>
                    <a:pt x="1711" y="18"/>
                  </a:cubicBezTo>
                  <a:cubicBezTo>
                    <a:pt x="1711" y="18"/>
                    <a:pt x="1711" y="18"/>
                    <a:pt x="1711" y="18"/>
                  </a:cubicBezTo>
                  <a:cubicBezTo>
                    <a:pt x="1711" y="17"/>
                    <a:pt x="1711" y="17"/>
                    <a:pt x="1712" y="17"/>
                  </a:cubicBezTo>
                  <a:cubicBezTo>
                    <a:pt x="1712" y="17"/>
                    <a:pt x="1712" y="17"/>
                    <a:pt x="1712" y="17"/>
                  </a:cubicBezTo>
                  <a:cubicBezTo>
                    <a:pt x="1712" y="17"/>
                    <a:pt x="1712" y="17"/>
                    <a:pt x="1712" y="17"/>
                  </a:cubicBezTo>
                  <a:cubicBezTo>
                    <a:pt x="1712" y="17"/>
                    <a:pt x="1712" y="17"/>
                    <a:pt x="1713" y="17"/>
                  </a:cubicBezTo>
                  <a:cubicBezTo>
                    <a:pt x="1713" y="17"/>
                    <a:pt x="1713" y="17"/>
                    <a:pt x="1713" y="17"/>
                  </a:cubicBezTo>
                  <a:cubicBezTo>
                    <a:pt x="1713" y="17"/>
                    <a:pt x="1713" y="17"/>
                    <a:pt x="1713" y="17"/>
                  </a:cubicBezTo>
                  <a:cubicBezTo>
                    <a:pt x="1713" y="17"/>
                    <a:pt x="1713" y="17"/>
                    <a:pt x="1713" y="17"/>
                  </a:cubicBezTo>
                  <a:cubicBezTo>
                    <a:pt x="1713" y="17"/>
                    <a:pt x="1713" y="17"/>
                    <a:pt x="1713" y="17"/>
                  </a:cubicBezTo>
                  <a:cubicBezTo>
                    <a:pt x="1714" y="16"/>
                    <a:pt x="1714" y="16"/>
                    <a:pt x="1714" y="16"/>
                  </a:cubicBezTo>
                  <a:cubicBezTo>
                    <a:pt x="1714" y="16"/>
                    <a:pt x="1714" y="16"/>
                    <a:pt x="1714" y="16"/>
                  </a:cubicBezTo>
                  <a:cubicBezTo>
                    <a:pt x="1715" y="16"/>
                    <a:pt x="1715" y="16"/>
                    <a:pt x="1715" y="16"/>
                  </a:cubicBezTo>
                  <a:cubicBezTo>
                    <a:pt x="1715" y="16"/>
                    <a:pt x="1715" y="16"/>
                    <a:pt x="1716" y="16"/>
                  </a:cubicBezTo>
                  <a:cubicBezTo>
                    <a:pt x="1716" y="16"/>
                    <a:pt x="1716" y="16"/>
                    <a:pt x="1716" y="16"/>
                  </a:cubicBezTo>
                  <a:cubicBezTo>
                    <a:pt x="1716" y="16"/>
                    <a:pt x="1717" y="16"/>
                    <a:pt x="1717" y="16"/>
                  </a:cubicBezTo>
                  <a:cubicBezTo>
                    <a:pt x="1717" y="15"/>
                    <a:pt x="1717" y="15"/>
                    <a:pt x="1717" y="15"/>
                  </a:cubicBezTo>
                  <a:cubicBezTo>
                    <a:pt x="1717" y="15"/>
                    <a:pt x="1717" y="15"/>
                    <a:pt x="1717" y="15"/>
                  </a:cubicBezTo>
                  <a:cubicBezTo>
                    <a:pt x="1718" y="15"/>
                    <a:pt x="1719" y="16"/>
                    <a:pt x="1719" y="15"/>
                  </a:cubicBezTo>
                  <a:cubicBezTo>
                    <a:pt x="1720" y="15"/>
                    <a:pt x="1720" y="15"/>
                    <a:pt x="1720" y="15"/>
                  </a:cubicBezTo>
                  <a:cubicBezTo>
                    <a:pt x="1721" y="15"/>
                    <a:pt x="1722" y="15"/>
                    <a:pt x="1723" y="15"/>
                  </a:cubicBezTo>
                  <a:cubicBezTo>
                    <a:pt x="1723" y="15"/>
                    <a:pt x="1723" y="15"/>
                    <a:pt x="1724" y="15"/>
                  </a:cubicBezTo>
                  <a:cubicBezTo>
                    <a:pt x="1724" y="16"/>
                    <a:pt x="1725" y="15"/>
                    <a:pt x="1726" y="16"/>
                  </a:cubicBezTo>
                  <a:cubicBezTo>
                    <a:pt x="1726" y="15"/>
                    <a:pt x="1726" y="15"/>
                    <a:pt x="1726" y="15"/>
                  </a:cubicBezTo>
                  <a:cubicBezTo>
                    <a:pt x="1726" y="16"/>
                    <a:pt x="1726" y="16"/>
                    <a:pt x="1726" y="16"/>
                  </a:cubicBezTo>
                  <a:cubicBezTo>
                    <a:pt x="1726" y="16"/>
                    <a:pt x="1727" y="16"/>
                    <a:pt x="1727" y="16"/>
                  </a:cubicBezTo>
                  <a:cubicBezTo>
                    <a:pt x="1727" y="16"/>
                    <a:pt x="1727" y="16"/>
                    <a:pt x="1727" y="16"/>
                  </a:cubicBezTo>
                  <a:cubicBezTo>
                    <a:pt x="1728" y="16"/>
                    <a:pt x="1728" y="16"/>
                    <a:pt x="1728" y="16"/>
                  </a:cubicBezTo>
                  <a:cubicBezTo>
                    <a:pt x="1728" y="16"/>
                    <a:pt x="1728" y="16"/>
                    <a:pt x="1728" y="16"/>
                  </a:cubicBezTo>
                  <a:cubicBezTo>
                    <a:pt x="1729" y="16"/>
                    <a:pt x="1729" y="16"/>
                    <a:pt x="1729" y="16"/>
                  </a:cubicBezTo>
                  <a:cubicBezTo>
                    <a:pt x="1729" y="16"/>
                    <a:pt x="1729" y="16"/>
                    <a:pt x="1729" y="16"/>
                  </a:cubicBezTo>
                  <a:cubicBezTo>
                    <a:pt x="1729" y="16"/>
                    <a:pt x="1729" y="16"/>
                    <a:pt x="1729" y="17"/>
                  </a:cubicBezTo>
                  <a:cubicBezTo>
                    <a:pt x="1729" y="17"/>
                    <a:pt x="1729" y="17"/>
                    <a:pt x="1729" y="17"/>
                  </a:cubicBezTo>
                  <a:cubicBezTo>
                    <a:pt x="1729" y="17"/>
                    <a:pt x="1730" y="17"/>
                    <a:pt x="1730" y="17"/>
                  </a:cubicBezTo>
                  <a:cubicBezTo>
                    <a:pt x="1730" y="17"/>
                    <a:pt x="1730" y="17"/>
                    <a:pt x="1730" y="17"/>
                  </a:cubicBezTo>
                  <a:cubicBezTo>
                    <a:pt x="1730" y="17"/>
                    <a:pt x="1731" y="17"/>
                    <a:pt x="1731" y="17"/>
                  </a:cubicBezTo>
                  <a:cubicBezTo>
                    <a:pt x="1731" y="17"/>
                    <a:pt x="1731" y="17"/>
                    <a:pt x="1731" y="17"/>
                  </a:cubicBezTo>
                  <a:cubicBezTo>
                    <a:pt x="1731" y="17"/>
                    <a:pt x="1731" y="17"/>
                    <a:pt x="1731" y="18"/>
                  </a:cubicBezTo>
                  <a:cubicBezTo>
                    <a:pt x="1731" y="18"/>
                    <a:pt x="1731" y="18"/>
                    <a:pt x="1731" y="18"/>
                  </a:cubicBezTo>
                  <a:cubicBezTo>
                    <a:pt x="1732" y="18"/>
                    <a:pt x="1732" y="18"/>
                    <a:pt x="1732" y="18"/>
                  </a:cubicBezTo>
                  <a:cubicBezTo>
                    <a:pt x="1732" y="18"/>
                    <a:pt x="1732" y="18"/>
                    <a:pt x="1732" y="18"/>
                  </a:cubicBezTo>
                  <a:cubicBezTo>
                    <a:pt x="1732" y="18"/>
                    <a:pt x="1732" y="18"/>
                    <a:pt x="1732" y="18"/>
                  </a:cubicBezTo>
                  <a:cubicBezTo>
                    <a:pt x="1732" y="18"/>
                    <a:pt x="1732" y="18"/>
                    <a:pt x="1732" y="18"/>
                  </a:cubicBezTo>
                  <a:cubicBezTo>
                    <a:pt x="1733" y="18"/>
                    <a:pt x="1733" y="19"/>
                    <a:pt x="1733" y="19"/>
                  </a:cubicBezTo>
                  <a:cubicBezTo>
                    <a:pt x="1733" y="19"/>
                    <a:pt x="1733" y="19"/>
                    <a:pt x="1733" y="19"/>
                  </a:cubicBezTo>
                  <a:cubicBezTo>
                    <a:pt x="1733" y="19"/>
                    <a:pt x="1733" y="19"/>
                    <a:pt x="1733" y="19"/>
                  </a:cubicBezTo>
                  <a:cubicBezTo>
                    <a:pt x="1733" y="19"/>
                    <a:pt x="1733" y="19"/>
                    <a:pt x="1733" y="19"/>
                  </a:cubicBezTo>
                  <a:cubicBezTo>
                    <a:pt x="1734" y="20"/>
                    <a:pt x="1734" y="20"/>
                    <a:pt x="1735" y="21"/>
                  </a:cubicBezTo>
                  <a:cubicBezTo>
                    <a:pt x="1735" y="21"/>
                    <a:pt x="1735" y="21"/>
                    <a:pt x="1735" y="21"/>
                  </a:cubicBezTo>
                  <a:cubicBezTo>
                    <a:pt x="1735" y="21"/>
                    <a:pt x="1735" y="21"/>
                    <a:pt x="1735" y="21"/>
                  </a:cubicBezTo>
                  <a:cubicBezTo>
                    <a:pt x="1735" y="21"/>
                    <a:pt x="1735" y="21"/>
                    <a:pt x="1735" y="21"/>
                  </a:cubicBezTo>
                  <a:cubicBezTo>
                    <a:pt x="1735" y="21"/>
                    <a:pt x="1735" y="21"/>
                    <a:pt x="1736" y="21"/>
                  </a:cubicBezTo>
                  <a:cubicBezTo>
                    <a:pt x="1736" y="21"/>
                    <a:pt x="1736" y="21"/>
                    <a:pt x="1736" y="21"/>
                  </a:cubicBezTo>
                  <a:cubicBezTo>
                    <a:pt x="1736" y="22"/>
                    <a:pt x="1736" y="22"/>
                    <a:pt x="1736" y="22"/>
                  </a:cubicBezTo>
                  <a:cubicBezTo>
                    <a:pt x="1736" y="22"/>
                    <a:pt x="1736" y="22"/>
                    <a:pt x="1736" y="22"/>
                  </a:cubicBezTo>
                  <a:cubicBezTo>
                    <a:pt x="1736" y="22"/>
                    <a:pt x="1736" y="22"/>
                    <a:pt x="1736" y="23"/>
                  </a:cubicBezTo>
                  <a:cubicBezTo>
                    <a:pt x="1736" y="23"/>
                    <a:pt x="1736" y="23"/>
                    <a:pt x="1736" y="23"/>
                  </a:cubicBezTo>
                  <a:cubicBezTo>
                    <a:pt x="1736" y="23"/>
                    <a:pt x="1736" y="23"/>
                    <a:pt x="1737" y="23"/>
                  </a:cubicBezTo>
                  <a:cubicBezTo>
                    <a:pt x="1737" y="23"/>
                    <a:pt x="1737" y="23"/>
                    <a:pt x="1737" y="23"/>
                  </a:cubicBezTo>
                  <a:cubicBezTo>
                    <a:pt x="1737" y="23"/>
                    <a:pt x="1737" y="24"/>
                    <a:pt x="1737" y="24"/>
                  </a:cubicBezTo>
                  <a:cubicBezTo>
                    <a:pt x="1737" y="24"/>
                    <a:pt x="1737" y="24"/>
                    <a:pt x="1737" y="24"/>
                  </a:cubicBezTo>
                  <a:cubicBezTo>
                    <a:pt x="1737" y="24"/>
                    <a:pt x="1737" y="24"/>
                    <a:pt x="1737" y="25"/>
                  </a:cubicBezTo>
                  <a:cubicBezTo>
                    <a:pt x="1737" y="25"/>
                    <a:pt x="1737" y="25"/>
                    <a:pt x="1737" y="25"/>
                  </a:cubicBezTo>
                  <a:cubicBezTo>
                    <a:pt x="1737" y="25"/>
                    <a:pt x="1737" y="25"/>
                    <a:pt x="1737" y="25"/>
                  </a:cubicBezTo>
                  <a:cubicBezTo>
                    <a:pt x="1737" y="25"/>
                    <a:pt x="1737" y="25"/>
                    <a:pt x="1738" y="26"/>
                  </a:cubicBezTo>
                  <a:cubicBezTo>
                    <a:pt x="1738" y="26"/>
                    <a:pt x="1738" y="26"/>
                    <a:pt x="1738" y="26"/>
                  </a:cubicBezTo>
                  <a:cubicBezTo>
                    <a:pt x="1738" y="26"/>
                    <a:pt x="1738" y="26"/>
                    <a:pt x="1738" y="27"/>
                  </a:cubicBezTo>
                  <a:cubicBezTo>
                    <a:pt x="1738" y="27"/>
                    <a:pt x="1738" y="27"/>
                    <a:pt x="1738" y="27"/>
                  </a:cubicBezTo>
                  <a:cubicBezTo>
                    <a:pt x="1738" y="27"/>
                    <a:pt x="1738" y="28"/>
                    <a:pt x="1738" y="28"/>
                  </a:cubicBezTo>
                  <a:cubicBezTo>
                    <a:pt x="1738" y="28"/>
                    <a:pt x="1738" y="29"/>
                    <a:pt x="1738" y="29"/>
                  </a:cubicBezTo>
                  <a:cubicBezTo>
                    <a:pt x="1739" y="31"/>
                    <a:pt x="1739" y="33"/>
                    <a:pt x="1738" y="36"/>
                  </a:cubicBezTo>
                  <a:cubicBezTo>
                    <a:pt x="1738" y="36"/>
                    <a:pt x="1738" y="36"/>
                    <a:pt x="1738" y="36"/>
                  </a:cubicBezTo>
                  <a:cubicBezTo>
                    <a:pt x="1738" y="37"/>
                    <a:pt x="1738" y="37"/>
                    <a:pt x="1738" y="38"/>
                  </a:cubicBezTo>
                  <a:cubicBezTo>
                    <a:pt x="1738" y="38"/>
                    <a:pt x="1738" y="38"/>
                    <a:pt x="1738" y="38"/>
                  </a:cubicBezTo>
                  <a:cubicBezTo>
                    <a:pt x="1738" y="39"/>
                    <a:pt x="1738" y="39"/>
                    <a:pt x="1738" y="39"/>
                  </a:cubicBezTo>
                  <a:cubicBezTo>
                    <a:pt x="1738" y="39"/>
                    <a:pt x="1738" y="39"/>
                    <a:pt x="1738" y="39"/>
                  </a:cubicBezTo>
                  <a:cubicBezTo>
                    <a:pt x="1738" y="40"/>
                    <a:pt x="1738" y="40"/>
                    <a:pt x="1738" y="40"/>
                  </a:cubicBezTo>
                  <a:cubicBezTo>
                    <a:pt x="1737" y="40"/>
                    <a:pt x="1738" y="40"/>
                    <a:pt x="1737" y="41"/>
                  </a:cubicBezTo>
                  <a:cubicBezTo>
                    <a:pt x="1737" y="41"/>
                    <a:pt x="1737" y="41"/>
                    <a:pt x="1737" y="41"/>
                  </a:cubicBezTo>
                  <a:cubicBezTo>
                    <a:pt x="1737" y="41"/>
                    <a:pt x="1737" y="41"/>
                    <a:pt x="1737" y="42"/>
                  </a:cubicBezTo>
                  <a:cubicBezTo>
                    <a:pt x="1737" y="42"/>
                    <a:pt x="1737" y="42"/>
                    <a:pt x="1737" y="42"/>
                  </a:cubicBezTo>
                  <a:cubicBezTo>
                    <a:pt x="1737" y="42"/>
                    <a:pt x="1737" y="42"/>
                    <a:pt x="1737" y="42"/>
                  </a:cubicBezTo>
                  <a:cubicBezTo>
                    <a:pt x="1737" y="43"/>
                    <a:pt x="1737" y="43"/>
                    <a:pt x="1737" y="43"/>
                  </a:cubicBezTo>
                  <a:cubicBezTo>
                    <a:pt x="1736" y="43"/>
                    <a:pt x="1736" y="43"/>
                    <a:pt x="1736" y="43"/>
                  </a:cubicBezTo>
                  <a:cubicBezTo>
                    <a:pt x="1736" y="43"/>
                    <a:pt x="1736" y="43"/>
                    <a:pt x="1736" y="43"/>
                  </a:cubicBezTo>
                  <a:cubicBezTo>
                    <a:pt x="1736" y="44"/>
                    <a:pt x="1736" y="44"/>
                    <a:pt x="1736" y="44"/>
                  </a:cubicBezTo>
                  <a:cubicBezTo>
                    <a:pt x="1736" y="44"/>
                    <a:pt x="1736" y="44"/>
                    <a:pt x="1736" y="44"/>
                  </a:cubicBezTo>
                  <a:cubicBezTo>
                    <a:pt x="1736" y="44"/>
                    <a:pt x="1736" y="45"/>
                    <a:pt x="1736" y="45"/>
                  </a:cubicBezTo>
                  <a:cubicBezTo>
                    <a:pt x="1736" y="45"/>
                    <a:pt x="1736" y="45"/>
                    <a:pt x="1736" y="45"/>
                  </a:cubicBezTo>
                  <a:cubicBezTo>
                    <a:pt x="1735" y="45"/>
                    <a:pt x="1735" y="45"/>
                    <a:pt x="1735" y="45"/>
                  </a:cubicBezTo>
                  <a:cubicBezTo>
                    <a:pt x="1735" y="45"/>
                    <a:pt x="1735" y="45"/>
                    <a:pt x="1735" y="45"/>
                  </a:cubicBezTo>
                  <a:cubicBezTo>
                    <a:pt x="1735" y="45"/>
                    <a:pt x="1735" y="45"/>
                    <a:pt x="1735" y="45"/>
                  </a:cubicBezTo>
                  <a:cubicBezTo>
                    <a:pt x="1735" y="46"/>
                    <a:pt x="1735" y="46"/>
                    <a:pt x="1735" y="46"/>
                  </a:cubicBezTo>
                  <a:cubicBezTo>
                    <a:pt x="1735" y="46"/>
                    <a:pt x="1735" y="46"/>
                    <a:pt x="1735" y="46"/>
                  </a:cubicBezTo>
                  <a:cubicBezTo>
                    <a:pt x="1735" y="46"/>
                    <a:pt x="1735" y="46"/>
                    <a:pt x="1735" y="47"/>
                  </a:cubicBezTo>
                  <a:cubicBezTo>
                    <a:pt x="1735" y="47"/>
                    <a:pt x="1735" y="47"/>
                    <a:pt x="1735" y="47"/>
                  </a:cubicBezTo>
                  <a:cubicBezTo>
                    <a:pt x="1734" y="47"/>
                    <a:pt x="1734" y="47"/>
                    <a:pt x="1734" y="47"/>
                  </a:cubicBezTo>
                  <a:cubicBezTo>
                    <a:pt x="1734" y="47"/>
                    <a:pt x="1734" y="47"/>
                    <a:pt x="1734" y="47"/>
                  </a:cubicBezTo>
                  <a:cubicBezTo>
                    <a:pt x="1734" y="47"/>
                    <a:pt x="1734" y="47"/>
                    <a:pt x="1734" y="48"/>
                  </a:cubicBezTo>
                  <a:cubicBezTo>
                    <a:pt x="1734" y="48"/>
                    <a:pt x="1734" y="48"/>
                    <a:pt x="1734" y="48"/>
                  </a:cubicBezTo>
                  <a:cubicBezTo>
                    <a:pt x="1734" y="48"/>
                    <a:pt x="1734" y="48"/>
                    <a:pt x="1734" y="48"/>
                  </a:cubicBezTo>
                  <a:cubicBezTo>
                    <a:pt x="1734" y="48"/>
                    <a:pt x="1734" y="48"/>
                    <a:pt x="1734" y="48"/>
                  </a:cubicBezTo>
                  <a:cubicBezTo>
                    <a:pt x="1733" y="48"/>
                    <a:pt x="1733" y="48"/>
                    <a:pt x="1733" y="48"/>
                  </a:cubicBezTo>
                  <a:cubicBezTo>
                    <a:pt x="1733" y="48"/>
                    <a:pt x="1733" y="48"/>
                    <a:pt x="1733" y="48"/>
                  </a:cubicBezTo>
                  <a:cubicBezTo>
                    <a:pt x="1733" y="48"/>
                    <a:pt x="1733" y="49"/>
                    <a:pt x="1733" y="49"/>
                  </a:cubicBezTo>
                  <a:cubicBezTo>
                    <a:pt x="1733" y="49"/>
                    <a:pt x="1733" y="49"/>
                    <a:pt x="1733" y="49"/>
                  </a:cubicBezTo>
                  <a:cubicBezTo>
                    <a:pt x="1733" y="49"/>
                    <a:pt x="1733" y="49"/>
                    <a:pt x="1732" y="49"/>
                  </a:cubicBezTo>
                  <a:cubicBezTo>
                    <a:pt x="1732" y="49"/>
                    <a:pt x="1732" y="49"/>
                    <a:pt x="1732" y="49"/>
                  </a:cubicBezTo>
                  <a:cubicBezTo>
                    <a:pt x="1732" y="49"/>
                    <a:pt x="1732" y="50"/>
                    <a:pt x="1732" y="50"/>
                  </a:cubicBezTo>
                  <a:cubicBezTo>
                    <a:pt x="1732" y="50"/>
                    <a:pt x="1732" y="50"/>
                    <a:pt x="1732" y="50"/>
                  </a:cubicBezTo>
                  <a:cubicBezTo>
                    <a:pt x="1732" y="50"/>
                    <a:pt x="1732" y="50"/>
                    <a:pt x="1732" y="50"/>
                  </a:cubicBezTo>
                  <a:cubicBezTo>
                    <a:pt x="1732" y="50"/>
                    <a:pt x="1732" y="50"/>
                    <a:pt x="1732" y="50"/>
                  </a:cubicBezTo>
                  <a:cubicBezTo>
                    <a:pt x="1732" y="50"/>
                    <a:pt x="1731" y="50"/>
                    <a:pt x="1731" y="50"/>
                  </a:cubicBezTo>
                  <a:cubicBezTo>
                    <a:pt x="1731" y="50"/>
                    <a:pt x="1731" y="50"/>
                    <a:pt x="1731" y="50"/>
                  </a:cubicBezTo>
                  <a:cubicBezTo>
                    <a:pt x="1730" y="52"/>
                    <a:pt x="1729" y="53"/>
                    <a:pt x="1728" y="54"/>
                  </a:cubicBezTo>
                  <a:cubicBezTo>
                    <a:pt x="1728" y="54"/>
                    <a:pt x="1728" y="54"/>
                    <a:pt x="1728" y="54"/>
                  </a:cubicBezTo>
                  <a:cubicBezTo>
                    <a:pt x="1727" y="54"/>
                    <a:pt x="1727" y="54"/>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6" y="55"/>
                    <a:pt x="1726" y="55"/>
                    <a:pt x="1726" y="56"/>
                  </a:cubicBezTo>
                  <a:cubicBezTo>
                    <a:pt x="1726" y="56"/>
                    <a:pt x="1726" y="56"/>
                    <a:pt x="1726" y="56"/>
                  </a:cubicBezTo>
                  <a:cubicBezTo>
                    <a:pt x="1726" y="56"/>
                    <a:pt x="1725" y="56"/>
                    <a:pt x="1725" y="56"/>
                  </a:cubicBezTo>
                  <a:cubicBezTo>
                    <a:pt x="1725" y="56"/>
                    <a:pt x="1725" y="56"/>
                    <a:pt x="1725" y="56"/>
                  </a:cubicBezTo>
                  <a:cubicBezTo>
                    <a:pt x="1725" y="56"/>
                    <a:pt x="1725" y="56"/>
                    <a:pt x="1725" y="57"/>
                  </a:cubicBezTo>
                  <a:cubicBezTo>
                    <a:pt x="1725" y="57"/>
                    <a:pt x="1725" y="57"/>
                    <a:pt x="1725" y="57"/>
                  </a:cubicBezTo>
                  <a:cubicBezTo>
                    <a:pt x="1725" y="57"/>
                    <a:pt x="1725" y="57"/>
                    <a:pt x="1724" y="57"/>
                  </a:cubicBezTo>
                  <a:cubicBezTo>
                    <a:pt x="1724" y="57"/>
                    <a:pt x="1724" y="57"/>
                    <a:pt x="1724" y="57"/>
                  </a:cubicBezTo>
                  <a:cubicBezTo>
                    <a:pt x="1724" y="57"/>
                    <a:pt x="1724" y="57"/>
                    <a:pt x="1724" y="57"/>
                  </a:cubicBezTo>
                  <a:cubicBezTo>
                    <a:pt x="1724" y="57"/>
                    <a:pt x="1724" y="57"/>
                    <a:pt x="1724" y="57"/>
                  </a:cubicBezTo>
                  <a:cubicBezTo>
                    <a:pt x="1724" y="58"/>
                    <a:pt x="1724" y="57"/>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9"/>
                    <a:pt x="1722" y="58"/>
                    <a:pt x="1722" y="59"/>
                  </a:cubicBezTo>
                  <a:cubicBezTo>
                    <a:pt x="1722" y="59"/>
                    <a:pt x="1722" y="59"/>
                    <a:pt x="1722" y="59"/>
                  </a:cubicBezTo>
                  <a:cubicBezTo>
                    <a:pt x="1722" y="59"/>
                    <a:pt x="1722" y="59"/>
                    <a:pt x="1722" y="59"/>
                  </a:cubicBezTo>
                  <a:cubicBezTo>
                    <a:pt x="1722" y="59"/>
                    <a:pt x="1722" y="59"/>
                    <a:pt x="1722" y="59"/>
                  </a:cubicBezTo>
                  <a:cubicBezTo>
                    <a:pt x="1722" y="59"/>
                    <a:pt x="1721" y="59"/>
                    <a:pt x="1721" y="59"/>
                  </a:cubicBezTo>
                  <a:cubicBezTo>
                    <a:pt x="1721" y="59"/>
                    <a:pt x="1721" y="59"/>
                    <a:pt x="1721" y="59"/>
                  </a:cubicBezTo>
                  <a:cubicBezTo>
                    <a:pt x="1721" y="60"/>
                    <a:pt x="1721" y="60"/>
                    <a:pt x="1721" y="60"/>
                  </a:cubicBezTo>
                  <a:cubicBezTo>
                    <a:pt x="1721" y="60"/>
                    <a:pt x="1721" y="60"/>
                    <a:pt x="1721" y="60"/>
                  </a:cubicBezTo>
                  <a:cubicBezTo>
                    <a:pt x="1720" y="60"/>
                    <a:pt x="1720" y="60"/>
                    <a:pt x="1720" y="60"/>
                  </a:cubicBezTo>
                  <a:cubicBezTo>
                    <a:pt x="1720" y="60"/>
                    <a:pt x="1720" y="60"/>
                    <a:pt x="1720" y="60"/>
                  </a:cubicBezTo>
                  <a:cubicBezTo>
                    <a:pt x="1720" y="60"/>
                    <a:pt x="1719" y="60"/>
                    <a:pt x="1719" y="61"/>
                  </a:cubicBezTo>
                  <a:cubicBezTo>
                    <a:pt x="1719" y="61"/>
                    <a:pt x="1719" y="61"/>
                    <a:pt x="1719" y="61"/>
                  </a:cubicBezTo>
                  <a:cubicBezTo>
                    <a:pt x="1719" y="61"/>
                    <a:pt x="1719" y="61"/>
                    <a:pt x="1719" y="61"/>
                  </a:cubicBezTo>
                  <a:cubicBezTo>
                    <a:pt x="1719" y="61"/>
                    <a:pt x="1719" y="61"/>
                    <a:pt x="1719" y="61"/>
                  </a:cubicBezTo>
                  <a:cubicBezTo>
                    <a:pt x="1719" y="61"/>
                    <a:pt x="1718" y="62"/>
                    <a:pt x="1718" y="62"/>
                  </a:cubicBezTo>
                  <a:cubicBezTo>
                    <a:pt x="1718" y="62"/>
                    <a:pt x="1718" y="62"/>
                    <a:pt x="1718" y="62"/>
                  </a:cubicBezTo>
                  <a:cubicBezTo>
                    <a:pt x="1718" y="62"/>
                    <a:pt x="1718" y="62"/>
                    <a:pt x="1717" y="62"/>
                  </a:cubicBezTo>
                  <a:cubicBezTo>
                    <a:pt x="1717" y="62"/>
                    <a:pt x="1717" y="62"/>
                    <a:pt x="1717" y="62"/>
                  </a:cubicBezTo>
                  <a:cubicBezTo>
                    <a:pt x="1717" y="62"/>
                    <a:pt x="1717" y="63"/>
                    <a:pt x="1716" y="63"/>
                  </a:cubicBezTo>
                  <a:cubicBezTo>
                    <a:pt x="1716" y="63"/>
                    <a:pt x="1716" y="63"/>
                    <a:pt x="1716" y="63"/>
                  </a:cubicBezTo>
                  <a:cubicBezTo>
                    <a:pt x="1716" y="63"/>
                    <a:pt x="1716" y="63"/>
                    <a:pt x="1716" y="63"/>
                  </a:cubicBezTo>
                  <a:cubicBezTo>
                    <a:pt x="1716" y="63"/>
                    <a:pt x="1716" y="63"/>
                    <a:pt x="1716" y="63"/>
                  </a:cubicBezTo>
                  <a:cubicBezTo>
                    <a:pt x="1716" y="64"/>
                    <a:pt x="1715" y="64"/>
                    <a:pt x="1715" y="64"/>
                  </a:cubicBezTo>
                  <a:cubicBezTo>
                    <a:pt x="1715" y="64"/>
                    <a:pt x="1715" y="64"/>
                    <a:pt x="1715" y="64"/>
                  </a:cubicBezTo>
                  <a:cubicBezTo>
                    <a:pt x="1715" y="64"/>
                    <a:pt x="1715" y="64"/>
                    <a:pt x="1715" y="64"/>
                  </a:cubicBezTo>
                  <a:cubicBezTo>
                    <a:pt x="1715" y="64"/>
                    <a:pt x="1715" y="64"/>
                    <a:pt x="1715" y="64"/>
                  </a:cubicBezTo>
                  <a:cubicBezTo>
                    <a:pt x="1715" y="64"/>
                    <a:pt x="1714" y="65"/>
                    <a:pt x="1714" y="65"/>
                  </a:cubicBezTo>
                  <a:cubicBezTo>
                    <a:pt x="1714" y="65"/>
                    <a:pt x="1714" y="65"/>
                    <a:pt x="1714" y="65"/>
                  </a:cubicBezTo>
                  <a:cubicBezTo>
                    <a:pt x="1714" y="65"/>
                    <a:pt x="1714" y="65"/>
                    <a:pt x="1714" y="65"/>
                  </a:cubicBezTo>
                  <a:cubicBezTo>
                    <a:pt x="1714" y="65"/>
                    <a:pt x="1714" y="65"/>
                    <a:pt x="1714" y="65"/>
                  </a:cubicBezTo>
                  <a:cubicBezTo>
                    <a:pt x="1714" y="65"/>
                    <a:pt x="1713" y="65"/>
                    <a:pt x="1713" y="65"/>
                  </a:cubicBezTo>
                  <a:cubicBezTo>
                    <a:pt x="1713" y="65"/>
                    <a:pt x="1713" y="65"/>
                    <a:pt x="1713" y="65"/>
                  </a:cubicBezTo>
                  <a:cubicBezTo>
                    <a:pt x="1713" y="65"/>
                    <a:pt x="1713" y="66"/>
                    <a:pt x="1713" y="66"/>
                  </a:cubicBezTo>
                  <a:cubicBezTo>
                    <a:pt x="1713" y="66"/>
                    <a:pt x="1713" y="66"/>
                    <a:pt x="1713" y="66"/>
                  </a:cubicBezTo>
                  <a:cubicBezTo>
                    <a:pt x="1713" y="66"/>
                    <a:pt x="1712" y="66"/>
                    <a:pt x="1712" y="66"/>
                  </a:cubicBezTo>
                  <a:cubicBezTo>
                    <a:pt x="1712" y="66"/>
                    <a:pt x="1712" y="66"/>
                    <a:pt x="1712" y="66"/>
                  </a:cubicBezTo>
                  <a:cubicBezTo>
                    <a:pt x="1712" y="66"/>
                    <a:pt x="1712" y="67"/>
                    <a:pt x="1712" y="67"/>
                  </a:cubicBezTo>
                  <a:cubicBezTo>
                    <a:pt x="1712" y="67"/>
                    <a:pt x="1712" y="67"/>
                    <a:pt x="1712" y="67"/>
                  </a:cubicBezTo>
                  <a:cubicBezTo>
                    <a:pt x="1711" y="67"/>
                    <a:pt x="1711" y="67"/>
                    <a:pt x="1711" y="67"/>
                  </a:cubicBezTo>
                  <a:cubicBezTo>
                    <a:pt x="1711" y="67"/>
                    <a:pt x="1711" y="67"/>
                    <a:pt x="1711" y="67"/>
                  </a:cubicBezTo>
                  <a:cubicBezTo>
                    <a:pt x="1711" y="67"/>
                    <a:pt x="1711" y="67"/>
                    <a:pt x="1711" y="67"/>
                  </a:cubicBezTo>
                  <a:cubicBezTo>
                    <a:pt x="1711" y="67"/>
                    <a:pt x="1711" y="67"/>
                    <a:pt x="1711" y="67"/>
                  </a:cubicBezTo>
                  <a:cubicBezTo>
                    <a:pt x="1711" y="68"/>
                    <a:pt x="1710" y="68"/>
                    <a:pt x="1710" y="68"/>
                  </a:cubicBezTo>
                  <a:cubicBezTo>
                    <a:pt x="1710" y="68"/>
                    <a:pt x="1710" y="68"/>
                    <a:pt x="1710" y="68"/>
                  </a:cubicBezTo>
                  <a:cubicBezTo>
                    <a:pt x="1710" y="68"/>
                    <a:pt x="1710" y="68"/>
                    <a:pt x="1710" y="68"/>
                  </a:cubicBezTo>
                  <a:cubicBezTo>
                    <a:pt x="1710" y="68"/>
                    <a:pt x="1710" y="68"/>
                    <a:pt x="1710" y="68"/>
                  </a:cubicBezTo>
                  <a:cubicBezTo>
                    <a:pt x="1710" y="68"/>
                    <a:pt x="1710" y="68"/>
                    <a:pt x="1709" y="68"/>
                  </a:cubicBezTo>
                  <a:cubicBezTo>
                    <a:pt x="1710" y="68"/>
                    <a:pt x="1710" y="68"/>
                    <a:pt x="1710" y="68"/>
                  </a:cubicBezTo>
                  <a:cubicBezTo>
                    <a:pt x="1709" y="69"/>
                    <a:pt x="1709" y="69"/>
                    <a:pt x="1709" y="69"/>
                  </a:cubicBezTo>
                  <a:cubicBezTo>
                    <a:pt x="1709" y="69"/>
                    <a:pt x="1709" y="69"/>
                    <a:pt x="1709" y="69"/>
                  </a:cubicBezTo>
                  <a:cubicBezTo>
                    <a:pt x="1709" y="69"/>
                    <a:pt x="1709" y="69"/>
                    <a:pt x="1709" y="69"/>
                  </a:cubicBezTo>
                  <a:cubicBezTo>
                    <a:pt x="1709" y="69"/>
                    <a:pt x="1709" y="69"/>
                    <a:pt x="1709" y="69"/>
                  </a:cubicBezTo>
                  <a:cubicBezTo>
                    <a:pt x="1708" y="69"/>
                    <a:pt x="1708" y="70"/>
                    <a:pt x="1708" y="70"/>
                  </a:cubicBezTo>
                  <a:cubicBezTo>
                    <a:pt x="1708" y="70"/>
                    <a:pt x="1708" y="70"/>
                    <a:pt x="1708" y="70"/>
                  </a:cubicBezTo>
                  <a:cubicBezTo>
                    <a:pt x="1708" y="70"/>
                    <a:pt x="1707" y="70"/>
                    <a:pt x="1707" y="70"/>
                  </a:cubicBezTo>
                  <a:cubicBezTo>
                    <a:pt x="1707" y="70"/>
                    <a:pt x="1707" y="70"/>
                    <a:pt x="1707" y="70"/>
                  </a:cubicBezTo>
                  <a:cubicBezTo>
                    <a:pt x="1707" y="70"/>
                    <a:pt x="1707" y="70"/>
                    <a:pt x="1707" y="71"/>
                  </a:cubicBezTo>
                  <a:cubicBezTo>
                    <a:pt x="1707" y="71"/>
                    <a:pt x="1707" y="71"/>
                    <a:pt x="1707" y="71"/>
                  </a:cubicBezTo>
                  <a:cubicBezTo>
                    <a:pt x="1707" y="71"/>
                    <a:pt x="1707" y="71"/>
                    <a:pt x="1707" y="71"/>
                  </a:cubicBezTo>
                  <a:cubicBezTo>
                    <a:pt x="1707" y="71"/>
                    <a:pt x="1707" y="71"/>
                    <a:pt x="1707" y="71"/>
                  </a:cubicBezTo>
                  <a:cubicBezTo>
                    <a:pt x="1707" y="71"/>
                    <a:pt x="1706" y="71"/>
                    <a:pt x="1706" y="71"/>
                  </a:cubicBezTo>
                  <a:cubicBezTo>
                    <a:pt x="1706" y="71"/>
                    <a:pt x="1706" y="71"/>
                    <a:pt x="1706" y="71"/>
                  </a:cubicBezTo>
                  <a:cubicBezTo>
                    <a:pt x="1706" y="71"/>
                    <a:pt x="1706" y="71"/>
                    <a:pt x="1706" y="72"/>
                  </a:cubicBezTo>
                  <a:cubicBezTo>
                    <a:pt x="1706" y="72"/>
                    <a:pt x="1706" y="72"/>
                    <a:pt x="1706" y="72"/>
                  </a:cubicBezTo>
                  <a:cubicBezTo>
                    <a:pt x="1706" y="72"/>
                    <a:pt x="1706" y="72"/>
                    <a:pt x="1706" y="72"/>
                  </a:cubicBezTo>
                  <a:cubicBezTo>
                    <a:pt x="1706" y="72"/>
                    <a:pt x="1706" y="72"/>
                    <a:pt x="1706" y="72"/>
                  </a:cubicBezTo>
                  <a:cubicBezTo>
                    <a:pt x="1706" y="72"/>
                    <a:pt x="1705" y="72"/>
                    <a:pt x="1705" y="72"/>
                  </a:cubicBezTo>
                  <a:cubicBezTo>
                    <a:pt x="1705" y="72"/>
                    <a:pt x="1705" y="72"/>
                    <a:pt x="1705" y="72"/>
                  </a:cubicBezTo>
                  <a:cubicBezTo>
                    <a:pt x="1705" y="72"/>
                    <a:pt x="1705" y="73"/>
                    <a:pt x="1705" y="73"/>
                  </a:cubicBezTo>
                  <a:cubicBezTo>
                    <a:pt x="1705" y="73"/>
                    <a:pt x="1705" y="73"/>
                    <a:pt x="1705" y="73"/>
                  </a:cubicBezTo>
                  <a:cubicBezTo>
                    <a:pt x="1705" y="73"/>
                    <a:pt x="1705" y="73"/>
                    <a:pt x="1705" y="73"/>
                  </a:cubicBezTo>
                  <a:cubicBezTo>
                    <a:pt x="1705" y="73"/>
                    <a:pt x="1705" y="73"/>
                    <a:pt x="1705" y="73"/>
                  </a:cubicBezTo>
                  <a:cubicBezTo>
                    <a:pt x="1704" y="73"/>
                    <a:pt x="1704" y="73"/>
                    <a:pt x="1704" y="73"/>
                  </a:cubicBezTo>
                  <a:cubicBezTo>
                    <a:pt x="1704" y="73"/>
                    <a:pt x="1704" y="73"/>
                    <a:pt x="1704" y="73"/>
                  </a:cubicBezTo>
                  <a:cubicBezTo>
                    <a:pt x="1704" y="73"/>
                    <a:pt x="1704" y="74"/>
                    <a:pt x="1704" y="74"/>
                  </a:cubicBezTo>
                  <a:cubicBezTo>
                    <a:pt x="1704" y="74"/>
                    <a:pt x="1704" y="74"/>
                    <a:pt x="1704" y="74"/>
                  </a:cubicBezTo>
                  <a:cubicBezTo>
                    <a:pt x="1704" y="74"/>
                    <a:pt x="1704" y="74"/>
                    <a:pt x="1704" y="74"/>
                  </a:cubicBezTo>
                  <a:cubicBezTo>
                    <a:pt x="1704" y="74"/>
                    <a:pt x="1704" y="74"/>
                    <a:pt x="1704" y="74"/>
                  </a:cubicBezTo>
                  <a:cubicBezTo>
                    <a:pt x="1703" y="74"/>
                    <a:pt x="1703" y="74"/>
                    <a:pt x="1703" y="74"/>
                  </a:cubicBezTo>
                  <a:cubicBezTo>
                    <a:pt x="1703" y="74"/>
                    <a:pt x="1703" y="74"/>
                    <a:pt x="1703" y="74"/>
                  </a:cubicBezTo>
                  <a:cubicBezTo>
                    <a:pt x="1703" y="74"/>
                    <a:pt x="1703" y="75"/>
                    <a:pt x="1703" y="75"/>
                  </a:cubicBezTo>
                  <a:cubicBezTo>
                    <a:pt x="1703" y="75"/>
                    <a:pt x="1703" y="75"/>
                    <a:pt x="1703" y="75"/>
                  </a:cubicBezTo>
                  <a:cubicBezTo>
                    <a:pt x="1703" y="75"/>
                    <a:pt x="1703" y="75"/>
                    <a:pt x="1703" y="75"/>
                  </a:cubicBezTo>
                  <a:cubicBezTo>
                    <a:pt x="1703" y="75"/>
                    <a:pt x="1703" y="75"/>
                    <a:pt x="1703" y="75"/>
                  </a:cubicBezTo>
                  <a:cubicBezTo>
                    <a:pt x="1702" y="75"/>
                    <a:pt x="1702" y="76"/>
                    <a:pt x="1702" y="76"/>
                  </a:cubicBezTo>
                  <a:cubicBezTo>
                    <a:pt x="1702" y="76"/>
                    <a:pt x="1702" y="76"/>
                    <a:pt x="1702" y="76"/>
                  </a:cubicBezTo>
                  <a:cubicBezTo>
                    <a:pt x="1702" y="76"/>
                    <a:pt x="1702" y="76"/>
                    <a:pt x="1701" y="77"/>
                  </a:cubicBezTo>
                  <a:cubicBezTo>
                    <a:pt x="1701" y="76"/>
                    <a:pt x="1701" y="76"/>
                    <a:pt x="1701" y="76"/>
                  </a:cubicBezTo>
                  <a:cubicBezTo>
                    <a:pt x="1701" y="77"/>
                    <a:pt x="1701" y="77"/>
                    <a:pt x="1701" y="77"/>
                  </a:cubicBezTo>
                  <a:cubicBezTo>
                    <a:pt x="1701" y="77"/>
                    <a:pt x="1701" y="77"/>
                    <a:pt x="1701" y="77"/>
                  </a:cubicBezTo>
                  <a:cubicBezTo>
                    <a:pt x="1701" y="77"/>
                    <a:pt x="1701" y="77"/>
                    <a:pt x="1701" y="77"/>
                  </a:cubicBezTo>
                  <a:cubicBezTo>
                    <a:pt x="1701" y="77"/>
                    <a:pt x="1701" y="77"/>
                    <a:pt x="1701" y="77"/>
                  </a:cubicBezTo>
                  <a:cubicBezTo>
                    <a:pt x="1701" y="78"/>
                    <a:pt x="1700" y="78"/>
                    <a:pt x="1700" y="78"/>
                  </a:cubicBezTo>
                  <a:cubicBezTo>
                    <a:pt x="1700" y="78"/>
                    <a:pt x="1700" y="78"/>
                    <a:pt x="1700" y="78"/>
                  </a:cubicBezTo>
                  <a:cubicBezTo>
                    <a:pt x="1700" y="78"/>
                    <a:pt x="1700" y="78"/>
                    <a:pt x="1700" y="79"/>
                  </a:cubicBezTo>
                  <a:cubicBezTo>
                    <a:pt x="1700" y="79"/>
                    <a:pt x="1700" y="79"/>
                    <a:pt x="1700" y="79"/>
                  </a:cubicBezTo>
                  <a:cubicBezTo>
                    <a:pt x="1700" y="79"/>
                    <a:pt x="1700" y="79"/>
                    <a:pt x="1700" y="79"/>
                  </a:cubicBezTo>
                  <a:cubicBezTo>
                    <a:pt x="1700" y="79"/>
                    <a:pt x="1700" y="79"/>
                    <a:pt x="1700" y="79"/>
                  </a:cubicBezTo>
                  <a:cubicBezTo>
                    <a:pt x="1699" y="79"/>
                    <a:pt x="1700" y="79"/>
                    <a:pt x="1699" y="80"/>
                  </a:cubicBezTo>
                  <a:cubicBezTo>
                    <a:pt x="1699" y="80"/>
                    <a:pt x="1699" y="80"/>
                    <a:pt x="1699" y="80"/>
                  </a:cubicBezTo>
                  <a:cubicBezTo>
                    <a:pt x="1699" y="80"/>
                    <a:pt x="1699" y="80"/>
                    <a:pt x="1699" y="80"/>
                  </a:cubicBezTo>
                  <a:cubicBezTo>
                    <a:pt x="1699" y="80"/>
                    <a:pt x="1699" y="80"/>
                    <a:pt x="1699" y="80"/>
                  </a:cubicBezTo>
                  <a:cubicBezTo>
                    <a:pt x="1699" y="80"/>
                    <a:pt x="1699" y="80"/>
                    <a:pt x="1699" y="80"/>
                  </a:cubicBezTo>
                  <a:cubicBezTo>
                    <a:pt x="1699" y="80"/>
                    <a:pt x="1699" y="81"/>
                    <a:pt x="1699" y="81"/>
                  </a:cubicBezTo>
                  <a:cubicBezTo>
                    <a:pt x="1699" y="81"/>
                    <a:pt x="1699" y="81"/>
                    <a:pt x="1699" y="81"/>
                  </a:cubicBezTo>
                  <a:cubicBezTo>
                    <a:pt x="1698" y="81"/>
                    <a:pt x="1699" y="81"/>
                    <a:pt x="1698" y="81"/>
                  </a:cubicBezTo>
                  <a:cubicBezTo>
                    <a:pt x="1698" y="81"/>
                    <a:pt x="1698" y="81"/>
                    <a:pt x="1698" y="81"/>
                  </a:cubicBezTo>
                  <a:cubicBezTo>
                    <a:pt x="1698" y="82"/>
                    <a:pt x="1698" y="82"/>
                    <a:pt x="1698" y="82"/>
                  </a:cubicBezTo>
                  <a:cubicBezTo>
                    <a:pt x="1698" y="82"/>
                    <a:pt x="1698" y="82"/>
                    <a:pt x="1698" y="82"/>
                  </a:cubicBezTo>
                  <a:cubicBezTo>
                    <a:pt x="1698" y="82"/>
                    <a:pt x="1698" y="83"/>
                    <a:pt x="1698" y="83"/>
                  </a:cubicBezTo>
                  <a:cubicBezTo>
                    <a:pt x="1698" y="83"/>
                    <a:pt x="1698" y="83"/>
                    <a:pt x="1698" y="83"/>
                  </a:cubicBezTo>
                  <a:cubicBezTo>
                    <a:pt x="1697" y="83"/>
                    <a:pt x="1697" y="84"/>
                    <a:pt x="1697" y="84"/>
                  </a:cubicBezTo>
                  <a:cubicBezTo>
                    <a:pt x="1697" y="84"/>
                    <a:pt x="1697" y="84"/>
                    <a:pt x="1697" y="84"/>
                  </a:cubicBezTo>
                  <a:cubicBezTo>
                    <a:pt x="1697" y="84"/>
                    <a:pt x="1697" y="84"/>
                    <a:pt x="1697" y="85"/>
                  </a:cubicBezTo>
                  <a:cubicBezTo>
                    <a:pt x="1697" y="85"/>
                    <a:pt x="1697" y="85"/>
                    <a:pt x="1697" y="85"/>
                  </a:cubicBezTo>
                  <a:cubicBezTo>
                    <a:pt x="1697" y="85"/>
                    <a:pt x="1697" y="85"/>
                    <a:pt x="1697" y="86"/>
                  </a:cubicBezTo>
                  <a:cubicBezTo>
                    <a:pt x="1697" y="86"/>
                    <a:pt x="1697" y="86"/>
                    <a:pt x="1697" y="86"/>
                  </a:cubicBezTo>
                  <a:cubicBezTo>
                    <a:pt x="1696" y="86"/>
                    <a:pt x="1697" y="87"/>
                    <a:pt x="1696" y="87"/>
                  </a:cubicBezTo>
                  <a:cubicBezTo>
                    <a:pt x="1696" y="87"/>
                    <a:pt x="1696" y="87"/>
                    <a:pt x="1696" y="87"/>
                  </a:cubicBezTo>
                  <a:cubicBezTo>
                    <a:pt x="1696" y="88"/>
                    <a:pt x="1696" y="88"/>
                    <a:pt x="1696" y="88"/>
                  </a:cubicBezTo>
                  <a:cubicBezTo>
                    <a:pt x="1696" y="88"/>
                    <a:pt x="1696" y="89"/>
                    <a:pt x="1696" y="89"/>
                  </a:cubicBezTo>
                  <a:cubicBezTo>
                    <a:pt x="1695" y="89"/>
                    <a:pt x="1696" y="90"/>
                    <a:pt x="1696" y="90"/>
                  </a:cubicBezTo>
                  <a:cubicBezTo>
                    <a:pt x="1696" y="91"/>
                    <a:pt x="1696" y="91"/>
                    <a:pt x="1696" y="91"/>
                  </a:cubicBezTo>
                  <a:cubicBezTo>
                    <a:pt x="1695" y="92"/>
                    <a:pt x="1696" y="93"/>
                    <a:pt x="1695" y="94"/>
                  </a:cubicBezTo>
                  <a:cubicBezTo>
                    <a:pt x="1695" y="96"/>
                    <a:pt x="1695" y="99"/>
                    <a:pt x="1695" y="101"/>
                  </a:cubicBezTo>
                  <a:cubicBezTo>
                    <a:pt x="1696" y="102"/>
                    <a:pt x="1696" y="102"/>
                    <a:pt x="1697" y="102"/>
                  </a:cubicBezTo>
                  <a:cubicBezTo>
                    <a:pt x="1715" y="102"/>
                    <a:pt x="1733" y="102"/>
                    <a:pt x="1752" y="102"/>
                  </a:cubicBezTo>
                  <a:cubicBezTo>
                    <a:pt x="1752" y="102"/>
                    <a:pt x="1753" y="102"/>
                    <a:pt x="1753" y="101"/>
                  </a:cubicBezTo>
                  <a:cubicBezTo>
                    <a:pt x="1753" y="101"/>
                    <a:pt x="1753" y="101"/>
                    <a:pt x="1753" y="101"/>
                  </a:cubicBezTo>
                  <a:cubicBezTo>
                    <a:pt x="1754" y="98"/>
                    <a:pt x="1754" y="95"/>
                    <a:pt x="1753" y="92"/>
                  </a:cubicBezTo>
                  <a:cubicBezTo>
                    <a:pt x="1753" y="92"/>
                    <a:pt x="1753" y="92"/>
                    <a:pt x="1753" y="92"/>
                  </a:cubicBezTo>
                  <a:cubicBezTo>
                    <a:pt x="1753" y="91"/>
                    <a:pt x="1752" y="92"/>
                    <a:pt x="1751" y="92"/>
                  </a:cubicBezTo>
                  <a:cubicBezTo>
                    <a:pt x="1737" y="92"/>
                    <a:pt x="1723" y="92"/>
                    <a:pt x="1709" y="92"/>
                  </a:cubicBezTo>
                  <a:cubicBezTo>
                    <a:pt x="1708" y="92"/>
                    <a:pt x="1707" y="92"/>
                    <a:pt x="1707" y="91"/>
                  </a:cubicBezTo>
                  <a:cubicBezTo>
                    <a:pt x="1706" y="91"/>
                    <a:pt x="1707" y="90"/>
                    <a:pt x="1707" y="90"/>
                  </a:cubicBezTo>
                  <a:cubicBezTo>
                    <a:pt x="1707" y="89"/>
                    <a:pt x="1707" y="88"/>
                    <a:pt x="1707" y="88"/>
                  </a:cubicBezTo>
                  <a:cubicBezTo>
                    <a:pt x="1707" y="87"/>
                    <a:pt x="1707" y="87"/>
                    <a:pt x="1707" y="87"/>
                  </a:cubicBezTo>
                  <a:cubicBezTo>
                    <a:pt x="1707" y="87"/>
                    <a:pt x="1707" y="86"/>
                    <a:pt x="1707" y="86"/>
                  </a:cubicBezTo>
                  <a:cubicBezTo>
                    <a:pt x="1707" y="86"/>
                    <a:pt x="1707" y="86"/>
                    <a:pt x="1707" y="86"/>
                  </a:cubicBezTo>
                  <a:cubicBezTo>
                    <a:pt x="1708" y="86"/>
                    <a:pt x="1708" y="85"/>
                    <a:pt x="1708" y="85"/>
                  </a:cubicBezTo>
                  <a:cubicBezTo>
                    <a:pt x="1708" y="85"/>
                    <a:pt x="1708" y="85"/>
                    <a:pt x="1708" y="85"/>
                  </a:cubicBezTo>
                  <a:cubicBezTo>
                    <a:pt x="1708" y="85"/>
                    <a:pt x="1708" y="85"/>
                    <a:pt x="1708" y="85"/>
                  </a:cubicBezTo>
                  <a:cubicBezTo>
                    <a:pt x="1708" y="85"/>
                    <a:pt x="1708" y="84"/>
                    <a:pt x="1708" y="84"/>
                  </a:cubicBezTo>
                  <a:cubicBezTo>
                    <a:pt x="1708" y="84"/>
                    <a:pt x="1708" y="84"/>
                    <a:pt x="1708" y="84"/>
                  </a:cubicBezTo>
                  <a:cubicBezTo>
                    <a:pt x="1708" y="84"/>
                    <a:pt x="1708" y="84"/>
                    <a:pt x="1708" y="83"/>
                  </a:cubicBezTo>
                  <a:cubicBezTo>
                    <a:pt x="1708" y="83"/>
                    <a:pt x="1708" y="83"/>
                    <a:pt x="1708" y="83"/>
                  </a:cubicBezTo>
                  <a:cubicBezTo>
                    <a:pt x="1709" y="83"/>
                    <a:pt x="1709" y="83"/>
                    <a:pt x="1709" y="83"/>
                  </a:cubicBezTo>
                  <a:cubicBezTo>
                    <a:pt x="1709" y="83"/>
                    <a:pt x="1709" y="83"/>
                    <a:pt x="1709" y="83"/>
                  </a:cubicBezTo>
                  <a:cubicBezTo>
                    <a:pt x="1709" y="83"/>
                    <a:pt x="1709" y="82"/>
                    <a:pt x="1709" y="82"/>
                  </a:cubicBezTo>
                  <a:cubicBezTo>
                    <a:pt x="1709" y="82"/>
                    <a:pt x="1709" y="82"/>
                    <a:pt x="1709" y="82"/>
                  </a:cubicBezTo>
                  <a:cubicBezTo>
                    <a:pt x="1709" y="82"/>
                    <a:pt x="1709" y="82"/>
                    <a:pt x="1709" y="82"/>
                  </a:cubicBezTo>
                  <a:cubicBezTo>
                    <a:pt x="1709" y="82"/>
                    <a:pt x="1709" y="82"/>
                    <a:pt x="1709" y="82"/>
                  </a:cubicBezTo>
                  <a:cubicBezTo>
                    <a:pt x="1710" y="82"/>
                    <a:pt x="1710" y="81"/>
                    <a:pt x="1710" y="81"/>
                  </a:cubicBezTo>
                  <a:cubicBezTo>
                    <a:pt x="1710" y="81"/>
                    <a:pt x="1710" y="81"/>
                    <a:pt x="1710" y="81"/>
                  </a:cubicBezTo>
                  <a:cubicBezTo>
                    <a:pt x="1710" y="81"/>
                    <a:pt x="1710" y="81"/>
                    <a:pt x="1710" y="81"/>
                  </a:cubicBezTo>
                  <a:cubicBezTo>
                    <a:pt x="1710" y="81"/>
                    <a:pt x="1710" y="81"/>
                    <a:pt x="1710" y="81"/>
                  </a:cubicBezTo>
                  <a:cubicBezTo>
                    <a:pt x="1710" y="81"/>
                    <a:pt x="1710" y="80"/>
                    <a:pt x="1710" y="80"/>
                  </a:cubicBezTo>
                  <a:cubicBezTo>
                    <a:pt x="1710" y="80"/>
                    <a:pt x="1710" y="80"/>
                    <a:pt x="1710" y="80"/>
                  </a:cubicBezTo>
                  <a:cubicBezTo>
                    <a:pt x="1711" y="80"/>
                    <a:pt x="1711" y="80"/>
                    <a:pt x="1711" y="79"/>
                  </a:cubicBezTo>
                  <a:cubicBezTo>
                    <a:pt x="1711" y="79"/>
                    <a:pt x="1711" y="79"/>
                    <a:pt x="1711" y="79"/>
                  </a:cubicBezTo>
                  <a:cubicBezTo>
                    <a:pt x="1711" y="79"/>
                    <a:pt x="1711" y="79"/>
                    <a:pt x="1712" y="79"/>
                  </a:cubicBezTo>
                  <a:cubicBezTo>
                    <a:pt x="1712" y="79"/>
                    <a:pt x="1712" y="79"/>
                    <a:pt x="1712" y="79"/>
                  </a:cubicBezTo>
                  <a:cubicBezTo>
                    <a:pt x="1712" y="79"/>
                    <a:pt x="1712" y="79"/>
                    <a:pt x="1712" y="79"/>
                  </a:cubicBezTo>
                  <a:cubicBezTo>
                    <a:pt x="1712" y="79"/>
                    <a:pt x="1712" y="79"/>
                    <a:pt x="1712" y="79"/>
                  </a:cubicBezTo>
                  <a:cubicBezTo>
                    <a:pt x="1712" y="78"/>
                    <a:pt x="1712" y="78"/>
                    <a:pt x="1712" y="78"/>
                  </a:cubicBezTo>
                  <a:cubicBezTo>
                    <a:pt x="1712" y="78"/>
                    <a:pt x="1712" y="78"/>
                    <a:pt x="1712" y="78"/>
                  </a:cubicBezTo>
                  <a:cubicBezTo>
                    <a:pt x="1712" y="78"/>
                    <a:pt x="1712" y="78"/>
                    <a:pt x="1713" y="78"/>
                  </a:cubicBezTo>
                  <a:cubicBezTo>
                    <a:pt x="1713" y="78"/>
                    <a:pt x="1713" y="78"/>
                    <a:pt x="1713" y="78"/>
                  </a:cubicBezTo>
                  <a:cubicBezTo>
                    <a:pt x="1713" y="78"/>
                    <a:pt x="1713" y="78"/>
                    <a:pt x="1713" y="77"/>
                  </a:cubicBezTo>
                  <a:cubicBezTo>
                    <a:pt x="1713" y="77"/>
                    <a:pt x="1713" y="77"/>
                    <a:pt x="1713" y="77"/>
                  </a:cubicBezTo>
                  <a:cubicBezTo>
                    <a:pt x="1713" y="77"/>
                    <a:pt x="1713" y="77"/>
                    <a:pt x="1713" y="77"/>
                  </a:cubicBezTo>
                  <a:cubicBezTo>
                    <a:pt x="1713" y="77"/>
                    <a:pt x="1713" y="77"/>
                    <a:pt x="1713" y="77"/>
                  </a:cubicBezTo>
                  <a:cubicBezTo>
                    <a:pt x="1713" y="77"/>
                    <a:pt x="1714" y="77"/>
                    <a:pt x="1714" y="77"/>
                  </a:cubicBezTo>
                  <a:cubicBezTo>
                    <a:pt x="1714" y="77"/>
                    <a:pt x="1714" y="77"/>
                    <a:pt x="1714" y="77"/>
                  </a:cubicBezTo>
                  <a:cubicBezTo>
                    <a:pt x="1714" y="77"/>
                    <a:pt x="1714" y="77"/>
                    <a:pt x="1714" y="76"/>
                  </a:cubicBezTo>
                  <a:cubicBezTo>
                    <a:pt x="1714" y="76"/>
                    <a:pt x="1714" y="76"/>
                    <a:pt x="1714" y="76"/>
                  </a:cubicBezTo>
                  <a:cubicBezTo>
                    <a:pt x="1714" y="76"/>
                    <a:pt x="1714" y="76"/>
                    <a:pt x="1714" y="76"/>
                  </a:cubicBezTo>
                  <a:cubicBezTo>
                    <a:pt x="1714" y="76"/>
                    <a:pt x="1714" y="76"/>
                    <a:pt x="1714" y="76"/>
                  </a:cubicBezTo>
                  <a:cubicBezTo>
                    <a:pt x="1715" y="76"/>
                    <a:pt x="1715" y="75"/>
                    <a:pt x="1716" y="75"/>
                  </a:cubicBezTo>
                  <a:cubicBezTo>
                    <a:pt x="1716" y="75"/>
                    <a:pt x="1716" y="75"/>
                    <a:pt x="1716" y="75"/>
                  </a:cubicBezTo>
                  <a:cubicBezTo>
                    <a:pt x="1716" y="75"/>
                    <a:pt x="1716" y="75"/>
                    <a:pt x="1716" y="75"/>
                  </a:cubicBezTo>
                  <a:cubicBezTo>
                    <a:pt x="1716" y="75"/>
                    <a:pt x="1716" y="75"/>
                    <a:pt x="1716" y="75"/>
                  </a:cubicBezTo>
                  <a:cubicBezTo>
                    <a:pt x="1716" y="75"/>
                    <a:pt x="1716" y="74"/>
                    <a:pt x="1716" y="74"/>
                  </a:cubicBezTo>
                  <a:cubicBezTo>
                    <a:pt x="1716" y="74"/>
                    <a:pt x="1716" y="74"/>
                    <a:pt x="1716" y="74"/>
                  </a:cubicBezTo>
                  <a:cubicBezTo>
                    <a:pt x="1717" y="74"/>
                    <a:pt x="1717" y="74"/>
                    <a:pt x="1717" y="74"/>
                  </a:cubicBezTo>
                  <a:cubicBezTo>
                    <a:pt x="1717" y="74"/>
                    <a:pt x="1717" y="74"/>
                    <a:pt x="1717" y="74"/>
                  </a:cubicBezTo>
                  <a:cubicBezTo>
                    <a:pt x="1717" y="74"/>
                    <a:pt x="1717" y="74"/>
                    <a:pt x="1717" y="74"/>
                  </a:cubicBezTo>
                  <a:cubicBezTo>
                    <a:pt x="1717" y="74"/>
                    <a:pt x="1717" y="74"/>
                    <a:pt x="1717" y="74"/>
                  </a:cubicBezTo>
                  <a:cubicBezTo>
                    <a:pt x="1718" y="74"/>
                    <a:pt x="1718" y="73"/>
                    <a:pt x="1718" y="73"/>
                  </a:cubicBezTo>
                  <a:cubicBezTo>
                    <a:pt x="1718" y="73"/>
                    <a:pt x="1718" y="73"/>
                    <a:pt x="1718" y="73"/>
                  </a:cubicBezTo>
                  <a:cubicBezTo>
                    <a:pt x="1718" y="73"/>
                    <a:pt x="1718" y="73"/>
                    <a:pt x="1718" y="73"/>
                  </a:cubicBezTo>
                  <a:cubicBezTo>
                    <a:pt x="1718" y="73"/>
                    <a:pt x="1718" y="73"/>
                    <a:pt x="1718" y="73"/>
                  </a:cubicBezTo>
                  <a:cubicBezTo>
                    <a:pt x="1718" y="73"/>
                    <a:pt x="1719" y="73"/>
                    <a:pt x="1719" y="72"/>
                  </a:cubicBezTo>
                  <a:cubicBezTo>
                    <a:pt x="1719" y="72"/>
                    <a:pt x="1719" y="72"/>
                    <a:pt x="1719" y="72"/>
                  </a:cubicBezTo>
                  <a:cubicBezTo>
                    <a:pt x="1719" y="72"/>
                    <a:pt x="1719" y="72"/>
                    <a:pt x="1720" y="72"/>
                  </a:cubicBezTo>
                  <a:cubicBezTo>
                    <a:pt x="1720" y="72"/>
                    <a:pt x="1720" y="72"/>
                    <a:pt x="1720" y="72"/>
                  </a:cubicBezTo>
                  <a:cubicBezTo>
                    <a:pt x="1720" y="72"/>
                    <a:pt x="1720" y="72"/>
                    <a:pt x="1720" y="72"/>
                  </a:cubicBezTo>
                  <a:cubicBezTo>
                    <a:pt x="1720" y="72"/>
                    <a:pt x="1720" y="72"/>
                    <a:pt x="1720" y="72"/>
                  </a:cubicBezTo>
                  <a:cubicBezTo>
                    <a:pt x="1720" y="71"/>
                    <a:pt x="1720" y="71"/>
                    <a:pt x="1721" y="71"/>
                  </a:cubicBezTo>
                  <a:cubicBezTo>
                    <a:pt x="1720" y="71"/>
                    <a:pt x="1720" y="71"/>
                    <a:pt x="1720" y="71"/>
                  </a:cubicBezTo>
                  <a:cubicBezTo>
                    <a:pt x="1721" y="71"/>
                    <a:pt x="1721" y="71"/>
                    <a:pt x="1721" y="71"/>
                  </a:cubicBezTo>
                  <a:cubicBezTo>
                    <a:pt x="1721" y="71"/>
                    <a:pt x="1721" y="71"/>
                    <a:pt x="1721" y="71"/>
                  </a:cubicBezTo>
                  <a:cubicBezTo>
                    <a:pt x="1721" y="71"/>
                    <a:pt x="1721" y="71"/>
                    <a:pt x="1721" y="71"/>
                  </a:cubicBezTo>
                  <a:cubicBezTo>
                    <a:pt x="1721" y="71"/>
                    <a:pt x="1721" y="71"/>
                    <a:pt x="1721" y="71"/>
                  </a:cubicBezTo>
                  <a:cubicBezTo>
                    <a:pt x="1721" y="70"/>
                    <a:pt x="1722" y="70"/>
                    <a:pt x="1722" y="70"/>
                  </a:cubicBezTo>
                  <a:cubicBezTo>
                    <a:pt x="1722" y="70"/>
                    <a:pt x="1722" y="70"/>
                    <a:pt x="1722" y="70"/>
                  </a:cubicBezTo>
                  <a:cubicBezTo>
                    <a:pt x="1722" y="70"/>
                    <a:pt x="1722" y="70"/>
                    <a:pt x="1722" y="70"/>
                  </a:cubicBezTo>
                  <a:cubicBezTo>
                    <a:pt x="1722" y="70"/>
                    <a:pt x="1722" y="70"/>
                    <a:pt x="1722" y="70"/>
                  </a:cubicBezTo>
                  <a:cubicBezTo>
                    <a:pt x="1722" y="70"/>
                    <a:pt x="1723" y="70"/>
                    <a:pt x="1723" y="70"/>
                  </a:cubicBezTo>
                  <a:cubicBezTo>
                    <a:pt x="1723" y="70"/>
                    <a:pt x="1723" y="70"/>
                    <a:pt x="1723" y="70"/>
                  </a:cubicBezTo>
                  <a:cubicBezTo>
                    <a:pt x="1723" y="69"/>
                    <a:pt x="1723" y="69"/>
                    <a:pt x="1723" y="69"/>
                  </a:cubicBezTo>
                  <a:cubicBezTo>
                    <a:pt x="1723" y="69"/>
                    <a:pt x="1723" y="69"/>
                    <a:pt x="1723" y="69"/>
                  </a:cubicBezTo>
                  <a:cubicBezTo>
                    <a:pt x="1723" y="69"/>
                    <a:pt x="1724" y="69"/>
                    <a:pt x="1724" y="69"/>
                  </a:cubicBezTo>
                  <a:cubicBezTo>
                    <a:pt x="1724" y="69"/>
                    <a:pt x="1724" y="69"/>
                    <a:pt x="1724" y="69"/>
                  </a:cubicBezTo>
                  <a:cubicBezTo>
                    <a:pt x="1724" y="69"/>
                    <a:pt x="1724" y="69"/>
                    <a:pt x="1724" y="68"/>
                  </a:cubicBezTo>
                  <a:cubicBezTo>
                    <a:pt x="1724" y="68"/>
                    <a:pt x="1724" y="68"/>
                    <a:pt x="1724" y="68"/>
                  </a:cubicBezTo>
                  <a:cubicBezTo>
                    <a:pt x="1724" y="68"/>
                    <a:pt x="1725" y="68"/>
                    <a:pt x="1725" y="68"/>
                  </a:cubicBezTo>
                  <a:cubicBezTo>
                    <a:pt x="1725" y="68"/>
                    <a:pt x="1725" y="68"/>
                    <a:pt x="1725" y="68"/>
                  </a:cubicBezTo>
                  <a:cubicBezTo>
                    <a:pt x="1725" y="68"/>
                    <a:pt x="1725" y="68"/>
                    <a:pt x="1725" y="68"/>
                  </a:cubicBezTo>
                  <a:cubicBezTo>
                    <a:pt x="1725" y="68"/>
                    <a:pt x="1725" y="68"/>
                    <a:pt x="1725" y="68"/>
                  </a:cubicBezTo>
                  <a:cubicBezTo>
                    <a:pt x="1725" y="68"/>
                    <a:pt x="1726" y="68"/>
                    <a:pt x="1726" y="67"/>
                  </a:cubicBezTo>
                  <a:cubicBezTo>
                    <a:pt x="1726" y="67"/>
                    <a:pt x="1726" y="67"/>
                    <a:pt x="1726" y="67"/>
                  </a:cubicBezTo>
                  <a:cubicBezTo>
                    <a:pt x="1726" y="67"/>
                    <a:pt x="1726" y="67"/>
                    <a:pt x="1726" y="67"/>
                  </a:cubicBezTo>
                  <a:cubicBezTo>
                    <a:pt x="1726" y="67"/>
                    <a:pt x="1726" y="67"/>
                    <a:pt x="1726" y="67"/>
                  </a:cubicBezTo>
                  <a:cubicBezTo>
                    <a:pt x="1726" y="67"/>
                    <a:pt x="1726" y="67"/>
                    <a:pt x="1727" y="67"/>
                  </a:cubicBezTo>
                  <a:cubicBezTo>
                    <a:pt x="1727" y="67"/>
                    <a:pt x="1727" y="67"/>
                    <a:pt x="1727" y="67"/>
                  </a:cubicBezTo>
                  <a:cubicBezTo>
                    <a:pt x="1727" y="66"/>
                    <a:pt x="1727" y="67"/>
                    <a:pt x="1727" y="66"/>
                  </a:cubicBezTo>
                  <a:cubicBezTo>
                    <a:pt x="1727" y="66"/>
                    <a:pt x="1727" y="66"/>
                    <a:pt x="1727" y="66"/>
                  </a:cubicBezTo>
                  <a:cubicBezTo>
                    <a:pt x="1727" y="66"/>
                    <a:pt x="1727" y="66"/>
                    <a:pt x="1728" y="66"/>
                  </a:cubicBezTo>
                  <a:cubicBezTo>
                    <a:pt x="1728" y="66"/>
                    <a:pt x="1728" y="66"/>
                    <a:pt x="1728" y="66"/>
                  </a:cubicBezTo>
                  <a:cubicBezTo>
                    <a:pt x="1728" y="66"/>
                    <a:pt x="1728" y="66"/>
                    <a:pt x="1729" y="65"/>
                  </a:cubicBezTo>
                  <a:cubicBezTo>
                    <a:pt x="1729" y="65"/>
                    <a:pt x="1729" y="65"/>
                    <a:pt x="1729" y="65"/>
                  </a:cubicBezTo>
                  <a:cubicBezTo>
                    <a:pt x="1729" y="65"/>
                    <a:pt x="1729" y="65"/>
                    <a:pt x="1729" y="65"/>
                  </a:cubicBezTo>
                  <a:cubicBezTo>
                    <a:pt x="1729" y="65"/>
                    <a:pt x="1729" y="65"/>
                    <a:pt x="1729" y="65"/>
                  </a:cubicBezTo>
                  <a:cubicBezTo>
                    <a:pt x="1729" y="65"/>
                    <a:pt x="1729" y="65"/>
                    <a:pt x="1730" y="65"/>
                  </a:cubicBezTo>
                  <a:cubicBezTo>
                    <a:pt x="1730" y="65"/>
                    <a:pt x="1730" y="65"/>
                    <a:pt x="1730" y="65"/>
                  </a:cubicBezTo>
                  <a:cubicBezTo>
                    <a:pt x="1730" y="65"/>
                    <a:pt x="1730" y="64"/>
                    <a:pt x="1730" y="64"/>
                  </a:cubicBezTo>
                  <a:cubicBezTo>
                    <a:pt x="1730" y="64"/>
                    <a:pt x="1730" y="64"/>
                    <a:pt x="1730" y="64"/>
                  </a:cubicBezTo>
                  <a:cubicBezTo>
                    <a:pt x="1730" y="64"/>
                    <a:pt x="1730" y="64"/>
                    <a:pt x="1730" y="64"/>
                  </a:cubicBezTo>
                  <a:cubicBezTo>
                    <a:pt x="1730" y="64"/>
                    <a:pt x="1730" y="64"/>
                    <a:pt x="1730" y="64"/>
                  </a:cubicBezTo>
                  <a:cubicBezTo>
                    <a:pt x="1731" y="64"/>
                    <a:pt x="1731" y="64"/>
                    <a:pt x="1731" y="63"/>
                  </a:cubicBezTo>
                  <a:cubicBezTo>
                    <a:pt x="1731" y="64"/>
                    <a:pt x="1731" y="64"/>
                    <a:pt x="1731" y="64"/>
                  </a:cubicBezTo>
                  <a:cubicBezTo>
                    <a:pt x="1731" y="63"/>
                    <a:pt x="1731" y="63"/>
                    <a:pt x="1731" y="63"/>
                  </a:cubicBezTo>
                  <a:cubicBezTo>
                    <a:pt x="1731" y="63"/>
                    <a:pt x="1731" y="63"/>
                    <a:pt x="1731" y="63"/>
                  </a:cubicBezTo>
                  <a:cubicBezTo>
                    <a:pt x="1731" y="63"/>
                    <a:pt x="1732" y="63"/>
                    <a:pt x="1732" y="63"/>
                  </a:cubicBezTo>
                  <a:cubicBezTo>
                    <a:pt x="1732" y="63"/>
                    <a:pt x="1732" y="63"/>
                    <a:pt x="1732" y="63"/>
                  </a:cubicBezTo>
                  <a:cubicBezTo>
                    <a:pt x="1732" y="63"/>
                    <a:pt x="1732" y="63"/>
                    <a:pt x="1732" y="62"/>
                  </a:cubicBezTo>
                  <a:cubicBezTo>
                    <a:pt x="1732" y="62"/>
                    <a:pt x="1732" y="62"/>
                    <a:pt x="1732" y="62"/>
                  </a:cubicBezTo>
                  <a:cubicBezTo>
                    <a:pt x="1733" y="62"/>
                    <a:pt x="1733" y="62"/>
                    <a:pt x="1733" y="62"/>
                  </a:cubicBezTo>
                  <a:cubicBezTo>
                    <a:pt x="1733" y="62"/>
                    <a:pt x="1733" y="62"/>
                    <a:pt x="1733" y="62"/>
                  </a:cubicBezTo>
                  <a:cubicBezTo>
                    <a:pt x="1733" y="62"/>
                    <a:pt x="1733" y="62"/>
                    <a:pt x="1733" y="62"/>
                  </a:cubicBezTo>
                  <a:cubicBezTo>
                    <a:pt x="1733" y="62"/>
                    <a:pt x="1733" y="62"/>
                    <a:pt x="1733" y="62"/>
                  </a:cubicBezTo>
                  <a:cubicBezTo>
                    <a:pt x="1733" y="62"/>
                    <a:pt x="1734" y="61"/>
                    <a:pt x="1734" y="61"/>
                  </a:cubicBezTo>
                  <a:cubicBezTo>
                    <a:pt x="1734" y="61"/>
                    <a:pt x="1734" y="61"/>
                    <a:pt x="1734" y="61"/>
                  </a:cubicBezTo>
                  <a:cubicBezTo>
                    <a:pt x="1734" y="61"/>
                    <a:pt x="1734" y="61"/>
                    <a:pt x="1734" y="61"/>
                  </a:cubicBezTo>
                  <a:cubicBezTo>
                    <a:pt x="1734" y="61"/>
                    <a:pt x="1734" y="61"/>
                    <a:pt x="1734" y="61"/>
                  </a:cubicBezTo>
                  <a:cubicBezTo>
                    <a:pt x="1735" y="61"/>
                    <a:pt x="1735" y="61"/>
                    <a:pt x="1735" y="60"/>
                  </a:cubicBezTo>
                  <a:cubicBezTo>
                    <a:pt x="1735" y="60"/>
                    <a:pt x="1735" y="60"/>
                    <a:pt x="1735" y="60"/>
                  </a:cubicBezTo>
                  <a:cubicBezTo>
                    <a:pt x="1735" y="60"/>
                    <a:pt x="1735" y="60"/>
                    <a:pt x="1735" y="60"/>
                  </a:cubicBezTo>
                  <a:cubicBezTo>
                    <a:pt x="1735" y="60"/>
                    <a:pt x="1735" y="60"/>
                    <a:pt x="1735" y="60"/>
                  </a:cubicBezTo>
                  <a:cubicBezTo>
                    <a:pt x="1735" y="60"/>
                    <a:pt x="1735" y="60"/>
                    <a:pt x="1736" y="60"/>
                  </a:cubicBezTo>
                  <a:cubicBezTo>
                    <a:pt x="1736" y="60"/>
                    <a:pt x="1736" y="60"/>
                    <a:pt x="1736" y="60"/>
                  </a:cubicBezTo>
                  <a:cubicBezTo>
                    <a:pt x="1736" y="59"/>
                    <a:pt x="1736" y="59"/>
                    <a:pt x="1737" y="59"/>
                  </a:cubicBezTo>
                  <a:cubicBezTo>
                    <a:pt x="1736" y="59"/>
                    <a:pt x="1736" y="59"/>
                    <a:pt x="1736" y="59"/>
                  </a:cubicBezTo>
                  <a:cubicBezTo>
                    <a:pt x="1737" y="59"/>
                    <a:pt x="1737" y="59"/>
                    <a:pt x="1737" y="59"/>
                  </a:cubicBezTo>
                  <a:cubicBezTo>
                    <a:pt x="1737" y="59"/>
                    <a:pt x="1737" y="59"/>
                    <a:pt x="1737" y="59"/>
                  </a:cubicBezTo>
                  <a:cubicBezTo>
                    <a:pt x="1737" y="59"/>
                    <a:pt x="1737" y="58"/>
                    <a:pt x="1737" y="58"/>
                  </a:cubicBezTo>
                  <a:cubicBezTo>
                    <a:pt x="1737" y="58"/>
                    <a:pt x="1737" y="58"/>
                    <a:pt x="1737" y="58"/>
                  </a:cubicBezTo>
                  <a:cubicBezTo>
                    <a:pt x="1737" y="58"/>
                    <a:pt x="1738" y="58"/>
                    <a:pt x="1738" y="58"/>
                  </a:cubicBezTo>
                  <a:cubicBezTo>
                    <a:pt x="1738" y="58"/>
                    <a:pt x="1738" y="58"/>
                    <a:pt x="1738" y="58"/>
                  </a:cubicBezTo>
                  <a:cubicBezTo>
                    <a:pt x="1738" y="58"/>
                    <a:pt x="1738" y="58"/>
                    <a:pt x="1738" y="58"/>
                  </a:cubicBezTo>
                  <a:cubicBezTo>
                    <a:pt x="1738" y="58"/>
                    <a:pt x="1738" y="58"/>
                    <a:pt x="1738" y="58"/>
                  </a:cubicBezTo>
                  <a:cubicBezTo>
                    <a:pt x="1738" y="58"/>
                    <a:pt x="1738" y="57"/>
                    <a:pt x="1738" y="57"/>
                  </a:cubicBezTo>
                  <a:cubicBezTo>
                    <a:pt x="1738" y="57"/>
                    <a:pt x="1738" y="57"/>
                    <a:pt x="1738" y="57"/>
                  </a:cubicBezTo>
                  <a:cubicBezTo>
                    <a:pt x="1738" y="57"/>
                    <a:pt x="1739" y="57"/>
                    <a:pt x="1739" y="57"/>
                  </a:cubicBezTo>
                  <a:cubicBezTo>
                    <a:pt x="1739" y="57"/>
                    <a:pt x="1739" y="57"/>
                    <a:pt x="1739" y="57"/>
                  </a:cubicBezTo>
                  <a:cubicBezTo>
                    <a:pt x="1739" y="57"/>
                    <a:pt x="1739" y="57"/>
                    <a:pt x="1739" y="57"/>
                  </a:cubicBezTo>
                  <a:cubicBezTo>
                    <a:pt x="1739" y="57"/>
                    <a:pt x="1739" y="57"/>
                    <a:pt x="1739" y="57"/>
                  </a:cubicBezTo>
                  <a:cubicBezTo>
                    <a:pt x="1739" y="56"/>
                    <a:pt x="1739" y="56"/>
                    <a:pt x="1739" y="56"/>
                  </a:cubicBezTo>
                  <a:cubicBezTo>
                    <a:pt x="1739" y="56"/>
                    <a:pt x="1739" y="56"/>
                    <a:pt x="1739" y="56"/>
                  </a:cubicBezTo>
                  <a:cubicBezTo>
                    <a:pt x="1740" y="56"/>
                    <a:pt x="1740" y="56"/>
                    <a:pt x="1740" y="56"/>
                  </a:cubicBezTo>
                  <a:cubicBezTo>
                    <a:pt x="1740" y="56"/>
                    <a:pt x="1740" y="56"/>
                    <a:pt x="1740" y="56"/>
                  </a:cubicBezTo>
                  <a:cubicBezTo>
                    <a:pt x="1740" y="56"/>
                    <a:pt x="1740" y="56"/>
                    <a:pt x="1740" y="56"/>
                  </a:cubicBezTo>
                  <a:cubicBezTo>
                    <a:pt x="1740" y="56"/>
                    <a:pt x="1740" y="56"/>
                    <a:pt x="1740" y="56"/>
                  </a:cubicBezTo>
                  <a:cubicBezTo>
                    <a:pt x="1740" y="55"/>
                    <a:pt x="1740" y="55"/>
                    <a:pt x="1740" y="55"/>
                  </a:cubicBezTo>
                  <a:cubicBezTo>
                    <a:pt x="1740" y="55"/>
                    <a:pt x="1740" y="55"/>
                    <a:pt x="1740" y="55"/>
                  </a:cubicBezTo>
                  <a:cubicBezTo>
                    <a:pt x="1741" y="55"/>
                    <a:pt x="1741" y="55"/>
                    <a:pt x="1741" y="55"/>
                  </a:cubicBezTo>
                  <a:cubicBezTo>
                    <a:pt x="1741" y="55"/>
                    <a:pt x="1741" y="55"/>
                    <a:pt x="1741" y="55"/>
                  </a:cubicBezTo>
                  <a:cubicBezTo>
                    <a:pt x="1741" y="55"/>
                    <a:pt x="1741" y="55"/>
                    <a:pt x="1741" y="54"/>
                  </a:cubicBezTo>
                  <a:cubicBezTo>
                    <a:pt x="1741" y="54"/>
                    <a:pt x="1741" y="54"/>
                    <a:pt x="1741" y="54"/>
                  </a:cubicBezTo>
                  <a:cubicBezTo>
                    <a:pt x="1741" y="54"/>
                    <a:pt x="1741" y="54"/>
                    <a:pt x="1741" y="54"/>
                  </a:cubicBezTo>
                  <a:cubicBezTo>
                    <a:pt x="1741" y="54"/>
                    <a:pt x="1741" y="54"/>
                    <a:pt x="1741" y="54"/>
                  </a:cubicBezTo>
                  <a:cubicBezTo>
                    <a:pt x="1742" y="54"/>
                    <a:pt x="1742" y="53"/>
                    <a:pt x="1742" y="53"/>
                  </a:cubicBezTo>
                  <a:cubicBezTo>
                    <a:pt x="1742" y="53"/>
                    <a:pt x="1742" y="53"/>
                    <a:pt x="1742" y="53"/>
                  </a:cubicBezTo>
                  <a:cubicBezTo>
                    <a:pt x="1742" y="53"/>
                    <a:pt x="1742" y="53"/>
                    <a:pt x="1743" y="53"/>
                  </a:cubicBezTo>
                  <a:cubicBezTo>
                    <a:pt x="1742" y="53"/>
                    <a:pt x="1742" y="53"/>
                    <a:pt x="1742" y="53"/>
                  </a:cubicBezTo>
                  <a:cubicBezTo>
                    <a:pt x="1743" y="53"/>
                    <a:pt x="1743" y="53"/>
                    <a:pt x="1743" y="52"/>
                  </a:cubicBezTo>
                  <a:cubicBezTo>
                    <a:pt x="1743" y="52"/>
                    <a:pt x="1743" y="52"/>
                    <a:pt x="1743" y="52"/>
                  </a:cubicBezTo>
                  <a:cubicBezTo>
                    <a:pt x="1743" y="52"/>
                    <a:pt x="1743" y="52"/>
                    <a:pt x="1743" y="52"/>
                  </a:cubicBezTo>
                  <a:cubicBezTo>
                    <a:pt x="1743" y="52"/>
                    <a:pt x="1743" y="52"/>
                    <a:pt x="1743" y="52"/>
                  </a:cubicBezTo>
                  <a:cubicBezTo>
                    <a:pt x="1743" y="52"/>
                    <a:pt x="1743" y="52"/>
                    <a:pt x="1744" y="51"/>
                  </a:cubicBezTo>
                  <a:cubicBezTo>
                    <a:pt x="1744" y="51"/>
                    <a:pt x="1744" y="51"/>
                    <a:pt x="1744" y="51"/>
                  </a:cubicBezTo>
                  <a:cubicBezTo>
                    <a:pt x="1744" y="51"/>
                    <a:pt x="1744" y="51"/>
                    <a:pt x="1744" y="51"/>
                  </a:cubicBezTo>
                  <a:cubicBezTo>
                    <a:pt x="1744" y="51"/>
                    <a:pt x="1744" y="51"/>
                    <a:pt x="1744" y="51"/>
                  </a:cubicBezTo>
                  <a:cubicBezTo>
                    <a:pt x="1744" y="51"/>
                    <a:pt x="1744" y="51"/>
                    <a:pt x="1744" y="50"/>
                  </a:cubicBezTo>
                  <a:cubicBezTo>
                    <a:pt x="1744" y="50"/>
                    <a:pt x="1744" y="50"/>
                    <a:pt x="1744" y="50"/>
                  </a:cubicBezTo>
                  <a:cubicBezTo>
                    <a:pt x="1744" y="50"/>
                    <a:pt x="1745" y="50"/>
                    <a:pt x="1745" y="50"/>
                  </a:cubicBezTo>
                  <a:cubicBezTo>
                    <a:pt x="1745" y="50"/>
                    <a:pt x="1745" y="50"/>
                    <a:pt x="1745" y="50"/>
                  </a:cubicBezTo>
                  <a:cubicBezTo>
                    <a:pt x="1745" y="50"/>
                    <a:pt x="1745" y="49"/>
                    <a:pt x="1745" y="49"/>
                  </a:cubicBezTo>
                  <a:cubicBezTo>
                    <a:pt x="1745" y="49"/>
                    <a:pt x="1745" y="49"/>
                    <a:pt x="1745" y="49"/>
                  </a:cubicBezTo>
                  <a:cubicBezTo>
                    <a:pt x="1745" y="49"/>
                    <a:pt x="1745" y="49"/>
                    <a:pt x="1745" y="49"/>
                  </a:cubicBezTo>
                  <a:cubicBezTo>
                    <a:pt x="1745" y="49"/>
                    <a:pt x="1745" y="49"/>
                    <a:pt x="1745" y="49"/>
                  </a:cubicBezTo>
                  <a:cubicBezTo>
                    <a:pt x="1746" y="49"/>
                    <a:pt x="1745" y="48"/>
                    <a:pt x="1746" y="48"/>
                  </a:cubicBezTo>
                  <a:cubicBezTo>
                    <a:pt x="1746" y="48"/>
                    <a:pt x="1746" y="48"/>
                    <a:pt x="1746" y="48"/>
                  </a:cubicBezTo>
                  <a:cubicBezTo>
                    <a:pt x="1746" y="48"/>
                    <a:pt x="1746" y="48"/>
                    <a:pt x="1746" y="48"/>
                  </a:cubicBezTo>
                  <a:cubicBezTo>
                    <a:pt x="1746" y="48"/>
                    <a:pt x="1746" y="48"/>
                    <a:pt x="1746" y="48"/>
                  </a:cubicBezTo>
                  <a:cubicBezTo>
                    <a:pt x="1746" y="47"/>
                    <a:pt x="1746" y="47"/>
                    <a:pt x="1746" y="47"/>
                  </a:cubicBezTo>
                  <a:cubicBezTo>
                    <a:pt x="1746" y="47"/>
                    <a:pt x="1746" y="47"/>
                    <a:pt x="1746" y="47"/>
                  </a:cubicBezTo>
                  <a:cubicBezTo>
                    <a:pt x="1747" y="47"/>
                    <a:pt x="1746" y="46"/>
                    <a:pt x="1747" y="46"/>
                  </a:cubicBezTo>
                  <a:cubicBezTo>
                    <a:pt x="1747" y="46"/>
                    <a:pt x="1747" y="46"/>
                    <a:pt x="1747" y="46"/>
                  </a:cubicBezTo>
                  <a:cubicBezTo>
                    <a:pt x="1747" y="46"/>
                    <a:pt x="1747" y="46"/>
                    <a:pt x="1747" y="45"/>
                  </a:cubicBezTo>
                  <a:cubicBezTo>
                    <a:pt x="1747" y="45"/>
                    <a:pt x="1747" y="45"/>
                    <a:pt x="1747" y="45"/>
                  </a:cubicBezTo>
                  <a:cubicBezTo>
                    <a:pt x="1747" y="45"/>
                    <a:pt x="1747" y="45"/>
                    <a:pt x="1747" y="45"/>
                  </a:cubicBezTo>
                  <a:cubicBezTo>
                    <a:pt x="1747" y="45"/>
                    <a:pt x="1747" y="44"/>
                    <a:pt x="1747" y="44"/>
                  </a:cubicBezTo>
                  <a:cubicBezTo>
                    <a:pt x="1748" y="44"/>
                    <a:pt x="1748" y="44"/>
                    <a:pt x="1748" y="44"/>
                  </a:cubicBezTo>
                  <a:cubicBezTo>
                    <a:pt x="1748" y="44"/>
                    <a:pt x="1748" y="44"/>
                    <a:pt x="1748" y="44"/>
                  </a:cubicBezTo>
                  <a:cubicBezTo>
                    <a:pt x="1748" y="43"/>
                    <a:pt x="1748" y="43"/>
                    <a:pt x="1748" y="43"/>
                  </a:cubicBezTo>
                  <a:cubicBezTo>
                    <a:pt x="1748" y="43"/>
                    <a:pt x="1748" y="43"/>
                    <a:pt x="1748" y="43"/>
                  </a:cubicBezTo>
                  <a:cubicBezTo>
                    <a:pt x="1748" y="42"/>
                    <a:pt x="1748" y="42"/>
                    <a:pt x="1748" y="42"/>
                  </a:cubicBezTo>
                  <a:cubicBezTo>
                    <a:pt x="1748" y="42"/>
                    <a:pt x="1748" y="42"/>
                    <a:pt x="1748" y="42"/>
                  </a:cubicBezTo>
                  <a:cubicBezTo>
                    <a:pt x="1749" y="41"/>
                    <a:pt x="1749" y="41"/>
                    <a:pt x="1749" y="40"/>
                  </a:cubicBezTo>
                  <a:cubicBezTo>
                    <a:pt x="1749" y="40"/>
                    <a:pt x="1749" y="40"/>
                    <a:pt x="1749" y="40"/>
                  </a:cubicBezTo>
                  <a:cubicBezTo>
                    <a:pt x="1749" y="40"/>
                    <a:pt x="1749" y="40"/>
                    <a:pt x="1749" y="40"/>
                  </a:cubicBezTo>
                  <a:cubicBezTo>
                    <a:pt x="1749" y="40"/>
                    <a:pt x="1749" y="39"/>
                    <a:pt x="1749" y="39"/>
                  </a:cubicBezTo>
                  <a:cubicBezTo>
                    <a:pt x="1749" y="39"/>
                    <a:pt x="1749" y="39"/>
                    <a:pt x="1749" y="39"/>
                  </a:cubicBezTo>
                  <a:cubicBezTo>
                    <a:pt x="1749" y="38"/>
                    <a:pt x="1749" y="37"/>
                    <a:pt x="1749" y="37"/>
                  </a:cubicBezTo>
                  <a:close/>
                  <a:moveTo>
                    <a:pt x="1386" y="37"/>
                  </a:moveTo>
                  <a:cubicBezTo>
                    <a:pt x="1386" y="37"/>
                    <a:pt x="1386" y="38"/>
                    <a:pt x="1386" y="38"/>
                  </a:cubicBezTo>
                  <a:cubicBezTo>
                    <a:pt x="1385" y="38"/>
                    <a:pt x="1386" y="39"/>
                    <a:pt x="1385" y="39"/>
                  </a:cubicBezTo>
                  <a:cubicBezTo>
                    <a:pt x="1385" y="39"/>
                    <a:pt x="1385" y="39"/>
                    <a:pt x="1385" y="39"/>
                  </a:cubicBezTo>
                  <a:cubicBezTo>
                    <a:pt x="1385" y="40"/>
                    <a:pt x="1385" y="40"/>
                    <a:pt x="1385" y="40"/>
                  </a:cubicBezTo>
                  <a:cubicBezTo>
                    <a:pt x="1385" y="40"/>
                    <a:pt x="1385" y="40"/>
                    <a:pt x="1385" y="40"/>
                  </a:cubicBezTo>
                  <a:cubicBezTo>
                    <a:pt x="1385" y="41"/>
                    <a:pt x="1385" y="41"/>
                    <a:pt x="1385" y="41"/>
                  </a:cubicBezTo>
                  <a:cubicBezTo>
                    <a:pt x="1385" y="41"/>
                    <a:pt x="1385" y="41"/>
                    <a:pt x="1385" y="41"/>
                  </a:cubicBezTo>
                  <a:cubicBezTo>
                    <a:pt x="1384" y="42"/>
                    <a:pt x="1385" y="42"/>
                    <a:pt x="1384" y="42"/>
                  </a:cubicBezTo>
                  <a:cubicBezTo>
                    <a:pt x="1384" y="42"/>
                    <a:pt x="1384" y="42"/>
                    <a:pt x="1384" y="42"/>
                  </a:cubicBezTo>
                  <a:cubicBezTo>
                    <a:pt x="1384" y="43"/>
                    <a:pt x="1384" y="43"/>
                    <a:pt x="1384" y="43"/>
                  </a:cubicBezTo>
                  <a:cubicBezTo>
                    <a:pt x="1384" y="43"/>
                    <a:pt x="1384" y="43"/>
                    <a:pt x="1384" y="43"/>
                  </a:cubicBezTo>
                  <a:cubicBezTo>
                    <a:pt x="1384" y="43"/>
                    <a:pt x="1384" y="44"/>
                    <a:pt x="1384" y="44"/>
                  </a:cubicBezTo>
                  <a:cubicBezTo>
                    <a:pt x="1384" y="44"/>
                    <a:pt x="1384" y="44"/>
                    <a:pt x="1384" y="44"/>
                  </a:cubicBezTo>
                  <a:cubicBezTo>
                    <a:pt x="1383" y="44"/>
                    <a:pt x="1383" y="44"/>
                    <a:pt x="1383" y="44"/>
                  </a:cubicBezTo>
                  <a:cubicBezTo>
                    <a:pt x="1383" y="44"/>
                    <a:pt x="1383" y="44"/>
                    <a:pt x="1383" y="44"/>
                  </a:cubicBezTo>
                  <a:cubicBezTo>
                    <a:pt x="1383" y="45"/>
                    <a:pt x="1383" y="45"/>
                    <a:pt x="1383" y="45"/>
                  </a:cubicBezTo>
                  <a:cubicBezTo>
                    <a:pt x="1383" y="45"/>
                    <a:pt x="1383" y="45"/>
                    <a:pt x="1383" y="45"/>
                  </a:cubicBezTo>
                  <a:cubicBezTo>
                    <a:pt x="1383" y="45"/>
                    <a:pt x="1383" y="46"/>
                    <a:pt x="1383" y="46"/>
                  </a:cubicBezTo>
                  <a:cubicBezTo>
                    <a:pt x="1383" y="46"/>
                    <a:pt x="1383" y="46"/>
                    <a:pt x="1383" y="46"/>
                  </a:cubicBezTo>
                  <a:cubicBezTo>
                    <a:pt x="1382" y="46"/>
                    <a:pt x="1382" y="46"/>
                    <a:pt x="1382" y="46"/>
                  </a:cubicBezTo>
                  <a:cubicBezTo>
                    <a:pt x="1382" y="46"/>
                    <a:pt x="1382" y="46"/>
                    <a:pt x="1382" y="46"/>
                  </a:cubicBezTo>
                  <a:cubicBezTo>
                    <a:pt x="1382" y="46"/>
                    <a:pt x="1382" y="47"/>
                    <a:pt x="1382" y="47"/>
                  </a:cubicBezTo>
                  <a:cubicBezTo>
                    <a:pt x="1382" y="47"/>
                    <a:pt x="1382" y="47"/>
                    <a:pt x="1382" y="47"/>
                  </a:cubicBezTo>
                  <a:cubicBezTo>
                    <a:pt x="1382" y="47"/>
                    <a:pt x="1382" y="47"/>
                    <a:pt x="1382" y="47"/>
                  </a:cubicBezTo>
                  <a:cubicBezTo>
                    <a:pt x="1382" y="47"/>
                    <a:pt x="1382" y="47"/>
                    <a:pt x="1382" y="47"/>
                  </a:cubicBezTo>
                  <a:cubicBezTo>
                    <a:pt x="1381" y="47"/>
                    <a:pt x="1381" y="48"/>
                    <a:pt x="1381" y="48"/>
                  </a:cubicBezTo>
                  <a:cubicBezTo>
                    <a:pt x="1381" y="48"/>
                    <a:pt x="1381" y="48"/>
                    <a:pt x="1381" y="48"/>
                  </a:cubicBezTo>
                  <a:cubicBezTo>
                    <a:pt x="1381" y="48"/>
                    <a:pt x="1381" y="48"/>
                    <a:pt x="1381" y="48"/>
                  </a:cubicBezTo>
                  <a:cubicBezTo>
                    <a:pt x="1381" y="48"/>
                    <a:pt x="1381" y="48"/>
                    <a:pt x="1381" y="48"/>
                  </a:cubicBezTo>
                  <a:cubicBezTo>
                    <a:pt x="1381" y="48"/>
                    <a:pt x="1381" y="48"/>
                    <a:pt x="1381" y="49"/>
                  </a:cubicBezTo>
                  <a:cubicBezTo>
                    <a:pt x="1381" y="49"/>
                    <a:pt x="1381" y="49"/>
                    <a:pt x="1381" y="49"/>
                  </a:cubicBezTo>
                  <a:cubicBezTo>
                    <a:pt x="1380" y="49"/>
                    <a:pt x="1380" y="49"/>
                    <a:pt x="1380" y="50"/>
                  </a:cubicBezTo>
                  <a:cubicBezTo>
                    <a:pt x="1380" y="50"/>
                    <a:pt x="1380" y="50"/>
                    <a:pt x="1380" y="50"/>
                  </a:cubicBezTo>
                  <a:cubicBezTo>
                    <a:pt x="1380" y="50"/>
                    <a:pt x="1380" y="50"/>
                    <a:pt x="1379" y="50"/>
                  </a:cubicBezTo>
                  <a:cubicBezTo>
                    <a:pt x="1379" y="50"/>
                    <a:pt x="1379" y="50"/>
                    <a:pt x="1379" y="50"/>
                  </a:cubicBezTo>
                  <a:cubicBezTo>
                    <a:pt x="1379" y="50"/>
                    <a:pt x="1379" y="50"/>
                    <a:pt x="1379" y="50"/>
                  </a:cubicBezTo>
                  <a:cubicBezTo>
                    <a:pt x="1379" y="50"/>
                    <a:pt x="1379" y="50"/>
                    <a:pt x="1379" y="50"/>
                  </a:cubicBezTo>
                  <a:cubicBezTo>
                    <a:pt x="1379" y="50"/>
                    <a:pt x="1379" y="51"/>
                    <a:pt x="1379" y="51"/>
                  </a:cubicBezTo>
                  <a:cubicBezTo>
                    <a:pt x="1379" y="51"/>
                    <a:pt x="1379" y="51"/>
                    <a:pt x="1379" y="51"/>
                  </a:cubicBezTo>
                  <a:cubicBezTo>
                    <a:pt x="1379" y="51"/>
                    <a:pt x="1379" y="51"/>
                    <a:pt x="1378" y="51"/>
                  </a:cubicBezTo>
                  <a:cubicBezTo>
                    <a:pt x="1379" y="51"/>
                    <a:pt x="1379" y="51"/>
                    <a:pt x="1379" y="51"/>
                  </a:cubicBezTo>
                  <a:cubicBezTo>
                    <a:pt x="1378" y="51"/>
                    <a:pt x="1378" y="51"/>
                    <a:pt x="1378" y="51"/>
                  </a:cubicBezTo>
                  <a:cubicBezTo>
                    <a:pt x="1378" y="51"/>
                    <a:pt x="1378" y="51"/>
                    <a:pt x="1378" y="51"/>
                  </a:cubicBezTo>
                  <a:cubicBezTo>
                    <a:pt x="1378" y="51"/>
                    <a:pt x="1378" y="52"/>
                    <a:pt x="1378" y="52"/>
                  </a:cubicBezTo>
                  <a:cubicBezTo>
                    <a:pt x="1378" y="52"/>
                    <a:pt x="1378" y="52"/>
                    <a:pt x="1378" y="52"/>
                  </a:cubicBezTo>
                  <a:cubicBezTo>
                    <a:pt x="1378" y="52"/>
                    <a:pt x="1377" y="52"/>
                    <a:pt x="1377" y="52"/>
                  </a:cubicBezTo>
                  <a:cubicBezTo>
                    <a:pt x="1377" y="52"/>
                    <a:pt x="1377" y="52"/>
                    <a:pt x="1377" y="52"/>
                  </a:cubicBezTo>
                  <a:cubicBezTo>
                    <a:pt x="1377" y="52"/>
                    <a:pt x="1377" y="52"/>
                    <a:pt x="1377" y="53"/>
                  </a:cubicBezTo>
                  <a:cubicBezTo>
                    <a:pt x="1377" y="53"/>
                    <a:pt x="1377" y="53"/>
                    <a:pt x="1377" y="53"/>
                  </a:cubicBezTo>
                  <a:cubicBezTo>
                    <a:pt x="1377" y="53"/>
                    <a:pt x="1377" y="53"/>
                    <a:pt x="1377" y="53"/>
                  </a:cubicBezTo>
                  <a:cubicBezTo>
                    <a:pt x="1377" y="53"/>
                    <a:pt x="1377" y="53"/>
                    <a:pt x="1377" y="53"/>
                  </a:cubicBezTo>
                  <a:cubicBezTo>
                    <a:pt x="1377" y="53"/>
                    <a:pt x="1376" y="53"/>
                    <a:pt x="1376" y="53"/>
                  </a:cubicBezTo>
                  <a:cubicBezTo>
                    <a:pt x="1376" y="53"/>
                    <a:pt x="1376" y="53"/>
                    <a:pt x="1376" y="53"/>
                  </a:cubicBezTo>
                  <a:cubicBezTo>
                    <a:pt x="1376" y="53"/>
                    <a:pt x="1376" y="53"/>
                    <a:pt x="1376" y="54"/>
                  </a:cubicBezTo>
                  <a:cubicBezTo>
                    <a:pt x="1376" y="54"/>
                    <a:pt x="1376" y="54"/>
                    <a:pt x="1376" y="54"/>
                  </a:cubicBezTo>
                  <a:cubicBezTo>
                    <a:pt x="1376" y="54"/>
                    <a:pt x="1376" y="54"/>
                    <a:pt x="1376" y="54"/>
                  </a:cubicBezTo>
                  <a:cubicBezTo>
                    <a:pt x="1376" y="54"/>
                    <a:pt x="1376" y="54"/>
                    <a:pt x="1376" y="54"/>
                  </a:cubicBezTo>
                  <a:cubicBezTo>
                    <a:pt x="1376" y="54"/>
                    <a:pt x="1375" y="54"/>
                    <a:pt x="1375" y="54"/>
                  </a:cubicBezTo>
                  <a:cubicBezTo>
                    <a:pt x="1375" y="54"/>
                    <a:pt x="1375" y="54"/>
                    <a:pt x="1375" y="54"/>
                  </a:cubicBezTo>
                  <a:cubicBezTo>
                    <a:pt x="1375" y="54"/>
                    <a:pt x="1375" y="54"/>
                    <a:pt x="1375" y="55"/>
                  </a:cubicBezTo>
                  <a:cubicBezTo>
                    <a:pt x="1375" y="55"/>
                    <a:pt x="1375" y="55"/>
                    <a:pt x="1375" y="55"/>
                  </a:cubicBezTo>
                  <a:cubicBezTo>
                    <a:pt x="1375" y="55"/>
                    <a:pt x="1375" y="55"/>
                    <a:pt x="1375" y="55"/>
                  </a:cubicBezTo>
                  <a:cubicBezTo>
                    <a:pt x="1375" y="55"/>
                    <a:pt x="1375" y="55"/>
                    <a:pt x="1375" y="55"/>
                  </a:cubicBezTo>
                  <a:cubicBezTo>
                    <a:pt x="1374" y="55"/>
                    <a:pt x="1374" y="56"/>
                    <a:pt x="1373" y="56"/>
                  </a:cubicBezTo>
                  <a:cubicBezTo>
                    <a:pt x="1373" y="56"/>
                    <a:pt x="1373" y="56"/>
                    <a:pt x="1373" y="56"/>
                  </a:cubicBezTo>
                  <a:cubicBezTo>
                    <a:pt x="1373" y="56"/>
                    <a:pt x="1373" y="56"/>
                    <a:pt x="1373" y="56"/>
                  </a:cubicBezTo>
                  <a:cubicBezTo>
                    <a:pt x="1373" y="56"/>
                    <a:pt x="1373" y="56"/>
                    <a:pt x="1373" y="56"/>
                  </a:cubicBezTo>
                  <a:cubicBezTo>
                    <a:pt x="1373" y="56"/>
                    <a:pt x="1373" y="56"/>
                    <a:pt x="1373" y="57"/>
                  </a:cubicBezTo>
                  <a:cubicBezTo>
                    <a:pt x="1373" y="57"/>
                    <a:pt x="1373" y="57"/>
                    <a:pt x="1373" y="57"/>
                  </a:cubicBezTo>
                  <a:cubicBezTo>
                    <a:pt x="1372" y="57"/>
                    <a:pt x="1372" y="57"/>
                    <a:pt x="1372" y="57"/>
                  </a:cubicBezTo>
                  <a:cubicBezTo>
                    <a:pt x="1372" y="57"/>
                    <a:pt x="1372" y="57"/>
                    <a:pt x="1372" y="57"/>
                  </a:cubicBezTo>
                  <a:cubicBezTo>
                    <a:pt x="1371" y="57"/>
                    <a:pt x="1371" y="58"/>
                    <a:pt x="1371" y="58"/>
                  </a:cubicBezTo>
                  <a:cubicBezTo>
                    <a:pt x="1371" y="58"/>
                    <a:pt x="1371" y="58"/>
                    <a:pt x="1371" y="58"/>
                  </a:cubicBezTo>
                  <a:cubicBezTo>
                    <a:pt x="1371" y="58"/>
                    <a:pt x="1371" y="58"/>
                    <a:pt x="1371" y="58"/>
                  </a:cubicBezTo>
                  <a:cubicBezTo>
                    <a:pt x="1371" y="58"/>
                    <a:pt x="1371" y="58"/>
                    <a:pt x="1371" y="58"/>
                  </a:cubicBezTo>
                  <a:cubicBezTo>
                    <a:pt x="1371" y="58"/>
                    <a:pt x="1370" y="58"/>
                    <a:pt x="1370" y="58"/>
                  </a:cubicBezTo>
                  <a:cubicBezTo>
                    <a:pt x="1370" y="58"/>
                    <a:pt x="1370" y="58"/>
                    <a:pt x="1370" y="58"/>
                  </a:cubicBezTo>
                  <a:cubicBezTo>
                    <a:pt x="1370" y="58"/>
                    <a:pt x="1370" y="59"/>
                    <a:pt x="1370" y="59"/>
                  </a:cubicBezTo>
                  <a:cubicBezTo>
                    <a:pt x="1370" y="59"/>
                    <a:pt x="1370" y="59"/>
                    <a:pt x="1370" y="59"/>
                  </a:cubicBezTo>
                  <a:cubicBezTo>
                    <a:pt x="1370" y="59"/>
                    <a:pt x="1369" y="59"/>
                    <a:pt x="1369" y="59"/>
                  </a:cubicBezTo>
                  <a:cubicBezTo>
                    <a:pt x="1369" y="59"/>
                    <a:pt x="1369" y="59"/>
                    <a:pt x="1369" y="59"/>
                  </a:cubicBezTo>
                  <a:cubicBezTo>
                    <a:pt x="1369" y="59"/>
                    <a:pt x="1369" y="59"/>
                    <a:pt x="1369" y="59"/>
                  </a:cubicBezTo>
                  <a:cubicBezTo>
                    <a:pt x="1369" y="59"/>
                    <a:pt x="1369" y="59"/>
                    <a:pt x="1369" y="59"/>
                  </a:cubicBezTo>
                  <a:cubicBezTo>
                    <a:pt x="1369" y="59"/>
                    <a:pt x="1368" y="60"/>
                    <a:pt x="1368" y="60"/>
                  </a:cubicBezTo>
                  <a:cubicBezTo>
                    <a:pt x="1368" y="60"/>
                    <a:pt x="1368" y="60"/>
                    <a:pt x="1368" y="60"/>
                  </a:cubicBezTo>
                  <a:cubicBezTo>
                    <a:pt x="1368" y="60"/>
                    <a:pt x="1368" y="60"/>
                    <a:pt x="1368" y="60"/>
                  </a:cubicBezTo>
                  <a:cubicBezTo>
                    <a:pt x="1368" y="60"/>
                    <a:pt x="1368" y="60"/>
                    <a:pt x="1368" y="60"/>
                  </a:cubicBezTo>
                  <a:cubicBezTo>
                    <a:pt x="1368" y="60"/>
                    <a:pt x="1367" y="60"/>
                    <a:pt x="1367" y="61"/>
                  </a:cubicBezTo>
                  <a:cubicBezTo>
                    <a:pt x="1367" y="60"/>
                    <a:pt x="1367" y="60"/>
                    <a:pt x="1367" y="60"/>
                  </a:cubicBezTo>
                  <a:cubicBezTo>
                    <a:pt x="1367" y="61"/>
                    <a:pt x="1367" y="61"/>
                    <a:pt x="1367" y="61"/>
                  </a:cubicBezTo>
                  <a:cubicBezTo>
                    <a:pt x="1367" y="61"/>
                    <a:pt x="1367" y="61"/>
                    <a:pt x="1367" y="61"/>
                  </a:cubicBezTo>
                  <a:cubicBezTo>
                    <a:pt x="1367" y="61"/>
                    <a:pt x="1366" y="61"/>
                    <a:pt x="1366" y="62"/>
                  </a:cubicBezTo>
                  <a:cubicBezTo>
                    <a:pt x="1366" y="62"/>
                    <a:pt x="1366" y="62"/>
                    <a:pt x="1366" y="62"/>
                  </a:cubicBezTo>
                  <a:cubicBezTo>
                    <a:pt x="1366" y="62"/>
                    <a:pt x="1366" y="62"/>
                    <a:pt x="1366" y="62"/>
                  </a:cubicBezTo>
                  <a:cubicBezTo>
                    <a:pt x="1366" y="62"/>
                    <a:pt x="1366" y="62"/>
                    <a:pt x="1366" y="62"/>
                  </a:cubicBezTo>
                  <a:cubicBezTo>
                    <a:pt x="1365" y="62"/>
                    <a:pt x="1365" y="62"/>
                    <a:pt x="1365" y="63"/>
                  </a:cubicBezTo>
                  <a:cubicBezTo>
                    <a:pt x="1365" y="63"/>
                    <a:pt x="1365" y="63"/>
                    <a:pt x="1365" y="63"/>
                  </a:cubicBezTo>
                  <a:cubicBezTo>
                    <a:pt x="1364" y="63"/>
                    <a:pt x="1364" y="63"/>
                    <a:pt x="1364" y="63"/>
                  </a:cubicBezTo>
                  <a:cubicBezTo>
                    <a:pt x="1364" y="63"/>
                    <a:pt x="1364" y="63"/>
                    <a:pt x="1364" y="63"/>
                  </a:cubicBezTo>
                  <a:cubicBezTo>
                    <a:pt x="1364" y="63"/>
                    <a:pt x="1363" y="63"/>
                    <a:pt x="1363" y="64"/>
                  </a:cubicBezTo>
                  <a:cubicBezTo>
                    <a:pt x="1363" y="64"/>
                    <a:pt x="1363" y="64"/>
                    <a:pt x="1363" y="64"/>
                  </a:cubicBezTo>
                  <a:cubicBezTo>
                    <a:pt x="1363" y="64"/>
                    <a:pt x="1363" y="64"/>
                    <a:pt x="1363" y="64"/>
                  </a:cubicBezTo>
                  <a:cubicBezTo>
                    <a:pt x="1363" y="64"/>
                    <a:pt x="1363" y="64"/>
                    <a:pt x="1363" y="64"/>
                  </a:cubicBezTo>
                  <a:cubicBezTo>
                    <a:pt x="1363" y="64"/>
                    <a:pt x="1363" y="64"/>
                    <a:pt x="1362" y="64"/>
                  </a:cubicBezTo>
                  <a:cubicBezTo>
                    <a:pt x="1362" y="64"/>
                    <a:pt x="1362" y="64"/>
                    <a:pt x="1362" y="64"/>
                  </a:cubicBezTo>
                  <a:cubicBezTo>
                    <a:pt x="1362" y="64"/>
                    <a:pt x="1362" y="64"/>
                    <a:pt x="1362" y="65"/>
                  </a:cubicBezTo>
                  <a:cubicBezTo>
                    <a:pt x="1362" y="65"/>
                    <a:pt x="1362" y="65"/>
                    <a:pt x="1362" y="65"/>
                  </a:cubicBezTo>
                  <a:cubicBezTo>
                    <a:pt x="1362" y="65"/>
                    <a:pt x="1361" y="65"/>
                    <a:pt x="1361" y="65"/>
                  </a:cubicBezTo>
                  <a:cubicBezTo>
                    <a:pt x="1361" y="65"/>
                    <a:pt x="1361" y="65"/>
                    <a:pt x="1361" y="65"/>
                  </a:cubicBezTo>
                  <a:cubicBezTo>
                    <a:pt x="1361" y="65"/>
                    <a:pt x="1361" y="65"/>
                    <a:pt x="1361" y="65"/>
                  </a:cubicBezTo>
                  <a:cubicBezTo>
                    <a:pt x="1361" y="65"/>
                    <a:pt x="1361" y="65"/>
                    <a:pt x="1361" y="65"/>
                  </a:cubicBezTo>
                  <a:cubicBezTo>
                    <a:pt x="1361" y="66"/>
                    <a:pt x="1360" y="66"/>
                    <a:pt x="1360" y="66"/>
                  </a:cubicBezTo>
                  <a:cubicBezTo>
                    <a:pt x="1360" y="66"/>
                    <a:pt x="1360" y="66"/>
                    <a:pt x="1360" y="66"/>
                  </a:cubicBezTo>
                  <a:cubicBezTo>
                    <a:pt x="1360" y="66"/>
                    <a:pt x="1360" y="66"/>
                    <a:pt x="1360" y="66"/>
                  </a:cubicBezTo>
                  <a:cubicBezTo>
                    <a:pt x="1360" y="66"/>
                    <a:pt x="1360" y="66"/>
                    <a:pt x="1360" y="66"/>
                  </a:cubicBezTo>
                  <a:cubicBezTo>
                    <a:pt x="1360" y="66"/>
                    <a:pt x="1359" y="67"/>
                    <a:pt x="1359" y="67"/>
                  </a:cubicBezTo>
                  <a:cubicBezTo>
                    <a:pt x="1359" y="67"/>
                    <a:pt x="1359" y="67"/>
                    <a:pt x="1359" y="67"/>
                  </a:cubicBezTo>
                  <a:cubicBezTo>
                    <a:pt x="1359" y="67"/>
                    <a:pt x="1358" y="67"/>
                    <a:pt x="1358" y="68"/>
                  </a:cubicBezTo>
                  <a:cubicBezTo>
                    <a:pt x="1358" y="67"/>
                    <a:pt x="1358" y="67"/>
                    <a:pt x="1358" y="67"/>
                  </a:cubicBezTo>
                  <a:cubicBezTo>
                    <a:pt x="1358" y="67"/>
                    <a:pt x="1358" y="68"/>
                    <a:pt x="1358" y="68"/>
                  </a:cubicBezTo>
                  <a:cubicBezTo>
                    <a:pt x="1358" y="68"/>
                    <a:pt x="1358" y="68"/>
                    <a:pt x="1358" y="68"/>
                  </a:cubicBezTo>
                  <a:cubicBezTo>
                    <a:pt x="1358" y="68"/>
                    <a:pt x="1358" y="68"/>
                    <a:pt x="1358" y="68"/>
                  </a:cubicBezTo>
                  <a:cubicBezTo>
                    <a:pt x="1358" y="68"/>
                    <a:pt x="1358" y="68"/>
                    <a:pt x="1358" y="68"/>
                  </a:cubicBezTo>
                  <a:cubicBezTo>
                    <a:pt x="1357" y="68"/>
                    <a:pt x="1357" y="68"/>
                    <a:pt x="1357" y="68"/>
                  </a:cubicBezTo>
                  <a:cubicBezTo>
                    <a:pt x="1357" y="68"/>
                    <a:pt x="1357" y="68"/>
                    <a:pt x="1357" y="68"/>
                  </a:cubicBezTo>
                  <a:cubicBezTo>
                    <a:pt x="1357" y="69"/>
                    <a:pt x="1356" y="69"/>
                    <a:pt x="1356" y="69"/>
                  </a:cubicBezTo>
                  <a:cubicBezTo>
                    <a:pt x="1356" y="69"/>
                    <a:pt x="1356" y="69"/>
                    <a:pt x="1356" y="69"/>
                  </a:cubicBezTo>
                  <a:cubicBezTo>
                    <a:pt x="1356" y="69"/>
                    <a:pt x="1356" y="69"/>
                    <a:pt x="1356" y="70"/>
                  </a:cubicBezTo>
                  <a:cubicBezTo>
                    <a:pt x="1356" y="70"/>
                    <a:pt x="1356" y="70"/>
                    <a:pt x="1356" y="70"/>
                  </a:cubicBezTo>
                  <a:cubicBezTo>
                    <a:pt x="1356" y="70"/>
                    <a:pt x="1356" y="70"/>
                    <a:pt x="1355" y="70"/>
                  </a:cubicBezTo>
                  <a:cubicBezTo>
                    <a:pt x="1355" y="70"/>
                    <a:pt x="1355" y="70"/>
                    <a:pt x="1355" y="70"/>
                  </a:cubicBezTo>
                  <a:cubicBezTo>
                    <a:pt x="1355" y="70"/>
                    <a:pt x="1355" y="70"/>
                    <a:pt x="1355" y="70"/>
                  </a:cubicBezTo>
                  <a:cubicBezTo>
                    <a:pt x="1355" y="70"/>
                    <a:pt x="1355" y="70"/>
                    <a:pt x="1355" y="70"/>
                  </a:cubicBezTo>
                  <a:cubicBezTo>
                    <a:pt x="1355" y="70"/>
                    <a:pt x="1355" y="70"/>
                    <a:pt x="1355" y="71"/>
                  </a:cubicBezTo>
                  <a:cubicBezTo>
                    <a:pt x="1355" y="71"/>
                    <a:pt x="1355" y="71"/>
                    <a:pt x="1355" y="71"/>
                  </a:cubicBezTo>
                  <a:cubicBezTo>
                    <a:pt x="1355" y="71"/>
                    <a:pt x="1355" y="71"/>
                    <a:pt x="1354" y="71"/>
                  </a:cubicBezTo>
                  <a:cubicBezTo>
                    <a:pt x="1354" y="71"/>
                    <a:pt x="1354" y="71"/>
                    <a:pt x="1354" y="71"/>
                  </a:cubicBezTo>
                  <a:cubicBezTo>
                    <a:pt x="1353" y="72"/>
                    <a:pt x="1352" y="73"/>
                    <a:pt x="1351" y="74"/>
                  </a:cubicBezTo>
                  <a:cubicBezTo>
                    <a:pt x="1351" y="74"/>
                    <a:pt x="1351" y="74"/>
                    <a:pt x="1351" y="74"/>
                  </a:cubicBezTo>
                  <a:cubicBezTo>
                    <a:pt x="1351" y="74"/>
                    <a:pt x="1351" y="75"/>
                    <a:pt x="1351" y="75"/>
                  </a:cubicBezTo>
                  <a:cubicBezTo>
                    <a:pt x="1351" y="75"/>
                    <a:pt x="1351" y="75"/>
                    <a:pt x="1351" y="75"/>
                  </a:cubicBezTo>
                  <a:cubicBezTo>
                    <a:pt x="1350" y="75"/>
                    <a:pt x="1350" y="75"/>
                    <a:pt x="1350" y="75"/>
                  </a:cubicBezTo>
                  <a:cubicBezTo>
                    <a:pt x="1350" y="75"/>
                    <a:pt x="1350" y="75"/>
                    <a:pt x="1350" y="75"/>
                  </a:cubicBezTo>
                  <a:cubicBezTo>
                    <a:pt x="1350" y="75"/>
                    <a:pt x="1350" y="75"/>
                    <a:pt x="1350" y="75"/>
                  </a:cubicBezTo>
                  <a:cubicBezTo>
                    <a:pt x="1350" y="75"/>
                    <a:pt x="1350" y="75"/>
                    <a:pt x="1350" y="75"/>
                  </a:cubicBezTo>
                  <a:cubicBezTo>
                    <a:pt x="1350" y="76"/>
                    <a:pt x="1350" y="76"/>
                    <a:pt x="1350" y="76"/>
                  </a:cubicBezTo>
                  <a:cubicBezTo>
                    <a:pt x="1350" y="76"/>
                    <a:pt x="1350" y="76"/>
                    <a:pt x="1350" y="76"/>
                  </a:cubicBezTo>
                  <a:cubicBezTo>
                    <a:pt x="1349" y="76"/>
                    <a:pt x="1349" y="76"/>
                    <a:pt x="1349" y="76"/>
                  </a:cubicBezTo>
                  <a:cubicBezTo>
                    <a:pt x="1349" y="76"/>
                    <a:pt x="1349" y="76"/>
                    <a:pt x="1349" y="76"/>
                  </a:cubicBezTo>
                  <a:cubicBezTo>
                    <a:pt x="1349" y="77"/>
                    <a:pt x="1349" y="77"/>
                    <a:pt x="1349" y="77"/>
                  </a:cubicBezTo>
                  <a:cubicBezTo>
                    <a:pt x="1349" y="77"/>
                    <a:pt x="1349" y="77"/>
                    <a:pt x="1349" y="77"/>
                  </a:cubicBezTo>
                  <a:cubicBezTo>
                    <a:pt x="1349" y="77"/>
                    <a:pt x="1349" y="77"/>
                    <a:pt x="1349" y="77"/>
                  </a:cubicBezTo>
                  <a:cubicBezTo>
                    <a:pt x="1349" y="77"/>
                    <a:pt x="1349" y="77"/>
                    <a:pt x="1349" y="77"/>
                  </a:cubicBezTo>
                  <a:cubicBezTo>
                    <a:pt x="1348" y="77"/>
                    <a:pt x="1348" y="78"/>
                    <a:pt x="1348" y="78"/>
                  </a:cubicBezTo>
                  <a:cubicBezTo>
                    <a:pt x="1348" y="78"/>
                    <a:pt x="1348" y="78"/>
                    <a:pt x="1348" y="78"/>
                  </a:cubicBezTo>
                  <a:cubicBezTo>
                    <a:pt x="1348" y="78"/>
                    <a:pt x="1348" y="78"/>
                    <a:pt x="1348" y="78"/>
                  </a:cubicBezTo>
                  <a:cubicBezTo>
                    <a:pt x="1348" y="78"/>
                    <a:pt x="1348" y="78"/>
                    <a:pt x="1348" y="78"/>
                  </a:cubicBezTo>
                  <a:cubicBezTo>
                    <a:pt x="1348" y="78"/>
                    <a:pt x="1348" y="79"/>
                    <a:pt x="1347" y="79"/>
                  </a:cubicBezTo>
                  <a:cubicBezTo>
                    <a:pt x="1347" y="79"/>
                    <a:pt x="1347" y="79"/>
                    <a:pt x="1347" y="79"/>
                  </a:cubicBezTo>
                  <a:cubicBezTo>
                    <a:pt x="1347" y="79"/>
                    <a:pt x="1347" y="79"/>
                    <a:pt x="1347" y="79"/>
                  </a:cubicBezTo>
                  <a:cubicBezTo>
                    <a:pt x="1347" y="79"/>
                    <a:pt x="1347" y="79"/>
                    <a:pt x="1347" y="79"/>
                  </a:cubicBezTo>
                  <a:cubicBezTo>
                    <a:pt x="1347" y="79"/>
                    <a:pt x="1347" y="80"/>
                    <a:pt x="1347" y="80"/>
                  </a:cubicBezTo>
                  <a:cubicBezTo>
                    <a:pt x="1347" y="80"/>
                    <a:pt x="1347" y="80"/>
                    <a:pt x="1347" y="80"/>
                  </a:cubicBezTo>
                  <a:cubicBezTo>
                    <a:pt x="1347" y="80"/>
                    <a:pt x="1347" y="80"/>
                    <a:pt x="1346" y="81"/>
                  </a:cubicBezTo>
                  <a:cubicBezTo>
                    <a:pt x="1346" y="81"/>
                    <a:pt x="1346" y="81"/>
                    <a:pt x="1346" y="81"/>
                  </a:cubicBezTo>
                  <a:cubicBezTo>
                    <a:pt x="1346" y="81"/>
                    <a:pt x="1346" y="81"/>
                    <a:pt x="1346" y="81"/>
                  </a:cubicBezTo>
                  <a:cubicBezTo>
                    <a:pt x="1346" y="81"/>
                    <a:pt x="1346" y="81"/>
                    <a:pt x="1346" y="81"/>
                  </a:cubicBezTo>
                  <a:cubicBezTo>
                    <a:pt x="1346" y="81"/>
                    <a:pt x="1346" y="82"/>
                    <a:pt x="1346" y="82"/>
                  </a:cubicBezTo>
                  <a:cubicBezTo>
                    <a:pt x="1346" y="82"/>
                    <a:pt x="1346" y="82"/>
                    <a:pt x="1346" y="82"/>
                  </a:cubicBezTo>
                  <a:cubicBezTo>
                    <a:pt x="1346" y="82"/>
                    <a:pt x="1346" y="82"/>
                    <a:pt x="1346" y="82"/>
                  </a:cubicBezTo>
                  <a:cubicBezTo>
                    <a:pt x="1345" y="82"/>
                    <a:pt x="1346" y="83"/>
                    <a:pt x="1345" y="83"/>
                  </a:cubicBezTo>
                  <a:cubicBezTo>
                    <a:pt x="1345" y="83"/>
                    <a:pt x="1345" y="83"/>
                    <a:pt x="1345" y="83"/>
                  </a:cubicBezTo>
                  <a:cubicBezTo>
                    <a:pt x="1345" y="83"/>
                    <a:pt x="1345" y="83"/>
                    <a:pt x="1345" y="83"/>
                  </a:cubicBezTo>
                  <a:cubicBezTo>
                    <a:pt x="1345" y="83"/>
                    <a:pt x="1345" y="83"/>
                    <a:pt x="1345" y="83"/>
                  </a:cubicBezTo>
                  <a:cubicBezTo>
                    <a:pt x="1345" y="84"/>
                    <a:pt x="1345" y="84"/>
                    <a:pt x="1345" y="84"/>
                  </a:cubicBezTo>
                  <a:cubicBezTo>
                    <a:pt x="1345" y="84"/>
                    <a:pt x="1345" y="84"/>
                    <a:pt x="1345" y="84"/>
                  </a:cubicBezTo>
                  <a:cubicBezTo>
                    <a:pt x="1345" y="84"/>
                    <a:pt x="1345" y="84"/>
                    <a:pt x="1345" y="84"/>
                  </a:cubicBezTo>
                  <a:cubicBezTo>
                    <a:pt x="1344" y="85"/>
                    <a:pt x="1344" y="85"/>
                    <a:pt x="1344" y="85"/>
                  </a:cubicBezTo>
                  <a:cubicBezTo>
                    <a:pt x="1344" y="85"/>
                    <a:pt x="1344" y="85"/>
                    <a:pt x="1344" y="86"/>
                  </a:cubicBezTo>
                  <a:cubicBezTo>
                    <a:pt x="1344" y="86"/>
                    <a:pt x="1344" y="86"/>
                    <a:pt x="1344" y="87"/>
                  </a:cubicBezTo>
                  <a:cubicBezTo>
                    <a:pt x="1344" y="87"/>
                    <a:pt x="1344" y="87"/>
                    <a:pt x="1344" y="87"/>
                  </a:cubicBezTo>
                  <a:cubicBezTo>
                    <a:pt x="1344" y="87"/>
                    <a:pt x="1344" y="88"/>
                    <a:pt x="1344" y="88"/>
                  </a:cubicBezTo>
                  <a:cubicBezTo>
                    <a:pt x="1344" y="88"/>
                    <a:pt x="1344" y="88"/>
                    <a:pt x="1344" y="88"/>
                  </a:cubicBezTo>
                  <a:cubicBezTo>
                    <a:pt x="1343" y="89"/>
                    <a:pt x="1344" y="89"/>
                    <a:pt x="1343" y="90"/>
                  </a:cubicBezTo>
                  <a:cubicBezTo>
                    <a:pt x="1343" y="90"/>
                    <a:pt x="1343" y="90"/>
                    <a:pt x="1343" y="90"/>
                  </a:cubicBezTo>
                  <a:cubicBezTo>
                    <a:pt x="1343" y="91"/>
                    <a:pt x="1343" y="92"/>
                    <a:pt x="1343" y="92"/>
                  </a:cubicBezTo>
                  <a:cubicBezTo>
                    <a:pt x="1343" y="93"/>
                    <a:pt x="1343" y="93"/>
                    <a:pt x="1343" y="94"/>
                  </a:cubicBezTo>
                  <a:cubicBezTo>
                    <a:pt x="1343" y="96"/>
                    <a:pt x="1343" y="98"/>
                    <a:pt x="1343" y="100"/>
                  </a:cubicBezTo>
                  <a:cubicBezTo>
                    <a:pt x="1343" y="101"/>
                    <a:pt x="1343" y="102"/>
                    <a:pt x="1345" y="102"/>
                  </a:cubicBezTo>
                  <a:cubicBezTo>
                    <a:pt x="1363" y="102"/>
                    <a:pt x="1381" y="102"/>
                    <a:pt x="1399" y="102"/>
                  </a:cubicBezTo>
                  <a:cubicBezTo>
                    <a:pt x="1400" y="102"/>
                    <a:pt x="1401" y="102"/>
                    <a:pt x="1401" y="101"/>
                  </a:cubicBezTo>
                  <a:cubicBezTo>
                    <a:pt x="1401" y="98"/>
                    <a:pt x="1401" y="95"/>
                    <a:pt x="1401" y="92"/>
                  </a:cubicBezTo>
                  <a:cubicBezTo>
                    <a:pt x="1400" y="91"/>
                    <a:pt x="1400" y="92"/>
                    <a:pt x="1399" y="92"/>
                  </a:cubicBezTo>
                  <a:cubicBezTo>
                    <a:pt x="1385" y="92"/>
                    <a:pt x="1371" y="92"/>
                    <a:pt x="1356" y="92"/>
                  </a:cubicBezTo>
                  <a:cubicBezTo>
                    <a:pt x="1354" y="92"/>
                    <a:pt x="1354" y="92"/>
                    <a:pt x="1354" y="89"/>
                  </a:cubicBezTo>
                  <a:cubicBezTo>
                    <a:pt x="1354" y="89"/>
                    <a:pt x="1354" y="89"/>
                    <a:pt x="1354" y="89"/>
                  </a:cubicBezTo>
                  <a:cubicBezTo>
                    <a:pt x="1355" y="88"/>
                    <a:pt x="1354" y="88"/>
                    <a:pt x="1355" y="87"/>
                  </a:cubicBezTo>
                  <a:cubicBezTo>
                    <a:pt x="1355" y="87"/>
                    <a:pt x="1355" y="87"/>
                    <a:pt x="1355" y="87"/>
                  </a:cubicBezTo>
                  <a:cubicBezTo>
                    <a:pt x="1355" y="87"/>
                    <a:pt x="1355" y="87"/>
                    <a:pt x="1355" y="87"/>
                  </a:cubicBezTo>
                  <a:cubicBezTo>
                    <a:pt x="1355" y="87"/>
                    <a:pt x="1355" y="86"/>
                    <a:pt x="1355" y="86"/>
                  </a:cubicBezTo>
                  <a:cubicBezTo>
                    <a:pt x="1355" y="86"/>
                    <a:pt x="1355" y="86"/>
                    <a:pt x="1355" y="85"/>
                  </a:cubicBezTo>
                  <a:cubicBezTo>
                    <a:pt x="1355" y="85"/>
                    <a:pt x="1355" y="85"/>
                    <a:pt x="1355" y="85"/>
                  </a:cubicBezTo>
                  <a:cubicBezTo>
                    <a:pt x="1355" y="85"/>
                    <a:pt x="1355" y="85"/>
                    <a:pt x="1355" y="84"/>
                  </a:cubicBezTo>
                  <a:cubicBezTo>
                    <a:pt x="1356" y="84"/>
                    <a:pt x="1356" y="84"/>
                    <a:pt x="1356" y="84"/>
                  </a:cubicBezTo>
                  <a:cubicBezTo>
                    <a:pt x="1356" y="84"/>
                    <a:pt x="1356" y="84"/>
                    <a:pt x="1356" y="84"/>
                  </a:cubicBezTo>
                  <a:cubicBezTo>
                    <a:pt x="1356" y="84"/>
                    <a:pt x="1356" y="83"/>
                    <a:pt x="1356" y="83"/>
                  </a:cubicBezTo>
                  <a:cubicBezTo>
                    <a:pt x="1356" y="83"/>
                    <a:pt x="1356" y="83"/>
                    <a:pt x="1356" y="83"/>
                  </a:cubicBezTo>
                  <a:cubicBezTo>
                    <a:pt x="1356" y="83"/>
                    <a:pt x="1356" y="83"/>
                    <a:pt x="1356" y="83"/>
                  </a:cubicBezTo>
                  <a:cubicBezTo>
                    <a:pt x="1356" y="82"/>
                    <a:pt x="1356" y="82"/>
                    <a:pt x="1356" y="82"/>
                  </a:cubicBezTo>
                  <a:cubicBezTo>
                    <a:pt x="1357" y="82"/>
                    <a:pt x="1357" y="82"/>
                    <a:pt x="1357" y="82"/>
                  </a:cubicBezTo>
                  <a:cubicBezTo>
                    <a:pt x="1357" y="82"/>
                    <a:pt x="1357" y="82"/>
                    <a:pt x="1357" y="82"/>
                  </a:cubicBezTo>
                  <a:cubicBezTo>
                    <a:pt x="1357" y="82"/>
                    <a:pt x="1357" y="82"/>
                    <a:pt x="1357" y="82"/>
                  </a:cubicBezTo>
                  <a:cubicBezTo>
                    <a:pt x="1357" y="82"/>
                    <a:pt x="1357" y="81"/>
                    <a:pt x="1357" y="81"/>
                  </a:cubicBezTo>
                  <a:cubicBezTo>
                    <a:pt x="1357" y="81"/>
                    <a:pt x="1357" y="81"/>
                    <a:pt x="1357" y="81"/>
                  </a:cubicBezTo>
                  <a:cubicBezTo>
                    <a:pt x="1357" y="81"/>
                    <a:pt x="1357" y="81"/>
                    <a:pt x="1358" y="81"/>
                  </a:cubicBezTo>
                  <a:cubicBezTo>
                    <a:pt x="1357" y="81"/>
                    <a:pt x="1357" y="81"/>
                    <a:pt x="1357" y="81"/>
                  </a:cubicBezTo>
                  <a:cubicBezTo>
                    <a:pt x="1358" y="81"/>
                    <a:pt x="1358" y="81"/>
                    <a:pt x="1358" y="81"/>
                  </a:cubicBezTo>
                  <a:cubicBezTo>
                    <a:pt x="1358" y="81"/>
                    <a:pt x="1358" y="81"/>
                    <a:pt x="1358" y="81"/>
                  </a:cubicBezTo>
                  <a:cubicBezTo>
                    <a:pt x="1358" y="80"/>
                    <a:pt x="1358" y="80"/>
                    <a:pt x="1358" y="80"/>
                  </a:cubicBezTo>
                  <a:cubicBezTo>
                    <a:pt x="1358" y="80"/>
                    <a:pt x="1358" y="80"/>
                    <a:pt x="1358" y="80"/>
                  </a:cubicBezTo>
                  <a:cubicBezTo>
                    <a:pt x="1358" y="80"/>
                    <a:pt x="1358" y="80"/>
                    <a:pt x="1359" y="80"/>
                  </a:cubicBezTo>
                  <a:cubicBezTo>
                    <a:pt x="1359" y="80"/>
                    <a:pt x="1359" y="80"/>
                    <a:pt x="1359" y="80"/>
                  </a:cubicBezTo>
                  <a:cubicBezTo>
                    <a:pt x="1359" y="79"/>
                    <a:pt x="1359" y="79"/>
                    <a:pt x="1359" y="79"/>
                  </a:cubicBezTo>
                  <a:cubicBezTo>
                    <a:pt x="1359" y="79"/>
                    <a:pt x="1359" y="79"/>
                    <a:pt x="1359" y="79"/>
                  </a:cubicBezTo>
                  <a:cubicBezTo>
                    <a:pt x="1359" y="79"/>
                    <a:pt x="1359" y="79"/>
                    <a:pt x="1359" y="79"/>
                  </a:cubicBezTo>
                  <a:cubicBezTo>
                    <a:pt x="1359" y="79"/>
                    <a:pt x="1359" y="79"/>
                    <a:pt x="1359" y="79"/>
                  </a:cubicBezTo>
                  <a:cubicBezTo>
                    <a:pt x="1359" y="79"/>
                    <a:pt x="1360" y="79"/>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1" y="78"/>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2" y="77"/>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3" y="76"/>
                    <a:pt x="1363" y="76"/>
                    <a:pt x="1363" y="75"/>
                  </a:cubicBezTo>
                  <a:cubicBezTo>
                    <a:pt x="1363" y="75"/>
                    <a:pt x="1363" y="75"/>
                    <a:pt x="1363" y="75"/>
                  </a:cubicBezTo>
                  <a:cubicBezTo>
                    <a:pt x="1363" y="75"/>
                    <a:pt x="1364" y="75"/>
                    <a:pt x="1364" y="75"/>
                  </a:cubicBezTo>
                  <a:cubicBezTo>
                    <a:pt x="1364" y="75"/>
                    <a:pt x="1364" y="75"/>
                    <a:pt x="1364" y="75"/>
                  </a:cubicBezTo>
                  <a:cubicBezTo>
                    <a:pt x="1364" y="75"/>
                    <a:pt x="1364" y="74"/>
                    <a:pt x="1364" y="74"/>
                  </a:cubicBezTo>
                  <a:cubicBezTo>
                    <a:pt x="1364" y="74"/>
                    <a:pt x="1364" y="74"/>
                    <a:pt x="1364" y="74"/>
                  </a:cubicBezTo>
                  <a:cubicBezTo>
                    <a:pt x="1364" y="74"/>
                    <a:pt x="1364" y="74"/>
                    <a:pt x="1364" y="74"/>
                  </a:cubicBezTo>
                  <a:cubicBezTo>
                    <a:pt x="1364" y="74"/>
                    <a:pt x="1364" y="74"/>
                    <a:pt x="1364" y="74"/>
                  </a:cubicBezTo>
                  <a:cubicBezTo>
                    <a:pt x="1365" y="74"/>
                    <a:pt x="1365" y="74"/>
                    <a:pt x="1365" y="74"/>
                  </a:cubicBezTo>
                  <a:cubicBezTo>
                    <a:pt x="1365" y="74"/>
                    <a:pt x="1365" y="74"/>
                    <a:pt x="1365" y="74"/>
                  </a:cubicBezTo>
                  <a:cubicBezTo>
                    <a:pt x="1365" y="73"/>
                    <a:pt x="1365" y="74"/>
                    <a:pt x="1365" y="73"/>
                  </a:cubicBezTo>
                  <a:cubicBezTo>
                    <a:pt x="1365" y="73"/>
                    <a:pt x="1365" y="73"/>
                    <a:pt x="1365" y="73"/>
                  </a:cubicBezTo>
                  <a:cubicBezTo>
                    <a:pt x="1366" y="73"/>
                    <a:pt x="1366" y="73"/>
                    <a:pt x="1366" y="73"/>
                  </a:cubicBezTo>
                  <a:cubicBezTo>
                    <a:pt x="1366" y="73"/>
                    <a:pt x="1366" y="73"/>
                    <a:pt x="1366" y="73"/>
                  </a:cubicBezTo>
                  <a:cubicBezTo>
                    <a:pt x="1366" y="73"/>
                    <a:pt x="1366" y="73"/>
                    <a:pt x="1366" y="73"/>
                  </a:cubicBezTo>
                  <a:cubicBezTo>
                    <a:pt x="1366" y="73"/>
                    <a:pt x="1366" y="73"/>
                    <a:pt x="1366" y="73"/>
                  </a:cubicBezTo>
                  <a:cubicBezTo>
                    <a:pt x="1367" y="72"/>
                    <a:pt x="1367" y="72"/>
                    <a:pt x="1367" y="72"/>
                  </a:cubicBezTo>
                  <a:cubicBezTo>
                    <a:pt x="1367" y="72"/>
                    <a:pt x="1367" y="72"/>
                    <a:pt x="1367" y="72"/>
                  </a:cubicBezTo>
                  <a:cubicBezTo>
                    <a:pt x="1367" y="72"/>
                    <a:pt x="1368" y="72"/>
                    <a:pt x="1368" y="72"/>
                  </a:cubicBezTo>
                  <a:cubicBezTo>
                    <a:pt x="1368" y="72"/>
                    <a:pt x="1368" y="72"/>
                    <a:pt x="1368" y="72"/>
                  </a:cubicBezTo>
                  <a:cubicBezTo>
                    <a:pt x="1368" y="71"/>
                    <a:pt x="1368" y="71"/>
                    <a:pt x="1368" y="71"/>
                  </a:cubicBezTo>
                  <a:cubicBezTo>
                    <a:pt x="1368" y="71"/>
                    <a:pt x="1368" y="71"/>
                    <a:pt x="1368" y="71"/>
                  </a:cubicBezTo>
                  <a:cubicBezTo>
                    <a:pt x="1368" y="71"/>
                    <a:pt x="1369" y="71"/>
                    <a:pt x="1369" y="71"/>
                  </a:cubicBezTo>
                  <a:cubicBezTo>
                    <a:pt x="1369" y="71"/>
                    <a:pt x="1369" y="71"/>
                    <a:pt x="1369" y="71"/>
                  </a:cubicBezTo>
                  <a:cubicBezTo>
                    <a:pt x="1369" y="71"/>
                    <a:pt x="1369" y="71"/>
                    <a:pt x="1369" y="70"/>
                  </a:cubicBezTo>
                  <a:cubicBezTo>
                    <a:pt x="1369" y="71"/>
                    <a:pt x="1369" y="71"/>
                    <a:pt x="1369" y="71"/>
                  </a:cubicBezTo>
                  <a:cubicBezTo>
                    <a:pt x="1369" y="70"/>
                    <a:pt x="1369" y="70"/>
                    <a:pt x="1369" y="70"/>
                  </a:cubicBezTo>
                  <a:cubicBezTo>
                    <a:pt x="1369" y="70"/>
                    <a:pt x="1369" y="70"/>
                    <a:pt x="1369" y="70"/>
                  </a:cubicBezTo>
                  <a:cubicBezTo>
                    <a:pt x="1370" y="70"/>
                    <a:pt x="1370" y="70"/>
                    <a:pt x="1370" y="70"/>
                  </a:cubicBezTo>
                  <a:cubicBezTo>
                    <a:pt x="1370" y="70"/>
                    <a:pt x="1370" y="70"/>
                    <a:pt x="1370" y="70"/>
                  </a:cubicBezTo>
                  <a:cubicBezTo>
                    <a:pt x="1370" y="70"/>
                    <a:pt x="1370" y="70"/>
                    <a:pt x="1370" y="69"/>
                  </a:cubicBezTo>
                  <a:cubicBezTo>
                    <a:pt x="1370" y="69"/>
                    <a:pt x="1370" y="69"/>
                    <a:pt x="1370" y="69"/>
                  </a:cubicBezTo>
                  <a:cubicBezTo>
                    <a:pt x="1371" y="69"/>
                    <a:pt x="1371" y="69"/>
                    <a:pt x="1371" y="69"/>
                  </a:cubicBezTo>
                  <a:cubicBezTo>
                    <a:pt x="1371" y="69"/>
                    <a:pt x="1371" y="69"/>
                    <a:pt x="1371" y="69"/>
                  </a:cubicBezTo>
                  <a:cubicBezTo>
                    <a:pt x="1371" y="69"/>
                    <a:pt x="1371" y="69"/>
                    <a:pt x="1371" y="69"/>
                  </a:cubicBezTo>
                  <a:cubicBezTo>
                    <a:pt x="1371" y="69"/>
                    <a:pt x="1371" y="69"/>
                    <a:pt x="1371" y="69"/>
                  </a:cubicBezTo>
                  <a:cubicBezTo>
                    <a:pt x="1372" y="69"/>
                    <a:pt x="1372" y="69"/>
                    <a:pt x="1372" y="68"/>
                  </a:cubicBezTo>
                  <a:cubicBezTo>
                    <a:pt x="1372" y="68"/>
                    <a:pt x="1372" y="68"/>
                    <a:pt x="1372" y="68"/>
                  </a:cubicBezTo>
                  <a:cubicBezTo>
                    <a:pt x="1372" y="68"/>
                    <a:pt x="1373" y="68"/>
                    <a:pt x="1373" y="68"/>
                  </a:cubicBezTo>
                  <a:cubicBezTo>
                    <a:pt x="1373" y="68"/>
                    <a:pt x="1373" y="68"/>
                    <a:pt x="1373" y="68"/>
                  </a:cubicBezTo>
                  <a:cubicBezTo>
                    <a:pt x="1373" y="68"/>
                    <a:pt x="1373" y="68"/>
                    <a:pt x="1373" y="67"/>
                  </a:cubicBezTo>
                  <a:cubicBezTo>
                    <a:pt x="1373" y="67"/>
                    <a:pt x="1373" y="67"/>
                    <a:pt x="1373" y="67"/>
                  </a:cubicBezTo>
                  <a:cubicBezTo>
                    <a:pt x="1373" y="67"/>
                    <a:pt x="1374" y="67"/>
                    <a:pt x="1374" y="67"/>
                  </a:cubicBezTo>
                  <a:cubicBezTo>
                    <a:pt x="1374" y="67"/>
                    <a:pt x="1374" y="67"/>
                    <a:pt x="1374" y="67"/>
                  </a:cubicBezTo>
                  <a:cubicBezTo>
                    <a:pt x="1374" y="67"/>
                    <a:pt x="1374" y="67"/>
                    <a:pt x="1374" y="67"/>
                  </a:cubicBezTo>
                  <a:cubicBezTo>
                    <a:pt x="1374" y="67"/>
                    <a:pt x="1374" y="67"/>
                    <a:pt x="1374" y="67"/>
                  </a:cubicBezTo>
                  <a:cubicBezTo>
                    <a:pt x="1374" y="67"/>
                    <a:pt x="1374" y="66"/>
                    <a:pt x="1375" y="66"/>
                  </a:cubicBezTo>
                  <a:cubicBezTo>
                    <a:pt x="1375" y="66"/>
                    <a:pt x="1375" y="66"/>
                    <a:pt x="1375" y="66"/>
                  </a:cubicBezTo>
                  <a:cubicBezTo>
                    <a:pt x="1375" y="66"/>
                    <a:pt x="1375" y="66"/>
                    <a:pt x="1375" y="66"/>
                  </a:cubicBezTo>
                  <a:cubicBezTo>
                    <a:pt x="1375" y="66"/>
                    <a:pt x="1375" y="66"/>
                    <a:pt x="1375" y="66"/>
                  </a:cubicBezTo>
                  <a:cubicBezTo>
                    <a:pt x="1375" y="66"/>
                    <a:pt x="1376" y="66"/>
                    <a:pt x="1376" y="66"/>
                  </a:cubicBezTo>
                  <a:cubicBezTo>
                    <a:pt x="1376" y="66"/>
                    <a:pt x="1376" y="66"/>
                    <a:pt x="1376" y="66"/>
                  </a:cubicBezTo>
                  <a:cubicBezTo>
                    <a:pt x="1376" y="65"/>
                    <a:pt x="1376" y="66"/>
                    <a:pt x="1376" y="65"/>
                  </a:cubicBezTo>
                  <a:cubicBezTo>
                    <a:pt x="1376" y="65"/>
                    <a:pt x="1376" y="65"/>
                    <a:pt x="1376" y="65"/>
                  </a:cubicBezTo>
                  <a:cubicBezTo>
                    <a:pt x="1376" y="65"/>
                    <a:pt x="1377" y="65"/>
                    <a:pt x="1377" y="65"/>
                  </a:cubicBezTo>
                  <a:cubicBezTo>
                    <a:pt x="1377" y="65"/>
                    <a:pt x="1377" y="65"/>
                    <a:pt x="1377" y="65"/>
                  </a:cubicBezTo>
                  <a:cubicBezTo>
                    <a:pt x="1377" y="65"/>
                    <a:pt x="1377" y="65"/>
                    <a:pt x="1377" y="65"/>
                  </a:cubicBezTo>
                  <a:cubicBezTo>
                    <a:pt x="1377" y="65"/>
                    <a:pt x="1377" y="65"/>
                    <a:pt x="1377" y="65"/>
                  </a:cubicBezTo>
                  <a:cubicBezTo>
                    <a:pt x="1377"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9" y="63"/>
                    <a:pt x="1379" y="63"/>
                    <a:pt x="1379" y="63"/>
                  </a:cubicBezTo>
                  <a:cubicBezTo>
                    <a:pt x="1379" y="63"/>
                    <a:pt x="1379" y="63"/>
                    <a:pt x="1379" y="63"/>
                  </a:cubicBezTo>
                  <a:cubicBezTo>
                    <a:pt x="1379" y="63"/>
                    <a:pt x="1379" y="63"/>
                    <a:pt x="1379" y="63"/>
                  </a:cubicBezTo>
                  <a:cubicBezTo>
                    <a:pt x="1379" y="63"/>
                    <a:pt x="1379" y="63"/>
                    <a:pt x="1379" y="63"/>
                  </a:cubicBezTo>
                  <a:cubicBezTo>
                    <a:pt x="1380" y="63"/>
                    <a:pt x="1380" y="63"/>
                    <a:pt x="1380" y="63"/>
                  </a:cubicBezTo>
                  <a:cubicBezTo>
                    <a:pt x="1380" y="63"/>
                    <a:pt x="1380" y="63"/>
                    <a:pt x="1380" y="63"/>
                  </a:cubicBezTo>
                  <a:cubicBezTo>
                    <a:pt x="1380" y="62"/>
                    <a:pt x="1380" y="62"/>
                    <a:pt x="1380" y="62"/>
                  </a:cubicBezTo>
                  <a:cubicBezTo>
                    <a:pt x="1380" y="62"/>
                    <a:pt x="1380" y="62"/>
                    <a:pt x="1380" y="62"/>
                  </a:cubicBezTo>
                  <a:cubicBezTo>
                    <a:pt x="1381" y="62"/>
                    <a:pt x="1381" y="62"/>
                    <a:pt x="1381" y="62"/>
                  </a:cubicBezTo>
                  <a:cubicBezTo>
                    <a:pt x="1381" y="62"/>
                    <a:pt x="1381" y="62"/>
                    <a:pt x="1381" y="62"/>
                  </a:cubicBezTo>
                  <a:cubicBezTo>
                    <a:pt x="1381" y="62"/>
                    <a:pt x="1381" y="62"/>
                    <a:pt x="1381" y="61"/>
                  </a:cubicBezTo>
                  <a:cubicBezTo>
                    <a:pt x="1381" y="61"/>
                    <a:pt x="1381" y="61"/>
                    <a:pt x="1381" y="61"/>
                  </a:cubicBezTo>
                  <a:cubicBezTo>
                    <a:pt x="1381" y="61"/>
                    <a:pt x="1381" y="61"/>
                    <a:pt x="1382" y="61"/>
                  </a:cubicBezTo>
                  <a:cubicBezTo>
                    <a:pt x="1382" y="61"/>
                    <a:pt x="1382" y="61"/>
                    <a:pt x="1382" y="61"/>
                  </a:cubicBezTo>
                  <a:cubicBezTo>
                    <a:pt x="1382" y="61"/>
                    <a:pt x="1382" y="61"/>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4" y="60"/>
                    <a:pt x="1384" y="59"/>
                  </a:cubicBezTo>
                  <a:cubicBezTo>
                    <a:pt x="1384" y="59"/>
                    <a:pt x="1384" y="59"/>
                    <a:pt x="1384" y="59"/>
                  </a:cubicBezTo>
                  <a:cubicBezTo>
                    <a:pt x="1384" y="59"/>
                    <a:pt x="1384" y="59"/>
                    <a:pt x="1384" y="59"/>
                  </a:cubicBezTo>
                  <a:cubicBezTo>
                    <a:pt x="1384" y="59"/>
                    <a:pt x="1384" y="59"/>
                    <a:pt x="1384" y="59"/>
                  </a:cubicBezTo>
                  <a:cubicBezTo>
                    <a:pt x="1384" y="59"/>
                    <a:pt x="1385" y="58"/>
                    <a:pt x="1385" y="58"/>
                  </a:cubicBezTo>
                  <a:cubicBezTo>
                    <a:pt x="1385" y="58"/>
                    <a:pt x="1385" y="58"/>
                    <a:pt x="1385" y="58"/>
                  </a:cubicBezTo>
                  <a:cubicBezTo>
                    <a:pt x="1386" y="58"/>
                    <a:pt x="1386" y="58"/>
                    <a:pt x="1386" y="58"/>
                  </a:cubicBezTo>
                  <a:cubicBezTo>
                    <a:pt x="1386" y="58"/>
                    <a:pt x="1386" y="58"/>
                    <a:pt x="1386" y="58"/>
                  </a:cubicBezTo>
                  <a:cubicBezTo>
                    <a:pt x="1386" y="58"/>
                    <a:pt x="1386" y="57"/>
                    <a:pt x="1386" y="57"/>
                  </a:cubicBezTo>
                  <a:cubicBezTo>
                    <a:pt x="1386" y="57"/>
                    <a:pt x="1386" y="57"/>
                    <a:pt x="1386" y="57"/>
                  </a:cubicBezTo>
                  <a:cubicBezTo>
                    <a:pt x="1386" y="57"/>
                    <a:pt x="1386" y="57"/>
                    <a:pt x="1386" y="57"/>
                  </a:cubicBezTo>
                  <a:cubicBezTo>
                    <a:pt x="1386" y="57"/>
                    <a:pt x="1386" y="57"/>
                    <a:pt x="1386" y="57"/>
                  </a:cubicBezTo>
                  <a:cubicBezTo>
                    <a:pt x="1387" y="57"/>
                    <a:pt x="1387" y="57"/>
                    <a:pt x="1387" y="57"/>
                  </a:cubicBezTo>
                  <a:cubicBezTo>
                    <a:pt x="1387" y="57"/>
                    <a:pt x="1387" y="57"/>
                    <a:pt x="1387" y="57"/>
                  </a:cubicBezTo>
                  <a:cubicBezTo>
                    <a:pt x="1387" y="57"/>
                    <a:pt x="1387" y="56"/>
                    <a:pt x="1387" y="56"/>
                  </a:cubicBezTo>
                  <a:cubicBezTo>
                    <a:pt x="1387" y="56"/>
                    <a:pt x="1387" y="56"/>
                    <a:pt x="1387" y="56"/>
                  </a:cubicBezTo>
                  <a:cubicBezTo>
                    <a:pt x="1387" y="56"/>
                    <a:pt x="1387" y="56"/>
                    <a:pt x="1387" y="56"/>
                  </a:cubicBezTo>
                  <a:cubicBezTo>
                    <a:pt x="1387" y="56"/>
                    <a:pt x="1387" y="56"/>
                    <a:pt x="1387" y="56"/>
                  </a:cubicBezTo>
                  <a:cubicBezTo>
                    <a:pt x="1388" y="56"/>
                    <a:pt x="1388" y="56"/>
                    <a:pt x="1388" y="55"/>
                  </a:cubicBezTo>
                  <a:cubicBezTo>
                    <a:pt x="1388" y="55"/>
                    <a:pt x="1388" y="55"/>
                    <a:pt x="1388" y="55"/>
                  </a:cubicBezTo>
                  <a:cubicBezTo>
                    <a:pt x="1388" y="55"/>
                    <a:pt x="1388" y="55"/>
                    <a:pt x="1388" y="55"/>
                  </a:cubicBezTo>
                  <a:cubicBezTo>
                    <a:pt x="1388" y="55"/>
                    <a:pt x="1388" y="55"/>
                    <a:pt x="1388" y="55"/>
                  </a:cubicBezTo>
                  <a:cubicBezTo>
                    <a:pt x="1389" y="55"/>
                    <a:pt x="1389" y="54"/>
                    <a:pt x="1389" y="54"/>
                  </a:cubicBezTo>
                  <a:cubicBezTo>
                    <a:pt x="1389" y="54"/>
                    <a:pt x="1389" y="54"/>
                    <a:pt x="1389" y="54"/>
                  </a:cubicBezTo>
                  <a:cubicBezTo>
                    <a:pt x="1389" y="54"/>
                    <a:pt x="1389" y="54"/>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1" y="53"/>
                    <a:pt x="1391" y="52"/>
                    <a:pt x="1391" y="52"/>
                  </a:cubicBezTo>
                  <a:cubicBezTo>
                    <a:pt x="1391" y="52"/>
                    <a:pt x="1391" y="52"/>
                    <a:pt x="1391" y="52"/>
                  </a:cubicBezTo>
                  <a:cubicBezTo>
                    <a:pt x="1391" y="52"/>
                    <a:pt x="1391" y="51"/>
                    <a:pt x="1391" y="51"/>
                  </a:cubicBezTo>
                  <a:cubicBezTo>
                    <a:pt x="1391" y="51"/>
                    <a:pt x="1391" y="51"/>
                    <a:pt x="1391" y="51"/>
                  </a:cubicBezTo>
                  <a:cubicBezTo>
                    <a:pt x="1392" y="51"/>
                    <a:pt x="1391" y="51"/>
                    <a:pt x="1392" y="51"/>
                  </a:cubicBezTo>
                  <a:cubicBezTo>
                    <a:pt x="1392" y="51"/>
                    <a:pt x="1392" y="51"/>
                    <a:pt x="1392" y="51"/>
                  </a:cubicBezTo>
                  <a:cubicBezTo>
                    <a:pt x="1392" y="51"/>
                    <a:pt x="1392" y="50"/>
                    <a:pt x="1392" y="50"/>
                  </a:cubicBezTo>
                  <a:cubicBezTo>
                    <a:pt x="1392" y="50"/>
                    <a:pt x="1392" y="50"/>
                    <a:pt x="1392" y="50"/>
                  </a:cubicBezTo>
                  <a:cubicBezTo>
                    <a:pt x="1392" y="50"/>
                    <a:pt x="1392" y="50"/>
                    <a:pt x="1392" y="50"/>
                  </a:cubicBezTo>
                  <a:cubicBezTo>
                    <a:pt x="1392" y="50"/>
                    <a:pt x="1392" y="50"/>
                    <a:pt x="1392" y="50"/>
                  </a:cubicBezTo>
                  <a:cubicBezTo>
                    <a:pt x="1392" y="50"/>
                    <a:pt x="1393" y="49"/>
                    <a:pt x="1393" y="49"/>
                  </a:cubicBezTo>
                  <a:cubicBezTo>
                    <a:pt x="1393" y="49"/>
                    <a:pt x="1393" y="49"/>
                    <a:pt x="1393" y="49"/>
                  </a:cubicBezTo>
                  <a:cubicBezTo>
                    <a:pt x="1393" y="49"/>
                    <a:pt x="1393" y="49"/>
                    <a:pt x="1393" y="49"/>
                  </a:cubicBezTo>
                  <a:cubicBezTo>
                    <a:pt x="1393" y="49"/>
                    <a:pt x="1393" y="49"/>
                    <a:pt x="1393" y="49"/>
                  </a:cubicBezTo>
                  <a:cubicBezTo>
                    <a:pt x="1393" y="48"/>
                    <a:pt x="1393" y="48"/>
                    <a:pt x="1393" y="48"/>
                  </a:cubicBezTo>
                  <a:cubicBezTo>
                    <a:pt x="1393" y="48"/>
                    <a:pt x="1393" y="48"/>
                    <a:pt x="1393" y="48"/>
                  </a:cubicBezTo>
                  <a:cubicBezTo>
                    <a:pt x="1393" y="48"/>
                    <a:pt x="1393" y="48"/>
                    <a:pt x="1393" y="48"/>
                  </a:cubicBezTo>
                  <a:cubicBezTo>
                    <a:pt x="1394" y="48"/>
                    <a:pt x="1394" y="48"/>
                    <a:pt x="1394" y="47"/>
                  </a:cubicBezTo>
                  <a:cubicBezTo>
                    <a:pt x="1394" y="48"/>
                    <a:pt x="1394" y="48"/>
                    <a:pt x="1394" y="48"/>
                  </a:cubicBezTo>
                  <a:cubicBezTo>
                    <a:pt x="1394" y="47"/>
                    <a:pt x="1394" y="47"/>
                    <a:pt x="1394" y="47"/>
                  </a:cubicBezTo>
                  <a:cubicBezTo>
                    <a:pt x="1394" y="47"/>
                    <a:pt x="1394" y="47"/>
                    <a:pt x="1394" y="47"/>
                  </a:cubicBezTo>
                  <a:cubicBezTo>
                    <a:pt x="1394" y="47"/>
                    <a:pt x="1394" y="46"/>
                    <a:pt x="1394" y="46"/>
                  </a:cubicBezTo>
                  <a:cubicBezTo>
                    <a:pt x="1394" y="46"/>
                    <a:pt x="1394" y="46"/>
                    <a:pt x="1394" y="46"/>
                  </a:cubicBezTo>
                  <a:cubicBezTo>
                    <a:pt x="1395" y="46"/>
                    <a:pt x="1395" y="45"/>
                    <a:pt x="1395" y="45"/>
                  </a:cubicBezTo>
                  <a:cubicBezTo>
                    <a:pt x="1395" y="45"/>
                    <a:pt x="1395" y="45"/>
                    <a:pt x="1395" y="45"/>
                  </a:cubicBezTo>
                  <a:cubicBezTo>
                    <a:pt x="1395" y="45"/>
                    <a:pt x="1395" y="45"/>
                    <a:pt x="1395" y="44"/>
                  </a:cubicBezTo>
                  <a:cubicBezTo>
                    <a:pt x="1395" y="44"/>
                    <a:pt x="1395" y="44"/>
                    <a:pt x="1395" y="44"/>
                  </a:cubicBezTo>
                  <a:cubicBezTo>
                    <a:pt x="1395" y="44"/>
                    <a:pt x="1395" y="44"/>
                    <a:pt x="1395" y="43"/>
                  </a:cubicBezTo>
                  <a:cubicBezTo>
                    <a:pt x="1395" y="43"/>
                    <a:pt x="1395" y="43"/>
                    <a:pt x="1395" y="43"/>
                  </a:cubicBezTo>
                  <a:cubicBezTo>
                    <a:pt x="1396" y="43"/>
                    <a:pt x="1396" y="43"/>
                    <a:pt x="1396" y="43"/>
                  </a:cubicBezTo>
                  <a:cubicBezTo>
                    <a:pt x="1396" y="42"/>
                    <a:pt x="1396" y="42"/>
                    <a:pt x="1396" y="42"/>
                  </a:cubicBezTo>
                  <a:cubicBezTo>
                    <a:pt x="1396" y="42"/>
                    <a:pt x="1396" y="42"/>
                    <a:pt x="1396" y="42"/>
                  </a:cubicBezTo>
                  <a:cubicBezTo>
                    <a:pt x="1396" y="42"/>
                    <a:pt x="1396" y="42"/>
                    <a:pt x="1396" y="41"/>
                  </a:cubicBezTo>
                  <a:cubicBezTo>
                    <a:pt x="1396" y="41"/>
                    <a:pt x="1396" y="41"/>
                    <a:pt x="1396" y="41"/>
                  </a:cubicBezTo>
                  <a:cubicBezTo>
                    <a:pt x="1397" y="41"/>
                    <a:pt x="1396" y="40"/>
                    <a:pt x="1397" y="40"/>
                  </a:cubicBezTo>
                  <a:cubicBezTo>
                    <a:pt x="1397" y="40"/>
                    <a:pt x="1397" y="40"/>
                    <a:pt x="1397" y="40"/>
                  </a:cubicBezTo>
                  <a:cubicBezTo>
                    <a:pt x="1397" y="39"/>
                    <a:pt x="1397" y="39"/>
                    <a:pt x="1397" y="38"/>
                  </a:cubicBezTo>
                  <a:cubicBezTo>
                    <a:pt x="1397" y="38"/>
                    <a:pt x="1397" y="38"/>
                    <a:pt x="1397" y="38"/>
                  </a:cubicBezTo>
                  <a:cubicBezTo>
                    <a:pt x="1397" y="37"/>
                    <a:pt x="1397" y="37"/>
                    <a:pt x="1397" y="36"/>
                  </a:cubicBezTo>
                  <a:cubicBezTo>
                    <a:pt x="1397" y="36"/>
                    <a:pt x="1397" y="36"/>
                    <a:pt x="1397" y="35"/>
                  </a:cubicBezTo>
                  <a:cubicBezTo>
                    <a:pt x="1397" y="33"/>
                    <a:pt x="1397" y="30"/>
                    <a:pt x="1397" y="27"/>
                  </a:cubicBezTo>
                  <a:cubicBezTo>
                    <a:pt x="1397" y="27"/>
                    <a:pt x="1397" y="27"/>
                    <a:pt x="1397" y="27"/>
                  </a:cubicBezTo>
                  <a:cubicBezTo>
                    <a:pt x="1397" y="26"/>
                    <a:pt x="1397" y="25"/>
                    <a:pt x="1397" y="25"/>
                  </a:cubicBezTo>
                  <a:cubicBezTo>
                    <a:pt x="1397" y="25"/>
                    <a:pt x="1397" y="25"/>
                    <a:pt x="1397" y="25"/>
                  </a:cubicBezTo>
                  <a:cubicBezTo>
                    <a:pt x="1397" y="25"/>
                    <a:pt x="1397" y="25"/>
                    <a:pt x="1397" y="25"/>
                  </a:cubicBezTo>
                  <a:cubicBezTo>
                    <a:pt x="1397" y="24"/>
                    <a:pt x="1397" y="24"/>
                    <a:pt x="1397" y="24"/>
                  </a:cubicBezTo>
                  <a:cubicBezTo>
                    <a:pt x="1396" y="23"/>
                    <a:pt x="1396" y="23"/>
                    <a:pt x="1396" y="23"/>
                  </a:cubicBezTo>
                  <a:cubicBezTo>
                    <a:pt x="1396" y="23"/>
                    <a:pt x="1396" y="23"/>
                    <a:pt x="1396" y="23"/>
                  </a:cubicBezTo>
                  <a:cubicBezTo>
                    <a:pt x="1396" y="23"/>
                    <a:pt x="1396" y="22"/>
                    <a:pt x="1396" y="22"/>
                  </a:cubicBezTo>
                  <a:cubicBezTo>
                    <a:pt x="1396" y="22"/>
                    <a:pt x="1396" y="22"/>
                    <a:pt x="1396" y="22"/>
                  </a:cubicBezTo>
                  <a:cubicBezTo>
                    <a:pt x="1396" y="22"/>
                    <a:pt x="1396" y="21"/>
                    <a:pt x="1396" y="21"/>
                  </a:cubicBezTo>
                  <a:cubicBezTo>
                    <a:pt x="1396" y="21"/>
                    <a:pt x="1396" y="21"/>
                    <a:pt x="1396" y="21"/>
                  </a:cubicBezTo>
                  <a:cubicBezTo>
                    <a:pt x="1396" y="21"/>
                    <a:pt x="1396" y="21"/>
                    <a:pt x="1395" y="20"/>
                  </a:cubicBezTo>
                  <a:cubicBezTo>
                    <a:pt x="1395" y="20"/>
                    <a:pt x="1395" y="20"/>
                    <a:pt x="1395" y="20"/>
                  </a:cubicBezTo>
                  <a:cubicBezTo>
                    <a:pt x="1395" y="20"/>
                    <a:pt x="1395" y="20"/>
                    <a:pt x="1395" y="20"/>
                  </a:cubicBezTo>
                  <a:cubicBezTo>
                    <a:pt x="1395" y="20"/>
                    <a:pt x="1395" y="20"/>
                    <a:pt x="1395" y="20"/>
                  </a:cubicBezTo>
                  <a:cubicBezTo>
                    <a:pt x="1395" y="20"/>
                    <a:pt x="1395" y="20"/>
                    <a:pt x="1395" y="20"/>
                  </a:cubicBezTo>
                  <a:cubicBezTo>
                    <a:pt x="1395" y="19"/>
                    <a:pt x="1395" y="19"/>
                    <a:pt x="1395" y="19"/>
                  </a:cubicBezTo>
                  <a:cubicBezTo>
                    <a:pt x="1395" y="19"/>
                    <a:pt x="1395" y="19"/>
                    <a:pt x="1395" y="19"/>
                  </a:cubicBezTo>
                  <a:cubicBezTo>
                    <a:pt x="1395" y="19"/>
                    <a:pt x="1395" y="19"/>
                    <a:pt x="1395" y="19"/>
                  </a:cubicBezTo>
                  <a:cubicBezTo>
                    <a:pt x="1395" y="19"/>
                    <a:pt x="1395" y="18"/>
                    <a:pt x="1394" y="18"/>
                  </a:cubicBezTo>
                  <a:cubicBezTo>
                    <a:pt x="1394" y="18"/>
                    <a:pt x="1394" y="18"/>
                    <a:pt x="1394" y="18"/>
                  </a:cubicBezTo>
                  <a:cubicBezTo>
                    <a:pt x="1394" y="18"/>
                    <a:pt x="1394" y="18"/>
                    <a:pt x="1394" y="18"/>
                  </a:cubicBezTo>
                  <a:cubicBezTo>
                    <a:pt x="1394" y="18"/>
                    <a:pt x="1394" y="18"/>
                    <a:pt x="1394" y="18"/>
                  </a:cubicBezTo>
                  <a:cubicBezTo>
                    <a:pt x="1394" y="17"/>
                    <a:pt x="1394" y="17"/>
                    <a:pt x="1394" y="17"/>
                  </a:cubicBezTo>
                  <a:cubicBezTo>
                    <a:pt x="1394" y="17"/>
                    <a:pt x="1394" y="17"/>
                    <a:pt x="1394" y="17"/>
                  </a:cubicBezTo>
                  <a:cubicBezTo>
                    <a:pt x="1394" y="17"/>
                    <a:pt x="1393" y="17"/>
                    <a:pt x="1393" y="17"/>
                  </a:cubicBezTo>
                  <a:cubicBezTo>
                    <a:pt x="1393" y="17"/>
                    <a:pt x="1393" y="17"/>
                    <a:pt x="1393" y="17"/>
                  </a:cubicBezTo>
                  <a:cubicBezTo>
                    <a:pt x="1393" y="16"/>
                    <a:pt x="1393" y="16"/>
                    <a:pt x="1393" y="16"/>
                  </a:cubicBezTo>
                  <a:cubicBezTo>
                    <a:pt x="1393" y="16"/>
                    <a:pt x="1393" y="16"/>
                    <a:pt x="1393" y="16"/>
                  </a:cubicBezTo>
                  <a:cubicBezTo>
                    <a:pt x="1393" y="16"/>
                    <a:pt x="1393" y="16"/>
                    <a:pt x="1393" y="16"/>
                  </a:cubicBezTo>
                  <a:cubicBezTo>
                    <a:pt x="1393" y="16"/>
                    <a:pt x="1393" y="16"/>
                    <a:pt x="1393" y="16"/>
                  </a:cubicBezTo>
                  <a:cubicBezTo>
                    <a:pt x="1393" y="15"/>
                    <a:pt x="1392" y="15"/>
                    <a:pt x="1392" y="15"/>
                  </a:cubicBezTo>
                  <a:cubicBezTo>
                    <a:pt x="1392" y="15"/>
                    <a:pt x="1392" y="15"/>
                    <a:pt x="1392" y="15"/>
                  </a:cubicBezTo>
                  <a:cubicBezTo>
                    <a:pt x="1392" y="15"/>
                    <a:pt x="1392" y="15"/>
                    <a:pt x="1392" y="15"/>
                  </a:cubicBezTo>
                  <a:cubicBezTo>
                    <a:pt x="1392" y="15"/>
                    <a:pt x="1392" y="15"/>
                    <a:pt x="1392" y="15"/>
                  </a:cubicBezTo>
                  <a:cubicBezTo>
                    <a:pt x="1392" y="14"/>
                    <a:pt x="1392" y="14"/>
                    <a:pt x="1392" y="14"/>
                  </a:cubicBezTo>
                  <a:cubicBezTo>
                    <a:pt x="1392" y="14"/>
                    <a:pt x="1392" y="14"/>
                    <a:pt x="1392" y="14"/>
                  </a:cubicBezTo>
                  <a:cubicBezTo>
                    <a:pt x="1392" y="14"/>
                    <a:pt x="1391" y="14"/>
                    <a:pt x="1391" y="14"/>
                  </a:cubicBezTo>
                  <a:cubicBezTo>
                    <a:pt x="1391" y="14"/>
                    <a:pt x="1391" y="14"/>
                    <a:pt x="1391" y="14"/>
                  </a:cubicBezTo>
                  <a:cubicBezTo>
                    <a:pt x="1391" y="14"/>
                    <a:pt x="1391" y="14"/>
                    <a:pt x="1391" y="13"/>
                  </a:cubicBezTo>
                  <a:cubicBezTo>
                    <a:pt x="1391" y="14"/>
                    <a:pt x="1391" y="14"/>
                    <a:pt x="1391" y="14"/>
                  </a:cubicBezTo>
                  <a:cubicBezTo>
                    <a:pt x="1391" y="13"/>
                    <a:pt x="1391" y="13"/>
                    <a:pt x="1391" y="13"/>
                  </a:cubicBezTo>
                  <a:cubicBezTo>
                    <a:pt x="1391" y="13"/>
                    <a:pt x="1391" y="13"/>
                    <a:pt x="1391" y="13"/>
                  </a:cubicBezTo>
                  <a:cubicBezTo>
                    <a:pt x="1390" y="13"/>
                    <a:pt x="1390" y="13"/>
                    <a:pt x="1390" y="13"/>
                  </a:cubicBezTo>
                  <a:cubicBezTo>
                    <a:pt x="1390" y="13"/>
                    <a:pt x="1390" y="13"/>
                    <a:pt x="1390" y="13"/>
                  </a:cubicBezTo>
                  <a:cubicBezTo>
                    <a:pt x="1390" y="13"/>
                    <a:pt x="1390" y="12"/>
                    <a:pt x="1390" y="12"/>
                  </a:cubicBezTo>
                  <a:cubicBezTo>
                    <a:pt x="1390" y="12"/>
                    <a:pt x="1390" y="12"/>
                    <a:pt x="1390" y="12"/>
                  </a:cubicBezTo>
                  <a:cubicBezTo>
                    <a:pt x="1390" y="12"/>
                    <a:pt x="1390" y="12"/>
                    <a:pt x="1389" y="12"/>
                  </a:cubicBezTo>
                  <a:cubicBezTo>
                    <a:pt x="1389" y="12"/>
                    <a:pt x="1389" y="12"/>
                    <a:pt x="1389" y="12"/>
                  </a:cubicBezTo>
                  <a:cubicBezTo>
                    <a:pt x="1389" y="12"/>
                    <a:pt x="1389" y="12"/>
                    <a:pt x="1389" y="11"/>
                  </a:cubicBezTo>
                  <a:cubicBezTo>
                    <a:pt x="1389" y="11"/>
                    <a:pt x="1389" y="11"/>
                    <a:pt x="1389" y="11"/>
                  </a:cubicBezTo>
                  <a:cubicBezTo>
                    <a:pt x="1388" y="11"/>
                    <a:pt x="1388" y="11"/>
                    <a:pt x="1388" y="11"/>
                  </a:cubicBezTo>
                  <a:cubicBezTo>
                    <a:pt x="1388" y="11"/>
                    <a:pt x="1388" y="11"/>
                    <a:pt x="1388" y="11"/>
                  </a:cubicBezTo>
                  <a:cubicBezTo>
                    <a:pt x="1388" y="11"/>
                    <a:pt x="1388" y="11"/>
                    <a:pt x="1388" y="11"/>
                  </a:cubicBezTo>
                  <a:cubicBezTo>
                    <a:pt x="1388" y="11"/>
                    <a:pt x="1388" y="11"/>
                    <a:pt x="1388" y="11"/>
                  </a:cubicBezTo>
                  <a:cubicBezTo>
                    <a:pt x="1388" y="10"/>
                    <a:pt x="1387" y="11"/>
                    <a:pt x="1387" y="10"/>
                  </a:cubicBezTo>
                  <a:cubicBezTo>
                    <a:pt x="1387" y="10"/>
                    <a:pt x="1387" y="10"/>
                    <a:pt x="1387" y="10"/>
                  </a:cubicBezTo>
                  <a:cubicBezTo>
                    <a:pt x="1387" y="10"/>
                    <a:pt x="1387" y="10"/>
                    <a:pt x="1387" y="10"/>
                  </a:cubicBezTo>
                  <a:cubicBezTo>
                    <a:pt x="1387" y="10"/>
                    <a:pt x="1387" y="10"/>
                    <a:pt x="1387" y="10"/>
                  </a:cubicBezTo>
                  <a:cubicBezTo>
                    <a:pt x="1387" y="10"/>
                    <a:pt x="1386" y="10"/>
                    <a:pt x="1386" y="10"/>
                  </a:cubicBezTo>
                  <a:cubicBezTo>
                    <a:pt x="1386" y="10"/>
                    <a:pt x="1386" y="10"/>
                    <a:pt x="1386" y="10"/>
                  </a:cubicBezTo>
                  <a:cubicBezTo>
                    <a:pt x="1386" y="9"/>
                    <a:pt x="1386" y="9"/>
                    <a:pt x="1385" y="9"/>
                  </a:cubicBezTo>
                  <a:cubicBezTo>
                    <a:pt x="1385" y="9"/>
                    <a:pt x="1385" y="9"/>
                    <a:pt x="1385" y="9"/>
                  </a:cubicBezTo>
                  <a:cubicBezTo>
                    <a:pt x="1385" y="9"/>
                    <a:pt x="1385" y="9"/>
                    <a:pt x="1385" y="9"/>
                  </a:cubicBezTo>
                  <a:cubicBezTo>
                    <a:pt x="1385" y="9"/>
                    <a:pt x="1385" y="9"/>
                    <a:pt x="1385" y="9"/>
                  </a:cubicBezTo>
                  <a:cubicBezTo>
                    <a:pt x="1385" y="9"/>
                    <a:pt x="1384" y="9"/>
                    <a:pt x="1384" y="9"/>
                  </a:cubicBezTo>
                  <a:cubicBezTo>
                    <a:pt x="1384" y="9"/>
                    <a:pt x="1384" y="9"/>
                    <a:pt x="1384" y="9"/>
                  </a:cubicBezTo>
                  <a:cubicBezTo>
                    <a:pt x="1384" y="9"/>
                    <a:pt x="1384" y="9"/>
                    <a:pt x="1384" y="9"/>
                  </a:cubicBezTo>
                  <a:cubicBezTo>
                    <a:pt x="1384" y="8"/>
                    <a:pt x="1383" y="8"/>
                    <a:pt x="1383" y="8"/>
                  </a:cubicBezTo>
                  <a:cubicBezTo>
                    <a:pt x="1383" y="8"/>
                    <a:pt x="1383" y="8"/>
                    <a:pt x="1383" y="8"/>
                  </a:cubicBezTo>
                  <a:cubicBezTo>
                    <a:pt x="1383" y="8"/>
                    <a:pt x="1383" y="8"/>
                    <a:pt x="1383" y="8"/>
                  </a:cubicBezTo>
                  <a:cubicBezTo>
                    <a:pt x="1383" y="8"/>
                    <a:pt x="1383" y="8"/>
                    <a:pt x="1383" y="8"/>
                  </a:cubicBezTo>
                  <a:cubicBezTo>
                    <a:pt x="1382" y="8"/>
                    <a:pt x="1382" y="8"/>
                    <a:pt x="1382" y="8"/>
                  </a:cubicBezTo>
                  <a:cubicBezTo>
                    <a:pt x="1382" y="8"/>
                    <a:pt x="1382" y="8"/>
                    <a:pt x="1382" y="8"/>
                  </a:cubicBezTo>
                  <a:cubicBezTo>
                    <a:pt x="1382" y="8"/>
                    <a:pt x="1382" y="8"/>
                    <a:pt x="1382" y="8"/>
                  </a:cubicBezTo>
                  <a:cubicBezTo>
                    <a:pt x="1381" y="7"/>
                    <a:pt x="1381" y="7"/>
                    <a:pt x="1381" y="7"/>
                  </a:cubicBezTo>
                  <a:cubicBezTo>
                    <a:pt x="1381" y="7"/>
                    <a:pt x="1381" y="7"/>
                    <a:pt x="1381" y="7"/>
                  </a:cubicBezTo>
                  <a:cubicBezTo>
                    <a:pt x="1381" y="7"/>
                    <a:pt x="1381" y="7"/>
                    <a:pt x="1381" y="7"/>
                  </a:cubicBezTo>
                  <a:cubicBezTo>
                    <a:pt x="1380" y="7"/>
                    <a:pt x="1380" y="7"/>
                    <a:pt x="1379" y="7"/>
                  </a:cubicBezTo>
                  <a:cubicBezTo>
                    <a:pt x="1379" y="7"/>
                    <a:pt x="1379" y="7"/>
                    <a:pt x="1379" y="7"/>
                  </a:cubicBezTo>
                  <a:cubicBezTo>
                    <a:pt x="1379" y="6"/>
                    <a:pt x="1378" y="7"/>
                    <a:pt x="1378" y="7"/>
                  </a:cubicBezTo>
                  <a:cubicBezTo>
                    <a:pt x="1378" y="7"/>
                    <a:pt x="1378" y="7"/>
                    <a:pt x="1378" y="6"/>
                  </a:cubicBezTo>
                  <a:cubicBezTo>
                    <a:pt x="1377" y="6"/>
                    <a:pt x="1377" y="6"/>
                    <a:pt x="1376" y="6"/>
                  </a:cubicBezTo>
                  <a:cubicBezTo>
                    <a:pt x="1376" y="6"/>
                    <a:pt x="1376" y="6"/>
                    <a:pt x="1376" y="6"/>
                  </a:cubicBezTo>
                  <a:cubicBezTo>
                    <a:pt x="1375" y="6"/>
                    <a:pt x="1374" y="6"/>
                    <a:pt x="1373" y="6"/>
                  </a:cubicBezTo>
                  <a:cubicBezTo>
                    <a:pt x="1373" y="6"/>
                    <a:pt x="1372" y="6"/>
                    <a:pt x="1371" y="6"/>
                  </a:cubicBezTo>
                  <a:cubicBezTo>
                    <a:pt x="1371" y="6"/>
                    <a:pt x="1370" y="6"/>
                    <a:pt x="1369" y="6"/>
                  </a:cubicBezTo>
                  <a:cubicBezTo>
                    <a:pt x="1368" y="6"/>
                    <a:pt x="1368" y="6"/>
                    <a:pt x="1367" y="6"/>
                  </a:cubicBezTo>
                  <a:cubicBezTo>
                    <a:pt x="1366" y="6"/>
                    <a:pt x="1365" y="6"/>
                    <a:pt x="1364" y="6"/>
                  </a:cubicBezTo>
                  <a:cubicBezTo>
                    <a:pt x="1364" y="6"/>
                    <a:pt x="1364" y="6"/>
                    <a:pt x="1364" y="6"/>
                  </a:cubicBezTo>
                  <a:cubicBezTo>
                    <a:pt x="1363" y="7"/>
                    <a:pt x="1363" y="6"/>
                    <a:pt x="1362" y="6"/>
                  </a:cubicBezTo>
                  <a:cubicBezTo>
                    <a:pt x="1362" y="7"/>
                    <a:pt x="1362" y="7"/>
                    <a:pt x="1362" y="7"/>
                  </a:cubicBezTo>
                  <a:cubicBezTo>
                    <a:pt x="1361" y="7"/>
                    <a:pt x="1361" y="6"/>
                    <a:pt x="1360" y="7"/>
                  </a:cubicBezTo>
                  <a:cubicBezTo>
                    <a:pt x="1360" y="7"/>
                    <a:pt x="1360" y="7"/>
                    <a:pt x="1360" y="7"/>
                  </a:cubicBezTo>
                  <a:cubicBezTo>
                    <a:pt x="1360" y="7"/>
                    <a:pt x="1360" y="7"/>
                    <a:pt x="1359" y="7"/>
                  </a:cubicBezTo>
                  <a:cubicBezTo>
                    <a:pt x="1359" y="7"/>
                    <a:pt x="1359" y="7"/>
                    <a:pt x="1359" y="7"/>
                  </a:cubicBezTo>
                  <a:cubicBezTo>
                    <a:pt x="1359" y="7"/>
                    <a:pt x="1358" y="7"/>
                    <a:pt x="1358" y="7"/>
                  </a:cubicBezTo>
                  <a:cubicBezTo>
                    <a:pt x="1358" y="8"/>
                    <a:pt x="1358" y="8"/>
                    <a:pt x="1358" y="8"/>
                  </a:cubicBezTo>
                  <a:cubicBezTo>
                    <a:pt x="1358" y="8"/>
                    <a:pt x="1357" y="8"/>
                    <a:pt x="1357" y="8"/>
                  </a:cubicBezTo>
                  <a:cubicBezTo>
                    <a:pt x="1357" y="8"/>
                    <a:pt x="1357" y="8"/>
                    <a:pt x="1357" y="8"/>
                  </a:cubicBezTo>
                  <a:cubicBezTo>
                    <a:pt x="1357" y="8"/>
                    <a:pt x="1357" y="8"/>
                    <a:pt x="1357" y="8"/>
                  </a:cubicBezTo>
                  <a:cubicBezTo>
                    <a:pt x="1357" y="8"/>
                    <a:pt x="1356" y="8"/>
                    <a:pt x="1356" y="8"/>
                  </a:cubicBezTo>
                  <a:cubicBezTo>
                    <a:pt x="1356" y="8"/>
                    <a:pt x="1356" y="8"/>
                    <a:pt x="1356" y="8"/>
                  </a:cubicBezTo>
                  <a:cubicBezTo>
                    <a:pt x="1356" y="8"/>
                    <a:pt x="1356" y="8"/>
                    <a:pt x="1355" y="9"/>
                  </a:cubicBezTo>
                  <a:cubicBezTo>
                    <a:pt x="1355" y="9"/>
                    <a:pt x="1355" y="9"/>
                    <a:pt x="1355" y="9"/>
                  </a:cubicBezTo>
                  <a:cubicBezTo>
                    <a:pt x="1355" y="9"/>
                    <a:pt x="1355" y="9"/>
                    <a:pt x="1355" y="9"/>
                  </a:cubicBezTo>
                  <a:cubicBezTo>
                    <a:pt x="1355" y="9"/>
                    <a:pt x="1355" y="9"/>
                    <a:pt x="1355" y="9"/>
                  </a:cubicBezTo>
                  <a:cubicBezTo>
                    <a:pt x="1355" y="9"/>
                    <a:pt x="1354" y="9"/>
                    <a:pt x="1354" y="9"/>
                  </a:cubicBezTo>
                  <a:cubicBezTo>
                    <a:pt x="1354" y="9"/>
                    <a:pt x="1354" y="9"/>
                    <a:pt x="1354" y="9"/>
                  </a:cubicBezTo>
                  <a:cubicBezTo>
                    <a:pt x="1354" y="9"/>
                    <a:pt x="1354" y="9"/>
                    <a:pt x="1353" y="10"/>
                  </a:cubicBezTo>
                  <a:cubicBezTo>
                    <a:pt x="1353" y="10"/>
                    <a:pt x="1353" y="10"/>
                    <a:pt x="1353" y="10"/>
                  </a:cubicBezTo>
                  <a:cubicBezTo>
                    <a:pt x="1353" y="10"/>
                    <a:pt x="1353" y="10"/>
                    <a:pt x="1353" y="10"/>
                  </a:cubicBezTo>
                  <a:cubicBezTo>
                    <a:pt x="1353" y="10"/>
                    <a:pt x="1353" y="10"/>
                    <a:pt x="1353" y="10"/>
                  </a:cubicBezTo>
                  <a:cubicBezTo>
                    <a:pt x="1353" y="10"/>
                    <a:pt x="1352" y="10"/>
                    <a:pt x="1352" y="10"/>
                  </a:cubicBezTo>
                  <a:cubicBezTo>
                    <a:pt x="1352" y="10"/>
                    <a:pt x="1352" y="10"/>
                    <a:pt x="1352" y="10"/>
                  </a:cubicBezTo>
                  <a:cubicBezTo>
                    <a:pt x="1352" y="11"/>
                    <a:pt x="1352" y="10"/>
                    <a:pt x="1352" y="11"/>
                  </a:cubicBezTo>
                  <a:cubicBezTo>
                    <a:pt x="1352" y="11"/>
                    <a:pt x="1352" y="11"/>
                    <a:pt x="1352" y="11"/>
                  </a:cubicBezTo>
                  <a:cubicBezTo>
                    <a:pt x="1351" y="11"/>
                    <a:pt x="1351" y="11"/>
                    <a:pt x="1351" y="11"/>
                  </a:cubicBezTo>
                  <a:cubicBezTo>
                    <a:pt x="1351" y="11"/>
                    <a:pt x="1351" y="11"/>
                    <a:pt x="1351" y="11"/>
                  </a:cubicBezTo>
                  <a:cubicBezTo>
                    <a:pt x="1350" y="11"/>
                    <a:pt x="1350" y="12"/>
                    <a:pt x="1350" y="12"/>
                  </a:cubicBezTo>
                  <a:cubicBezTo>
                    <a:pt x="1350" y="12"/>
                    <a:pt x="1350" y="12"/>
                    <a:pt x="1350" y="12"/>
                  </a:cubicBezTo>
                  <a:cubicBezTo>
                    <a:pt x="1350" y="12"/>
                    <a:pt x="1350" y="12"/>
                    <a:pt x="1350" y="12"/>
                  </a:cubicBezTo>
                  <a:cubicBezTo>
                    <a:pt x="1350" y="12"/>
                    <a:pt x="1350" y="12"/>
                    <a:pt x="1350" y="12"/>
                  </a:cubicBezTo>
                  <a:cubicBezTo>
                    <a:pt x="1349" y="12"/>
                    <a:pt x="1349" y="12"/>
                    <a:pt x="1349" y="12"/>
                  </a:cubicBezTo>
                  <a:cubicBezTo>
                    <a:pt x="1349" y="12"/>
                    <a:pt x="1349" y="12"/>
                    <a:pt x="1349" y="12"/>
                  </a:cubicBezTo>
                  <a:cubicBezTo>
                    <a:pt x="1349" y="13"/>
                    <a:pt x="1349" y="13"/>
                    <a:pt x="1349" y="13"/>
                  </a:cubicBezTo>
                  <a:cubicBezTo>
                    <a:pt x="1349" y="13"/>
                    <a:pt x="1349" y="13"/>
                    <a:pt x="1349" y="13"/>
                  </a:cubicBezTo>
                  <a:cubicBezTo>
                    <a:pt x="1349" y="13"/>
                    <a:pt x="1348" y="13"/>
                    <a:pt x="1348" y="14"/>
                  </a:cubicBezTo>
                  <a:cubicBezTo>
                    <a:pt x="1348" y="14"/>
                    <a:pt x="1348" y="14"/>
                    <a:pt x="1348" y="14"/>
                  </a:cubicBezTo>
                  <a:cubicBezTo>
                    <a:pt x="1348" y="14"/>
                    <a:pt x="1348" y="14"/>
                    <a:pt x="1347" y="14"/>
                  </a:cubicBezTo>
                  <a:cubicBezTo>
                    <a:pt x="1348" y="14"/>
                    <a:pt x="1348" y="14"/>
                    <a:pt x="1348" y="14"/>
                  </a:cubicBezTo>
                  <a:cubicBezTo>
                    <a:pt x="1347" y="14"/>
                    <a:pt x="1347" y="14"/>
                    <a:pt x="1347" y="14"/>
                  </a:cubicBezTo>
                  <a:cubicBezTo>
                    <a:pt x="1347" y="14"/>
                    <a:pt x="1347" y="14"/>
                    <a:pt x="1347" y="14"/>
                  </a:cubicBezTo>
                  <a:cubicBezTo>
                    <a:pt x="1347" y="14"/>
                    <a:pt x="1347" y="14"/>
                    <a:pt x="1347" y="15"/>
                  </a:cubicBezTo>
                  <a:cubicBezTo>
                    <a:pt x="1347" y="15"/>
                    <a:pt x="1347" y="15"/>
                    <a:pt x="1347" y="15"/>
                  </a:cubicBezTo>
                  <a:cubicBezTo>
                    <a:pt x="1346" y="17"/>
                    <a:pt x="1347" y="19"/>
                    <a:pt x="1347" y="22"/>
                  </a:cubicBezTo>
                  <a:cubicBezTo>
                    <a:pt x="1347" y="23"/>
                    <a:pt x="1346" y="25"/>
                    <a:pt x="1347" y="26"/>
                  </a:cubicBezTo>
                  <a:cubicBezTo>
                    <a:pt x="1348" y="25"/>
                    <a:pt x="1349" y="24"/>
                    <a:pt x="1350" y="23"/>
                  </a:cubicBezTo>
                  <a:cubicBezTo>
                    <a:pt x="1350" y="23"/>
                    <a:pt x="1350" y="23"/>
                    <a:pt x="1350" y="23"/>
                  </a:cubicBezTo>
                  <a:cubicBezTo>
                    <a:pt x="1350" y="23"/>
                    <a:pt x="1350" y="23"/>
                    <a:pt x="1350" y="23"/>
                  </a:cubicBezTo>
                  <a:cubicBezTo>
                    <a:pt x="1350" y="23"/>
                    <a:pt x="1350" y="23"/>
                    <a:pt x="1350" y="23"/>
                  </a:cubicBezTo>
                  <a:cubicBezTo>
                    <a:pt x="1350" y="23"/>
                    <a:pt x="1350" y="23"/>
                    <a:pt x="1351" y="23"/>
                  </a:cubicBezTo>
                  <a:cubicBezTo>
                    <a:pt x="1351" y="23"/>
                    <a:pt x="1351" y="23"/>
                    <a:pt x="1351" y="23"/>
                  </a:cubicBezTo>
                  <a:cubicBezTo>
                    <a:pt x="1351" y="23"/>
                    <a:pt x="1351" y="23"/>
                    <a:pt x="1351" y="22"/>
                  </a:cubicBezTo>
                  <a:cubicBezTo>
                    <a:pt x="1351" y="22"/>
                    <a:pt x="1351" y="22"/>
                    <a:pt x="1351" y="22"/>
                  </a:cubicBezTo>
                  <a:cubicBezTo>
                    <a:pt x="1351" y="22"/>
                    <a:pt x="1351" y="22"/>
                    <a:pt x="1351" y="22"/>
                  </a:cubicBezTo>
                  <a:cubicBezTo>
                    <a:pt x="1351" y="22"/>
                    <a:pt x="1351" y="22"/>
                    <a:pt x="1351" y="22"/>
                  </a:cubicBezTo>
                  <a:cubicBezTo>
                    <a:pt x="1351" y="22"/>
                    <a:pt x="1352" y="22"/>
                    <a:pt x="1352" y="22"/>
                  </a:cubicBezTo>
                  <a:cubicBezTo>
                    <a:pt x="1352" y="22"/>
                    <a:pt x="1352" y="22"/>
                    <a:pt x="1352" y="22"/>
                  </a:cubicBezTo>
                  <a:cubicBezTo>
                    <a:pt x="1352" y="22"/>
                    <a:pt x="1352" y="22"/>
                    <a:pt x="1352" y="21"/>
                  </a:cubicBezTo>
                  <a:cubicBezTo>
                    <a:pt x="1352" y="21"/>
                    <a:pt x="1352" y="21"/>
                    <a:pt x="1352" y="21"/>
                  </a:cubicBezTo>
                  <a:cubicBezTo>
                    <a:pt x="1352" y="21"/>
                    <a:pt x="1353" y="21"/>
                    <a:pt x="1353" y="21"/>
                  </a:cubicBezTo>
                  <a:cubicBezTo>
                    <a:pt x="1353" y="21"/>
                    <a:pt x="1353" y="21"/>
                    <a:pt x="1353" y="21"/>
                  </a:cubicBezTo>
                  <a:cubicBezTo>
                    <a:pt x="1353" y="21"/>
                    <a:pt x="1353" y="21"/>
                    <a:pt x="1353" y="21"/>
                  </a:cubicBezTo>
                  <a:cubicBezTo>
                    <a:pt x="1353" y="21"/>
                    <a:pt x="1353" y="21"/>
                    <a:pt x="1353" y="21"/>
                  </a:cubicBezTo>
                  <a:cubicBezTo>
                    <a:pt x="1353" y="21"/>
                    <a:pt x="1354" y="21"/>
                    <a:pt x="1354" y="20"/>
                  </a:cubicBezTo>
                  <a:cubicBezTo>
                    <a:pt x="1354" y="20"/>
                    <a:pt x="1354" y="20"/>
                    <a:pt x="1354" y="20"/>
                  </a:cubicBezTo>
                  <a:cubicBezTo>
                    <a:pt x="1354" y="20"/>
                    <a:pt x="1354" y="20"/>
                    <a:pt x="1355" y="20"/>
                  </a:cubicBezTo>
                  <a:cubicBezTo>
                    <a:pt x="1355" y="20"/>
                    <a:pt x="1355" y="20"/>
                    <a:pt x="1355" y="20"/>
                  </a:cubicBezTo>
                  <a:cubicBezTo>
                    <a:pt x="1355" y="20"/>
                    <a:pt x="1355" y="20"/>
                    <a:pt x="1355" y="19"/>
                  </a:cubicBezTo>
                  <a:cubicBezTo>
                    <a:pt x="1355" y="19"/>
                    <a:pt x="1355" y="19"/>
                    <a:pt x="1355" y="19"/>
                  </a:cubicBezTo>
                  <a:cubicBezTo>
                    <a:pt x="1356" y="19"/>
                    <a:pt x="1356" y="19"/>
                    <a:pt x="1356" y="19"/>
                  </a:cubicBezTo>
                  <a:cubicBezTo>
                    <a:pt x="1356" y="19"/>
                    <a:pt x="1356" y="19"/>
                    <a:pt x="1356" y="19"/>
                  </a:cubicBezTo>
                  <a:cubicBezTo>
                    <a:pt x="1356" y="19"/>
                    <a:pt x="1356" y="19"/>
                    <a:pt x="1356" y="19"/>
                  </a:cubicBezTo>
                  <a:cubicBezTo>
                    <a:pt x="1356" y="19"/>
                    <a:pt x="1356" y="19"/>
                    <a:pt x="1356" y="19"/>
                  </a:cubicBezTo>
                  <a:cubicBezTo>
                    <a:pt x="1357" y="18"/>
                    <a:pt x="1357" y="19"/>
                    <a:pt x="1357" y="18"/>
                  </a:cubicBezTo>
                  <a:cubicBezTo>
                    <a:pt x="1357" y="18"/>
                    <a:pt x="1357" y="18"/>
                    <a:pt x="1357" y="18"/>
                  </a:cubicBezTo>
                  <a:cubicBezTo>
                    <a:pt x="1357" y="18"/>
                    <a:pt x="1358" y="18"/>
                    <a:pt x="1358" y="18"/>
                  </a:cubicBezTo>
                  <a:cubicBezTo>
                    <a:pt x="1358" y="18"/>
                    <a:pt x="1358" y="18"/>
                    <a:pt x="1358" y="18"/>
                  </a:cubicBezTo>
                  <a:cubicBezTo>
                    <a:pt x="1358" y="18"/>
                    <a:pt x="1358" y="18"/>
                    <a:pt x="1359" y="18"/>
                  </a:cubicBezTo>
                  <a:cubicBezTo>
                    <a:pt x="1359" y="18"/>
                    <a:pt x="1359" y="18"/>
                    <a:pt x="1359" y="18"/>
                  </a:cubicBezTo>
                  <a:cubicBezTo>
                    <a:pt x="1359" y="17"/>
                    <a:pt x="1359" y="17"/>
                    <a:pt x="1359" y="17"/>
                  </a:cubicBezTo>
                  <a:cubicBezTo>
                    <a:pt x="1359" y="17"/>
                    <a:pt x="1359" y="17"/>
                    <a:pt x="1359" y="17"/>
                  </a:cubicBezTo>
                  <a:cubicBezTo>
                    <a:pt x="1359" y="17"/>
                    <a:pt x="1360" y="17"/>
                    <a:pt x="1360" y="17"/>
                  </a:cubicBezTo>
                  <a:cubicBezTo>
                    <a:pt x="1360" y="17"/>
                    <a:pt x="1360" y="17"/>
                    <a:pt x="1360" y="17"/>
                  </a:cubicBezTo>
                  <a:cubicBezTo>
                    <a:pt x="1360" y="17"/>
                    <a:pt x="1360" y="17"/>
                    <a:pt x="1360" y="17"/>
                  </a:cubicBezTo>
                  <a:cubicBezTo>
                    <a:pt x="1360" y="17"/>
                    <a:pt x="1361" y="17"/>
                    <a:pt x="1361" y="17"/>
                  </a:cubicBezTo>
                  <a:cubicBezTo>
                    <a:pt x="1361" y="17"/>
                    <a:pt x="1361" y="17"/>
                    <a:pt x="1361" y="17"/>
                  </a:cubicBezTo>
                  <a:cubicBezTo>
                    <a:pt x="1361" y="16"/>
                    <a:pt x="1362" y="17"/>
                    <a:pt x="1362" y="16"/>
                  </a:cubicBezTo>
                  <a:cubicBezTo>
                    <a:pt x="1362" y="16"/>
                    <a:pt x="1362" y="16"/>
                    <a:pt x="1362" y="16"/>
                  </a:cubicBezTo>
                  <a:cubicBezTo>
                    <a:pt x="1362" y="16"/>
                    <a:pt x="1363" y="16"/>
                    <a:pt x="1363" y="16"/>
                  </a:cubicBezTo>
                  <a:cubicBezTo>
                    <a:pt x="1363" y="16"/>
                    <a:pt x="1363" y="16"/>
                    <a:pt x="1363" y="16"/>
                  </a:cubicBezTo>
                  <a:cubicBezTo>
                    <a:pt x="1363" y="16"/>
                    <a:pt x="1363" y="16"/>
                    <a:pt x="1363" y="16"/>
                  </a:cubicBezTo>
                  <a:cubicBezTo>
                    <a:pt x="1364" y="16"/>
                    <a:pt x="1364" y="16"/>
                    <a:pt x="1364" y="16"/>
                  </a:cubicBezTo>
                  <a:cubicBezTo>
                    <a:pt x="1365" y="15"/>
                    <a:pt x="1365" y="15"/>
                    <a:pt x="1365" y="15"/>
                  </a:cubicBezTo>
                  <a:cubicBezTo>
                    <a:pt x="1366" y="15"/>
                    <a:pt x="1366" y="16"/>
                    <a:pt x="1367" y="15"/>
                  </a:cubicBezTo>
                  <a:cubicBezTo>
                    <a:pt x="1367" y="15"/>
                    <a:pt x="1368" y="15"/>
                    <a:pt x="1368" y="15"/>
                  </a:cubicBezTo>
                  <a:cubicBezTo>
                    <a:pt x="1369" y="15"/>
                    <a:pt x="1369" y="15"/>
                    <a:pt x="1370" y="15"/>
                  </a:cubicBezTo>
                  <a:cubicBezTo>
                    <a:pt x="1371" y="15"/>
                    <a:pt x="1371" y="15"/>
                    <a:pt x="1371" y="15"/>
                  </a:cubicBezTo>
                  <a:cubicBezTo>
                    <a:pt x="1372" y="16"/>
                    <a:pt x="1373" y="15"/>
                    <a:pt x="1373" y="15"/>
                  </a:cubicBezTo>
                  <a:cubicBezTo>
                    <a:pt x="1373" y="15"/>
                    <a:pt x="1373" y="15"/>
                    <a:pt x="1373" y="15"/>
                  </a:cubicBezTo>
                  <a:cubicBezTo>
                    <a:pt x="1374" y="16"/>
                    <a:pt x="1374" y="16"/>
                    <a:pt x="1374" y="16"/>
                  </a:cubicBezTo>
                  <a:cubicBezTo>
                    <a:pt x="1374" y="16"/>
                    <a:pt x="1375" y="16"/>
                    <a:pt x="1375" y="16"/>
                  </a:cubicBezTo>
                  <a:cubicBezTo>
                    <a:pt x="1375" y="16"/>
                    <a:pt x="1375" y="16"/>
                    <a:pt x="1375" y="16"/>
                  </a:cubicBezTo>
                  <a:cubicBezTo>
                    <a:pt x="1375" y="16"/>
                    <a:pt x="1376" y="16"/>
                    <a:pt x="1376" y="16"/>
                  </a:cubicBezTo>
                  <a:cubicBezTo>
                    <a:pt x="1376" y="16"/>
                    <a:pt x="1376" y="16"/>
                    <a:pt x="1376" y="16"/>
                  </a:cubicBezTo>
                  <a:cubicBezTo>
                    <a:pt x="1376" y="17"/>
                    <a:pt x="1377" y="16"/>
                    <a:pt x="1377" y="17"/>
                  </a:cubicBezTo>
                  <a:cubicBezTo>
                    <a:pt x="1377" y="17"/>
                    <a:pt x="1377" y="17"/>
                    <a:pt x="1377" y="17"/>
                  </a:cubicBezTo>
                  <a:cubicBezTo>
                    <a:pt x="1377" y="17"/>
                    <a:pt x="1378" y="17"/>
                    <a:pt x="1378" y="17"/>
                  </a:cubicBezTo>
                  <a:cubicBezTo>
                    <a:pt x="1378" y="17"/>
                    <a:pt x="1378" y="17"/>
                    <a:pt x="1378" y="17"/>
                  </a:cubicBezTo>
                  <a:cubicBezTo>
                    <a:pt x="1378" y="17"/>
                    <a:pt x="1378" y="17"/>
                    <a:pt x="1378" y="17"/>
                  </a:cubicBezTo>
                  <a:cubicBezTo>
                    <a:pt x="1378" y="17"/>
                    <a:pt x="1378" y="17"/>
                    <a:pt x="1378" y="17"/>
                  </a:cubicBezTo>
                  <a:cubicBezTo>
                    <a:pt x="1379" y="17"/>
                    <a:pt x="1379" y="17"/>
                    <a:pt x="1379" y="18"/>
                  </a:cubicBezTo>
                  <a:cubicBezTo>
                    <a:pt x="1379" y="18"/>
                    <a:pt x="1379" y="18"/>
                    <a:pt x="1379" y="18"/>
                  </a:cubicBezTo>
                  <a:cubicBezTo>
                    <a:pt x="1379" y="18"/>
                    <a:pt x="1379" y="18"/>
                    <a:pt x="1380" y="18"/>
                  </a:cubicBezTo>
                  <a:cubicBezTo>
                    <a:pt x="1379" y="18"/>
                    <a:pt x="1379" y="18"/>
                    <a:pt x="1379" y="18"/>
                  </a:cubicBezTo>
                  <a:cubicBezTo>
                    <a:pt x="1380" y="18"/>
                    <a:pt x="1380" y="18"/>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1"/>
                    <a:pt x="1382" y="21"/>
                    <a:pt x="1383" y="21"/>
                  </a:cubicBezTo>
                  <a:cubicBezTo>
                    <a:pt x="1383" y="21"/>
                    <a:pt x="1383" y="21"/>
                    <a:pt x="1383" y="21"/>
                  </a:cubicBezTo>
                  <a:cubicBezTo>
                    <a:pt x="1383" y="21"/>
                    <a:pt x="1383" y="21"/>
                    <a:pt x="1383" y="21"/>
                  </a:cubicBezTo>
                  <a:cubicBezTo>
                    <a:pt x="1383" y="21"/>
                    <a:pt x="1383" y="21"/>
                    <a:pt x="1383" y="21"/>
                  </a:cubicBezTo>
                  <a:cubicBezTo>
                    <a:pt x="1383" y="21"/>
                    <a:pt x="1383" y="22"/>
                    <a:pt x="1383" y="22"/>
                  </a:cubicBezTo>
                  <a:cubicBezTo>
                    <a:pt x="1383" y="22"/>
                    <a:pt x="1383" y="22"/>
                    <a:pt x="1383" y="22"/>
                  </a:cubicBezTo>
                  <a:cubicBezTo>
                    <a:pt x="1383" y="22"/>
                    <a:pt x="1384" y="22"/>
                    <a:pt x="1384" y="22"/>
                  </a:cubicBezTo>
                  <a:cubicBezTo>
                    <a:pt x="1384" y="22"/>
                    <a:pt x="1384" y="22"/>
                    <a:pt x="1384" y="22"/>
                  </a:cubicBezTo>
                  <a:cubicBezTo>
                    <a:pt x="1384" y="22"/>
                    <a:pt x="1384" y="23"/>
                    <a:pt x="1384" y="23"/>
                  </a:cubicBezTo>
                  <a:cubicBezTo>
                    <a:pt x="1384" y="23"/>
                    <a:pt x="1384" y="23"/>
                    <a:pt x="1384" y="23"/>
                  </a:cubicBezTo>
                  <a:cubicBezTo>
                    <a:pt x="1384" y="23"/>
                    <a:pt x="1384" y="23"/>
                    <a:pt x="1384" y="24"/>
                  </a:cubicBezTo>
                  <a:cubicBezTo>
                    <a:pt x="1384" y="23"/>
                    <a:pt x="1384" y="23"/>
                    <a:pt x="1384" y="23"/>
                  </a:cubicBezTo>
                  <a:cubicBezTo>
                    <a:pt x="1385" y="24"/>
                    <a:pt x="1384" y="24"/>
                    <a:pt x="1385" y="24"/>
                  </a:cubicBezTo>
                  <a:cubicBezTo>
                    <a:pt x="1385" y="24"/>
                    <a:pt x="1385" y="24"/>
                    <a:pt x="1385" y="24"/>
                  </a:cubicBezTo>
                  <a:cubicBezTo>
                    <a:pt x="1385" y="24"/>
                    <a:pt x="1385" y="25"/>
                    <a:pt x="1385" y="25"/>
                  </a:cubicBezTo>
                  <a:cubicBezTo>
                    <a:pt x="1385" y="25"/>
                    <a:pt x="1385" y="25"/>
                    <a:pt x="1385" y="25"/>
                  </a:cubicBezTo>
                  <a:cubicBezTo>
                    <a:pt x="1385" y="25"/>
                    <a:pt x="1385" y="26"/>
                    <a:pt x="1385" y="26"/>
                  </a:cubicBezTo>
                  <a:cubicBezTo>
                    <a:pt x="1385" y="26"/>
                    <a:pt x="1385" y="26"/>
                    <a:pt x="1385" y="26"/>
                  </a:cubicBezTo>
                  <a:cubicBezTo>
                    <a:pt x="1386" y="26"/>
                    <a:pt x="1385" y="27"/>
                    <a:pt x="1386" y="27"/>
                  </a:cubicBezTo>
                  <a:cubicBezTo>
                    <a:pt x="1386" y="27"/>
                    <a:pt x="1386" y="27"/>
                    <a:pt x="1386" y="27"/>
                  </a:cubicBezTo>
                  <a:cubicBezTo>
                    <a:pt x="1386" y="28"/>
                    <a:pt x="1386" y="29"/>
                    <a:pt x="1386" y="29"/>
                  </a:cubicBezTo>
                  <a:cubicBezTo>
                    <a:pt x="1386" y="29"/>
                    <a:pt x="1386" y="29"/>
                    <a:pt x="1386" y="30"/>
                  </a:cubicBezTo>
                  <a:cubicBezTo>
                    <a:pt x="1386" y="31"/>
                    <a:pt x="1386" y="33"/>
                    <a:pt x="1386" y="35"/>
                  </a:cubicBezTo>
                  <a:cubicBezTo>
                    <a:pt x="1386" y="35"/>
                    <a:pt x="1386" y="35"/>
                    <a:pt x="1386" y="35"/>
                  </a:cubicBezTo>
                  <a:cubicBezTo>
                    <a:pt x="1386" y="36"/>
                    <a:pt x="1386" y="37"/>
                    <a:pt x="1386" y="37"/>
                  </a:cubicBezTo>
                  <a:close/>
                  <a:moveTo>
                    <a:pt x="603" y="123"/>
                  </a:moveTo>
                  <a:cubicBezTo>
                    <a:pt x="603" y="124"/>
                    <a:pt x="603" y="124"/>
                    <a:pt x="603" y="123"/>
                  </a:cubicBezTo>
                  <a:cubicBezTo>
                    <a:pt x="601" y="124"/>
                    <a:pt x="600" y="124"/>
                    <a:pt x="599" y="123"/>
                  </a:cubicBezTo>
                  <a:cubicBezTo>
                    <a:pt x="599" y="124"/>
                    <a:pt x="599" y="124"/>
                    <a:pt x="598" y="123"/>
                  </a:cubicBezTo>
                  <a:cubicBezTo>
                    <a:pt x="598" y="123"/>
                    <a:pt x="597" y="123"/>
                    <a:pt x="597" y="123"/>
                  </a:cubicBezTo>
                  <a:cubicBezTo>
                    <a:pt x="597" y="123"/>
                    <a:pt x="597" y="123"/>
                    <a:pt x="597" y="123"/>
                  </a:cubicBezTo>
                  <a:cubicBezTo>
                    <a:pt x="596" y="123"/>
                    <a:pt x="596" y="123"/>
                    <a:pt x="596" y="123"/>
                  </a:cubicBezTo>
                  <a:cubicBezTo>
                    <a:pt x="596" y="123"/>
                    <a:pt x="596" y="123"/>
                    <a:pt x="596" y="123"/>
                  </a:cubicBezTo>
                  <a:cubicBezTo>
                    <a:pt x="595" y="122"/>
                    <a:pt x="594" y="123"/>
                    <a:pt x="594" y="123"/>
                  </a:cubicBezTo>
                  <a:cubicBezTo>
                    <a:pt x="594" y="126"/>
                    <a:pt x="594" y="129"/>
                    <a:pt x="594" y="132"/>
                  </a:cubicBezTo>
                  <a:cubicBezTo>
                    <a:pt x="594" y="132"/>
                    <a:pt x="594" y="132"/>
                    <a:pt x="595" y="132"/>
                  </a:cubicBezTo>
                  <a:cubicBezTo>
                    <a:pt x="595" y="132"/>
                    <a:pt x="595" y="132"/>
                    <a:pt x="595" y="132"/>
                  </a:cubicBezTo>
                  <a:cubicBezTo>
                    <a:pt x="595" y="133"/>
                    <a:pt x="595" y="133"/>
                    <a:pt x="595" y="133"/>
                  </a:cubicBezTo>
                  <a:cubicBezTo>
                    <a:pt x="596" y="133"/>
                    <a:pt x="596" y="133"/>
                    <a:pt x="597" y="133"/>
                  </a:cubicBezTo>
                  <a:cubicBezTo>
                    <a:pt x="597" y="133"/>
                    <a:pt x="597" y="133"/>
                    <a:pt x="597" y="133"/>
                  </a:cubicBezTo>
                  <a:cubicBezTo>
                    <a:pt x="600" y="133"/>
                    <a:pt x="602" y="133"/>
                    <a:pt x="605" y="133"/>
                  </a:cubicBezTo>
                  <a:cubicBezTo>
                    <a:pt x="605" y="133"/>
                    <a:pt x="605" y="133"/>
                    <a:pt x="605" y="133"/>
                  </a:cubicBezTo>
                  <a:cubicBezTo>
                    <a:pt x="605" y="133"/>
                    <a:pt x="605" y="133"/>
                    <a:pt x="605" y="133"/>
                  </a:cubicBezTo>
                  <a:cubicBezTo>
                    <a:pt x="606" y="132"/>
                    <a:pt x="606" y="133"/>
                    <a:pt x="607" y="132"/>
                  </a:cubicBezTo>
                  <a:cubicBezTo>
                    <a:pt x="607" y="132"/>
                    <a:pt x="607" y="132"/>
                    <a:pt x="607" y="132"/>
                  </a:cubicBezTo>
                  <a:cubicBezTo>
                    <a:pt x="607" y="132"/>
                    <a:pt x="607" y="132"/>
                    <a:pt x="608" y="132"/>
                  </a:cubicBezTo>
                  <a:cubicBezTo>
                    <a:pt x="608" y="132"/>
                    <a:pt x="608" y="132"/>
                    <a:pt x="608" y="132"/>
                  </a:cubicBezTo>
                  <a:cubicBezTo>
                    <a:pt x="608" y="132"/>
                    <a:pt x="608" y="132"/>
                    <a:pt x="608" y="132"/>
                  </a:cubicBezTo>
                  <a:cubicBezTo>
                    <a:pt x="608" y="132"/>
                    <a:pt x="609" y="132"/>
                    <a:pt x="609" y="132"/>
                  </a:cubicBezTo>
                  <a:cubicBezTo>
                    <a:pt x="609" y="132"/>
                    <a:pt x="609" y="132"/>
                    <a:pt x="609" y="132"/>
                  </a:cubicBezTo>
                  <a:cubicBezTo>
                    <a:pt x="609" y="132"/>
                    <a:pt x="609" y="132"/>
                    <a:pt x="609" y="131"/>
                  </a:cubicBezTo>
                  <a:cubicBezTo>
                    <a:pt x="610" y="131"/>
                    <a:pt x="610" y="131"/>
                    <a:pt x="610" y="131"/>
                  </a:cubicBezTo>
                  <a:cubicBezTo>
                    <a:pt x="610" y="131"/>
                    <a:pt x="610" y="131"/>
                    <a:pt x="610" y="131"/>
                  </a:cubicBezTo>
                  <a:cubicBezTo>
                    <a:pt x="610" y="131"/>
                    <a:pt x="610" y="131"/>
                    <a:pt x="610" y="131"/>
                  </a:cubicBezTo>
                  <a:cubicBezTo>
                    <a:pt x="610" y="131"/>
                    <a:pt x="610" y="131"/>
                    <a:pt x="610" y="131"/>
                  </a:cubicBezTo>
                  <a:cubicBezTo>
                    <a:pt x="611" y="131"/>
                    <a:pt x="611" y="131"/>
                    <a:pt x="611" y="131"/>
                  </a:cubicBezTo>
                  <a:cubicBezTo>
                    <a:pt x="611" y="131"/>
                    <a:pt x="611" y="131"/>
                    <a:pt x="611" y="131"/>
                  </a:cubicBezTo>
                  <a:cubicBezTo>
                    <a:pt x="611" y="131"/>
                    <a:pt x="611" y="131"/>
                    <a:pt x="611" y="131"/>
                  </a:cubicBezTo>
                  <a:cubicBezTo>
                    <a:pt x="611" y="131"/>
                    <a:pt x="611" y="131"/>
                    <a:pt x="612" y="130"/>
                  </a:cubicBezTo>
                  <a:cubicBezTo>
                    <a:pt x="612" y="130"/>
                    <a:pt x="612" y="130"/>
                    <a:pt x="612" y="130"/>
                  </a:cubicBezTo>
                  <a:cubicBezTo>
                    <a:pt x="612" y="130"/>
                    <a:pt x="612" y="130"/>
                    <a:pt x="612" y="130"/>
                  </a:cubicBezTo>
                  <a:cubicBezTo>
                    <a:pt x="612" y="130"/>
                    <a:pt x="612" y="130"/>
                    <a:pt x="612" y="130"/>
                  </a:cubicBezTo>
                  <a:cubicBezTo>
                    <a:pt x="612" y="130"/>
                    <a:pt x="612" y="130"/>
                    <a:pt x="613" y="130"/>
                  </a:cubicBezTo>
                  <a:cubicBezTo>
                    <a:pt x="613" y="130"/>
                    <a:pt x="613" y="130"/>
                    <a:pt x="613" y="130"/>
                  </a:cubicBezTo>
                  <a:cubicBezTo>
                    <a:pt x="613" y="129"/>
                    <a:pt x="613" y="130"/>
                    <a:pt x="613" y="129"/>
                  </a:cubicBezTo>
                  <a:cubicBezTo>
                    <a:pt x="613" y="129"/>
                    <a:pt x="613" y="129"/>
                    <a:pt x="613" y="129"/>
                  </a:cubicBezTo>
                  <a:cubicBezTo>
                    <a:pt x="613" y="129"/>
                    <a:pt x="614" y="129"/>
                    <a:pt x="614" y="129"/>
                  </a:cubicBezTo>
                  <a:cubicBezTo>
                    <a:pt x="614" y="129"/>
                    <a:pt x="614" y="129"/>
                    <a:pt x="614" y="129"/>
                  </a:cubicBezTo>
                  <a:cubicBezTo>
                    <a:pt x="614" y="129"/>
                    <a:pt x="614" y="129"/>
                    <a:pt x="614" y="129"/>
                  </a:cubicBezTo>
                  <a:cubicBezTo>
                    <a:pt x="614" y="129"/>
                    <a:pt x="614" y="129"/>
                    <a:pt x="614" y="129"/>
                  </a:cubicBezTo>
                  <a:cubicBezTo>
                    <a:pt x="614" y="128"/>
                    <a:pt x="615" y="128"/>
                    <a:pt x="615" y="128"/>
                  </a:cubicBezTo>
                  <a:cubicBezTo>
                    <a:pt x="615" y="128"/>
                    <a:pt x="615" y="128"/>
                    <a:pt x="615" y="128"/>
                  </a:cubicBezTo>
                  <a:cubicBezTo>
                    <a:pt x="615" y="128"/>
                    <a:pt x="615" y="128"/>
                    <a:pt x="615" y="128"/>
                  </a:cubicBezTo>
                  <a:cubicBezTo>
                    <a:pt x="615" y="128"/>
                    <a:pt x="615" y="128"/>
                    <a:pt x="615" y="128"/>
                  </a:cubicBezTo>
                  <a:cubicBezTo>
                    <a:pt x="616" y="128"/>
                    <a:pt x="616" y="127"/>
                    <a:pt x="616" y="127"/>
                  </a:cubicBezTo>
                  <a:cubicBezTo>
                    <a:pt x="616" y="127"/>
                    <a:pt x="616" y="127"/>
                    <a:pt x="616" y="127"/>
                  </a:cubicBezTo>
                  <a:cubicBezTo>
                    <a:pt x="616" y="127"/>
                    <a:pt x="616" y="127"/>
                    <a:pt x="616" y="127"/>
                  </a:cubicBezTo>
                  <a:cubicBezTo>
                    <a:pt x="616" y="127"/>
                    <a:pt x="616" y="127"/>
                    <a:pt x="616" y="127"/>
                  </a:cubicBezTo>
                  <a:cubicBezTo>
                    <a:pt x="616" y="127"/>
                    <a:pt x="616" y="127"/>
                    <a:pt x="616" y="126"/>
                  </a:cubicBezTo>
                  <a:cubicBezTo>
                    <a:pt x="616" y="127"/>
                    <a:pt x="616" y="127"/>
                    <a:pt x="616" y="127"/>
                  </a:cubicBezTo>
                  <a:cubicBezTo>
                    <a:pt x="617" y="126"/>
                    <a:pt x="617" y="126"/>
                    <a:pt x="617" y="126"/>
                  </a:cubicBezTo>
                  <a:cubicBezTo>
                    <a:pt x="617" y="126"/>
                    <a:pt x="617" y="126"/>
                    <a:pt x="617" y="126"/>
                  </a:cubicBezTo>
                  <a:cubicBezTo>
                    <a:pt x="617" y="126"/>
                    <a:pt x="617" y="126"/>
                    <a:pt x="617" y="126"/>
                  </a:cubicBezTo>
                  <a:cubicBezTo>
                    <a:pt x="617" y="126"/>
                    <a:pt x="617" y="126"/>
                    <a:pt x="617" y="126"/>
                  </a:cubicBezTo>
                  <a:cubicBezTo>
                    <a:pt x="617" y="126"/>
                    <a:pt x="618" y="125"/>
                    <a:pt x="618" y="125"/>
                  </a:cubicBezTo>
                  <a:cubicBezTo>
                    <a:pt x="618" y="125"/>
                    <a:pt x="618" y="125"/>
                    <a:pt x="618" y="125"/>
                  </a:cubicBezTo>
                  <a:cubicBezTo>
                    <a:pt x="618" y="125"/>
                    <a:pt x="618" y="125"/>
                    <a:pt x="618" y="124"/>
                  </a:cubicBezTo>
                  <a:cubicBezTo>
                    <a:pt x="618" y="124"/>
                    <a:pt x="618" y="124"/>
                    <a:pt x="618" y="124"/>
                  </a:cubicBezTo>
                  <a:cubicBezTo>
                    <a:pt x="618" y="124"/>
                    <a:pt x="618" y="124"/>
                    <a:pt x="618" y="124"/>
                  </a:cubicBezTo>
                  <a:cubicBezTo>
                    <a:pt x="618" y="124"/>
                    <a:pt x="618" y="124"/>
                    <a:pt x="618" y="124"/>
                  </a:cubicBezTo>
                  <a:cubicBezTo>
                    <a:pt x="619" y="124"/>
                    <a:pt x="619" y="123"/>
                    <a:pt x="619" y="123"/>
                  </a:cubicBezTo>
                  <a:cubicBezTo>
                    <a:pt x="619" y="123"/>
                    <a:pt x="619" y="123"/>
                    <a:pt x="619" y="123"/>
                  </a:cubicBezTo>
                  <a:cubicBezTo>
                    <a:pt x="619" y="123"/>
                    <a:pt x="619" y="123"/>
                    <a:pt x="620" y="123"/>
                  </a:cubicBezTo>
                  <a:cubicBezTo>
                    <a:pt x="619" y="123"/>
                    <a:pt x="619" y="123"/>
                    <a:pt x="619" y="123"/>
                  </a:cubicBezTo>
                  <a:cubicBezTo>
                    <a:pt x="620" y="123"/>
                    <a:pt x="620" y="122"/>
                    <a:pt x="620" y="122"/>
                  </a:cubicBezTo>
                  <a:cubicBezTo>
                    <a:pt x="620" y="122"/>
                    <a:pt x="620" y="122"/>
                    <a:pt x="620" y="122"/>
                  </a:cubicBezTo>
                  <a:cubicBezTo>
                    <a:pt x="620" y="122"/>
                    <a:pt x="620" y="122"/>
                    <a:pt x="620" y="122"/>
                  </a:cubicBezTo>
                  <a:cubicBezTo>
                    <a:pt x="620" y="122"/>
                    <a:pt x="620" y="122"/>
                    <a:pt x="620" y="122"/>
                  </a:cubicBezTo>
                  <a:cubicBezTo>
                    <a:pt x="621" y="122"/>
                    <a:pt x="620" y="121"/>
                    <a:pt x="621" y="121"/>
                  </a:cubicBezTo>
                  <a:cubicBezTo>
                    <a:pt x="621" y="121"/>
                    <a:pt x="621" y="121"/>
                    <a:pt x="621" y="121"/>
                  </a:cubicBezTo>
                  <a:cubicBezTo>
                    <a:pt x="621" y="121"/>
                    <a:pt x="621" y="120"/>
                    <a:pt x="621" y="120"/>
                  </a:cubicBezTo>
                  <a:cubicBezTo>
                    <a:pt x="621" y="120"/>
                    <a:pt x="621" y="120"/>
                    <a:pt x="621" y="120"/>
                  </a:cubicBezTo>
                  <a:cubicBezTo>
                    <a:pt x="621" y="120"/>
                    <a:pt x="621" y="120"/>
                    <a:pt x="621" y="120"/>
                  </a:cubicBezTo>
                  <a:cubicBezTo>
                    <a:pt x="621" y="120"/>
                    <a:pt x="621" y="120"/>
                    <a:pt x="621" y="120"/>
                  </a:cubicBezTo>
                  <a:cubicBezTo>
                    <a:pt x="622" y="120"/>
                    <a:pt x="621" y="119"/>
                    <a:pt x="622" y="119"/>
                  </a:cubicBezTo>
                  <a:cubicBezTo>
                    <a:pt x="622" y="119"/>
                    <a:pt x="622" y="119"/>
                    <a:pt x="622" y="119"/>
                  </a:cubicBezTo>
                  <a:cubicBezTo>
                    <a:pt x="622" y="119"/>
                    <a:pt x="622" y="119"/>
                    <a:pt x="622" y="119"/>
                  </a:cubicBezTo>
                  <a:cubicBezTo>
                    <a:pt x="622" y="119"/>
                    <a:pt x="622" y="119"/>
                    <a:pt x="622" y="119"/>
                  </a:cubicBezTo>
                  <a:cubicBezTo>
                    <a:pt x="622" y="118"/>
                    <a:pt x="622" y="118"/>
                    <a:pt x="622" y="118"/>
                  </a:cubicBezTo>
                  <a:cubicBezTo>
                    <a:pt x="622" y="118"/>
                    <a:pt x="622" y="118"/>
                    <a:pt x="622" y="118"/>
                  </a:cubicBezTo>
                  <a:cubicBezTo>
                    <a:pt x="623" y="118"/>
                    <a:pt x="622" y="117"/>
                    <a:pt x="623" y="117"/>
                  </a:cubicBezTo>
                  <a:cubicBezTo>
                    <a:pt x="623" y="117"/>
                    <a:pt x="623" y="117"/>
                    <a:pt x="623" y="117"/>
                  </a:cubicBezTo>
                  <a:cubicBezTo>
                    <a:pt x="623" y="117"/>
                    <a:pt x="623" y="117"/>
                    <a:pt x="623" y="116"/>
                  </a:cubicBezTo>
                  <a:cubicBezTo>
                    <a:pt x="623" y="116"/>
                    <a:pt x="623" y="116"/>
                    <a:pt x="623" y="116"/>
                  </a:cubicBezTo>
                  <a:cubicBezTo>
                    <a:pt x="623" y="116"/>
                    <a:pt x="623" y="116"/>
                    <a:pt x="623" y="116"/>
                  </a:cubicBezTo>
                  <a:cubicBezTo>
                    <a:pt x="623" y="116"/>
                    <a:pt x="623" y="116"/>
                    <a:pt x="623" y="116"/>
                  </a:cubicBezTo>
                  <a:cubicBezTo>
                    <a:pt x="624" y="116"/>
                    <a:pt x="624" y="115"/>
                    <a:pt x="624" y="115"/>
                  </a:cubicBezTo>
                  <a:cubicBezTo>
                    <a:pt x="624" y="115"/>
                    <a:pt x="624" y="115"/>
                    <a:pt x="624" y="115"/>
                  </a:cubicBezTo>
                  <a:cubicBezTo>
                    <a:pt x="624" y="115"/>
                    <a:pt x="624" y="115"/>
                    <a:pt x="624" y="114"/>
                  </a:cubicBezTo>
                  <a:cubicBezTo>
                    <a:pt x="624" y="114"/>
                    <a:pt x="624" y="114"/>
                    <a:pt x="624" y="114"/>
                  </a:cubicBezTo>
                  <a:cubicBezTo>
                    <a:pt x="624" y="114"/>
                    <a:pt x="624" y="114"/>
                    <a:pt x="624" y="114"/>
                  </a:cubicBezTo>
                  <a:cubicBezTo>
                    <a:pt x="624" y="113"/>
                    <a:pt x="624" y="113"/>
                    <a:pt x="624" y="113"/>
                  </a:cubicBezTo>
                  <a:cubicBezTo>
                    <a:pt x="624" y="113"/>
                    <a:pt x="624" y="113"/>
                    <a:pt x="624" y="113"/>
                  </a:cubicBezTo>
                  <a:cubicBezTo>
                    <a:pt x="625" y="113"/>
                    <a:pt x="625" y="113"/>
                    <a:pt x="625" y="113"/>
                  </a:cubicBezTo>
                  <a:cubicBezTo>
                    <a:pt x="625" y="113"/>
                    <a:pt x="625" y="113"/>
                    <a:pt x="625" y="113"/>
                  </a:cubicBezTo>
                  <a:cubicBezTo>
                    <a:pt x="625" y="112"/>
                    <a:pt x="625" y="112"/>
                    <a:pt x="625" y="112"/>
                  </a:cubicBezTo>
                  <a:cubicBezTo>
                    <a:pt x="625" y="112"/>
                    <a:pt x="625" y="112"/>
                    <a:pt x="625" y="112"/>
                  </a:cubicBezTo>
                  <a:cubicBezTo>
                    <a:pt x="625" y="112"/>
                    <a:pt x="625" y="112"/>
                    <a:pt x="625" y="112"/>
                  </a:cubicBezTo>
                  <a:cubicBezTo>
                    <a:pt x="625" y="111"/>
                    <a:pt x="625" y="111"/>
                    <a:pt x="625" y="111"/>
                  </a:cubicBezTo>
                  <a:cubicBezTo>
                    <a:pt x="625" y="111"/>
                    <a:pt x="625" y="111"/>
                    <a:pt x="625" y="111"/>
                  </a:cubicBezTo>
                  <a:cubicBezTo>
                    <a:pt x="626" y="111"/>
                    <a:pt x="626" y="110"/>
                    <a:pt x="626" y="110"/>
                  </a:cubicBezTo>
                  <a:cubicBezTo>
                    <a:pt x="626" y="110"/>
                    <a:pt x="626" y="110"/>
                    <a:pt x="626" y="110"/>
                  </a:cubicBezTo>
                  <a:cubicBezTo>
                    <a:pt x="626" y="110"/>
                    <a:pt x="626" y="110"/>
                    <a:pt x="626" y="110"/>
                  </a:cubicBezTo>
                  <a:cubicBezTo>
                    <a:pt x="626" y="110"/>
                    <a:pt x="626" y="109"/>
                    <a:pt x="626" y="109"/>
                  </a:cubicBezTo>
                  <a:cubicBezTo>
                    <a:pt x="626" y="109"/>
                    <a:pt x="626" y="109"/>
                    <a:pt x="626" y="109"/>
                  </a:cubicBezTo>
                  <a:cubicBezTo>
                    <a:pt x="626" y="109"/>
                    <a:pt x="626" y="109"/>
                    <a:pt x="626" y="108"/>
                  </a:cubicBezTo>
                  <a:cubicBezTo>
                    <a:pt x="626" y="108"/>
                    <a:pt x="626" y="108"/>
                    <a:pt x="626" y="108"/>
                  </a:cubicBezTo>
                  <a:cubicBezTo>
                    <a:pt x="627" y="108"/>
                    <a:pt x="627" y="108"/>
                    <a:pt x="627" y="108"/>
                  </a:cubicBezTo>
                  <a:cubicBezTo>
                    <a:pt x="627" y="108"/>
                    <a:pt x="627" y="108"/>
                    <a:pt x="627" y="107"/>
                  </a:cubicBezTo>
                  <a:cubicBezTo>
                    <a:pt x="627" y="107"/>
                    <a:pt x="627" y="107"/>
                    <a:pt x="627" y="107"/>
                  </a:cubicBezTo>
                  <a:cubicBezTo>
                    <a:pt x="627" y="107"/>
                    <a:pt x="627" y="107"/>
                    <a:pt x="627" y="106"/>
                  </a:cubicBezTo>
                  <a:cubicBezTo>
                    <a:pt x="627" y="106"/>
                    <a:pt x="627" y="106"/>
                    <a:pt x="627" y="106"/>
                  </a:cubicBezTo>
                  <a:cubicBezTo>
                    <a:pt x="627" y="106"/>
                    <a:pt x="627" y="106"/>
                    <a:pt x="628" y="106"/>
                  </a:cubicBezTo>
                  <a:cubicBezTo>
                    <a:pt x="628" y="106"/>
                    <a:pt x="628" y="106"/>
                    <a:pt x="628" y="106"/>
                  </a:cubicBezTo>
                  <a:cubicBezTo>
                    <a:pt x="628" y="105"/>
                    <a:pt x="628" y="105"/>
                    <a:pt x="628" y="105"/>
                  </a:cubicBezTo>
                  <a:cubicBezTo>
                    <a:pt x="628" y="105"/>
                    <a:pt x="628" y="105"/>
                    <a:pt x="628" y="105"/>
                  </a:cubicBezTo>
                  <a:cubicBezTo>
                    <a:pt x="628" y="104"/>
                    <a:pt x="628" y="104"/>
                    <a:pt x="628" y="104"/>
                  </a:cubicBezTo>
                  <a:cubicBezTo>
                    <a:pt x="628" y="104"/>
                    <a:pt x="628" y="104"/>
                    <a:pt x="628" y="104"/>
                  </a:cubicBezTo>
                  <a:cubicBezTo>
                    <a:pt x="629" y="104"/>
                    <a:pt x="628" y="103"/>
                    <a:pt x="629" y="103"/>
                  </a:cubicBezTo>
                  <a:cubicBezTo>
                    <a:pt x="629" y="103"/>
                    <a:pt x="629" y="103"/>
                    <a:pt x="629" y="103"/>
                  </a:cubicBezTo>
                  <a:cubicBezTo>
                    <a:pt x="629" y="103"/>
                    <a:pt x="629" y="102"/>
                    <a:pt x="629" y="102"/>
                  </a:cubicBezTo>
                  <a:cubicBezTo>
                    <a:pt x="629" y="102"/>
                    <a:pt x="629" y="102"/>
                    <a:pt x="629" y="102"/>
                  </a:cubicBezTo>
                  <a:cubicBezTo>
                    <a:pt x="629" y="102"/>
                    <a:pt x="629" y="101"/>
                    <a:pt x="629" y="101"/>
                  </a:cubicBezTo>
                  <a:cubicBezTo>
                    <a:pt x="629" y="101"/>
                    <a:pt x="629" y="101"/>
                    <a:pt x="629" y="101"/>
                  </a:cubicBezTo>
                  <a:cubicBezTo>
                    <a:pt x="630" y="101"/>
                    <a:pt x="630" y="101"/>
                    <a:pt x="630" y="100"/>
                  </a:cubicBezTo>
                  <a:cubicBezTo>
                    <a:pt x="630" y="100"/>
                    <a:pt x="630" y="100"/>
                    <a:pt x="630" y="100"/>
                  </a:cubicBezTo>
                  <a:cubicBezTo>
                    <a:pt x="630" y="100"/>
                    <a:pt x="630" y="100"/>
                    <a:pt x="630" y="99"/>
                  </a:cubicBezTo>
                  <a:cubicBezTo>
                    <a:pt x="630" y="99"/>
                    <a:pt x="630" y="99"/>
                    <a:pt x="630" y="99"/>
                  </a:cubicBezTo>
                  <a:cubicBezTo>
                    <a:pt x="630" y="99"/>
                    <a:pt x="630" y="99"/>
                    <a:pt x="630" y="99"/>
                  </a:cubicBezTo>
                  <a:cubicBezTo>
                    <a:pt x="630" y="99"/>
                    <a:pt x="630" y="98"/>
                    <a:pt x="630" y="98"/>
                  </a:cubicBezTo>
                  <a:cubicBezTo>
                    <a:pt x="631" y="98"/>
                    <a:pt x="631" y="98"/>
                    <a:pt x="631" y="98"/>
                  </a:cubicBezTo>
                  <a:cubicBezTo>
                    <a:pt x="631" y="98"/>
                    <a:pt x="631" y="98"/>
                    <a:pt x="631" y="98"/>
                  </a:cubicBezTo>
                  <a:cubicBezTo>
                    <a:pt x="631" y="97"/>
                    <a:pt x="631" y="97"/>
                    <a:pt x="631" y="97"/>
                  </a:cubicBezTo>
                  <a:cubicBezTo>
                    <a:pt x="631" y="97"/>
                    <a:pt x="631" y="97"/>
                    <a:pt x="631" y="97"/>
                  </a:cubicBezTo>
                  <a:cubicBezTo>
                    <a:pt x="631" y="96"/>
                    <a:pt x="631" y="96"/>
                    <a:pt x="631" y="96"/>
                  </a:cubicBezTo>
                  <a:cubicBezTo>
                    <a:pt x="631" y="96"/>
                    <a:pt x="631" y="96"/>
                    <a:pt x="631" y="96"/>
                  </a:cubicBezTo>
                  <a:cubicBezTo>
                    <a:pt x="632" y="96"/>
                    <a:pt x="632" y="95"/>
                    <a:pt x="632" y="95"/>
                  </a:cubicBezTo>
                  <a:cubicBezTo>
                    <a:pt x="632" y="95"/>
                    <a:pt x="632" y="95"/>
                    <a:pt x="632" y="95"/>
                  </a:cubicBezTo>
                  <a:cubicBezTo>
                    <a:pt x="632" y="95"/>
                    <a:pt x="632" y="95"/>
                    <a:pt x="632" y="95"/>
                  </a:cubicBezTo>
                  <a:cubicBezTo>
                    <a:pt x="632" y="95"/>
                    <a:pt x="632" y="94"/>
                    <a:pt x="632" y="94"/>
                  </a:cubicBezTo>
                  <a:cubicBezTo>
                    <a:pt x="632" y="94"/>
                    <a:pt x="632" y="94"/>
                    <a:pt x="632" y="94"/>
                  </a:cubicBezTo>
                  <a:cubicBezTo>
                    <a:pt x="632" y="94"/>
                    <a:pt x="632" y="94"/>
                    <a:pt x="632" y="93"/>
                  </a:cubicBezTo>
                  <a:cubicBezTo>
                    <a:pt x="632" y="93"/>
                    <a:pt x="632" y="93"/>
                    <a:pt x="632" y="93"/>
                  </a:cubicBezTo>
                  <a:cubicBezTo>
                    <a:pt x="632" y="93"/>
                    <a:pt x="632" y="93"/>
                    <a:pt x="632" y="93"/>
                  </a:cubicBezTo>
                  <a:cubicBezTo>
                    <a:pt x="633" y="93"/>
                    <a:pt x="633" y="93"/>
                    <a:pt x="633" y="92"/>
                  </a:cubicBezTo>
                  <a:cubicBezTo>
                    <a:pt x="633" y="92"/>
                    <a:pt x="633" y="92"/>
                    <a:pt x="633" y="92"/>
                  </a:cubicBezTo>
                  <a:cubicBezTo>
                    <a:pt x="633" y="92"/>
                    <a:pt x="633" y="92"/>
                    <a:pt x="633" y="92"/>
                  </a:cubicBezTo>
                  <a:cubicBezTo>
                    <a:pt x="633" y="91"/>
                    <a:pt x="633" y="91"/>
                    <a:pt x="633" y="91"/>
                  </a:cubicBezTo>
                  <a:cubicBezTo>
                    <a:pt x="633" y="91"/>
                    <a:pt x="633" y="91"/>
                    <a:pt x="633" y="91"/>
                  </a:cubicBezTo>
                  <a:cubicBezTo>
                    <a:pt x="633" y="91"/>
                    <a:pt x="633" y="91"/>
                    <a:pt x="633" y="91"/>
                  </a:cubicBezTo>
                  <a:cubicBezTo>
                    <a:pt x="633" y="91"/>
                    <a:pt x="633" y="91"/>
                    <a:pt x="633" y="91"/>
                  </a:cubicBezTo>
                  <a:cubicBezTo>
                    <a:pt x="634" y="90"/>
                    <a:pt x="634" y="90"/>
                    <a:pt x="634" y="90"/>
                  </a:cubicBezTo>
                  <a:cubicBezTo>
                    <a:pt x="634" y="90"/>
                    <a:pt x="634" y="90"/>
                    <a:pt x="634" y="90"/>
                  </a:cubicBezTo>
                  <a:cubicBezTo>
                    <a:pt x="634" y="90"/>
                    <a:pt x="634" y="90"/>
                    <a:pt x="634" y="90"/>
                  </a:cubicBezTo>
                  <a:cubicBezTo>
                    <a:pt x="634" y="89"/>
                    <a:pt x="634" y="89"/>
                    <a:pt x="634" y="89"/>
                  </a:cubicBezTo>
                  <a:cubicBezTo>
                    <a:pt x="634" y="89"/>
                    <a:pt x="634" y="89"/>
                    <a:pt x="634" y="89"/>
                  </a:cubicBezTo>
                  <a:cubicBezTo>
                    <a:pt x="634" y="89"/>
                    <a:pt x="634" y="88"/>
                    <a:pt x="634" y="88"/>
                  </a:cubicBezTo>
                  <a:cubicBezTo>
                    <a:pt x="634" y="88"/>
                    <a:pt x="634" y="88"/>
                    <a:pt x="634" y="88"/>
                  </a:cubicBezTo>
                  <a:cubicBezTo>
                    <a:pt x="635" y="88"/>
                    <a:pt x="635" y="88"/>
                    <a:pt x="635" y="88"/>
                  </a:cubicBezTo>
                  <a:cubicBezTo>
                    <a:pt x="635" y="88"/>
                    <a:pt x="635" y="87"/>
                    <a:pt x="635" y="87"/>
                  </a:cubicBezTo>
                  <a:cubicBezTo>
                    <a:pt x="635" y="87"/>
                    <a:pt x="635" y="87"/>
                    <a:pt x="635" y="87"/>
                  </a:cubicBezTo>
                  <a:cubicBezTo>
                    <a:pt x="635" y="87"/>
                    <a:pt x="635" y="86"/>
                    <a:pt x="635" y="86"/>
                  </a:cubicBezTo>
                  <a:cubicBezTo>
                    <a:pt x="635" y="86"/>
                    <a:pt x="635" y="86"/>
                    <a:pt x="635" y="86"/>
                  </a:cubicBezTo>
                  <a:cubicBezTo>
                    <a:pt x="635" y="86"/>
                    <a:pt x="635" y="86"/>
                    <a:pt x="636" y="85"/>
                  </a:cubicBezTo>
                  <a:cubicBezTo>
                    <a:pt x="636" y="85"/>
                    <a:pt x="636" y="85"/>
                    <a:pt x="636" y="85"/>
                  </a:cubicBezTo>
                  <a:cubicBezTo>
                    <a:pt x="636" y="85"/>
                    <a:pt x="636" y="85"/>
                    <a:pt x="636" y="84"/>
                  </a:cubicBezTo>
                  <a:cubicBezTo>
                    <a:pt x="636" y="84"/>
                    <a:pt x="636" y="84"/>
                    <a:pt x="636" y="84"/>
                  </a:cubicBezTo>
                  <a:cubicBezTo>
                    <a:pt x="636" y="84"/>
                    <a:pt x="636" y="84"/>
                    <a:pt x="636" y="84"/>
                  </a:cubicBezTo>
                  <a:cubicBezTo>
                    <a:pt x="636" y="84"/>
                    <a:pt x="636" y="84"/>
                    <a:pt x="636" y="84"/>
                  </a:cubicBezTo>
                  <a:cubicBezTo>
                    <a:pt x="637" y="83"/>
                    <a:pt x="636" y="83"/>
                    <a:pt x="637" y="83"/>
                  </a:cubicBezTo>
                  <a:cubicBezTo>
                    <a:pt x="637" y="83"/>
                    <a:pt x="637" y="83"/>
                    <a:pt x="637" y="83"/>
                  </a:cubicBezTo>
                  <a:cubicBezTo>
                    <a:pt x="637" y="83"/>
                    <a:pt x="637" y="82"/>
                    <a:pt x="637" y="82"/>
                  </a:cubicBezTo>
                  <a:cubicBezTo>
                    <a:pt x="637" y="82"/>
                    <a:pt x="637" y="82"/>
                    <a:pt x="637" y="82"/>
                  </a:cubicBezTo>
                  <a:cubicBezTo>
                    <a:pt x="637" y="82"/>
                    <a:pt x="637" y="81"/>
                    <a:pt x="637" y="81"/>
                  </a:cubicBezTo>
                  <a:cubicBezTo>
                    <a:pt x="637" y="81"/>
                    <a:pt x="637" y="81"/>
                    <a:pt x="637" y="81"/>
                  </a:cubicBezTo>
                  <a:cubicBezTo>
                    <a:pt x="638" y="81"/>
                    <a:pt x="638" y="80"/>
                    <a:pt x="638" y="80"/>
                  </a:cubicBezTo>
                  <a:cubicBezTo>
                    <a:pt x="638" y="80"/>
                    <a:pt x="638" y="80"/>
                    <a:pt x="638" y="80"/>
                  </a:cubicBezTo>
                  <a:cubicBezTo>
                    <a:pt x="638" y="80"/>
                    <a:pt x="638" y="79"/>
                    <a:pt x="638" y="79"/>
                  </a:cubicBezTo>
                  <a:cubicBezTo>
                    <a:pt x="638" y="79"/>
                    <a:pt x="638" y="79"/>
                    <a:pt x="638" y="79"/>
                  </a:cubicBezTo>
                  <a:cubicBezTo>
                    <a:pt x="638" y="79"/>
                    <a:pt x="638" y="79"/>
                    <a:pt x="638" y="78"/>
                  </a:cubicBezTo>
                  <a:cubicBezTo>
                    <a:pt x="638" y="78"/>
                    <a:pt x="638" y="78"/>
                    <a:pt x="638" y="78"/>
                  </a:cubicBezTo>
                  <a:cubicBezTo>
                    <a:pt x="639" y="78"/>
                    <a:pt x="639" y="78"/>
                    <a:pt x="639" y="77"/>
                  </a:cubicBezTo>
                  <a:cubicBezTo>
                    <a:pt x="639" y="77"/>
                    <a:pt x="639" y="77"/>
                    <a:pt x="639" y="77"/>
                  </a:cubicBezTo>
                  <a:cubicBezTo>
                    <a:pt x="639" y="77"/>
                    <a:pt x="639" y="77"/>
                    <a:pt x="639" y="77"/>
                  </a:cubicBezTo>
                  <a:cubicBezTo>
                    <a:pt x="639" y="77"/>
                    <a:pt x="639" y="76"/>
                    <a:pt x="639" y="76"/>
                  </a:cubicBezTo>
                  <a:cubicBezTo>
                    <a:pt x="639" y="76"/>
                    <a:pt x="639" y="76"/>
                    <a:pt x="639" y="76"/>
                  </a:cubicBezTo>
                  <a:cubicBezTo>
                    <a:pt x="639" y="76"/>
                    <a:pt x="639" y="76"/>
                    <a:pt x="639" y="76"/>
                  </a:cubicBezTo>
                  <a:cubicBezTo>
                    <a:pt x="640" y="76"/>
                    <a:pt x="640" y="75"/>
                    <a:pt x="640" y="75"/>
                  </a:cubicBezTo>
                  <a:cubicBezTo>
                    <a:pt x="640" y="75"/>
                    <a:pt x="640" y="75"/>
                    <a:pt x="640" y="75"/>
                  </a:cubicBezTo>
                  <a:cubicBezTo>
                    <a:pt x="640" y="75"/>
                    <a:pt x="640" y="75"/>
                    <a:pt x="640" y="75"/>
                  </a:cubicBezTo>
                  <a:cubicBezTo>
                    <a:pt x="640" y="74"/>
                    <a:pt x="640" y="74"/>
                    <a:pt x="640" y="74"/>
                  </a:cubicBezTo>
                  <a:cubicBezTo>
                    <a:pt x="640" y="74"/>
                    <a:pt x="640" y="74"/>
                    <a:pt x="640" y="74"/>
                  </a:cubicBezTo>
                  <a:cubicBezTo>
                    <a:pt x="640" y="74"/>
                    <a:pt x="640" y="73"/>
                    <a:pt x="640" y="73"/>
                  </a:cubicBezTo>
                  <a:cubicBezTo>
                    <a:pt x="640" y="73"/>
                    <a:pt x="640" y="73"/>
                    <a:pt x="640" y="73"/>
                  </a:cubicBezTo>
                  <a:cubicBezTo>
                    <a:pt x="640" y="73"/>
                    <a:pt x="640" y="73"/>
                    <a:pt x="640" y="73"/>
                  </a:cubicBezTo>
                  <a:cubicBezTo>
                    <a:pt x="641" y="73"/>
                    <a:pt x="641" y="72"/>
                    <a:pt x="641" y="72"/>
                  </a:cubicBezTo>
                  <a:cubicBezTo>
                    <a:pt x="641" y="72"/>
                    <a:pt x="641" y="72"/>
                    <a:pt x="641" y="72"/>
                  </a:cubicBezTo>
                  <a:cubicBezTo>
                    <a:pt x="641" y="72"/>
                    <a:pt x="641" y="72"/>
                    <a:pt x="641" y="71"/>
                  </a:cubicBezTo>
                  <a:cubicBezTo>
                    <a:pt x="641" y="71"/>
                    <a:pt x="641" y="71"/>
                    <a:pt x="641" y="71"/>
                  </a:cubicBezTo>
                  <a:cubicBezTo>
                    <a:pt x="641" y="71"/>
                    <a:pt x="641" y="71"/>
                    <a:pt x="641" y="71"/>
                  </a:cubicBezTo>
                  <a:cubicBezTo>
                    <a:pt x="641" y="71"/>
                    <a:pt x="641" y="71"/>
                    <a:pt x="641" y="70"/>
                  </a:cubicBezTo>
                  <a:cubicBezTo>
                    <a:pt x="641" y="71"/>
                    <a:pt x="641" y="71"/>
                    <a:pt x="641" y="71"/>
                  </a:cubicBezTo>
                  <a:cubicBezTo>
                    <a:pt x="642" y="70"/>
                    <a:pt x="642" y="70"/>
                    <a:pt x="642" y="70"/>
                  </a:cubicBezTo>
                  <a:cubicBezTo>
                    <a:pt x="642" y="70"/>
                    <a:pt x="642" y="70"/>
                    <a:pt x="642" y="70"/>
                  </a:cubicBezTo>
                  <a:cubicBezTo>
                    <a:pt x="642" y="69"/>
                    <a:pt x="642" y="69"/>
                    <a:pt x="642" y="69"/>
                  </a:cubicBezTo>
                  <a:cubicBezTo>
                    <a:pt x="642" y="69"/>
                    <a:pt x="642" y="69"/>
                    <a:pt x="642" y="69"/>
                  </a:cubicBezTo>
                  <a:cubicBezTo>
                    <a:pt x="642" y="69"/>
                    <a:pt x="642" y="69"/>
                    <a:pt x="642" y="69"/>
                  </a:cubicBezTo>
                  <a:cubicBezTo>
                    <a:pt x="643" y="69"/>
                    <a:pt x="642" y="68"/>
                    <a:pt x="643" y="68"/>
                  </a:cubicBezTo>
                  <a:cubicBezTo>
                    <a:pt x="643" y="68"/>
                    <a:pt x="643" y="68"/>
                    <a:pt x="643" y="68"/>
                  </a:cubicBezTo>
                  <a:cubicBezTo>
                    <a:pt x="643" y="68"/>
                    <a:pt x="643" y="67"/>
                    <a:pt x="643" y="67"/>
                  </a:cubicBezTo>
                  <a:cubicBezTo>
                    <a:pt x="643" y="67"/>
                    <a:pt x="643" y="67"/>
                    <a:pt x="643" y="67"/>
                  </a:cubicBezTo>
                  <a:cubicBezTo>
                    <a:pt x="643" y="67"/>
                    <a:pt x="643" y="66"/>
                    <a:pt x="643" y="66"/>
                  </a:cubicBezTo>
                  <a:cubicBezTo>
                    <a:pt x="643" y="66"/>
                    <a:pt x="643" y="66"/>
                    <a:pt x="643" y="66"/>
                  </a:cubicBezTo>
                  <a:cubicBezTo>
                    <a:pt x="643" y="66"/>
                    <a:pt x="643" y="65"/>
                    <a:pt x="644" y="65"/>
                  </a:cubicBezTo>
                  <a:cubicBezTo>
                    <a:pt x="644" y="65"/>
                    <a:pt x="644" y="65"/>
                    <a:pt x="644" y="65"/>
                  </a:cubicBezTo>
                  <a:cubicBezTo>
                    <a:pt x="644" y="65"/>
                    <a:pt x="644" y="65"/>
                    <a:pt x="644" y="64"/>
                  </a:cubicBezTo>
                  <a:cubicBezTo>
                    <a:pt x="644" y="64"/>
                    <a:pt x="644" y="64"/>
                    <a:pt x="644" y="64"/>
                  </a:cubicBezTo>
                  <a:cubicBezTo>
                    <a:pt x="644" y="64"/>
                    <a:pt x="644" y="64"/>
                    <a:pt x="644" y="64"/>
                  </a:cubicBezTo>
                  <a:cubicBezTo>
                    <a:pt x="644" y="64"/>
                    <a:pt x="644" y="64"/>
                    <a:pt x="644" y="64"/>
                  </a:cubicBezTo>
                  <a:cubicBezTo>
                    <a:pt x="645" y="63"/>
                    <a:pt x="644" y="63"/>
                    <a:pt x="645" y="63"/>
                  </a:cubicBezTo>
                  <a:cubicBezTo>
                    <a:pt x="645" y="63"/>
                    <a:pt x="645" y="63"/>
                    <a:pt x="645" y="63"/>
                  </a:cubicBezTo>
                  <a:cubicBezTo>
                    <a:pt x="645" y="62"/>
                    <a:pt x="645" y="62"/>
                    <a:pt x="645" y="62"/>
                  </a:cubicBezTo>
                  <a:cubicBezTo>
                    <a:pt x="645" y="62"/>
                    <a:pt x="645" y="62"/>
                    <a:pt x="645" y="62"/>
                  </a:cubicBezTo>
                  <a:cubicBezTo>
                    <a:pt x="645" y="62"/>
                    <a:pt x="645" y="61"/>
                    <a:pt x="645" y="61"/>
                  </a:cubicBezTo>
                  <a:cubicBezTo>
                    <a:pt x="645" y="61"/>
                    <a:pt x="645" y="61"/>
                    <a:pt x="645" y="61"/>
                  </a:cubicBezTo>
                  <a:cubicBezTo>
                    <a:pt x="646" y="61"/>
                    <a:pt x="646" y="60"/>
                    <a:pt x="646" y="60"/>
                  </a:cubicBezTo>
                  <a:cubicBezTo>
                    <a:pt x="646" y="60"/>
                    <a:pt x="646" y="60"/>
                    <a:pt x="646" y="60"/>
                  </a:cubicBezTo>
                  <a:cubicBezTo>
                    <a:pt x="646" y="60"/>
                    <a:pt x="646" y="59"/>
                    <a:pt x="646" y="59"/>
                  </a:cubicBezTo>
                  <a:cubicBezTo>
                    <a:pt x="646" y="59"/>
                    <a:pt x="646" y="59"/>
                    <a:pt x="646" y="59"/>
                  </a:cubicBezTo>
                  <a:cubicBezTo>
                    <a:pt x="646" y="59"/>
                    <a:pt x="646" y="58"/>
                    <a:pt x="646" y="58"/>
                  </a:cubicBezTo>
                  <a:cubicBezTo>
                    <a:pt x="646" y="58"/>
                    <a:pt x="646" y="58"/>
                    <a:pt x="646" y="58"/>
                  </a:cubicBezTo>
                  <a:cubicBezTo>
                    <a:pt x="647" y="58"/>
                    <a:pt x="647" y="57"/>
                    <a:pt x="647" y="57"/>
                  </a:cubicBezTo>
                  <a:cubicBezTo>
                    <a:pt x="647" y="57"/>
                    <a:pt x="647" y="57"/>
                    <a:pt x="647" y="57"/>
                  </a:cubicBezTo>
                  <a:cubicBezTo>
                    <a:pt x="647" y="57"/>
                    <a:pt x="647" y="57"/>
                    <a:pt x="647" y="56"/>
                  </a:cubicBezTo>
                  <a:cubicBezTo>
                    <a:pt x="647" y="56"/>
                    <a:pt x="647" y="56"/>
                    <a:pt x="647" y="56"/>
                  </a:cubicBezTo>
                  <a:cubicBezTo>
                    <a:pt x="647" y="56"/>
                    <a:pt x="647" y="56"/>
                    <a:pt x="647" y="56"/>
                  </a:cubicBezTo>
                  <a:cubicBezTo>
                    <a:pt x="647" y="56"/>
                    <a:pt x="647" y="56"/>
                    <a:pt x="647" y="56"/>
                  </a:cubicBezTo>
                  <a:cubicBezTo>
                    <a:pt x="648" y="55"/>
                    <a:pt x="648" y="55"/>
                    <a:pt x="648" y="55"/>
                  </a:cubicBezTo>
                  <a:cubicBezTo>
                    <a:pt x="648" y="55"/>
                    <a:pt x="648" y="55"/>
                    <a:pt x="648" y="55"/>
                  </a:cubicBezTo>
                  <a:cubicBezTo>
                    <a:pt x="648" y="55"/>
                    <a:pt x="648" y="55"/>
                    <a:pt x="648" y="55"/>
                  </a:cubicBezTo>
                  <a:cubicBezTo>
                    <a:pt x="648" y="54"/>
                    <a:pt x="648" y="54"/>
                    <a:pt x="648" y="54"/>
                  </a:cubicBezTo>
                  <a:cubicBezTo>
                    <a:pt x="648" y="54"/>
                    <a:pt x="648" y="54"/>
                    <a:pt x="648" y="54"/>
                  </a:cubicBezTo>
                  <a:cubicBezTo>
                    <a:pt x="648" y="54"/>
                    <a:pt x="648" y="53"/>
                    <a:pt x="648" y="53"/>
                  </a:cubicBezTo>
                  <a:cubicBezTo>
                    <a:pt x="648" y="53"/>
                    <a:pt x="648" y="53"/>
                    <a:pt x="648" y="53"/>
                  </a:cubicBezTo>
                  <a:cubicBezTo>
                    <a:pt x="648" y="53"/>
                    <a:pt x="648" y="53"/>
                    <a:pt x="648" y="53"/>
                  </a:cubicBezTo>
                  <a:cubicBezTo>
                    <a:pt x="649" y="53"/>
                    <a:pt x="649" y="52"/>
                    <a:pt x="649" y="52"/>
                  </a:cubicBezTo>
                  <a:cubicBezTo>
                    <a:pt x="649" y="52"/>
                    <a:pt x="649" y="52"/>
                    <a:pt x="649" y="52"/>
                  </a:cubicBezTo>
                  <a:cubicBezTo>
                    <a:pt x="649" y="52"/>
                    <a:pt x="649" y="52"/>
                    <a:pt x="649" y="51"/>
                  </a:cubicBezTo>
                  <a:cubicBezTo>
                    <a:pt x="649" y="51"/>
                    <a:pt x="649" y="51"/>
                    <a:pt x="649" y="51"/>
                  </a:cubicBezTo>
                  <a:cubicBezTo>
                    <a:pt x="649" y="51"/>
                    <a:pt x="649" y="51"/>
                    <a:pt x="649" y="51"/>
                  </a:cubicBezTo>
                  <a:cubicBezTo>
                    <a:pt x="649" y="51"/>
                    <a:pt x="649" y="51"/>
                    <a:pt x="649" y="50"/>
                  </a:cubicBezTo>
                  <a:cubicBezTo>
                    <a:pt x="649" y="50"/>
                    <a:pt x="649" y="50"/>
                    <a:pt x="649" y="50"/>
                  </a:cubicBezTo>
                  <a:cubicBezTo>
                    <a:pt x="650" y="50"/>
                    <a:pt x="650" y="50"/>
                    <a:pt x="650" y="49"/>
                  </a:cubicBezTo>
                  <a:cubicBezTo>
                    <a:pt x="650" y="49"/>
                    <a:pt x="650" y="49"/>
                    <a:pt x="650" y="49"/>
                  </a:cubicBezTo>
                  <a:cubicBezTo>
                    <a:pt x="650" y="49"/>
                    <a:pt x="650" y="49"/>
                    <a:pt x="650" y="49"/>
                  </a:cubicBezTo>
                  <a:cubicBezTo>
                    <a:pt x="650" y="49"/>
                    <a:pt x="650" y="49"/>
                    <a:pt x="650" y="49"/>
                  </a:cubicBezTo>
                  <a:cubicBezTo>
                    <a:pt x="650" y="49"/>
                    <a:pt x="650" y="49"/>
                    <a:pt x="650" y="49"/>
                  </a:cubicBezTo>
                  <a:cubicBezTo>
                    <a:pt x="651" y="48"/>
                    <a:pt x="650" y="48"/>
                    <a:pt x="651" y="48"/>
                  </a:cubicBezTo>
                  <a:cubicBezTo>
                    <a:pt x="651" y="48"/>
                    <a:pt x="651" y="48"/>
                    <a:pt x="651" y="48"/>
                  </a:cubicBezTo>
                  <a:cubicBezTo>
                    <a:pt x="651" y="47"/>
                    <a:pt x="651" y="47"/>
                    <a:pt x="651" y="47"/>
                  </a:cubicBezTo>
                  <a:cubicBezTo>
                    <a:pt x="651" y="47"/>
                    <a:pt x="651" y="47"/>
                    <a:pt x="651" y="47"/>
                  </a:cubicBezTo>
                  <a:cubicBezTo>
                    <a:pt x="651" y="47"/>
                    <a:pt x="651" y="46"/>
                    <a:pt x="651" y="46"/>
                  </a:cubicBezTo>
                  <a:cubicBezTo>
                    <a:pt x="651" y="46"/>
                    <a:pt x="651" y="46"/>
                    <a:pt x="651" y="46"/>
                  </a:cubicBezTo>
                  <a:cubicBezTo>
                    <a:pt x="651" y="46"/>
                    <a:pt x="651" y="45"/>
                    <a:pt x="652" y="45"/>
                  </a:cubicBezTo>
                  <a:cubicBezTo>
                    <a:pt x="652" y="45"/>
                    <a:pt x="652" y="45"/>
                    <a:pt x="652" y="45"/>
                  </a:cubicBezTo>
                  <a:cubicBezTo>
                    <a:pt x="652" y="45"/>
                    <a:pt x="652" y="44"/>
                    <a:pt x="652" y="44"/>
                  </a:cubicBezTo>
                  <a:cubicBezTo>
                    <a:pt x="652" y="44"/>
                    <a:pt x="652" y="44"/>
                    <a:pt x="652" y="44"/>
                  </a:cubicBezTo>
                  <a:cubicBezTo>
                    <a:pt x="652" y="44"/>
                    <a:pt x="652" y="44"/>
                    <a:pt x="652" y="43"/>
                  </a:cubicBezTo>
                  <a:cubicBezTo>
                    <a:pt x="652" y="43"/>
                    <a:pt x="652" y="43"/>
                    <a:pt x="652" y="43"/>
                  </a:cubicBezTo>
                  <a:cubicBezTo>
                    <a:pt x="653" y="43"/>
                    <a:pt x="652" y="43"/>
                    <a:pt x="653" y="42"/>
                  </a:cubicBezTo>
                  <a:cubicBezTo>
                    <a:pt x="653" y="42"/>
                    <a:pt x="653" y="42"/>
                    <a:pt x="653" y="42"/>
                  </a:cubicBezTo>
                  <a:cubicBezTo>
                    <a:pt x="653" y="42"/>
                    <a:pt x="653" y="42"/>
                    <a:pt x="653" y="42"/>
                  </a:cubicBezTo>
                  <a:cubicBezTo>
                    <a:pt x="653" y="42"/>
                    <a:pt x="653" y="42"/>
                    <a:pt x="653" y="42"/>
                  </a:cubicBezTo>
                  <a:cubicBezTo>
                    <a:pt x="653" y="41"/>
                    <a:pt x="653" y="41"/>
                    <a:pt x="653" y="41"/>
                  </a:cubicBezTo>
                  <a:cubicBezTo>
                    <a:pt x="653" y="41"/>
                    <a:pt x="653" y="41"/>
                    <a:pt x="653" y="41"/>
                  </a:cubicBezTo>
                  <a:cubicBezTo>
                    <a:pt x="654" y="40"/>
                    <a:pt x="654" y="40"/>
                    <a:pt x="654" y="40"/>
                  </a:cubicBezTo>
                  <a:cubicBezTo>
                    <a:pt x="654" y="40"/>
                    <a:pt x="654" y="40"/>
                    <a:pt x="654" y="40"/>
                  </a:cubicBezTo>
                  <a:cubicBezTo>
                    <a:pt x="654" y="39"/>
                    <a:pt x="654" y="39"/>
                    <a:pt x="654" y="39"/>
                  </a:cubicBezTo>
                  <a:cubicBezTo>
                    <a:pt x="654" y="39"/>
                    <a:pt x="654" y="39"/>
                    <a:pt x="654" y="39"/>
                  </a:cubicBezTo>
                  <a:cubicBezTo>
                    <a:pt x="654" y="39"/>
                    <a:pt x="654" y="38"/>
                    <a:pt x="654" y="38"/>
                  </a:cubicBezTo>
                  <a:cubicBezTo>
                    <a:pt x="654" y="38"/>
                    <a:pt x="654" y="38"/>
                    <a:pt x="654" y="38"/>
                  </a:cubicBezTo>
                  <a:cubicBezTo>
                    <a:pt x="655" y="38"/>
                    <a:pt x="655" y="37"/>
                    <a:pt x="655" y="37"/>
                  </a:cubicBezTo>
                  <a:cubicBezTo>
                    <a:pt x="655" y="37"/>
                    <a:pt x="655" y="37"/>
                    <a:pt x="655" y="37"/>
                  </a:cubicBezTo>
                  <a:cubicBezTo>
                    <a:pt x="655" y="37"/>
                    <a:pt x="655" y="37"/>
                    <a:pt x="655" y="36"/>
                  </a:cubicBezTo>
                  <a:cubicBezTo>
                    <a:pt x="655" y="36"/>
                    <a:pt x="655" y="36"/>
                    <a:pt x="655" y="36"/>
                  </a:cubicBezTo>
                  <a:cubicBezTo>
                    <a:pt x="655" y="36"/>
                    <a:pt x="655" y="36"/>
                    <a:pt x="655" y="36"/>
                  </a:cubicBezTo>
                  <a:cubicBezTo>
                    <a:pt x="655" y="36"/>
                    <a:pt x="655" y="36"/>
                    <a:pt x="655" y="35"/>
                  </a:cubicBezTo>
                  <a:cubicBezTo>
                    <a:pt x="655" y="35"/>
                    <a:pt x="655" y="35"/>
                    <a:pt x="655" y="35"/>
                  </a:cubicBezTo>
                  <a:cubicBezTo>
                    <a:pt x="656" y="35"/>
                    <a:pt x="656" y="35"/>
                    <a:pt x="656" y="35"/>
                  </a:cubicBezTo>
                  <a:cubicBezTo>
                    <a:pt x="656" y="35"/>
                    <a:pt x="656" y="35"/>
                    <a:pt x="656" y="35"/>
                  </a:cubicBezTo>
                  <a:cubicBezTo>
                    <a:pt x="656" y="34"/>
                    <a:pt x="655" y="34"/>
                    <a:pt x="655" y="34"/>
                  </a:cubicBezTo>
                  <a:cubicBezTo>
                    <a:pt x="652" y="34"/>
                    <a:pt x="648" y="34"/>
                    <a:pt x="645" y="34"/>
                  </a:cubicBezTo>
                  <a:cubicBezTo>
                    <a:pt x="645" y="34"/>
                    <a:pt x="644" y="34"/>
                    <a:pt x="644" y="34"/>
                  </a:cubicBezTo>
                  <a:cubicBezTo>
                    <a:pt x="644" y="35"/>
                    <a:pt x="644" y="35"/>
                    <a:pt x="644" y="35"/>
                  </a:cubicBezTo>
                  <a:cubicBezTo>
                    <a:pt x="644" y="35"/>
                    <a:pt x="644" y="35"/>
                    <a:pt x="644" y="35"/>
                  </a:cubicBezTo>
                  <a:cubicBezTo>
                    <a:pt x="644" y="35"/>
                    <a:pt x="644" y="35"/>
                    <a:pt x="644" y="35"/>
                  </a:cubicBezTo>
                  <a:cubicBezTo>
                    <a:pt x="644" y="35"/>
                    <a:pt x="644" y="35"/>
                    <a:pt x="644" y="35"/>
                  </a:cubicBezTo>
                  <a:cubicBezTo>
                    <a:pt x="644" y="36"/>
                    <a:pt x="644" y="36"/>
                    <a:pt x="644" y="36"/>
                  </a:cubicBezTo>
                  <a:cubicBezTo>
                    <a:pt x="644" y="36"/>
                    <a:pt x="644" y="36"/>
                    <a:pt x="644" y="36"/>
                  </a:cubicBezTo>
                  <a:cubicBezTo>
                    <a:pt x="643" y="37"/>
                    <a:pt x="643" y="37"/>
                    <a:pt x="643" y="37"/>
                  </a:cubicBezTo>
                  <a:cubicBezTo>
                    <a:pt x="643" y="37"/>
                    <a:pt x="643" y="37"/>
                    <a:pt x="643" y="37"/>
                  </a:cubicBezTo>
                  <a:cubicBezTo>
                    <a:pt x="643" y="37"/>
                    <a:pt x="643" y="37"/>
                    <a:pt x="643" y="37"/>
                  </a:cubicBezTo>
                  <a:cubicBezTo>
                    <a:pt x="643" y="38"/>
                    <a:pt x="643" y="38"/>
                    <a:pt x="643" y="38"/>
                  </a:cubicBezTo>
                  <a:cubicBezTo>
                    <a:pt x="643" y="38"/>
                    <a:pt x="643" y="38"/>
                    <a:pt x="643" y="39"/>
                  </a:cubicBezTo>
                  <a:cubicBezTo>
                    <a:pt x="643" y="39"/>
                    <a:pt x="643" y="39"/>
                    <a:pt x="643" y="39"/>
                  </a:cubicBezTo>
                  <a:cubicBezTo>
                    <a:pt x="643" y="39"/>
                    <a:pt x="643" y="39"/>
                    <a:pt x="643" y="39"/>
                  </a:cubicBezTo>
                  <a:cubicBezTo>
                    <a:pt x="642" y="39"/>
                    <a:pt x="643" y="40"/>
                    <a:pt x="642" y="40"/>
                  </a:cubicBezTo>
                  <a:cubicBezTo>
                    <a:pt x="642" y="40"/>
                    <a:pt x="642" y="40"/>
                    <a:pt x="642" y="40"/>
                  </a:cubicBezTo>
                  <a:cubicBezTo>
                    <a:pt x="642" y="40"/>
                    <a:pt x="642" y="41"/>
                    <a:pt x="642" y="41"/>
                  </a:cubicBezTo>
                  <a:cubicBezTo>
                    <a:pt x="642" y="41"/>
                    <a:pt x="642" y="41"/>
                    <a:pt x="642" y="41"/>
                  </a:cubicBezTo>
                  <a:cubicBezTo>
                    <a:pt x="642" y="42"/>
                    <a:pt x="642" y="42"/>
                    <a:pt x="642" y="42"/>
                  </a:cubicBezTo>
                  <a:cubicBezTo>
                    <a:pt x="642" y="42"/>
                    <a:pt x="642" y="42"/>
                    <a:pt x="642" y="42"/>
                  </a:cubicBezTo>
                  <a:cubicBezTo>
                    <a:pt x="641" y="42"/>
                    <a:pt x="641" y="43"/>
                    <a:pt x="641" y="43"/>
                  </a:cubicBezTo>
                  <a:cubicBezTo>
                    <a:pt x="641" y="43"/>
                    <a:pt x="641" y="43"/>
                    <a:pt x="641" y="43"/>
                  </a:cubicBezTo>
                  <a:cubicBezTo>
                    <a:pt x="641" y="43"/>
                    <a:pt x="641" y="44"/>
                    <a:pt x="641" y="44"/>
                  </a:cubicBezTo>
                  <a:cubicBezTo>
                    <a:pt x="641" y="44"/>
                    <a:pt x="641" y="44"/>
                    <a:pt x="641" y="44"/>
                  </a:cubicBezTo>
                  <a:cubicBezTo>
                    <a:pt x="641" y="44"/>
                    <a:pt x="641" y="44"/>
                    <a:pt x="641" y="44"/>
                  </a:cubicBezTo>
                  <a:cubicBezTo>
                    <a:pt x="641" y="44"/>
                    <a:pt x="641" y="45"/>
                    <a:pt x="640" y="45"/>
                  </a:cubicBezTo>
                  <a:cubicBezTo>
                    <a:pt x="641" y="45"/>
                    <a:pt x="641" y="45"/>
                    <a:pt x="640" y="45"/>
                  </a:cubicBezTo>
                  <a:cubicBezTo>
                    <a:pt x="640" y="45"/>
                    <a:pt x="640" y="46"/>
                    <a:pt x="640" y="46"/>
                  </a:cubicBezTo>
                  <a:cubicBezTo>
                    <a:pt x="640" y="46"/>
                    <a:pt x="640" y="46"/>
                    <a:pt x="640" y="46"/>
                  </a:cubicBezTo>
                  <a:cubicBezTo>
                    <a:pt x="640" y="46"/>
                    <a:pt x="640" y="47"/>
                    <a:pt x="640" y="47"/>
                  </a:cubicBezTo>
                  <a:cubicBezTo>
                    <a:pt x="640" y="47"/>
                    <a:pt x="640" y="47"/>
                    <a:pt x="640" y="47"/>
                  </a:cubicBezTo>
                  <a:cubicBezTo>
                    <a:pt x="640" y="47"/>
                    <a:pt x="640" y="47"/>
                    <a:pt x="639" y="48"/>
                  </a:cubicBezTo>
                  <a:cubicBezTo>
                    <a:pt x="639" y="48"/>
                    <a:pt x="639" y="48"/>
                    <a:pt x="639" y="48"/>
                  </a:cubicBezTo>
                  <a:cubicBezTo>
                    <a:pt x="639" y="48"/>
                    <a:pt x="639" y="48"/>
                    <a:pt x="639" y="48"/>
                  </a:cubicBezTo>
                  <a:cubicBezTo>
                    <a:pt x="639" y="48"/>
                    <a:pt x="639" y="48"/>
                    <a:pt x="639" y="49"/>
                  </a:cubicBezTo>
                  <a:cubicBezTo>
                    <a:pt x="639" y="49"/>
                    <a:pt x="639" y="49"/>
                    <a:pt x="639" y="49"/>
                  </a:cubicBezTo>
                  <a:cubicBezTo>
                    <a:pt x="639" y="49"/>
                    <a:pt x="639" y="49"/>
                    <a:pt x="639" y="50"/>
                  </a:cubicBezTo>
                  <a:cubicBezTo>
                    <a:pt x="639" y="50"/>
                    <a:pt x="639" y="50"/>
                    <a:pt x="639" y="50"/>
                  </a:cubicBezTo>
                  <a:cubicBezTo>
                    <a:pt x="638" y="50"/>
                    <a:pt x="639" y="50"/>
                    <a:pt x="638" y="51"/>
                  </a:cubicBezTo>
                  <a:cubicBezTo>
                    <a:pt x="638" y="51"/>
                    <a:pt x="638" y="51"/>
                    <a:pt x="638" y="51"/>
                  </a:cubicBezTo>
                  <a:cubicBezTo>
                    <a:pt x="638" y="51"/>
                    <a:pt x="638" y="51"/>
                    <a:pt x="638" y="52"/>
                  </a:cubicBezTo>
                  <a:cubicBezTo>
                    <a:pt x="638" y="52"/>
                    <a:pt x="638" y="52"/>
                    <a:pt x="638" y="52"/>
                  </a:cubicBezTo>
                  <a:cubicBezTo>
                    <a:pt x="638" y="52"/>
                    <a:pt x="638" y="52"/>
                    <a:pt x="638" y="52"/>
                  </a:cubicBezTo>
                  <a:cubicBezTo>
                    <a:pt x="638" y="52"/>
                    <a:pt x="638" y="52"/>
                    <a:pt x="638" y="52"/>
                  </a:cubicBezTo>
                  <a:cubicBezTo>
                    <a:pt x="637" y="53"/>
                    <a:pt x="638" y="53"/>
                    <a:pt x="637" y="53"/>
                  </a:cubicBezTo>
                  <a:cubicBezTo>
                    <a:pt x="637" y="53"/>
                    <a:pt x="637" y="53"/>
                    <a:pt x="637" y="53"/>
                  </a:cubicBezTo>
                  <a:cubicBezTo>
                    <a:pt x="637" y="54"/>
                    <a:pt x="637" y="54"/>
                    <a:pt x="637" y="54"/>
                  </a:cubicBezTo>
                  <a:cubicBezTo>
                    <a:pt x="637" y="54"/>
                    <a:pt x="637" y="54"/>
                    <a:pt x="637" y="54"/>
                  </a:cubicBezTo>
                  <a:cubicBezTo>
                    <a:pt x="637" y="55"/>
                    <a:pt x="637" y="55"/>
                    <a:pt x="637" y="55"/>
                  </a:cubicBezTo>
                  <a:cubicBezTo>
                    <a:pt x="637" y="55"/>
                    <a:pt x="637" y="55"/>
                    <a:pt x="637" y="55"/>
                  </a:cubicBezTo>
                  <a:cubicBezTo>
                    <a:pt x="637" y="55"/>
                    <a:pt x="637" y="56"/>
                    <a:pt x="637" y="56"/>
                  </a:cubicBezTo>
                  <a:cubicBezTo>
                    <a:pt x="636" y="56"/>
                    <a:pt x="636" y="56"/>
                    <a:pt x="636" y="56"/>
                  </a:cubicBezTo>
                  <a:cubicBezTo>
                    <a:pt x="636" y="56"/>
                    <a:pt x="636" y="56"/>
                    <a:pt x="636" y="56"/>
                  </a:cubicBezTo>
                  <a:cubicBezTo>
                    <a:pt x="636" y="57"/>
                    <a:pt x="636" y="57"/>
                    <a:pt x="636" y="57"/>
                  </a:cubicBezTo>
                  <a:cubicBezTo>
                    <a:pt x="636" y="57"/>
                    <a:pt x="636" y="57"/>
                    <a:pt x="636" y="57"/>
                  </a:cubicBezTo>
                  <a:cubicBezTo>
                    <a:pt x="636" y="58"/>
                    <a:pt x="636" y="58"/>
                    <a:pt x="636" y="58"/>
                  </a:cubicBezTo>
                  <a:cubicBezTo>
                    <a:pt x="636" y="58"/>
                    <a:pt x="636" y="58"/>
                    <a:pt x="636" y="58"/>
                  </a:cubicBezTo>
                  <a:cubicBezTo>
                    <a:pt x="636" y="58"/>
                    <a:pt x="636" y="58"/>
                    <a:pt x="636" y="58"/>
                  </a:cubicBezTo>
                  <a:cubicBezTo>
                    <a:pt x="635" y="59"/>
                    <a:pt x="635" y="59"/>
                    <a:pt x="635" y="59"/>
                  </a:cubicBezTo>
                  <a:cubicBezTo>
                    <a:pt x="635" y="59"/>
                    <a:pt x="635" y="59"/>
                    <a:pt x="635" y="59"/>
                  </a:cubicBezTo>
                  <a:cubicBezTo>
                    <a:pt x="635" y="59"/>
                    <a:pt x="635" y="60"/>
                    <a:pt x="635" y="60"/>
                  </a:cubicBezTo>
                  <a:cubicBezTo>
                    <a:pt x="635" y="60"/>
                    <a:pt x="635" y="60"/>
                    <a:pt x="635" y="60"/>
                  </a:cubicBezTo>
                  <a:cubicBezTo>
                    <a:pt x="635" y="60"/>
                    <a:pt x="635" y="61"/>
                    <a:pt x="635" y="61"/>
                  </a:cubicBezTo>
                  <a:cubicBezTo>
                    <a:pt x="635" y="61"/>
                    <a:pt x="635" y="61"/>
                    <a:pt x="635" y="61"/>
                  </a:cubicBezTo>
                  <a:cubicBezTo>
                    <a:pt x="635" y="61"/>
                    <a:pt x="635" y="61"/>
                    <a:pt x="635" y="61"/>
                  </a:cubicBezTo>
                  <a:cubicBezTo>
                    <a:pt x="634" y="61"/>
                    <a:pt x="634" y="62"/>
                    <a:pt x="634" y="62"/>
                  </a:cubicBezTo>
                  <a:cubicBezTo>
                    <a:pt x="634" y="62"/>
                    <a:pt x="634" y="62"/>
                    <a:pt x="634" y="62"/>
                  </a:cubicBezTo>
                  <a:cubicBezTo>
                    <a:pt x="634" y="62"/>
                    <a:pt x="634" y="63"/>
                    <a:pt x="634" y="63"/>
                  </a:cubicBezTo>
                  <a:cubicBezTo>
                    <a:pt x="634" y="63"/>
                    <a:pt x="634" y="63"/>
                    <a:pt x="634" y="63"/>
                  </a:cubicBezTo>
                  <a:cubicBezTo>
                    <a:pt x="634" y="63"/>
                    <a:pt x="634" y="64"/>
                    <a:pt x="634" y="64"/>
                  </a:cubicBezTo>
                  <a:cubicBezTo>
                    <a:pt x="634" y="64"/>
                    <a:pt x="634" y="64"/>
                    <a:pt x="634" y="64"/>
                  </a:cubicBezTo>
                  <a:cubicBezTo>
                    <a:pt x="633" y="64"/>
                    <a:pt x="633" y="64"/>
                    <a:pt x="633" y="65"/>
                  </a:cubicBezTo>
                  <a:cubicBezTo>
                    <a:pt x="633" y="65"/>
                    <a:pt x="633" y="65"/>
                    <a:pt x="633" y="65"/>
                  </a:cubicBezTo>
                  <a:cubicBezTo>
                    <a:pt x="633" y="65"/>
                    <a:pt x="633" y="65"/>
                    <a:pt x="633" y="65"/>
                  </a:cubicBezTo>
                  <a:cubicBezTo>
                    <a:pt x="633" y="65"/>
                    <a:pt x="633" y="65"/>
                    <a:pt x="633" y="66"/>
                  </a:cubicBezTo>
                  <a:cubicBezTo>
                    <a:pt x="633" y="66"/>
                    <a:pt x="633" y="66"/>
                    <a:pt x="633" y="66"/>
                  </a:cubicBezTo>
                  <a:cubicBezTo>
                    <a:pt x="632" y="66"/>
                    <a:pt x="633" y="66"/>
                    <a:pt x="632" y="67"/>
                  </a:cubicBezTo>
                  <a:cubicBezTo>
                    <a:pt x="632" y="67"/>
                    <a:pt x="632" y="67"/>
                    <a:pt x="632" y="67"/>
                  </a:cubicBezTo>
                  <a:cubicBezTo>
                    <a:pt x="632" y="67"/>
                    <a:pt x="632" y="67"/>
                    <a:pt x="632" y="68"/>
                  </a:cubicBezTo>
                  <a:cubicBezTo>
                    <a:pt x="632" y="68"/>
                    <a:pt x="632" y="68"/>
                    <a:pt x="632" y="68"/>
                  </a:cubicBezTo>
                  <a:cubicBezTo>
                    <a:pt x="632" y="68"/>
                    <a:pt x="632" y="68"/>
                    <a:pt x="632" y="69"/>
                  </a:cubicBezTo>
                  <a:cubicBezTo>
                    <a:pt x="632" y="69"/>
                    <a:pt x="632" y="69"/>
                    <a:pt x="632" y="69"/>
                  </a:cubicBezTo>
                  <a:cubicBezTo>
                    <a:pt x="632" y="69"/>
                    <a:pt x="632" y="69"/>
                    <a:pt x="631" y="70"/>
                  </a:cubicBezTo>
                  <a:cubicBezTo>
                    <a:pt x="631" y="70"/>
                    <a:pt x="631" y="70"/>
                    <a:pt x="631" y="70"/>
                  </a:cubicBezTo>
                  <a:cubicBezTo>
                    <a:pt x="631" y="70"/>
                    <a:pt x="631" y="70"/>
                    <a:pt x="631" y="71"/>
                  </a:cubicBezTo>
                  <a:cubicBezTo>
                    <a:pt x="631" y="71"/>
                    <a:pt x="631" y="71"/>
                    <a:pt x="631" y="71"/>
                  </a:cubicBezTo>
                  <a:cubicBezTo>
                    <a:pt x="631" y="71"/>
                    <a:pt x="631" y="71"/>
                    <a:pt x="631" y="71"/>
                  </a:cubicBezTo>
                  <a:cubicBezTo>
                    <a:pt x="631" y="72"/>
                    <a:pt x="631" y="72"/>
                    <a:pt x="631" y="72"/>
                  </a:cubicBezTo>
                  <a:cubicBezTo>
                    <a:pt x="631" y="72"/>
                    <a:pt x="631" y="72"/>
                    <a:pt x="631" y="72"/>
                  </a:cubicBezTo>
                  <a:cubicBezTo>
                    <a:pt x="631" y="72"/>
                    <a:pt x="631" y="72"/>
                    <a:pt x="630" y="72"/>
                  </a:cubicBezTo>
                  <a:cubicBezTo>
                    <a:pt x="630" y="72"/>
                    <a:pt x="630" y="73"/>
                    <a:pt x="630" y="73"/>
                  </a:cubicBezTo>
                  <a:cubicBezTo>
                    <a:pt x="630" y="73"/>
                    <a:pt x="630" y="73"/>
                    <a:pt x="630" y="73"/>
                  </a:cubicBezTo>
                  <a:cubicBezTo>
                    <a:pt x="630" y="73"/>
                    <a:pt x="630" y="73"/>
                    <a:pt x="630" y="73"/>
                  </a:cubicBezTo>
                  <a:cubicBezTo>
                    <a:pt x="630" y="74"/>
                    <a:pt x="630" y="74"/>
                    <a:pt x="630" y="74"/>
                  </a:cubicBezTo>
                  <a:cubicBezTo>
                    <a:pt x="630" y="74"/>
                    <a:pt x="630" y="74"/>
                    <a:pt x="630" y="74"/>
                  </a:cubicBezTo>
                  <a:cubicBezTo>
                    <a:pt x="629" y="75"/>
                    <a:pt x="629" y="75"/>
                    <a:pt x="629" y="75"/>
                  </a:cubicBezTo>
                  <a:cubicBezTo>
                    <a:pt x="629" y="75"/>
                    <a:pt x="629" y="75"/>
                    <a:pt x="629" y="75"/>
                  </a:cubicBezTo>
                  <a:cubicBezTo>
                    <a:pt x="629" y="75"/>
                    <a:pt x="629" y="75"/>
                    <a:pt x="629" y="75"/>
                  </a:cubicBezTo>
                  <a:cubicBezTo>
                    <a:pt x="629" y="76"/>
                    <a:pt x="629" y="76"/>
                    <a:pt x="629" y="76"/>
                  </a:cubicBezTo>
                  <a:cubicBezTo>
                    <a:pt x="629" y="76"/>
                    <a:pt x="629" y="76"/>
                    <a:pt x="629" y="76"/>
                  </a:cubicBezTo>
                  <a:cubicBezTo>
                    <a:pt x="629" y="76"/>
                    <a:pt x="629" y="77"/>
                    <a:pt x="629" y="77"/>
                  </a:cubicBezTo>
                  <a:cubicBezTo>
                    <a:pt x="629" y="77"/>
                    <a:pt x="629" y="77"/>
                    <a:pt x="629" y="77"/>
                  </a:cubicBezTo>
                  <a:cubicBezTo>
                    <a:pt x="628" y="77"/>
                    <a:pt x="628" y="78"/>
                    <a:pt x="628" y="78"/>
                  </a:cubicBezTo>
                  <a:cubicBezTo>
                    <a:pt x="628" y="78"/>
                    <a:pt x="628" y="78"/>
                    <a:pt x="628" y="78"/>
                  </a:cubicBezTo>
                  <a:cubicBezTo>
                    <a:pt x="628" y="78"/>
                    <a:pt x="628" y="78"/>
                    <a:pt x="628" y="78"/>
                  </a:cubicBezTo>
                  <a:cubicBezTo>
                    <a:pt x="628" y="78"/>
                    <a:pt x="628" y="79"/>
                    <a:pt x="628" y="79"/>
                  </a:cubicBezTo>
                  <a:cubicBezTo>
                    <a:pt x="628" y="79"/>
                    <a:pt x="628" y="79"/>
                    <a:pt x="628" y="79"/>
                  </a:cubicBezTo>
                  <a:cubicBezTo>
                    <a:pt x="628" y="79"/>
                    <a:pt x="628" y="80"/>
                    <a:pt x="628" y="80"/>
                  </a:cubicBezTo>
                  <a:cubicBezTo>
                    <a:pt x="628" y="80"/>
                    <a:pt x="628" y="80"/>
                    <a:pt x="628" y="80"/>
                  </a:cubicBezTo>
                  <a:cubicBezTo>
                    <a:pt x="627" y="80"/>
                    <a:pt x="628" y="81"/>
                    <a:pt x="627" y="81"/>
                  </a:cubicBezTo>
                  <a:cubicBezTo>
                    <a:pt x="627" y="81"/>
                    <a:pt x="627" y="81"/>
                    <a:pt x="627" y="81"/>
                  </a:cubicBezTo>
                  <a:cubicBezTo>
                    <a:pt x="627" y="81"/>
                    <a:pt x="627" y="82"/>
                    <a:pt x="627" y="82"/>
                  </a:cubicBezTo>
                  <a:cubicBezTo>
                    <a:pt x="627" y="82"/>
                    <a:pt x="627" y="82"/>
                    <a:pt x="627" y="82"/>
                  </a:cubicBezTo>
                  <a:cubicBezTo>
                    <a:pt x="627" y="82"/>
                    <a:pt x="627" y="82"/>
                    <a:pt x="627" y="82"/>
                  </a:cubicBezTo>
                  <a:cubicBezTo>
                    <a:pt x="627" y="82"/>
                    <a:pt x="627" y="83"/>
                    <a:pt x="627" y="83"/>
                  </a:cubicBezTo>
                  <a:cubicBezTo>
                    <a:pt x="627" y="83"/>
                    <a:pt x="627" y="83"/>
                    <a:pt x="626" y="83"/>
                  </a:cubicBezTo>
                  <a:cubicBezTo>
                    <a:pt x="626" y="83"/>
                    <a:pt x="626" y="84"/>
                    <a:pt x="626" y="84"/>
                  </a:cubicBezTo>
                  <a:cubicBezTo>
                    <a:pt x="626" y="84"/>
                    <a:pt x="626" y="84"/>
                    <a:pt x="626" y="84"/>
                  </a:cubicBezTo>
                  <a:cubicBezTo>
                    <a:pt x="626" y="84"/>
                    <a:pt x="626" y="85"/>
                    <a:pt x="626" y="85"/>
                  </a:cubicBezTo>
                  <a:cubicBezTo>
                    <a:pt x="626" y="85"/>
                    <a:pt x="626" y="85"/>
                    <a:pt x="626" y="85"/>
                  </a:cubicBezTo>
                  <a:cubicBezTo>
                    <a:pt x="626" y="85"/>
                    <a:pt x="626" y="85"/>
                    <a:pt x="626" y="86"/>
                  </a:cubicBezTo>
                  <a:cubicBezTo>
                    <a:pt x="626" y="86"/>
                    <a:pt x="626" y="86"/>
                    <a:pt x="626" y="86"/>
                  </a:cubicBezTo>
                  <a:cubicBezTo>
                    <a:pt x="625" y="86"/>
                    <a:pt x="625" y="86"/>
                    <a:pt x="625" y="86"/>
                  </a:cubicBezTo>
                  <a:cubicBezTo>
                    <a:pt x="625" y="86"/>
                    <a:pt x="625" y="86"/>
                    <a:pt x="625" y="87"/>
                  </a:cubicBezTo>
                  <a:cubicBezTo>
                    <a:pt x="625" y="87"/>
                    <a:pt x="625" y="87"/>
                    <a:pt x="625" y="87"/>
                  </a:cubicBezTo>
                  <a:cubicBezTo>
                    <a:pt x="625" y="87"/>
                    <a:pt x="625" y="87"/>
                    <a:pt x="625" y="88"/>
                  </a:cubicBezTo>
                  <a:cubicBezTo>
                    <a:pt x="625" y="88"/>
                    <a:pt x="625" y="88"/>
                    <a:pt x="625" y="88"/>
                  </a:cubicBezTo>
                  <a:cubicBezTo>
                    <a:pt x="625" y="88"/>
                    <a:pt x="625" y="88"/>
                    <a:pt x="625" y="88"/>
                  </a:cubicBezTo>
                  <a:cubicBezTo>
                    <a:pt x="625" y="89"/>
                    <a:pt x="625" y="89"/>
                    <a:pt x="625" y="89"/>
                  </a:cubicBezTo>
                  <a:cubicBezTo>
                    <a:pt x="624" y="89"/>
                    <a:pt x="624" y="89"/>
                    <a:pt x="624" y="89"/>
                  </a:cubicBezTo>
                  <a:cubicBezTo>
                    <a:pt x="624" y="89"/>
                    <a:pt x="624" y="89"/>
                    <a:pt x="624" y="89"/>
                  </a:cubicBezTo>
                  <a:cubicBezTo>
                    <a:pt x="624" y="89"/>
                    <a:pt x="624" y="89"/>
                    <a:pt x="624" y="89"/>
                  </a:cubicBezTo>
                  <a:cubicBezTo>
                    <a:pt x="623" y="90"/>
                    <a:pt x="624" y="89"/>
                    <a:pt x="623" y="89"/>
                  </a:cubicBezTo>
                  <a:cubicBezTo>
                    <a:pt x="623" y="89"/>
                    <a:pt x="623" y="89"/>
                    <a:pt x="623" y="89"/>
                  </a:cubicBezTo>
                  <a:cubicBezTo>
                    <a:pt x="623" y="88"/>
                    <a:pt x="623" y="88"/>
                    <a:pt x="623" y="88"/>
                  </a:cubicBezTo>
                  <a:cubicBezTo>
                    <a:pt x="623" y="88"/>
                    <a:pt x="623" y="88"/>
                    <a:pt x="623" y="88"/>
                  </a:cubicBezTo>
                  <a:cubicBezTo>
                    <a:pt x="623" y="87"/>
                    <a:pt x="623" y="87"/>
                    <a:pt x="623" y="87"/>
                  </a:cubicBezTo>
                  <a:cubicBezTo>
                    <a:pt x="623" y="87"/>
                    <a:pt x="623" y="87"/>
                    <a:pt x="623" y="87"/>
                  </a:cubicBezTo>
                  <a:cubicBezTo>
                    <a:pt x="623" y="86"/>
                    <a:pt x="623" y="86"/>
                    <a:pt x="622" y="86"/>
                  </a:cubicBezTo>
                  <a:cubicBezTo>
                    <a:pt x="622" y="86"/>
                    <a:pt x="622" y="86"/>
                    <a:pt x="622" y="86"/>
                  </a:cubicBezTo>
                  <a:cubicBezTo>
                    <a:pt x="622" y="85"/>
                    <a:pt x="622" y="85"/>
                    <a:pt x="622" y="85"/>
                  </a:cubicBezTo>
                  <a:cubicBezTo>
                    <a:pt x="622" y="85"/>
                    <a:pt x="622" y="85"/>
                    <a:pt x="622" y="85"/>
                  </a:cubicBezTo>
                  <a:cubicBezTo>
                    <a:pt x="622" y="84"/>
                    <a:pt x="622" y="84"/>
                    <a:pt x="622" y="84"/>
                  </a:cubicBezTo>
                  <a:cubicBezTo>
                    <a:pt x="622" y="84"/>
                    <a:pt x="622" y="84"/>
                    <a:pt x="622" y="84"/>
                  </a:cubicBezTo>
                  <a:cubicBezTo>
                    <a:pt x="622" y="84"/>
                    <a:pt x="622" y="84"/>
                    <a:pt x="622" y="84"/>
                  </a:cubicBezTo>
                  <a:cubicBezTo>
                    <a:pt x="622" y="83"/>
                    <a:pt x="622" y="83"/>
                    <a:pt x="621" y="83"/>
                  </a:cubicBezTo>
                  <a:cubicBezTo>
                    <a:pt x="621" y="83"/>
                    <a:pt x="621" y="83"/>
                    <a:pt x="621" y="83"/>
                  </a:cubicBezTo>
                  <a:cubicBezTo>
                    <a:pt x="621" y="83"/>
                    <a:pt x="621" y="83"/>
                    <a:pt x="621" y="83"/>
                  </a:cubicBezTo>
                  <a:cubicBezTo>
                    <a:pt x="621" y="82"/>
                    <a:pt x="621" y="82"/>
                    <a:pt x="621" y="82"/>
                  </a:cubicBezTo>
                  <a:cubicBezTo>
                    <a:pt x="621" y="82"/>
                    <a:pt x="621" y="82"/>
                    <a:pt x="621" y="82"/>
                  </a:cubicBezTo>
                  <a:cubicBezTo>
                    <a:pt x="621" y="81"/>
                    <a:pt x="621" y="81"/>
                    <a:pt x="621" y="81"/>
                  </a:cubicBezTo>
                  <a:cubicBezTo>
                    <a:pt x="621" y="81"/>
                    <a:pt x="621" y="81"/>
                    <a:pt x="621" y="81"/>
                  </a:cubicBezTo>
                  <a:cubicBezTo>
                    <a:pt x="620" y="80"/>
                    <a:pt x="621" y="80"/>
                    <a:pt x="620" y="80"/>
                  </a:cubicBezTo>
                  <a:cubicBezTo>
                    <a:pt x="620" y="80"/>
                    <a:pt x="620" y="80"/>
                    <a:pt x="620" y="80"/>
                  </a:cubicBezTo>
                  <a:cubicBezTo>
                    <a:pt x="620" y="79"/>
                    <a:pt x="620" y="79"/>
                    <a:pt x="620" y="79"/>
                  </a:cubicBezTo>
                  <a:cubicBezTo>
                    <a:pt x="620" y="79"/>
                    <a:pt x="620" y="79"/>
                    <a:pt x="620" y="79"/>
                  </a:cubicBezTo>
                  <a:cubicBezTo>
                    <a:pt x="620" y="78"/>
                    <a:pt x="620" y="78"/>
                    <a:pt x="620" y="78"/>
                  </a:cubicBezTo>
                  <a:cubicBezTo>
                    <a:pt x="619" y="78"/>
                    <a:pt x="619" y="78"/>
                    <a:pt x="620" y="78"/>
                  </a:cubicBezTo>
                  <a:cubicBezTo>
                    <a:pt x="619" y="77"/>
                    <a:pt x="619" y="77"/>
                    <a:pt x="619" y="77"/>
                  </a:cubicBezTo>
                  <a:cubicBezTo>
                    <a:pt x="619" y="77"/>
                    <a:pt x="619" y="77"/>
                    <a:pt x="619" y="77"/>
                  </a:cubicBezTo>
                  <a:cubicBezTo>
                    <a:pt x="619" y="77"/>
                    <a:pt x="619" y="77"/>
                    <a:pt x="619" y="77"/>
                  </a:cubicBezTo>
                  <a:cubicBezTo>
                    <a:pt x="619" y="76"/>
                    <a:pt x="619" y="76"/>
                    <a:pt x="619" y="76"/>
                  </a:cubicBezTo>
                  <a:cubicBezTo>
                    <a:pt x="619" y="76"/>
                    <a:pt x="619" y="76"/>
                    <a:pt x="619" y="76"/>
                  </a:cubicBezTo>
                  <a:cubicBezTo>
                    <a:pt x="619" y="76"/>
                    <a:pt x="619" y="76"/>
                    <a:pt x="619" y="76"/>
                  </a:cubicBezTo>
                  <a:cubicBezTo>
                    <a:pt x="619" y="75"/>
                    <a:pt x="619" y="75"/>
                    <a:pt x="619" y="75"/>
                  </a:cubicBezTo>
                  <a:cubicBezTo>
                    <a:pt x="619" y="75"/>
                    <a:pt x="619" y="75"/>
                    <a:pt x="619" y="75"/>
                  </a:cubicBezTo>
                  <a:cubicBezTo>
                    <a:pt x="618" y="74"/>
                    <a:pt x="619" y="74"/>
                    <a:pt x="618" y="74"/>
                  </a:cubicBezTo>
                  <a:cubicBezTo>
                    <a:pt x="618" y="74"/>
                    <a:pt x="618" y="74"/>
                    <a:pt x="618" y="74"/>
                  </a:cubicBezTo>
                  <a:cubicBezTo>
                    <a:pt x="618" y="73"/>
                    <a:pt x="618" y="73"/>
                    <a:pt x="618" y="73"/>
                  </a:cubicBezTo>
                  <a:cubicBezTo>
                    <a:pt x="618" y="73"/>
                    <a:pt x="618" y="73"/>
                    <a:pt x="618" y="73"/>
                  </a:cubicBezTo>
                  <a:cubicBezTo>
                    <a:pt x="618" y="72"/>
                    <a:pt x="618" y="72"/>
                    <a:pt x="617" y="72"/>
                  </a:cubicBezTo>
                  <a:cubicBezTo>
                    <a:pt x="617" y="72"/>
                    <a:pt x="617" y="72"/>
                    <a:pt x="617" y="72"/>
                  </a:cubicBezTo>
                  <a:cubicBezTo>
                    <a:pt x="617" y="71"/>
                    <a:pt x="617" y="71"/>
                    <a:pt x="617" y="71"/>
                  </a:cubicBezTo>
                  <a:cubicBezTo>
                    <a:pt x="617" y="71"/>
                    <a:pt x="617" y="71"/>
                    <a:pt x="617" y="71"/>
                  </a:cubicBezTo>
                  <a:cubicBezTo>
                    <a:pt x="617" y="70"/>
                    <a:pt x="617" y="70"/>
                    <a:pt x="617" y="70"/>
                  </a:cubicBezTo>
                  <a:cubicBezTo>
                    <a:pt x="617" y="70"/>
                    <a:pt x="617" y="70"/>
                    <a:pt x="617" y="70"/>
                  </a:cubicBezTo>
                  <a:cubicBezTo>
                    <a:pt x="617" y="70"/>
                    <a:pt x="617" y="70"/>
                    <a:pt x="617" y="70"/>
                  </a:cubicBezTo>
                  <a:cubicBezTo>
                    <a:pt x="617" y="69"/>
                    <a:pt x="617" y="69"/>
                    <a:pt x="616" y="69"/>
                  </a:cubicBezTo>
                  <a:cubicBezTo>
                    <a:pt x="616" y="69"/>
                    <a:pt x="616" y="69"/>
                    <a:pt x="616" y="69"/>
                  </a:cubicBezTo>
                  <a:cubicBezTo>
                    <a:pt x="616" y="69"/>
                    <a:pt x="616" y="69"/>
                    <a:pt x="616" y="69"/>
                  </a:cubicBezTo>
                  <a:cubicBezTo>
                    <a:pt x="616" y="68"/>
                    <a:pt x="616" y="68"/>
                    <a:pt x="616" y="68"/>
                  </a:cubicBezTo>
                  <a:cubicBezTo>
                    <a:pt x="616" y="68"/>
                    <a:pt x="616" y="68"/>
                    <a:pt x="616" y="68"/>
                  </a:cubicBezTo>
                  <a:cubicBezTo>
                    <a:pt x="616" y="67"/>
                    <a:pt x="616" y="67"/>
                    <a:pt x="616" y="67"/>
                  </a:cubicBezTo>
                  <a:cubicBezTo>
                    <a:pt x="616" y="67"/>
                    <a:pt x="616" y="67"/>
                    <a:pt x="616" y="67"/>
                  </a:cubicBezTo>
                  <a:cubicBezTo>
                    <a:pt x="615" y="66"/>
                    <a:pt x="616" y="66"/>
                    <a:pt x="615" y="66"/>
                  </a:cubicBezTo>
                  <a:cubicBezTo>
                    <a:pt x="615" y="66"/>
                    <a:pt x="615" y="66"/>
                    <a:pt x="615" y="66"/>
                  </a:cubicBezTo>
                  <a:cubicBezTo>
                    <a:pt x="615" y="65"/>
                    <a:pt x="615" y="65"/>
                    <a:pt x="615" y="65"/>
                  </a:cubicBezTo>
                  <a:cubicBezTo>
                    <a:pt x="615" y="65"/>
                    <a:pt x="615" y="65"/>
                    <a:pt x="615" y="65"/>
                  </a:cubicBezTo>
                  <a:cubicBezTo>
                    <a:pt x="615" y="64"/>
                    <a:pt x="615" y="64"/>
                    <a:pt x="615" y="64"/>
                  </a:cubicBezTo>
                  <a:cubicBezTo>
                    <a:pt x="615" y="64"/>
                    <a:pt x="615" y="64"/>
                    <a:pt x="615" y="64"/>
                  </a:cubicBezTo>
                  <a:cubicBezTo>
                    <a:pt x="615" y="63"/>
                    <a:pt x="615" y="63"/>
                    <a:pt x="614" y="63"/>
                  </a:cubicBezTo>
                  <a:cubicBezTo>
                    <a:pt x="614" y="63"/>
                    <a:pt x="614" y="63"/>
                    <a:pt x="614" y="63"/>
                  </a:cubicBezTo>
                  <a:cubicBezTo>
                    <a:pt x="614" y="62"/>
                    <a:pt x="614" y="62"/>
                    <a:pt x="614" y="62"/>
                  </a:cubicBezTo>
                  <a:cubicBezTo>
                    <a:pt x="614" y="62"/>
                    <a:pt x="614" y="62"/>
                    <a:pt x="614" y="62"/>
                  </a:cubicBezTo>
                  <a:cubicBezTo>
                    <a:pt x="614" y="62"/>
                    <a:pt x="614" y="62"/>
                    <a:pt x="614" y="62"/>
                  </a:cubicBezTo>
                  <a:cubicBezTo>
                    <a:pt x="614" y="61"/>
                    <a:pt x="614" y="61"/>
                    <a:pt x="614" y="61"/>
                  </a:cubicBezTo>
                  <a:cubicBezTo>
                    <a:pt x="614" y="61"/>
                    <a:pt x="614" y="61"/>
                    <a:pt x="614" y="61"/>
                  </a:cubicBezTo>
                  <a:cubicBezTo>
                    <a:pt x="613" y="61"/>
                    <a:pt x="614" y="60"/>
                    <a:pt x="613" y="60"/>
                  </a:cubicBezTo>
                  <a:cubicBezTo>
                    <a:pt x="613" y="60"/>
                    <a:pt x="613" y="60"/>
                    <a:pt x="613" y="60"/>
                  </a:cubicBezTo>
                  <a:cubicBezTo>
                    <a:pt x="613" y="59"/>
                    <a:pt x="613" y="59"/>
                    <a:pt x="613" y="59"/>
                  </a:cubicBezTo>
                  <a:cubicBezTo>
                    <a:pt x="613" y="59"/>
                    <a:pt x="613" y="59"/>
                    <a:pt x="613" y="59"/>
                  </a:cubicBezTo>
                  <a:cubicBezTo>
                    <a:pt x="613" y="58"/>
                    <a:pt x="613" y="58"/>
                    <a:pt x="613" y="58"/>
                  </a:cubicBezTo>
                  <a:cubicBezTo>
                    <a:pt x="613" y="58"/>
                    <a:pt x="613" y="58"/>
                    <a:pt x="613" y="58"/>
                  </a:cubicBezTo>
                  <a:cubicBezTo>
                    <a:pt x="612" y="57"/>
                    <a:pt x="612" y="57"/>
                    <a:pt x="612" y="57"/>
                  </a:cubicBezTo>
                  <a:cubicBezTo>
                    <a:pt x="612" y="57"/>
                    <a:pt x="612" y="57"/>
                    <a:pt x="612" y="57"/>
                  </a:cubicBezTo>
                  <a:cubicBezTo>
                    <a:pt x="612" y="56"/>
                    <a:pt x="612" y="56"/>
                    <a:pt x="612" y="56"/>
                  </a:cubicBezTo>
                  <a:cubicBezTo>
                    <a:pt x="612" y="56"/>
                    <a:pt x="612" y="56"/>
                    <a:pt x="612" y="56"/>
                  </a:cubicBezTo>
                  <a:cubicBezTo>
                    <a:pt x="612" y="55"/>
                    <a:pt x="612" y="55"/>
                    <a:pt x="612" y="55"/>
                  </a:cubicBezTo>
                  <a:cubicBezTo>
                    <a:pt x="611" y="55"/>
                    <a:pt x="611" y="55"/>
                    <a:pt x="611" y="55"/>
                  </a:cubicBezTo>
                  <a:cubicBezTo>
                    <a:pt x="612" y="55"/>
                    <a:pt x="612" y="55"/>
                    <a:pt x="612" y="55"/>
                  </a:cubicBezTo>
                  <a:cubicBezTo>
                    <a:pt x="611" y="54"/>
                    <a:pt x="611" y="54"/>
                    <a:pt x="611" y="54"/>
                  </a:cubicBezTo>
                  <a:cubicBezTo>
                    <a:pt x="611" y="54"/>
                    <a:pt x="611" y="54"/>
                    <a:pt x="611" y="54"/>
                  </a:cubicBezTo>
                  <a:cubicBezTo>
                    <a:pt x="611" y="54"/>
                    <a:pt x="611" y="54"/>
                    <a:pt x="611" y="54"/>
                  </a:cubicBezTo>
                  <a:cubicBezTo>
                    <a:pt x="611" y="53"/>
                    <a:pt x="611" y="53"/>
                    <a:pt x="611" y="53"/>
                  </a:cubicBezTo>
                  <a:cubicBezTo>
                    <a:pt x="611" y="53"/>
                    <a:pt x="611" y="53"/>
                    <a:pt x="611" y="53"/>
                  </a:cubicBezTo>
                  <a:cubicBezTo>
                    <a:pt x="611" y="53"/>
                    <a:pt x="611" y="52"/>
                    <a:pt x="611" y="52"/>
                  </a:cubicBezTo>
                  <a:cubicBezTo>
                    <a:pt x="611" y="52"/>
                    <a:pt x="611" y="52"/>
                    <a:pt x="611" y="52"/>
                  </a:cubicBezTo>
                  <a:cubicBezTo>
                    <a:pt x="610" y="51"/>
                    <a:pt x="611" y="51"/>
                    <a:pt x="610" y="51"/>
                  </a:cubicBezTo>
                  <a:cubicBezTo>
                    <a:pt x="610" y="51"/>
                    <a:pt x="610" y="51"/>
                    <a:pt x="610" y="51"/>
                  </a:cubicBezTo>
                  <a:cubicBezTo>
                    <a:pt x="610" y="50"/>
                    <a:pt x="610" y="50"/>
                    <a:pt x="610" y="50"/>
                  </a:cubicBezTo>
                  <a:cubicBezTo>
                    <a:pt x="610" y="50"/>
                    <a:pt x="610" y="50"/>
                    <a:pt x="610" y="50"/>
                  </a:cubicBezTo>
                  <a:cubicBezTo>
                    <a:pt x="610" y="49"/>
                    <a:pt x="610" y="49"/>
                    <a:pt x="610" y="49"/>
                  </a:cubicBezTo>
                  <a:cubicBezTo>
                    <a:pt x="609" y="49"/>
                    <a:pt x="609" y="49"/>
                    <a:pt x="609" y="49"/>
                  </a:cubicBezTo>
                  <a:cubicBezTo>
                    <a:pt x="609" y="48"/>
                    <a:pt x="609" y="48"/>
                    <a:pt x="609" y="48"/>
                  </a:cubicBezTo>
                  <a:cubicBezTo>
                    <a:pt x="609" y="48"/>
                    <a:pt x="609" y="48"/>
                    <a:pt x="609" y="48"/>
                  </a:cubicBezTo>
                  <a:cubicBezTo>
                    <a:pt x="609" y="48"/>
                    <a:pt x="609" y="48"/>
                    <a:pt x="609" y="48"/>
                  </a:cubicBezTo>
                  <a:cubicBezTo>
                    <a:pt x="609" y="47"/>
                    <a:pt x="609" y="47"/>
                    <a:pt x="609" y="47"/>
                  </a:cubicBezTo>
                  <a:cubicBezTo>
                    <a:pt x="609" y="47"/>
                    <a:pt x="609" y="47"/>
                    <a:pt x="609" y="47"/>
                  </a:cubicBezTo>
                  <a:cubicBezTo>
                    <a:pt x="609" y="47"/>
                    <a:pt x="609" y="47"/>
                    <a:pt x="609" y="47"/>
                  </a:cubicBezTo>
                  <a:cubicBezTo>
                    <a:pt x="609" y="46"/>
                    <a:pt x="609" y="46"/>
                    <a:pt x="608" y="46"/>
                  </a:cubicBezTo>
                  <a:cubicBezTo>
                    <a:pt x="608" y="46"/>
                    <a:pt x="608" y="46"/>
                    <a:pt x="608" y="46"/>
                  </a:cubicBezTo>
                  <a:cubicBezTo>
                    <a:pt x="608" y="46"/>
                    <a:pt x="608" y="45"/>
                    <a:pt x="608" y="45"/>
                  </a:cubicBezTo>
                  <a:cubicBezTo>
                    <a:pt x="608" y="45"/>
                    <a:pt x="608" y="45"/>
                    <a:pt x="608" y="45"/>
                  </a:cubicBezTo>
                  <a:cubicBezTo>
                    <a:pt x="608" y="45"/>
                    <a:pt x="608" y="44"/>
                    <a:pt x="608" y="44"/>
                  </a:cubicBezTo>
                  <a:cubicBezTo>
                    <a:pt x="608" y="44"/>
                    <a:pt x="608" y="44"/>
                    <a:pt x="608" y="44"/>
                  </a:cubicBezTo>
                  <a:cubicBezTo>
                    <a:pt x="607" y="43"/>
                    <a:pt x="608" y="43"/>
                    <a:pt x="607" y="43"/>
                  </a:cubicBezTo>
                  <a:cubicBezTo>
                    <a:pt x="607" y="43"/>
                    <a:pt x="607" y="43"/>
                    <a:pt x="607" y="43"/>
                  </a:cubicBezTo>
                  <a:cubicBezTo>
                    <a:pt x="607" y="43"/>
                    <a:pt x="607" y="42"/>
                    <a:pt x="607" y="42"/>
                  </a:cubicBezTo>
                  <a:cubicBezTo>
                    <a:pt x="607" y="42"/>
                    <a:pt x="607" y="42"/>
                    <a:pt x="607" y="42"/>
                  </a:cubicBezTo>
                  <a:cubicBezTo>
                    <a:pt x="607" y="41"/>
                    <a:pt x="607" y="41"/>
                    <a:pt x="607" y="41"/>
                  </a:cubicBezTo>
                  <a:cubicBezTo>
                    <a:pt x="607" y="41"/>
                    <a:pt x="607" y="41"/>
                    <a:pt x="607" y="41"/>
                  </a:cubicBezTo>
                  <a:cubicBezTo>
                    <a:pt x="607" y="41"/>
                    <a:pt x="607" y="41"/>
                    <a:pt x="607" y="41"/>
                  </a:cubicBezTo>
                  <a:cubicBezTo>
                    <a:pt x="607" y="40"/>
                    <a:pt x="607" y="40"/>
                    <a:pt x="606" y="40"/>
                  </a:cubicBezTo>
                  <a:cubicBezTo>
                    <a:pt x="606" y="40"/>
                    <a:pt x="606" y="40"/>
                    <a:pt x="606" y="40"/>
                  </a:cubicBezTo>
                  <a:cubicBezTo>
                    <a:pt x="606" y="40"/>
                    <a:pt x="606" y="40"/>
                    <a:pt x="606" y="40"/>
                  </a:cubicBezTo>
                  <a:cubicBezTo>
                    <a:pt x="606" y="39"/>
                    <a:pt x="606" y="39"/>
                    <a:pt x="606" y="39"/>
                  </a:cubicBezTo>
                  <a:cubicBezTo>
                    <a:pt x="606" y="39"/>
                    <a:pt x="606" y="39"/>
                    <a:pt x="606" y="39"/>
                  </a:cubicBezTo>
                  <a:cubicBezTo>
                    <a:pt x="606" y="39"/>
                    <a:pt x="606" y="38"/>
                    <a:pt x="606" y="38"/>
                  </a:cubicBezTo>
                  <a:cubicBezTo>
                    <a:pt x="606" y="38"/>
                    <a:pt x="606" y="38"/>
                    <a:pt x="606" y="38"/>
                  </a:cubicBezTo>
                  <a:cubicBezTo>
                    <a:pt x="605" y="38"/>
                    <a:pt x="606" y="37"/>
                    <a:pt x="605" y="37"/>
                  </a:cubicBezTo>
                  <a:cubicBezTo>
                    <a:pt x="605" y="37"/>
                    <a:pt x="605" y="37"/>
                    <a:pt x="605" y="37"/>
                  </a:cubicBezTo>
                  <a:cubicBezTo>
                    <a:pt x="605" y="37"/>
                    <a:pt x="605" y="36"/>
                    <a:pt x="605" y="36"/>
                  </a:cubicBezTo>
                  <a:cubicBezTo>
                    <a:pt x="605" y="36"/>
                    <a:pt x="605" y="36"/>
                    <a:pt x="605" y="36"/>
                  </a:cubicBezTo>
                  <a:cubicBezTo>
                    <a:pt x="605" y="36"/>
                    <a:pt x="605" y="35"/>
                    <a:pt x="605" y="35"/>
                  </a:cubicBezTo>
                  <a:cubicBezTo>
                    <a:pt x="605" y="35"/>
                    <a:pt x="605" y="35"/>
                    <a:pt x="605" y="35"/>
                  </a:cubicBezTo>
                  <a:cubicBezTo>
                    <a:pt x="604" y="34"/>
                    <a:pt x="604" y="34"/>
                    <a:pt x="604" y="34"/>
                  </a:cubicBezTo>
                  <a:cubicBezTo>
                    <a:pt x="600" y="34"/>
                    <a:pt x="597" y="34"/>
                    <a:pt x="593" y="34"/>
                  </a:cubicBezTo>
                  <a:cubicBezTo>
                    <a:pt x="592" y="34"/>
                    <a:pt x="592" y="35"/>
                    <a:pt x="592" y="35"/>
                  </a:cubicBezTo>
                  <a:cubicBezTo>
                    <a:pt x="593" y="35"/>
                    <a:pt x="593" y="35"/>
                    <a:pt x="593" y="35"/>
                  </a:cubicBezTo>
                  <a:cubicBezTo>
                    <a:pt x="592" y="35"/>
                    <a:pt x="592" y="35"/>
                    <a:pt x="592" y="35"/>
                  </a:cubicBezTo>
                  <a:cubicBezTo>
                    <a:pt x="593" y="36"/>
                    <a:pt x="593" y="36"/>
                    <a:pt x="593" y="36"/>
                  </a:cubicBezTo>
                  <a:cubicBezTo>
                    <a:pt x="593" y="36"/>
                    <a:pt x="593" y="36"/>
                    <a:pt x="593" y="36"/>
                  </a:cubicBezTo>
                  <a:cubicBezTo>
                    <a:pt x="593" y="36"/>
                    <a:pt x="593" y="37"/>
                    <a:pt x="593" y="37"/>
                  </a:cubicBezTo>
                  <a:cubicBezTo>
                    <a:pt x="593" y="37"/>
                    <a:pt x="593" y="37"/>
                    <a:pt x="593" y="37"/>
                  </a:cubicBezTo>
                  <a:cubicBezTo>
                    <a:pt x="593" y="37"/>
                    <a:pt x="593" y="38"/>
                    <a:pt x="593" y="38"/>
                  </a:cubicBezTo>
                  <a:cubicBezTo>
                    <a:pt x="593" y="38"/>
                    <a:pt x="593" y="38"/>
                    <a:pt x="593" y="38"/>
                  </a:cubicBezTo>
                  <a:cubicBezTo>
                    <a:pt x="594" y="38"/>
                    <a:pt x="594" y="38"/>
                    <a:pt x="594" y="39"/>
                  </a:cubicBezTo>
                  <a:cubicBezTo>
                    <a:pt x="594" y="39"/>
                    <a:pt x="594" y="39"/>
                    <a:pt x="594" y="39"/>
                  </a:cubicBezTo>
                  <a:cubicBezTo>
                    <a:pt x="594" y="39"/>
                    <a:pt x="594" y="39"/>
                    <a:pt x="594" y="40"/>
                  </a:cubicBezTo>
                  <a:cubicBezTo>
                    <a:pt x="594" y="40"/>
                    <a:pt x="594" y="40"/>
                    <a:pt x="594" y="40"/>
                  </a:cubicBezTo>
                  <a:cubicBezTo>
                    <a:pt x="595" y="40"/>
                    <a:pt x="594" y="40"/>
                    <a:pt x="595" y="41"/>
                  </a:cubicBezTo>
                  <a:cubicBezTo>
                    <a:pt x="595" y="41"/>
                    <a:pt x="595" y="41"/>
                    <a:pt x="595" y="41"/>
                  </a:cubicBezTo>
                  <a:cubicBezTo>
                    <a:pt x="595" y="41"/>
                    <a:pt x="595" y="41"/>
                    <a:pt x="595" y="41"/>
                  </a:cubicBezTo>
                  <a:cubicBezTo>
                    <a:pt x="595" y="41"/>
                    <a:pt x="595" y="41"/>
                    <a:pt x="595" y="41"/>
                  </a:cubicBezTo>
                  <a:cubicBezTo>
                    <a:pt x="595" y="42"/>
                    <a:pt x="595" y="42"/>
                    <a:pt x="595" y="42"/>
                  </a:cubicBezTo>
                  <a:cubicBezTo>
                    <a:pt x="595" y="42"/>
                    <a:pt x="595" y="42"/>
                    <a:pt x="595" y="42"/>
                  </a:cubicBezTo>
                  <a:cubicBezTo>
                    <a:pt x="595" y="43"/>
                    <a:pt x="595" y="43"/>
                    <a:pt x="596" y="43"/>
                  </a:cubicBezTo>
                  <a:cubicBezTo>
                    <a:pt x="596" y="43"/>
                    <a:pt x="596" y="43"/>
                    <a:pt x="596" y="43"/>
                  </a:cubicBezTo>
                  <a:cubicBezTo>
                    <a:pt x="596" y="43"/>
                    <a:pt x="596" y="43"/>
                    <a:pt x="596" y="43"/>
                  </a:cubicBezTo>
                  <a:cubicBezTo>
                    <a:pt x="596" y="44"/>
                    <a:pt x="596" y="44"/>
                    <a:pt x="596" y="44"/>
                  </a:cubicBezTo>
                  <a:cubicBezTo>
                    <a:pt x="596" y="44"/>
                    <a:pt x="596" y="44"/>
                    <a:pt x="596" y="44"/>
                  </a:cubicBezTo>
                  <a:cubicBezTo>
                    <a:pt x="596" y="44"/>
                    <a:pt x="596" y="45"/>
                    <a:pt x="596" y="45"/>
                  </a:cubicBezTo>
                  <a:cubicBezTo>
                    <a:pt x="596" y="45"/>
                    <a:pt x="596" y="45"/>
                    <a:pt x="596" y="45"/>
                  </a:cubicBezTo>
                  <a:cubicBezTo>
                    <a:pt x="596" y="45"/>
                    <a:pt x="596" y="46"/>
                    <a:pt x="597" y="46"/>
                  </a:cubicBezTo>
                  <a:cubicBezTo>
                    <a:pt x="597" y="46"/>
                    <a:pt x="597" y="46"/>
                    <a:pt x="597" y="46"/>
                  </a:cubicBezTo>
                  <a:cubicBezTo>
                    <a:pt x="597" y="46"/>
                    <a:pt x="597" y="46"/>
                    <a:pt x="597" y="47"/>
                  </a:cubicBezTo>
                  <a:cubicBezTo>
                    <a:pt x="597" y="47"/>
                    <a:pt x="597" y="47"/>
                    <a:pt x="597" y="47"/>
                  </a:cubicBezTo>
                  <a:cubicBezTo>
                    <a:pt x="597" y="47"/>
                    <a:pt x="597" y="47"/>
                    <a:pt x="597" y="48"/>
                  </a:cubicBezTo>
                  <a:cubicBezTo>
                    <a:pt x="597" y="48"/>
                    <a:pt x="597" y="48"/>
                    <a:pt x="597" y="48"/>
                  </a:cubicBezTo>
                  <a:cubicBezTo>
                    <a:pt x="598" y="48"/>
                    <a:pt x="597" y="48"/>
                    <a:pt x="598" y="49"/>
                  </a:cubicBezTo>
                  <a:cubicBezTo>
                    <a:pt x="598" y="49"/>
                    <a:pt x="598" y="49"/>
                    <a:pt x="598" y="49"/>
                  </a:cubicBezTo>
                  <a:cubicBezTo>
                    <a:pt x="598" y="49"/>
                    <a:pt x="598" y="49"/>
                    <a:pt x="598" y="49"/>
                  </a:cubicBezTo>
                  <a:cubicBezTo>
                    <a:pt x="598" y="49"/>
                    <a:pt x="598" y="49"/>
                    <a:pt x="598" y="49"/>
                  </a:cubicBezTo>
                  <a:cubicBezTo>
                    <a:pt x="598" y="50"/>
                    <a:pt x="598" y="50"/>
                    <a:pt x="598" y="50"/>
                  </a:cubicBezTo>
                  <a:cubicBezTo>
                    <a:pt x="598" y="50"/>
                    <a:pt x="598" y="50"/>
                    <a:pt x="598" y="50"/>
                  </a:cubicBezTo>
                  <a:cubicBezTo>
                    <a:pt x="599" y="51"/>
                    <a:pt x="598" y="51"/>
                    <a:pt x="599" y="51"/>
                  </a:cubicBezTo>
                  <a:cubicBezTo>
                    <a:pt x="599" y="51"/>
                    <a:pt x="599" y="51"/>
                    <a:pt x="599" y="51"/>
                  </a:cubicBezTo>
                  <a:cubicBezTo>
                    <a:pt x="599" y="51"/>
                    <a:pt x="599" y="51"/>
                    <a:pt x="599" y="51"/>
                  </a:cubicBezTo>
                  <a:cubicBezTo>
                    <a:pt x="599" y="52"/>
                    <a:pt x="599" y="52"/>
                    <a:pt x="599" y="52"/>
                  </a:cubicBezTo>
                  <a:cubicBezTo>
                    <a:pt x="599" y="52"/>
                    <a:pt x="599" y="52"/>
                    <a:pt x="599" y="52"/>
                  </a:cubicBezTo>
                  <a:cubicBezTo>
                    <a:pt x="599" y="52"/>
                    <a:pt x="599" y="53"/>
                    <a:pt x="599" y="53"/>
                  </a:cubicBezTo>
                  <a:cubicBezTo>
                    <a:pt x="599" y="53"/>
                    <a:pt x="599" y="53"/>
                    <a:pt x="599" y="53"/>
                  </a:cubicBezTo>
                  <a:cubicBezTo>
                    <a:pt x="600" y="53"/>
                    <a:pt x="600" y="54"/>
                    <a:pt x="600" y="54"/>
                  </a:cubicBezTo>
                  <a:cubicBezTo>
                    <a:pt x="600" y="54"/>
                    <a:pt x="600" y="54"/>
                    <a:pt x="600" y="54"/>
                  </a:cubicBezTo>
                  <a:cubicBezTo>
                    <a:pt x="600" y="54"/>
                    <a:pt x="600" y="54"/>
                    <a:pt x="600" y="55"/>
                  </a:cubicBezTo>
                  <a:cubicBezTo>
                    <a:pt x="600" y="55"/>
                    <a:pt x="600" y="55"/>
                    <a:pt x="600" y="55"/>
                  </a:cubicBezTo>
                  <a:cubicBezTo>
                    <a:pt x="600" y="55"/>
                    <a:pt x="600" y="55"/>
                    <a:pt x="600" y="56"/>
                  </a:cubicBezTo>
                  <a:cubicBezTo>
                    <a:pt x="600" y="56"/>
                    <a:pt x="600" y="56"/>
                    <a:pt x="600" y="56"/>
                  </a:cubicBezTo>
                  <a:cubicBezTo>
                    <a:pt x="601" y="56"/>
                    <a:pt x="600" y="56"/>
                    <a:pt x="601" y="57"/>
                  </a:cubicBezTo>
                  <a:cubicBezTo>
                    <a:pt x="601" y="57"/>
                    <a:pt x="601" y="57"/>
                    <a:pt x="601" y="57"/>
                  </a:cubicBezTo>
                  <a:cubicBezTo>
                    <a:pt x="601" y="57"/>
                    <a:pt x="601" y="57"/>
                    <a:pt x="601" y="57"/>
                  </a:cubicBezTo>
                  <a:cubicBezTo>
                    <a:pt x="601" y="57"/>
                    <a:pt x="601" y="57"/>
                    <a:pt x="601" y="57"/>
                  </a:cubicBezTo>
                  <a:cubicBezTo>
                    <a:pt x="601" y="58"/>
                    <a:pt x="601" y="58"/>
                    <a:pt x="602" y="58"/>
                  </a:cubicBezTo>
                  <a:cubicBezTo>
                    <a:pt x="602" y="58"/>
                    <a:pt x="602" y="58"/>
                    <a:pt x="602" y="58"/>
                  </a:cubicBezTo>
                  <a:cubicBezTo>
                    <a:pt x="602" y="59"/>
                    <a:pt x="602" y="59"/>
                    <a:pt x="602" y="59"/>
                  </a:cubicBezTo>
                  <a:cubicBezTo>
                    <a:pt x="602" y="59"/>
                    <a:pt x="602" y="59"/>
                    <a:pt x="602" y="59"/>
                  </a:cubicBezTo>
                  <a:cubicBezTo>
                    <a:pt x="602" y="59"/>
                    <a:pt x="602" y="59"/>
                    <a:pt x="602" y="59"/>
                  </a:cubicBezTo>
                  <a:cubicBezTo>
                    <a:pt x="602" y="60"/>
                    <a:pt x="602" y="60"/>
                    <a:pt x="602" y="60"/>
                  </a:cubicBezTo>
                  <a:cubicBezTo>
                    <a:pt x="602" y="60"/>
                    <a:pt x="602" y="60"/>
                    <a:pt x="602" y="60"/>
                  </a:cubicBezTo>
                  <a:cubicBezTo>
                    <a:pt x="602" y="60"/>
                    <a:pt x="602" y="61"/>
                    <a:pt x="602" y="61"/>
                  </a:cubicBezTo>
                  <a:cubicBezTo>
                    <a:pt x="603" y="61"/>
                    <a:pt x="603" y="61"/>
                    <a:pt x="603" y="61"/>
                  </a:cubicBezTo>
                  <a:cubicBezTo>
                    <a:pt x="603" y="61"/>
                    <a:pt x="603" y="62"/>
                    <a:pt x="603" y="62"/>
                  </a:cubicBezTo>
                  <a:cubicBezTo>
                    <a:pt x="603" y="62"/>
                    <a:pt x="603" y="62"/>
                    <a:pt x="603" y="62"/>
                  </a:cubicBezTo>
                  <a:cubicBezTo>
                    <a:pt x="603" y="62"/>
                    <a:pt x="603" y="62"/>
                    <a:pt x="603" y="63"/>
                  </a:cubicBezTo>
                  <a:cubicBezTo>
                    <a:pt x="603" y="63"/>
                    <a:pt x="603" y="63"/>
                    <a:pt x="603" y="63"/>
                  </a:cubicBezTo>
                  <a:cubicBezTo>
                    <a:pt x="603" y="63"/>
                    <a:pt x="603" y="63"/>
                    <a:pt x="604" y="64"/>
                  </a:cubicBezTo>
                  <a:cubicBezTo>
                    <a:pt x="604" y="64"/>
                    <a:pt x="604" y="64"/>
                    <a:pt x="604" y="64"/>
                  </a:cubicBezTo>
                  <a:cubicBezTo>
                    <a:pt x="604" y="64"/>
                    <a:pt x="604" y="64"/>
                    <a:pt x="604" y="65"/>
                  </a:cubicBezTo>
                  <a:cubicBezTo>
                    <a:pt x="604" y="65"/>
                    <a:pt x="604" y="65"/>
                    <a:pt x="604" y="65"/>
                  </a:cubicBezTo>
                  <a:cubicBezTo>
                    <a:pt x="604" y="65"/>
                    <a:pt x="604" y="65"/>
                    <a:pt x="604" y="65"/>
                  </a:cubicBezTo>
                  <a:cubicBezTo>
                    <a:pt x="604" y="65"/>
                    <a:pt x="604" y="65"/>
                    <a:pt x="604" y="65"/>
                  </a:cubicBezTo>
                  <a:cubicBezTo>
                    <a:pt x="605" y="66"/>
                    <a:pt x="604" y="66"/>
                    <a:pt x="605" y="66"/>
                  </a:cubicBezTo>
                  <a:cubicBezTo>
                    <a:pt x="605" y="66"/>
                    <a:pt x="605" y="66"/>
                    <a:pt x="605" y="66"/>
                  </a:cubicBezTo>
                  <a:cubicBezTo>
                    <a:pt x="605" y="67"/>
                    <a:pt x="605" y="67"/>
                    <a:pt x="605" y="67"/>
                  </a:cubicBezTo>
                  <a:cubicBezTo>
                    <a:pt x="605" y="67"/>
                    <a:pt x="605" y="67"/>
                    <a:pt x="605" y="67"/>
                  </a:cubicBezTo>
                  <a:cubicBezTo>
                    <a:pt x="605" y="67"/>
                    <a:pt x="605" y="67"/>
                    <a:pt x="605" y="67"/>
                  </a:cubicBezTo>
                  <a:cubicBezTo>
                    <a:pt x="605" y="68"/>
                    <a:pt x="605" y="68"/>
                    <a:pt x="605" y="68"/>
                  </a:cubicBezTo>
                  <a:cubicBezTo>
                    <a:pt x="605" y="68"/>
                    <a:pt x="605" y="68"/>
                    <a:pt x="605" y="68"/>
                  </a:cubicBezTo>
                  <a:cubicBezTo>
                    <a:pt x="605" y="68"/>
                    <a:pt x="605" y="69"/>
                    <a:pt x="606" y="69"/>
                  </a:cubicBezTo>
                  <a:cubicBezTo>
                    <a:pt x="606" y="69"/>
                    <a:pt x="606" y="69"/>
                    <a:pt x="606" y="69"/>
                  </a:cubicBezTo>
                  <a:cubicBezTo>
                    <a:pt x="606" y="69"/>
                    <a:pt x="606" y="70"/>
                    <a:pt x="606" y="70"/>
                  </a:cubicBezTo>
                  <a:cubicBezTo>
                    <a:pt x="606" y="70"/>
                    <a:pt x="606" y="70"/>
                    <a:pt x="606" y="70"/>
                  </a:cubicBezTo>
                  <a:cubicBezTo>
                    <a:pt x="606" y="70"/>
                    <a:pt x="606" y="70"/>
                    <a:pt x="606" y="71"/>
                  </a:cubicBezTo>
                  <a:cubicBezTo>
                    <a:pt x="606" y="71"/>
                    <a:pt x="606" y="71"/>
                    <a:pt x="606" y="71"/>
                  </a:cubicBezTo>
                  <a:cubicBezTo>
                    <a:pt x="607" y="71"/>
                    <a:pt x="606" y="71"/>
                    <a:pt x="607" y="72"/>
                  </a:cubicBezTo>
                  <a:cubicBezTo>
                    <a:pt x="607" y="72"/>
                    <a:pt x="607" y="72"/>
                    <a:pt x="607" y="72"/>
                  </a:cubicBezTo>
                  <a:cubicBezTo>
                    <a:pt x="607" y="72"/>
                    <a:pt x="607" y="72"/>
                    <a:pt x="607" y="73"/>
                  </a:cubicBezTo>
                  <a:cubicBezTo>
                    <a:pt x="607" y="73"/>
                    <a:pt x="607" y="73"/>
                    <a:pt x="607" y="73"/>
                  </a:cubicBezTo>
                  <a:cubicBezTo>
                    <a:pt x="607" y="73"/>
                    <a:pt x="607" y="73"/>
                    <a:pt x="607" y="73"/>
                  </a:cubicBezTo>
                  <a:cubicBezTo>
                    <a:pt x="607" y="73"/>
                    <a:pt x="607" y="73"/>
                    <a:pt x="607" y="73"/>
                  </a:cubicBezTo>
                  <a:cubicBezTo>
                    <a:pt x="608" y="74"/>
                    <a:pt x="607" y="74"/>
                    <a:pt x="608" y="74"/>
                  </a:cubicBezTo>
                  <a:cubicBezTo>
                    <a:pt x="608" y="74"/>
                    <a:pt x="608" y="74"/>
                    <a:pt x="608" y="74"/>
                  </a:cubicBezTo>
                  <a:cubicBezTo>
                    <a:pt x="608" y="75"/>
                    <a:pt x="608" y="75"/>
                    <a:pt x="608" y="75"/>
                  </a:cubicBezTo>
                  <a:cubicBezTo>
                    <a:pt x="608" y="75"/>
                    <a:pt x="608" y="75"/>
                    <a:pt x="608" y="75"/>
                  </a:cubicBezTo>
                  <a:cubicBezTo>
                    <a:pt x="608" y="75"/>
                    <a:pt x="608" y="75"/>
                    <a:pt x="608" y="75"/>
                  </a:cubicBezTo>
                  <a:cubicBezTo>
                    <a:pt x="608" y="76"/>
                    <a:pt x="608" y="76"/>
                    <a:pt x="608" y="76"/>
                  </a:cubicBezTo>
                  <a:cubicBezTo>
                    <a:pt x="608" y="76"/>
                    <a:pt x="608" y="76"/>
                    <a:pt x="608" y="76"/>
                  </a:cubicBezTo>
                  <a:cubicBezTo>
                    <a:pt x="609" y="76"/>
                    <a:pt x="609" y="77"/>
                    <a:pt x="609" y="77"/>
                  </a:cubicBezTo>
                  <a:cubicBezTo>
                    <a:pt x="609" y="77"/>
                    <a:pt x="609" y="77"/>
                    <a:pt x="609" y="77"/>
                  </a:cubicBezTo>
                  <a:cubicBezTo>
                    <a:pt x="609" y="77"/>
                    <a:pt x="609" y="77"/>
                    <a:pt x="609" y="77"/>
                  </a:cubicBezTo>
                  <a:cubicBezTo>
                    <a:pt x="609" y="77"/>
                    <a:pt x="609" y="78"/>
                    <a:pt x="609" y="78"/>
                  </a:cubicBezTo>
                  <a:cubicBezTo>
                    <a:pt x="609" y="78"/>
                    <a:pt x="609" y="78"/>
                    <a:pt x="609" y="78"/>
                  </a:cubicBezTo>
                  <a:cubicBezTo>
                    <a:pt x="609" y="78"/>
                    <a:pt x="609" y="78"/>
                    <a:pt x="609" y="79"/>
                  </a:cubicBezTo>
                  <a:cubicBezTo>
                    <a:pt x="610" y="79"/>
                    <a:pt x="610" y="79"/>
                    <a:pt x="610" y="79"/>
                  </a:cubicBezTo>
                  <a:cubicBezTo>
                    <a:pt x="610" y="79"/>
                    <a:pt x="610" y="79"/>
                    <a:pt x="610" y="80"/>
                  </a:cubicBezTo>
                  <a:cubicBezTo>
                    <a:pt x="610" y="80"/>
                    <a:pt x="610" y="80"/>
                    <a:pt x="610" y="80"/>
                  </a:cubicBezTo>
                  <a:cubicBezTo>
                    <a:pt x="610" y="80"/>
                    <a:pt x="610" y="80"/>
                    <a:pt x="610" y="81"/>
                  </a:cubicBezTo>
                  <a:cubicBezTo>
                    <a:pt x="610" y="81"/>
                    <a:pt x="610" y="81"/>
                    <a:pt x="610" y="81"/>
                  </a:cubicBezTo>
                  <a:cubicBezTo>
                    <a:pt x="610" y="81"/>
                    <a:pt x="610" y="81"/>
                    <a:pt x="611" y="81"/>
                  </a:cubicBezTo>
                  <a:cubicBezTo>
                    <a:pt x="611" y="81"/>
                    <a:pt x="611" y="81"/>
                    <a:pt x="611" y="81"/>
                  </a:cubicBezTo>
                  <a:cubicBezTo>
                    <a:pt x="611" y="82"/>
                    <a:pt x="611" y="82"/>
                    <a:pt x="611" y="82"/>
                  </a:cubicBezTo>
                  <a:cubicBezTo>
                    <a:pt x="611" y="82"/>
                    <a:pt x="611" y="82"/>
                    <a:pt x="611" y="82"/>
                  </a:cubicBezTo>
                  <a:cubicBezTo>
                    <a:pt x="611" y="83"/>
                    <a:pt x="611" y="83"/>
                    <a:pt x="611" y="83"/>
                  </a:cubicBezTo>
                  <a:cubicBezTo>
                    <a:pt x="611" y="83"/>
                    <a:pt x="611" y="83"/>
                    <a:pt x="611" y="83"/>
                  </a:cubicBezTo>
                  <a:cubicBezTo>
                    <a:pt x="611" y="83"/>
                    <a:pt x="611" y="83"/>
                    <a:pt x="611" y="83"/>
                  </a:cubicBezTo>
                  <a:cubicBezTo>
                    <a:pt x="611" y="84"/>
                    <a:pt x="611" y="84"/>
                    <a:pt x="612" y="84"/>
                  </a:cubicBezTo>
                  <a:cubicBezTo>
                    <a:pt x="612" y="84"/>
                    <a:pt x="612" y="84"/>
                    <a:pt x="612" y="84"/>
                  </a:cubicBezTo>
                  <a:cubicBezTo>
                    <a:pt x="612" y="84"/>
                    <a:pt x="612" y="85"/>
                    <a:pt x="612" y="85"/>
                  </a:cubicBezTo>
                  <a:cubicBezTo>
                    <a:pt x="612" y="85"/>
                    <a:pt x="612" y="85"/>
                    <a:pt x="612" y="85"/>
                  </a:cubicBezTo>
                  <a:cubicBezTo>
                    <a:pt x="612" y="85"/>
                    <a:pt x="612" y="85"/>
                    <a:pt x="612" y="85"/>
                  </a:cubicBezTo>
                  <a:cubicBezTo>
                    <a:pt x="612" y="85"/>
                    <a:pt x="612" y="86"/>
                    <a:pt x="612" y="86"/>
                  </a:cubicBezTo>
                  <a:cubicBezTo>
                    <a:pt x="612" y="86"/>
                    <a:pt x="612" y="86"/>
                    <a:pt x="612" y="86"/>
                  </a:cubicBezTo>
                  <a:cubicBezTo>
                    <a:pt x="612" y="86"/>
                    <a:pt x="612" y="86"/>
                    <a:pt x="613" y="87"/>
                  </a:cubicBezTo>
                  <a:cubicBezTo>
                    <a:pt x="613" y="87"/>
                    <a:pt x="613" y="87"/>
                    <a:pt x="613" y="87"/>
                  </a:cubicBezTo>
                  <a:cubicBezTo>
                    <a:pt x="613" y="87"/>
                    <a:pt x="613" y="87"/>
                    <a:pt x="613" y="88"/>
                  </a:cubicBezTo>
                  <a:cubicBezTo>
                    <a:pt x="613" y="88"/>
                    <a:pt x="613" y="88"/>
                    <a:pt x="613" y="88"/>
                  </a:cubicBezTo>
                  <a:cubicBezTo>
                    <a:pt x="613" y="88"/>
                    <a:pt x="613" y="88"/>
                    <a:pt x="613" y="89"/>
                  </a:cubicBezTo>
                  <a:cubicBezTo>
                    <a:pt x="613" y="89"/>
                    <a:pt x="613" y="89"/>
                    <a:pt x="613" y="89"/>
                  </a:cubicBezTo>
                  <a:cubicBezTo>
                    <a:pt x="613" y="89"/>
                    <a:pt x="613" y="89"/>
                    <a:pt x="614" y="89"/>
                  </a:cubicBezTo>
                  <a:cubicBezTo>
                    <a:pt x="614" y="89"/>
                    <a:pt x="614" y="89"/>
                    <a:pt x="614" y="89"/>
                  </a:cubicBezTo>
                  <a:cubicBezTo>
                    <a:pt x="614" y="90"/>
                    <a:pt x="614" y="90"/>
                    <a:pt x="614" y="90"/>
                  </a:cubicBezTo>
                  <a:cubicBezTo>
                    <a:pt x="614" y="90"/>
                    <a:pt x="614" y="90"/>
                    <a:pt x="614" y="90"/>
                  </a:cubicBezTo>
                  <a:cubicBezTo>
                    <a:pt x="614" y="91"/>
                    <a:pt x="614" y="91"/>
                    <a:pt x="614" y="91"/>
                  </a:cubicBezTo>
                  <a:cubicBezTo>
                    <a:pt x="614" y="91"/>
                    <a:pt x="614" y="91"/>
                    <a:pt x="614" y="91"/>
                  </a:cubicBezTo>
                  <a:cubicBezTo>
                    <a:pt x="614" y="91"/>
                    <a:pt x="614" y="91"/>
                    <a:pt x="614" y="91"/>
                  </a:cubicBezTo>
                  <a:cubicBezTo>
                    <a:pt x="615" y="92"/>
                    <a:pt x="614" y="92"/>
                    <a:pt x="615" y="92"/>
                  </a:cubicBezTo>
                  <a:cubicBezTo>
                    <a:pt x="615" y="92"/>
                    <a:pt x="615" y="92"/>
                    <a:pt x="615" y="92"/>
                  </a:cubicBezTo>
                  <a:cubicBezTo>
                    <a:pt x="615" y="92"/>
                    <a:pt x="615" y="93"/>
                    <a:pt x="615" y="93"/>
                  </a:cubicBezTo>
                  <a:cubicBezTo>
                    <a:pt x="615" y="93"/>
                    <a:pt x="615" y="93"/>
                    <a:pt x="615" y="93"/>
                  </a:cubicBezTo>
                  <a:cubicBezTo>
                    <a:pt x="615" y="93"/>
                    <a:pt x="615" y="93"/>
                    <a:pt x="615" y="93"/>
                  </a:cubicBezTo>
                  <a:cubicBezTo>
                    <a:pt x="615" y="93"/>
                    <a:pt x="615" y="94"/>
                    <a:pt x="615" y="94"/>
                  </a:cubicBezTo>
                  <a:cubicBezTo>
                    <a:pt x="615" y="94"/>
                    <a:pt x="615" y="94"/>
                    <a:pt x="615" y="94"/>
                  </a:cubicBezTo>
                  <a:cubicBezTo>
                    <a:pt x="616" y="94"/>
                    <a:pt x="616" y="94"/>
                    <a:pt x="616" y="95"/>
                  </a:cubicBezTo>
                  <a:cubicBezTo>
                    <a:pt x="616" y="95"/>
                    <a:pt x="616" y="95"/>
                    <a:pt x="616" y="95"/>
                  </a:cubicBezTo>
                  <a:cubicBezTo>
                    <a:pt x="616" y="95"/>
                    <a:pt x="616" y="95"/>
                    <a:pt x="616" y="96"/>
                  </a:cubicBezTo>
                  <a:cubicBezTo>
                    <a:pt x="616" y="96"/>
                    <a:pt x="616" y="96"/>
                    <a:pt x="616" y="96"/>
                  </a:cubicBezTo>
                  <a:cubicBezTo>
                    <a:pt x="616" y="96"/>
                    <a:pt x="616" y="96"/>
                    <a:pt x="617" y="97"/>
                  </a:cubicBezTo>
                  <a:cubicBezTo>
                    <a:pt x="616" y="97"/>
                    <a:pt x="616" y="97"/>
                    <a:pt x="616" y="97"/>
                  </a:cubicBezTo>
                  <a:cubicBezTo>
                    <a:pt x="617" y="97"/>
                    <a:pt x="617" y="97"/>
                    <a:pt x="617" y="97"/>
                  </a:cubicBezTo>
                  <a:cubicBezTo>
                    <a:pt x="617" y="97"/>
                    <a:pt x="617" y="97"/>
                    <a:pt x="617" y="97"/>
                  </a:cubicBezTo>
                  <a:cubicBezTo>
                    <a:pt x="617" y="98"/>
                    <a:pt x="617" y="98"/>
                    <a:pt x="617" y="98"/>
                  </a:cubicBezTo>
                  <a:cubicBezTo>
                    <a:pt x="617" y="98"/>
                    <a:pt x="617" y="98"/>
                    <a:pt x="617" y="98"/>
                  </a:cubicBezTo>
                  <a:cubicBezTo>
                    <a:pt x="617" y="99"/>
                    <a:pt x="617" y="99"/>
                    <a:pt x="617" y="99"/>
                  </a:cubicBezTo>
                  <a:cubicBezTo>
                    <a:pt x="618" y="99"/>
                    <a:pt x="618" y="99"/>
                    <a:pt x="618" y="99"/>
                  </a:cubicBezTo>
                  <a:cubicBezTo>
                    <a:pt x="618" y="99"/>
                    <a:pt x="618" y="99"/>
                    <a:pt x="618" y="99"/>
                  </a:cubicBezTo>
                  <a:cubicBezTo>
                    <a:pt x="618" y="100"/>
                    <a:pt x="618" y="100"/>
                    <a:pt x="618" y="100"/>
                  </a:cubicBezTo>
                  <a:cubicBezTo>
                    <a:pt x="618" y="100"/>
                    <a:pt x="618" y="100"/>
                    <a:pt x="618" y="100"/>
                  </a:cubicBezTo>
                  <a:cubicBezTo>
                    <a:pt x="618" y="100"/>
                    <a:pt x="618" y="101"/>
                    <a:pt x="618" y="101"/>
                  </a:cubicBezTo>
                  <a:cubicBezTo>
                    <a:pt x="618" y="101"/>
                    <a:pt x="619" y="101"/>
                    <a:pt x="618" y="102"/>
                  </a:cubicBezTo>
                  <a:cubicBezTo>
                    <a:pt x="618" y="102"/>
                    <a:pt x="618" y="102"/>
                    <a:pt x="618" y="103"/>
                  </a:cubicBezTo>
                  <a:cubicBezTo>
                    <a:pt x="618" y="103"/>
                    <a:pt x="618" y="103"/>
                    <a:pt x="618" y="103"/>
                  </a:cubicBezTo>
                  <a:cubicBezTo>
                    <a:pt x="618" y="103"/>
                    <a:pt x="618" y="103"/>
                    <a:pt x="618" y="103"/>
                  </a:cubicBezTo>
                  <a:cubicBezTo>
                    <a:pt x="618" y="103"/>
                    <a:pt x="618" y="103"/>
                    <a:pt x="618" y="103"/>
                  </a:cubicBezTo>
                  <a:cubicBezTo>
                    <a:pt x="617" y="103"/>
                    <a:pt x="617" y="104"/>
                    <a:pt x="617" y="104"/>
                  </a:cubicBezTo>
                  <a:cubicBezTo>
                    <a:pt x="617" y="104"/>
                    <a:pt x="617" y="104"/>
                    <a:pt x="617" y="104"/>
                  </a:cubicBezTo>
                  <a:cubicBezTo>
                    <a:pt x="617" y="104"/>
                    <a:pt x="617" y="104"/>
                    <a:pt x="617" y="104"/>
                  </a:cubicBezTo>
                  <a:cubicBezTo>
                    <a:pt x="617" y="105"/>
                    <a:pt x="617" y="105"/>
                    <a:pt x="617" y="105"/>
                  </a:cubicBezTo>
                  <a:cubicBezTo>
                    <a:pt x="617" y="105"/>
                    <a:pt x="617" y="105"/>
                    <a:pt x="617" y="105"/>
                  </a:cubicBezTo>
                  <a:cubicBezTo>
                    <a:pt x="617" y="105"/>
                    <a:pt x="617" y="106"/>
                    <a:pt x="616" y="106"/>
                  </a:cubicBezTo>
                  <a:cubicBezTo>
                    <a:pt x="617" y="106"/>
                    <a:pt x="617" y="106"/>
                    <a:pt x="617" y="106"/>
                  </a:cubicBezTo>
                  <a:cubicBezTo>
                    <a:pt x="616" y="106"/>
                    <a:pt x="616" y="106"/>
                    <a:pt x="616" y="107"/>
                  </a:cubicBezTo>
                  <a:cubicBezTo>
                    <a:pt x="616" y="107"/>
                    <a:pt x="616" y="107"/>
                    <a:pt x="616" y="107"/>
                  </a:cubicBezTo>
                  <a:cubicBezTo>
                    <a:pt x="616" y="107"/>
                    <a:pt x="616" y="107"/>
                    <a:pt x="616" y="107"/>
                  </a:cubicBezTo>
                  <a:cubicBezTo>
                    <a:pt x="616" y="107"/>
                    <a:pt x="616" y="107"/>
                    <a:pt x="616" y="107"/>
                  </a:cubicBezTo>
                  <a:cubicBezTo>
                    <a:pt x="616" y="107"/>
                    <a:pt x="616" y="107"/>
                    <a:pt x="616" y="107"/>
                  </a:cubicBezTo>
                  <a:cubicBezTo>
                    <a:pt x="616" y="108"/>
                    <a:pt x="616" y="108"/>
                    <a:pt x="615" y="108"/>
                  </a:cubicBezTo>
                  <a:cubicBezTo>
                    <a:pt x="615" y="108"/>
                    <a:pt x="615" y="108"/>
                    <a:pt x="615" y="108"/>
                  </a:cubicBezTo>
                  <a:cubicBezTo>
                    <a:pt x="615" y="109"/>
                    <a:pt x="615" y="109"/>
                    <a:pt x="615" y="109"/>
                  </a:cubicBezTo>
                  <a:cubicBezTo>
                    <a:pt x="615" y="109"/>
                    <a:pt x="615" y="109"/>
                    <a:pt x="615" y="109"/>
                  </a:cubicBezTo>
                  <a:cubicBezTo>
                    <a:pt x="615" y="109"/>
                    <a:pt x="615" y="110"/>
                    <a:pt x="615" y="110"/>
                  </a:cubicBezTo>
                  <a:cubicBezTo>
                    <a:pt x="615" y="110"/>
                    <a:pt x="615" y="110"/>
                    <a:pt x="615" y="110"/>
                  </a:cubicBezTo>
                  <a:cubicBezTo>
                    <a:pt x="614" y="110"/>
                    <a:pt x="615" y="110"/>
                    <a:pt x="614" y="111"/>
                  </a:cubicBezTo>
                  <a:cubicBezTo>
                    <a:pt x="614" y="111"/>
                    <a:pt x="614" y="111"/>
                    <a:pt x="614" y="111"/>
                  </a:cubicBezTo>
                  <a:cubicBezTo>
                    <a:pt x="614" y="111"/>
                    <a:pt x="614" y="111"/>
                    <a:pt x="614" y="111"/>
                  </a:cubicBezTo>
                  <a:cubicBezTo>
                    <a:pt x="614" y="111"/>
                    <a:pt x="614" y="111"/>
                    <a:pt x="614" y="112"/>
                  </a:cubicBezTo>
                  <a:cubicBezTo>
                    <a:pt x="614" y="112"/>
                    <a:pt x="614" y="112"/>
                    <a:pt x="614" y="112"/>
                  </a:cubicBezTo>
                  <a:cubicBezTo>
                    <a:pt x="614" y="112"/>
                    <a:pt x="614" y="112"/>
                    <a:pt x="614" y="112"/>
                  </a:cubicBezTo>
                  <a:cubicBezTo>
                    <a:pt x="614" y="112"/>
                    <a:pt x="614" y="112"/>
                    <a:pt x="614" y="112"/>
                  </a:cubicBezTo>
                  <a:cubicBezTo>
                    <a:pt x="613" y="113"/>
                    <a:pt x="613" y="113"/>
                    <a:pt x="613" y="113"/>
                  </a:cubicBezTo>
                  <a:cubicBezTo>
                    <a:pt x="613" y="113"/>
                    <a:pt x="613" y="113"/>
                    <a:pt x="613" y="113"/>
                  </a:cubicBezTo>
                  <a:cubicBezTo>
                    <a:pt x="613" y="113"/>
                    <a:pt x="613" y="113"/>
                    <a:pt x="613" y="113"/>
                  </a:cubicBezTo>
                  <a:cubicBezTo>
                    <a:pt x="613" y="114"/>
                    <a:pt x="613" y="114"/>
                    <a:pt x="613" y="114"/>
                  </a:cubicBezTo>
                  <a:cubicBezTo>
                    <a:pt x="613" y="114"/>
                    <a:pt x="613" y="114"/>
                    <a:pt x="613" y="114"/>
                  </a:cubicBezTo>
                  <a:cubicBezTo>
                    <a:pt x="613" y="114"/>
                    <a:pt x="613" y="115"/>
                    <a:pt x="613" y="115"/>
                  </a:cubicBezTo>
                  <a:cubicBezTo>
                    <a:pt x="613" y="115"/>
                    <a:pt x="613" y="115"/>
                    <a:pt x="613" y="115"/>
                  </a:cubicBezTo>
                  <a:cubicBezTo>
                    <a:pt x="612" y="115"/>
                    <a:pt x="612" y="115"/>
                    <a:pt x="612" y="116"/>
                  </a:cubicBezTo>
                  <a:cubicBezTo>
                    <a:pt x="612" y="115"/>
                    <a:pt x="612" y="115"/>
                    <a:pt x="612" y="115"/>
                  </a:cubicBezTo>
                  <a:cubicBezTo>
                    <a:pt x="612" y="116"/>
                    <a:pt x="612" y="116"/>
                    <a:pt x="612" y="116"/>
                  </a:cubicBezTo>
                  <a:cubicBezTo>
                    <a:pt x="612" y="116"/>
                    <a:pt x="612" y="116"/>
                    <a:pt x="612" y="116"/>
                  </a:cubicBezTo>
                  <a:cubicBezTo>
                    <a:pt x="612" y="116"/>
                    <a:pt x="612" y="117"/>
                    <a:pt x="612" y="117"/>
                  </a:cubicBezTo>
                  <a:cubicBezTo>
                    <a:pt x="612" y="117"/>
                    <a:pt x="612" y="117"/>
                    <a:pt x="612" y="117"/>
                  </a:cubicBezTo>
                  <a:cubicBezTo>
                    <a:pt x="611" y="117"/>
                    <a:pt x="611" y="117"/>
                    <a:pt x="611" y="118"/>
                  </a:cubicBezTo>
                  <a:cubicBezTo>
                    <a:pt x="611" y="118"/>
                    <a:pt x="611" y="118"/>
                    <a:pt x="611" y="118"/>
                  </a:cubicBezTo>
                  <a:cubicBezTo>
                    <a:pt x="611" y="118"/>
                    <a:pt x="611" y="118"/>
                    <a:pt x="611" y="118"/>
                  </a:cubicBezTo>
                  <a:cubicBezTo>
                    <a:pt x="611" y="118"/>
                    <a:pt x="611" y="118"/>
                    <a:pt x="611" y="118"/>
                  </a:cubicBezTo>
                  <a:cubicBezTo>
                    <a:pt x="611" y="118"/>
                    <a:pt x="611" y="118"/>
                    <a:pt x="611" y="119"/>
                  </a:cubicBezTo>
                  <a:cubicBezTo>
                    <a:pt x="611" y="119"/>
                    <a:pt x="611" y="119"/>
                    <a:pt x="611" y="119"/>
                  </a:cubicBezTo>
                  <a:cubicBezTo>
                    <a:pt x="610" y="119"/>
                    <a:pt x="610" y="119"/>
                    <a:pt x="610" y="119"/>
                  </a:cubicBezTo>
                  <a:cubicBezTo>
                    <a:pt x="610" y="119"/>
                    <a:pt x="610" y="119"/>
                    <a:pt x="610" y="119"/>
                  </a:cubicBezTo>
                  <a:cubicBezTo>
                    <a:pt x="610" y="119"/>
                    <a:pt x="610" y="119"/>
                    <a:pt x="610" y="119"/>
                  </a:cubicBezTo>
                  <a:cubicBezTo>
                    <a:pt x="610" y="119"/>
                    <a:pt x="610" y="119"/>
                    <a:pt x="610" y="119"/>
                  </a:cubicBezTo>
                  <a:cubicBezTo>
                    <a:pt x="610" y="119"/>
                    <a:pt x="610" y="119"/>
                    <a:pt x="610" y="120"/>
                  </a:cubicBezTo>
                  <a:cubicBezTo>
                    <a:pt x="610" y="120"/>
                    <a:pt x="610" y="120"/>
                    <a:pt x="610" y="120"/>
                  </a:cubicBezTo>
                  <a:cubicBezTo>
                    <a:pt x="609" y="120"/>
                    <a:pt x="609" y="120"/>
                    <a:pt x="609" y="120"/>
                  </a:cubicBezTo>
                  <a:cubicBezTo>
                    <a:pt x="609" y="120"/>
                    <a:pt x="609" y="120"/>
                    <a:pt x="609" y="120"/>
                  </a:cubicBezTo>
                  <a:cubicBezTo>
                    <a:pt x="609" y="120"/>
                    <a:pt x="609" y="120"/>
                    <a:pt x="609" y="120"/>
                  </a:cubicBezTo>
                  <a:cubicBezTo>
                    <a:pt x="609" y="120"/>
                    <a:pt x="609" y="120"/>
                    <a:pt x="609" y="120"/>
                  </a:cubicBezTo>
                  <a:cubicBezTo>
                    <a:pt x="609" y="120"/>
                    <a:pt x="609" y="121"/>
                    <a:pt x="609" y="121"/>
                  </a:cubicBezTo>
                  <a:cubicBezTo>
                    <a:pt x="609" y="121"/>
                    <a:pt x="609" y="121"/>
                    <a:pt x="609" y="121"/>
                  </a:cubicBezTo>
                  <a:cubicBezTo>
                    <a:pt x="608" y="121"/>
                    <a:pt x="608" y="121"/>
                    <a:pt x="608" y="121"/>
                  </a:cubicBezTo>
                  <a:cubicBezTo>
                    <a:pt x="608" y="121"/>
                    <a:pt x="608" y="121"/>
                    <a:pt x="608" y="121"/>
                  </a:cubicBezTo>
                  <a:cubicBezTo>
                    <a:pt x="608" y="121"/>
                    <a:pt x="608" y="121"/>
                    <a:pt x="608" y="121"/>
                  </a:cubicBezTo>
                  <a:cubicBezTo>
                    <a:pt x="608" y="121"/>
                    <a:pt x="608" y="121"/>
                    <a:pt x="608" y="121"/>
                  </a:cubicBezTo>
                  <a:cubicBezTo>
                    <a:pt x="607" y="122"/>
                    <a:pt x="607" y="122"/>
                    <a:pt x="607" y="122"/>
                  </a:cubicBezTo>
                  <a:cubicBezTo>
                    <a:pt x="607" y="122"/>
                    <a:pt x="607" y="122"/>
                    <a:pt x="607" y="122"/>
                  </a:cubicBezTo>
                  <a:cubicBezTo>
                    <a:pt x="607" y="122"/>
                    <a:pt x="606" y="122"/>
                    <a:pt x="606" y="122"/>
                  </a:cubicBezTo>
                  <a:cubicBezTo>
                    <a:pt x="606" y="122"/>
                    <a:pt x="606" y="122"/>
                    <a:pt x="606" y="122"/>
                  </a:cubicBezTo>
                  <a:cubicBezTo>
                    <a:pt x="606" y="123"/>
                    <a:pt x="606" y="123"/>
                    <a:pt x="605" y="123"/>
                  </a:cubicBezTo>
                  <a:cubicBezTo>
                    <a:pt x="605" y="123"/>
                    <a:pt x="605" y="123"/>
                    <a:pt x="605" y="123"/>
                  </a:cubicBezTo>
                  <a:cubicBezTo>
                    <a:pt x="605" y="123"/>
                    <a:pt x="605" y="123"/>
                    <a:pt x="605" y="123"/>
                  </a:cubicBezTo>
                  <a:cubicBezTo>
                    <a:pt x="605" y="123"/>
                    <a:pt x="604" y="123"/>
                    <a:pt x="604" y="123"/>
                  </a:cubicBezTo>
                  <a:cubicBezTo>
                    <a:pt x="604" y="123"/>
                    <a:pt x="604" y="123"/>
                    <a:pt x="603" y="123"/>
                  </a:cubicBezTo>
                  <a:close/>
                  <a:moveTo>
                    <a:pt x="1154" y="49"/>
                  </a:moveTo>
                  <a:cubicBezTo>
                    <a:pt x="1154" y="49"/>
                    <a:pt x="1154" y="49"/>
                    <a:pt x="1154" y="49"/>
                  </a:cubicBezTo>
                  <a:cubicBezTo>
                    <a:pt x="1154" y="49"/>
                    <a:pt x="1154" y="49"/>
                    <a:pt x="1154" y="49"/>
                  </a:cubicBezTo>
                  <a:cubicBezTo>
                    <a:pt x="1154" y="49"/>
                    <a:pt x="1154" y="49"/>
                    <a:pt x="1154" y="48"/>
                  </a:cubicBezTo>
                  <a:cubicBezTo>
                    <a:pt x="1153" y="48"/>
                    <a:pt x="1153" y="48"/>
                    <a:pt x="1154" y="48"/>
                  </a:cubicBezTo>
                  <a:cubicBezTo>
                    <a:pt x="1153" y="48"/>
                    <a:pt x="1154" y="47"/>
                    <a:pt x="1153" y="47"/>
                  </a:cubicBezTo>
                  <a:cubicBezTo>
                    <a:pt x="1153" y="47"/>
                    <a:pt x="1153" y="47"/>
                    <a:pt x="1153" y="47"/>
                  </a:cubicBezTo>
                  <a:cubicBezTo>
                    <a:pt x="1153" y="47"/>
                    <a:pt x="1153" y="46"/>
                    <a:pt x="1153" y="46"/>
                  </a:cubicBezTo>
                  <a:cubicBezTo>
                    <a:pt x="1153" y="46"/>
                    <a:pt x="1153" y="46"/>
                    <a:pt x="1153" y="46"/>
                  </a:cubicBezTo>
                  <a:cubicBezTo>
                    <a:pt x="1153" y="46"/>
                    <a:pt x="1153" y="45"/>
                    <a:pt x="1152" y="45"/>
                  </a:cubicBezTo>
                  <a:cubicBezTo>
                    <a:pt x="1152" y="45"/>
                    <a:pt x="1152" y="45"/>
                    <a:pt x="1152" y="45"/>
                  </a:cubicBezTo>
                  <a:cubicBezTo>
                    <a:pt x="1152" y="45"/>
                    <a:pt x="1152" y="45"/>
                    <a:pt x="1152" y="44"/>
                  </a:cubicBezTo>
                  <a:cubicBezTo>
                    <a:pt x="1152" y="44"/>
                    <a:pt x="1152" y="44"/>
                    <a:pt x="1152" y="44"/>
                  </a:cubicBezTo>
                  <a:cubicBezTo>
                    <a:pt x="1152" y="44"/>
                    <a:pt x="1152" y="44"/>
                    <a:pt x="1152" y="44"/>
                  </a:cubicBezTo>
                  <a:cubicBezTo>
                    <a:pt x="1152" y="44"/>
                    <a:pt x="1152" y="44"/>
                    <a:pt x="1152" y="44"/>
                  </a:cubicBezTo>
                  <a:cubicBezTo>
                    <a:pt x="1152" y="44"/>
                    <a:pt x="1152" y="43"/>
                    <a:pt x="1151" y="43"/>
                  </a:cubicBezTo>
                  <a:cubicBezTo>
                    <a:pt x="1151" y="43"/>
                    <a:pt x="1151" y="43"/>
                    <a:pt x="1151" y="43"/>
                  </a:cubicBezTo>
                  <a:cubicBezTo>
                    <a:pt x="1151" y="43"/>
                    <a:pt x="1151" y="43"/>
                    <a:pt x="1151" y="42"/>
                  </a:cubicBezTo>
                  <a:cubicBezTo>
                    <a:pt x="1151" y="42"/>
                    <a:pt x="1151" y="42"/>
                    <a:pt x="1151" y="42"/>
                  </a:cubicBezTo>
                  <a:cubicBezTo>
                    <a:pt x="1151" y="42"/>
                    <a:pt x="1151" y="42"/>
                    <a:pt x="1151" y="42"/>
                  </a:cubicBezTo>
                  <a:cubicBezTo>
                    <a:pt x="1151" y="42"/>
                    <a:pt x="1151" y="42"/>
                    <a:pt x="1151" y="42"/>
                  </a:cubicBezTo>
                  <a:cubicBezTo>
                    <a:pt x="1151" y="42"/>
                    <a:pt x="1151" y="41"/>
                    <a:pt x="1150" y="41"/>
                  </a:cubicBezTo>
                  <a:cubicBezTo>
                    <a:pt x="1150" y="41"/>
                    <a:pt x="1150" y="41"/>
                    <a:pt x="1150" y="41"/>
                  </a:cubicBezTo>
                  <a:cubicBezTo>
                    <a:pt x="1150" y="41"/>
                    <a:pt x="1150" y="41"/>
                    <a:pt x="1150" y="41"/>
                  </a:cubicBezTo>
                  <a:cubicBezTo>
                    <a:pt x="1150" y="41"/>
                    <a:pt x="1150" y="41"/>
                    <a:pt x="1150" y="41"/>
                  </a:cubicBezTo>
                  <a:cubicBezTo>
                    <a:pt x="1150" y="40"/>
                    <a:pt x="1150" y="40"/>
                    <a:pt x="1150" y="40"/>
                  </a:cubicBezTo>
                  <a:cubicBezTo>
                    <a:pt x="1150" y="40"/>
                    <a:pt x="1150" y="40"/>
                    <a:pt x="1150" y="40"/>
                  </a:cubicBezTo>
                  <a:cubicBezTo>
                    <a:pt x="1150" y="40"/>
                    <a:pt x="1149" y="40"/>
                    <a:pt x="1149" y="40"/>
                  </a:cubicBezTo>
                  <a:cubicBezTo>
                    <a:pt x="1149" y="40"/>
                    <a:pt x="1149" y="40"/>
                    <a:pt x="1149" y="40"/>
                  </a:cubicBezTo>
                  <a:cubicBezTo>
                    <a:pt x="1149" y="40"/>
                    <a:pt x="1149" y="39"/>
                    <a:pt x="1149" y="39"/>
                  </a:cubicBezTo>
                  <a:cubicBezTo>
                    <a:pt x="1149" y="39"/>
                    <a:pt x="1149" y="39"/>
                    <a:pt x="1149" y="39"/>
                  </a:cubicBezTo>
                  <a:cubicBezTo>
                    <a:pt x="1149" y="39"/>
                    <a:pt x="1148" y="39"/>
                    <a:pt x="1148" y="39"/>
                  </a:cubicBezTo>
                  <a:cubicBezTo>
                    <a:pt x="1148" y="39"/>
                    <a:pt x="1148" y="39"/>
                    <a:pt x="1148" y="39"/>
                  </a:cubicBezTo>
                  <a:cubicBezTo>
                    <a:pt x="1148" y="38"/>
                    <a:pt x="1148" y="38"/>
                    <a:pt x="1148" y="38"/>
                  </a:cubicBezTo>
                  <a:cubicBezTo>
                    <a:pt x="1148" y="38"/>
                    <a:pt x="1148" y="38"/>
                    <a:pt x="1148" y="38"/>
                  </a:cubicBezTo>
                  <a:cubicBezTo>
                    <a:pt x="1148" y="38"/>
                    <a:pt x="1148" y="38"/>
                    <a:pt x="1148" y="38"/>
                  </a:cubicBezTo>
                  <a:cubicBezTo>
                    <a:pt x="1148" y="38"/>
                    <a:pt x="1148" y="38"/>
                    <a:pt x="1148" y="38"/>
                  </a:cubicBezTo>
                  <a:cubicBezTo>
                    <a:pt x="1148" y="38"/>
                    <a:pt x="1147" y="38"/>
                    <a:pt x="1147" y="38"/>
                  </a:cubicBezTo>
                  <a:cubicBezTo>
                    <a:pt x="1147" y="38"/>
                    <a:pt x="1147" y="38"/>
                    <a:pt x="1147" y="38"/>
                  </a:cubicBezTo>
                  <a:cubicBezTo>
                    <a:pt x="1147" y="37"/>
                    <a:pt x="1147" y="37"/>
                    <a:pt x="1146" y="37"/>
                  </a:cubicBezTo>
                  <a:cubicBezTo>
                    <a:pt x="1146" y="37"/>
                    <a:pt x="1146" y="37"/>
                    <a:pt x="1146" y="37"/>
                  </a:cubicBezTo>
                  <a:cubicBezTo>
                    <a:pt x="1146" y="37"/>
                    <a:pt x="1146" y="37"/>
                    <a:pt x="1146" y="36"/>
                  </a:cubicBezTo>
                  <a:cubicBezTo>
                    <a:pt x="1146" y="36"/>
                    <a:pt x="1146" y="36"/>
                    <a:pt x="1146" y="36"/>
                  </a:cubicBezTo>
                  <a:cubicBezTo>
                    <a:pt x="1146" y="36"/>
                    <a:pt x="1145" y="36"/>
                    <a:pt x="1145" y="36"/>
                  </a:cubicBezTo>
                  <a:cubicBezTo>
                    <a:pt x="1145" y="36"/>
                    <a:pt x="1145" y="36"/>
                    <a:pt x="1145" y="36"/>
                  </a:cubicBezTo>
                  <a:cubicBezTo>
                    <a:pt x="1145" y="36"/>
                    <a:pt x="1145" y="36"/>
                    <a:pt x="1145" y="36"/>
                  </a:cubicBezTo>
                  <a:cubicBezTo>
                    <a:pt x="1145" y="36"/>
                    <a:pt x="1145" y="36"/>
                    <a:pt x="1145" y="36"/>
                  </a:cubicBezTo>
                  <a:cubicBezTo>
                    <a:pt x="1145" y="36"/>
                    <a:pt x="1144" y="36"/>
                    <a:pt x="1144" y="35"/>
                  </a:cubicBezTo>
                  <a:cubicBezTo>
                    <a:pt x="1144" y="35"/>
                    <a:pt x="1144" y="35"/>
                    <a:pt x="1144" y="35"/>
                  </a:cubicBezTo>
                  <a:cubicBezTo>
                    <a:pt x="1144" y="35"/>
                    <a:pt x="1144" y="35"/>
                    <a:pt x="1144" y="35"/>
                  </a:cubicBezTo>
                  <a:cubicBezTo>
                    <a:pt x="1144" y="35"/>
                    <a:pt x="1144" y="35"/>
                    <a:pt x="1144" y="35"/>
                  </a:cubicBezTo>
                  <a:cubicBezTo>
                    <a:pt x="1143" y="35"/>
                    <a:pt x="1143" y="35"/>
                    <a:pt x="1143" y="35"/>
                  </a:cubicBezTo>
                  <a:cubicBezTo>
                    <a:pt x="1143" y="35"/>
                    <a:pt x="1143" y="35"/>
                    <a:pt x="1143" y="35"/>
                  </a:cubicBezTo>
                  <a:cubicBezTo>
                    <a:pt x="1143" y="35"/>
                    <a:pt x="1143" y="35"/>
                    <a:pt x="1143" y="35"/>
                  </a:cubicBezTo>
                  <a:cubicBezTo>
                    <a:pt x="1143" y="35"/>
                    <a:pt x="1143" y="35"/>
                    <a:pt x="1143" y="35"/>
                  </a:cubicBezTo>
                  <a:cubicBezTo>
                    <a:pt x="1143" y="34"/>
                    <a:pt x="1142" y="35"/>
                    <a:pt x="1142" y="34"/>
                  </a:cubicBezTo>
                  <a:cubicBezTo>
                    <a:pt x="1142" y="34"/>
                    <a:pt x="1142" y="34"/>
                    <a:pt x="1142" y="34"/>
                  </a:cubicBezTo>
                  <a:cubicBezTo>
                    <a:pt x="1142" y="34"/>
                    <a:pt x="1142" y="34"/>
                    <a:pt x="1141" y="34"/>
                  </a:cubicBezTo>
                  <a:cubicBezTo>
                    <a:pt x="1141" y="34"/>
                    <a:pt x="1141" y="34"/>
                    <a:pt x="1141" y="34"/>
                  </a:cubicBezTo>
                  <a:cubicBezTo>
                    <a:pt x="1141" y="34"/>
                    <a:pt x="1141" y="34"/>
                    <a:pt x="1140" y="34"/>
                  </a:cubicBezTo>
                  <a:cubicBezTo>
                    <a:pt x="1140" y="34"/>
                    <a:pt x="1140" y="34"/>
                    <a:pt x="1140" y="34"/>
                  </a:cubicBezTo>
                  <a:cubicBezTo>
                    <a:pt x="1140" y="33"/>
                    <a:pt x="1139" y="34"/>
                    <a:pt x="1139" y="33"/>
                  </a:cubicBezTo>
                  <a:cubicBezTo>
                    <a:pt x="1139" y="33"/>
                    <a:pt x="1139" y="33"/>
                    <a:pt x="1139" y="33"/>
                  </a:cubicBezTo>
                  <a:cubicBezTo>
                    <a:pt x="1139" y="33"/>
                    <a:pt x="1139" y="33"/>
                    <a:pt x="1139" y="33"/>
                  </a:cubicBezTo>
                  <a:cubicBezTo>
                    <a:pt x="1138" y="33"/>
                    <a:pt x="1138" y="33"/>
                    <a:pt x="1137" y="33"/>
                  </a:cubicBezTo>
                  <a:cubicBezTo>
                    <a:pt x="1137" y="33"/>
                    <a:pt x="1137" y="33"/>
                    <a:pt x="1137" y="33"/>
                  </a:cubicBezTo>
                  <a:cubicBezTo>
                    <a:pt x="1136" y="33"/>
                    <a:pt x="1135" y="33"/>
                    <a:pt x="1135" y="33"/>
                  </a:cubicBezTo>
                  <a:cubicBezTo>
                    <a:pt x="1133" y="33"/>
                    <a:pt x="1132" y="33"/>
                    <a:pt x="1130" y="33"/>
                  </a:cubicBezTo>
                  <a:cubicBezTo>
                    <a:pt x="1129" y="33"/>
                    <a:pt x="1128" y="33"/>
                    <a:pt x="1127" y="33"/>
                  </a:cubicBezTo>
                  <a:cubicBezTo>
                    <a:pt x="1127" y="33"/>
                    <a:pt x="1127" y="33"/>
                    <a:pt x="1127" y="33"/>
                  </a:cubicBezTo>
                  <a:cubicBezTo>
                    <a:pt x="1127" y="33"/>
                    <a:pt x="1127" y="33"/>
                    <a:pt x="1127" y="33"/>
                  </a:cubicBezTo>
                  <a:cubicBezTo>
                    <a:pt x="1127" y="33"/>
                    <a:pt x="1126" y="33"/>
                    <a:pt x="1126" y="33"/>
                  </a:cubicBezTo>
                  <a:cubicBezTo>
                    <a:pt x="1126" y="33"/>
                    <a:pt x="1126" y="33"/>
                    <a:pt x="1126" y="33"/>
                  </a:cubicBezTo>
                  <a:cubicBezTo>
                    <a:pt x="1126" y="33"/>
                    <a:pt x="1126" y="33"/>
                    <a:pt x="1126" y="33"/>
                  </a:cubicBezTo>
                  <a:cubicBezTo>
                    <a:pt x="1125" y="34"/>
                    <a:pt x="1125" y="33"/>
                    <a:pt x="1124" y="34"/>
                  </a:cubicBezTo>
                  <a:cubicBezTo>
                    <a:pt x="1124" y="34"/>
                    <a:pt x="1124" y="34"/>
                    <a:pt x="1124" y="34"/>
                  </a:cubicBezTo>
                  <a:cubicBezTo>
                    <a:pt x="1124" y="34"/>
                    <a:pt x="1124" y="34"/>
                    <a:pt x="1123" y="34"/>
                  </a:cubicBezTo>
                  <a:cubicBezTo>
                    <a:pt x="1123" y="34"/>
                    <a:pt x="1123" y="34"/>
                    <a:pt x="1123" y="34"/>
                  </a:cubicBezTo>
                  <a:cubicBezTo>
                    <a:pt x="1123" y="34"/>
                    <a:pt x="1123" y="34"/>
                    <a:pt x="1123" y="34"/>
                  </a:cubicBezTo>
                  <a:cubicBezTo>
                    <a:pt x="1123" y="34"/>
                    <a:pt x="1122" y="34"/>
                    <a:pt x="1122" y="34"/>
                  </a:cubicBezTo>
                  <a:cubicBezTo>
                    <a:pt x="1122" y="35"/>
                    <a:pt x="1122" y="34"/>
                    <a:pt x="1122" y="35"/>
                  </a:cubicBezTo>
                  <a:cubicBezTo>
                    <a:pt x="1122" y="35"/>
                    <a:pt x="1122" y="35"/>
                    <a:pt x="1122" y="35"/>
                  </a:cubicBezTo>
                  <a:cubicBezTo>
                    <a:pt x="1121" y="35"/>
                    <a:pt x="1121" y="35"/>
                    <a:pt x="1121" y="35"/>
                  </a:cubicBezTo>
                  <a:cubicBezTo>
                    <a:pt x="1121" y="35"/>
                    <a:pt x="1121" y="35"/>
                    <a:pt x="1121" y="35"/>
                  </a:cubicBezTo>
                  <a:cubicBezTo>
                    <a:pt x="1121" y="35"/>
                    <a:pt x="1120" y="35"/>
                    <a:pt x="1120" y="35"/>
                  </a:cubicBezTo>
                  <a:cubicBezTo>
                    <a:pt x="1120" y="35"/>
                    <a:pt x="1120" y="35"/>
                    <a:pt x="1120" y="35"/>
                  </a:cubicBezTo>
                  <a:cubicBezTo>
                    <a:pt x="1120" y="36"/>
                    <a:pt x="1120" y="36"/>
                    <a:pt x="1119" y="36"/>
                  </a:cubicBezTo>
                  <a:cubicBezTo>
                    <a:pt x="1119" y="36"/>
                    <a:pt x="1119" y="36"/>
                    <a:pt x="1119" y="36"/>
                  </a:cubicBezTo>
                  <a:cubicBezTo>
                    <a:pt x="1119" y="36"/>
                    <a:pt x="1119" y="36"/>
                    <a:pt x="1119" y="36"/>
                  </a:cubicBezTo>
                  <a:cubicBezTo>
                    <a:pt x="1119" y="36"/>
                    <a:pt x="1119" y="36"/>
                    <a:pt x="1119" y="36"/>
                  </a:cubicBezTo>
                  <a:cubicBezTo>
                    <a:pt x="1119" y="36"/>
                    <a:pt x="1119" y="36"/>
                    <a:pt x="1118" y="36"/>
                  </a:cubicBezTo>
                  <a:cubicBezTo>
                    <a:pt x="1118" y="36"/>
                    <a:pt x="1118" y="36"/>
                    <a:pt x="1118" y="36"/>
                  </a:cubicBezTo>
                  <a:cubicBezTo>
                    <a:pt x="1118" y="37"/>
                    <a:pt x="1118" y="37"/>
                    <a:pt x="1118" y="37"/>
                  </a:cubicBezTo>
                  <a:cubicBezTo>
                    <a:pt x="1118" y="37"/>
                    <a:pt x="1118" y="37"/>
                    <a:pt x="1118" y="37"/>
                  </a:cubicBezTo>
                  <a:cubicBezTo>
                    <a:pt x="1118" y="37"/>
                    <a:pt x="1117" y="37"/>
                    <a:pt x="1117" y="37"/>
                  </a:cubicBezTo>
                  <a:cubicBezTo>
                    <a:pt x="1117" y="37"/>
                    <a:pt x="1117" y="37"/>
                    <a:pt x="1117" y="37"/>
                  </a:cubicBezTo>
                  <a:cubicBezTo>
                    <a:pt x="1117" y="37"/>
                    <a:pt x="1117" y="37"/>
                    <a:pt x="1117" y="37"/>
                  </a:cubicBezTo>
                  <a:cubicBezTo>
                    <a:pt x="1117" y="37"/>
                    <a:pt x="1117" y="37"/>
                    <a:pt x="1117" y="37"/>
                  </a:cubicBezTo>
                  <a:cubicBezTo>
                    <a:pt x="1117" y="38"/>
                    <a:pt x="1116" y="38"/>
                    <a:pt x="1116" y="38"/>
                  </a:cubicBezTo>
                  <a:cubicBezTo>
                    <a:pt x="1116" y="38"/>
                    <a:pt x="1116" y="38"/>
                    <a:pt x="1116" y="38"/>
                  </a:cubicBezTo>
                  <a:cubicBezTo>
                    <a:pt x="1116" y="38"/>
                    <a:pt x="1116" y="38"/>
                    <a:pt x="1116" y="39"/>
                  </a:cubicBezTo>
                  <a:cubicBezTo>
                    <a:pt x="1116" y="39"/>
                    <a:pt x="1116" y="39"/>
                    <a:pt x="1116" y="39"/>
                  </a:cubicBezTo>
                  <a:cubicBezTo>
                    <a:pt x="1115" y="39"/>
                    <a:pt x="1115" y="39"/>
                    <a:pt x="1115" y="39"/>
                  </a:cubicBezTo>
                  <a:cubicBezTo>
                    <a:pt x="1115" y="39"/>
                    <a:pt x="1115" y="39"/>
                    <a:pt x="1115" y="39"/>
                  </a:cubicBezTo>
                  <a:cubicBezTo>
                    <a:pt x="1115" y="39"/>
                    <a:pt x="1115" y="39"/>
                    <a:pt x="1115" y="39"/>
                  </a:cubicBezTo>
                  <a:cubicBezTo>
                    <a:pt x="1115" y="39"/>
                    <a:pt x="1115" y="39"/>
                    <a:pt x="1115" y="39"/>
                  </a:cubicBezTo>
                  <a:cubicBezTo>
                    <a:pt x="1115" y="39"/>
                    <a:pt x="1115" y="39"/>
                    <a:pt x="1115" y="40"/>
                  </a:cubicBezTo>
                  <a:cubicBezTo>
                    <a:pt x="1115" y="40"/>
                    <a:pt x="1115" y="40"/>
                    <a:pt x="1115" y="40"/>
                  </a:cubicBezTo>
                  <a:cubicBezTo>
                    <a:pt x="1114" y="40"/>
                    <a:pt x="1114" y="40"/>
                    <a:pt x="1114" y="40"/>
                  </a:cubicBezTo>
                  <a:cubicBezTo>
                    <a:pt x="1114" y="40"/>
                    <a:pt x="1114" y="40"/>
                    <a:pt x="1114" y="40"/>
                  </a:cubicBezTo>
                  <a:cubicBezTo>
                    <a:pt x="1114" y="40"/>
                    <a:pt x="1114" y="40"/>
                    <a:pt x="1114" y="40"/>
                  </a:cubicBezTo>
                  <a:cubicBezTo>
                    <a:pt x="1114" y="40"/>
                    <a:pt x="1114" y="40"/>
                    <a:pt x="1114" y="40"/>
                  </a:cubicBezTo>
                  <a:cubicBezTo>
                    <a:pt x="1114" y="40"/>
                    <a:pt x="1114" y="40"/>
                    <a:pt x="1114" y="41"/>
                  </a:cubicBezTo>
                  <a:cubicBezTo>
                    <a:pt x="1114" y="41"/>
                    <a:pt x="1114" y="41"/>
                    <a:pt x="1114" y="41"/>
                  </a:cubicBezTo>
                  <a:cubicBezTo>
                    <a:pt x="1113" y="41"/>
                    <a:pt x="1113" y="41"/>
                    <a:pt x="1113" y="41"/>
                  </a:cubicBezTo>
                  <a:cubicBezTo>
                    <a:pt x="1113" y="41"/>
                    <a:pt x="1113" y="41"/>
                    <a:pt x="1113" y="41"/>
                  </a:cubicBezTo>
                  <a:cubicBezTo>
                    <a:pt x="1113" y="41"/>
                    <a:pt x="1113" y="42"/>
                    <a:pt x="1112" y="42"/>
                  </a:cubicBezTo>
                  <a:cubicBezTo>
                    <a:pt x="1112" y="42"/>
                    <a:pt x="1112" y="42"/>
                    <a:pt x="1112" y="42"/>
                  </a:cubicBezTo>
                  <a:cubicBezTo>
                    <a:pt x="1112" y="42"/>
                    <a:pt x="1112" y="42"/>
                    <a:pt x="1112" y="42"/>
                  </a:cubicBezTo>
                  <a:cubicBezTo>
                    <a:pt x="1112" y="42"/>
                    <a:pt x="1112" y="42"/>
                    <a:pt x="1112" y="42"/>
                  </a:cubicBezTo>
                  <a:cubicBezTo>
                    <a:pt x="1112" y="43"/>
                    <a:pt x="1112" y="43"/>
                    <a:pt x="1111" y="43"/>
                  </a:cubicBezTo>
                  <a:cubicBezTo>
                    <a:pt x="1111" y="43"/>
                    <a:pt x="1111" y="43"/>
                    <a:pt x="1111" y="43"/>
                  </a:cubicBezTo>
                  <a:cubicBezTo>
                    <a:pt x="1111" y="44"/>
                    <a:pt x="1111" y="44"/>
                    <a:pt x="1111" y="44"/>
                  </a:cubicBezTo>
                  <a:cubicBezTo>
                    <a:pt x="1111" y="44"/>
                    <a:pt x="1111" y="44"/>
                    <a:pt x="1111" y="44"/>
                  </a:cubicBezTo>
                  <a:cubicBezTo>
                    <a:pt x="1111" y="44"/>
                    <a:pt x="1111" y="44"/>
                    <a:pt x="1111" y="44"/>
                  </a:cubicBezTo>
                  <a:cubicBezTo>
                    <a:pt x="1111" y="44"/>
                    <a:pt x="1111" y="44"/>
                    <a:pt x="1111" y="44"/>
                  </a:cubicBezTo>
                  <a:cubicBezTo>
                    <a:pt x="1110" y="44"/>
                    <a:pt x="1110" y="44"/>
                    <a:pt x="1110" y="43"/>
                  </a:cubicBezTo>
                  <a:cubicBezTo>
                    <a:pt x="1110" y="41"/>
                    <a:pt x="1110" y="38"/>
                    <a:pt x="1110" y="35"/>
                  </a:cubicBezTo>
                  <a:cubicBezTo>
                    <a:pt x="1110" y="34"/>
                    <a:pt x="1110" y="34"/>
                    <a:pt x="1109" y="34"/>
                  </a:cubicBezTo>
                  <a:cubicBezTo>
                    <a:pt x="1106" y="34"/>
                    <a:pt x="1104" y="34"/>
                    <a:pt x="1101" y="34"/>
                  </a:cubicBezTo>
                  <a:cubicBezTo>
                    <a:pt x="1099" y="34"/>
                    <a:pt x="1099" y="34"/>
                    <a:pt x="1099" y="36"/>
                  </a:cubicBezTo>
                  <a:cubicBezTo>
                    <a:pt x="1099" y="57"/>
                    <a:pt x="1099" y="79"/>
                    <a:pt x="1099" y="100"/>
                  </a:cubicBezTo>
                  <a:cubicBezTo>
                    <a:pt x="1099" y="100"/>
                    <a:pt x="1099" y="101"/>
                    <a:pt x="1099" y="101"/>
                  </a:cubicBezTo>
                  <a:cubicBezTo>
                    <a:pt x="1099" y="101"/>
                    <a:pt x="1099" y="101"/>
                    <a:pt x="1099" y="101"/>
                  </a:cubicBezTo>
                  <a:cubicBezTo>
                    <a:pt x="1101" y="102"/>
                    <a:pt x="1104" y="102"/>
                    <a:pt x="1106" y="102"/>
                  </a:cubicBezTo>
                  <a:cubicBezTo>
                    <a:pt x="1107" y="102"/>
                    <a:pt x="1109" y="102"/>
                    <a:pt x="1110" y="101"/>
                  </a:cubicBezTo>
                  <a:cubicBezTo>
                    <a:pt x="1110" y="101"/>
                    <a:pt x="1110" y="101"/>
                    <a:pt x="1110" y="101"/>
                  </a:cubicBezTo>
                  <a:cubicBezTo>
                    <a:pt x="1110" y="101"/>
                    <a:pt x="1110" y="100"/>
                    <a:pt x="1110" y="100"/>
                  </a:cubicBezTo>
                  <a:cubicBezTo>
                    <a:pt x="1110" y="87"/>
                    <a:pt x="1110" y="74"/>
                    <a:pt x="1110" y="62"/>
                  </a:cubicBezTo>
                  <a:cubicBezTo>
                    <a:pt x="1110" y="61"/>
                    <a:pt x="1110" y="61"/>
                    <a:pt x="1110" y="60"/>
                  </a:cubicBezTo>
                  <a:cubicBezTo>
                    <a:pt x="1110" y="60"/>
                    <a:pt x="1110" y="60"/>
                    <a:pt x="1110" y="59"/>
                  </a:cubicBezTo>
                  <a:cubicBezTo>
                    <a:pt x="1111" y="59"/>
                    <a:pt x="1110" y="58"/>
                    <a:pt x="1111" y="58"/>
                  </a:cubicBezTo>
                  <a:cubicBezTo>
                    <a:pt x="1111" y="57"/>
                    <a:pt x="1111" y="57"/>
                    <a:pt x="1111" y="57"/>
                  </a:cubicBezTo>
                  <a:cubicBezTo>
                    <a:pt x="1111" y="57"/>
                    <a:pt x="1111" y="57"/>
                    <a:pt x="1111" y="56"/>
                  </a:cubicBezTo>
                  <a:cubicBezTo>
                    <a:pt x="1111" y="56"/>
                    <a:pt x="1111" y="56"/>
                    <a:pt x="1111" y="56"/>
                  </a:cubicBezTo>
                  <a:cubicBezTo>
                    <a:pt x="1111" y="56"/>
                    <a:pt x="1111" y="55"/>
                    <a:pt x="1111" y="55"/>
                  </a:cubicBezTo>
                  <a:cubicBezTo>
                    <a:pt x="1111" y="55"/>
                    <a:pt x="1111" y="55"/>
                    <a:pt x="1111" y="55"/>
                  </a:cubicBezTo>
                  <a:cubicBezTo>
                    <a:pt x="1111" y="55"/>
                    <a:pt x="1111" y="55"/>
                    <a:pt x="1111" y="55"/>
                  </a:cubicBezTo>
                  <a:cubicBezTo>
                    <a:pt x="1112" y="55"/>
                    <a:pt x="1112" y="54"/>
                    <a:pt x="1112" y="54"/>
                  </a:cubicBezTo>
                  <a:cubicBezTo>
                    <a:pt x="1112" y="54"/>
                    <a:pt x="1112" y="54"/>
                    <a:pt x="1112" y="54"/>
                  </a:cubicBezTo>
                  <a:cubicBezTo>
                    <a:pt x="1112" y="54"/>
                    <a:pt x="1112" y="53"/>
                    <a:pt x="1112" y="53"/>
                  </a:cubicBezTo>
                  <a:cubicBezTo>
                    <a:pt x="1112" y="53"/>
                    <a:pt x="1112" y="53"/>
                    <a:pt x="1112" y="53"/>
                  </a:cubicBezTo>
                  <a:cubicBezTo>
                    <a:pt x="1112" y="53"/>
                    <a:pt x="1112" y="53"/>
                    <a:pt x="1112" y="52"/>
                  </a:cubicBezTo>
                  <a:cubicBezTo>
                    <a:pt x="1112" y="52"/>
                    <a:pt x="1112" y="52"/>
                    <a:pt x="1112" y="52"/>
                  </a:cubicBezTo>
                  <a:cubicBezTo>
                    <a:pt x="1113" y="52"/>
                    <a:pt x="1113" y="52"/>
                    <a:pt x="1113" y="52"/>
                  </a:cubicBezTo>
                  <a:cubicBezTo>
                    <a:pt x="1113" y="52"/>
                    <a:pt x="1113" y="52"/>
                    <a:pt x="1113" y="52"/>
                  </a:cubicBezTo>
                  <a:cubicBezTo>
                    <a:pt x="1113" y="52"/>
                    <a:pt x="1113" y="51"/>
                    <a:pt x="1113" y="51"/>
                  </a:cubicBezTo>
                  <a:cubicBezTo>
                    <a:pt x="1113" y="51"/>
                    <a:pt x="1113" y="51"/>
                    <a:pt x="1113" y="51"/>
                  </a:cubicBezTo>
                  <a:cubicBezTo>
                    <a:pt x="1113" y="51"/>
                    <a:pt x="1113" y="51"/>
                    <a:pt x="1113" y="51"/>
                  </a:cubicBezTo>
                  <a:cubicBezTo>
                    <a:pt x="1113" y="51"/>
                    <a:pt x="1113" y="51"/>
                    <a:pt x="1113" y="51"/>
                  </a:cubicBezTo>
                  <a:cubicBezTo>
                    <a:pt x="1114" y="51"/>
                    <a:pt x="1114" y="50"/>
                    <a:pt x="1114" y="50"/>
                  </a:cubicBezTo>
                  <a:cubicBezTo>
                    <a:pt x="1114" y="50"/>
                    <a:pt x="1114" y="50"/>
                    <a:pt x="1114" y="50"/>
                  </a:cubicBezTo>
                  <a:cubicBezTo>
                    <a:pt x="1114" y="50"/>
                    <a:pt x="1114" y="50"/>
                    <a:pt x="1114" y="50"/>
                  </a:cubicBezTo>
                  <a:cubicBezTo>
                    <a:pt x="1114" y="50"/>
                    <a:pt x="1114" y="50"/>
                    <a:pt x="1114" y="50"/>
                  </a:cubicBezTo>
                  <a:cubicBezTo>
                    <a:pt x="1115" y="49"/>
                    <a:pt x="1115" y="49"/>
                    <a:pt x="1115" y="49"/>
                  </a:cubicBezTo>
                  <a:cubicBezTo>
                    <a:pt x="1115" y="49"/>
                    <a:pt x="1115" y="49"/>
                    <a:pt x="1115" y="49"/>
                  </a:cubicBezTo>
                  <a:cubicBezTo>
                    <a:pt x="1115" y="48"/>
                    <a:pt x="1115" y="48"/>
                    <a:pt x="1115" y="48"/>
                  </a:cubicBezTo>
                  <a:cubicBezTo>
                    <a:pt x="1115" y="48"/>
                    <a:pt x="1115" y="48"/>
                    <a:pt x="1115" y="48"/>
                  </a:cubicBezTo>
                  <a:cubicBezTo>
                    <a:pt x="1115" y="48"/>
                    <a:pt x="1116" y="48"/>
                    <a:pt x="1116" y="48"/>
                  </a:cubicBezTo>
                  <a:cubicBezTo>
                    <a:pt x="1116" y="48"/>
                    <a:pt x="1116" y="48"/>
                    <a:pt x="1116" y="48"/>
                  </a:cubicBezTo>
                  <a:cubicBezTo>
                    <a:pt x="1116" y="48"/>
                    <a:pt x="1116" y="48"/>
                    <a:pt x="1116" y="47"/>
                  </a:cubicBezTo>
                  <a:cubicBezTo>
                    <a:pt x="1116" y="48"/>
                    <a:pt x="1116" y="48"/>
                    <a:pt x="1116" y="48"/>
                  </a:cubicBezTo>
                  <a:cubicBezTo>
                    <a:pt x="1116" y="47"/>
                    <a:pt x="1116" y="47"/>
                    <a:pt x="1116" y="47"/>
                  </a:cubicBezTo>
                  <a:cubicBezTo>
                    <a:pt x="1116" y="47"/>
                    <a:pt x="1116" y="47"/>
                    <a:pt x="1116" y="47"/>
                  </a:cubicBezTo>
                  <a:cubicBezTo>
                    <a:pt x="1116" y="47"/>
                    <a:pt x="1117" y="47"/>
                    <a:pt x="1117" y="47"/>
                  </a:cubicBezTo>
                  <a:cubicBezTo>
                    <a:pt x="1117" y="47"/>
                    <a:pt x="1117" y="47"/>
                    <a:pt x="1117" y="47"/>
                  </a:cubicBezTo>
                  <a:cubicBezTo>
                    <a:pt x="1117" y="47"/>
                    <a:pt x="1117" y="47"/>
                    <a:pt x="1117" y="46"/>
                  </a:cubicBezTo>
                  <a:cubicBezTo>
                    <a:pt x="1117" y="46"/>
                    <a:pt x="1117" y="46"/>
                    <a:pt x="1117" y="46"/>
                  </a:cubicBezTo>
                  <a:cubicBezTo>
                    <a:pt x="1117" y="46"/>
                    <a:pt x="1117" y="46"/>
                    <a:pt x="1117" y="46"/>
                  </a:cubicBezTo>
                  <a:cubicBezTo>
                    <a:pt x="1117" y="46"/>
                    <a:pt x="1117" y="46"/>
                    <a:pt x="1117" y="46"/>
                  </a:cubicBezTo>
                  <a:cubicBezTo>
                    <a:pt x="1117" y="46"/>
                    <a:pt x="1118" y="46"/>
                    <a:pt x="1118" y="46"/>
                  </a:cubicBezTo>
                  <a:cubicBezTo>
                    <a:pt x="1118" y="46"/>
                    <a:pt x="1118" y="46"/>
                    <a:pt x="1118" y="46"/>
                  </a:cubicBezTo>
                  <a:cubicBezTo>
                    <a:pt x="1118" y="46"/>
                    <a:pt x="1118" y="45"/>
                    <a:pt x="1119" y="45"/>
                  </a:cubicBezTo>
                  <a:cubicBezTo>
                    <a:pt x="1119" y="45"/>
                    <a:pt x="1119" y="45"/>
                    <a:pt x="1119" y="45"/>
                  </a:cubicBezTo>
                  <a:cubicBezTo>
                    <a:pt x="1119" y="45"/>
                    <a:pt x="1119" y="45"/>
                    <a:pt x="1119" y="45"/>
                  </a:cubicBezTo>
                  <a:cubicBezTo>
                    <a:pt x="1119" y="45"/>
                    <a:pt x="1119" y="45"/>
                    <a:pt x="1119" y="45"/>
                  </a:cubicBezTo>
                  <a:cubicBezTo>
                    <a:pt x="1119" y="45"/>
                    <a:pt x="1120" y="45"/>
                    <a:pt x="1120" y="44"/>
                  </a:cubicBezTo>
                  <a:cubicBezTo>
                    <a:pt x="1120" y="44"/>
                    <a:pt x="1120" y="44"/>
                    <a:pt x="1120" y="44"/>
                  </a:cubicBezTo>
                  <a:cubicBezTo>
                    <a:pt x="1120" y="44"/>
                    <a:pt x="1120" y="44"/>
                    <a:pt x="1120" y="44"/>
                  </a:cubicBezTo>
                  <a:cubicBezTo>
                    <a:pt x="1120" y="44"/>
                    <a:pt x="1120" y="44"/>
                    <a:pt x="1120" y="44"/>
                  </a:cubicBezTo>
                  <a:cubicBezTo>
                    <a:pt x="1120" y="44"/>
                    <a:pt x="1120" y="44"/>
                    <a:pt x="1120" y="44"/>
                  </a:cubicBezTo>
                  <a:cubicBezTo>
                    <a:pt x="1121" y="44"/>
                    <a:pt x="1121" y="44"/>
                    <a:pt x="1121" y="44"/>
                  </a:cubicBezTo>
                  <a:cubicBezTo>
                    <a:pt x="1121" y="44"/>
                    <a:pt x="1121" y="44"/>
                    <a:pt x="1121" y="44"/>
                  </a:cubicBezTo>
                  <a:cubicBezTo>
                    <a:pt x="1121" y="44"/>
                    <a:pt x="1121" y="44"/>
                    <a:pt x="1121" y="44"/>
                  </a:cubicBezTo>
                  <a:cubicBezTo>
                    <a:pt x="1121" y="44"/>
                    <a:pt x="1121" y="44"/>
                    <a:pt x="1122" y="43"/>
                  </a:cubicBezTo>
                  <a:cubicBezTo>
                    <a:pt x="1122" y="43"/>
                    <a:pt x="1122" y="43"/>
                    <a:pt x="1122" y="43"/>
                  </a:cubicBezTo>
                  <a:cubicBezTo>
                    <a:pt x="1122" y="43"/>
                    <a:pt x="1122" y="43"/>
                    <a:pt x="1122" y="43"/>
                  </a:cubicBezTo>
                  <a:cubicBezTo>
                    <a:pt x="1122" y="43"/>
                    <a:pt x="1122" y="43"/>
                    <a:pt x="1123" y="43"/>
                  </a:cubicBezTo>
                  <a:cubicBezTo>
                    <a:pt x="1123" y="43"/>
                    <a:pt x="1123" y="43"/>
                    <a:pt x="1123" y="43"/>
                  </a:cubicBezTo>
                  <a:cubicBezTo>
                    <a:pt x="1123" y="43"/>
                    <a:pt x="1123" y="43"/>
                    <a:pt x="1124" y="43"/>
                  </a:cubicBezTo>
                  <a:cubicBezTo>
                    <a:pt x="1124" y="43"/>
                    <a:pt x="1124" y="43"/>
                    <a:pt x="1124" y="43"/>
                  </a:cubicBezTo>
                  <a:cubicBezTo>
                    <a:pt x="1124" y="43"/>
                    <a:pt x="1124" y="43"/>
                    <a:pt x="1124" y="43"/>
                  </a:cubicBezTo>
                  <a:cubicBezTo>
                    <a:pt x="1124" y="42"/>
                    <a:pt x="1125" y="43"/>
                    <a:pt x="1125" y="42"/>
                  </a:cubicBezTo>
                  <a:cubicBezTo>
                    <a:pt x="1125" y="42"/>
                    <a:pt x="1125" y="42"/>
                    <a:pt x="1125" y="42"/>
                  </a:cubicBezTo>
                  <a:cubicBezTo>
                    <a:pt x="1125" y="42"/>
                    <a:pt x="1125" y="42"/>
                    <a:pt x="1125" y="42"/>
                  </a:cubicBezTo>
                  <a:cubicBezTo>
                    <a:pt x="1126" y="42"/>
                    <a:pt x="1127" y="42"/>
                    <a:pt x="1127" y="42"/>
                  </a:cubicBezTo>
                  <a:cubicBezTo>
                    <a:pt x="1128" y="42"/>
                    <a:pt x="1129" y="42"/>
                    <a:pt x="1130" y="42"/>
                  </a:cubicBezTo>
                  <a:cubicBezTo>
                    <a:pt x="1131" y="42"/>
                    <a:pt x="1131" y="42"/>
                    <a:pt x="1132" y="42"/>
                  </a:cubicBezTo>
                  <a:cubicBezTo>
                    <a:pt x="1132" y="42"/>
                    <a:pt x="1132" y="42"/>
                    <a:pt x="1132" y="42"/>
                  </a:cubicBezTo>
                  <a:cubicBezTo>
                    <a:pt x="1132" y="42"/>
                    <a:pt x="1132" y="42"/>
                    <a:pt x="1132" y="42"/>
                  </a:cubicBezTo>
                  <a:cubicBezTo>
                    <a:pt x="1133" y="43"/>
                    <a:pt x="1133" y="42"/>
                    <a:pt x="1134" y="43"/>
                  </a:cubicBezTo>
                  <a:cubicBezTo>
                    <a:pt x="1134" y="43"/>
                    <a:pt x="1134" y="43"/>
                    <a:pt x="1134" y="43"/>
                  </a:cubicBezTo>
                  <a:cubicBezTo>
                    <a:pt x="1134" y="43"/>
                    <a:pt x="1134" y="43"/>
                    <a:pt x="1135" y="43"/>
                  </a:cubicBezTo>
                  <a:cubicBezTo>
                    <a:pt x="1135" y="43"/>
                    <a:pt x="1135" y="43"/>
                    <a:pt x="1135" y="43"/>
                  </a:cubicBezTo>
                  <a:cubicBezTo>
                    <a:pt x="1135" y="43"/>
                    <a:pt x="1135" y="43"/>
                    <a:pt x="1135" y="43"/>
                  </a:cubicBezTo>
                  <a:cubicBezTo>
                    <a:pt x="1135" y="43"/>
                    <a:pt x="1135" y="43"/>
                    <a:pt x="1135" y="43"/>
                  </a:cubicBezTo>
                  <a:cubicBezTo>
                    <a:pt x="1136" y="44"/>
                    <a:pt x="1136" y="44"/>
                    <a:pt x="1136" y="44"/>
                  </a:cubicBezTo>
                  <a:cubicBezTo>
                    <a:pt x="1136" y="44"/>
                    <a:pt x="1136" y="44"/>
                    <a:pt x="1136" y="44"/>
                  </a:cubicBezTo>
                  <a:cubicBezTo>
                    <a:pt x="1136" y="44"/>
                    <a:pt x="1137" y="44"/>
                    <a:pt x="1137" y="44"/>
                  </a:cubicBezTo>
                  <a:cubicBezTo>
                    <a:pt x="1137" y="44"/>
                    <a:pt x="1137" y="44"/>
                    <a:pt x="1137" y="44"/>
                  </a:cubicBezTo>
                  <a:cubicBezTo>
                    <a:pt x="1137" y="44"/>
                    <a:pt x="1137" y="44"/>
                    <a:pt x="1137" y="44"/>
                  </a:cubicBezTo>
                  <a:cubicBezTo>
                    <a:pt x="1137" y="44"/>
                    <a:pt x="1137" y="44"/>
                    <a:pt x="1137" y="44"/>
                  </a:cubicBezTo>
                  <a:cubicBezTo>
                    <a:pt x="1137" y="45"/>
                    <a:pt x="1138" y="45"/>
                    <a:pt x="1138" y="45"/>
                  </a:cubicBezTo>
                  <a:cubicBezTo>
                    <a:pt x="1138" y="45"/>
                    <a:pt x="1138" y="45"/>
                    <a:pt x="1138" y="45"/>
                  </a:cubicBezTo>
                  <a:cubicBezTo>
                    <a:pt x="1138" y="45"/>
                    <a:pt x="1138" y="45"/>
                    <a:pt x="1138" y="45"/>
                  </a:cubicBezTo>
                  <a:cubicBezTo>
                    <a:pt x="1138" y="45"/>
                    <a:pt x="1138" y="45"/>
                    <a:pt x="1138" y="45"/>
                  </a:cubicBezTo>
                  <a:cubicBezTo>
                    <a:pt x="1138" y="45"/>
                    <a:pt x="1138" y="45"/>
                    <a:pt x="1139" y="45"/>
                  </a:cubicBezTo>
                  <a:cubicBezTo>
                    <a:pt x="1139" y="45"/>
                    <a:pt x="1139" y="45"/>
                    <a:pt x="1139" y="45"/>
                  </a:cubicBezTo>
                  <a:cubicBezTo>
                    <a:pt x="1139" y="46"/>
                    <a:pt x="1139" y="46"/>
                    <a:pt x="1139" y="46"/>
                  </a:cubicBezTo>
                  <a:cubicBezTo>
                    <a:pt x="1139" y="46"/>
                    <a:pt x="1139" y="46"/>
                    <a:pt x="1139" y="46"/>
                  </a:cubicBezTo>
                  <a:cubicBezTo>
                    <a:pt x="1139" y="46"/>
                    <a:pt x="1139" y="46"/>
                    <a:pt x="1139" y="46"/>
                  </a:cubicBezTo>
                  <a:cubicBezTo>
                    <a:pt x="1139" y="46"/>
                    <a:pt x="1139" y="46"/>
                    <a:pt x="1139" y="46"/>
                  </a:cubicBezTo>
                  <a:cubicBezTo>
                    <a:pt x="1139" y="46"/>
                    <a:pt x="1140" y="46"/>
                    <a:pt x="1140" y="47"/>
                  </a:cubicBezTo>
                  <a:cubicBezTo>
                    <a:pt x="1140" y="46"/>
                    <a:pt x="1140" y="46"/>
                    <a:pt x="1140" y="46"/>
                  </a:cubicBezTo>
                  <a:cubicBezTo>
                    <a:pt x="1140" y="47"/>
                    <a:pt x="1140" y="47"/>
                    <a:pt x="1140" y="47"/>
                  </a:cubicBezTo>
                  <a:cubicBezTo>
                    <a:pt x="1140" y="47"/>
                    <a:pt x="1140" y="47"/>
                    <a:pt x="1140" y="47"/>
                  </a:cubicBezTo>
                  <a:cubicBezTo>
                    <a:pt x="1140" y="47"/>
                    <a:pt x="1140" y="47"/>
                    <a:pt x="1140" y="47"/>
                  </a:cubicBezTo>
                  <a:cubicBezTo>
                    <a:pt x="1140" y="47"/>
                    <a:pt x="1140" y="47"/>
                    <a:pt x="1140" y="47"/>
                  </a:cubicBezTo>
                  <a:cubicBezTo>
                    <a:pt x="1140" y="48"/>
                    <a:pt x="1141" y="48"/>
                    <a:pt x="1141" y="48"/>
                  </a:cubicBezTo>
                  <a:cubicBezTo>
                    <a:pt x="1141" y="48"/>
                    <a:pt x="1141" y="48"/>
                    <a:pt x="1141" y="48"/>
                  </a:cubicBezTo>
                  <a:cubicBezTo>
                    <a:pt x="1141" y="48"/>
                    <a:pt x="1141" y="48"/>
                    <a:pt x="1141" y="49"/>
                  </a:cubicBezTo>
                  <a:cubicBezTo>
                    <a:pt x="1141" y="49"/>
                    <a:pt x="1141" y="49"/>
                    <a:pt x="1141" y="49"/>
                  </a:cubicBezTo>
                  <a:cubicBezTo>
                    <a:pt x="1141" y="49"/>
                    <a:pt x="1141" y="49"/>
                    <a:pt x="1141" y="49"/>
                  </a:cubicBezTo>
                  <a:cubicBezTo>
                    <a:pt x="1141" y="49"/>
                    <a:pt x="1141" y="49"/>
                    <a:pt x="1141" y="49"/>
                  </a:cubicBezTo>
                  <a:cubicBezTo>
                    <a:pt x="1141" y="49"/>
                    <a:pt x="1141" y="49"/>
                    <a:pt x="1141" y="49"/>
                  </a:cubicBezTo>
                  <a:cubicBezTo>
                    <a:pt x="1141" y="49"/>
                    <a:pt x="1142" y="49"/>
                    <a:pt x="1142" y="50"/>
                  </a:cubicBezTo>
                  <a:cubicBezTo>
                    <a:pt x="1142" y="50"/>
                    <a:pt x="1142" y="50"/>
                    <a:pt x="1142" y="50"/>
                  </a:cubicBezTo>
                  <a:cubicBezTo>
                    <a:pt x="1142" y="50"/>
                    <a:pt x="1142" y="50"/>
                    <a:pt x="1142" y="50"/>
                  </a:cubicBezTo>
                  <a:cubicBezTo>
                    <a:pt x="1142" y="50"/>
                    <a:pt x="1142" y="50"/>
                    <a:pt x="1142" y="51"/>
                  </a:cubicBezTo>
                  <a:cubicBezTo>
                    <a:pt x="1142" y="51"/>
                    <a:pt x="1142" y="51"/>
                    <a:pt x="1142" y="51"/>
                  </a:cubicBezTo>
                  <a:cubicBezTo>
                    <a:pt x="1142" y="51"/>
                    <a:pt x="1142" y="51"/>
                    <a:pt x="1142" y="51"/>
                  </a:cubicBezTo>
                  <a:cubicBezTo>
                    <a:pt x="1142" y="51"/>
                    <a:pt x="1142" y="51"/>
                    <a:pt x="1142" y="51"/>
                  </a:cubicBezTo>
                  <a:cubicBezTo>
                    <a:pt x="1142" y="52"/>
                    <a:pt x="1142" y="52"/>
                    <a:pt x="1142" y="52"/>
                  </a:cubicBezTo>
                  <a:cubicBezTo>
                    <a:pt x="1143" y="52"/>
                    <a:pt x="1143" y="52"/>
                    <a:pt x="1143" y="52"/>
                  </a:cubicBezTo>
                  <a:cubicBezTo>
                    <a:pt x="1143" y="53"/>
                    <a:pt x="1143" y="53"/>
                    <a:pt x="1143" y="53"/>
                  </a:cubicBezTo>
                  <a:cubicBezTo>
                    <a:pt x="1143" y="53"/>
                    <a:pt x="1143" y="53"/>
                    <a:pt x="1143" y="53"/>
                  </a:cubicBezTo>
                  <a:cubicBezTo>
                    <a:pt x="1143" y="53"/>
                    <a:pt x="1143" y="53"/>
                    <a:pt x="1143" y="54"/>
                  </a:cubicBezTo>
                  <a:cubicBezTo>
                    <a:pt x="1143" y="54"/>
                    <a:pt x="1143" y="54"/>
                    <a:pt x="1143" y="54"/>
                  </a:cubicBezTo>
                  <a:cubicBezTo>
                    <a:pt x="1143" y="54"/>
                    <a:pt x="1143" y="55"/>
                    <a:pt x="1143" y="55"/>
                  </a:cubicBezTo>
                  <a:cubicBezTo>
                    <a:pt x="1144" y="55"/>
                    <a:pt x="1144" y="55"/>
                    <a:pt x="1143" y="55"/>
                  </a:cubicBezTo>
                  <a:cubicBezTo>
                    <a:pt x="1144" y="56"/>
                    <a:pt x="1143" y="57"/>
                    <a:pt x="1144" y="57"/>
                  </a:cubicBezTo>
                  <a:cubicBezTo>
                    <a:pt x="1144" y="57"/>
                    <a:pt x="1144" y="58"/>
                    <a:pt x="1144" y="58"/>
                  </a:cubicBezTo>
                  <a:cubicBezTo>
                    <a:pt x="1144" y="59"/>
                    <a:pt x="1144" y="61"/>
                    <a:pt x="1144" y="62"/>
                  </a:cubicBezTo>
                  <a:cubicBezTo>
                    <a:pt x="1144" y="62"/>
                    <a:pt x="1144" y="62"/>
                    <a:pt x="1144" y="63"/>
                  </a:cubicBezTo>
                  <a:cubicBezTo>
                    <a:pt x="1144" y="76"/>
                    <a:pt x="1144" y="88"/>
                    <a:pt x="1144" y="101"/>
                  </a:cubicBezTo>
                  <a:cubicBezTo>
                    <a:pt x="1145" y="102"/>
                    <a:pt x="1145" y="102"/>
                    <a:pt x="1146" y="102"/>
                  </a:cubicBezTo>
                  <a:cubicBezTo>
                    <a:pt x="1148" y="102"/>
                    <a:pt x="1151" y="102"/>
                    <a:pt x="1153" y="102"/>
                  </a:cubicBezTo>
                  <a:cubicBezTo>
                    <a:pt x="1155" y="102"/>
                    <a:pt x="1155" y="102"/>
                    <a:pt x="1155" y="100"/>
                  </a:cubicBezTo>
                  <a:cubicBezTo>
                    <a:pt x="1155" y="86"/>
                    <a:pt x="1155" y="72"/>
                    <a:pt x="1155" y="58"/>
                  </a:cubicBezTo>
                  <a:cubicBezTo>
                    <a:pt x="1155" y="57"/>
                    <a:pt x="1155" y="56"/>
                    <a:pt x="1155" y="56"/>
                  </a:cubicBezTo>
                  <a:cubicBezTo>
                    <a:pt x="1155" y="56"/>
                    <a:pt x="1155" y="55"/>
                    <a:pt x="1155" y="55"/>
                  </a:cubicBezTo>
                  <a:cubicBezTo>
                    <a:pt x="1155" y="54"/>
                    <a:pt x="1155" y="53"/>
                    <a:pt x="1155" y="53"/>
                  </a:cubicBezTo>
                  <a:cubicBezTo>
                    <a:pt x="1154" y="53"/>
                    <a:pt x="1154" y="53"/>
                    <a:pt x="1155" y="53"/>
                  </a:cubicBezTo>
                  <a:cubicBezTo>
                    <a:pt x="1154" y="52"/>
                    <a:pt x="1155" y="51"/>
                    <a:pt x="1154" y="51"/>
                  </a:cubicBezTo>
                  <a:cubicBezTo>
                    <a:pt x="1154" y="51"/>
                    <a:pt x="1154" y="51"/>
                    <a:pt x="1154" y="51"/>
                  </a:cubicBezTo>
                  <a:cubicBezTo>
                    <a:pt x="1154" y="50"/>
                    <a:pt x="1154" y="50"/>
                    <a:pt x="1154" y="49"/>
                  </a:cubicBezTo>
                  <a:close/>
                  <a:moveTo>
                    <a:pt x="680" y="63"/>
                  </a:moveTo>
                  <a:cubicBezTo>
                    <a:pt x="680" y="63"/>
                    <a:pt x="680" y="63"/>
                    <a:pt x="680" y="63"/>
                  </a:cubicBezTo>
                  <a:cubicBezTo>
                    <a:pt x="680" y="62"/>
                    <a:pt x="679" y="62"/>
                    <a:pt x="679" y="62"/>
                  </a:cubicBezTo>
                  <a:cubicBezTo>
                    <a:pt x="679" y="62"/>
                    <a:pt x="679" y="62"/>
                    <a:pt x="679" y="62"/>
                  </a:cubicBezTo>
                  <a:cubicBezTo>
                    <a:pt x="679" y="62"/>
                    <a:pt x="679" y="62"/>
                    <a:pt x="678" y="62"/>
                  </a:cubicBezTo>
                  <a:cubicBezTo>
                    <a:pt x="678" y="62"/>
                    <a:pt x="678" y="62"/>
                    <a:pt x="678" y="62"/>
                  </a:cubicBezTo>
                  <a:cubicBezTo>
                    <a:pt x="678" y="62"/>
                    <a:pt x="678" y="62"/>
                    <a:pt x="678" y="62"/>
                  </a:cubicBezTo>
                  <a:cubicBezTo>
                    <a:pt x="678" y="62"/>
                    <a:pt x="678" y="62"/>
                    <a:pt x="678" y="62"/>
                  </a:cubicBezTo>
                  <a:cubicBezTo>
                    <a:pt x="678" y="61"/>
                    <a:pt x="677" y="61"/>
                    <a:pt x="677" y="61"/>
                  </a:cubicBezTo>
                  <a:cubicBezTo>
                    <a:pt x="677" y="61"/>
                    <a:pt x="677" y="61"/>
                    <a:pt x="677" y="61"/>
                  </a:cubicBezTo>
                  <a:cubicBezTo>
                    <a:pt x="677" y="61"/>
                    <a:pt x="676" y="61"/>
                    <a:pt x="676" y="61"/>
                  </a:cubicBezTo>
                  <a:cubicBezTo>
                    <a:pt x="676" y="61"/>
                    <a:pt x="676" y="61"/>
                    <a:pt x="676" y="61"/>
                  </a:cubicBezTo>
                  <a:cubicBezTo>
                    <a:pt x="676" y="61"/>
                    <a:pt x="676" y="61"/>
                    <a:pt x="676" y="60"/>
                  </a:cubicBezTo>
                  <a:cubicBezTo>
                    <a:pt x="676" y="60"/>
                    <a:pt x="676" y="60"/>
                    <a:pt x="676" y="60"/>
                  </a:cubicBezTo>
                  <a:cubicBezTo>
                    <a:pt x="675" y="60"/>
                    <a:pt x="675" y="60"/>
                    <a:pt x="675" y="60"/>
                  </a:cubicBezTo>
                  <a:cubicBezTo>
                    <a:pt x="675" y="60"/>
                    <a:pt x="675" y="60"/>
                    <a:pt x="675" y="60"/>
                  </a:cubicBezTo>
                  <a:cubicBezTo>
                    <a:pt x="675" y="60"/>
                    <a:pt x="675" y="60"/>
                    <a:pt x="675" y="60"/>
                  </a:cubicBezTo>
                  <a:cubicBezTo>
                    <a:pt x="675" y="60"/>
                    <a:pt x="675" y="60"/>
                    <a:pt x="675" y="60"/>
                  </a:cubicBezTo>
                  <a:cubicBezTo>
                    <a:pt x="674" y="60"/>
                    <a:pt x="674" y="60"/>
                    <a:pt x="674" y="59"/>
                  </a:cubicBezTo>
                  <a:cubicBezTo>
                    <a:pt x="674" y="59"/>
                    <a:pt x="674" y="59"/>
                    <a:pt x="674" y="59"/>
                  </a:cubicBezTo>
                  <a:cubicBezTo>
                    <a:pt x="674" y="59"/>
                    <a:pt x="674" y="59"/>
                    <a:pt x="673" y="59"/>
                  </a:cubicBezTo>
                  <a:cubicBezTo>
                    <a:pt x="673" y="59"/>
                    <a:pt x="673" y="59"/>
                    <a:pt x="673" y="59"/>
                  </a:cubicBezTo>
                  <a:cubicBezTo>
                    <a:pt x="673" y="59"/>
                    <a:pt x="673" y="59"/>
                    <a:pt x="673" y="59"/>
                  </a:cubicBezTo>
                  <a:cubicBezTo>
                    <a:pt x="673" y="59"/>
                    <a:pt x="673" y="59"/>
                    <a:pt x="673" y="59"/>
                  </a:cubicBezTo>
                  <a:cubicBezTo>
                    <a:pt x="673" y="59"/>
                    <a:pt x="673"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7"/>
                    <a:pt x="671" y="57"/>
                  </a:cubicBezTo>
                  <a:cubicBezTo>
                    <a:pt x="671" y="57"/>
                    <a:pt x="671" y="57"/>
                    <a:pt x="671" y="57"/>
                  </a:cubicBezTo>
                  <a:cubicBezTo>
                    <a:pt x="671" y="57"/>
                    <a:pt x="671" y="57"/>
                    <a:pt x="671" y="57"/>
                  </a:cubicBezTo>
                  <a:cubicBezTo>
                    <a:pt x="671" y="57"/>
                    <a:pt x="671" y="57"/>
                    <a:pt x="671" y="57"/>
                  </a:cubicBezTo>
                  <a:cubicBezTo>
                    <a:pt x="671" y="56"/>
                    <a:pt x="671" y="56"/>
                    <a:pt x="671" y="56"/>
                  </a:cubicBezTo>
                  <a:cubicBezTo>
                    <a:pt x="671" y="56"/>
                    <a:pt x="671" y="56"/>
                    <a:pt x="671" y="56"/>
                  </a:cubicBezTo>
                  <a:cubicBezTo>
                    <a:pt x="671" y="56"/>
                    <a:pt x="671" y="56"/>
                    <a:pt x="670" y="56"/>
                  </a:cubicBezTo>
                  <a:cubicBezTo>
                    <a:pt x="670" y="56"/>
                    <a:pt x="670" y="56"/>
                    <a:pt x="670" y="56"/>
                  </a:cubicBezTo>
                  <a:cubicBezTo>
                    <a:pt x="670" y="55"/>
                    <a:pt x="670" y="55"/>
                    <a:pt x="670" y="55"/>
                  </a:cubicBezTo>
                  <a:cubicBezTo>
                    <a:pt x="670" y="54"/>
                    <a:pt x="670" y="54"/>
                    <a:pt x="670" y="54"/>
                  </a:cubicBezTo>
                  <a:cubicBezTo>
                    <a:pt x="670" y="54"/>
                    <a:pt x="670" y="54"/>
                    <a:pt x="670" y="54"/>
                  </a:cubicBezTo>
                  <a:cubicBezTo>
                    <a:pt x="670" y="54"/>
                    <a:pt x="670" y="54"/>
                    <a:pt x="670" y="53"/>
                  </a:cubicBezTo>
                  <a:cubicBezTo>
                    <a:pt x="670" y="53"/>
                    <a:pt x="670" y="53"/>
                    <a:pt x="670" y="52"/>
                  </a:cubicBezTo>
                  <a:cubicBezTo>
                    <a:pt x="669" y="52"/>
                    <a:pt x="669" y="51"/>
                    <a:pt x="670" y="50"/>
                  </a:cubicBezTo>
                  <a:cubicBezTo>
                    <a:pt x="670" y="50"/>
                    <a:pt x="670" y="50"/>
                    <a:pt x="670" y="50"/>
                  </a:cubicBezTo>
                  <a:cubicBezTo>
                    <a:pt x="670" y="50"/>
                    <a:pt x="670" y="49"/>
                    <a:pt x="670" y="49"/>
                  </a:cubicBezTo>
                  <a:cubicBezTo>
                    <a:pt x="670" y="49"/>
                    <a:pt x="670" y="49"/>
                    <a:pt x="670" y="49"/>
                  </a:cubicBezTo>
                  <a:cubicBezTo>
                    <a:pt x="670" y="48"/>
                    <a:pt x="670" y="48"/>
                    <a:pt x="670" y="48"/>
                  </a:cubicBezTo>
                  <a:cubicBezTo>
                    <a:pt x="670" y="48"/>
                    <a:pt x="670" y="48"/>
                    <a:pt x="670" y="48"/>
                  </a:cubicBezTo>
                  <a:cubicBezTo>
                    <a:pt x="671" y="47"/>
                    <a:pt x="671" y="47"/>
                    <a:pt x="671" y="47"/>
                  </a:cubicBezTo>
                  <a:cubicBezTo>
                    <a:pt x="671" y="47"/>
                    <a:pt x="671" y="47"/>
                    <a:pt x="671" y="47"/>
                  </a:cubicBezTo>
                  <a:cubicBezTo>
                    <a:pt x="671" y="47"/>
                    <a:pt x="671" y="47"/>
                    <a:pt x="671" y="46"/>
                  </a:cubicBezTo>
                  <a:cubicBezTo>
                    <a:pt x="671" y="46"/>
                    <a:pt x="671" y="46"/>
                    <a:pt x="671" y="46"/>
                  </a:cubicBezTo>
                  <a:cubicBezTo>
                    <a:pt x="671" y="46"/>
                    <a:pt x="671" y="46"/>
                    <a:pt x="671" y="46"/>
                  </a:cubicBezTo>
                  <a:cubicBezTo>
                    <a:pt x="671" y="46"/>
                    <a:pt x="671" y="46"/>
                    <a:pt x="671" y="46"/>
                  </a:cubicBezTo>
                  <a:cubicBezTo>
                    <a:pt x="672" y="46"/>
                    <a:pt x="673" y="45"/>
                    <a:pt x="673" y="44"/>
                  </a:cubicBezTo>
                  <a:cubicBezTo>
                    <a:pt x="673" y="44"/>
                    <a:pt x="673" y="44"/>
                    <a:pt x="673" y="44"/>
                  </a:cubicBezTo>
                  <a:cubicBezTo>
                    <a:pt x="673" y="44"/>
                    <a:pt x="673" y="44"/>
                    <a:pt x="674" y="44"/>
                  </a:cubicBezTo>
                  <a:cubicBezTo>
                    <a:pt x="674" y="44"/>
                    <a:pt x="674" y="44"/>
                    <a:pt x="674" y="44"/>
                  </a:cubicBezTo>
                  <a:cubicBezTo>
                    <a:pt x="674" y="44"/>
                    <a:pt x="674" y="44"/>
                    <a:pt x="674" y="44"/>
                  </a:cubicBezTo>
                  <a:cubicBezTo>
                    <a:pt x="674" y="44"/>
                    <a:pt x="674" y="44"/>
                    <a:pt x="674" y="44"/>
                  </a:cubicBezTo>
                  <a:cubicBezTo>
                    <a:pt x="674" y="44"/>
                    <a:pt x="674" y="44"/>
                    <a:pt x="675" y="43"/>
                  </a:cubicBezTo>
                  <a:cubicBezTo>
                    <a:pt x="675" y="43"/>
                    <a:pt x="675" y="43"/>
                    <a:pt x="675" y="43"/>
                  </a:cubicBezTo>
                  <a:cubicBezTo>
                    <a:pt x="675" y="43"/>
                    <a:pt x="675" y="43"/>
                    <a:pt x="675" y="43"/>
                  </a:cubicBezTo>
                  <a:cubicBezTo>
                    <a:pt x="675" y="43"/>
                    <a:pt x="675" y="43"/>
                    <a:pt x="676" y="43"/>
                  </a:cubicBezTo>
                  <a:cubicBezTo>
                    <a:pt x="676" y="43"/>
                    <a:pt x="676" y="43"/>
                    <a:pt x="676" y="43"/>
                  </a:cubicBezTo>
                  <a:cubicBezTo>
                    <a:pt x="676" y="43"/>
                    <a:pt x="676" y="43"/>
                    <a:pt x="676" y="43"/>
                  </a:cubicBezTo>
                  <a:cubicBezTo>
                    <a:pt x="676" y="43"/>
                    <a:pt x="676" y="43"/>
                    <a:pt x="676" y="43"/>
                  </a:cubicBezTo>
                  <a:cubicBezTo>
                    <a:pt x="677" y="43"/>
                    <a:pt x="677" y="43"/>
                    <a:pt x="677" y="43"/>
                  </a:cubicBezTo>
                  <a:cubicBezTo>
                    <a:pt x="677" y="42"/>
                    <a:pt x="677" y="43"/>
                    <a:pt x="678" y="42"/>
                  </a:cubicBezTo>
                  <a:cubicBezTo>
                    <a:pt x="678" y="42"/>
                    <a:pt x="678" y="42"/>
                    <a:pt x="678" y="42"/>
                  </a:cubicBezTo>
                  <a:cubicBezTo>
                    <a:pt x="678" y="42"/>
                    <a:pt x="678" y="42"/>
                    <a:pt x="678" y="42"/>
                  </a:cubicBezTo>
                  <a:cubicBezTo>
                    <a:pt x="679" y="42"/>
                    <a:pt x="679" y="42"/>
                    <a:pt x="680" y="42"/>
                  </a:cubicBezTo>
                  <a:cubicBezTo>
                    <a:pt x="681" y="42"/>
                    <a:pt x="682" y="42"/>
                    <a:pt x="683" y="42"/>
                  </a:cubicBezTo>
                  <a:cubicBezTo>
                    <a:pt x="684" y="42"/>
                    <a:pt x="685" y="42"/>
                    <a:pt x="685" y="42"/>
                  </a:cubicBezTo>
                  <a:cubicBezTo>
                    <a:pt x="686" y="42"/>
                    <a:pt x="686" y="42"/>
                    <a:pt x="686" y="42"/>
                  </a:cubicBezTo>
                  <a:cubicBezTo>
                    <a:pt x="686" y="42"/>
                    <a:pt x="686" y="42"/>
                    <a:pt x="686" y="42"/>
                  </a:cubicBezTo>
                  <a:cubicBezTo>
                    <a:pt x="686" y="43"/>
                    <a:pt x="687" y="42"/>
                    <a:pt x="687" y="43"/>
                  </a:cubicBezTo>
                  <a:cubicBezTo>
                    <a:pt x="687" y="43"/>
                    <a:pt x="687" y="43"/>
                    <a:pt x="687" y="43"/>
                  </a:cubicBezTo>
                  <a:cubicBezTo>
                    <a:pt x="687" y="43"/>
                    <a:pt x="687" y="43"/>
                    <a:pt x="687" y="43"/>
                  </a:cubicBezTo>
                  <a:cubicBezTo>
                    <a:pt x="688" y="43"/>
                    <a:pt x="688" y="43"/>
                    <a:pt x="689" y="43"/>
                  </a:cubicBezTo>
                  <a:cubicBezTo>
                    <a:pt x="689" y="43"/>
                    <a:pt x="689" y="43"/>
                    <a:pt x="689" y="43"/>
                  </a:cubicBezTo>
                  <a:cubicBezTo>
                    <a:pt x="689" y="43"/>
                    <a:pt x="689" y="43"/>
                    <a:pt x="689" y="43"/>
                  </a:cubicBezTo>
                  <a:cubicBezTo>
                    <a:pt x="689" y="43"/>
                    <a:pt x="690" y="43"/>
                    <a:pt x="690" y="43"/>
                  </a:cubicBezTo>
                  <a:cubicBezTo>
                    <a:pt x="690" y="43"/>
                    <a:pt x="690" y="43"/>
                    <a:pt x="690" y="43"/>
                  </a:cubicBezTo>
                  <a:cubicBezTo>
                    <a:pt x="690" y="44"/>
                    <a:pt x="691" y="43"/>
                    <a:pt x="691" y="44"/>
                  </a:cubicBezTo>
                  <a:cubicBezTo>
                    <a:pt x="691" y="44"/>
                    <a:pt x="691" y="44"/>
                    <a:pt x="691" y="44"/>
                  </a:cubicBezTo>
                  <a:cubicBezTo>
                    <a:pt x="691" y="44"/>
                    <a:pt x="691" y="44"/>
                    <a:pt x="692" y="44"/>
                  </a:cubicBezTo>
                  <a:cubicBezTo>
                    <a:pt x="692" y="44"/>
                    <a:pt x="692" y="44"/>
                    <a:pt x="692" y="44"/>
                  </a:cubicBezTo>
                  <a:cubicBezTo>
                    <a:pt x="692" y="44"/>
                    <a:pt x="692" y="44"/>
                    <a:pt x="692" y="44"/>
                  </a:cubicBezTo>
                  <a:cubicBezTo>
                    <a:pt x="692" y="44"/>
                    <a:pt x="692" y="44"/>
                    <a:pt x="692" y="44"/>
                  </a:cubicBezTo>
                  <a:cubicBezTo>
                    <a:pt x="693" y="45"/>
                    <a:pt x="693" y="45"/>
                    <a:pt x="693" y="45"/>
                  </a:cubicBezTo>
                  <a:cubicBezTo>
                    <a:pt x="693" y="45"/>
                    <a:pt x="693" y="45"/>
                    <a:pt x="693" y="45"/>
                  </a:cubicBezTo>
                  <a:cubicBezTo>
                    <a:pt x="693" y="45"/>
                    <a:pt x="694" y="45"/>
                    <a:pt x="694" y="45"/>
                  </a:cubicBezTo>
                  <a:cubicBezTo>
                    <a:pt x="694" y="45"/>
                    <a:pt x="694" y="45"/>
                    <a:pt x="694" y="45"/>
                  </a:cubicBezTo>
                  <a:cubicBezTo>
                    <a:pt x="694" y="45"/>
                    <a:pt x="694" y="45"/>
                    <a:pt x="694" y="45"/>
                  </a:cubicBezTo>
                  <a:cubicBezTo>
                    <a:pt x="694" y="45"/>
                    <a:pt x="694" y="45"/>
                    <a:pt x="694" y="45"/>
                  </a:cubicBezTo>
                  <a:cubicBezTo>
                    <a:pt x="695" y="46"/>
                    <a:pt x="695" y="46"/>
                    <a:pt x="695" y="46"/>
                  </a:cubicBezTo>
                  <a:cubicBezTo>
                    <a:pt x="695" y="46"/>
                    <a:pt x="695" y="46"/>
                    <a:pt x="695" y="46"/>
                  </a:cubicBezTo>
                  <a:cubicBezTo>
                    <a:pt x="695" y="46"/>
                    <a:pt x="695" y="46"/>
                    <a:pt x="696" y="46"/>
                  </a:cubicBezTo>
                  <a:cubicBezTo>
                    <a:pt x="695" y="46"/>
                    <a:pt x="695" y="46"/>
                    <a:pt x="695" y="46"/>
                  </a:cubicBezTo>
                  <a:cubicBezTo>
                    <a:pt x="696" y="46"/>
                    <a:pt x="696" y="46"/>
                    <a:pt x="696" y="47"/>
                  </a:cubicBezTo>
                  <a:cubicBezTo>
                    <a:pt x="696" y="47"/>
                    <a:pt x="696" y="47"/>
                    <a:pt x="696" y="47"/>
                  </a:cubicBezTo>
                  <a:cubicBezTo>
                    <a:pt x="696" y="47"/>
                    <a:pt x="697" y="46"/>
                    <a:pt x="697" y="46"/>
                  </a:cubicBezTo>
                  <a:cubicBezTo>
                    <a:pt x="697" y="43"/>
                    <a:pt x="697" y="39"/>
                    <a:pt x="696" y="36"/>
                  </a:cubicBezTo>
                  <a:cubicBezTo>
                    <a:pt x="696" y="36"/>
                    <a:pt x="696" y="36"/>
                    <a:pt x="696" y="36"/>
                  </a:cubicBezTo>
                  <a:cubicBezTo>
                    <a:pt x="696" y="36"/>
                    <a:pt x="696" y="36"/>
                    <a:pt x="696" y="35"/>
                  </a:cubicBezTo>
                  <a:cubicBezTo>
                    <a:pt x="696" y="35"/>
                    <a:pt x="696" y="35"/>
                    <a:pt x="696" y="35"/>
                  </a:cubicBezTo>
                  <a:cubicBezTo>
                    <a:pt x="696" y="35"/>
                    <a:pt x="695" y="35"/>
                    <a:pt x="695" y="35"/>
                  </a:cubicBezTo>
                  <a:cubicBezTo>
                    <a:pt x="695" y="35"/>
                    <a:pt x="695" y="35"/>
                    <a:pt x="695" y="35"/>
                  </a:cubicBezTo>
                  <a:cubicBezTo>
                    <a:pt x="695" y="35"/>
                    <a:pt x="695" y="35"/>
                    <a:pt x="694" y="35"/>
                  </a:cubicBezTo>
                  <a:cubicBezTo>
                    <a:pt x="694" y="35"/>
                    <a:pt x="694" y="35"/>
                    <a:pt x="694" y="35"/>
                  </a:cubicBezTo>
                  <a:cubicBezTo>
                    <a:pt x="694" y="34"/>
                    <a:pt x="694" y="35"/>
                    <a:pt x="693" y="34"/>
                  </a:cubicBezTo>
                  <a:cubicBezTo>
                    <a:pt x="693" y="34"/>
                    <a:pt x="693" y="34"/>
                    <a:pt x="693" y="34"/>
                  </a:cubicBezTo>
                  <a:cubicBezTo>
                    <a:pt x="693" y="34"/>
                    <a:pt x="693" y="34"/>
                    <a:pt x="692" y="34"/>
                  </a:cubicBezTo>
                  <a:cubicBezTo>
                    <a:pt x="692" y="34"/>
                    <a:pt x="692" y="34"/>
                    <a:pt x="692" y="34"/>
                  </a:cubicBezTo>
                  <a:cubicBezTo>
                    <a:pt x="692" y="34"/>
                    <a:pt x="692" y="34"/>
                    <a:pt x="691" y="34"/>
                  </a:cubicBezTo>
                  <a:cubicBezTo>
                    <a:pt x="691" y="34"/>
                    <a:pt x="691" y="34"/>
                    <a:pt x="691" y="34"/>
                  </a:cubicBezTo>
                  <a:cubicBezTo>
                    <a:pt x="691" y="34"/>
                    <a:pt x="691" y="34"/>
                    <a:pt x="691" y="34"/>
                  </a:cubicBezTo>
                  <a:cubicBezTo>
                    <a:pt x="691" y="33"/>
                    <a:pt x="690" y="34"/>
                    <a:pt x="690" y="33"/>
                  </a:cubicBezTo>
                  <a:cubicBezTo>
                    <a:pt x="690" y="33"/>
                    <a:pt x="690" y="33"/>
                    <a:pt x="690" y="33"/>
                  </a:cubicBezTo>
                  <a:cubicBezTo>
                    <a:pt x="690" y="33"/>
                    <a:pt x="690" y="33"/>
                    <a:pt x="690" y="33"/>
                  </a:cubicBezTo>
                  <a:cubicBezTo>
                    <a:pt x="689" y="33"/>
                    <a:pt x="688" y="33"/>
                    <a:pt x="688" y="33"/>
                  </a:cubicBezTo>
                  <a:cubicBezTo>
                    <a:pt x="688" y="33"/>
                    <a:pt x="688" y="33"/>
                    <a:pt x="687" y="33"/>
                  </a:cubicBezTo>
                  <a:cubicBezTo>
                    <a:pt x="687" y="33"/>
                    <a:pt x="686" y="33"/>
                    <a:pt x="685" y="33"/>
                  </a:cubicBezTo>
                  <a:cubicBezTo>
                    <a:pt x="683" y="33"/>
                    <a:pt x="681" y="33"/>
                    <a:pt x="680" y="33"/>
                  </a:cubicBezTo>
                  <a:cubicBezTo>
                    <a:pt x="679" y="33"/>
                    <a:pt x="678" y="33"/>
                    <a:pt x="677" y="33"/>
                  </a:cubicBezTo>
                  <a:cubicBezTo>
                    <a:pt x="677" y="33"/>
                    <a:pt x="677" y="33"/>
                    <a:pt x="677" y="33"/>
                  </a:cubicBezTo>
                  <a:cubicBezTo>
                    <a:pt x="676" y="33"/>
                    <a:pt x="676" y="33"/>
                    <a:pt x="675" y="33"/>
                  </a:cubicBezTo>
                  <a:cubicBezTo>
                    <a:pt x="675" y="33"/>
                    <a:pt x="675" y="33"/>
                    <a:pt x="675" y="33"/>
                  </a:cubicBezTo>
                  <a:cubicBezTo>
                    <a:pt x="675" y="34"/>
                    <a:pt x="674" y="33"/>
                    <a:pt x="674" y="34"/>
                  </a:cubicBezTo>
                  <a:cubicBezTo>
                    <a:pt x="674" y="34"/>
                    <a:pt x="674" y="34"/>
                    <a:pt x="674" y="34"/>
                  </a:cubicBezTo>
                  <a:cubicBezTo>
                    <a:pt x="673" y="34"/>
                    <a:pt x="673" y="34"/>
                    <a:pt x="672" y="34"/>
                  </a:cubicBezTo>
                  <a:cubicBezTo>
                    <a:pt x="673" y="34"/>
                    <a:pt x="673" y="34"/>
                    <a:pt x="673" y="34"/>
                  </a:cubicBezTo>
                  <a:cubicBezTo>
                    <a:pt x="672" y="34"/>
                    <a:pt x="672" y="34"/>
                    <a:pt x="671" y="34"/>
                  </a:cubicBezTo>
                  <a:cubicBezTo>
                    <a:pt x="671" y="34"/>
                    <a:pt x="671" y="34"/>
                    <a:pt x="671" y="34"/>
                  </a:cubicBezTo>
                  <a:cubicBezTo>
                    <a:pt x="671" y="35"/>
                    <a:pt x="671" y="34"/>
                    <a:pt x="671" y="35"/>
                  </a:cubicBezTo>
                  <a:cubicBezTo>
                    <a:pt x="671" y="35"/>
                    <a:pt x="671" y="35"/>
                    <a:pt x="671" y="35"/>
                  </a:cubicBezTo>
                  <a:cubicBezTo>
                    <a:pt x="671" y="35"/>
                    <a:pt x="670" y="35"/>
                    <a:pt x="670" y="35"/>
                  </a:cubicBezTo>
                  <a:cubicBezTo>
                    <a:pt x="670" y="35"/>
                    <a:pt x="670" y="35"/>
                    <a:pt x="670" y="35"/>
                  </a:cubicBezTo>
                  <a:cubicBezTo>
                    <a:pt x="670" y="35"/>
                    <a:pt x="670" y="35"/>
                    <a:pt x="670" y="35"/>
                  </a:cubicBezTo>
                  <a:cubicBezTo>
                    <a:pt x="670" y="35"/>
                    <a:pt x="670" y="35"/>
                    <a:pt x="669" y="35"/>
                  </a:cubicBezTo>
                  <a:cubicBezTo>
                    <a:pt x="669" y="35"/>
                    <a:pt x="669" y="35"/>
                    <a:pt x="669" y="35"/>
                  </a:cubicBezTo>
                  <a:cubicBezTo>
                    <a:pt x="669" y="35"/>
                    <a:pt x="669" y="35"/>
                    <a:pt x="669" y="35"/>
                  </a:cubicBezTo>
                  <a:cubicBezTo>
                    <a:pt x="669" y="35"/>
                    <a:pt x="669" y="36"/>
                    <a:pt x="669" y="36"/>
                  </a:cubicBezTo>
                  <a:cubicBezTo>
                    <a:pt x="669" y="36"/>
                    <a:pt x="669" y="36"/>
                    <a:pt x="669" y="36"/>
                  </a:cubicBezTo>
                  <a:cubicBezTo>
                    <a:pt x="668" y="36"/>
                    <a:pt x="668" y="36"/>
                    <a:pt x="668" y="36"/>
                  </a:cubicBezTo>
                  <a:cubicBezTo>
                    <a:pt x="668" y="36"/>
                    <a:pt x="668" y="36"/>
                    <a:pt x="668" y="36"/>
                  </a:cubicBezTo>
                  <a:cubicBezTo>
                    <a:pt x="668" y="36"/>
                    <a:pt x="667" y="36"/>
                    <a:pt x="667" y="37"/>
                  </a:cubicBezTo>
                  <a:cubicBezTo>
                    <a:pt x="667" y="36"/>
                    <a:pt x="667" y="36"/>
                    <a:pt x="667" y="36"/>
                  </a:cubicBezTo>
                  <a:cubicBezTo>
                    <a:pt x="667" y="37"/>
                    <a:pt x="667" y="37"/>
                    <a:pt x="667" y="37"/>
                  </a:cubicBezTo>
                  <a:cubicBezTo>
                    <a:pt x="667" y="37"/>
                    <a:pt x="667" y="37"/>
                    <a:pt x="667" y="37"/>
                  </a:cubicBezTo>
                  <a:cubicBezTo>
                    <a:pt x="667" y="37"/>
                    <a:pt x="666" y="37"/>
                    <a:pt x="666" y="37"/>
                  </a:cubicBezTo>
                  <a:cubicBezTo>
                    <a:pt x="666" y="37"/>
                    <a:pt x="666" y="37"/>
                    <a:pt x="666" y="37"/>
                  </a:cubicBezTo>
                  <a:cubicBezTo>
                    <a:pt x="666" y="37"/>
                    <a:pt x="666" y="37"/>
                    <a:pt x="666" y="38"/>
                  </a:cubicBezTo>
                  <a:cubicBezTo>
                    <a:pt x="666" y="37"/>
                    <a:pt x="666" y="37"/>
                    <a:pt x="666" y="37"/>
                  </a:cubicBezTo>
                  <a:cubicBezTo>
                    <a:pt x="666" y="38"/>
                    <a:pt x="666" y="38"/>
                    <a:pt x="666" y="38"/>
                  </a:cubicBezTo>
                  <a:cubicBezTo>
                    <a:pt x="666" y="38"/>
                    <a:pt x="666" y="38"/>
                    <a:pt x="666" y="38"/>
                  </a:cubicBezTo>
                  <a:cubicBezTo>
                    <a:pt x="665" y="38"/>
                    <a:pt x="665" y="38"/>
                    <a:pt x="665" y="39"/>
                  </a:cubicBezTo>
                  <a:cubicBezTo>
                    <a:pt x="665" y="39"/>
                    <a:pt x="665" y="39"/>
                    <a:pt x="665" y="39"/>
                  </a:cubicBezTo>
                  <a:cubicBezTo>
                    <a:pt x="664" y="39"/>
                    <a:pt x="664" y="39"/>
                    <a:pt x="664" y="39"/>
                  </a:cubicBezTo>
                  <a:cubicBezTo>
                    <a:pt x="664" y="39"/>
                    <a:pt x="664" y="39"/>
                    <a:pt x="664" y="39"/>
                  </a:cubicBezTo>
                  <a:cubicBezTo>
                    <a:pt x="664" y="39"/>
                    <a:pt x="664" y="39"/>
                    <a:pt x="664" y="39"/>
                  </a:cubicBezTo>
                  <a:cubicBezTo>
                    <a:pt x="664" y="39"/>
                    <a:pt x="664" y="39"/>
                    <a:pt x="664" y="39"/>
                  </a:cubicBezTo>
                  <a:cubicBezTo>
                    <a:pt x="664" y="39"/>
                    <a:pt x="664" y="39"/>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2" y="40"/>
                    <a:pt x="662" y="41"/>
                  </a:cubicBezTo>
                  <a:cubicBezTo>
                    <a:pt x="663" y="41"/>
                    <a:pt x="663" y="41"/>
                    <a:pt x="663" y="41"/>
                  </a:cubicBezTo>
                  <a:cubicBezTo>
                    <a:pt x="662" y="41"/>
                    <a:pt x="662" y="41"/>
                    <a:pt x="662" y="41"/>
                  </a:cubicBezTo>
                  <a:cubicBezTo>
                    <a:pt x="662" y="41"/>
                    <a:pt x="662" y="41"/>
                    <a:pt x="662" y="41"/>
                  </a:cubicBezTo>
                  <a:cubicBezTo>
                    <a:pt x="662" y="41"/>
                    <a:pt x="662" y="42"/>
                    <a:pt x="662" y="42"/>
                  </a:cubicBezTo>
                  <a:cubicBezTo>
                    <a:pt x="662" y="42"/>
                    <a:pt x="662" y="42"/>
                    <a:pt x="662" y="42"/>
                  </a:cubicBezTo>
                  <a:cubicBezTo>
                    <a:pt x="662" y="42"/>
                    <a:pt x="661" y="42"/>
                    <a:pt x="661" y="42"/>
                  </a:cubicBezTo>
                  <a:cubicBezTo>
                    <a:pt x="661" y="42"/>
                    <a:pt x="661" y="42"/>
                    <a:pt x="661" y="42"/>
                  </a:cubicBezTo>
                  <a:cubicBezTo>
                    <a:pt x="661" y="42"/>
                    <a:pt x="661" y="43"/>
                    <a:pt x="661" y="43"/>
                  </a:cubicBezTo>
                  <a:cubicBezTo>
                    <a:pt x="661" y="43"/>
                    <a:pt x="661" y="43"/>
                    <a:pt x="661" y="43"/>
                  </a:cubicBezTo>
                  <a:cubicBezTo>
                    <a:pt x="661" y="43"/>
                    <a:pt x="661" y="43"/>
                    <a:pt x="661" y="43"/>
                  </a:cubicBezTo>
                  <a:cubicBezTo>
                    <a:pt x="661" y="43"/>
                    <a:pt x="661" y="43"/>
                    <a:pt x="661" y="43"/>
                  </a:cubicBezTo>
                  <a:cubicBezTo>
                    <a:pt x="660" y="43"/>
                    <a:pt x="660" y="44"/>
                    <a:pt x="660" y="44"/>
                  </a:cubicBezTo>
                  <a:cubicBezTo>
                    <a:pt x="660" y="44"/>
                    <a:pt x="660" y="44"/>
                    <a:pt x="660" y="44"/>
                  </a:cubicBezTo>
                  <a:cubicBezTo>
                    <a:pt x="660" y="44"/>
                    <a:pt x="660" y="44"/>
                    <a:pt x="660" y="44"/>
                  </a:cubicBezTo>
                  <a:cubicBezTo>
                    <a:pt x="660" y="44"/>
                    <a:pt x="660" y="44"/>
                    <a:pt x="660" y="44"/>
                  </a:cubicBezTo>
                  <a:cubicBezTo>
                    <a:pt x="660" y="45"/>
                    <a:pt x="660" y="45"/>
                    <a:pt x="660" y="45"/>
                  </a:cubicBezTo>
                  <a:cubicBezTo>
                    <a:pt x="660" y="45"/>
                    <a:pt x="660" y="45"/>
                    <a:pt x="660" y="45"/>
                  </a:cubicBezTo>
                  <a:cubicBezTo>
                    <a:pt x="660" y="45"/>
                    <a:pt x="660" y="45"/>
                    <a:pt x="660" y="45"/>
                  </a:cubicBezTo>
                  <a:cubicBezTo>
                    <a:pt x="659" y="46"/>
                    <a:pt x="659" y="46"/>
                    <a:pt x="659" y="46"/>
                  </a:cubicBezTo>
                  <a:cubicBezTo>
                    <a:pt x="659" y="46"/>
                    <a:pt x="659" y="46"/>
                    <a:pt x="659" y="46"/>
                  </a:cubicBezTo>
                  <a:cubicBezTo>
                    <a:pt x="659" y="46"/>
                    <a:pt x="659" y="47"/>
                    <a:pt x="659" y="47"/>
                  </a:cubicBezTo>
                  <a:cubicBezTo>
                    <a:pt x="659" y="47"/>
                    <a:pt x="659" y="48"/>
                    <a:pt x="659" y="48"/>
                  </a:cubicBezTo>
                  <a:cubicBezTo>
                    <a:pt x="659" y="48"/>
                    <a:pt x="659" y="49"/>
                    <a:pt x="659" y="49"/>
                  </a:cubicBezTo>
                  <a:cubicBezTo>
                    <a:pt x="659" y="49"/>
                    <a:pt x="659" y="49"/>
                    <a:pt x="659" y="49"/>
                  </a:cubicBezTo>
                  <a:cubicBezTo>
                    <a:pt x="658" y="51"/>
                    <a:pt x="658" y="53"/>
                    <a:pt x="659" y="55"/>
                  </a:cubicBezTo>
                  <a:cubicBezTo>
                    <a:pt x="659" y="55"/>
                    <a:pt x="659" y="56"/>
                    <a:pt x="659" y="56"/>
                  </a:cubicBezTo>
                  <a:cubicBezTo>
                    <a:pt x="659" y="56"/>
                    <a:pt x="659" y="57"/>
                    <a:pt x="659" y="57"/>
                  </a:cubicBezTo>
                  <a:cubicBezTo>
                    <a:pt x="659" y="57"/>
                    <a:pt x="659" y="57"/>
                    <a:pt x="659" y="58"/>
                  </a:cubicBezTo>
                  <a:cubicBezTo>
                    <a:pt x="659" y="58"/>
                    <a:pt x="659" y="58"/>
                    <a:pt x="659" y="59"/>
                  </a:cubicBezTo>
                  <a:cubicBezTo>
                    <a:pt x="659" y="59"/>
                    <a:pt x="659" y="59"/>
                    <a:pt x="659" y="59"/>
                  </a:cubicBezTo>
                  <a:cubicBezTo>
                    <a:pt x="659" y="59"/>
                    <a:pt x="659" y="59"/>
                    <a:pt x="659" y="59"/>
                  </a:cubicBezTo>
                  <a:cubicBezTo>
                    <a:pt x="659" y="59"/>
                    <a:pt x="659" y="59"/>
                    <a:pt x="660" y="60"/>
                  </a:cubicBezTo>
                  <a:cubicBezTo>
                    <a:pt x="660" y="60"/>
                    <a:pt x="660" y="60"/>
                    <a:pt x="660" y="60"/>
                  </a:cubicBezTo>
                  <a:cubicBezTo>
                    <a:pt x="660" y="60"/>
                    <a:pt x="660" y="60"/>
                    <a:pt x="660" y="60"/>
                  </a:cubicBezTo>
                  <a:cubicBezTo>
                    <a:pt x="660" y="60"/>
                    <a:pt x="660" y="60"/>
                    <a:pt x="660" y="60"/>
                  </a:cubicBezTo>
                  <a:cubicBezTo>
                    <a:pt x="660" y="61"/>
                    <a:pt x="660" y="61"/>
                    <a:pt x="660" y="61"/>
                  </a:cubicBezTo>
                  <a:cubicBezTo>
                    <a:pt x="660" y="61"/>
                    <a:pt x="660" y="61"/>
                    <a:pt x="660" y="61"/>
                  </a:cubicBezTo>
                  <a:cubicBezTo>
                    <a:pt x="660" y="61"/>
                    <a:pt x="660" y="61"/>
                    <a:pt x="660" y="61"/>
                  </a:cubicBezTo>
                  <a:cubicBezTo>
                    <a:pt x="660" y="61"/>
                    <a:pt x="660" y="61"/>
                    <a:pt x="660" y="61"/>
                  </a:cubicBezTo>
                  <a:cubicBezTo>
                    <a:pt x="660" y="62"/>
                    <a:pt x="661" y="62"/>
                    <a:pt x="661" y="62"/>
                  </a:cubicBezTo>
                  <a:cubicBezTo>
                    <a:pt x="661" y="62"/>
                    <a:pt x="661" y="62"/>
                    <a:pt x="661" y="62"/>
                  </a:cubicBezTo>
                  <a:cubicBezTo>
                    <a:pt x="661" y="62"/>
                    <a:pt x="661" y="62"/>
                    <a:pt x="661" y="62"/>
                  </a:cubicBezTo>
                  <a:cubicBezTo>
                    <a:pt x="661" y="62"/>
                    <a:pt x="661" y="62"/>
                    <a:pt x="661" y="62"/>
                  </a:cubicBezTo>
                  <a:cubicBezTo>
                    <a:pt x="661" y="63"/>
                    <a:pt x="661" y="63"/>
                    <a:pt x="661" y="63"/>
                  </a:cubicBezTo>
                  <a:cubicBezTo>
                    <a:pt x="661" y="63"/>
                    <a:pt x="661" y="63"/>
                    <a:pt x="661" y="63"/>
                  </a:cubicBezTo>
                  <a:cubicBezTo>
                    <a:pt x="662" y="63"/>
                    <a:pt x="661" y="63"/>
                    <a:pt x="662" y="64"/>
                  </a:cubicBezTo>
                  <a:cubicBezTo>
                    <a:pt x="662" y="63"/>
                    <a:pt x="662" y="63"/>
                    <a:pt x="662" y="63"/>
                  </a:cubicBezTo>
                  <a:cubicBezTo>
                    <a:pt x="662" y="64"/>
                    <a:pt x="662" y="64"/>
                    <a:pt x="662" y="64"/>
                  </a:cubicBezTo>
                  <a:cubicBezTo>
                    <a:pt x="662" y="64"/>
                    <a:pt x="662" y="64"/>
                    <a:pt x="662" y="64"/>
                  </a:cubicBezTo>
                  <a:cubicBezTo>
                    <a:pt x="662" y="64"/>
                    <a:pt x="662" y="64"/>
                    <a:pt x="662" y="64"/>
                  </a:cubicBezTo>
                  <a:cubicBezTo>
                    <a:pt x="662" y="64"/>
                    <a:pt x="662" y="64"/>
                    <a:pt x="662" y="64"/>
                  </a:cubicBezTo>
                  <a:cubicBezTo>
                    <a:pt x="662" y="64"/>
                    <a:pt x="663" y="64"/>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4" y="65"/>
                    <a:pt x="664" y="66"/>
                    <a:pt x="664" y="66"/>
                  </a:cubicBezTo>
                  <a:cubicBezTo>
                    <a:pt x="664" y="66"/>
                    <a:pt x="664" y="66"/>
                    <a:pt x="664" y="66"/>
                  </a:cubicBezTo>
                  <a:cubicBezTo>
                    <a:pt x="664" y="66"/>
                    <a:pt x="664" y="66"/>
                    <a:pt x="664" y="66"/>
                  </a:cubicBezTo>
                  <a:cubicBezTo>
                    <a:pt x="664" y="66"/>
                    <a:pt x="664" y="66"/>
                    <a:pt x="664" y="66"/>
                  </a:cubicBezTo>
                  <a:cubicBezTo>
                    <a:pt x="664" y="66"/>
                    <a:pt x="664" y="66"/>
                    <a:pt x="665" y="66"/>
                  </a:cubicBezTo>
                  <a:cubicBezTo>
                    <a:pt x="665" y="66"/>
                    <a:pt x="665" y="66"/>
                    <a:pt x="665" y="66"/>
                  </a:cubicBezTo>
                  <a:cubicBezTo>
                    <a:pt x="665" y="67"/>
                    <a:pt x="665" y="66"/>
                    <a:pt x="665" y="67"/>
                  </a:cubicBezTo>
                  <a:cubicBezTo>
                    <a:pt x="665" y="67"/>
                    <a:pt x="665" y="67"/>
                    <a:pt x="665" y="67"/>
                  </a:cubicBezTo>
                  <a:cubicBezTo>
                    <a:pt x="665" y="67"/>
                    <a:pt x="665" y="67"/>
                    <a:pt x="666" y="67"/>
                  </a:cubicBezTo>
                  <a:cubicBezTo>
                    <a:pt x="666" y="67"/>
                    <a:pt x="666" y="67"/>
                    <a:pt x="666" y="67"/>
                  </a:cubicBezTo>
                  <a:cubicBezTo>
                    <a:pt x="666" y="67"/>
                    <a:pt x="666" y="67"/>
                    <a:pt x="666" y="67"/>
                  </a:cubicBezTo>
                  <a:cubicBezTo>
                    <a:pt x="666" y="67"/>
                    <a:pt x="666" y="67"/>
                    <a:pt x="666" y="67"/>
                  </a:cubicBezTo>
                  <a:cubicBezTo>
                    <a:pt x="666" y="68"/>
                    <a:pt x="666" y="68"/>
                    <a:pt x="667" y="68"/>
                  </a:cubicBezTo>
                  <a:cubicBezTo>
                    <a:pt x="667" y="68"/>
                    <a:pt x="667" y="68"/>
                    <a:pt x="667" y="68"/>
                  </a:cubicBezTo>
                  <a:cubicBezTo>
                    <a:pt x="667" y="68"/>
                    <a:pt x="667" y="68"/>
                    <a:pt x="667" y="68"/>
                  </a:cubicBezTo>
                  <a:cubicBezTo>
                    <a:pt x="667" y="68"/>
                    <a:pt x="667" y="68"/>
                    <a:pt x="667" y="68"/>
                  </a:cubicBezTo>
                  <a:cubicBezTo>
                    <a:pt x="667" y="68"/>
                    <a:pt x="667" y="68"/>
                    <a:pt x="668" y="68"/>
                  </a:cubicBezTo>
                  <a:cubicBezTo>
                    <a:pt x="668" y="68"/>
                    <a:pt x="668" y="68"/>
                    <a:pt x="668" y="68"/>
                  </a:cubicBezTo>
                  <a:cubicBezTo>
                    <a:pt x="668" y="69"/>
                    <a:pt x="668" y="69"/>
                    <a:pt x="668" y="69"/>
                  </a:cubicBezTo>
                  <a:cubicBezTo>
                    <a:pt x="668" y="69"/>
                    <a:pt x="668" y="69"/>
                    <a:pt x="668" y="69"/>
                  </a:cubicBezTo>
                  <a:cubicBezTo>
                    <a:pt x="668" y="69"/>
                    <a:pt x="669" y="69"/>
                    <a:pt x="669" y="69"/>
                  </a:cubicBezTo>
                  <a:cubicBezTo>
                    <a:pt x="669" y="69"/>
                    <a:pt x="669" y="69"/>
                    <a:pt x="669" y="69"/>
                  </a:cubicBezTo>
                  <a:cubicBezTo>
                    <a:pt x="669" y="69"/>
                    <a:pt x="669" y="69"/>
                    <a:pt x="669" y="69"/>
                  </a:cubicBezTo>
                  <a:cubicBezTo>
                    <a:pt x="669" y="69"/>
                    <a:pt x="669" y="69"/>
                    <a:pt x="669" y="69"/>
                  </a:cubicBezTo>
                  <a:cubicBezTo>
                    <a:pt x="670" y="70"/>
                    <a:pt x="670" y="70"/>
                    <a:pt x="670" y="70"/>
                  </a:cubicBezTo>
                  <a:cubicBezTo>
                    <a:pt x="670" y="70"/>
                    <a:pt x="670" y="70"/>
                    <a:pt x="670" y="70"/>
                  </a:cubicBezTo>
                  <a:cubicBezTo>
                    <a:pt x="670" y="70"/>
                    <a:pt x="671" y="70"/>
                    <a:pt x="671" y="70"/>
                  </a:cubicBezTo>
                  <a:cubicBezTo>
                    <a:pt x="671" y="70"/>
                    <a:pt x="671" y="70"/>
                    <a:pt x="671" y="70"/>
                  </a:cubicBezTo>
                  <a:cubicBezTo>
                    <a:pt x="671" y="70"/>
                    <a:pt x="671" y="70"/>
                    <a:pt x="671" y="71"/>
                  </a:cubicBezTo>
                  <a:cubicBezTo>
                    <a:pt x="671" y="71"/>
                    <a:pt x="671" y="71"/>
                    <a:pt x="671" y="71"/>
                  </a:cubicBezTo>
                  <a:cubicBezTo>
                    <a:pt x="672" y="71"/>
                    <a:pt x="672" y="71"/>
                    <a:pt x="672" y="71"/>
                  </a:cubicBezTo>
                  <a:cubicBezTo>
                    <a:pt x="672" y="71"/>
                    <a:pt x="672" y="71"/>
                    <a:pt x="672" y="71"/>
                  </a:cubicBezTo>
                  <a:cubicBezTo>
                    <a:pt x="672" y="71"/>
                    <a:pt x="673" y="71"/>
                    <a:pt x="673" y="71"/>
                  </a:cubicBezTo>
                  <a:cubicBezTo>
                    <a:pt x="673" y="71"/>
                    <a:pt x="673" y="71"/>
                    <a:pt x="673" y="71"/>
                  </a:cubicBezTo>
                  <a:cubicBezTo>
                    <a:pt x="673" y="71"/>
                    <a:pt x="673" y="71"/>
                    <a:pt x="674" y="72"/>
                  </a:cubicBezTo>
                  <a:cubicBezTo>
                    <a:pt x="674" y="72"/>
                    <a:pt x="674" y="72"/>
                    <a:pt x="674" y="72"/>
                  </a:cubicBezTo>
                  <a:cubicBezTo>
                    <a:pt x="674" y="72"/>
                    <a:pt x="674" y="72"/>
                    <a:pt x="674" y="72"/>
                  </a:cubicBezTo>
                  <a:cubicBezTo>
                    <a:pt x="674" y="72"/>
                    <a:pt x="674" y="72"/>
                    <a:pt x="674" y="72"/>
                  </a:cubicBezTo>
                  <a:cubicBezTo>
                    <a:pt x="675" y="72"/>
                    <a:pt x="675" y="72"/>
                    <a:pt x="675" y="72"/>
                  </a:cubicBezTo>
                  <a:cubicBezTo>
                    <a:pt x="675" y="72"/>
                    <a:pt x="675" y="72"/>
                    <a:pt x="675" y="72"/>
                  </a:cubicBezTo>
                  <a:cubicBezTo>
                    <a:pt x="675" y="72"/>
                    <a:pt x="675" y="72"/>
                    <a:pt x="675" y="72"/>
                  </a:cubicBezTo>
                  <a:cubicBezTo>
                    <a:pt x="675" y="72"/>
                    <a:pt x="676" y="72"/>
                    <a:pt x="676" y="73"/>
                  </a:cubicBezTo>
                  <a:cubicBezTo>
                    <a:pt x="676" y="73"/>
                    <a:pt x="676" y="73"/>
                    <a:pt x="676" y="73"/>
                  </a:cubicBezTo>
                  <a:cubicBezTo>
                    <a:pt x="676" y="73"/>
                    <a:pt x="676" y="73"/>
                    <a:pt x="677" y="73"/>
                  </a:cubicBezTo>
                  <a:cubicBezTo>
                    <a:pt x="677" y="73"/>
                    <a:pt x="677" y="73"/>
                    <a:pt x="677" y="73"/>
                  </a:cubicBezTo>
                  <a:cubicBezTo>
                    <a:pt x="677" y="73"/>
                    <a:pt x="677" y="73"/>
                    <a:pt x="677" y="73"/>
                  </a:cubicBezTo>
                  <a:cubicBezTo>
                    <a:pt x="677" y="73"/>
                    <a:pt x="677" y="73"/>
                    <a:pt x="677" y="73"/>
                  </a:cubicBezTo>
                  <a:cubicBezTo>
                    <a:pt x="678" y="74"/>
                    <a:pt x="678" y="73"/>
                    <a:pt x="678" y="74"/>
                  </a:cubicBezTo>
                  <a:cubicBezTo>
                    <a:pt x="678" y="74"/>
                    <a:pt x="678" y="74"/>
                    <a:pt x="678" y="74"/>
                  </a:cubicBezTo>
                  <a:cubicBezTo>
                    <a:pt x="678" y="74"/>
                    <a:pt x="679" y="74"/>
                    <a:pt x="679" y="74"/>
                  </a:cubicBezTo>
                  <a:cubicBezTo>
                    <a:pt x="679" y="74"/>
                    <a:pt x="679" y="74"/>
                    <a:pt x="679" y="74"/>
                  </a:cubicBezTo>
                  <a:cubicBezTo>
                    <a:pt x="679" y="74"/>
                    <a:pt x="679" y="74"/>
                    <a:pt x="679" y="74"/>
                  </a:cubicBezTo>
                  <a:cubicBezTo>
                    <a:pt x="679" y="74"/>
                    <a:pt x="679" y="74"/>
                    <a:pt x="679" y="74"/>
                  </a:cubicBezTo>
                  <a:cubicBezTo>
                    <a:pt x="680" y="75"/>
                    <a:pt x="680" y="75"/>
                    <a:pt x="680" y="75"/>
                  </a:cubicBezTo>
                  <a:cubicBezTo>
                    <a:pt x="680" y="75"/>
                    <a:pt x="680" y="75"/>
                    <a:pt x="680" y="75"/>
                  </a:cubicBezTo>
                  <a:cubicBezTo>
                    <a:pt x="680" y="75"/>
                    <a:pt x="681" y="75"/>
                    <a:pt x="681" y="75"/>
                  </a:cubicBezTo>
                  <a:cubicBezTo>
                    <a:pt x="681" y="75"/>
                    <a:pt x="681" y="75"/>
                    <a:pt x="681" y="75"/>
                  </a:cubicBezTo>
                  <a:cubicBezTo>
                    <a:pt x="681" y="75"/>
                    <a:pt x="681" y="75"/>
                    <a:pt x="682" y="75"/>
                  </a:cubicBezTo>
                  <a:cubicBezTo>
                    <a:pt x="682" y="75"/>
                    <a:pt x="682" y="75"/>
                    <a:pt x="682" y="75"/>
                  </a:cubicBezTo>
                  <a:cubicBezTo>
                    <a:pt x="682" y="76"/>
                    <a:pt x="682" y="76"/>
                    <a:pt x="682" y="76"/>
                  </a:cubicBezTo>
                  <a:cubicBezTo>
                    <a:pt x="682" y="76"/>
                    <a:pt x="682" y="76"/>
                    <a:pt x="682" y="76"/>
                  </a:cubicBezTo>
                  <a:cubicBezTo>
                    <a:pt x="682" y="76"/>
                    <a:pt x="682" y="76"/>
                    <a:pt x="683" y="76"/>
                  </a:cubicBezTo>
                  <a:cubicBezTo>
                    <a:pt x="683" y="76"/>
                    <a:pt x="683" y="76"/>
                    <a:pt x="683" y="76"/>
                  </a:cubicBezTo>
                  <a:cubicBezTo>
                    <a:pt x="683" y="76"/>
                    <a:pt x="683" y="76"/>
                    <a:pt x="683" y="76"/>
                  </a:cubicBezTo>
                  <a:cubicBezTo>
                    <a:pt x="683" y="76"/>
                    <a:pt x="683" y="76"/>
                    <a:pt x="683" y="76"/>
                  </a:cubicBezTo>
                  <a:cubicBezTo>
                    <a:pt x="683" y="77"/>
                    <a:pt x="684" y="77"/>
                    <a:pt x="684" y="77"/>
                  </a:cubicBezTo>
                  <a:cubicBezTo>
                    <a:pt x="684" y="77"/>
                    <a:pt x="684" y="77"/>
                    <a:pt x="684" y="77"/>
                  </a:cubicBezTo>
                  <a:cubicBezTo>
                    <a:pt x="684" y="77"/>
                    <a:pt x="684" y="77"/>
                    <a:pt x="684" y="77"/>
                  </a:cubicBezTo>
                  <a:cubicBezTo>
                    <a:pt x="684" y="77"/>
                    <a:pt x="684" y="77"/>
                    <a:pt x="684" y="77"/>
                  </a:cubicBezTo>
                  <a:cubicBezTo>
                    <a:pt x="684" y="77"/>
                    <a:pt x="685" y="77"/>
                    <a:pt x="685" y="77"/>
                  </a:cubicBezTo>
                  <a:cubicBezTo>
                    <a:pt x="685" y="77"/>
                    <a:pt x="685" y="77"/>
                    <a:pt x="685" y="77"/>
                  </a:cubicBezTo>
                  <a:cubicBezTo>
                    <a:pt x="685" y="78"/>
                    <a:pt x="685" y="78"/>
                    <a:pt x="686" y="78"/>
                  </a:cubicBezTo>
                  <a:cubicBezTo>
                    <a:pt x="686" y="78"/>
                    <a:pt x="686" y="78"/>
                    <a:pt x="686" y="78"/>
                  </a:cubicBezTo>
                  <a:cubicBezTo>
                    <a:pt x="686" y="78"/>
                    <a:pt x="686" y="78"/>
                    <a:pt x="686" y="79"/>
                  </a:cubicBezTo>
                  <a:cubicBezTo>
                    <a:pt x="686" y="79"/>
                    <a:pt x="686" y="79"/>
                    <a:pt x="686" y="79"/>
                  </a:cubicBezTo>
                  <a:cubicBezTo>
                    <a:pt x="686" y="79"/>
                    <a:pt x="686" y="79"/>
                    <a:pt x="686" y="79"/>
                  </a:cubicBezTo>
                  <a:cubicBezTo>
                    <a:pt x="686" y="79"/>
                    <a:pt x="686" y="79"/>
                    <a:pt x="686" y="79"/>
                  </a:cubicBezTo>
                  <a:cubicBezTo>
                    <a:pt x="687" y="79"/>
                    <a:pt x="687" y="79"/>
                    <a:pt x="687" y="79"/>
                  </a:cubicBezTo>
                  <a:cubicBezTo>
                    <a:pt x="687" y="79"/>
                    <a:pt x="687" y="79"/>
                    <a:pt x="687" y="79"/>
                  </a:cubicBezTo>
                  <a:cubicBezTo>
                    <a:pt x="687" y="79"/>
                    <a:pt x="687" y="80"/>
                    <a:pt x="687" y="80"/>
                  </a:cubicBezTo>
                  <a:cubicBezTo>
                    <a:pt x="687" y="80"/>
                    <a:pt x="687" y="80"/>
                    <a:pt x="687" y="80"/>
                  </a:cubicBezTo>
                  <a:cubicBezTo>
                    <a:pt x="687" y="80"/>
                    <a:pt x="687" y="80"/>
                    <a:pt x="687" y="80"/>
                  </a:cubicBezTo>
                  <a:cubicBezTo>
                    <a:pt x="688" y="80"/>
                    <a:pt x="688" y="80"/>
                    <a:pt x="688" y="80"/>
                  </a:cubicBezTo>
                  <a:cubicBezTo>
                    <a:pt x="688" y="80"/>
                    <a:pt x="688" y="80"/>
                    <a:pt x="688" y="80"/>
                  </a:cubicBezTo>
                  <a:cubicBezTo>
                    <a:pt x="688" y="81"/>
                    <a:pt x="688" y="81"/>
                    <a:pt x="688" y="81"/>
                  </a:cubicBezTo>
                  <a:cubicBezTo>
                    <a:pt x="688" y="81"/>
                    <a:pt x="688" y="81"/>
                    <a:pt x="688" y="81"/>
                  </a:cubicBezTo>
                  <a:cubicBezTo>
                    <a:pt x="688" y="81"/>
                    <a:pt x="688" y="82"/>
                    <a:pt x="688" y="82"/>
                  </a:cubicBezTo>
                  <a:cubicBezTo>
                    <a:pt x="688" y="82"/>
                    <a:pt x="688" y="82"/>
                    <a:pt x="688" y="82"/>
                  </a:cubicBezTo>
                  <a:cubicBezTo>
                    <a:pt x="688" y="84"/>
                    <a:pt x="688" y="85"/>
                    <a:pt x="688" y="87"/>
                  </a:cubicBezTo>
                  <a:cubicBezTo>
                    <a:pt x="688" y="87"/>
                    <a:pt x="688" y="87"/>
                    <a:pt x="688" y="87"/>
                  </a:cubicBezTo>
                  <a:cubicBezTo>
                    <a:pt x="688" y="87"/>
                    <a:pt x="688" y="88"/>
                    <a:pt x="688" y="88"/>
                  </a:cubicBezTo>
                  <a:cubicBezTo>
                    <a:pt x="688" y="88"/>
                    <a:pt x="688" y="88"/>
                    <a:pt x="688" y="88"/>
                  </a:cubicBezTo>
                  <a:cubicBezTo>
                    <a:pt x="688" y="88"/>
                    <a:pt x="688" y="88"/>
                    <a:pt x="688" y="88"/>
                  </a:cubicBezTo>
                  <a:cubicBezTo>
                    <a:pt x="688" y="88"/>
                    <a:pt x="688" y="89"/>
                    <a:pt x="687" y="89"/>
                  </a:cubicBezTo>
                  <a:cubicBezTo>
                    <a:pt x="687" y="89"/>
                    <a:pt x="687" y="89"/>
                    <a:pt x="687" y="89"/>
                  </a:cubicBezTo>
                  <a:cubicBezTo>
                    <a:pt x="687" y="89"/>
                    <a:pt x="687" y="89"/>
                    <a:pt x="687" y="89"/>
                  </a:cubicBezTo>
                  <a:cubicBezTo>
                    <a:pt x="687" y="89"/>
                    <a:pt x="687" y="89"/>
                    <a:pt x="687" y="89"/>
                  </a:cubicBezTo>
                  <a:cubicBezTo>
                    <a:pt x="687" y="89"/>
                    <a:pt x="687" y="90"/>
                    <a:pt x="687" y="90"/>
                  </a:cubicBezTo>
                  <a:cubicBezTo>
                    <a:pt x="687" y="90"/>
                    <a:pt x="687" y="90"/>
                    <a:pt x="687" y="90"/>
                  </a:cubicBezTo>
                  <a:cubicBezTo>
                    <a:pt x="687" y="90"/>
                    <a:pt x="687" y="90"/>
                    <a:pt x="686" y="90"/>
                  </a:cubicBezTo>
                  <a:cubicBezTo>
                    <a:pt x="686" y="90"/>
                    <a:pt x="686" y="90"/>
                    <a:pt x="686" y="90"/>
                  </a:cubicBezTo>
                  <a:cubicBezTo>
                    <a:pt x="686" y="90"/>
                    <a:pt x="686" y="91"/>
                    <a:pt x="686" y="91"/>
                  </a:cubicBezTo>
                  <a:cubicBezTo>
                    <a:pt x="686" y="91"/>
                    <a:pt x="686" y="91"/>
                    <a:pt x="686" y="91"/>
                  </a:cubicBezTo>
                  <a:cubicBezTo>
                    <a:pt x="686" y="91"/>
                    <a:pt x="686" y="91"/>
                    <a:pt x="686" y="91"/>
                  </a:cubicBezTo>
                  <a:cubicBezTo>
                    <a:pt x="686" y="91"/>
                    <a:pt x="686" y="91"/>
                    <a:pt x="686" y="91"/>
                  </a:cubicBezTo>
                  <a:cubicBezTo>
                    <a:pt x="686" y="91"/>
                    <a:pt x="685" y="91"/>
                    <a:pt x="685" y="91"/>
                  </a:cubicBezTo>
                  <a:cubicBezTo>
                    <a:pt x="685" y="91"/>
                    <a:pt x="685" y="91"/>
                    <a:pt x="685" y="91"/>
                  </a:cubicBezTo>
                  <a:cubicBezTo>
                    <a:pt x="685" y="92"/>
                    <a:pt x="685" y="92"/>
                    <a:pt x="685" y="92"/>
                  </a:cubicBezTo>
                  <a:cubicBezTo>
                    <a:pt x="685" y="92"/>
                    <a:pt x="685" y="92"/>
                    <a:pt x="685" y="92"/>
                  </a:cubicBezTo>
                  <a:cubicBezTo>
                    <a:pt x="685" y="92"/>
                    <a:pt x="684" y="92"/>
                    <a:pt x="684" y="92"/>
                  </a:cubicBezTo>
                  <a:cubicBezTo>
                    <a:pt x="684" y="92"/>
                    <a:pt x="684" y="92"/>
                    <a:pt x="684" y="92"/>
                  </a:cubicBezTo>
                  <a:cubicBezTo>
                    <a:pt x="684" y="92"/>
                    <a:pt x="684" y="92"/>
                    <a:pt x="684" y="92"/>
                  </a:cubicBezTo>
                  <a:cubicBezTo>
                    <a:pt x="684" y="93"/>
                    <a:pt x="684" y="93"/>
                    <a:pt x="684" y="93"/>
                  </a:cubicBezTo>
                  <a:cubicBezTo>
                    <a:pt x="683" y="93"/>
                    <a:pt x="683" y="93"/>
                    <a:pt x="683" y="93"/>
                  </a:cubicBezTo>
                  <a:cubicBezTo>
                    <a:pt x="683" y="93"/>
                    <a:pt x="683" y="93"/>
                    <a:pt x="683" y="93"/>
                  </a:cubicBezTo>
                  <a:cubicBezTo>
                    <a:pt x="683" y="93"/>
                    <a:pt x="683" y="93"/>
                    <a:pt x="683" y="93"/>
                  </a:cubicBezTo>
                  <a:cubicBezTo>
                    <a:pt x="682" y="93"/>
                    <a:pt x="682" y="93"/>
                    <a:pt x="682" y="93"/>
                  </a:cubicBezTo>
                  <a:cubicBezTo>
                    <a:pt x="681" y="93"/>
                    <a:pt x="681" y="93"/>
                    <a:pt x="681" y="93"/>
                  </a:cubicBezTo>
                  <a:cubicBezTo>
                    <a:pt x="681" y="93"/>
                    <a:pt x="681" y="93"/>
                    <a:pt x="681" y="93"/>
                  </a:cubicBezTo>
                  <a:cubicBezTo>
                    <a:pt x="681" y="93"/>
                    <a:pt x="680" y="93"/>
                    <a:pt x="680" y="94"/>
                  </a:cubicBezTo>
                  <a:cubicBezTo>
                    <a:pt x="680" y="94"/>
                    <a:pt x="680" y="94"/>
                    <a:pt x="680" y="94"/>
                  </a:cubicBezTo>
                  <a:cubicBezTo>
                    <a:pt x="677" y="94"/>
                    <a:pt x="675" y="94"/>
                    <a:pt x="672" y="94"/>
                  </a:cubicBezTo>
                  <a:cubicBezTo>
                    <a:pt x="672" y="94"/>
                    <a:pt x="672" y="94"/>
                    <a:pt x="672" y="93"/>
                  </a:cubicBezTo>
                  <a:cubicBezTo>
                    <a:pt x="671" y="93"/>
                    <a:pt x="671" y="93"/>
                    <a:pt x="670" y="93"/>
                  </a:cubicBezTo>
                  <a:cubicBezTo>
                    <a:pt x="670" y="93"/>
                    <a:pt x="670" y="93"/>
                    <a:pt x="670" y="93"/>
                  </a:cubicBezTo>
                  <a:cubicBezTo>
                    <a:pt x="670" y="93"/>
                    <a:pt x="670" y="93"/>
                    <a:pt x="670" y="93"/>
                  </a:cubicBezTo>
                  <a:cubicBezTo>
                    <a:pt x="670" y="93"/>
                    <a:pt x="669" y="93"/>
                    <a:pt x="669" y="93"/>
                  </a:cubicBezTo>
                  <a:cubicBezTo>
                    <a:pt x="669" y="93"/>
                    <a:pt x="669" y="93"/>
                    <a:pt x="669" y="93"/>
                  </a:cubicBezTo>
                  <a:cubicBezTo>
                    <a:pt x="669" y="93"/>
                    <a:pt x="669" y="93"/>
                    <a:pt x="669" y="93"/>
                  </a:cubicBezTo>
                  <a:cubicBezTo>
                    <a:pt x="668" y="93"/>
                    <a:pt x="668" y="93"/>
                    <a:pt x="668" y="92"/>
                  </a:cubicBezTo>
                  <a:cubicBezTo>
                    <a:pt x="668" y="92"/>
                    <a:pt x="668" y="92"/>
                    <a:pt x="668" y="92"/>
                  </a:cubicBezTo>
                  <a:cubicBezTo>
                    <a:pt x="667" y="92"/>
                    <a:pt x="667" y="92"/>
                    <a:pt x="667" y="92"/>
                  </a:cubicBezTo>
                  <a:cubicBezTo>
                    <a:pt x="667" y="92"/>
                    <a:pt x="667" y="92"/>
                    <a:pt x="667" y="92"/>
                  </a:cubicBezTo>
                  <a:cubicBezTo>
                    <a:pt x="666" y="92"/>
                    <a:pt x="666" y="92"/>
                    <a:pt x="666" y="92"/>
                  </a:cubicBezTo>
                  <a:cubicBezTo>
                    <a:pt x="666" y="92"/>
                    <a:pt x="666" y="92"/>
                    <a:pt x="666" y="92"/>
                  </a:cubicBezTo>
                  <a:cubicBezTo>
                    <a:pt x="665" y="92"/>
                    <a:pt x="665" y="92"/>
                    <a:pt x="665" y="91"/>
                  </a:cubicBezTo>
                  <a:cubicBezTo>
                    <a:pt x="665" y="91"/>
                    <a:pt x="665" y="91"/>
                    <a:pt x="665" y="91"/>
                  </a:cubicBezTo>
                  <a:cubicBezTo>
                    <a:pt x="665" y="91"/>
                    <a:pt x="664" y="91"/>
                    <a:pt x="664" y="91"/>
                  </a:cubicBezTo>
                  <a:cubicBezTo>
                    <a:pt x="664" y="91"/>
                    <a:pt x="664" y="91"/>
                    <a:pt x="664" y="91"/>
                  </a:cubicBezTo>
                  <a:cubicBezTo>
                    <a:pt x="664" y="91"/>
                    <a:pt x="664" y="91"/>
                    <a:pt x="663" y="91"/>
                  </a:cubicBezTo>
                  <a:cubicBezTo>
                    <a:pt x="663" y="91"/>
                    <a:pt x="663" y="91"/>
                    <a:pt x="663" y="91"/>
                  </a:cubicBezTo>
                  <a:cubicBezTo>
                    <a:pt x="663" y="91"/>
                    <a:pt x="663" y="91"/>
                    <a:pt x="663" y="90"/>
                  </a:cubicBezTo>
                  <a:cubicBezTo>
                    <a:pt x="663" y="90"/>
                    <a:pt x="663" y="90"/>
                    <a:pt x="663" y="90"/>
                  </a:cubicBezTo>
                  <a:cubicBezTo>
                    <a:pt x="663" y="90"/>
                    <a:pt x="662" y="90"/>
                    <a:pt x="662" y="90"/>
                  </a:cubicBezTo>
                  <a:cubicBezTo>
                    <a:pt x="662" y="90"/>
                    <a:pt x="662" y="90"/>
                    <a:pt x="662" y="90"/>
                  </a:cubicBezTo>
                  <a:cubicBezTo>
                    <a:pt x="662" y="90"/>
                    <a:pt x="662" y="90"/>
                    <a:pt x="662" y="90"/>
                  </a:cubicBezTo>
                  <a:cubicBezTo>
                    <a:pt x="662" y="90"/>
                    <a:pt x="662" y="90"/>
                    <a:pt x="662" y="90"/>
                  </a:cubicBezTo>
                  <a:cubicBezTo>
                    <a:pt x="662" y="89"/>
                    <a:pt x="661" y="90"/>
                    <a:pt x="661" y="89"/>
                  </a:cubicBezTo>
                  <a:cubicBezTo>
                    <a:pt x="661" y="89"/>
                    <a:pt x="661" y="89"/>
                    <a:pt x="661" y="89"/>
                  </a:cubicBezTo>
                  <a:cubicBezTo>
                    <a:pt x="661" y="89"/>
                    <a:pt x="661" y="89"/>
                    <a:pt x="661" y="89"/>
                  </a:cubicBezTo>
                  <a:cubicBezTo>
                    <a:pt x="661" y="89"/>
                    <a:pt x="661" y="89"/>
                    <a:pt x="661" y="89"/>
                  </a:cubicBezTo>
                  <a:cubicBezTo>
                    <a:pt x="660" y="89"/>
                    <a:pt x="660" y="89"/>
                    <a:pt x="660" y="88"/>
                  </a:cubicBezTo>
                  <a:cubicBezTo>
                    <a:pt x="660" y="88"/>
                    <a:pt x="660" y="88"/>
                    <a:pt x="660" y="88"/>
                  </a:cubicBezTo>
                  <a:cubicBezTo>
                    <a:pt x="659" y="88"/>
                    <a:pt x="659" y="88"/>
                    <a:pt x="659" y="88"/>
                  </a:cubicBezTo>
                  <a:cubicBezTo>
                    <a:pt x="659" y="88"/>
                    <a:pt x="659" y="88"/>
                    <a:pt x="659" y="88"/>
                  </a:cubicBezTo>
                  <a:cubicBezTo>
                    <a:pt x="659" y="88"/>
                    <a:pt x="659" y="87"/>
                    <a:pt x="658" y="88"/>
                  </a:cubicBezTo>
                  <a:cubicBezTo>
                    <a:pt x="658" y="91"/>
                    <a:pt x="658" y="95"/>
                    <a:pt x="658" y="99"/>
                  </a:cubicBezTo>
                  <a:cubicBezTo>
                    <a:pt x="658" y="99"/>
                    <a:pt x="658" y="99"/>
                    <a:pt x="659" y="99"/>
                  </a:cubicBezTo>
                  <a:cubicBezTo>
                    <a:pt x="659" y="99"/>
                    <a:pt x="659" y="99"/>
                    <a:pt x="659" y="99"/>
                  </a:cubicBezTo>
                  <a:cubicBezTo>
                    <a:pt x="659" y="100"/>
                    <a:pt x="659" y="100"/>
                    <a:pt x="659" y="100"/>
                  </a:cubicBezTo>
                  <a:cubicBezTo>
                    <a:pt x="659" y="100"/>
                    <a:pt x="659" y="100"/>
                    <a:pt x="659" y="100"/>
                  </a:cubicBezTo>
                  <a:cubicBezTo>
                    <a:pt x="659" y="100"/>
                    <a:pt x="660" y="100"/>
                    <a:pt x="660" y="100"/>
                  </a:cubicBezTo>
                  <a:cubicBezTo>
                    <a:pt x="660" y="100"/>
                    <a:pt x="660" y="100"/>
                    <a:pt x="660" y="100"/>
                  </a:cubicBezTo>
                  <a:cubicBezTo>
                    <a:pt x="660" y="100"/>
                    <a:pt x="661" y="100"/>
                    <a:pt x="661" y="100"/>
                  </a:cubicBezTo>
                  <a:cubicBezTo>
                    <a:pt x="661" y="100"/>
                    <a:pt x="661" y="100"/>
                    <a:pt x="661" y="100"/>
                  </a:cubicBezTo>
                  <a:cubicBezTo>
                    <a:pt x="661" y="101"/>
                    <a:pt x="661" y="101"/>
                    <a:pt x="661" y="101"/>
                  </a:cubicBezTo>
                  <a:cubicBezTo>
                    <a:pt x="661" y="101"/>
                    <a:pt x="662" y="101"/>
                    <a:pt x="662" y="101"/>
                  </a:cubicBezTo>
                  <a:cubicBezTo>
                    <a:pt x="662" y="101"/>
                    <a:pt x="662" y="101"/>
                    <a:pt x="662" y="101"/>
                  </a:cubicBezTo>
                  <a:cubicBezTo>
                    <a:pt x="662" y="101"/>
                    <a:pt x="662" y="101"/>
                    <a:pt x="662" y="101"/>
                  </a:cubicBezTo>
                  <a:cubicBezTo>
                    <a:pt x="663" y="101"/>
                    <a:pt x="663" y="101"/>
                    <a:pt x="663" y="101"/>
                  </a:cubicBezTo>
                  <a:cubicBezTo>
                    <a:pt x="663" y="101"/>
                    <a:pt x="663" y="101"/>
                    <a:pt x="663" y="101"/>
                  </a:cubicBezTo>
                  <a:cubicBezTo>
                    <a:pt x="663" y="101"/>
                    <a:pt x="663" y="101"/>
                    <a:pt x="663" y="101"/>
                  </a:cubicBezTo>
                  <a:cubicBezTo>
                    <a:pt x="663" y="101"/>
                    <a:pt x="663" y="101"/>
                    <a:pt x="663" y="101"/>
                  </a:cubicBezTo>
                  <a:cubicBezTo>
                    <a:pt x="664" y="102"/>
                    <a:pt x="664" y="102"/>
                    <a:pt x="665" y="102"/>
                  </a:cubicBezTo>
                  <a:cubicBezTo>
                    <a:pt x="665" y="102"/>
                    <a:pt x="665" y="102"/>
                    <a:pt x="665" y="102"/>
                  </a:cubicBezTo>
                  <a:cubicBezTo>
                    <a:pt x="665" y="102"/>
                    <a:pt x="665" y="102"/>
                    <a:pt x="665" y="102"/>
                  </a:cubicBezTo>
                  <a:cubicBezTo>
                    <a:pt x="665" y="102"/>
                    <a:pt x="666" y="102"/>
                    <a:pt x="666" y="102"/>
                  </a:cubicBezTo>
                  <a:cubicBezTo>
                    <a:pt x="666" y="102"/>
                    <a:pt x="666" y="102"/>
                    <a:pt x="666" y="102"/>
                  </a:cubicBezTo>
                  <a:cubicBezTo>
                    <a:pt x="666" y="102"/>
                    <a:pt x="666" y="102"/>
                    <a:pt x="666" y="102"/>
                  </a:cubicBezTo>
                  <a:cubicBezTo>
                    <a:pt x="667" y="102"/>
                    <a:pt x="667" y="102"/>
                    <a:pt x="667" y="103"/>
                  </a:cubicBezTo>
                  <a:cubicBezTo>
                    <a:pt x="668" y="102"/>
                    <a:pt x="668" y="102"/>
                    <a:pt x="668" y="102"/>
                  </a:cubicBezTo>
                  <a:cubicBezTo>
                    <a:pt x="668" y="103"/>
                    <a:pt x="668" y="103"/>
                    <a:pt x="668" y="103"/>
                  </a:cubicBezTo>
                  <a:cubicBezTo>
                    <a:pt x="668" y="103"/>
                    <a:pt x="669" y="103"/>
                    <a:pt x="669" y="103"/>
                  </a:cubicBezTo>
                  <a:cubicBezTo>
                    <a:pt x="670" y="103"/>
                    <a:pt x="670" y="103"/>
                    <a:pt x="670" y="103"/>
                  </a:cubicBezTo>
                  <a:cubicBezTo>
                    <a:pt x="671" y="103"/>
                    <a:pt x="672" y="103"/>
                    <a:pt x="673" y="103"/>
                  </a:cubicBezTo>
                  <a:cubicBezTo>
                    <a:pt x="674" y="103"/>
                    <a:pt x="675" y="103"/>
                    <a:pt x="676" y="103"/>
                  </a:cubicBezTo>
                  <a:cubicBezTo>
                    <a:pt x="678" y="103"/>
                    <a:pt x="679" y="103"/>
                    <a:pt x="680" y="103"/>
                  </a:cubicBezTo>
                  <a:cubicBezTo>
                    <a:pt x="680" y="103"/>
                    <a:pt x="680" y="103"/>
                    <a:pt x="681" y="103"/>
                  </a:cubicBezTo>
                  <a:cubicBezTo>
                    <a:pt x="681" y="103"/>
                    <a:pt x="682" y="103"/>
                    <a:pt x="682" y="103"/>
                  </a:cubicBezTo>
                  <a:cubicBezTo>
                    <a:pt x="682" y="102"/>
                    <a:pt x="682" y="102"/>
                    <a:pt x="682" y="102"/>
                  </a:cubicBezTo>
                  <a:cubicBezTo>
                    <a:pt x="683" y="103"/>
                    <a:pt x="683" y="103"/>
                    <a:pt x="683" y="103"/>
                  </a:cubicBezTo>
                  <a:cubicBezTo>
                    <a:pt x="683" y="102"/>
                    <a:pt x="684" y="103"/>
                    <a:pt x="684" y="102"/>
                  </a:cubicBezTo>
                  <a:cubicBezTo>
                    <a:pt x="684" y="102"/>
                    <a:pt x="684" y="102"/>
                    <a:pt x="684" y="102"/>
                  </a:cubicBezTo>
                  <a:cubicBezTo>
                    <a:pt x="684" y="102"/>
                    <a:pt x="685" y="102"/>
                    <a:pt x="685" y="102"/>
                  </a:cubicBezTo>
                  <a:cubicBezTo>
                    <a:pt x="685" y="102"/>
                    <a:pt x="685" y="102"/>
                    <a:pt x="685" y="102"/>
                  </a:cubicBezTo>
                  <a:cubicBezTo>
                    <a:pt x="685" y="102"/>
                    <a:pt x="685" y="102"/>
                    <a:pt x="685" y="102"/>
                  </a:cubicBezTo>
                  <a:cubicBezTo>
                    <a:pt x="686" y="102"/>
                    <a:pt x="686" y="102"/>
                    <a:pt x="686" y="102"/>
                  </a:cubicBezTo>
                  <a:cubicBezTo>
                    <a:pt x="686" y="101"/>
                    <a:pt x="686" y="101"/>
                    <a:pt x="686" y="101"/>
                  </a:cubicBezTo>
                  <a:cubicBezTo>
                    <a:pt x="686" y="101"/>
                    <a:pt x="686" y="101"/>
                    <a:pt x="686" y="101"/>
                  </a:cubicBezTo>
                  <a:cubicBezTo>
                    <a:pt x="687" y="101"/>
                    <a:pt x="687" y="101"/>
                    <a:pt x="687" y="101"/>
                  </a:cubicBezTo>
                  <a:cubicBezTo>
                    <a:pt x="687" y="101"/>
                    <a:pt x="687" y="101"/>
                    <a:pt x="687" y="101"/>
                  </a:cubicBezTo>
                  <a:cubicBezTo>
                    <a:pt x="687" y="101"/>
                    <a:pt x="688" y="101"/>
                    <a:pt x="688" y="101"/>
                  </a:cubicBezTo>
                  <a:cubicBezTo>
                    <a:pt x="688" y="101"/>
                    <a:pt x="688" y="101"/>
                    <a:pt x="688" y="101"/>
                  </a:cubicBezTo>
                  <a:cubicBezTo>
                    <a:pt x="688" y="101"/>
                    <a:pt x="688" y="101"/>
                    <a:pt x="688" y="101"/>
                  </a:cubicBezTo>
                  <a:cubicBezTo>
                    <a:pt x="688" y="101"/>
                    <a:pt x="689" y="101"/>
                    <a:pt x="689" y="100"/>
                  </a:cubicBezTo>
                  <a:cubicBezTo>
                    <a:pt x="689" y="100"/>
                    <a:pt x="689" y="100"/>
                    <a:pt x="689" y="100"/>
                  </a:cubicBezTo>
                  <a:cubicBezTo>
                    <a:pt x="689" y="100"/>
                    <a:pt x="689" y="100"/>
                    <a:pt x="690" y="100"/>
                  </a:cubicBezTo>
                  <a:cubicBezTo>
                    <a:pt x="689" y="100"/>
                    <a:pt x="689" y="100"/>
                    <a:pt x="689" y="100"/>
                  </a:cubicBezTo>
                  <a:cubicBezTo>
                    <a:pt x="690" y="100"/>
                    <a:pt x="690" y="100"/>
                    <a:pt x="690" y="100"/>
                  </a:cubicBezTo>
                  <a:cubicBezTo>
                    <a:pt x="690" y="100"/>
                    <a:pt x="690" y="100"/>
                    <a:pt x="690" y="100"/>
                  </a:cubicBezTo>
                  <a:cubicBezTo>
                    <a:pt x="690" y="100"/>
                    <a:pt x="690" y="100"/>
                    <a:pt x="690" y="100"/>
                  </a:cubicBezTo>
                  <a:cubicBezTo>
                    <a:pt x="690" y="100"/>
                    <a:pt x="690" y="100"/>
                    <a:pt x="691" y="99"/>
                  </a:cubicBezTo>
                  <a:cubicBezTo>
                    <a:pt x="691" y="99"/>
                    <a:pt x="691" y="99"/>
                    <a:pt x="691" y="99"/>
                  </a:cubicBezTo>
                  <a:cubicBezTo>
                    <a:pt x="691" y="99"/>
                    <a:pt x="691" y="99"/>
                    <a:pt x="691" y="99"/>
                  </a:cubicBezTo>
                  <a:cubicBezTo>
                    <a:pt x="691" y="99"/>
                    <a:pt x="691" y="99"/>
                    <a:pt x="691" y="99"/>
                  </a:cubicBezTo>
                  <a:cubicBezTo>
                    <a:pt x="691" y="99"/>
                    <a:pt x="692" y="99"/>
                    <a:pt x="692" y="99"/>
                  </a:cubicBezTo>
                  <a:cubicBezTo>
                    <a:pt x="692" y="99"/>
                    <a:pt x="692" y="99"/>
                    <a:pt x="692" y="99"/>
                  </a:cubicBezTo>
                  <a:cubicBezTo>
                    <a:pt x="692" y="99"/>
                    <a:pt x="692" y="99"/>
                    <a:pt x="692" y="98"/>
                  </a:cubicBezTo>
                  <a:cubicBezTo>
                    <a:pt x="692" y="98"/>
                    <a:pt x="692" y="98"/>
                    <a:pt x="692" y="98"/>
                  </a:cubicBezTo>
                  <a:cubicBezTo>
                    <a:pt x="692" y="98"/>
                    <a:pt x="693" y="98"/>
                    <a:pt x="693" y="98"/>
                  </a:cubicBezTo>
                  <a:cubicBezTo>
                    <a:pt x="693" y="98"/>
                    <a:pt x="693" y="98"/>
                    <a:pt x="693" y="98"/>
                  </a:cubicBezTo>
                  <a:cubicBezTo>
                    <a:pt x="693" y="98"/>
                    <a:pt x="693" y="98"/>
                    <a:pt x="693" y="98"/>
                  </a:cubicBezTo>
                  <a:cubicBezTo>
                    <a:pt x="693" y="98"/>
                    <a:pt x="693" y="98"/>
                    <a:pt x="693" y="98"/>
                  </a:cubicBezTo>
                  <a:cubicBezTo>
                    <a:pt x="693" y="97"/>
                    <a:pt x="694" y="97"/>
                    <a:pt x="694" y="97"/>
                  </a:cubicBezTo>
                  <a:cubicBezTo>
                    <a:pt x="694" y="97"/>
                    <a:pt x="694" y="97"/>
                    <a:pt x="694" y="97"/>
                  </a:cubicBezTo>
                  <a:cubicBezTo>
                    <a:pt x="695" y="97"/>
                    <a:pt x="695" y="96"/>
                    <a:pt x="695" y="96"/>
                  </a:cubicBezTo>
                  <a:cubicBezTo>
                    <a:pt x="695" y="96"/>
                    <a:pt x="695" y="96"/>
                    <a:pt x="695" y="96"/>
                  </a:cubicBezTo>
                  <a:cubicBezTo>
                    <a:pt x="695" y="96"/>
                    <a:pt x="695" y="96"/>
                    <a:pt x="695" y="96"/>
                  </a:cubicBezTo>
                  <a:cubicBezTo>
                    <a:pt x="695" y="96"/>
                    <a:pt x="695" y="96"/>
                    <a:pt x="695" y="96"/>
                  </a:cubicBezTo>
                  <a:cubicBezTo>
                    <a:pt x="695" y="96"/>
                    <a:pt x="695" y="95"/>
                    <a:pt x="696" y="95"/>
                  </a:cubicBezTo>
                  <a:cubicBezTo>
                    <a:pt x="696" y="95"/>
                    <a:pt x="696" y="95"/>
                    <a:pt x="696" y="95"/>
                  </a:cubicBezTo>
                  <a:cubicBezTo>
                    <a:pt x="696" y="95"/>
                    <a:pt x="696" y="95"/>
                    <a:pt x="696" y="95"/>
                  </a:cubicBezTo>
                  <a:cubicBezTo>
                    <a:pt x="696" y="95"/>
                    <a:pt x="696" y="95"/>
                    <a:pt x="696" y="95"/>
                  </a:cubicBezTo>
                  <a:cubicBezTo>
                    <a:pt x="696" y="94"/>
                    <a:pt x="696" y="94"/>
                    <a:pt x="696" y="94"/>
                  </a:cubicBezTo>
                  <a:cubicBezTo>
                    <a:pt x="696" y="94"/>
                    <a:pt x="696" y="94"/>
                    <a:pt x="696" y="94"/>
                  </a:cubicBezTo>
                  <a:cubicBezTo>
                    <a:pt x="697" y="94"/>
                    <a:pt x="697" y="94"/>
                    <a:pt x="697" y="94"/>
                  </a:cubicBezTo>
                  <a:cubicBezTo>
                    <a:pt x="697" y="94"/>
                    <a:pt x="697" y="94"/>
                    <a:pt x="697" y="94"/>
                  </a:cubicBezTo>
                  <a:cubicBezTo>
                    <a:pt x="697" y="93"/>
                    <a:pt x="697" y="93"/>
                    <a:pt x="697" y="93"/>
                  </a:cubicBezTo>
                  <a:cubicBezTo>
                    <a:pt x="697" y="93"/>
                    <a:pt x="697" y="93"/>
                    <a:pt x="697" y="93"/>
                  </a:cubicBezTo>
                  <a:cubicBezTo>
                    <a:pt x="697" y="93"/>
                    <a:pt x="697" y="93"/>
                    <a:pt x="698" y="92"/>
                  </a:cubicBezTo>
                  <a:cubicBezTo>
                    <a:pt x="698" y="92"/>
                    <a:pt x="698" y="92"/>
                    <a:pt x="698" y="92"/>
                  </a:cubicBezTo>
                  <a:cubicBezTo>
                    <a:pt x="698" y="92"/>
                    <a:pt x="698" y="92"/>
                    <a:pt x="698" y="92"/>
                  </a:cubicBezTo>
                  <a:cubicBezTo>
                    <a:pt x="698" y="92"/>
                    <a:pt x="698" y="92"/>
                    <a:pt x="698" y="92"/>
                  </a:cubicBezTo>
                  <a:cubicBezTo>
                    <a:pt x="698" y="92"/>
                    <a:pt x="698" y="91"/>
                    <a:pt x="698" y="91"/>
                  </a:cubicBezTo>
                  <a:cubicBezTo>
                    <a:pt x="698" y="91"/>
                    <a:pt x="698" y="91"/>
                    <a:pt x="698" y="91"/>
                  </a:cubicBezTo>
                  <a:cubicBezTo>
                    <a:pt x="698" y="91"/>
                    <a:pt x="698" y="91"/>
                    <a:pt x="699" y="90"/>
                  </a:cubicBezTo>
                  <a:cubicBezTo>
                    <a:pt x="699" y="90"/>
                    <a:pt x="699" y="90"/>
                    <a:pt x="699" y="90"/>
                  </a:cubicBezTo>
                  <a:cubicBezTo>
                    <a:pt x="699" y="90"/>
                    <a:pt x="699" y="90"/>
                    <a:pt x="699" y="90"/>
                  </a:cubicBezTo>
                  <a:cubicBezTo>
                    <a:pt x="699" y="90"/>
                    <a:pt x="699" y="89"/>
                    <a:pt x="699" y="89"/>
                  </a:cubicBezTo>
                  <a:cubicBezTo>
                    <a:pt x="699" y="89"/>
                    <a:pt x="699" y="89"/>
                    <a:pt x="699" y="89"/>
                  </a:cubicBezTo>
                  <a:cubicBezTo>
                    <a:pt x="699" y="89"/>
                    <a:pt x="699" y="88"/>
                    <a:pt x="699" y="88"/>
                  </a:cubicBezTo>
                  <a:cubicBezTo>
                    <a:pt x="699" y="88"/>
                    <a:pt x="699" y="88"/>
                    <a:pt x="699" y="88"/>
                  </a:cubicBezTo>
                  <a:cubicBezTo>
                    <a:pt x="700" y="87"/>
                    <a:pt x="699" y="86"/>
                    <a:pt x="700" y="86"/>
                  </a:cubicBezTo>
                  <a:cubicBezTo>
                    <a:pt x="700" y="85"/>
                    <a:pt x="700" y="85"/>
                    <a:pt x="700" y="85"/>
                  </a:cubicBezTo>
                  <a:cubicBezTo>
                    <a:pt x="700" y="84"/>
                    <a:pt x="700" y="83"/>
                    <a:pt x="700" y="82"/>
                  </a:cubicBezTo>
                  <a:cubicBezTo>
                    <a:pt x="700" y="82"/>
                    <a:pt x="699" y="81"/>
                    <a:pt x="700" y="81"/>
                  </a:cubicBezTo>
                  <a:cubicBezTo>
                    <a:pt x="699" y="81"/>
                    <a:pt x="700" y="80"/>
                    <a:pt x="699" y="79"/>
                  </a:cubicBezTo>
                  <a:cubicBezTo>
                    <a:pt x="699" y="79"/>
                    <a:pt x="699" y="79"/>
                    <a:pt x="699" y="79"/>
                  </a:cubicBezTo>
                  <a:cubicBezTo>
                    <a:pt x="699" y="79"/>
                    <a:pt x="699" y="79"/>
                    <a:pt x="699" y="79"/>
                  </a:cubicBezTo>
                  <a:cubicBezTo>
                    <a:pt x="699" y="79"/>
                    <a:pt x="699" y="78"/>
                    <a:pt x="699" y="78"/>
                  </a:cubicBezTo>
                  <a:cubicBezTo>
                    <a:pt x="699" y="78"/>
                    <a:pt x="699" y="78"/>
                    <a:pt x="699" y="78"/>
                  </a:cubicBezTo>
                  <a:cubicBezTo>
                    <a:pt x="699" y="78"/>
                    <a:pt x="699" y="77"/>
                    <a:pt x="699" y="77"/>
                  </a:cubicBezTo>
                  <a:cubicBezTo>
                    <a:pt x="699" y="77"/>
                    <a:pt x="699" y="77"/>
                    <a:pt x="699" y="77"/>
                  </a:cubicBezTo>
                  <a:cubicBezTo>
                    <a:pt x="698" y="77"/>
                    <a:pt x="698" y="76"/>
                    <a:pt x="698" y="76"/>
                  </a:cubicBezTo>
                  <a:cubicBezTo>
                    <a:pt x="698" y="76"/>
                    <a:pt x="698" y="76"/>
                    <a:pt x="698" y="76"/>
                  </a:cubicBezTo>
                  <a:cubicBezTo>
                    <a:pt x="698" y="76"/>
                    <a:pt x="698" y="76"/>
                    <a:pt x="698" y="76"/>
                  </a:cubicBezTo>
                  <a:cubicBezTo>
                    <a:pt x="698" y="76"/>
                    <a:pt x="698" y="76"/>
                    <a:pt x="698" y="75"/>
                  </a:cubicBezTo>
                  <a:cubicBezTo>
                    <a:pt x="698" y="75"/>
                    <a:pt x="698" y="75"/>
                    <a:pt x="698" y="75"/>
                  </a:cubicBezTo>
                  <a:cubicBezTo>
                    <a:pt x="698" y="75"/>
                    <a:pt x="698" y="75"/>
                    <a:pt x="698" y="75"/>
                  </a:cubicBezTo>
                  <a:cubicBezTo>
                    <a:pt x="698" y="75"/>
                    <a:pt x="698" y="75"/>
                    <a:pt x="698" y="75"/>
                  </a:cubicBezTo>
                  <a:cubicBezTo>
                    <a:pt x="698" y="75"/>
                    <a:pt x="698" y="75"/>
                    <a:pt x="698" y="75"/>
                  </a:cubicBezTo>
                  <a:cubicBezTo>
                    <a:pt x="697" y="75"/>
                    <a:pt x="697" y="74"/>
                    <a:pt x="697" y="74"/>
                  </a:cubicBezTo>
                  <a:cubicBezTo>
                    <a:pt x="697" y="74"/>
                    <a:pt x="697" y="74"/>
                    <a:pt x="697" y="74"/>
                  </a:cubicBezTo>
                  <a:cubicBezTo>
                    <a:pt x="697" y="74"/>
                    <a:pt x="697" y="73"/>
                    <a:pt x="697" y="73"/>
                  </a:cubicBezTo>
                  <a:cubicBezTo>
                    <a:pt x="697" y="73"/>
                    <a:pt x="697" y="73"/>
                    <a:pt x="697" y="73"/>
                  </a:cubicBezTo>
                  <a:cubicBezTo>
                    <a:pt x="697" y="73"/>
                    <a:pt x="697" y="73"/>
                    <a:pt x="696" y="73"/>
                  </a:cubicBezTo>
                  <a:cubicBezTo>
                    <a:pt x="696" y="73"/>
                    <a:pt x="696" y="73"/>
                    <a:pt x="696" y="73"/>
                  </a:cubicBezTo>
                  <a:cubicBezTo>
                    <a:pt x="696" y="73"/>
                    <a:pt x="696" y="73"/>
                    <a:pt x="696" y="73"/>
                  </a:cubicBezTo>
                  <a:cubicBezTo>
                    <a:pt x="696" y="73"/>
                    <a:pt x="696" y="73"/>
                    <a:pt x="696" y="73"/>
                  </a:cubicBezTo>
                  <a:cubicBezTo>
                    <a:pt x="695" y="72"/>
                    <a:pt x="695" y="71"/>
                    <a:pt x="694" y="70"/>
                  </a:cubicBezTo>
                  <a:cubicBezTo>
                    <a:pt x="694" y="70"/>
                    <a:pt x="694" y="70"/>
                    <a:pt x="694" y="70"/>
                  </a:cubicBezTo>
                  <a:cubicBezTo>
                    <a:pt x="694" y="70"/>
                    <a:pt x="693" y="70"/>
                    <a:pt x="693" y="70"/>
                  </a:cubicBezTo>
                  <a:cubicBezTo>
                    <a:pt x="693" y="70"/>
                    <a:pt x="693" y="70"/>
                    <a:pt x="693" y="70"/>
                  </a:cubicBezTo>
                  <a:cubicBezTo>
                    <a:pt x="693" y="70"/>
                    <a:pt x="693" y="70"/>
                    <a:pt x="693" y="70"/>
                  </a:cubicBezTo>
                  <a:cubicBezTo>
                    <a:pt x="693" y="70"/>
                    <a:pt x="693" y="70"/>
                    <a:pt x="693" y="70"/>
                  </a:cubicBezTo>
                  <a:cubicBezTo>
                    <a:pt x="693" y="69"/>
                    <a:pt x="692" y="69"/>
                    <a:pt x="692" y="69"/>
                  </a:cubicBezTo>
                  <a:cubicBezTo>
                    <a:pt x="692" y="69"/>
                    <a:pt x="692" y="69"/>
                    <a:pt x="692" y="69"/>
                  </a:cubicBezTo>
                  <a:cubicBezTo>
                    <a:pt x="692" y="69"/>
                    <a:pt x="692" y="69"/>
                    <a:pt x="692" y="69"/>
                  </a:cubicBezTo>
                  <a:cubicBezTo>
                    <a:pt x="692" y="69"/>
                    <a:pt x="692" y="69"/>
                    <a:pt x="692" y="69"/>
                  </a:cubicBezTo>
                  <a:cubicBezTo>
                    <a:pt x="691" y="68"/>
                    <a:pt x="691" y="68"/>
                    <a:pt x="691" y="68"/>
                  </a:cubicBezTo>
                  <a:cubicBezTo>
                    <a:pt x="691" y="68"/>
                    <a:pt x="691" y="68"/>
                    <a:pt x="691" y="68"/>
                  </a:cubicBezTo>
                  <a:cubicBezTo>
                    <a:pt x="691" y="68"/>
                    <a:pt x="691" y="68"/>
                    <a:pt x="690" y="68"/>
                  </a:cubicBezTo>
                  <a:cubicBezTo>
                    <a:pt x="691" y="68"/>
                    <a:pt x="691" y="68"/>
                    <a:pt x="691" y="68"/>
                  </a:cubicBezTo>
                  <a:cubicBezTo>
                    <a:pt x="690" y="68"/>
                    <a:pt x="690" y="68"/>
                    <a:pt x="690" y="67"/>
                  </a:cubicBezTo>
                  <a:cubicBezTo>
                    <a:pt x="690" y="67"/>
                    <a:pt x="690" y="67"/>
                    <a:pt x="690" y="67"/>
                  </a:cubicBezTo>
                  <a:cubicBezTo>
                    <a:pt x="690" y="67"/>
                    <a:pt x="689" y="67"/>
                    <a:pt x="689" y="67"/>
                  </a:cubicBezTo>
                  <a:cubicBezTo>
                    <a:pt x="689" y="67"/>
                    <a:pt x="689" y="67"/>
                    <a:pt x="689" y="67"/>
                  </a:cubicBezTo>
                  <a:cubicBezTo>
                    <a:pt x="689" y="67"/>
                    <a:pt x="689" y="67"/>
                    <a:pt x="689" y="67"/>
                  </a:cubicBezTo>
                  <a:cubicBezTo>
                    <a:pt x="689" y="67"/>
                    <a:pt x="689" y="67"/>
                    <a:pt x="689" y="67"/>
                  </a:cubicBezTo>
                  <a:cubicBezTo>
                    <a:pt x="689" y="66"/>
                    <a:pt x="688" y="67"/>
                    <a:pt x="688" y="66"/>
                  </a:cubicBezTo>
                  <a:cubicBezTo>
                    <a:pt x="688" y="66"/>
                    <a:pt x="688" y="66"/>
                    <a:pt x="688" y="66"/>
                  </a:cubicBezTo>
                  <a:cubicBezTo>
                    <a:pt x="688" y="66"/>
                    <a:pt x="688" y="66"/>
                    <a:pt x="687" y="66"/>
                  </a:cubicBezTo>
                  <a:cubicBezTo>
                    <a:pt x="687" y="66"/>
                    <a:pt x="687" y="66"/>
                    <a:pt x="687" y="66"/>
                  </a:cubicBezTo>
                  <a:cubicBezTo>
                    <a:pt x="687" y="66"/>
                    <a:pt x="687" y="66"/>
                    <a:pt x="687" y="66"/>
                  </a:cubicBezTo>
                  <a:cubicBezTo>
                    <a:pt x="687" y="66"/>
                    <a:pt x="687" y="66"/>
                    <a:pt x="687" y="66"/>
                  </a:cubicBezTo>
                  <a:cubicBezTo>
                    <a:pt x="687" y="65"/>
                    <a:pt x="686" y="66"/>
                    <a:pt x="686" y="65"/>
                  </a:cubicBezTo>
                  <a:cubicBezTo>
                    <a:pt x="686" y="65"/>
                    <a:pt x="686" y="65"/>
                    <a:pt x="686" y="65"/>
                  </a:cubicBezTo>
                  <a:cubicBezTo>
                    <a:pt x="686" y="65"/>
                    <a:pt x="686" y="65"/>
                    <a:pt x="685" y="65"/>
                  </a:cubicBezTo>
                  <a:cubicBezTo>
                    <a:pt x="685" y="65"/>
                    <a:pt x="685" y="65"/>
                    <a:pt x="685" y="65"/>
                  </a:cubicBezTo>
                  <a:cubicBezTo>
                    <a:pt x="685" y="65"/>
                    <a:pt x="685" y="65"/>
                    <a:pt x="685" y="65"/>
                  </a:cubicBezTo>
                  <a:cubicBezTo>
                    <a:pt x="685" y="65"/>
                    <a:pt x="685" y="65"/>
                    <a:pt x="685" y="65"/>
                  </a:cubicBezTo>
                  <a:cubicBezTo>
                    <a:pt x="684" y="64"/>
                    <a:pt x="684" y="64"/>
                    <a:pt x="684" y="64"/>
                  </a:cubicBezTo>
                  <a:cubicBezTo>
                    <a:pt x="684" y="64"/>
                    <a:pt x="684" y="64"/>
                    <a:pt x="684" y="64"/>
                  </a:cubicBezTo>
                  <a:cubicBezTo>
                    <a:pt x="684" y="64"/>
                    <a:pt x="683" y="64"/>
                    <a:pt x="683" y="64"/>
                  </a:cubicBezTo>
                  <a:cubicBezTo>
                    <a:pt x="683" y="64"/>
                    <a:pt x="683" y="64"/>
                    <a:pt x="683" y="64"/>
                  </a:cubicBezTo>
                  <a:cubicBezTo>
                    <a:pt x="683" y="64"/>
                    <a:pt x="683" y="64"/>
                    <a:pt x="683" y="64"/>
                  </a:cubicBezTo>
                  <a:cubicBezTo>
                    <a:pt x="683" y="64"/>
                    <a:pt x="682" y="64"/>
                    <a:pt x="682" y="64"/>
                  </a:cubicBezTo>
                  <a:cubicBezTo>
                    <a:pt x="682" y="64"/>
                    <a:pt x="682" y="64"/>
                    <a:pt x="682" y="64"/>
                  </a:cubicBezTo>
                  <a:cubicBezTo>
                    <a:pt x="682" y="63"/>
                    <a:pt x="682" y="63"/>
                    <a:pt x="681" y="63"/>
                  </a:cubicBezTo>
                  <a:cubicBezTo>
                    <a:pt x="682" y="63"/>
                    <a:pt x="682" y="63"/>
                    <a:pt x="682" y="63"/>
                  </a:cubicBezTo>
                  <a:cubicBezTo>
                    <a:pt x="681" y="63"/>
                    <a:pt x="681" y="63"/>
                    <a:pt x="681" y="63"/>
                  </a:cubicBezTo>
                  <a:cubicBezTo>
                    <a:pt x="681" y="63"/>
                    <a:pt x="681" y="63"/>
                    <a:pt x="681" y="63"/>
                  </a:cubicBezTo>
                  <a:cubicBezTo>
                    <a:pt x="680" y="63"/>
                    <a:pt x="680" y="63"/>
                    <a:pt x="680" y="63"/>
                  </a:cubicBezTo>
                  <a:cubicBezTo>
                    <a:pt x="680" y="63"/>
                    <a:pt x="680" y="63"/>
                    <a:pt x="680" y="63"/>
                  </a:cubicBezTo>
                  <a:close/>
                  <a:moveTo>
                    <a:pt x="310" y="98"/>
                  </a:moveTo>
                  <a:cubicBezTo>
                    <a:pt x="310" y="99"/>
                    <a:pt x="311" y="99"/>
                    <a:pt x="312" y="100"/>
                  </a:cubicBezTo>
                  <a:cubicBezTo>
                    <a:pt x="316" y="102"/>
                    <a:pt x="321" y="103"/>
                    <a:pt x="326" y="103"/>
                  </a:cubicBezTo>
                  <a:cubicBezTo>
                    <a:pt x="330" y="103"/>
                    <a:pt x="335" y="103"/>
                    <a:pt x="339" y="101"/>
                  </a:cubicBezTo>
                  <a:cubicBezTo>
                    <a:pt x="346" y="98"/>
                    <a:pt x="351" y="93"/>
                    <a:pt x="351" y="84"/>
                  </a:cubicBezTo>
                  <a:cubicBezTo>
                    <a:pt x="352" y="78"/>
                    <a:pt x="350" y="73"/>
                    <a:pt x="345" y="69"/>
                  </a:cubicBezTo>
                  <a:cubicBezTo>
                    <a:pt x="342" y="68"/>
                    <a:pt x="339" y="66"/>
                    <a:pt x="337" y="65"/>
                  </a:cubicBezTo>
                  <a:cubicBezTo>
                    <a:pt x="335" y="64"/>
                    <a:pt x="333" y="63"/>
                    <a:pt x="331" y="62"/>
                  </a:cubicBezTo>
                  <a:cubicBezTo>
                    <a:pt x="328" y="61"/>
                    <a:pt x="326" y="60"/>
                    <a:pt x="325" y="59"/>
                  </a:cubicBezTo>
                  <a:cubicBezTo>
                    <a:pt x="321" y="56"/>
                    <a:pt x="320" y="49"/>
                    <a:pt x="324" y="45"/>
                  </a:cubicBezTo>
                  <a:cubicBezTo>
                    <a:pt x="326" y="43"/>
                    <a:pt x="328" y="42"/>
                    <a:pt x="331" y="42"/>
                  </a:cubicBezTo>
                  <a:cubicBezTo>
                    <a:pt x="337" y="42"/>
                    <a:pt x="342" y="43"/>
                    <a:pt x="347" y="46"/>
                  </a:cubicBezTo>
                  <a:cubicBezTo>
                    <a:pt x="347" y="46"/>
                    <a:pt x="348" y="46"/>
                    <a:pt x="348" y="46"/>
                  </a:cubicBezTo>
                  <a:cubicBezTo>
                    <a:pt x="348" y="43"/>
                    <a:pt x="348" y="41"/>
                    <a:pt x="348" y="38"/>
                  </a:cubicBezTo>
                  <a:cubicBezTo>
                    <a:pt x="348" y="36"/>
                    <a:pt x="348" y="36"/>
                    <a:pt x="347" y="35"/>
                  </a:cubicBezTo>
                  <a:cubicBezTo>
                    <a:pt x="341" y="33"/>
                    <a:pt x="335" y="32"/>
                    <a:pt x="329" y="33"/>
                  </a:cubicBezTo>
                  <a:cubicBezTo>
                    <a:pt x="324" y="34"/>
                    <a:pt x="319" y="36"/>
                    <a:pt x="316" y="39"/>
                  </a:cubicBezTo>
                  <a:cubicBezTo>
                    <a:pt x="312" y="43"/>
                    <a:pt x="310" y="48"/>
                    <a:pt x="310" y="53"/>
                  </a:cubicBezTo>
                  <a:cubicBezTo>
                    <a:pt x="310" y="60"/>
                    <a:pt x="313" y="64"/>
                    <a:pt x="319" y="68"/>
                  </a:cubicBezTo>
                  <a:cubicBezTo>
                    <a:pt x="320" y="69"/>
                    <a:pt x="322" y="70"/>
                    <a:pt x="324" y="71"/>
                  </a:cubicBezTo>
                  <a:cubicBezTo>
                    <a:pt x="326" y="72"/>
                    <a:pt x="329" y="73"/>
                    <a:pt x="332" y="74"/>
                  </a:cubicBezTo>
                  <a:cubicBezTo>
                    <a:pt x="333" y="75"/>
                    <a:pt x="335" y="76"/>
                    <a:pt x="337" y="78"/>
                  </a:cubicBezTo>
                  <a:cubicBezTo>
                    <a:pt x="338" y="79"/>
                    <a:pt x="340" y="80"/>
                    <a:pt x="340" y="82"/>
                  </a:cubicBezTo>
                  <a:cubicBezTo>
                    <a:pt x="341" y="87"/>
                    <a:pt x="340" y="92"/>
                    <a:pt x="334" y="93"/>
                  </a:cubicBezTo>
                  <a:cubicBezTo>
                    <a:pt x="329" y="94"/>
                    <a:pt x="324" y="94"/>
                    <a:pt x="319" y="93"/>
                  </a:cubicBezTo>
                  <a:cubicBezTo>
                    <a:pt x="316" y="92"/>
                    <a:pt x="313" y="90"/>
                    <a:pt x="310" y="87"/>
                  </a:cubicBezTo>
                  <a:cubicBezTo>
                    <a:pt x="310" y="91"/>
                    <a:pt x="310" y="94"/>
                    <a:pt x="310" y="98"/>
                  </a:cubicBezTo>
                  <a:close/>
                  <a:moveTo>
                    <a:pt x="1177" y="95"/>
                  </a:moveTo>
                  <a:cubicBezTo>
                    <a:pt x="1177" y="95"/>
                    <a:pt x="1177" y="95"/>
                    <a:pt x="1177" y="95"/>
                  </a:cubicBezTo>
                  <a:cubicBezTo>
                    <a:pt x="1177" y="95"/>
                    <a:pt x="1177" y="95"/>
                    <a:pt x="1177" y="96"/>
                  </a:cubicBezTo>
                  <a:cubicBezTo>
                    <a:pt x="1177" y="96"/>
                    <a:pt x="1177" y="96"/>
                    <a:pt x="1177" y="96"/>
                  </a:cubicBezTo>
                  <a:cubicBezTo>
                    <a:pt x="1177" y="96"/>
                    <a:pt x="1177" y="96"/>
                    <a:pt x="1177" y="96"/>
                  </a:cubicBezTo>
                  <a:cubicBezTo>
                    <a:pt x="1177" y="96"/>
                    <a:pt x="1177" y="96"/>
                    <a:pt x="1177" y="96"/>
                  </a:cubicBezTo>
                  <a:cubicBezTo>
                    <a:pt x="1177" y="96"/>
                    <a:pt x="1177" y="96"/>
                    <a:pt x="1178" y="97"/>
                  </a:cubicBezTo>
                  <a:cubicBezTo>
                    <a:pt x="1178" y="97"/>
                    <a:pt x="1178" y="97"/>
                    <a:pt x="1178" y="97"/>
                  </a:cubicBezTo>
                  <a:cubicBezTo>
                    <a:pt x="1178" y="97"/>
                    <a:pt x="1178" y="97"/>
                    <a:pt x="1178" y="97"/>
                  </a:cubicBezTo>
                  <a:cubicBezTo>
                    <a:pt x="1178" y="97"/>
                    <a:pt x="1178" y="97"/>
                    <a:pt x="1178" y="97"/>
                  </a:cubicBezTo>
                  <a:cubicBezTo>
                    <a:pt x="1178" y="97"/>
                    <a:pt x="1178" y="98"/>
                    <a:pt x="1178" y="98"/>
                  </a:cubicBezTo>
                  <a:cubicBezTo>
                    <a:pt x="1178" y="98"/>
                    <a:pt x="1178" y="98"/>
                    <a:pt x="1178" y="98"/>
                  </a:cubicBezTo>
                  <a:cubicBezTo>
                    <a:pt x="1178" y="98"/>
                    <a:pt x="1178" y="98"/>
                    <a:pt x="1179" y="98"/>
                  </a:cubicBezTo>
                  <a:cubicBezTo>
                    <a:pt x="1179" y="98"/>
                    <a:pt x="1179" y="98"/>
                    <a:pt x="1179" y="98"/>
                  </a:cubicBezTo>
                  <a:cubicBezTo>
                    <a:pt x="1179" y="98"/>
                    <a:pt x="1179" y="98"/>
                    <a:pt x="1179" y="98"/>
                  </a:cubicBezTo>
                  <a:cubicBezTo>
                    <a:pt x="1179" y="98"/>
                    <a:pt x="1179" y="98"/>
                    <a:pt x="1179" y="98"/>
                  </a:cubicBezTo>
                  <a:cubicBezTo>
                    <a:pt x="1179" y="98"/>
                    <a:pt x="1179" y="99"/>
                    <a:pt x="1179" y="99"/>
                  </a:cubicBezTo>
                  <a:cubicBezTo>
                    <a:pt x="1179" y="99"/>
                    <a:pt x="1179" y="99"/>
                    <a:pt x="1179" y="99"/>
                  </a:cubicBezTo>
                  <a:cubicBezTo>
                    <a:pt x="1179" y="99"/>
                    <a:pt x="1180" y="99"/>
                    <a:pt x="1180" y="99"/>
                  </a:cubicBezTo>
                  <a:cubicBezTo>
                    <a:pt x="1180" y="99"/>
                    <a:pt x="1180" y="99"/>
                    <a:pt x="1180" y="99"/>
                  </a:cubicBezTo>
                  <a:cubicBezTo>
                    <a:pt x="1180" y="99"/>
                    <a:pt x="1180" y="99"/>
                    <a:pt x="1180" y="99"/>
                  </a:cubicBezTo>
                  <a:cubicBezTo>
                    <a:pt x="1180" y="99"/>
                    <a:pt x="1180" y="99"/>
                    <a:pt x="1180" y="99"/>
                  </a:cubicBezTo>
                  <a:cubicBezTo>
                    <a:pt x="1180" y="100"/>
                    <a:pt x="1180" y="100"/>
                    <a:pt x="1180" y="100"/>
                  </a:cubicBezTo>
                  <a:cubicBezTo>
                    <a:pt x="1180" y="100"/>
                    <a:pt x="1180" y="100"/>
                    <a:pt x="1180" y="100"/>
                  </a:cubicBezTo>
                  <a:cubicBezTo>
                    <a:pt x="1180" y="100"/>
                    <a:pt x="1181" y="100"/>
                    <a:pt x="1181" y="100"/>
                  </a:cubicBezTo>
                  <a:cubicBezTo>
                    <a:pt x="1181" y="100"/>
                    <a:pt x="1181" y="100"/>
                    <a:pt x="1181" y="100"/>
                  </a:cubicBezTo>
                  <a:cubicBezTo>
                    <a:pt x="1181" y="100"/>
                    <a:pt x="1181" y="100"/>
                    <a:pt x="1181" y="100"/>
                  </a:cubicBezTo>
                  <a:cubicBezTo>
                    <a:pt x="1181" y="100"/>
                    <a:pt x="1181" y="100"/>
                    <a:pt x="1181" y="100"/>
                  </a:cubicBezTo>
                  <a:cubicBezTo>
                    <a:pt x="1182" y="101"/>
                    <a:pt x="1182" y="101"/>
                    <a:pt x="1182" y="101"/>
                  </a:cubicBezTo>
                  <a:cubicBezTo>
                    <a:pt x="1182" y="101"/>
                    <a:pt x="1182" y="101"/>
                    <a:pt x="1182" y="101"/>
                  </a:cubicBezTo>
                  <a:cubicBezTo>
                    <a:pt x="1182" y="101"/>
                    <a:pt x="1183" y="101"/>
                    <a:pt x="1183" y="101"/>
                  </a:cubicBezTo>
                  <a:cubicBezTo>
                    <a:pt x="1183" y="101"/>
                    <a:pt x="1183" y="101"/>
                    <a:pt x="1183" y="101"/>
                  </a:cubicBezTo>
                  <a:cubicBezTo>
                    <a:pt x="1183" y="101"/>
                    <a:pt x="1183" y="101"/>
                    <a:pt x="1183" y="102"/>
                  </a:cubicBezTo>
                  <a:cubicBezTo>
                    <a:pt x="1183" y="102"/>
                    <a:pt x="1183" y="102"/>
                    <a:pt x="1183" y="102"/>
                  </a:cubicBezTo>
                  <a:cubicBezTo>
                    <a:pt x="1184" y="102"/>
                    <a:pt x="1184" y="102"/>
                    <a:pt x="1184" y="102"/>
                  </a:cubicBezTo>
                  <a:cubicBezTo>
                    <a:pt x="1184" y="102"/>
                    <a:pt x="1184" y="102"/>
                    <a:pt x="1184" y="102"/>
                  </a:cubicBezTo>
                  <a:cubicBezTo>
                    <a:pt x="1184" y="102"/>
                    <a:pt x="1185" y="102"/>
                    <a:pt x="1185" y="102"/>
                  </a:cubicBezTo>
                  <a:cubicBezTo>
                    <a:pt x="1185" y="102"/>
                    <a:pt x="1185" y="102"/>
                    <a:pt x="1185" y="102"/>
                  </a:cubicBezTo>
                  <a:cubicBezTo>
                    <a:pt x="1186" y="103"/>
                    <a:pt x="1186" y="102"/>
                    <a:pt x="1186" y="103"/>
                  </a:cubicBezTo>
                  <a:cubicBezTo>
                    <a:pt x="1187" y="102"/>
                    <a:pt x="1187" y="102"/>
                    <a:pt x="1187" y="102"/>
                  </a:cubicBezTo>
                  <a:cubicBezTo>
                    <a:pt x="1187" y="103"/>
                    <a:pt x="1187" y="103"/>
                    <a:pt x="1187" y="103"/>
                  </a:cubicBezTo>
                  <a:cubicBezTo>
                    <a:pt x="1187" y="103"/>
                    <a:pt x="1188" y="103"/>
                    <a:pt x="1188" y="103"/>
                  </a:cubicBezTo>
                  <a:cubicBezTo>
                    <a:pt x="1189" y="103"/>
                    <a:pt x="1189" y="103"/>
                    <a:pt x="1189" y="103"/>
                  </a:cubicBezTo>
                  <a:cubicBezTo>
                    <a:pt x="1191" y="103"/>
                    <a:pt x="1193" y="103"/>
                    <a:pt x="1195" y="103"/>
                  </a:cubicBezTo>
                  <a:cubicBezTo>
                    <a:pt x="1196" y="103"/>
                    <a:pt x="1196" y="103"/>
                    <a:pt x="1196" y="103"/>
                  </a:cubicBezTo>
                  <a:cubicBezTo>
                    <a:pt x="1196" y="103"/>
                    <a:pt x="1197" y="103"/>
                    <a:pt x="1198" y="103"/>
                  </a:cubicBezTo>
                  <a:cubicBezTo>
                    <a:pt x="1198" y="102"/>
                    <a:pt x="1198" y="102"/>
                    <a:pt x="1198" y="102"/>
                  </a:cubicBezTo>
                  <a:cubicBezTo>
                    <a:pt x="1198" y="103"/>
                    <a:pt x="1198" y="103"/>
                    <a:pt x="1198" y="103"/>
                  </a:cubicBezTo>
                  <a:cubicBezTo>
                    <a:pt x="1198" y="102"/>
                    <a:pt x="1199" y="102"/>
                    <a:pt x="1199" y="102"/>
                  </a:cubicBezTo>
                  <a:cubicBezTo>
                    <a:pt x="1199" y="102"/>
                    <a:pt x="1199" y="102"/>
                    <a:pt x="1199" y="102"/>
                  </a:cubicBezTo>
                  <a:cubicBezTo>
                    <a:pt x="1199" y="102"/>
                    <a:pt x="1200" y="102"/>
                    <a:pt x="1200" y="102"/>
                  </a:cubicBezTo>
                  <a:cubicBezTo>
                    <a:pt x="1200" y="102"/>
                    <a:pt x="1200" y="102"/>
                    <a:pt x="1200" y="102"/>
                  </a:cubicBezTo>
                  <a:cubicBezTo>
                    <a:pt x="1200" y="102"/>
                    <a:pt x="1201" y="102"/>
                    <a:pt x="1201" y="102"/>
                  </a:cubicBezTo>
                  <a:cubicBezTo>
                    <a:pt x="1201" y="101"/>
                    <a:pt x="1201" y="101"/>
                    <a:pt x="1201" y="101"/>
                  </a:cubicBezTo>
                  <a:cubicBezTo>
                    <a:pt x="1201" y="101"/>
                    <a:pt x="1201" y="101"/>
                    <a:pt x="1201" y="101"/>
                  </a:cubicBezTo>
                  <a:cubicBezTo>
                    <a:pt x="1201" y="101"/>
                    <a:pt x="1202" y="101"/>
                    <a:pt x="1202" y="101"/>
                  </a:cubicBezTo>
                  <a:cubicBezTo>
                    <a:pt x="1202" y="101"/>
                    <a:pt x="1202" y="101"/>
                    <a:pt x="1202" y="101"/>
                  </a:cubicBezTo>
                  <a:cubicBezTo>
                    <a:pt x="1202" y="101"/>
                    <a:pt x="1202" y="101"/>
                    <a:pt x="1202" y="101"/>
                  </a:cubicBezTo>
                  <a:cubicBezTo>
                    <a:pt x="1202" y="98"/>
                    <a:pt x="1202" y="95"/>
                    <a:pt x="1202" y="92"/>
                  </a:cubicBezTo>
                  <a:cubicBezTo>
                    <a:pt x="1202" y="92"/>
                    <a:pt x="1202" y="92"/>
                    <a:pt x="1202" y="92"/>
                  </a:cubicBezTo>
                  <a:cubicBezTo>
                    <a:pt x="1202" y="92"/>
                    <a:pt x="1202" y="92"/>
                    <a:pt x="1202" y="92"/>
                  </a:cubicBezTo>
                  <a:cubicBezTo>
                    <a:pt x="1201" y="92"/>
                    <a:pt x="1201" y="92"/>
                    <a:pt x="1201" y="92"/>
                  </a:cubicBezTo>
                  <a:cubicBezTo>
                    <a:pt x="1201" y="92"/>
                    <a:pt x="1201" y="92"/>
                    <a:pt x="1201" y="92"/>
                  </a:cubicBezTo>
                  <a:cubicBezTo>
                    <a:pt x="1201" y="92"/>
                    <a:pt x="1201" y="92"/>
                    <a:pt x="1201" y="92"/>
                  </a:cubicBezTo>
                  <a:cubicBezTo>
                    <a:pt x="1201" y="92"/>
                    <a:pt x="1201" y="92"/>
                    <a:pt x="1201" y="92"/>
                  </a:cubicBezTo>
                  <a:cubicBezTo>
                    <a:pt x="1200" y="93"/>
                    <a:pt x="1200" y="93"/>
                    <a:pt x="1200" y="93"/>
                  </a:cubicBezTo>
                  <a:cubicBezTo>
                    <a:pt x="1200" y="93"/>
                    <a:pt x="1200" y="93"/>
                    <a:pt x="1200" y="93"/>
                  </a:cubicBezTo>
                  <a:cubicBezTo>
                    <a:pt x="1200" y="93"/>
                    <a:pt x="1200" y="93"/>
                    <a:pt x="1200" y="93"/>
                  </a:cubicBezTo>
                  <a:cubicBezTo>
                    <a:pt x="1199" y="93"/>
                    <a:pt x="1199" y="93"/>
                    <a:pt x="1199" y="93"/>
                  </a:cubicBezTo>
                  <a:cubicBezTo>
                    <a:pt x="1199" y="93"/>
                    <a:pt x="1199" y="93"/>
                    <a:pt x="1199" y="93"/>
                  </a:cubicBezTo>
                  <a:cubicBezTo>
                    <a:pt x="1199" y="93"/>
                    <a:pt x="1199" y="93"/>
                    <a:pt x="1199" y="93"/>
                  </a:cubicBezTo>
                  <a:cubicBezTo>
                    <a:pt x="1198" y="93"/>
                    <a:pt x="1198" y="93"/>
                    <a:pt x="1197" y="93"/>
                  </a:cubicBezTo>
                  <a:cubicBezTo>
                    <a:pt x="1197" y="94"/>
                    <a:pt x="1197" y="94"/>
                    <a:pt x="1197" y="94"/>
                  </a:cubicBezTo>
                  <a:cubicBezTo>
                    <a:pt x="1196" y="94"/>
                    <a:pt x="1195" y="94"/>
                    <a:pt x="1193" y="94"/>
                  </a:cubicBezTo>
                  <a:cubicBezTo>
                    <a:pt x="1193" y="94"/>
                    <a:pt x="1193" y="94"/>
                    <a:pt x="1193" y="94"/>
                  </a:cubicBezTo>
                  <a:cubicBezTo>
                    <a:pt x="1192" y="93"/>
                    <a:pt x="1192" y="93"/>
                    <a:pt x="1191" y="93"/>
                  </a:cubicBezTo>
                  <a:cubicBezTo>
                    <a:pt x="1191" y="93"/>
                    <a:pt x="1191" y="93"/>
                    <a:pt x="1191" y="93"/>
                  </a:cubicBezTo>
                  <a:cubicBezTo>
                    <a:pt x="1191" y="93"/>
                    <a:pt x="1191" y="93"/>
                    <a:pt x="1190" y="93"/>
                  </a:cubicBezTo>
                  <a:cubicBezTo>
                    <a:pt x="1190" y="93"/>
                    <a:pt x="1190" y="93"/>
                    <a:pt x="1190" y="93"/>
                  </a:cubicBezTo>
                  <a:cubicBezTo>
                    <a:pt x="1190" y="93"/>
                    <a:pt x="1190" y="93"/>
                    <a:pt x="1190" y="93"/>
                  </a:cubicBezTo>
                  <a:cubicBezTo>
                    <a:pt x="1190" y="93"/>
                    <a:pt x="1190" y="93"/>
                    <a:pt x="1190" y="93"/>
                  </a:cubicBezTo>
                  <a:cubicBezTo>
                    <a:pt x="1190" y="92"/>
                    <a:pt x="1189" y="92"/>
                    <a:pt x="1189" y="92"/>
                  </a:cubicBezTo>
                  <a:cubicBezTo>
                    <a:pt x="1189" y="92"/>
                    <a:pt x="1189" y="92"/>
                    <a:pt x="1189" y="92"/>
                  </a:cubicBezTo>
                  <a:cubicBezTo>
                    <a:pt x="1189" y="92"/>
                    <a:pt x="1189" y="92"/>
                    <a:pt x="1189" y="92"/>
                  </a:cubicBezTo>
                  <a:cubicBezTo>
                    <a:pt x="1189" y="92"/>
                    <a:pt x="1189" y="92"/>
                    <a:pt x="1189" y="92"/>
                  </a:cubicBezTo>
                  <a:cubicBezTo>
                    <a:pt x="1188" y="91"/>
                    <a:pt x="1188" y="91"/>
                    <a:pt x="1188" y="91"/>
                  </a:cubicBezTo>
                  <a:cubicBezTo>
                    <a:pt x="1188" y="91"/>
                    <a:pt x="1188" y="91"/>
                    <a:pt x="1188" y="91"/>
                  </a:cubicBezTo>
                  <a:cubicBezTo>
                    <a:pt x="1188" y="91"/>
                    <a:pt x="1187" y="90"/>
                    <a:pt x="1187" y="90"/>
                  </a:cubicBezTo>
                  <a:cubicBezTo>
                    <a:pt x="1187" y="90"/>
                    <a:pt x="1187" y="90"/>
                    <a:pt x="1187" y="90"/>
                  </a:cubicBezTo>
                  <a:cubicBezTo>
                    <a:pt x="1187" y="90"/>
                    <a:pt x="1187" y="90"/>
                    <a:pt x="1187" y="90"/>
                  </a:cubicBezTo>
                  <a:cubicBezTo>
                    <a:pt x="1187" y="90"/>
                    <a:pt x="1187" y="90"/>
                    <a:pt x="1187" y="90"/>
                  </a:cubicBezTo>
                  <a:cubicBezTo>
                    <a:pt x="1187" y="90"/>
                    <a:pt x="1187" y="89"/>
                    <a:pt x="1187" y="89"/>
                  </a:cubicBezTo>
                  <a:cubicBezTo>
                    <a:pt x="1187" y="89"/>
                    <a:pt x="1187" y="89"/>
                    <a:pt x="1187" y="89"/>
                  </a:cubicBezTo>
                  <a:cubicBezTo>
                    <a:pt x="1186" y="89"/>
                    <a:pt x="1186" y="89"/>
                    <a:pt x="1186" y="88"/>
                  </a:cubicBezTo>
                  <a:cubicBezTo>
                    <a:pt x="1186" y="88"/>
                    <a:pt x="1186" y="88"/>
                    <a:pt x="1186" y="88"/>
                  </a:cubicBezTo>
                  <a:cubicBezTo>
                    <a:pt x="1186" y="88"/>
                    <a:pt x="1186" y="88"/>
                    <a:pt x="1186" y="88"/>
                  </a:cubicBezTo>
                  <a:cubicBezTo>
                    <a:pt x="1186" y="88"/>
                    <a:pt x="1186" y="88"/>
                    <a:pt x="1186" y="87"/>
                  </a:cubicBezTo>
                  <a:cubicBezTo>
                    <a:pt x="1186" y="87"/>
                    <a:pt x="1186" y="87"/>
                    <a:pt x="1186" y="87"/>
                  </a:cubicBezTo>
                  <a:cubicBezTo>
                    <a:pt x="1186" y="86"/>
                    <a:pt x="1186" y="86"/>
                    <a:pt x="1186" y="85"/>
                  </a:cubicBezTo>
                  <a:cubicBezTo>
                    <a:pt x="1185" y="85"/>
                    <a:pt x="1185" y="85"/>
                    <a:pt x="1186" y="85"/>
                  </a:cubicBezTo>
                  <a:cubicBezTo>
                    <a:pt x="1185" y="84"/>
                    <a:pt x="1185" y="84"/>
                    <a:pt x="1185" y="84"/>
                  </a:cubicBezTo>
                  <a:cubicBezTo>
                    <a:pt x="1185" y="71"/>
                    <a:pt x="1185" y="58"/>
                    <a:pt x="1185" y="45"/>
                  </a:cubicBezTo>
                  <a:cubicBezTo>
                    <a:pt x="1185" y="44"/>
                    <a:pt x="1186" y="44"/>
                    <a:pt x="1187" y="44"/>
                  </a:cubicBezTo>
                  <a:cubicBezTo>
                    <a:pt x="1191" y="44"/>
                    <a:pt x="1196" y="44"/>
                    <a:pt x="1201" y="44"/>
                  </a:cubicBezTo>
                  <a:cubicBezTo>
                    <a:pt x="1201" y="44"/>
                    <a:pt x="1202" y="44"/>
                    <a:pt x="1202" y="43"/>
                  </a:cubicBezTo>
                  <a:cubicBezTo>
                    <a:pt x="1202" y="40"/>
                    <a:pt x="1202" y="37"/>
                    <a:pt x="1202" y="34"/>
                  </a:cubicBezTo>
                  <a:cubicBezTo>
                    <a:pt x="1202" y="34"/>
                    <a:pt x="1201" y="34"/>
                    <a:pt x="1201" y="34"/>
                  </a:cubicBezTo>
                  <a:cubicBezTo>
                    <a:pt x="1196" y="34"/>
                    <a:pt x="1191" y="34"/>
                    <a:pt x="1187" y="34"/>
                  </a:cubicBezTo>
                  <a:cubicBezTo>
                    <a:pt x="1186" y="34"/>
                    <a:pt x="1185" y="34"/>
                    <a:pt x="1185" y="33"/>
                  </a:cubicBezTo>
                  <a:cubicBezTo>
                    <a:pt x="1185" y="29"/>
                    <a:pt x="1185" y="24"/>
                    <a:pt x="1185" y="20"/>
                  </a:cubicBezTo>
                  <a:cubicBezTo>
                    <a:pt x="1185" y="19"/>
                    <a:pt x="1185" y="17"/>
                    <a:pt x="1185" y="15"/>
                  </a:cubicBezTo>
                  <a:cubicBezTo>
                    <a:pt x="1185" y="15"/>
                    <a:pt x="1186" y="14"/>
                    <a:pt x="1185" y="15"/>
                  </a:cubicBezTo>
                  <a:cubicBezTo>
                    <a:pt x="1185" y="15"/>
                    <a:pt x="1185" y="15"/>
                    <a:pt x="1185" y="15"/>
                  </a:cubicBezTo>
                  <a:cubicBezTo>
                    <a:pt x="1184" y="15"/>
                    <a:pt x="1184" y="15"/>
                    <a:pt x="1183" y="15"/>
                  </a:cubicBezTo>
                  <a:cubicBezTo>
                    <a:pt x="1184" y="15"/>
                    <a:pt x="1184" y="15"/>
                    <a:pt x="1184" y="15"/>
                  </a:cubicBezTo>
                  <a:cubicBezTo>
                    <a:pt x="1183" y="15"/>
                    <a:pt x="1183" y="15"/>
                    <a:pt x="1182" y="15"/>
                  </a:cubicBezTo>
                  <a:cubicBezTo>
                    <a:pt x="1182" y="15"/>
                    <a:pt x="1182" y="15"/>
                    <a:pt x="1182" y="15"/>
                  </a:cubicBezTo>
                  <a:cubicBezTo>
                    <a:pt x="1182" y="15"/>
                    <a:pt x="1182" y="15"/>
                    <a:pt x="1181" y="16"/>
                  </a:cubicBezTo>
                  <a:cubicBezTo>
                    <a:pt x="1181" y="16"/>
                    <a:pt x="1181" y="16"/>
                    <a:pt x="1181" y="16"/>
                  </a:cubicBezTo>
                  <a:cubicBezTo>
                    <a:pt x="1181" y="16"/>
                    <a:pt x="1181" y="16"/>
                    <a:pt x="1180" y="16"/>
                  </a:cubicBezTo>
                  <a:cubicBezTo>
                    <a:pt x="1180" y="16"/>
                    <a:pt x="1180" y="16"/>
                    <a:pt x="1180" y="16"/>
                  </a:cubicBezTo>
                  <a:cubicBezTo>
                    <a:pt x="1180" y="16"/>
                    <a:pt x="1180" y="16"/>
                    <a:pt x="1180" y="16"/>
                  </a:cubicBezTo>
                  <a:cubicBezTo>
                    <a:pt x="1180" y="16"/>
                    <a:pt x="1180" y="16"/>
                    <a:pt x="1179" y="16"/>
                  </a:cubicBezTo>
                  <a:cubicBezTo>
                    <a:pt x="1179" y="16"/>
                    <a:pt x="1179" y="16"/>
                    <a:pt x="1179" y="16"/>
                  </a:cubicBezTo>
                  <a:cubicBezTo>
                    <a:pt x="1179" y="16"/>
                    <a:pt x="1179" y="16"/>
                    <a:pt x="1179" y="16"/>
                  </a:cubicBezTo>
                  <a:cubicBezTo>
                    <a:pt x="1179" y="16"/>
                    <a:pt x="1179" y="16"/>
                    <a:pt x="1178" y="17"/>
                  </a:cubicBezTo>
                  <a:cubicBezTo>
                    <a:pt x="1178" y="17"/>
                    <a:pt x="1178" y="17"/>
                    <a:pt x="1178" y="17"/>
                  </a:cubicBezTo>
                  <a:cubicBezTo>
                    <a:pt x="1178" y="17"/>
                    <a:pt x="1178" y="17"/>
                    <a:pt x="1178" y="17"/>
                  </a:cubicBezTo>
                  <a:cubicBezTo>
                    <a:pt x="1178" y="17"/>
                    <a:pt x="1177" y="17"/>
                    <a:pt x="1177" y="17"/>
                  </a:cubicBezTo>
                  <a:cubicBezTo>
                    <a:pt x="1177" y="17"/>
                    <a:pt x="1177" y="17"/>
                    <a:pt x="1177" y="17"/>
                  </a:cubicBezTo>
                  <a:cubicBezTo>
                    <a:pt x="1177" y="17"/>
                    <a:pt x="1176" y="17"/>
                    <a:pt x="1176" y="17"/>
                  </a:cubicBezTo>
                  <a:cubicBezTo>
                    <a:pt x="1176" y="17"/>
                    <a:pt x="1176" y="17"/>
                    <a:pt x="1176" y="17"/>
                  </a:cubicBezTo>
                  <a:cubicBezTo>
                    <a:pt x="1176" y="17"/>
                    <a:pt x="1175" y="17"/>
                    <a:pt x="1175" y="18"/>
                  </a:cubicBezTo>
                  <a:cubicBezTo>
                    <a:pt x="1175" y="18"/>
                    <a:pt x="1175" y="18"/>
                    <a:pt x="1175" y="18"/>
                  </a:cubicBezTo>
                  <a:cubicBezTo>
                    <a:pt x="1174" y="18"/>
                    <a:pt x="1174" y="19"/>
                    <a:pt x="1174" y="19"/>
                  </a:cubicBezTo>
                  <a:cubicBezTo>
                    <a:pt x="1174" y="24"/>
                    <a:pt x="1174" y="28"/>
                    <a:pt x="1174" y="32"/>
                  </a:cubicBezTo>
                  <a:cubicBezTo>
                    <a:pt x="1174" y="34"/>
                    <a:pt x="1174" y="34"/>
                    <a:pt x="1173" y="34"/>
                  </a:cubicBezTo>
                  <a:cubicBezTo>
                    <a:pt x="1170" y="34"/>
                    <a:pt x="1167" y="34"/>
                    <a:pt x="1164" y="34"/>
                  </a:cubicBezTo>
                  <a:cubicBezTo>
                    <a:pt x="1163" y="34"/>
                    <a:pt x="1163" y="35"/>
                    <a:pt x="1163" y="36"/>
                  </a:cubicBezTo>
                  <a:cubicBezTo>
                    <a:pt x="1163" y="38"/>
                    <a:pt x="1163" y="40"/>
                    <a:pt x="1163" y="42"/>
                  </a:cubicBezTo>
                  <a:cubicBezTo>
                    <a:pt x="1163" y="43"/>
                    <a:pt x="1163" y="44"/>
                    <a:pt x="1164" y="44"/>
                  </a:cubicBezTo>
                  <a:cubicBezTo>
                    <a:pt x="1167" y="43"/>
                    <a:pt x="1170" y="44"/>
                    <a:pt x="1173" y="44"/>
                  </a:cubicBezTo>
                  <a:cubicBezTo>
                    <a:pt x="1174" y="43"/>
                    <a:pt x="1174" y="44"/>
                    <a:pt x="1174" y="45"/>
                  </a:cubicBezTo>
                  <a:cubicBezTo>
                    <a:pt x="1174" y="58"/>
                    <a:pt x="1174" y="71"/>
                    <a:pt x="1174" y="84"/>
                  </a:cubicBezTo>
                  <a:cubicBezTo>
                    <a:pt x="1174" y="84"/>
                    <a:pt x="1174" y="85"/>
                    <a:pt x="1174" y="85"/>
                  </a:cubicBezTo>
                  <a:cubicBezTo>
                    <a:pt x="1175" y="86"/>
                    <a:pt x="1175" y="86"/>
                    <a:pt x="1174" y="87"/>
                  </a:cubicBezTo>
                  <a:cubicBezTo>
                    <a:pt x="1175" y="87"/>
                    <a:pt x="1174" y="88"/>
                    <a:pt x="1175" y="89"/>
                  </a:cubicBezTo>
                  <a:cubicBezTo>
                    <a:pt x="1175" y="89"/>
                    <a:pt x="1175" y="89"/>
                    <a:pt x="1175" y="89"/>
                  </a:cubicBezTo>
                  <a:cubicBezTo>
                    <a:pt x="1175" y="90"/>
                    <a:pt x="1175" y="90"/>
                    <a:pt x="1175" y="91"/>
                  </a:cubicBezTo>
                  <a:cubicBezTo>
                    <a:pt x="1175" y="91"/>
                    <a:pt x="1175" y="91"/>
                    <a:pt x="1175" y="91"/>
                  </a:cubicBezTo>
                  <a:cubicBezTo>
                    <a:pt x="1175" y="91"/>
                    <a:pt x="1175" y="91"/>
                    <a:pt x="1175" y="91"/>
                  </a:cubicBezTo>
                  <a:cubicBezTo>
                    <a:pt x="1175" y="91"/>
                    <a:pt x="1175" y="92"/>
                    <a:pt x="1176" y="92"/>
                  </a:cubicBezTo>
                  <a:cubicBezTo>
                    <a:pt x="1175" y="92"/>
                    <a:pt x="1175" y="92"/>
                    <a:pt x="1175" y="92"/>
                  </a:cubicBezTo>
                  <a:cubicBezTo>
                    <a:pt x="1176" y="92"/>
                    <a:pt x="1176" y="93"/>
                    <a:pt x="1176" y="93"/>
                  </a:cubicBezTo>
                  <a:cubicBezTo>
                    <a:pt x="1176" y="93"/>
                    <a:pt x="1176" y="93"/>
                    <a:pt x="1176" y="93"/>
                  </a:cubicBezTo>
                  <a:cubicBezTo>
                    <a:pt x="1176" y="93"/>
                    <a:pt x="1176" y="94"/>
                    <a:pt x="1176" y="94"/>
                  </a:cubicBezTo>
                  <a:cubicBezTo>
                    <a:pt x="1176" y="94"/>
                    <a:pt x="1176" y="94"/>
                    <a:pt x="1176" y="94"/>
                  </a:cubicBezTo>
                  <a:cubicBezTo>
                    <a:pt x="1176" y="94"/>
                    <a:pt x="1176" y="94"/>
                    <a:pt x="1176" y="94"/>
                  </a:cubicBezTo>
                  <a:cubicBezTo>
                    <a:pt x="1176" y="94"/>
                    <a:pt x="1176" y="95"/>
                    <a:pt x="1177" y="95"/>
                  </a:cubicBezTo>
                  <a:close/>
                  <a:moveTo>
                    <a:pt x="715" y="91"/>
                  </a:moveTo>
                  <a:cubicBezTo>
                    <a:pt x="715" y="91"/>
                    <a:pt x="715" y="91"/>
                    <a:pt x="715" y="91"/>
                  </a:cubicBezTo>
                  <a:cubicBezTo>
                    <a:pt x="716" y="92"/>
                    <a:pt x="715" y="92"/>
                    <a:pt x="716" y="92"/>
                  </a:cubicBezTo>
                  <a:cubicBezTo>
                    <a:pt x="716" y="92"/>
                    <a:pt x="716" y="92"/>
                    <a:pt x="716" y="92"/>
                  </a:cubicBezTo>
                  <a:cubicBezTo>
                    <a:pt x="716" y="93"/>
                    <a:pt x="716" y="93"/>
                    <a:pt x="716" y="93"/>
                  </a:cubicBezTo>
                  <a:cubicBezTo>
                    <a:pt x="716" y="93"/>
                    <a:pt x="716" y="93"/>
                    <a:pt x="716" y="93"/>
                  </a:cubicBezTo>
                  <a:cubicBezTo>
                    <a:pt x="716" y="94"/>
                    <a:pt x="716" y="94"/>
                    <a:pt x="716" y="94"/>
                  </a:cubicBezTo>
                  <a:cubicBezTo>
                    <a:pt x="716" y="94"/>
                    <a:pt x="716" y="94"/>
                    <a:pt x="716" y="94"/>
                  </a:cubicBezTo>
                  <a:cubicBezTo>
                    <a:pt x="717" y="94"/>
                    <a:pt x="717" y="95"/>
                    <a:pt x="717" y="95"/>
                  </a:cubicBezTo>
                  <a:cubicBezTo>
                    <a:pt x="717" y="95"/>
                    <a:pt x="717" y="95"/>
                    <a:pt x="717" y="95"/>
                  </a:cubicBezTo>
                  <a:cubicBezTo>
                    <a:pt x="717" y="95"/>
                    <a:pt x="717" y="95"/>
                    <a:pt x="717" y="96"/>
                  </a:cubicBezTo>
                  <a:cubicBezTo>
                    <a:pt x="717" y="96"/>
                    <a:pt x="717" y="96"/>
                    <a:pt x="717" y="96"/>
                  </a:cubicBezTo>
                  <a:cubicBezTo>
                    <a:pt x="717" y="96"/>
                    <a:pt x="717" y="96"/>
                    <a:pt x="717" y="96"/>
                  </a:cubicBezTo>
                  <a:cubicBezTo>
                    <a:pt x="717" y="96"/>
                    <a:pt x="717" y="96"/>
                    <a:pt x="717" y="96"/>
                  </a:cubicBezTo>
                  <a:cubicBezTo>
                    <a:pt x="718" y="97"/>
                    <a:pt x="718" y="97"/>
                    <a:pt x="718" y="97"/>
                  </a:cubicBezTo>
                  <a:cubicBezTo>
                    <a:pt x="718" y="97"/>
                    <a:pt x="718" y="97"/>
                    <a:pt x="718" y="97"/>
                  </a:cubicBezTo>
                  <a:cubicBezTo>
                    <a:pt x="718" y="97"/>
                    <a:pt x="718" y="98"/>
                    <a:pt x="718" y="98"/>
                  </a:cubicBezTo>
                  <a:cubicBezTo>
                    <a:pt x="718" y="98"/>
                    <a:pt x="718" y="98"/>
                    <a:pt x="718" y="98"/>
                  </a:cubicBezTo>
                  <a:cubicBezTo>
                    <a:pt x="719" y="98"/>
                    <a:pt x="719" y="98"/>
                    <a:pt x="719" y="98"/>
                  </a:cubicBezTo>
                  <a:cubicBezTo>
                    <a:pt x="719" y="98"/>
                    <a:pt x="719" y="98"/>
                    <a:pt x="719" y="98"/>
                  </a:cubicBezTo>
                  <a:cubicBezTo>
                    <a:pt x="719" y="99"/>
                    <a:pt x="720" y="99"/>
                    <a:pt x="720" y="99"/>
                  </a:cubicBezTo>
                  <a:cubicBezTo>
                    <a:pt x="720" y="99"/>
                    <a:pt x="720" y="99"/>
                    <a:pt x="720" y="99"/>
                  </a:cubicBezTo>
                  <a:cubicBezTo>
                    <a:pt x="720" y="100"/>
                    <a:pt x="720" y="100"/>
                    <a:pt x="721" y="100"/>
                  </a:cubicBezTo>
                  <a:cubicBezTo>
                    <a:pt x="721" y="100"/>
                    <a:pt x="721" y="100"/>
                    <a:pt x="721" y="100"/>
                  </a:cubicBezTo>
                  <a:cubicBezTo>
                    <a:pt x="721" y="100"/>
                    <a:pt x="721" y="100"/>
                    <a:pt x="721" y="100"/>
                  </a:cubicBezTo>
                  <a:cubicBezTo>
                    <a:pt x="721" y="100"/>
                    <a:pt x="721" y="100"/>
                    <a:pt x="721" y="100"/>
                  </a:cubicBezTo>
                  <a:cubicBezTo>
                    <a:pt x="721" y="100"/>
                    <a:pt x="721" y="100"/>
                    <a:pt x="722" y="100"/>
                  </a:cubicBezTo>
                  <a:cubicBezTo>
                    <a:pt x="722" y="100"/>
                    <a:pt x="722" y="100"/>
                    <a:pt x="722" y="100"/>
                  </a:cubicBezTo>
                  <a:cubicBezTo>
                    <a:pt x="722" y="101"/>
                    <a:pt x="722" y="101"/>
                    <a:pt x="722" y="101"/>
                  </a:cubicBezTo>
                  <a:cubicBezTo>
                    <a:pt x="722" y="101"/>
                    <a:pt x="722" y="101"/>
                    <a:pt x="722" y="101"/>
                  </a:cubicBezTo>
                  <a:cubicBezTo>
                    <a:pt x="722" y="101"/>
                    <a:pt x="722" y="101"/>
                    <a:pt x="723" y="101"/>
                  </a:cubicBezTo>
                  <a:cubicBezTo>
                    <a:pt x="723" y="101"/>
                    <a:pt x="723" y="101"/>
                    <a:pt x="723" y="101"/>
                  </a:cubicBezTo>
                  <a:cubicBezTo>
                    <a:pt x="723" y="101"/>
                    <a:pt x="723" y="101"/>
                    <a:pt x="723" y="101"/>
                  </a:cubicBezTo>
                  <a:cubicBezTo>
                    <a:pt x="723" y="101"/>
                    <a:pt x="723" y="101"/>
                    <a:pt x="723" y="101"/>
                  </a:cubicBezTo>
                  <a:cubicBezTo>
                    <a:pt x="724" y="102"/>
                    <a:pt x="724" y="102"/>
                    <a:pt x="724" y="102"/>
                  </a:cubicBezTo>
                  <a:cubicBezTo>
                    <a:pt x="724" y="102"/>
                    <a:pt x="724" y="102"/>
                    <a:pt x="724" y="102"/>
                  </a:cubicBezTo>
                  <a:cubicBezTo>
                    <a:pt x="725" y="102"/>
                    <a:pt x="725" y="102"/>
                    <a:pt x="725" y="102"/>
                  </a:cubicBezTo>
                  <a:cubicBezTo>
                    <a:pt x="725" y="102"/>
                    <a:pt x="725" y="102"/>
                    <a:pt x="725" y="102"/>
                  </a:cubicBezTo>
                  <a:cubicBezTo>
                    <a:pt x="725" y="102"/>
                    <a:pt x="725" y="102"/>
                    <a:pt x="725" y="102"/>
                  </a:cubicBezTo>
                  <a:cubicBezTo>
                    <a:pt x="726" y="103"/>
                    <a:pt x="726" y="102"/>
                    <a:pt x="727" y="103"/>
                  </a:cubicBezTo>
                  <a:cubicBezTo>
                    <a:pt x="727" y="102"/>
                    <a:pt x="727" y="102"/>
                    <a:pt x="727" y="102"/>
                  </a:cubicBezTo>
                  <a:cubicBezTo>
                    <a:pt x="727" y="103"/>
                    <a:pt x="727" y="103"/>
                    <a:pt x="727" y="103"/>
                  </a:cubicBezTo>
                  <a:cubicBezTo>
                    <a:pt x="727" y="103"/>
                    <a:pt x="728" y="103"/>
                    <a:pt x="728" y="103"/>
                  </a:cubicBezTo>
                  <a:cubicBezTo>
                    <a:pt x="729" y="103"/>
                    <a:pt x="729" y="103"/>
                    <a:pt x="729" y="103"/>
                  </a:cubicBezTo>
                  <a:cubicBezTo>
                    <a:pt x="731" y="103"/>
                    <a:pt x="733" y="103"/>
                    <a:pt x="735" y="103"/>
                  </a:cubicBezTo>
                  <a:cubicBezTo>
                    <a:pt x="736" y="103"/>
                    <a:pt x="736" y="103"/>
                    <a:pt x="736" y="103"/>
                  </a:cubicBezTo>
                  <a:cubicBezTo>
                    <a:pt x="737" y="103"/>
                    <a:pt x="737" y="103"/>
                    <a:pt x="738" y="103"/>
                  </a:cubicBezTo>
                  <a:cubicBezTo>
                    <a:pt x="738" y="102"/>
                    <a:pt x="738" y="102"/>
                    <a:pt x="738" y="102"/>
                  </a:cubicBezTo>
                  <a:cubicBezTo>
                    <a:pt x="738" y="103"/>
                    <a:pt x="738" y="103"/>
                    <a:pt x="738" y="103"/>
                  </a:cubicBezTo>
                  <a:cubicBezTo>
                    <a:pt x="738" y="102"/>
                    <a:pt x="739" y="102"/>
                    <a:pt x="739" y="102"/>
                  </a:cubicBezTo>
                  <a:cubicBezTo>
                    <a:pt x="739" y="102"/>
                    <a:pt x="739" y="102"/>
                    <a:pt x="739" y="102"/>
                  </a:cubicBezTo>
                  <a:cubicBezTo>
                    <a:pt x="739" y="102"/>
                    <a:pt x="739" y="102"/>
                    <a:pt x="739" y="102"/>
                  </a:cubicBezTo>
                  <a:cubicBezTo>
                    <a:pt x="740" y="102"/>
                    <a:pt x="740" y="102"/>
                    <a:pt x="740" y="102"/>
                  </a:cubicBezTo>
                  <a:cubicBezTo>
                    <a:pt x="740" y="102"/>
                    <a:pt x="740" y="102"/>
                    <a:pt x="740" y="102"/>
                  </a:cubicBezTo>
                  <a:cubicBezTo>
                    <a:pt x="741" y="102"/>
                    <a:pt x="741" y="102"/>
                    <a:pt x="741" y="102"/>
                  </a:cubicBezTo>
                  <a:cubicBezTo>
                    <a:pt x="741" y="102"/>
                    <a:pt x="741" y="102"/>
                    <a:pt x="741" y="102"/>
                  </a:cubicBezTo>
                  <a:cubicBezTo>
                    <a:pt x="741" y="101"/>
                    <a:pt x="742" y="101"/>
                    <a:pt x="742" y="101"/>
                  </a:cubicBezTo>
                  <a:cubicBezTo>
                    <a:pt x="742" y="101"/>
                    <a:pt x="742" y="101"/>
                    <a:pt x="742" y="101"/>
                  </a:cubicBezTo>
                  <a:cubicBezTo>
                    <a:pt x="742" y="101"/>
                    <a:pt x="742" y="101"/>
                    <a:pt x="742" y="100"/>
                  </a:cubicBezTo>
                  <a:cubicBezTo>
                    <a:pt x="742" y="98"/>
                    <a:pt x="742" y="95"/>
                    <a:pt x="742" y="92"/>
                  </a:cubicBezTo>
                  <a:cubicBezTo>
                    <a:pt x="742" y="92"/>
                    <a:pt x="742" y="92"/>
                    <a:pt x="742" y="92"/>
                  </a:cubicBezTo>
                  <a:cubicBezTo>
                    <a:pt x="742" y="92"/>
                    <a:pt x="742" y="92"/>
                    <a:pt x="742" y="92"/>
                  </a:cubicBezTo>
                  <a:cubicBezTo>
                    <a:pt x="742" y="92"/>
                    <a:pt x="741" y="92"/>
                    <a:pt x="741" y="92"/>
                  </a:cubicBezTo>
                  <a:cubicBezTo>
                    <a:pt x="741" y="92"/>
                    <a:pt x="741" y="92"/>
                    <a:pt x="741" y="92"/>
                  </a:cubicBezTo>
                  <a:cubicBezTo>
                    <a:pt x="741" y="92"/>
                    <a:pt x="741" y="92"/>
                    <a:pt x="740" y="93"/>
                  </a:cubicBezTo>
                  <a:cubicBezTo>
                    <a:pt x="740" y="93"/>
                    <a:pt x="740" y="93"/>
                    <a:pt x="740" y="93"/>
                  </a:cubicBezTo>
                  <a:cubicBezTo>
                    <a:pt x="740" y="93"/>
                    <a:pt x="740" y="93"/>
                    <a:pt x="740" y="93"/>
                  </a:cubicBezTo>
                  <a:cubicBezTo>
                    <a:pt x="740" y="93"/>
                    <a:pt x="740" y="93"/>
                    <a:pt x="740" y="93"/>
                  </a:cubicBezTo>
                  <a:cubicBezTo>
                    <a:pt x="739" y="93"/>
                    <a:pt x="739" y="93"/>
                    <a:pt x="739" y="93"/>
                  </a:cubicBezTo>
                  <a:cubicBezTo>
                    <a:pt x="739" y="93"/>
                    <a:pt x="739" y="93"/>
                    <a:pt x="739" y="93"/>
                  </a:cubicBezTo>
                  <a:cubicBezTo>
                    <a:pt x="738" y="94"/>
                    <a:pt x="738" y="93"/>
                    <a:pt x="737" y="94"/>
                  </a:cubicBezTo>
                  <a:cubicBezTo>
                    <a:pt x="737" y="94"/>
                    <a:pt x="737" y="94"/>
                    <a:pt x="737" y="94"/>
                  </a:cubicBezTo>
                  <a:cubicBezTo>
                    <a:pt x="736" y="94"/>
                    <a:pt x="735" y="94"/>
                    <a:pt x="733" y="94"/>
                  </a:cubicBezTo>
                  <a:cubicBezTo>
                    <a:pt x="733" y="94"/>
                    <a:pt x="733" y="94"/>
                    <a:pt x="733" y="93"/>
                  </a:cubicBezTo>
                  <a:cubicBezTo>
                    <a:pt x="732" y="93"/>
                    <a:pt x="732" y="93"/>
                    <a:pt x="731" y="93"/>
                  </a:cubicBezTo>
                  <a:cubicBezTo>
                    <a:pt x="731" y="93"/>
                    <a:pt x="731" y="93"/>
                    <a:pt x="731" y="93"/>
                  </a:cubicBezTo>
                  <a:cubicBezTo>
                    <a:pt x="731" y="93"/>
                    <a:pt x="731" y="93"/>
                    <a:pt x="731" y="93"/>
                  </a:cubicBezTo>
                  <a:cubicBezTo>
                    <a:pt x="731" y="93"/>
                    <a:pt x="731" y="93"/>
                    <a:pt x="730" y="93"/>
                  </a:cubicBezTo>
                  <a:cubicBezTo>
                    <a:pt x="730" y="93"/>
                    <a:pt x="730" y="93"/>
                    <a:pt x="730" y="93"/>
                  </a:cubicBezTo>
                  <a:cubicBezTo>
                    <a:pt x="730" y="93"/>
                    <a:pt x="730" y="93"/>
                    <a:pt x="730" y="93"/>
                  </a:cubicBezTo>
                  <a:cubicBezTo>
                    <a:pt x="730" y="93"/>
                    <a:pt x="730" y="93"/>
                    <a:pt x="730" y="92"/>
                  </a:cubicBezTo>
                  <a:cubicBezTo>
                    <a:pt x="730" y="92"/>
                    <a:pt x="730" y="92"/>
                    <a:pt x="730" y="92"/>
                  </a:cubicBezTo>
                  <a:cubicBezTo>
                    <a:pt x="729" y="92"/>
                    <a:pt x="729" y="92"/>
                    <a:pt x="729" y="92"/>
                  </a:cubicBezTo>
                  <a:cubicBezTo>
                    <a:pt x="729" y="92"/>
                    <a:pt x="729" y="92"/>
                    <a:pt x="729" y="92"/>
                  </a:cubicBezTo>
                  <a:cubicBezTo>
                    <a:pt x="729" y="92"/>
                    <a:pt x="729" y="92"/>
                    <a:pt x="729" y="92"/>
                  </a:cubicBezTo>
                  <a:cubicBezTo>
                    <a:pt x="729" y="92"/>
                    <a:pt x="729" y="92"/>
                    <a:pt x="729" y="92"/>
                  </a:cubicBezTo>
                  <a:cubicBezTo>
                    <a:pt x="728" y="92"/>
                    <a:pt x="728" y="92"/>
                    <a:pt x="728" y="91"/>
                  </a:cubicBezTo>
                  <a:cubicBezTo>
                    <a:pt x="728" y="91"/>
                    <a:pt x="728" y="91"/>
                    <a:pt x="728" y="91"/>
                  </a:cubicBezTo>
                  <a:cubicBezTo>
                    <a:pt x="728" y="91"/>
                    <a:pt x="728" y="91"/>
                    <a:pt x="728" y="91"/>
                  </a:cubicBezTo>
                  <a:cubicBezTo>
                    <a:pt x="728" y="91"/>
                    <a:pt x="728" y="91"/>
                    <a:pt x="728" y="91"/>
                  </a:cubicBezTo>
                  <a:cubicBezTo>
                    <a:pt x="728" y="91"/>
                    <a:pt x="727" y="90"/>
                    <a:pt x="727" y="90"/>
                  </a:cubicBezTo>
                  <a:cubicBezTo>
                    <a:pt x="727" y="90"/>
                    <a:pt x="727" y="90"/>
                    <a:pt x="727" y="90"/>
                  </a:cubicBezTo>
                  <a:cubicBezTo>
                    <a:pt x="727" y="90"/>
                    <a:pt x="727" y="90"/>
                    <a:pt x="727" y="89"/>
                  </a:cubicBezTo>
                  <a:cubicBezTo>
                    <a:pt x="727" y="89"/>
                    <a:pt x="727" y="89"/>
                    <a:pt x="727" y="89"/>
                  </a:cubicBezTo>
                  <a:cubicBezTo>
                    <a:pt x="727" y="89"/>
                    <a:pt x="727" y="89"/>
                    <a:pt x="726" y="89"/>
                  </a:cubicBezTo>
                  <a:cubicBezTo>
                    <a:pt x="726" y="89"/>
                    <a:pt x="726" y="89"/>
                    <a:pt x="726" y="89"/>
                  </a:cubicBezTo>
                  <a:cubicBezTo>
                    <a:pt x="726" y="88"/>
                    <a:pt x="726" y="88"/>
                    <a:pt x="726" y="88"/>
                  </a:cubicBezTo>
                  <a:cubicBezTo>
                    <a:pt x="726" y="88"/>
                    <a:pt x="726" y="88"/>
                    <a:pt x="726" y="88"/>
                  </a:cubicBezTo>
                  <a:cubicBezTo>
                    <a:pt x="726" y="87"/>
                    <a:pt x="726" y="87"/>
                    <a:pt x="726" y="87"/>
                  </a:cubicBezTo>
                  <a:cubicBezTo>
                    <a:pt x="726" y="87"/>
                    <a:pt x="726" y="87"/>
                    <a:pt x="726" y="86"/>
                  </a:cubicBezTo>
                  <a:cubicBezTo>
                    <a:pt x="726" y="86"/>
                    <a:pt x="726" y="86"/>
                    <a:pt x="726" y="86"/>
                  </a:cubicBezTo>
                  <a:cubicBezTo>
                    <a:pt x="725" y="85"/>
                    <a:pt x="726" y="84"/>
                    <a:pt x="725" y="83"/>
                  </a:cubicBezTo>
                  <a:cubicBezTo>
                    <a:pt x="725" y="82"/>
                    <a:pt x="725" y="81"/>
                    <a:pt x="725" y="80"/>
                  </a:cubicBezTo>
                  <a:cubicBezTo>
                    <a:pt x="725" y="68"/>
                    <a:pt x="725" y="57"/>
                    <a:pt x="725" y="45"/>
                  </a:cubicBezTo>
                  <a:cubicBezTo>
                    <a:pt x="725" y="45"/>
                    <a:pt x="725" y="44"/>
                    <a:pt x="725" y="44"/>
                  </a:cubicBezTo>
                  <a:cubicBezTo>
                    <a:pt x="726" y="43"/>
                    <a:pt x="727" y="44"/>
                    <a:pt x="727" y="44"/>
                  </a:cubicBezTo>
                  <a:cubicBezTo>
                    <a:pt x="732" y="44"/>
                    <a:pt x="736" y="44"/>
                    <a:pt x="741" y="44"/>
                  </a:cubicBezTo>
                  <a:cubicBezTo>
                    <a:pt x="742" y="44"/>
                    <a:pt x="742" y="43"/>
                    <a:pt x="742" y="42"/>
                  </a:cubicBezTo>
                  <a:cubicBezTo>
                    <a:pt x="742" y="40"/>
                    <a:pt x="742" y="38"/>
                    <a:pt x="742" y="36"/>
                  </a:cubicBezTo>
                  <a:cubicBezTo>
                    <a:pt x="742" y="35"/>
                    <a:pt x="742" y="34"/>
                    <a:pt x="741" y="34"/>
                  </a:cubicBezTo>
                  <a:cubicBezTo>
                    <a:pt x="736" y="34"/>
                    <a:pt x="732" y="34"/>
                    <a:pt x="728" y="34"/>
                  </a:cubicBezTo>
                  <a:cubicBezTo>
                    <a:pt x="727" y="34"/>
                    <a:pt x="726" y="34"/>
                    <a:pt x="725" y="34"/>
                  </a:cubicBezTo>
                  <a:cubicBezTo>
                    <a:pt x="725" y="34"/>
                    <a:pt x="725" y="34"/>
                    <a:pt x="725" y="34"/>
                  </a:cubicBezTo>
                  <a:cubicBezTo>
                    <a:pt x="725" y="27"/>
                    <a:pt x="725" y="21"/>
                    <a:pt x="725" y="15"/>
                  </a:cubicBezTo>
                  <a:cubicBezTo>
                    <a:pt x="725" y="14"/>
                    <a:pt x="725" y="14"/>
                    <a:pt x="725" y="14"/>
                  </a:cubicBezTo>
                  <a:cubicBezTo>
                    <a:pt x="725" y="15"/>
                    <a:pt x="725" y="15"/>
                    <a:pt x="725" y="15"/>
                  </a:cubicBezTo>
                  <a:cubicBezTo>
                    <a:pt x="725" y="15"/>
                    <a:pt x="725" y="15"/>
                    <a:pt x="725" y="15"/>
                  </a:cubicBezTo>
                  <a:cubicBezTo>
                    <a:pt x="724" y="15"/>
                    <a:pt x="724" y="15"/>
                    <a:pt x="724" y="15"/>
                  </a:cubicBezTo>
                  <a:cubicBezTo>
                    <a:pt x="724" y="15"/>
                    <a:pt x="724" y="15"/>
                    <a:pt x="724" y="15"/>
                  </a:cubicBezTo>
                  <a:cubicBezTo>
                    <a:pt x="723" y="15"/>
                    <a:pt x="723" y="15"/>
                    <a:pt x="723" y="15"/>
                  </a:cubicBezTo>
                  <a:cubicBezTo>
                    <a:pt x="723" y="15"/>
                    <a:pt x="723" y="15"/>
                    <a:pt x="723" y="15"/>
                  </a:cubicBezTo>
                  <a:cubicBezTo>
                    <a:pt x="723" y="15"/>
                    <a:pt x="723" y="15"/>
                    <a:pt x="723" y="15"/>
                  </a:cubicBezTo>
                  <a:cubicBezTo>
                    <a:pt x="722" y="15"/>
                    <a:pt x="722" y="15"/>
                    <a:pt x="722" y="15"/>
                  </a:cubicBezTo>
                  <a:cubicBezTo>
                    <a:pt x="722" y="15"/>
                    <a:pt x="722" y="15"/>
                    <a:pt x="722" y="16"/>
                  </a:cubicBezTo>
                  <a:cubicBezTo>
                    <a:pt x="722" y="16"/>
                    <a:pt x="721" y="16"/>
                    <a:pt x="721" y="16"/>
                  </a:cubicBezTo>
                  <a:cubicBezTo>
                    <a:pt x="721" y="16"/>
                    <a:pt x="721" y="16"/>
                    <a:pt x="721" y="16"/>
                  </a:cubicBezTo>
                  <a:cubicBezTo>
                    <a:pt x="720" y="16"/>
                    <a:pt x="720" y="16"/>
                    <a:pt x="720" y="16"/>
                  </a:cubicBezTo>
                  <a:cubicBezTo>
                    <a:pt x="720" y="16"/>
                    <a:pt x="720" y="16"/>
                    <a:pt x="719" y="16"/>
                  </a:cubicBezTo>
                  <a:cubicBezTo>
                    <a:pt x="719" y="16"/>
                    <a:pt x="719" y="16"/>
                    <a:pt x="719" y="16"/>
                  </a:cubicBezTo>
                  <a:cubicBezTo>
                    <a:pt x="719" y="17"/>
                    <a:pt x="718" y="16"/>
                    <a:pt x="718" y="17"/>
                  </a:cubicBezTo>
                  <a:cubicBezTo>
                    <a:pt x="718" y="17"/>
                    <a:pt x="718" y="17"/>
                    <a:pt x="718" y="17"/>
                  </a:cubicBezTo>
                  <a:cubicBezTo>
                    <a:pt x="718" y="17"/>
                    <a:pt x="717" y="17"/>
                    <a:pt x="717" y="17"/>
                  </a:cubicBezTo>
                  <a:cubicBezTo>
                    <a:pt x="717" y="17"/>
                    <a:pt x="717" y="17"/>
                    <a:pt x="717" y="17"/>
                  </a:cubicBezTo>
                  <a:cubicBezTo>
                    <a:pt x="717" y="17"/>
                    <a:pt x="716" y="17"/>
                    <a:pt x="716" y="17"/>
                  </a:cubicBezTo>
                  <a:cubicBezTo>
                    <a:pt x="716" y="17"/>
                    <a:pt x="716" y="17"/>
                    <a:pt x="716" y="17"/>
                  </a:cubicBezTo>
                  <a:cubicBezTo>
                    <a:pt x="716" y="18"/>
                    <a:pt x="715" y="17"/>
                    <a:pt x="715" y="18"/>
                  </a:cubicBezTo>
                  <a:cubicBezTo>
                    <a:pt x="715" y="18"/>
                    <a:pt x="715" y="18"/>
                    <a:pt x="715" y="18"/>
                  </a:cubicBezTo>
                  <a:cubicBezTo>
                    <a:pt x="714" y="18"/>
                    <a:pt x="714" y="19"/>
                    <a:pt x="714" y="20"/>
                  </a:cubicBezTo>
                  <a:cubicBezTo>
                    <a:pt x="714" y="24"/>
                    <a:pt x="714" y="28"/>
                    <a:pt x="714" y="33"/>
                  </a:cubicBezTo>
                  <a:cubicBezTo>
                    <a:pt x="714" y="34"/>
                    <a:pt x="714" y="34"/>
                    <a:pt x="713" y="34"/>
                  </a:cubicBezTo>
                  <a:cubicBezTo>
                    <a:pt x="710" y="34"/>
                    <a:pt x="707" y="34"/>
                    <a:pt x="704" y="34"/>
                  </a:cubicBezTo>
                  <a:cubicBezTo>
                    <a:pt x="703" y="34"/>
                    <a:pt x="703" y="34"/>
                    <a:pt x="703" y="36"/>
                  </a:cubicBezTo>
                  <a:cubicBezTo>
                    <a:pt x="703" y="38"/>
                    <a:pt x="703" y="40"/>
                    <a:pt x="703" y="42"/>
                  </a:cubicBezTo>
                  <a:cubicBezTo>
                    <a:pt x="703" y="43"/>
                    <a:pt x="703" y="44"/>
                    <a:pt x="705" y="44"/>
                  </a:cubicBezTo>
                  <a:cubicBezTo>
                    <a:pt x="708" y="44"/>
                    <a:pt x="711" y="43"/>
                    <a:pt x="714" y="44"/>
                  </a:cubicBezTo>
                  <a:cubicBezTo>
                    <a:pt x="714" y="44"/>
                    <a:pt x="714" y="44"/>
                    <a:pt x="714" y="44"/>
                  </a:cubicBezTo>
                  <a:cubicBezTo>
                    <a:pt x="715" y="44"/>
                    <a:pt x="714" y="45"/>
                    <a:pt x="714" y="46"/>
                  </a:cubicBezTo>
                  <a:cubicBezTo>
                    <a:pt x="714" y="59"/>
                    <a:pt x="714" y="72"/>
                    <a:pt x="714" y="85"/>
                  </a:cubicBezTo>
                  <a:cubicBezTo>
                    <a:pt x="714" y="86"/>
                    <a:pt x="714" y="87"/>
                    <a:pt x="715" y="87"/>
                  </a:cubicBezTo>
                  <a:cubicBezTo>
                    <a:pt x="715" y="87"/>
                    <a:pt x="715" y="88"/>
                    <a:pt x="715" y="88"/>
                  </a:cubicBezTo>
                  <a:cubicBezTo>
                    <a:pt x="715" y="88"/>
                    <a:pt x="715" y="89"/>
                    <a:pt x="715" y="90"/>
                  </a:cubicBezTo>
                  <a:cubicBezTo>
                    <a:pt x="715" y="90"/>
                    <a:pt x="715" y="90"/>
                    <a:pt x="715" y="90"/>
                  </a:cubicBezTo>
                  <a:cubicBezTo>
                    <a:pt x="715" y="90"/>
                    <a:pt x="715" y="91"/>
                    <a:pt x="715" y="91"/>
                  </a:cubicBezTo>
                  <a:close/>
                  <a:moveTo>
                    <a:pt x="189" y="46"/>
                  </a:moveTo>
                  <a:cubicBezTo>
                    <a:pt x="189" y="44"/>
                    <a:pt x="189" y="42"/>
                    <a:pt x="189" y="39"/>
                  </a:cubicBezTo>
                  <a:cubicBezTo>
                    <a:pt x="189" y="36"/>
                    <a:pt x="189" y="36"/>
                    <a:pt x="186" y="35"/>
                  </a:cubicBezTo>
                  <a:cubicBezTo>
                    <a:pt x="179" y="32"/>
                    <a:pt x="173" y="32"/>
                    <a:pt x="166" y="33"/>
                  </a:cubicBezTo>
                  <a:cubicBezTo>
                    <a:pt x="155" y="35"/>
                    <a:pt x="146" y="42"/>
                    <a:pt x="142" y="52"/>
                  </a:cubicBezTo>
                  <a:cubicBezTo>
                    <a:pt x="137" y="62"/>
                    <a:pt x="137" y="72"/>
                    <a:pt x="140" y="82"/>
                  </a:cubicBezTo>
                  <a:cubicBezTo>
                    <a:pt x="143" y="91"/>
                    <a:pt x="150" y="98"/>
                    <a:pt x="159" y="101"/>
                  </a:cubicBezTo>
                  <a:cubicBezTo>
                    <a:pt x="165" y="103"/>
                    <a:pt x="170" y="104"/>
                    <a:pt x="176" y="103"/>
                  </a:cubicBezTo>
                  <a:cubicBezTo>
                    <a:pt x="180" y="102"/>
                    <a:pt x="184" y="101"/>
                    <a:pt x="187" y="99"/>
                  </a:cubicBezTo>
                  <a:cubicBezTo>
                    <a:pt x="188" y="99"/>
                    <a:pt x="189" y="98"/>
                    <a:pt x="189" y="97"/>
                  </a:cubicBezTo>
                  <a:cubicBezTo>
                    <a:pt x="189" y="94"/>
                    <a:pt x="189" y="92"/>
                    <a:pt x="189" y="90"/>
                  </a:cubicBezTo>
                  <a:cubicBezTo>
                    <a:pt x="189" y="89"/>
                    <a:pt x="189" y="89"/>
                    <a:pt x="188" y="88"/>
                  </a:cubicBezTo>
                  <a:cubicBezTo>
                    <a:pt x="188" y="89"/>
                    <a:pt x="188" y="89"/>
                    <a:pt x="187" y="89"/>
                  </a:cubicBezTo>
                  <a:cubicBezTo>
                    <a:pt x="182" y="93"/>
                    <a:pt x="176" y="94"/>
                    <a:pt x="170" y="94"/>
                  </a:cubicBezTo>
                  <a:cubicBezTo>
                    <a:pt x="162" y="93"/>
                    <a:pt x="156" y="89"/>
                    <a:pt x="152" y="82"/>
                  </a:cubicBezTo>
                  <a:cubicBezTo>
                    <a:pt x="148" y="72"/>
                    <a:pt x="148" y="63"/>
                    <a:pt x="153" y="54"/>
                  </a:cubicBezTo>
                  <a:cubicBezTo>
                    <a:pt x="156" y="47"/>
                    <a:pt x="162" y="43"/>
                    <a:pt x="169" y="42"/>
                  </a:cubicBezTo>
                  <a:cubicBezTo>
                    <a:pt x="176" y="41"/>
                    <a:pt x="182" y="43"/>
                    <a:pt x="187" y="46"/>
                  </a:cubicBezTo>
                  <a:cubicBezTo>
                    <a:pt x="187" y="46"/>
                    <a:pt x="188" y="47"/>
                    <a:pt x="189" y="47"/>
                  </a:cubicBezTo>
                  <a:cubicBezTo>
                    <a:pt x="189" y="47"/>
                    <a:pt x="189" y="47"/>
                    <a:pt x="189" y="46"/>
                  </a:cubicBezTo>
                  <a:close/>
                  <a:moveTo>
                    <a:pt x="1487" y="28"/>
                  </a:moveTo>
                  <a:cubicBezTo>
                    <a:pt x="1487" y="28"/>
                    <a:pt x="1487" y="28"/>
                    <a:pt x="1487" y="28"/>
                  </a:cubicBezTo>
                  <a:cubicBezTo>
                    <a:pt x="1487" y="28"/>
                    <a:pt x="1487" y="28"/>
                    <a:pt x="1487" y="28"/>
                  </a:cubicBezTo>
                  <a:cubicBezTo>
                    <a:pt x="1487" y="28"/>
                    <a:pt x="1488" y="28"/>
                    <a:pt x="1488" y="28"/>
                  </a:cubicBezTo>
                  <a:cubicBezTo>
                    <a:pt x="1488" y="28"/>
                    <a:pt x="1488" y="28"/>
                    <a:pt x="1488" y="28"/>
                  </a:cubicBezTo>
                  <a:cubicBezTo>
                    <a:pt x="1488" y="28"/>
                    <a:pt x="1488" y="28"/>
                    <a:pt x="1488" y="27"/>
                  </a:cubicBezTo>
                  <a:cubicBezTo>
                    <a:pt x="1488" y="27"/>
                    <a:pt x="1488" y="27"/>
                    <a:pt x="1488" y="27"/>
                  </a:cubicBezTo>
                  <a:cubicBezTo>
                    <a:pt x="1489" y="27"/>
                    <a:pt x="1489" y="27"/>
                    <a:pt x="1489" y="27"/>
                  </a:cubicBezTo>
                  <a:cubicBezTo>
                    <a:pt x="1489" y="27"/>
                    <a:pt x="1489" y="27"/>
                    <a:pt x="1489" y="27"/>
                  </a:cubicBezTo>
                  <a:cubicBezTo>
                    <a:pt x="1489" y="27"/>
                    <a:pt x="1490" y="27"/>
                    <a:pt x="1490" y="27"/>
                  </a:cubicBezTo>
                  <a:cubicBezTo>
                    <a:pt x="1490" y="27"/>
                    <a:pt x="1490" y="27"/>
                    <a:pt x="1490" y="27"/>
                  </a:cubicBezTo>
                  <a:cubicBezTo>
                    <a:pt x="1490" y="26"/>
                    <a:pt x="1490" y="27"/>
                    <a:pt x="1490" y="26"/>
                  </a:cubicBezTo>
                  <a:cubicBezTo>
                    <a:pt x="1490" y="26"/>
                    <a:pt x="1490" y="26"/>
                    <a:pt x="1490" y="26"/>
                  </a:cubicBezTo>
                  <a:cubicBezTo>
                    <a:pt x="1491" y="26"/>
                    <a:pt x="1491" y="26"/>
                    <a:pt x="1491" y="26"/>
                  </a:cubicBezTo>
                  <a:cubicBezTo>
                    <a:pt x="1491" y="26"/>
                    <a:pt x="1491" y="26"/>
                    <a:pt x="1491" y="26"/>
                  </a:cubicBezTo>
                  <a:cubicBezTo>
                    <a:pt x="1491" y="26"/>
                    <a:pt x="1491" y="26"/>
                    <a:pt x="1491" y="26"/>
                  </a:cubicBezTo>
                  <a:cubicBezTo>
                    <a:pt x="1491" y="26"/>
                    <a:pt x="1491" y="26"/>
                    <a:pt x="1492" y="26"/>
                  </a:cubicBezTo>
                  <a:cubicBezTo>
                    <a:pt x="1492" y="26"/>
                    <a:pt x="1492" y="26"/>
                    <a:pt x="1492" y="26"/>
                  </a:cubicBezTo>
                  <a:cubicBezTo>
                    <a:pt x="1492" y="25"/>
                    <a:pt x="1492" y="25"/>
                    <a:pt x="1492" y="25"/>
                  </a:cubicBezTo>
                  <a:cubicBezTo>
                    <a:pt x="1492" y="25"/>
                    <a:pt x="1492" y="25"/>
                    <a:pt x="1492" y="25"/>
                  </a:cubicBezTo>
                  <a:cubicBezTo>
                    <a:pt x="1492" y="25"/>
                    <a:pt x="1493" y="25"/>
                    <a:pt x="1493" y="25"/>
                  </a:cubicBezTo>
                  <a:cubicBezTo>
                    <a:pt x="1493" y="25"/>
                    <a:pt x="1493" y="25"/>
                    <a:pt x="1493" y="25"/>
                  </a:cubicBezTo>
                  <a:cubicBezTo>
                    <a:pt x="1493" y="25"/>
                    <a:pt x="1493" y="25"/>
                    <a:pt x="1494" y="24"/>
                  </a:cubicBezTo>
                  <a:cubicBezTo>
                    <a:pt x="1494" y="25"/>
                    <a:pt x="1494" y="25"/>
                    <a:pt x="1494" y="25"/>
                  </a:cubicBezTo>
                  <a:cubicBezTo>
                    <a:pt x="1494" y="25"/>
                    <a:pt x="1494" y="24"/>
                    <a:pt x="1494" y="24"/>
                  </a:cubicBezTo>
                  <a:cubicBezTo>
                    <a:pt x="1494" y="24"/>
                    <a:pt x="1494" y="24"/>
                    <a:pt x="1494" y="24"/>
                  </a:cubicBezTo>
                  <a:cubicBezTo>
                    <a:pt x="1494" y="24"/>
                    <a:pt x="1495" y="24"/>
                    <a:pt x="1495" y="24"/>
                  </a:cubicBezTo>
                  <a:cubicBezTo>
                    <a:pt x="1495" y="24"/>
                    <a:pt x="1495" y="24"/>
                    <a:pt x="1495" y="24"/>
                  </a:cubicBezTo>
                  <a:cubicBezTo>
                    <a:pt x="1495" y="24"/>
                    <a:pt x="1495" y="24"/>
                    <a:pt x="1495" y="24"/>
                  </a:cubicBezTo>
                  <a:cubicBezTo>
                    <a:pt x="1495" y="24"/>
                    <a:pt x="1495" y="24"/>
                    <a:pt x="1495" y="24"/>
                  </a:cubicBezTo>
                  <a:cubicBezTo>
                    <a:pt x="1495" y="23"/>
                    <a:pt x="1496" y="23"/>
                    <a:pt x="1496" y="23"/>
                  </a:cubicBezTo>
                  <a:cubicBezTo>
                    <a:pt x="1496" y="23"/>
                    <a:pt x="1496" y="23"/>
                    <a:pt x="1496" y="23"/>
                  </a:cubicBezTo>
                  <a:cubicBezTo>
                    <a:pt x="1496" y="23"/>
                    <a:pt x="1496" y="23"/>
                    <a:pt x="1496" y="23"/>
                  </a:cubicBezTo>
                  <a:cubicBezTo>
                    <a:pt x="1496" y="23"/>
                    <a:pt x="1496" y="23"/>
                    <a:pt x="1496" y="23"/>
                  </a:cubicBezTo>
                  <a:cubicBezTo>
                    <a:pt x="1496" y="23"/>
                    <a:pt x="1497" y="23"/>
                    <a:pt x="1497" y="22"/>
                  </a:cubicBezTo>
                  <a:cubicBezTo>
                    <a:pt x="1497" y="22"/>
                    <a:pt x="1497" y="22"/>
                    <a:pt x="1497" y="22"/>
                  </a:cubicBezTo>
                  <a:cubicBezTo>
                    <a:pt x="1497" y="22"/>
                    <a:pt x="1497" y="22"/>
                    <a:pt x="1497" y="22"/>
                  </a:cubicBezTo>
                  <a:cubicBezTo>
                    <a:pt x="1497" y="22"/>
                    <a:pt x="1497" y="22"/>
                    <a:pt x="1497" y="22"/>
                  </a:cubicBezTo>
                  <a:cubicBezTo>
                    <a:pt x="1497" y="22"/>
                    <a:pt x="1498" y="22"/>
                    <a:pt x="1498" y="21"/>
                  </a:cubicBezTo>
                  <a:cubicBezTo>
                    <a:pt x="1498" y="21"/>
                    <a:pt x="1498" y="21"/>
                    <a:pt x="1498" y="21"/>
                  </a:cubicBezTo>
                  <a:cubicBezTo>
                    <a:pt x="1498" y="21"/>
                    <a:pt x="1498" y="21"/>
                    <a:pt x="1498" y="21"/>
                  </a:cubicBezTo>
                  <a:cubicBezTo>
                    <a:pt x="1498" y="21"/>
                    <a:pt x="1498" y="21"/>
                    <a:pt x="1498" y="21"/>
                  </a:cubicBezTo>
                  <a:cubicBezTo>
                    <a:pt x="1500" y="21"/>
                    <a:pt x="1499" y="22"/>
                    <a:pt x="1499" y="23"/>
                  </a:cubicBezTo>
                  <a:cubicBezTo>
                    <a:pt x="1499" y="48"/>
                    <a:pt x="1499" y="74"/>
                    <a:pt x="1499" y="99"/>
                  </a:cubicBezTo>
                  <a:cubicBezTo>
                    <a:pt x="1499" y="100"/>
                    <a:pt x="1499" y="100"/>
                    <a:pt x="1499" y="100"/>
                  </a:cubicBezTo>
                  <a:cubicBezTo>
                    <a:pt x="1499" y="101"/>
                    <a:pt x="1499" y="102"/>
                    <a:pt x="1500" y="102"/>
                  </a:cubicBezTo>
                  <a:cubicBezTo>
                    <a:pt x="1503" y="102"/>
                    <a:pt x="1505" y="102"/>
                    <a:pt x="1508" y="102"/>
                  </a:cubicBezTo>
                  <a:cubicBezTo>
                    <a:pt x="1508" y="102"/>
                    <a:pt x="1509" y="102"/>
                    <a:pt x="1510" y="101"/>
                  </a:cubicBezTo>
                  <a:cubicBezTo>
                    <a:pt x="1510" y="101"/>
                    <a:pt x="1510" y="101"/>
                    <a:pt x="1510" y="101"/>
                  </a:cubicBezTo>
                  <a:cubicBezTo>
                    <a:pt x="1510" y="101"/>
                    <a:pt x="1510" y="100"/>
                    <a:pt x="1510" y="100"/>
                  </a:cubicBezTo>
                  <a:cubicBezTo>
                    <a:pt x="1510" y="69"/>
                    <a:pt x="1510" y="38"/>
                    <a:pt x="1510" y="7"/>
                  </a:cubicBezTo>
                  <a:cubicBezTo>
                    <a:pt x="1510" y="7"/>
                    <a:pt x="1510" y="6"/>
                    <a:pt x="1510" y="6"/>
                  </a:cubicBezTo>
                  <a:cubicBezTo>
                    <a:pt x="1510" y="6"/>
                    <a:pt x="1510" y="5"/>
                    <a:pt x="1509" y="5"/>
                  </a:cubicBezTo>
                  <a:cubicBezTo>
                    <a:pt x="1508" y="5"/>
                    <a:pt x="1507" y="5"/>
                    <a:pt x="1505" y="5"/>
                  </a:cubicBezTo>
                  <a:cubicBezTo>
                    <a:pt x="1506" y="5"/>
                    <a:pt x="1506" y="5"/>
                    <a:pt x="1506" y="5"/>
                  </a:cubicBezTo>
                  <a:cubicBezTo>
                    <a:pt x="1505" y="6"/>
                    <a:pt x="1505" y="6"/>
                    <a:pt x="1505" y="6"/>
                  </a:cubicBezTo>
                  <a:cubicBezTo>
                    <a:pt x="1505" y="6"/>
                    <a:pt x="1505" y="6"/>
                    <a:pt x="1505" y="6"/>
                  </a:cubicBezTo>
                  <a:cubicBezTo>
                    <a:pt x="1505" y="6"/>
                    <a:pt x="1505" y="6"/>
                    <a:pt x="1505" y="6"/>
                  </a:cubicBezTo>
                  <a:cubicBezTo>
                    <a:pt x="1505" y="6"/>
                    <a:pt x="1505" y="6"/>
                    <a:pt x="1505" y="6"/>
                  </a:cubicBezTo>
                  <a:cubicBezTo>
                    <a:pt x="1505" y="6"/>
                    <a:pt x="1504" y="6"/>
                    <a:pt x="1504" y="7"/>
                  </a:cubicBezTo>
                  <a:cubicBezTo>
                    <a:pt x="1504" y="7"/>
                    <a:pt x="1504" y="7"/>
                    <a:pt x="1504" y="7"/>
                  </a:cubicBezTo>
                  <a:cubicBezTo>
                    <a:pt x="1504" y="7"/>
                    <a:pt x="1504" y="7"/>
                    <a:pt x="1504" y="7"/>
                  </a:cubicBezTo>
                  <a:cubicBezTo>
                    <a:pt x="1504" y="7"/>
                    <a:pt x="1504" y="7"/>
                    <a:pt x="1504" y="7"/>
                  </a:cubicBezTo>
                  <a:cubicBezTo>
                    <a:pt x="1504" y="7"/>
                    <a:pt x="1504" y="7"/>
                    <a:pt x="1503" y="7"/>
                  </a:cubicBezTo>
                  <a:cubicBezTo>
                    <a:pt x="1503" y="7"/>
                    <a:pt x="1503" y="7"/>
                    <a:pt x="1503" y="7"/>
                  </a:cubicBezTo>
                  <a:cubicBezTo>
                    <a:pt x="1503" y="7"/>
                    <a:pt x="1503" y="7"/>
                    <a:pt x="1503" y="7"/>
                  </a:cubicBezTo>
                  <a:cubicBezTo>
                    <a:pt x="1503" y="8"/>
                    <a:pt x="1503" y="8"/>
                    <a:pt x="1503" y="8"/>
                  </a:cubicBezTo>
                  <a:cubicBezTo>
                    <a:pt x="1503" y="8"/>
                    <a:pt x="1502" y="8"/>
                    <a:pt x="1502" y="8"/>
                  </a:cubicBezTo>
                  <a:cubicBezTo>
                    <a:pt x="1502" y="8"/>
                    <a:pt x="1502" y="8"/>
                    <a:pt x="1502" y="8"/>
                  </a:cubicBezTo>
                  <a:cubicBezTo>
                    <a:pt x="1502" y="8"/>
                    <a:pt x="1502" y="8"/>
                    <a:pt x="1502" y="8"/>
                  </a:cubicBezTo>
                  <a:cubicBezTo>
                    <a:pt x="1502" y="8"/>
                    <a:pt x="1502" y="8"/>
                    <a:pt x="1502" y="8"/>
                  </a:cubicBezTo>
                  <a:cubicBezTo>
                    <a:pt x="1502" y="8"/>
                    <a:pt x="1501" y="8"/>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0" y="10"/>
                    <a:pt x="1500" y="9"/>
                    <a:pt x="1500" y="10"/>
                  </a:cubicBezTo>
                  <a:cubicBezTo>
                    <a:pt x="1500" y="10"/>
                    <a:pt x="1500" y="10"/>
                    <a:pt x="1500" y="10"/>
                  </a:cubicBezTo>
                  <a:cubicBezTo>
                    <a:pt x="1500" y="10"/>
                    <a:pt x="1500" y="10"/>
                    <a:pt x="1500" y="10"/>
                  </a:cubicBezTo>
                  <a:cubicBezTo>
                    <a:pt x="1500" y="10"/>
                    <a:pt x="1500" y="10"/>
                    <a:pt x="1500" y="10"/>
                  </a:cubicBezTo>
                  <a:cubicBezTo>
                    <a:pt x="1499" y="10"/>
                    <a:pt x="1499" y="10"/>
                    <a:pt x="1499" y="10"/>
                  </a:cubicBezTo>
                  <a:cubicBezTo>
                    <a:pt x="1499" y="10"/>
                    <a:pt x="1499" y="10"/>
                    <a:pt x="1499" y="10"/>
                  </a:cubicBezTo>
                  <a:cubicBezTo>
                    <a:pt x="1499" y="11"/>
                    <a:pt x="1498" y="10"/>
                    <a:pt x="1498" y="11"/>
                  </a:cubicBezTo>
                  <a:cubicBezTo>
                    <a:pt x="1498" y="11"/>
                    <a:pt x="1498" y="11"/>
                    <a:pt x="1498" y="11"/>
                  </a:cubicBezTo>
                  <a:cubicBezTo>
                    <a:pt x="1498" y="11"/>
                    <a:pt x="1498" y="11"/>
                    <a:pt x="1498" y="11"/>
                  </a:cubicBezTo>
                  <a:cubicBezTo>
                    <a:pt x="1498" y="11"/>
                    <a:pt x="1498" y="11"/>
                    <a:pt x="1498" y="11"/>
                  </a:cubicBezTo>
                  <a:cubicBezTo>
                    <a:pt x="1498" y="11"/>
                    <a:pt x="1497" y="11"/>
                    <a:pt x="1497" y="11"/>
                  </a:cubicBezTo>
                  <a:cubicBezTo>
                    <a:pt x="1497" y="11"/>
                    <a:pt x="1497" y="11"/>
                    <a:pt x="1497" y="11"/>
                  </a:cubicBezTo>
                  <a:cubicBezTo>
                    <a:pt x="1497" y="11"/>
                    <a:pt x="1497" y="12"/>
                    <a:pt x="1497" y="12"/>
                  </a:cubicBezTo>
                  <a:cubicBezTo>
                    <a:pt x="1497" y="12"/>
                    <a:pt x="1497" y="12"/>
                    <a:pt x="1497" y="12"/>
                  </a:cubicBezTo>
                  <a:cubicBezTo>
                    <a:pt x="1497" y="12"/>
                    <a:pt x="1496" y="12"/>
                    <a:pt x="1496" y="12"/>
                  </a:cubicBezTo>
                  <a:cubicBezTo>
                    <a:pt x="1496" y="12"/>
                    <a:pt x="1496" y="12"/>
                    <a:pt x="1496" y="12"/>
                  </a:cubicBezTo>
                  <a:cubicBezTo>
                    <a:pt x="1496" y="12"/>
                    <a:pt x="1496" y="12"/>
                    <a:pt x="1495" y="12"/>
                  </a:cubicBezTo>
                  <a:cubicBezTo>
                    <a:pt x="1495" y="12"/>
                    <a:pt x="1495" y="12"/>
                    <a:pt x="1495" y="12"/>
                  </a:cubicBezTo>
                  <a:cubicBezTo>
                    <a:pt x="1495" y="13"/>
                    <a:pt x="1495" y="13"/>
                    <a:pt x="1495" y="13"/>
                  </a:cubicBezTo>
                  <a:cubicBezTo>
                    <a:pt x="1495" y="13"/>
                    <a:pt x="1495" y="13"/>
                    <a:pt x="1495" y="13"/>
                  </a:cubicBezTo>
                  <a:cubicBezTo>
                    <a:pt x="1495" y="13"/>
                    <a:pt x="1494" y="13"/>
                    <a:pt x="1494" y="13"/>
                  </a:cubicBezTo>
                  <a:cubicBezTo>
                    <a:pt x="1494" y="13"/>
                    <a:pt x="1494" y="13"/>
                    <a:pt x="1494" y="13"/>
                  </a:cubicBezTo>
                  <a:cubicBezTo>
                    <a:pt x="1494" y="13"/>
                    <a:pt x="1494" y="13"/>
                    <a:pt x="1494" y="13"/>
                  </a:cubicBezTo>
                  <a:cubicBezTo>
                    <a:pt x="1494" y="13"/>
                    <a:pt x="1494" y="13"/>
                    <a:pt x="1494" y="13"/>
                  </a:cubicBezTo>
                  <a:cubicBezTo>
                    <a:pt x="1493" y="14"/>
                    <a:pt x="1493" y="14"/>
                    <a:pt x="1493" y="14"/>
                  </a:cubicBezTo>
                  <a:cubicBezTo>
                    <a:pt x="1493" y="14"/>
                    <a:pt x="1493" y="14"/>
                    <a:pt x="1493" y="14"/>
                  </a:cubicBezTo>
                  <a:cubicBezTo>
                    <a:pt x="1493" y="14"/>
                    <a:pt x="1492" y="14"/>
                    <a:pt x="1492" y="14"/>
                  </a:cubicBezTo>
                  <a:cubicBezTo>
                    <a:pt x="1492" y="14"/>
                    <a:pt x="1492" y="14"/>
                    <a:pt x="1492" y="14"/>
                  </a:cubicBezTo>
                  <a:cubicBezTo>
                    <a:pt x="1492" y="14"/>
                    <a:pt x="1492" y="14"/>
                    <a:pt x="1492" y="15"/>
                  </a:cubicBezTo>
                  <a:cubicBezTo>
                    <a:pt x="1492" y="15"/>
                    <a:pt x="1492" y="15"/>
                    <a:pt x="1492" y="15"/>
                  </a:cubicBezTo>
                  <a:cubicBezTo>
                    <a:pt x="1491" y="15"/>
                    <a:pt x="1491" y="15"/>
                    <a:pt x="1491" y="15"/>
                  </a:cubicBezTo>
                  <a:cubicBezTo>
                    <a:pt x="1491" y="15"/>
                    <a:pt x="1491" y="15"/>
                    <a:pt x="1491" y="15"/>
                  </a:cubicBezTo>
                  <a:cubicBezTo>
                    <a:pt x="1491" y="15"/>
                    <a:pt x="1490" y="15"/>
                    <a:pt x="1490" y="15"/>
                  </a:cubicBezTo>
                  <a:cubicBezTo>
                    <a:pt x="1490" y="15"/>
                    <a:pt x="1490" y="15"/>
                    <a:pt x="1490" y="15"/>
                  </a:cubicBezTo>
                  <a:cubicBezTo>
                    <a:pt x="1490" y="15"/>
                    <a:pt x="1490" y="15"/>
                    <a:pt x="1489" y="16"/>
                  </a:cubicBezTo>
                  <a:cubicBezTo>
                    <a:pt x="1490" y="16"/>
                    <a:pt x="1490" y="16"/>
                    <a:pt x="1490" y="16"/>
                  </a:cubicBezTo>
                  <a:cubicBezTo>
                    <a:pt x="1489" y="16"/>
                    <a:pt x="1489" y="16"/>
                    <a:pt x="1489" y="16"/>
                  </a:cubicBezTo>
                  <a:cubicBezTo>
                    <a:pt x="1489" y="16"/>
                    <a:pt x="1489" y="16"/>
                    <a:pt x="1489" y="16"/>
                  </a:cubicBezTo>
                  <a:cubicBezTo>
                    <a:pt x="1489" y="16"/>
                    <a:pt x="1488" y="16"/>
                    <a:pt x="1488" y="16"/>
                  </a:cubicBezTo>
                  <a:cubicBezTo>
                    <a:pt x="1488" y="16"/>
                    <a:pt x="1488" y="16"/>
                    <a:pt x="1488" y="16"/>
                  </a:cubicBezTo>
                  <a:cubicBezTo>
                    <a:pt x="1488" y="16"/>
                    <a:pt x="1488" y="16"/>
                    <a:pt x="1487" y="17"/>
                  </a:cubicBezTo>
                  <a:cubicBezTo>
                    <a:pt x="1487" y="17"/>
                    <a:pt x="1487" y="17"/>
                    <a:pt x="1487" y="17"/>
                  </a:cubicBezTo>
                  <a:cubicBezTo>
                    <a:pt x="1487" y="17"/>
                    <a:pt x="1487" y="17"/>
                    <a:pt x="1487" y="17"/>
                  </a:cubicBezTo>
                  <a:cubicBezTo>
                    <a:pt x="1487" y="17"/>
                    <a:pt x="1487" y="17"/>
                    <a:pt x="1487" y="17"/>
                  </a:cubicBezTo>
                  <a:cubicBezTo>
                    <a:pt x="1486" y="17"/>
                    <a:pt x="1486" y="17"/>
                    <a:pt x="1486" y="17"/>
                  </a:cubicBezTo>
                  <a:cubicBezTo>
                    <a:pt x="1486" y="17"/>
                    <a:pt x="1486" y="17"/>
                    <a:pt x="1486" y="17"/>
                  </a:cubicBezTo>
                  <a:cubicBezTo>
                    <a:pt x="1486" y="17"/>
                    <a:pt x="1486" y="17"/>
                    <a:pt x="1486" y="17"/>
                  </a:cubicBezTo>
                  <a:cubicBezTo>
                    <a:pt x="1486" y="17"/>
                    <a:pt x="1485" y="17"/>
                    <a:pt x="1485" y="18"/>
                  </a:cubicBezTo>
                  <a:cubicBezTo>
                    <a:pt x="1485" y="18"/>
                    <a:pt x="1485" y="18"/>
                    <a:pt x="1485" y="18"/>
                  </a:cubicBezTo>
                  <a:cubicBezTo>
                    <a:pt x="1485" y="18"/>
                    <a:pt x="1484" y="18"/>
                    <a:pt x="1484" y="18"/>
                  </a:cubicBezTo>
                  <a:cubicBezTo>
                    <a:pt x="1484" y="18"/>
                    <a:pt x="1484" y="18"/>
                    <a:pt x="1484" y="18"/>
                  </a:cubicBezTo>
                  <a:cubicBezTo>
                    <a:pt x="1484" y="18"/>
                    <a:pt x="1484" y="18"/>
                    <a:pt x="1484" y="18"/>
                  </a:cubicBezTo>
                  <a:cubicBezTo>
                    <a:pt x="1483" y="18"/>
                    <a:pt x="1483" y="18"/>
                    <a:pt x="1483" y="18"/>
                  </a:cubicBezTo>
                  <a:cubicBezTo>
                    <a:pt x="1483" y="18"/>
                    <a:pt x="1483" y="18"/>
                    <a:pt x="1482" y="19"/>
                  </a:cubicBezTo>
                  <a:cubicBezTo>
                    <a:pt x="1482" y="19"/>
                    <a:pt x="1482" y="19"/>
                    <a:pt x="1482" y="19"/>
                  </a:cubicBezTo>
                  <a:cubicBezTo>
                    <a:pt x="1482" y="19"/>
                    <a:pt x="1482" y="19"/>
                    <a:pt x="1481" y="19"/>
                  </a:cubicBezTo>
                  <a:cubicBezTo>
                    <a:pt x="1481" y="19"/>
                    <a:pt x="1481" y="19"/>
                    <a:pt x="1481" y="19"/>
                  </a:cubicBezTo>
                  <a:cubicBezTo>
                    <a:pt x="1481" y="19"/>
                    <a:pt x="1481" y="19"/>
                    <a:pt x="1480" y="19"/>
                  </a:cubicBezTo>
                  <a:cubicBezTo>
                    <a:pt x="1480" y="19"/>
                    <a:pt x="1480" y="19"/>
                    <a:pt x="1480" y="19"/>
                  </a:cubicBezTo>
                  <a:cubicBezTo>
                    <a:pt x="1480" y="20"/>
                    <a:pt x="1480" y="19"/>
                    <a:pt x="1479" y="20"/>
                  </a:cubicBezTo>
                  <a:cubicBezTo>
                    <a:pt x="1479" y="20"/>
                    <a:pt x="1479" y="20"/>
                    <a:pt x="1479" y="20"/>
                  </a:cubicBezTo>
                  <a:cubicBezTo>
                    <a:pt x="1479" y="20"/>
                    <a:pt x="1479" y="20"/>
                    <a:pt x="1478" y="20"/>
                  </a:cubicBezTo>
                  <a:cubicBezTo>
                    <a:pt x="1478" y="20"/>
                    <a:pt x="1478" y="20"/>
                    <a:pt x="1478" y="20"/>
                  </a:cubicBezTo>
                  <a:cubicBezTo>
                    <a:pt x="1478" y="20"/>
                    <a:pt x="1477" y="20"/>
                    <a:pt x="1477" y="21"/>
                  </a:cubicBezTo>
                  <a:cubicBezTo>
                    <a:pt x="1477" y="24"/>
                    <a:pt x="1477" y="28"/>
                    <a:pt x="1477" y="31"/>
                  </a:cubicBezTo>
                  <a:cubicBezTo>
                    <a:pt x="1478" y="32"/>
                    <a:pt x="1478" y="31"/>
                    <a:pt x="1479" y="31"/>
                  </a:cubicBezTo>
                  <a:cubicBezTo>
                    <a:pt x="1479" y="31"/>
                    <a:pt x="1479" y="31"/>
                    <a:pt x="1479" y="31"/>
                  </a:cubicBezTo>
                  <a:cubicBezTo>
                    <a:pt x="1479" y="31"/>
                    <a:pt x="1479" y="31"/>
                    <a:pt x="1480" y="31"/>
                  </a:cubicBezTo>
                  <a:cubicBezTo>
                    <a:pt x="1480" y="31"/>
                    <a:pt x="1480" y="31"/>
                    <a:pt x="1480" y="31"/>
                  </a:cubicBezTo>
                  <a:cubicBezTo>
                    <a:pt x="1480" y="31"/>
                    <a:pt x="1480" y="31"/>
                    <a:pt x="1480" y="31"/>
                  </a:cubicBezTo>
                  <a:cubicBezTo>
                    <a:pt x="1480" y="31"/>
                    <a:pt x="1481" y="31"/>
                    <a:pt x="1481" y="31"/>
                  </a:cubicBezTo>
                  <a:cubicBezTo>
                    <a:pt x="1481" y="30"/>
                    <a:pt x="1481" y="30"/>
                    <a:pt x="1481" y="30"/>
                  </a:cubicBezTo>
                  <a:cubicBezTo>
                    <a:pt x="1481" y="30"/>
                    <a:pt x="1481" y="30"/>
                    <a:pt x="1481" y="30"/>
                  </a:cubicBezTo>
                  <a:cubicBezTo>
                    <a:pt x="1481" y="30"/>
                    <a:pt x="1482" y="30"/>
                    <a:pt x="1482" y="30"/>
                  </a:cubicBezTo>
                  <a:cubicBezTo>
                    <a:pt x="1482" y="30"/>
                    <a:pt x="1482" y="30"/>
                    <a:pt x="1482" y="30"/>
                  </a:cubicBezTo>
                  <a:cubicBezTo>
                    <a:pt x="1482" y="30"/>
                    <a:pt x="1483" y="30"/>
                    <a:pt x="1483" y="30"/>
                  </a:cubicBezTo>
                  <a:cubicBezTo>
                    <a:pt x="1483" y="30"/>
                    <a:pt x="1483" y="30"/>
                    <a:pt x="1483" y="30"/>
                  </a:cubicBezTo>
                  <a:cubicBezTo>
                    <a:pt x="1483" y="30"/>
                    <a:pt x="1483" y="30"/>
                    <a:pt x="1484" y="29"/>
                  </a:cubicBezTo>
                  <a:cubicBezTo>
                    <a:pt x="1484" y="29"/>
                    <a:pt x="1484" y="29"/>
                    <a:pt x="1484" y="29"/>
                  </a:cubicBezTo>
                  <a:cubicBezTo>
                    <a:pt x="1484" y="29"/>
                    <a:pt x="1484" y="29"/>
                    <a:pt x="1484" y="29"/>
                  </a:cubicBezTo>
                  <a:cubicBezTo>
                    <a:pt x="1484" y="29"/>
                    <a:pt x="1484" y="29"/>
                    <a:pt x="1485" y="29"/>
                  </a:cubicBezTo>
                  <a:cubicBezTo>
                    <a:pt x="1485" y="29"/>
                    <a:pt x="1485" y="29"/>
                    <a:pt x="1485" y="29"/>
                  </a:cubicBezTo>
                  <a:cubicBezTo>
                    <a:pt x="1485" y="29"/>
                    <a:pt x="1485" y="29"/>
                    <a:pt x="1485" y="29"/>
                  </a:cubicBezTo>
                  <a:cubicBezTo>
                    <a:pt x="1485" y="29"/>
                    <a:pt x="1485" y="29"/>
                    <a:pt x="1485" y="29"/>
                  </a:cubicBezTo>
                  <a:cubicBezTo>
                    <a:pt x="1485" y="29"/>
                    <a:pt x="1486" y="29"/>
                    <a:pt x="1486" y="28"/>
                  </a:cubicBezTo>
                  <a:cubicBezTo>
                    <a:pt x="1486" y="28"/>
                    <a:pt x="1486" y="28"/>
                    <a:pt x="1486" y="28"/>
                  </a:cubicBezTo>
                  <a:cubicBezTo>
                    <a:pt x="1486" y="28"/>
                    <a:pt x="1486" y="28"/>
                    <a:pt x="1486" y="28"/>
                  </a:cubicBezTo>
                  <a:cubicBezTo>
                    <a:pt x="1486" y="28"/>
                    <a:pt x="1487" y="28"/>
                    <a:pt x="1487" y="28"/>
                  </a:cubicBezTo>
                  <a:close/>
                  <a:moveTo>
                    <a:pt x="211" y="46"/>
                  </a:moveTo>
                  <a:cubicBezTo>
                    <a:pt x="211" y="42"/>
                    <a:pt x="211" y="39"/>
                    <a:pt x="211" y="36"/>
                  </a:cubicBezTo>
                  <a:cubicBezTo>
                    <a:pt x="211" y="34"/>
                    <a:pt x="211" y="34"/>
                    <a:pt x="210" y="34"/>
                  </a:cubicBezTo>
                  <a:cubicBezTo>
                    <a:pt x="208" y="34"/>
                    <a:pt x="205" y="34"/>
                    <a:pt x="203" y="34"/>
                  </a:cubicBezTo>
                  <a:cubicBezTo>
                    <a:pt x="200" y="34"/>
                    <a:pt x="201" y="34"/>
                    <a:pt x="201" y="36"/>
                  </a:cubicBezTo>
                  <a:cubicBezTo>
                    <a:pt x="201" y="57"/>
                    <a:pt x="201" y="78"/>
                    <a:pt x="201" y="99"/>
                  </a:cubicBezTo>
                  <a:cubicBezTo>
                    <a:pt x="201" y="100"/>
                    <a:pt x="201" y="100"/>
                    <a:pt x="201" y="100"/>
                  </a:cubicBezTo>
                  <a:cubicBezTo>
                    <a:pt x="201" y="101"/>
                    <a:pt x="201" y="101"/>
                    <a:pt x="202" y="101"/>
                  </a:cubicBezTo>
                  <a:cubicBezTo>
                    <a:pt x="205" y="101"/>
                    <a:pt x="207" y="101"/>
                    <a:pt x="210" y="101"/>
                  </a:cubicBezTo>
                  <a:cubicBezTo>
                    <a:pt x="212" y="101"/>
                    <a:pt x="211" y="102"/>
                    <a:pt x="211" y="100"/>
                  </a:cubicBezTo>
                  <a:cubicBezTo>
                    <a:pt x="211" y="89"/>
                    <a:pt x="211" y="78"/>
                    <a:pt x="211" y="68"/>
                  </a:cubicBezTo>
                  <a:cubicBezTo>
                    <a:pt x="211" y="65"/>
                    <a:pt x="212" y="63"/>
                    <a:pt x="212" y="60"/>
                  </a:cubicBezTo>
                  <a:cubicBezTo>
                    <a:pt x="213" y="55"/>
                    <a:pt x="214" y="51"/>
                    <a:pt x="218" y="47"/>
                  </a:cubicBezTo>
                  <a:cubicBezTo>
                    <a:pt x="220" y="44"/>
                    <a:pt x="224" y="43"/>
                    <a:pt x="228" y="43"/>
                  </a:cubicBezTo>
                  <a:cubicBezTo>
                    <a:pt x="230" y="43"/>
                    <a:pt x="233" y="44"/>
                    <a:pt x="236" y="45"/>
                  </a:cubicBezTo>
                  <a:cubicBezTo>
                    <a:pt x="236" y="42"/>
                    <a:pt x="236" y="39"/>
                    <a:pt x="236" y="35"/>
                  </a:cubicBezTo>
                  <a:cubicBezTo>
                    <a:pt x="236" y="34"/>
                    <a:pt x="236" y="34"/>
                    <a:pt x="234" y="34"/>
                  </a:cubicBezTo>
                  <a:cubicBezTo>
                    <a:pt x="227" y="32"/>
                    <a:pt x="221" y="34"/>
                    <a:pt x="216" y="40"/>
                  </a:cubicBezTo>
                  <a:cubicBezTo>
                    <a:pt x="214" y="42"/>
                    <a:pt x="213" y="44"/>
                    <a:pt x="212" y="46"/>
                  </a:cubicBezTo>
                  <a:cubicBezTo>
                    <a:pt x="212" y="47"/>
                    <a:pt x="212" y="47"/>
                    <a:pt x="212" y="48"/>
                  </a:cubicBezTo>
                  <a:cubicBezTo>
                    <a:pt x="211" y="47"/>
                    <a:pt x="211" y="46"/>
                    <a:pt x="211" y="46"/>
                  </a:cubicBezTo>
                  <a:close/>
                  <a:moveTo>
                    <a:pt x="1289" y="58"/>
                  </a:moveTo>
                  <a:cubicBezTo>
                    <a:pt x="1289" y="58"/>
                    <a:pt x="1289" y="58"/>
                    <a:pt x="1289" y="58"/>
                  </a:cubicBezTo>
                  <a:cubicBezTo>
                    <a:pt x="1289" y="58"/>
                    <a:pt x="1289" y="57"/>
                    <a:pt x="1289" y="57"/>
                  </a:cubicBezTo>
                  <a:cubicBezTo>
                    <a:pt x="1289" y="57"/>
                    <a:pt x="1289" y="57"/>
                    <a:pt x="1289" y="57"/>
                  </a:cubicBezTo>
                  <a:cubicBezTo>
                    <a:pt x="1290" y="56"/>
                    <a:pt x="1289" y="56"/>
                    <a:pt x="1290" y="56"/>
                  </a:cubicBezTo>
                  <a:cubicBezTo>
                    <a:pt x="1290" y="56"/>
                    <a:pt x="1290" y="56"/>
                    <a:pt x="1290" y="56"/>
                  </a:cubicBezTo>
                  <a:cubicBezTo>
                    <a:pt x="1290" y="55"/>
                    <a:pt x="1290" y="55"/>
                    <a:pt x="1290" y="55"/>
                  </a:cubicBezTo>
                  <a:cubicBezTo>
                    <a:pt x="1290" y="55"/>
                    <a:pt x="1290" y="55"/>
                    <a:pt x="1290" y="55"/>
                  </a:cubicBezTo>
                  <a:cubicBezTo>
                    <a:pt x="1290" y="54"/>
                    <a:pt x="1290" y="54"/>
                    <a:pt x="1290" y="54"/>
                  </a:cubicBezTo>
                  <a:cubicBezTo>
                    <a:pt x="1290" y="54"/>
                    <a:pt x="1290" y="54"/>
                    <a:pt x="1290" y="54"/>
                  </a:cubicBezTo>
                  <a:cubicBezTo>
                    <a:pt x="1291" y="54"/>
                    <a:pt x="1291" y="53"/>
                    <a:pt x="1291" y="53"/>
                  </a:cubicBezTo>
                  <a:cubicBezTo>
                    <a:pt x="1291" y="53"/>
                    <a:pt x="1291" y="53"/>
                    <a:pt x="1291" y="53"/>
                  </a:cubicBezTo>
                  <a:cubicBezTo>
                    <a:pt x="1291" y="53"/>
                    <a:pt x="1291" y="53"/>
                    <a:pt x="1291" y="52"/>
                  </a:cubicBezTo>
                  <a:cubicBezTo>
                    <a:pt x="1291" y="52"/>
                    <a:pt x="1291" y="52"/>
                    <a:pt x="1291" y="52"/>
                  </a:cubicBezTo>
                  <a:cubicBezTo>
                    <a:pt x="1291" y="52"/>
                    <a:pt x="1291" y="52"/>
                    <a:pt x="1291" y="52"/>
                  </a:cubicBezTo>
                  <a:cubicBezTo>
                    <a:pt x="1291" y="52"/>
                    <a:pt x="1291" y="52"/>
                    <a:pt x="1291" y="52"/>
                  </a:cubicBezTo>
                  <a:cubicBezTo>
                    <a:pt x="1292" y="52"/>
                    <a:pt x="1292" y="51"/>
                    <a:pt x="1292" y="51"/>
                  </a:cubicBezTo>
                  <a:cubicBezTo>
                    <a:pt x="1292" y="51"/>
                    <a:pt x="1292" y="51"/>
                    <a:pt x="1292" y="51"/>
                  </a:cubicBezTo>
                  <a:cubicBezTo>
                    <a:pt x="1292" y="51"/>
                    <a:pt x="1292" y="51"/>
                    <a:pt x="1292" y="50"/>
                  </a:cubicBezTo>
                  <a:cubicBezTo>
                    <a:pt x="1292" y="50"/>
                    <a:pt x="1292" y="50"/>
                    <a:pt x="1292" y="50"/>
                  </a:cubicBezTo>
                  <a:cubicBezTo>
                    <a:pt x="1292" y="50"/>
                    <a:pt x="1292" y="50"/>
                    <a:pt x="1292" y="50"/>
                  </a:cubicBezTo>
                  <a:cubicBezTo>
                    <a:pt x="1292" y="50"/>
                    <a:pt x="1292" y="50"/>
                    <a:pt x="1292" y="50"/>
                  </a:cubicBezTo>
                  <a:cubicBezTo>
                    <a:pt x="1293" y="50"/>
                    <a:pt x="1293" y="49"/>
                    <a:pt x="1293" y="49"/>
                  </a:cubicBezTo>
                  <a:cubicBezTo>
                    <a:pt x="1293" y="49"/>
                    <a:pt x="1293" y="49"/>
                    <a:pt x="1293" y="49"/>
                  </a:cubicBezTo>
                  <a:cubicBezTo>
                    <a:pt x="1293" y="49"/>
                    <a:pt x="1293" y="49"/>
                    <a:pt x="1293" y="49"/>
                  </a:cubicBezTo>
                  <a:cubicBezTo>
                    <a:pt x="1293" y="49"/>
                    <a:pt x="1293" y="49"/>
                    <a:pt x="1293" y="49"/>
                  </a:cubicBezTo>
                  <a:cubicBezTo>
                    <a:pt x="1293" y="49"/>
                    <a:pt x="1293" y="49"/>
                    <a:pt x="1293" y="48"/>
                  </a:cubicBezTo>
                  <a:cubicBezTo>
                    <a:pt x="1293" y="49"/>
                    <a:pt x="1293" y="49"/>
                    <a:pt x="1293" y="49"/>
                  </a:cubicBezTo>
                  <a:cubicBezTo>
                    <a:pt x="1294" y="48"/>
                    <a:pt x="1294" y="48"/>
                    <a:pt x="1294" y="48"/>
                  </a:cubicBezTo>
                  <a:cubicBezTo>
                    <a:pt x="1294" y="48"/>
                    <a:pt x="1294" y="48"/>
                    <a:pt x="1294" y="48"/>
                  </a:cubicBezTo>
                  <a:cubicBezTo>
                    <a:pt x="1294" y="48"/>
                    <a:pt x="1294" y="48"/>
                    <a:pt x="1294" y="48"/>
                  </a:cubicBezTo>
                  <a:cubicBezTo>
                    <a:pt x="1294" y="48"/>
                    <a:pt x="1294" y="48"/>
                    <a:pt x="1294" y="48"/>
                  </a:cubicBezTo>
                  <a:cubicBezTo>
                    <a:pt x="1294" y="47"/>
                    <a:pt x="1294"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6"/>
                    <a:pt x="1295" y="46"/>
                    <a:pt x="1296" y="46"/>
                  </a:cubicBezTo>
                  <a:cubicBezTo>
                    <a:pt x="1296" y="46"/>
                    <a:pt x="1296" y="46"/>
                    <a:pt x="1296" y="46"/>
                  </a:cubicBezTo>
                  <a:cubicBezTo>
                    <a:pt x="1296" y="46"/>
                    <a:pt x="1296" y="46"/>
                    <a:pt x="1296" y="46"/>
                  </a:cubicBezTo>
                  <a:cubicBezTo>
                    <a:pt x="1296" y="46"/>
                    <a:pt x="1296" y="46"/>
                    <a:pt x="1296" y="46"/>
                  </a:cubicBezTo>
                  <a:cubicBezTo>
                    <a:pt x="1296" y="46"/>
                    <a:pt x="1296" y="46"/>
                    <a:pt x="1297" y="45"/>
                  </a:cubicBezTo>
                  <a:cubicBezTo>
                    <a:pt x="1297" y="45"/>
                    <a:pt x="1297" y="45"/>
                    <a:pt x="1297" y="45"/>
                  </a:cubicBezTo>
                  <a:cubicBezTo>
                    <a:pt x="1297" y="45"/>
                    <a:pt x="1297" y="45"/>
                    <a:pt x="1297" y="45"/>
                  </a:cubicBezTo>
                  <a:cubicBezTo>
                    <a:pt x="1297" y="45"/>
                    <a:pt x="1297" y="45"/>
                    <a:pt x="1297" y="45"/>
                  </a:cubicBezTo>
                  <a:cubicBezTo>
                    <a:pt x="1297" y="45"/>
                    <a:pt x="1297" y="45"/>
                    <a:pt x="1298" y="45"/>
                  </a:cubicBezTo>
                  <a:cubicBezTo>
                    <a:pt x="1298" y="45"/>
                    <a:pt x="1298" y="45"/>
                    <a:pt x="1298" y="45"/>
                  </a:cubicBezTo>
                  <a:cubicBezTo>
                    <a:pt x="1298" y="45"/>
                    <a:pt x="1298" y="45"/>
                    <a:pt x="1298" y="44"/>
                  </a:cubicBezTo>
                  <a:cubicBezTo>
                    <a:pt x="1298" y="44"/>
                    <a:pt x="1298" y="44"/>
                    <a:pt x="1298" y="44"/>
                  </a:cubicBezTo>
                  <a:cubicBezTo>
                    <a:pt x="1299" y="44"/>
                    <a:pt x="1299" y="44"/>
                    <a:pt x="1299" y="44"/>
                  </a:cubicBezTo>
                  <a:cubicBezTo>
                    <a:pt x="1299" y="44"/>
                    <a:pt x="1299" y="44"/>
                    <a:pt x="1299" y="44"/>
                  </a:cubicBezTo>
                  <a:cubicBezTo>
                    <a:pt x="1299" y="44"/>
                    <a:pt x="1300" y="44"/>
                    <a:pt x="1300" y="44"/>
                  </a:cubicBezTo>
                  <a:cubicBezTo>
                    <a:pt x="1300" y="44"/>
                    <a:pt x="1300" y="44"/>
                    <a:pt x="1300" y="44"/>
                  </a:cubicBezTo>
                  <a:cubicBezTo>
                    <a:pt x="1300" y="44"/>
                    <a:pt x="1300" y="44"/>
                    <a:pt x="1300" y="44"/>
                  </a:cubicBezTo>
                  <a:cubicBezTo>
                    <a:pt x="1301" y="44"/>
                    <a:pt x="1301" y="44"/>
                    <a:pt x="1301" y="43"/>
                  </a:cubicBezTo>
                  <a:cubicBezTo>
                    <a:pt x="1302" y="43"/>
                    <a:pt x="1302" y="43"/>
                    <a:pt x="1302" y="43"/>
                  </a:cubicBezTo>
                  <a:cubicBezTo>
                    <a:pt x="1302" y="43"/>
                    <a:pt x="1302" y="43"/>
                    <a:pt x="1302" y="43"/>
                  </a:cubicBezTo>
                  <a:cubicBezTo>
                    <a:pt x="1303" y="43"/>
                    <a:pt x="1305" y="43"/>
                    <a:pt x="1307" y="43"/>
                  </a:cubicBezTo>
                  <a:cubicBezTo>
                    <a:pt x="1307" y="43"/>
                    <a:pt x="1307" y="43"/>
                    <a:pt x="1307" y="43"/>
                  </a:cubicBezTo>
                  <a:cubicBezTo>
                    <a:pt x="1308" y="44"/>
                    <a:pt x="1308" y="43"/>
                    <a:pt x="1309" y="44"/>
                  </a:cubicBezTo>
                  <a:cubicBezTo>
                    <a:pt x="1309" y="44"/>
                    <a:pt x="1309" y="44"/>
                    <a:pt x="1309" y="44"/>
                  </a:cubicBezTo>
                  <a:cubicBezTo>
                    <a:pt x="1309" y="44"/>
                    <a:pt x="1309" y="44"/>
                    <a:pt x="1309" y="44"/>
                  </a:cubicBezTo>
                  <a:cubicBezTo>
                    <a:pt x="1309" y="44"/>
                    <a:pt x="1309" y="44"/>
                    <a:pt x="1310" y="44"/>
                  </a:cubicBezTo>
                  <a:cubicBezTo>
                    <a:pt x="1310" y="44"/>
                    <a:pt x="1310" y="44"/>
                    <a:pt x="1310" y="44"/>
                  </a:cubicBezTo>
                  <a:cubicBezTo>
                    <a:pt x="1310" y="44"/>
                    <a:pt x="1310" y="44"/>
                    <a:pt x="1310" y="44"/>
                  </a:cubicBezTo>
                  <a:cubicBezTo>
                    <a:pt x="1310" y="44"/>
                    <a:pt x="1310" y="44"/>
                    <a:pt x="1311" y="44"/>
                  </a:cubicBezTo>
                  <a:cubicBezTo>
                    <a:pt x="1311" y="44"/>
                    <a:pt x="1311" y="44"/>
                    <a:pt x="1311" y="44"/>
                  </a:cubicBezTo>
                  <a:cubicBezTo>
                    <a:pt x="1311" y="45"/>
                    <a:pt x="1311" y="45"/>
                    <a:pt x="1311" y="45"/>
                  </a:cubicBezTo>
                  <a:cubicBezTo>
                    <a:pt x="1311" y="45"/>
                    <a:pt x="1311" y="45"/>
                    <a:pt x="1311" y="45"/>
                  </a:cubicBezTo>
                  <a:cubicBezTo>
                    <a:pt x="1311" y="45"/>
                    <a:pt x="1311" y="45"/>
                    <a:pt x="1312" y="45"/>
                  </a:cubicBezTo>
                  <a:cubicBezTo>
                    <a:pt x="1312" y="45"/>
                    <a:pt x="1312" y="45"/>
                    <a:pt x="1312" y="45"/>
                  </a:cubicBezTo>
                  <a:cubicBezTo>
                    <a:pt x="1312" y="45"/>
                    <a:pt x="1312" y="45"/>
                    <a:pt x="1312" y="45"/>
                  </a:cubicBezTo>
                  <a:cubicBezTo>
                    <a:pt x="1312" y="41"/>
                    <a:pt x="1312" y="38"/>
                    <a:pt x="1312" y="34"/>
                  </a:cubicBezTo>
                  <a:cubicBezTo>
                    <a:pt x="1312" y="34"/>
                    <a:pt x="1312" y="34"/>
                    <a:pt x="1311" y="34"/>
                  </a:cubicBezTo>
                  <a:cubicBezTo>
                    <a:pt x="1311" y="34"/>
                    <a:pt x="1311" y="34"/>
                    <a:pt x="1311" y="34"/>
                  </a:cubicBezTo>
                  <a:cubicBezTo>
                    <a:pt x="1311" y="33"/>
                    <a:pt x="1310" y="34"/>
                    <a:pt x="1310" y="33"/>
                  </a:cubicBezTo>
                  <a:cubicBezTo>
                    <a:pt x="1310" y="33"/>
                    <a:pt x="1310" y="33"/>
                    <a:pt x="1309" y="33"/>
                  </a:cubicBezTo>
                  <a:cubicBezTo>
                    <a:pt x="1307" y="33"/>
                    <a:pt x="1305" y="33"/>
                    <a:pt x="1303" y="33"/>
                  </a:cubicBezTo>
                  <a:cubicBezTo>
                    <a:pt x="1302" y="33"/>
                    <a:pt x="1302" y="33"/>
                    <a:pt x="1302" y="33"/>
                  </a:cubicBezTo>
                  <a:cubicBezTo>
                    <a:pt x="1302" y="33"/>
                    <a:pt x="1302" y="33"/>
                    <a:pt x="1302" y="33"/>
                  </a:cubicBezTo>
                  <a:cubicBezTo>
                    <a:pt x="1302" y="34"/>
                    <a:pt x="1301" y="33"/>
                    <a:pt x="1301" y="34"/>
                  </a:cubicBezTo>
                  <a:cubicBezTo>
                    <a:pt x="1301" y="34"/>
                    <a:pt x="1301" y="34"/>
                    <a:pt x="1301" y="34"/>
                  </a:cubicBezTo>
                  <a:cubicBezTo>
                    <a:pt x="1301" y="34"/>
                    <a:pt x="1301" y="34"/>
                    <a:pt x="1301" y="34"/>
                  </a:cubicBezTo>
                  <a:cubicBezTo>
                    <a:pt x="1301" y="34"/>
                    <a:pt x="1300" y="34"/>
                    <a:pt x="1300" y="34"/>
                  </a:cubicBezTo>
                  <a:cubicBezTo>
                    <a:pt x="1300" y="34"/>
                    <a:pt x="1300" y="34"/>
                    <a:pt x="1300" y="34"/>
                  </a:cubicBezTo>
                  <a:cubicBezTo>
                    <a:pt x="1300" y="34"/>
                    <a:pt x="1300" y="34"/>
                    <a:pt x="1300" y="34"/>
                  </a:cubicBezTo>
                  <a:cubicBezTo>
                    <a:pt x="1300" y="34"/>
                    <a:pt x="1299" y="34"/>
                    <a:pt x="1299" y="34"/>
                  </a:cubicBezTo>
                  <a:cubicBezTo>
                    <a:pt x="1299" y="34"/>
                    <a:pt x="1299" y="34"/>
                    <a:pt x="1299" y="34"/>
                  </a:cubicBezTo>
                  <a:cubicBezTo>
                    <a:pt x="1299" y="35"/>
                    <a:pt x="1299" y="34"/>
                    <a:pt x="1298" y="35"/>
                  </a:cubicBezTo>
                  <a:cubicBezTo>
                    <a:pt x="1298" y="35"/>
                    <a:pt x="1298" y="35"/>
                    <a:pt x="1298" y="35"/>
                  </a:cubicBezTo>
                  <a:cubicBezTo>
                    <a:pt x="1298" y="35"/>
                    <a:pt x="1298" y="35"/>
                    <a:pt x="1298" y="35"/>
                  </a:cubicBezTo>
                  <a:cubicBezTo>
                    <a:pt x="1298" y="35"/>
                    <a:pt x="1298" y="35"/>
                    <a:pt x="1298" y="35"/>
                  </a:cubicBezTo>
                  <a:cubicBezTo>
                    <a:pt x="1298" y="35"/>
                    <a:pt x="1297" y="35"/>
                    <a:pt x="1297" y="35"/>
                  </a:cubicBezTo>
                  <a:cubicBezTo>
                    <a:pt x="1297" y="35"/>
                    <a:pt x="1297" y="35"/>
                    <a:pt x="1297" y="35"/>
                  </a:cubicBezTo>
                  <a:cubicBezTo>
                    <a:pt x="1297" y="36"/>
                    <a:pt x="1297" y="36"/>
                    <a:pt x="1297" y="36"/>
                  </a:cubicBezTo>
                  <a:cubicBezTo>
                    <a:pt x="1297" y="36"/>
                    <a:pt x="1297" y="36"/>
                    <a:pt x="1297" y="36"/>
                  </a:cubicBezTo>
                  <a:cubicBezTo>
                    <a:pt x="1296" y="36"/>
                    <a:pt x="1296" y="36"/>
                    <a:pt x="1296" y="36"/>
                  </a:cubicBezTo>
                  <a:cubicBezTo>
                    <a:pt x="1296" y="36"/>
                    <a:pt x="1296" y="36"/>
                    <a:pt x="1296" y="36"/>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4" y="38"/>
                    <a:pt x="1293" y="38"/>
                    <a:pt x="1293" y="39"/>
                  </a:cubicBezTo>
                  <a:cubicBezTo>
                    <a:pt x="1293" y="39"/>
                    <a:pt x="1293" y="39"/>
                    <a:pt x="1293" y="39"/>
                  </a:cubicBezTo>
                  <a:cubicBezTo>
                    <a:pt x="1293" y="39"/>
                    <a:pt x="1293" y="39"/>
                    <a:pt x="1293" y="39"/>
                  </a:cubicBezTo>
                  <a:cubicBezTo>
                    <a:pt x="1293" y="39"/>
                    <a:pt x="1293" y="39"/>
                    <a:pt x="1293" y="39"/>
                  </a:cubicBezTo>
                  <a:cubicBezTo>
                    <a:pt x="1293" y="39"/>
                    <a:pt x="1293" y="39"/>
                    <a:pt x="1292" y="40"/>
                  </a:cubicBezTo>
                  <a:cubicBezTo>
                    <a:pt x="1292" y="40"/>
                    <a:pt x="1292" y="40"/>
                    <a:pt x="1292" y="40"/>
                  </a:cubicBezTo>
                  <a:cubicBezTo>
                    <a:pt x="1292" y="40"/>
                    <a:pt x="1292" y="40"/>
                    <a:pt x="1292" y="40"/>
                  </a:cubicBezTo>
                  <a:cubicBezTo>
                    <a:pt x="1292" y="40"/>
                    <a:pt x="1292" y="40"/>
                    <a:pt x="1292" y="40"/>
                  </a:cubicBezTo>
                  <a:cubicBezTo>
                    <a:pt x="1292" y="40"/>
                    <a:pt x="1292" y="40"/>
                    <a:pt x="1292" y="41"/>
                  </a:cubicBezTo>
                  <a:cubicBezTo>
                    <a:pt x="1292" y="41"/>
                    <a:pt x="1292" y="41"/>
                    <a:pt x="1292" y="41"/>
                  </a:cubicBezTo>
                  <a:cubicBezTo>
                    <a:pt x="1292" y="41"/>
                    <a:pt x="1291" y="41"/>
                    <a:pt x="1291" y="41"/>
                  </a:cubicBezTo>
                  <a:cubicBezTo>
                    <a:pt x="1291" y="41"/>
                    <a:pt x="1291" y="41"/>
                    <a:pt x="1291" y="41"/>
                  </a:cubicBezTo>
                  <a:cubicBezTo>
                    <a:pt x="1291" y="41"/>
                    <a:pt x="1291" y="41"/>
                    <a:pt x="1291" y="42"/>
                  </a:cubicBezTo>
                  <a:cubicBezTo>
                    <a:pt x="1291" y="42"/>
                    <a:pt x="1291" y="42"/>
                    <a:pt x="1291" y="42"/>
                  </a:cubicBezTo>
                  <a:cubicBezTo>
                    <a:pt x="1291" y="42"/>
                    <a:pt x="1291" y="42"/>
                    <a:pt x="1291" y="42"/>
                  </a:cubicBezTo>
                  <a:cubicBezTo>
                    <a:pt x="1291" y="42"/>
                    <a:pt x="1291" y="42"/>
                    <a:pt x="1291" y="42"/>
                  </a:cubicBezTo>
                  <a:cubicBezTo>
                    <a:pt x="1290" y="42"/>
                    <a:pt x="1291" y="43"/>
                    <a:pt x="1290" y="43"/>
                  </a:cubicBezTo>
                  <a:cubicBezTo>
                    <a:pt x="1290" y="43"/>
                    <a:pt x="1290" y="43"/>
                    <a:pt x="1290" y="43"/>
                  </a:cubicBezTo>
                  <a:cubicBezTo>
                    <a:pt x="1290" y="43"/>
                    <a:pt x="1290" y="43"/>
                    <a:pt x="1290" y="43"/>
                  </a:cubicBezTo>
                  <a:cubicBezTo>
                    <a:pt x="1290" y="43"/>
                    <a:pt x="1290" y="43"/>
                    <a:pt x="1290" y="43"/>
                  </a:cubicBezTo>
                  <a:cubicBezTo>
                    <a:pt x="1290" y="44"/>
                    <a:pt x="1290" y="44"/>
                    <a:pt x="1290" y="44"/>
                  </a:cubicBezTo>
                  <a:cubicBezTo>
                    <a:pt x="1290" y="44"/>
                    <a:pt x="1290" y="44"/>
                    <a:pt x="1290" y="44"/>
                  </a:cubicBezTo>
                  <a:cubicBezTo>
                    <a:pt x="1289" y="44"/>
                    <a:pt x="1290" y="45"/>
                    <a:pt x="1289" y="45"/>
                  </a:cubicBezTo>
                  <a:cubicBezTo>
                    <a:pt x="1289" y="45"/>
                    <a:pt x="1289" y="45"/>
                    <a:pt x="1289" y="45"/>
                  </a:cubicBezTo>
                  <a:cubicBezTo>
                    <a:pt x="1289" y="45"/>
                    <a:pt x="1289" y="45"/>
                    <a:pt x="1289" y="45"/>
                  </a:cubicBezTo>
                  <a:cubicBezTo>
                    <a:pt x="1289" y="45"/>
                    <a:pt x="1289" y="45"/>
                    <a:pt x="1289" y="45"/>
                  </a:cubicBezTo>
                  <a:cubicBezTo>
                    <a:pt x="1289" y="46"/>
                    <a:pt x="1289" y="46"/>
                    <a:pt x="1289" y="46"/>
                  </a:cubicBezTo>
                  <a:cubicBezTo>
                    <a:pt x="1289" y="46"/>
                    <a:pt x="1289" y="46"/>
                    <a:pt x="1289" y="46"/>
                  </a:cubicBezTo>
                  <a:cubicBezTo>
                    <a:pt x="1288" y="46"/>
                    <a:pt x="1288" y="45"/>
                    <a:pt x="1288" y="45"/>
                  </a:cubicBez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9"/>
                    <a:pt x="1277" y="100"/>
                  </a:cubicBezTo>
                  <a:cubicBezTo>
                    <a:pt x="1277" y="100"/>
                    <a:pt x="1277" y="100"/>
                    <a:pt x="1277" y="100"/>
                  </a:cubicBezTo>
                  <a:cubicBezTo>
                    <a:pt x="1277" y="101"/>
                    <a:pt x="1277" y="102"/>
                    <a:pt x="1278" y="102"/>
                  </a:cubicBezTo>
                  <a:cubicBezTo>
                    <a:pt x="1281" y="102"/>
                    <a:pt x="1283" y="102"/>
                    <a:pt x="1285" y="102"/>
                  </a:cubicBezTo>
                  <a:cubicBezTo>
                    <a:pt x="1286" y="102"/>
                    <a:pt x="1287" y="102"/>
                    <a:pt x="1288" y="101"/>
                  </a:cubicBezTo>
                  <a:cubicBezTo>
                    <a:pt x="1288" y="101"/>
                    <a:pt x="1288" y="101"/>
                    <a:pt x="1288" y="101"/>
                  </a:cubicBezTo>
                  <a:cubicBezTo>
                    <a:pt x="1288" y="101"/>
                    <a:pt x="1288" y="100"/>
                    <a:pt x="1288" y="100"/>
                  </a:cubicBezTo>
                  <a:cubicBezTo>
                    <a:pt x="1288" y="88"/>
                    <a:pt x="1288" y="76"/>
                    <a:pt x="1288" y="65"/>
                  </a:cubicBezTo>
                  <a:cubicBezTo>
                    <a:pt x="1288" y="64"/>
                    <a:pt x="1288" y="63"/>
                    <a:pt x="1288" y="63"/>
                  </a:cubicBezTo>
                  <a:cubicBezTo>
                    <a:pt x="1288" y="62"/>
                    <a:pt x="1288" y="62"/>
                    <a:pt x="1288" y="62"/>
                  </a:cubicBezTo>
                  <a:cubicBezTo>
                    <a:pt x="1289" y="61"/>
                    <a:pt x="1288" y="61"/>
                    <a:pt x="1289" y="60"/>
                  </a:cubicBezTo>
                  <a:cubicBezTo>
                    <a:pt x="1289" y="60"/>
                    <a:pt x="1289" y="60"/>
                    <a:pt x="1289" y="60"/>
                  </a:cubicBezTo>
                  <a:cubicBezTo>
                    <a:pt x="1289" y="59"/>
                    <a:pt x="1289" y="59"/>
                    <a:pt x="1289" y="58"/>
                  </a:cubicBezTo>
                  <a:close/>
                  <a:moveTo>
                    <a:pt x="126" y="60"/>
                  </a:moveTo>
                  <a:cubicBezTo>
                    <a:pt x="126" y="52"/>
                    <a:pt x="126" y="44"/>
                    <a:pt x="126" y="36"/>
                  </a:cubicBezTo>
                  <a:cubicBezTo>
                    <a:pt x="126" y="34"/>
                    <a:pt x="126" y="34"/>
                    <a:pt x="124" y="34"/>
                  </a:cubicBezTo>
                  <a:cubicBezTo>
                    <a:pt x="122" y="34"/>
                    <a:pt x="120" y="34"/>
                    <a:pt x="117" y="34"/>
                  </a:cubicBezTo>
                  <a:cubicBezTo>
                    <a:pt x="115" y="34"/>
                    <a:pt x="115" y="34"/>
                    <a:pt x="115" y="36"/>
                  </a:cubicBezTo>
                  <a:cubicBezTo>
                    <a:pt x="115" y="57"/>
                    <a:pt x="115" y="78"/>
                    <a:pt x="115" y="100"/>
                  </a:cubicBezTo>
                  <a:cubicBezTo>
                    <a:pt x="115" y="100"/>
                    <a:pt x="115" y="100"/>
                    <a:pt x="115" y="101"/>
                  </a:cubicBezTo>
                  <a:cubicBezTo>
                    <a:pt x="115" y="101"/>
                    <a:pt x="115" y="101"/>
                    <a:pt x="116" y="101"/>
                  </a:cubicBezTo>
                  <a:cubicBezTo>
                    <a:pt x="119" y="101"/>
                    <a:pt x="122" y="101"/>
                    <a:pt x="125" y="101"/>
                  </a:cubicBezTo>
                  <a:cubicBezTo>
                    <a:pt x="126" y="101"/>
                    <a:pt x="126" y="101"/>
                    <a:pt x="126" y="101"/>
                  </a:cubicBezTo>
                  <a:cubicBezTo>
                    <a:pt x="126" y="100"/>
                    <a:pt x="126" y="100"/>
                    <a:pt x="126" y="99"/>
                  </a:cubicBezTo>
                  <a:cubicBezTo>
                    <a:pt x="126" y="89"/>
                    <a:pt x="126" y="78"/>
                    <a:pt x="126" y="68"/>
                  </a:cubicBezTo>
                  <a:cubicBezTo>
                    <a:pt x="126" y="65"/>
                    <a:pt x="126" y="63"/>
                    <a:pt x="126" y="60"/>
                  </a:cubicBezTo>
                  <a:close/>
                  <a:moveTo>
                    <a:pt x="114" y="10"/>
                  </a:moveTo>
                  <a:cubicBezTo>
                    <a:pt x="114" y="14"/>
                    <a:pt x="117" y="17"/>
                    <a:pt x="121" y="17"/>
                  </a:cubicBezTo>
                  <a:cubicBezTo>
                    <a:pt x="125" y="17"/>
                    <a:pt x="128" y="14"/>
                    <a:pt x="128" y="10"/>
                  </a:cubicBezTo>
                  <a:cubicBezTo>
                    <a:pt x="128" y="6"/>
                    <a:pt x="125" y="3"/>
                    <a:pt x="121" y="3"/>
                  </a:cubicBezTo>
                  <a:cubicBezTo>
                    <a:pt x="117" y="3"/>
                    <a:pt x="114" y="6"/>
                    <a:pt x="114" y="10"/>
                  </a:cubicBezTo>
                  <a:close/>
                  <a:moveTo>
                    <a:pt x="1658" y="7"/>
                  </a:moveTo>
                  <a:cubicBezTo>
                    <a:pt x="1649" y="7"/>
                    <a:pt x="1639" y="7"/>
                    <a:pt x="1630" y="7"/>
                  </a:cubicBezTo>
                  <a:cubicBezTo>
                    <a:pt x="1627" y="7"/>
                    <a:pt x="1627" y="7"/>
                    <a:pt x="1627" y="10"/>
                  </a:cubicBezTo>
                  <a:cubicBezTo>
                    <a:pt x="1627" y="39"/>
                    <a:pt x="1627" y="69"/>
                    <a:pt x="1627" y="99"/>
                  </a:cubicBezTo>
                  <a:cubicBezTo>
                    <a:pt x="1627" y="100"/>
                    <a:pt x="1627" y="100"/>
                    <a:pt x="1627" y="100"/>
                  </a:cubicBezTo>
                  <a:cubicBezTo>
                    <a:pt x="1627" y="102"/>
                    <a:pt x="1627" y="102"/>
                    <a:pt x="1629" y="102"/>
                  </a:cubicBezTo>
                  <a:cubicBezTo>
                    <a:pt x="1632" y="102"/>
                    <a:pt x="1634" y="102"/>
                    <a:pt x="1637" y="102"/>
                  </a:cubicBezTo>
                  <a:cubicBezTo>
                    <a:pt x="1639" y="102"/>
                    <a:pt x="1639" y="102"/>
                    <a:pt x="1639" y="101"/>
                  </a:cubicBezTo>
                  <a:cubicBezTo>
                    <a:pt x="1639" y="100"/>
                    <a:pt x="1639" y="100"/>
                    <a:pt x="1639" y="99"/>
                  </a:cubicBezTo>
                  <a:cubicBezTo>
                    <a:pt x="1639" y="87"/>
                    <a:pt x="1639" y="76"/>
                    <a:pt x="1639" y="64"/>
                  </a:cubicBezTo>
                  <a:cubicBezTo>
                    <a:pt x="1639" y="62"/>
                    <a:pt x="1639" y="62"/>
                    <a:pt x="1641" y="62"/>
                  </a:cubicBezTo>
                  <a:cubicBezTo>
                    <a:pt x="1644" y="62"/>
                    <a:pt x="1647" y="62"/>
                    <a:pt x="1650" y="62"/>
                  </a:cubicBezTo>
                  <a:cubicBezTo>
                    <a:pt x="1650" y="62"/>
                    <a:pt x="1650" y="62"/>
                    <a:pt x="1650" y="62"/>
                  </a:cubicBezTo>
                  <a:cubicBezTo>
                    <a:pt x="1647" y="61"/>
                    <a:pt x="1643" y="62"/>
                    <a:pt x="1639" y="61"/>
                  </a:cubicBezTo>
                  <a:cubicBezTo>
                    <a:pt x="1639" y="61"/>
                    <a:pt x="1638" y="62"/>
                    <a:pt x="1639" y="62"/>
                  </a:cubicBezTo>
                  <a:cubicBezTo>
                    <a:pt x="1639" y="63"/>
                    <a:pt x="1638" y="63"/>
                    <a:pt x="1638" y="63"/>
                  </a:cubicBezTo>
                  <a:cubicBezTo>
                    <a:pt x="1638" y="72"/>
                    <a:pt x="1638" y="81"/>
                    <a:pt x="1638" y="90"/>
                  </a:cubicBezTo>
                  <a:cubicBezTo>
                    <a:pt x="1638" y="94"/>
                    <a:pt x="1638" y="97"/>
                    <a:pt x="1639" y="100"/>
                  </a:cubicBezTo>
                  <a:cubicBezTo>
                    <a:pt x="1639" y="101"/>
                    <a:pt x="1638" y="102"/>
                    <a:pt x="1637" y="102"/>
                  </a:cubicBezTo>
                  <a:cubicBezTo>
                    <a:pt x="1635" y="101"/>
                    <a:pt x="1632" y="101"/>
                    <a:pt x="1629" y="101"/>
                  </a:cubicBezTo>
                  <a:cubicBezTo>
                    <a:pt x="1627" y="101"/>
                    <a:pt x="1627" y="102"/>
                    <a:pt x="1627" y="100"/>
                  </a:cubicBezTo>
                  <a:cubicBezTo>
                    <a:pt x="1627" y="69"/>
                    <a:pt x="1627" y="39"/>
                    <a:pt x="1627" y="9"/>
                  </a:cubicBezTo>
                  <a:cubicBezTo>
                    <a:pt x="1627" y="7"/>
                    <a:pt x="1627" y="7"/>
                    <a:pt x="1629" y="7"/>
                  </a:cubicBezTo>
                  <a:cubicBezTo>
                    <a:pt x="1640" y="7"/>
                    <a:pt x="1650" y="7"/>
                    <a:pt x="1660" y="8"/>
                  </a:cubicBezTo>
                  <a:cubicBezTo>
                    <a:pt x="1659" y="7"/>
                    <a:pt x="1659" y="7"/>
                    <a:pt x="1658" y="7"/>
                  </a:cubicBezTo>
                  <a:close/>
                  <a:moveTo>
                    <a:pt x="828" y="43"/>
                  </a:moveTo>
                  <a:cubicBezTo>
                    <a:pt x="828" y="40"/>
                    <a:pt x="828" y="38"/>
                    <a:pt x="828" y="36"/>
                  </a:cubicBezTo>
                  <a:cubicBezTo>
                    <a:pt x="828" y="34"/>
                    <a:pt x="828" y="34"/>
                    <a:pt x="826" y="34"/>
                  </a:cubicBezTo>
                  <a:cubicBezTo>
                    <a:pt x="824" y="34"/>
                    <a:pt x="822" y="34"/>
                    <a:pt x="819" y="34"/>
                  </a:cubicBezTo>
                  <a:cubicBezTo>
                    <a:pt x="817" y="34"/>
                    <a:pt x="817" y="34"/>
                    <a:pt x="817" y="36"/>
                  </a:cubicBezTo>
                  <a:cubicBezTo>
                    <a:pt x="817" y="57"/>
                    <a:pt x="817" y="78"/>
                    <a:pt x="817" y="100"/>
                  </a:cubicBezTo>
                  <a:cubicBezTo>
                    <a:pt x="817" y="100"/>
                    <a:pt x="817" y="100"/>
                    <a:pt x="817" y="101"/>
                  </a:cubicBezTo>
                  <a:cubicBezTo>
                    <a:pt x="817" y="102"/>
                    <a:pt x="817" y="102"/>
                    <a:pt x="818" y="102"/>
                  </a:cubicBezTo>
                  <a:cubicBezTo>
                    <a:pt x="821" y="102"/>
                    <a:pt x="824" y="102"/>
                    <a:pt x="827" y="102"/>
                  </a:cubicBezTo>
                  <a:cubicBezTo>
                    <a:pt x="828" y="102"/>
                    <a:pt x="828" y="102"/>
                    <a:pt x="828" y="100"/>
                  </a:cubicBezTo>
                  <a:cubicBezTo>
                    <a:pt x="828" y="97"/>
                    <a:pt x="828" y="94"/>
                    <a:pt x="828" y="91"/>
                  </a:cubicBezTo>
                  <a:cubicBezTo>
                    <a:pt x="828" y="82"/>
                    <a:pt x="828" y="72"/>
                    <a:pt x="828" y="63"/>
                  </a:cubicBezTo>
                  <a:cubicBezTo>
                    <a:pt x="828" y="63"/>
                    <a:pt x="828" y="64"/>
                    <a:pt x="828" y="64"/>
                  </a:cubicBezTo>
                  <a:cubicBezTo>
                    <a:pt x="828" y="67"/>
                    <a:pt x="828" y="70"/>
                    <a:pt x="828" y="73"/>
                  </a:cubicBezTo>
                  <a:cubicBezTo>
                    <a:pt x="828" y="82"/>
                    <a:pt x="828" y="91"/>
                    <a:pt x="828" y="100"/>
                  </a:cubicBezTo>
                  <a:cubicBezTo>
                    <a:pt x="828" y="102"/>
                    <a:pt x="828" y="101"/>
                    <a:pt x="826" y="101"/>
                  </a:cubicBezTo>
                  <a:cubicBezTo>
                    <a:pt x="824" y="101"/>
                    <a:pt x="821" y="101"/>
                    <a:pt x="819" y="101"/>
                  </a:cubicBezTo>
                  <a:cubicBezTo>
                    <a:pt x="817" y="101"/>
                    <a:pt x="817" y="102"/>
                    <a:pt x="817" y="99"/>
                  </a:cubicBezTo>
                  <a:cubicBezTo>
                    <a:pt x="817" y="78"/>
                    <a:pt x="817" y="57"/>
                    <a:pt x="817" y="36"/>
                  </a:cubicBezTo>
                  <a:cubicBezTo>
                    <a:pt x="817" y="36"/>
                    <a:pt x="817" y="36"/>
                    <a:pt x="817" y="35"/>
                  </a:cubicBezTo>
                  <a:cubicBezTo>
                    <a:pt x="817" y="34"/>
                    <a:pt x="817" y="34"/>
                    <a:pt x="818" y="34"/>
                  </a:cubicBezTo>
                  <a:cubicBezTo>
                    <a:pt x="821" y="34"/>
                    <a:pt x="824" y="34"/>
                    <a:pt x="827" y="34"/>
                  </a:cubicBezTo>
                  <a:cubicBezTo>
                    <a:pt x="828" y="34"/>
                    <a:pt x="828" y="35"/>
                    <a:pt x="828" y="36"/>
                  </a:cubicBezTo>
                  <a:cubicBezTo>
                    <a:pt x="828" y="38"/>
                    <a:pt x="828" y="41"/>
                    <a:pt x="828" y="43"/>
                  </a:cubicBezTo>
                  <a:cubicBezTo>
                    <a:pt x="828" y="44"/>
                    <a:pt x="828" y="44"/>
                    <a:pt x="828" y="44"/>
                  </a:cubicBezTo>
                  <a:cubicBezTo>
                    <a:pt x="828" y="45"/>
                    <a:pt x="828" y="45"/>
                    <a:pt x="828" y="45"/>
                  </a:cubicBezTo>
                  <a:cubicBezTo>
                    <a:pt x="828" y="45"/>
                    <a:pt x="828" y="44"/>
                    <a:pt x="828" y="44"/>
                  </a:cubicBezTo>
                  <a:cubicBezTo>
                    <a:pt x="828" y="44"/>
                    <a:pt x="828" y="43"/>
                    <a:pt x="828" y="43"/>
                  </a:cubicBezTo>
                  <a:close/>
                  <a:moveTo>
                    <a:pt x="1288" y="44"/>
                  </a:move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8"/>
                    <a:pt x="1277" y="100"/>
                  </a:cubicBezTo>
                  <a:cubicBezTo>
                    <a:pt x="1277" y="100"/>
                    <a:pt x="1277" y="100"/>
                    <a:pt x="1277" y="101"/>
                  </a:cubicBezTo>
                  <a:cubicBezTo>
                    <a:pt x="1277" y="102"/>
                    <a:pt x="1277" y="102"/>
                    <a:pt x="1278" y="102"/>
                  </a:cubicBezTo>
                  <a:cubicBezTo>
                    <a:pt x="1281" y="102"/>
                    <a:pt x="1284" y="102"/>
                    <a:pt x="1287" y="102"/>
                  </a:cubicBezTo>
                  <a:cubicBezTo>
                    <a:pt x="1287" y="102"/>
                    <a:pt x="1288" y="102"/>
                    <a:pt x="1288" y="101"/>
                  </a:cubicBezTo>
                  <a:cubicBezTo>
                    <a:pt x="1285" y="101"/>
                    <a:pt x="1282" y="101"/>
                    <a:pt x="1279" y="101"/>
                  </a:cubicBezTo>
                  <a:cubicBezTo>
                    <a:pt x="1277" y="101"/>
                    <a:pt x="1277" y="102"/>
                    <a:pt x="1277" y="100"/>
                  </a:cubicBezTo>
                  <a:cubicBezTo>
                    <a:pt x="1277" y="78"/>
                    <a:pt x="1277" y="57"/>
                    <a:pt x="1277" y="36"/>
                  </a:cubicBezTo>
                  <a:cubicBezTo>
                    <a:pt x="1277" y="36"/>
                    <a:pt x="1277" y="36"/>
                    <a:pt x="1277" y="35"/>
                  </a:cubicBezTo>
                  <a:cubicBezTo>
                    <a:pt x="1277" y="35"/>
                    <a:pt x="1277" y="34"/>
                    <a:pt x="1278" y="34"/>
                  </a:cubicBezTo>
                  <a:cubicBezTo>
                    <a:pt x="1281" y="34"/>
                    <a:pt x="1284" y="34"/>
                    <a:pt x="1287" y="34"/>
                  </a:cubicBezTo>
                  <a:cubicBezTo>
                    <a:pt x="1288" y="34"/>
                    <a:pt x="1288" y="34"/>
                    <a:pt x="1288" y="36"/>
                  </a:cubicBezTo>
                  <a:cubicBezTo>
                    <a:pt x="1288" y="39"/>
                    <a:pt x="1288" y="43"/>
                    <a:pt x="1288" y="46"/>
                  </a:cubicBezTo>
                  <a:cubicBezTo>
                    <a:pt x="1288" y="47"/>
                    <a:pt x="1288" y="47"/>
                    <a:pt x="1288" y="48"/>
                  </a:cubicBezTo>
                  <a:cubicBezTo>
                    <a:pt x="1288" y="47"/>
                    <a:pt x="1289" y="47"/>
                    <a:pt x="1289" y="46"/>
                  </a:cubicBezTo>
                  <a:cubicBezTo>
                    <a:pt x="1288" y="46"/>
                    <a:pt x="1288" y="45"/>
                    <a:pt x="1288" y="44"/>
                  </a:cubicBezTo>
                  <a:close/>
                  <a:moveTo>
                    <a:pt x="1510" y="100"/>
                  </a:moveTo>
                  <a:cubicBezTo>
                    <a:pt x="1510" y="69"/>
                    <a:pt x="1510" y="38"/>
                    <a:pt x="1510" y="7"/>
                  </a:cubicBezTo>
                  <a:cubicBezTo>
                    <a:pt x="1510" y="7"/>
                    <a:pt x="1510" y="6"/>
                    <a:pt x="1510" y="6"/>
                  </a:cubicBezTo>
                  <a:cubicBezTo>
                    <a:pt x="1510" y="6"/>
                    <a:pt x="1510" y="5"/>
                    <a:pt x="1510" y="5"/>
                  </a:cubicBezTo>
                  <a:cubicBezTo>
                    <a:pt x="1508" y="5"/>
                    <a:pt x="1507" y="5"/>
                    <a:pt x="1505" y="5"/>
                  </a:cubicBezTo>
                  <a:cubicBezTo>
                    <a:pt x="1507" y="5"/>
                    <a:pt x="1508" y="5"/>
                    <a:pt x="1509" y="5"/>
                  </a:cubicBezTo>
                  <a:cubicBezTo>
                    <a:pt x="1510" y="5"/>
                    <a:pt x="1510" y="5"/>
                    <a:pt x="1510" y="6"/>
                  </a:cubicBezTo>
                  <a:cubicBezTo>
                    <a:pt x="1510" y="7"/>
                    <a:pt x="1510" y="7"/>
                    <a:pt x="1510" y="7"/>
                  </a:cubicBezTo>
                  <a:cubicBezTo>
                    <a:pt x="1510" y="38"/>
                    <a:pt x="1510" y="69"/>
                    <a:pt x="1510" y="100"/>
                  </a:cubicBezTo>
                  <a:cubicBezTo>
                    <a:pt x="1510" y="100"/>
                    <a:pt x="1510" y="101"/>
                    <a:pt x="1510" y="101"/>
                  </a:cubicBezTo>
                  <a:cubicBezTo>
                    <a:pt x="1511" y="101"/>
                    <a:pt x="1510" y="100"/>
                    <a:pt x="1510" y="100"/>
                  </a:cubicBezTo>
                  <a:close/>
                  <a:moveTo>
                    <a:pt x="902" y="100"/>
                  </a:moveTo>
                  <a:cubicBezTo>
                    <a:pt x="902" y="100"/>
                    <a:pt x="902" y="101"/>
                    <a:pt x="902" y="101"/>
                  </a:cubicBezTo>
                  <a:cubicBezTo>
                    <a:pt x="902" y="102"/>
                    <a:pt x="902" y="102"/>
                    <a:pt x="902" y="102"/>
                  </a:cubicBezTo>
                  <a:cubicBezTo>
                    <a:pt x="906" y="102"/>
                    <a:pt x="909" y="102"/>
                    <a:pt x="912" y="102"/>
                  </a:cubicBezTo>
                  <a:cubicBezTo>
                    <a:pt x="912" y="102"/>
                    <a:pt x="913" y="102"/>
                    <a:pt x="913" y="101"/>
                  </a:cubicBezTo>
                  <a:cubicBezTo>
                    <a:pt x="913" y="101"/>
                    <a:pt x="913" y="100"/>
                    <a:pt x="913" y="100"/>
                  </a:cubicBezTo>
                  <a:cubicBezTo>
                    <a:pt x="913" y="85"/>
                    <a:pt x="913" y="71"/>
                    <a:pt x="913" y="56"/>
                  </a:cubicBezTo>
                  <a:cubicBezTo>
                    <a:pt x="913" y="56"/>
                    <a:pt x="913" y="55"/>
                    <a:pt x="912" y="55"/>
                  </a:cubicBezTo>
                  <a:cubicBezTo>
                    <a:pt x="912" y="56"/>
                    <a:pt x="912" y="58"/>
                    <a:pt x="912" y="60"/>
                  </a:cubicBezTo>
                  <a:cubicBezTo>
                    <a:pt x="912" y="73"/>
                    <a:pt x="912" y="86"/>
                    <a:pt x="912" y="99"/>
                  </a:cubicBezTo>
                  <a:cubicBezTo>
                    <a:pt x="912" y="100"/>
                    <a:pt x="912" y="100"/>
                    <a:pt x="912" y="100"/>
                  </a:cubicBezTo>
                  <a:cubicBezTo>
                    <a:pt x="913" y="101"/>
                    <a:pt x="912" y="102"/>
                    <a:pt x="911" y="102"/>
                  </a:cubicBezTo>
                  <a:cubicBezTo>
                    <a:pt x="909" y="101"/>
                    <a:pt x="906" y="101"/>
                    <a:pt x="903" y="101"/>
                  </a:cubicBezTo>
                  <a:cubicBezTo>
                    <a:pt x="902" y="102"/>
                    <a:pt x="902" y="101"/>
                    <a:pt x="902" y="101"/>
                  </a:cubicBezTo>
                  <a:cubicBezTo>
                    <a:pt x="902" y="100"/>
                    <a:pt x="902" y="100"/>
                    <a:pt x="902" y="99"/>
                  </a:cubicBezTo>
                  <a:cubicBezTo>
                    <a:pt x="902" y="87"/>
                    <a:pt x="902" y="75"/>
                    <a:pt x="902" y="63"/>
                  </a:cubicBezTo>
                  <a:cubicBezTo>
                    <a:pt x="902" y="62"/>
                    <a:pt x="902" y="62"/>
                    <a:pt x="902" y="61"/>
                  </a:cubicBezTo>
                  <a:cubicBezTo>
                    <a:pt x="902" y="74"/>
                    <a:pt x="902" y="87"/>
                    <a:pt x="902" y="100"/>
                  </a:cubicBezTo>
                  <a:close/>
                  <a:moveTo>
                    <a:pt x="1499" y="23"/>
                  </a:moveTo>
                  <a:cubicBezTo>
                    <a:pt x="1499" y="49"/>
                    <a:pt x="1499" y="74"/>
                    <a:pt x="1499" y="99"/>
                  </a:cubicBezTo>
                  <a:cubicBezTo>
                    <a:pt x="1499" y="100"/>
                    <a:pt x="1499" y="100"/>
                    <a:pt x="1499" y="100"/>
                  </a:cubicBezTo>
                  <a:cubicBezTo>
                    <a:pt x="1499" y="102"/>
                    <a:pt x="1499" y="102"/>
                    <a:pt x="1500" y="102"/>
                  </a:cubicBezTo>
                  <a:cubicBezTo>
                    <a:pt x="1503" y="102"/>
                    <a:pt x="1506" y="102"/>
                    <a:pt x="1509" y="102"/>
                  </a:cubicBezTo>
                  <a:cubicBezTo>
                    <a:pt x="1509" y="102"/>
                    <a:pt x="1510" y="102"/>
                    <a:pt x="1510" y="101"/>
                  </a:cubicBezTo>
                  <a:cubicBezTo>
                    <a:pt x="1507" y="101"/>
                    <a:pt x="1504" y="101"/>
                    <a:pt x="1501" y="101"/>
                  </a:cubicBezTo>
                  <a:cubicBezTo>
                    <a:pt x="1499" y="101"/>
                    <a:pt x="1499" y="101"/>
                    <a:pt x="1499" y="99"/>
                  </a:cubicBezTo>
                  <a:cubicBezTo>
                    <a:pt x="1499" y="74"/>
                    <a:pt x="1499" y="48"/>
                    <a:pt x="1499" y="22"/>
                  </a:cubicBezTo>
                  <a:cubicBezTo>
                    <a:pt x="1499" y="22"/>
                    <a:pt x="1499" y="21"/>
                    <a:pt x="1499" y="21"/>
                  </a:cubicBezTo>
                  <a:cubicBezTo>
                    <a:pt x="1499" y="20"/>
                    <a:pt x="1499" y="21"/>
                    <a:pt x="1498" y="21"/>
                  </a:cubicBezTo>
                  <a:cubicBezTo>
                    <a:pt x="1499" y="22"/>
                    <a:pt x="1499" y="22"/>
                    <a:pt x="1499" y="23"/>
                  </a:cubicBezTo>
                  <a:close/>
                  <a:moveTo>
                    <a:pt x="1174" y="19"/>
                  </a:moveTo>
                  <a:cubicBezTo>
                    <a:pt x="1174" y="23"/>
                    <a:pt x="1174" y="28"/>
                    <a:pt x="1174" y="32"/>
                  </a:cubicBezTo>
                  <a:cubicBezTo>
                    <a:pt x="1174" y="34"/>
                    <a:pt x="1174" y="34"/>
                    <a:pt x="1172" y="34"/>
                  </a:cubicBezTo>
                  <a:cubicBezTo>
                    <a:pt x="1169" y="34"/>
                    <a:pt x="1167" y="34"/>
                    <a:pt x="1164" y="34"/>
                  </a:cubicBezTo>
                  <a:cubicBezTo>
                    <a:pt x="1163" y="34"/>
                    <a:pt x="1163" y="34"/>
                    <a:pt x="1163" y="35"/>
                  </a:cubicBezTo>
                  <a:cubicBezTo>
                    <a:pt x="1163" y="38"/>
                    <a:pt x="1163" y="40"/>
                    <a:pt x="1163" y="42"/>
                  </a:cubicBezTo>
                  <a:cubicBezTo>
                    <a:pt x="1163" y="44"/>
                    <a:pt x="1163" y="44"/>
                    <a:pt x="1164" y="44"/>
                  </a:cubicBezTo>
                  <a:cubicBezTo>
                    <a:pt x="1167" y="44"/>
                    <a:pt x="1170" y="44"/>
                    <a:pt x="1173" y="44"/>
                  </a:cubicBezTo>
                  <a:cubicBezTo>
                    <a:pt x="1174" y="44"/>
                    <a:pt x="1174" y="44"/>
                    <a:pt x="1174" y="45"/>
                  </a:cubicBezTo>
                  <a:cubicBezTo>
                    <a:pt x="1174" y="45"/>
                    <a:pt x="1174" y="46"/>
                    <a:pt x="1174" y="46"/>
                  </a:cubicBezTo>
                  <a:cubicBezTo>
                    <a:pt x="1174" y="59"/>
                    <a:pt x="1174" y="71"/>
                    <a:pt x="1174" y="84"/>
                  </a:cubicBezTo>
                  <a:cubicBezTo>
                    <a:pt x="1174" y="84"/>
                    <a:pt x="1174" y="85"/>
                    <a:pt x="1174" y="85"/>
                  </a:cubicBezTo>
                  <a:cubicBezTo>
                    <a:pt x="1174" y="84"/>
                    <a:pt x="1174" y="83"/>
                    <a:pt x="1174" y="82"/>
                  </a:cubicBezTo>
                  <a:cubicBezTo>
                    <a:pt x="1174" y="70"/>
                    <a:pt x="1174" y="57"/>
                    <a:pt x="1174" y="45"/>
                  </a:cubicBezTo>
                  <a:cubicBezTo>
                    <a:pt x="1174" y="43"/>
                    <a:pt x="1174" y="43"/>
                    <a:pt x="1173" y="43"/>
                  </a:cubicBezTo>
                  <a:cubicBezTo>
                    <a:pt x="1170" y="43"/>
                    <a:pt x="1167" y="43"/>
                    <a:pt x="1164" y="43"/>
                  </a:cubicBezTo>
                  <a:cubicBezTo>
                    <a:pt x="1163" y="43"/>
                    <a:pt x="1163" y="43"/>
                    <a:pt x="1163" y="42"/>
                  </a:cubicBezTo>
                  <a:cubicBezTo>
                    <a:pt x="1163" y="40"/>
                    <a:pt x="1163" y="38"/>
                    <a:pt x="1163" y="35"/>
                  </a:cubicBezTo>
                  <a:cubicBezTo>
                    <a:pt x="1163" y="34"/>
                    <a:pt x="1163" y="34"/>
                    <a:pt x="1164" y="34"/>
                  </a:cubicBezTo>
                  <a:cubicBezTo>
                    <a:pt x="1167" y="34"/>
                    <a:pt x="1170" y="34"/>
                    <a:pt x="1173" y="34"/>
                  </a:cubicBezTo>
                  <a:cubicBezTo>
                    <a:pt x="1174" y="34"/>
                    <a:pt x="1174" y="34"/>
                    <a:pt x="1174" y="33"/>
                  </a:cubicBezTo>
                  <a:cubicBezTo>
                    <a:pt x="1174" y="28"/>
                    <a:pt x="1174" y="24"/>
                    <a:pt x="1174" y="19"/>
                  </a:cubicBezTo>
                  <a:cubicBezTo>
                    <a:pt x="1174" y="19"/>
                    <a:pt x="1174" y="18"/>
                    <a:pt x="1175" y="18"/>
                  </a:cubicBezTo>
                  <a:cubicBezTo>
                    <a:pt x="1174" y="18"/>
                    <a:pt x="1174" y="18"/>
                    <a:pt x="1174" y="19"/>
                  </a:cubicBezTo>
                  <a:close/>
                  <a:moveTo>
                    <a:pt x="1110" y="43"/>
                  </a:moveTo>
                  <a:cubicBezTo>
                    <a:pt x="1110" y="40"/>
                    <a:pt x="1110" y="38"/>
                    <a:pt x="1110" y="36"/>
                  </a:cubicBezTo>
                  <a:cubicBezTo>
                    <a:pt x="1110" y="34"/>
                    <a:pt x="1110" y="34"/>
                    <a:pt x="1109" y="34"/>
                  </a:cubicBezTo>
                  <a:cubicBezTo>
                    <a:pt x="1106" y="34"/>
                    <a:pt x="1103" y="34"/>
                    <a:pt x="1101" y="34"/>
                  </a:cubicBezTo>
                  <a:cubicBezTo>
                    <a:pt x="1099" y="34"/>
                    <a:pt x="1099" y="34"/>
                    <a:pt x="1099" y="36"/>
                  </a:cubicBezTo>
                  <a:cubicBezTo>
                    <a:pt x="1099" y="36"/>
                    <a:pt x="1099" y="36"/>
                    <a:pt x="1099" y="37"/>
                  </a:cubicBezTo>
                  <a:cubicBezTo>
                    <a:pt x="1099" y="57"/>
                    <a:pt x="1099" y="78"/>
                    <a:pt x="1099" y="99"/>
                  </a:cubicBezTo>
                  <a:cubicBezTo>
                    <a:pt x="1099" y="100"/>
                    <a:pt x="1099" y="100"/>
                    <a:pt x="1099" y="101"/>
                  </a:cubicBezTo>
                  <a:cubicBezTo>
                    <a:pt x="1099" y="101"/>
                    <a:pt x="1099" y="101"/>
                    <a:pt x="1099" y="101"/>
                  </a:cubicBezTo>
                  <a:cubicBezTo>
                    <a:pt x="1099" y="101"/>
                    <a:pt x="1099" y="100"/>
                    <a:pt x="1099" y="100"/>
                  </a:cubicBezTo>
                  <a:cubicBezTo>
                    <a:pt x="1099" y="78"/>
                    <a:pt x="1099" y="57"/>
                    <a:pt x="1099" y="36"/>
                  </a:cubicBezTo>
                  <a:cubicBezTo>
                    <a:pt x="1099" y="36"/>
                    <a:pt x="1099" y="36"/>
                    <a:pt x="1099" y="35"/>
                  </a:cubicBezTo>
                  <a:cubicBezTo>
                    <a:pt x="1099" y="35"/>
                    <a:pt x="1099" y="34"/>
                    <a:pt x="1100" y="34"/>
                  </a:cubicBezTo>
                  <a:cubicBezTo>
                    <a:pt x="1103" y="34"/>
                    <a:pt x="1106" y="34"/>
                    <a:pt x="1109" y="34"/>
                  </a:cubicBezTo>
                  <a:cubicBezTo>
                    <a:pt x="1110" y="34"/>
                    <a:pt x="1110" y="35"/>
                    <a:pt x="1110" y="35"/>
                  </a:cubicBezTo>
                  <a:cubicBezTo>
                    <a:pt x="1110" y="38"/>
                    <a:pt x="1110" y="41"/>
                    <a:pt x="1110" y="44"/>
                  </a:cubicBezTo>
                  <a:cubicBezTo>
                    <a:pt x="1110" y="45"/>
                    <a:pt x="1110" y="45"/>
                    <a:pt x="1110" y="45"/>
                  </a:cubicBezTo>
                  <a:cubicBezTo>
                    <a:pt x="1111" y="45"/>
                    <a:pt x="1111" y="45"/>
                    <a:pt x="1111" y="44"/>
                  </a:cubicBezTo>
                  <a:cubicBezTo>
                    <a:pt x="1110" y="44"/>
                    <a:pt x="1110" y="43"/>
                    <a:pt x="1110" y="43"/>
                  </a:cubicBezTo>
                  <a:close/>
                  <a:moveTo>
                    <a:pt x="1343" y="95"/>
                  </a:moveTo>
                  <a:cubicBezTo>
                    <a:pt x="1343" y="97"/>
                    <a:pt x="1343" y="98"/>
                    <a:pt x="1343" y="100"/>
                  </a:cubicBezTo>
                  <a:cubicBezTo>
                    <a:pt x="1343" y="102"/>
                    <a:pt x="1342" y="102"/>
                    <a:pt x="1345" y="102"/>
                  </a:cubicBezTo>
                  <a:cubicBezTo>
                    <a:pt x="1363" y="102"/>
                    <a:pt x="1381" y="102"/>
                    <a:pt x="1399" y="102"/>
                  </a:cubicBezTo>
                  <a:cubicBezTo>
                    <a:pt x="1399" y="102"/>
                    <a:pt x="1400" y="102"/>
                    <a:pt x="1400" y="102"/>
                  </a:cubicBezTo>
                  <a:cubicBezTo>
                    <a:pt x="1401" y="102"/>
                    <a:pt x="1401" y="102"/>
                    <a:pt x="1401" y="101"/>
                  </a:cubicBezTo>
                  <a:cubicBezTo>
                    <a:pt x="1400" y="101"/>
                    <a:pt x="1400" y="101"/>
                    <a:pt x="1399" y="101"/>
                  </a:cubicBezTo>
                  <a:cubicBezTo>
                    <a:pt x="1381" y="101"/>
                    <a:pt x="1363" y="101"/>
                    <a:pt x="1345" y="101"/>
                  </a:cubicBezTo>
                  <a:cubicBezTo>
                    <a:pt x="1343" y="101"/>
                    <a:pt x="1343" y="101"/>
                    <a:pt x="1343" y="99"/>
                  </a:cubicBezTo>
                  <a:cubicBezTo>
                    <a:pt x="1343" y="97"/>
                    <a:pt x="1343" y="95"/>
                    <a:pt x="1343" y="94"/>
                  </a:cubicBezTo>
                  <a:cubicBezTo>
                    <a:pt x="1342" y="94"/>
                    <a:pt x="1343" y="94"/>
                    <a:pt x="1343" y="95"/>
                  </a:cubicBezTo>
                  <a:close/>
                  <a:moveTo>
                    <a:pt x="1041" y="72"/>
                  </a:moveTo>
                  <a:cubicBezTo>
                    <a:pt x="1041" y="71"/>
                    <a:pt x="1041" y="71"/>
                    <a:pt x="1042" y="71"/>
                  </a:cubicBezTo>
                  <a:cubicBezTo>
                    <a:pt x="1043" y="71"/>
                    <a:pt x="1043" y="71"/>
                    <a:pt x="1044" y="71"/>
                  </a:cubicBezTo>
                  <a:cubicBezTo>
                    <a:pt x="1058" y="71"/>
                    <a:pt x="1072" y="71"/>
                    <a:pt x="1086" y="71"/>
                  </a:cubicBezTo>
                  <a:cubicBezTo>
                    <a:pt x="1086" y="71"/>
                    <a:pt x="1086" y="71"/>
                    <a:pt x="1087" y="71"/>
                  </a:cubicBezTo>
                  <a:cubicBezTo>
                    <a:pt x="1088" y="71"/>
                    <a:pt x="1088" y="71"/>
                    <a:pt x="1088" y="70"/>
                  </a:cubicBezTo>
                  <a:cubicBezTo>
                    <a:pt x="1088" y="67"/>
                    <a:pt x="1088" y="64"/>
                    <a:pt x="1088" y="62"/>
                  </a:cubicBezTo>
                  <a:cubicBezTo>
                    <a:pt x="1088" y="61"/>
                    <a:pt x="1088" y="61"/>
                    <a:pt x="1088" y="60"/>
                  </a:cubicBezTo>
                  <a:cubicBezTo>
                    <a:pt x="1088" y="63"/>
                    <a:pt x="1088" y="66"/>
                    <a:pt x="1088" y="69"/>
                  </a:cubicBezTo>
                  <a:cubicBezTo>
                    <a:pt x="1088" y="71"/>
                    <a:pt x="1088" y="71"/>
                    <a:pt x="1086" y="71"/>
                  </a:cubicBezTo>
                  <a:cubicBezTo>
                    <a:pt x="1086" y="71"/>
                    <a:pt x="1086" y="71"/>
                    <a:pt x="1085" y="71"/>
                  </a:cubicBezTo>
                  <a:cubicBezTo>
                    <a:pt x="1071" y="71"/>
                    <a:pt x="1057" y="71"/>
                    <a:pt x="1043" y="71"/>
                  </a:cubicBezTo>
                  <a:cubicBezTo>
                    <a:pt x="1040" y="71"/>
                    <a:pt x="1040" y="71"/>
                    <a:pt x="1041" y="73"/>
                  </a:cubicBezTo>
                  <a:cubicBezTo>
                    <a:pt x="1041" y="73"/>
                    <a:pt x="1041" y="73"/>
                    <a:pt x="1041" y="72"/>
                  </a:cubicBezTo>
                  <a:close/>
                  <a:moveTo>
                    <a:pt x="1219" y="72"/>
                  </a:moveTo>
                  <a:cubicBezTo>
                    <a:pt x="1219" y="71"/>
                    <a:pt x="1219" y="71"/>
                    <a:pt x="1220" y="71"/>
                  </a:cubicBezTo>
                  <a:cubicBezTo>
                    <a:pt x="1220" y="71"/>
                    <a:pt x="1221" y="71"/>
                    <a:pt x="1221" y="71"/>
                  </a:cubicBezTo>
                  <a:cubicBezTo>
                    <a:pt x="1235" y="71"/>
                    <a:pt x="1249" y="71"/>
                    <a:pt x="1263" y="71"/>
                  </a:cubicBezTo>
                  <a:cubicBezTo>
                    <a:pt x="1264" y="71"/>
                    <a:pt x="1264" y="71"/>
                    <a:pt x="1265" y="71"/>
                  </a:cubicBezTo>
                  <a:cubicBezTo>
                    <a:pt x="1266" y="71"/>
                    <a:pt x="1266" y="71"/>
                    <a:pt x="1266" y="70"/>
                  </a:cubicBezTo>
                  <a:cubicBezTo>
                    <a:pt x="1266" y="67"/>
                    <a:pt x="1266" y="65"/>
                    <a:pt x="1266" y="62"/>
                  </a:cubicBezTo>
                  <a:cubicBezTo>
                    <a:pt x="1266" y="62"/>
                    <a:pt x="1266" y="61"/>
                    <a:pt x="1266" y="61"/>
                  </a:cubicBezTo>
                  <a:cubicBezTo>
                    <a:pt x="1266" y="64"/>
                    <a:pt x="1266" y="66"/>
                    <a:pt x="1266" y="69"/>
                  </a:cubicBezTo>
                  <a:cubicBezTo>
                    <a:pt x="1266" y="71"/>
                    <a:pt x="1266" y="71"/>
                    <a:pt x="1264" y="71"/>
                  </a:cubicBezTo>
                  <a:cubicBezTo>
                    <a:pt x="1250" y="71"/>
                    <a:pt x="1235" y="71"/>
                    <a:pt x="1221" y="71"/>
                  </a:cubicBezTo>
                  <a:cubicBezTo>
                    <a:pt x="1218" y="71"/>
                    <a:pt x="1218" y="71"/>
                    <a:pt x="1218" y="74"/>
                  </a:cubicBezTo>
                  <a:cubicBezTo>
                    <a:pt x="1218" y="74"/>
                    <a:pt x="1219" y="74"/>
                    <a:pt x="1219" y="74"/>
                  </a:cubicBezTo>
                  <a:cubicBezTo>
                    <a:pt x="1219" y="73"/>
                    <a:pt x="1219" y="73"/>
                    <a:pt x="1219" y="72"/>
                  </a:cubicBezTo>
                  <a:close/>
                  <a:moveTo>
                    <a:pt x="1529" y="102"/>
                  </a:moveTo>
                  <a:cubicBezTo>
                    <a:pt x="1547" y="102"/>
                    <a:pt x="1565" y="102"/>
                    <a:pt x="1583" y="102"/>
                  </a:cubicBezTo>
                  <a:cubicBezTo>
                    <a:pt x="1584" y="102"/>
                    <a:pt x="1584" y="102"/>
                    <a:pt x="1584" y="102"/>
                  </a:cubicBezTo>
                  <a:cubicBezTo>
                    <a:pt x="1585" y="102"/>
                    <a:pt x="1585" y="102"/>
                    <a:pt x="1585" y="101"/>
                  </a:cubicBezTo>
                  <a:cubicBezTo>
                    <a:pt x="1585" y="101"/>
                    <a:pt x="1584" y="101"/>
                    <a:pt x="1584" y="101"/>
                  </a:cubicBezTo>
                  <a:cubicBezTo>
                    <a:pt x="1566" y="101"/>
                    <a:pt x="1547" y="101"/>
                    <a:pt x="1529" y="101"/>
                  </a:cubicBezTo>
                  <a:cubicBezTo>
                    <a:pt x="1528" y="101"/>
                    <a:pt x="1528" y="101"/>
                    <a:pt x="1527" y="101"/>
                  </a:cubicBezTo>
                  <a:cubicBezTo>
                    <a:pt x="1528" y="102"/>
                    <a:pt x="1528" y="102"/>
                    <a:pt x="1529" y="102"/>
                  </a:cubicBezTo>
                  <a:close/>
                  <a:moveTo>
                    <a:pt x="1697" y="102"/>
                  </a:moveTo>
                  <a:cubicBezTo>
                    <a:pt x="1715" y="102"/>
                    <a:pt x="1733" y="102"/>
                    <a:pt x="1751" y="102"/>
                  </a:cubicBezTo>
                  <a:cubicBezTo>
                    <a:pt x="1752" y="102"/>
                    <a:pt x="1752" y="102"/>
                    <a:pt x="1753" y="102"/>
                  </a:cubicBezTo>
                  <a:cubicBezTo>
                    <a:pt x="1753" y="102"/>
                    <a:pt x="1753" y="102"/>
                    <a:pt x="1753" y="101"/>
                  </a:cubicBezTo>
                  <a:cubicBezTo>
                    <a:pt x="1753" y="101"/>
                    <a:pt x="1752" y="101"/>
                    <a:pt x="1752" y="101"/>
                  </a:cubicBezTo>
                  <a:cubicBezTo>
                    <a:pt x="1734" y="101"/>
                    <a:pt x="1715" y="101"/>
                    <a:pt x="1697" y="101"/>
                  </a:cubicBezTo>
                  <a:cubicBezTo>
                    <a:pt x="1696" y="101"/>
                    <a:pt x="1696" y="101"/>
                    <a:pt x="1695" y="101"/>
                  </a:cubicBezTo>
                  <a:cubicBezTo>
                    <a:pt x="1696" y="102"/>
                    <a:pt x="1697" y="102"/>
                    <a:pt x="1697" y="102"/>
                  </a:cubicBezTo>
                  <a:close/>
                  <a:moveTo>
                    <a:pt x="1186" y="82"/>
                  </a:moveTo>
                  <a:cubicBezTo>
                    <a:pt x="1186" y="70"/>
                    <a:pt x="1186" y="58"/>
                    <a:pt x="1186" y="46"/>
                  </a:cubicBezTo>
                  <a:cubicBezTo>
                    <a:pt x="1186" y="46"/>
                    <a:pt x="1186" y="46"/>
                    <a:pt x="1186" y="45"/>
                  </a:cubicBezTo>
                  <a:cubicBezTo>
                    <a:pt x="1186" y="44"/>
                    <a:pt x="1186" y="44"/>
                    <a:pt x="1187" y="44"/>
                  </a:cubicBezTo>
                  <a:cubicBezTo>
                    <a:pt x="1188" y="44"/>
                    <a:pt x="1188" y="44"/>
                    <a:pt x="1188" y="44"/>
                  </a:cubicBezTo>
                  <a:cubicBezTo>
                    <a:pt x="1192" y="44"/>
                    <a:pt x="1196" y="44"/>
                    <a:pt x="1201" y="44"/>
                  </a:cubicBezTo>
                  <a:cubicBezTo>
                    <a:pt x="1201" y="44"/>
                    <a:pt x="1202" y="44"/>
                    <a:pt x="1202" y="43"/>
                  </a:cubicBezTo>
                  <a:cubicBezTo>
                    <a:pt x="1202" y="44"/>
                    <a:pt x="1201" y="43"/>
                    <a:pt x="1200" y="43"/>
                  </a:cubicBezTo>
                  <a:cubicBezTo>
                    <a:pt x="1196" y="43"/>
                    <a:pt x="1191" y="43"/>
                    <a:pt x="1187" y="43"/>
                  </a:cubicBezTo>
                  <a:cubicBezTo>
                    <a:pt x="1185" y="43"/>
                    <a:pt x="1185" y="43"/>
                    <a:pt x="1185" y="45"/>
                  </a:cubicBezTo>
                  <a:cubicBezTo>
                    <a:pt x="1185" y="57"/>
                    <a:pt x="1185" y="70"/>
                    <a:pt x="1185" y="83"/>
                  </a:cubicBezTo>
                  <a:cubicBezTo>
                    <a:pt x="1185" y="83"/>
                    <a:pt x="1185" y="84"/>
                    <a:pt x="1186" y="85"/>
                  </a:cubicBezTo>
                  <a:cubicBezTo>
                    <a:pt x="1186" y="84"/>
                    <a:pt x="1186" y="83"/>
                    <a:pt x="1186" y="82"/>
                  </a:cubicBezTo>
                  <a:close/>
                  <a:moveTo>
                    <a:pt x="1145" y="102"/>
                  </a:moveTo>
                  <a:cubicBezTo>
                    <a:pt x="1145" y="102"/>
                    <a:pt x="1146" y="102"/>
                    <a:pt x="1146" y="102"/>
                  </a:cubicBezTo>
                  <a:cubicBezTo>
                    <a:pt x="1149" y="102"/>
                    <a:pt x="1152" y="102"/>
                    <a:pt x="1154" y="102"/>
                  </a:cubicBezTo>
                  <a:cubicBezTo>
                    <a:pt x="1155" y="102"/>
                    <a:pt x="1155" y="102"/>
                    <a:pt x="1155" y="101"/>
                  </a:cubicBezTo>
                  <a:cubicBezTo>
                    <a:pt x="1155" y="100"/>
                    <a:pt x="1155" y="100"/>
                    <a:pt x="1155" y="100"/>
                  </a:cubicBezTo>
                  <a:cubicBezTo>
                    <a:pt x="1155" y="86"/>
                    <a:pt x="1155" y="72"/>
                    <a:pt x="1155" y="58"/>
                  </a:cubicBezTo>
                  <a:cubicBezTo>
                    <a:pt x="1155" y="57"/>
                    <a:pt x="1155" y="56"/>
                    <a:pt x="1155" y="56"/>
                  </a:cubicBezTo>
                  <a:cubicBezTo>
                    <a:pt x="1155" y="57"/>
                    <a:pt x="1155" y="59"/>
                    <a:pt x="1155" y="60"/>
                  </a:cubicBezTo>
                  <a:cubicBezTo>
                    <a:pt x="1155" y="73"/>
                    <a:pt x="1155" y="86"/>
                    <a:pt x="1155" y="100"/>
                  </a:cubicBezTo>
                  <a:cubicBezTo>
                    <a:pt x="1155" y="100"/>
                    <a:pt x="1155" y="100"/>
                    <a:pt x="1155" y="101"/>
                  </a:cubicBezTo>
                  <a:cubicBezTo>
                    <a:pt x="1155" y="101"/>
                    <a:pt x="1155" y="101"/>
                    <a:pt x="1154" y="101"/>
                  </a:cubicBezTo>
                  <a:cubicBezTo>
                    <a:pt x="1151" y="101"/>
                    <a:pt x="1148" y="102"/>
                    <a:pt x="1144" y="101"/>
                  </a:cubicBezTo>
                  <a:cubicBezTo>
                    <a:pt x="1144" y="102"/>
                    <a:pt x="1145" y="102"/>
                    <a:pt x="1145" y="102"/>
                  </a:cubicBezTo>
                  <a:close/>
                  <a:moveTo>
                    <a:pt x="714" y="19"/>
                  </a:moveTo>
                  <a:cubicBezTo>
                    <a:pt x="714" y="24"/>
                    <a:pt x="714" y="28"/>
                    <a:pt x="714" y="33"/>
                  </a:cubicBezTo>
                  <a:cubicBezTo>
                    <a:pt x="714" y="34"/>
                    <a:pt x="714" y="34"/>
                    <a:pt x="713" y="34"/>
                  </a:cubicBezTo>
                  <a:cubicBezTo>
                    <a:pt x="710" y="34"/>
                    <a:pt x="707" y="34"/>
                    <a:pt x="704" y="34"/>
                  </a:cubicBezTo>
                  <a:cubicBezTo>
                    <a:pt x="703" y="34"/>
                    <a:pt x="703" y="34"/>
                    <a:pt x="703" y="35"/>
                  </a:cubicBezTo>
                  <a:cubicBezTo>
                    <a:pt x="703" y="38"/>
                    <a:pt x="703" y="40"/>
                    <a:pt x="703" y="42"/>
                  </a:cubicBezTo>
                  <a:cubicBezTo>
                    <a:pt x="703" y="44"/>
                    <a:pt x="703" y="44"/>
                    <a:pt x="704" y="44"/>
                  </a:cubicBezTo>
                  <a:cubicBezTo>
                    <a:pt x="708" y="44"/>
                    <a:pt x="711" y="44"/>
                    <a:pt x="714" y="44"/>
                  </a:cubicBezTo>
                  <a:cubicBezTo>
                    <a:pt x="714" y="43"/>
                    <a:pt x="713" y="43"/>
                    <a:pt x="713" y="43"/>
                  </a:cubicBezTo>
                  <a:cubicBezTo>
                    <a:pt x="710" y="43"/>
                    <a:pt x="707" y="43"/>
                    <a:pt x="704" y="43"/>
                  </a:cubicBezTo>
                  <a:cubicBezTo>
                    <a:pt x="703" y="43"/>
                    <a:pt x="703" y="43"/>
                    <a:pt x="703" y="42"/>
                  </a:cubicBezTo>
                  <a:cubicBezTo>
                    <a:pt x="703" y="40"/>
                    <a:pt x="703" y="38"/>
                    <a:pt x="703" y="36"/>
                  </a:cubicBezTo>
                  <a:cubicBezTo>
                    <a:pt x="703" y="34"/>
                    <a:pt x="703" y="34"/>
                    <a:pt x="704" y="34"/>
                  </a:cubicBezTo>
                  <a:cubicBezTo>
                    <a:pt x="707" y="34"/>
                    <a:pt x="710" y="34"/>
                    <a:pt x="713" y="34"/>
                  </a:cubicBezTo>
                  <a:cubicBezTo>
                    <a:pt x="714" y="34"/>
                    <a:pt x="714" y="34"/>
                    <a:pt x="715" y="33"/>
                  </a:cubicBezTo>
                  <a:cubicBezTo>
                    <a:pt x="715" y="28"/>
                    <a:pt x="714" y="24"/>
                    <a:pt x="715" y="19"/>
                  </a:cubicBezTo>
                  <a:cubicBezTo>
                    <a:pt x="715" y="19"/>
                    <a:pt x="714" y="18"/>
                    <a:pt x="715" y="18"/>
                  </a:cubicBezTo>
                  <a:cubicBezTo>
                    <a:pt x="714" y="18"/>
                    <a:pt x="714" y="19"/>
                    <a:pt x="714" y="19"/>
                  </a:cubicBezTo>
                  <a:close/>
                  <a:moveTo>
                    <a:pt x="1399" y="91"/>
                  </a:moveTo>
                  <a:cubicBezTo>
                    <a:pt x="1385" y="91"/>
                    <a:pt x="1371" y="91"/>
                    <a:pt x="1357" y="91"/>
                  </a:cubicBezTo>
                  <a:cubicBezTo>
                    <a:pt x="1356" y="91"/>
                    <a:pt x="1356" y="91"/>
                    <a:pt x="1355" y="91"/>
                  </a:cubicBezTo>
                  <a:cubicBezTo>
                    <a:pt x="1355" y="91"/>
                    <a:pt x="1354" y="91"/>
                    <a:pt x="1354" y="91"/>
                  </a:cubicBezTo>
                  <a:cubicBezTo>
                    <a:pt x="1354" y="90"/>
                    <a:pt x="1354" y="90"/>
                    <a:pt x="1354" y="89"/>
                  </a:cubicBezTo>
                  <a:cubicBezTo>
                    <a:pt x="1354" y="92"/>
                    <a:pt x="1354" y="92"/>
                    <a:pt x="1356" y="92"/>
                  </a:cubicBezTo>
                  <a:cubicBezTo>
                    <a:pt x="1370" y="92"/>
                    <a:pt x="1385" y="92"/>
                    <a:pt x="1399" y="92"/>
                  </a:cubicBezTo>
                  <a:cubicBezTo>
                    <a:pt x="1400" y="92"/>
                    <a:pt x="1400" y="92"/>
                    <a:pt x="1401" y="92"/>
                  </a:cubicBezTo>
                  <a:cubicBezTo>
                    <a:pt x="1401" y="91"/>
                    <a:pt x="1400" y="91"/>
                    <a:pt x="1399" y="91"/>
                  </a:cubicBezTo>
                  <a:close/>
                  <a:moveTo>
                    <a:pt x="792" y="71"/>
                  </a:moveTo>
                  <a:cubicBezTo>
                    <a:pt x="796" y="71"/>
                    <a:pt x="800" y="71"/>
                    <a:pt x="804" y="71"/>
                  </a:cubicBezTo>
                  <a:cubicBezTo>
                    <a:pt x="805" y="71"/>
                    <a:pt x="805" y="71"/>
                    <a:pt x="806" y="70"/>
                  </a:cubicBezTo>
                  <a:cubicBezTo>
                    <a:pt x="805" y="71"/>
                    <a:pt x="804" y="71"/>
                    <a:pt x="804" y="71"/>
                  </a:cubicBezTo>
                  <a:cubicBezTo>
                    <a:pt x="789" y="71"/>
                    <a:pt x="775" y="71"/>
                    <a:pt x="760" y="71"/>
                  </a:cubicBezTo>
                  <a:cubicBezTo>
                    <a:pt x="760" y="71"/>
                    <a:pt x="759" y="70"/>
                    <a:pt x="759" y="71"/>
                  </a:cubicBezTo>
                  <a:cubicBezTo>
                    <a:pt x="770" y="71"/>
                    <a:pt x="781" y="71"/>
                    <a:pt x="792" y="71"/>
                  </a:cubicBezTo>
                  <a:close/>
                  <a:moveTo>
                    <a:pt x="1751" y="91"/>
                  </a:moveTo>
                  <a:cubicBezTo>
                    <a:pt x="1736" y="91"/>
                    <a:pt x="1722" y="91"/>
                    <a:pt x="1707" y="91"/>
                  </a:cubicBezTo>
                  <a:cubicBezTo>
                    <a:pt x="1707" y="92"/>
                    <a:pt x="1708" y="92"/>
                    <a:pt x="1708" y="92"/>
                  </a:cubicBezTo>
                  <a:cubicBezTo>
                    <a:pt x="1722" y="92"/>
                    <a:pt x="1735" y="92"/>
                    <a:pt x="1748" y="92"/>
                  </a:cubicBezTo>
                  <a:cubicBezTo>
                    <a:pt x="1750" y="92"/>
                    <a:pt x="1752" y="92"/>
                    <a:pt x="1753" y="92"/>
                  </a:cubicBezTo>
                  <a:cubicBezTo>
                    <a:pt x="1753" y="91"/>
                    <a:pt x="1752" y="91"/>
                    <a:pt x="1751" y="91"/>
                  </a:cubicBezTo>
                  <a:close/>
                  <a:moveTo>
                    <a:pt x="1583" y="91"/>
                  </a:moveTo>
                  <a:cubicBezTo>
                    <a:pt x="1568" y="91"/>
                    <a:pt x="1553" y="91"/>
                    <a:pt x="1539" y="91"/>
                  </a:cubicBezTo>
                  <a:cubicBezTo>
                    <a:pt x="1539" y="92"/>
                    <a:pt x="1540" y="92"/>
                    <a:pt x="1540" y="92"/>
                  </a:cubicBezTo>
                  <a:cubicBezTo>
                    <a:pt x="1554" y="92"/>
                    <a:pt x="1567" y="92"/>
                    <a:pt x="1580" y="92"/>
                  </a:cubicBezTo>
                  <a:cubicBezTo>
                    <a:pt x="1582" y="92"/>
                    <a:pt x="1583" y="92"/>
                    <a:pt x="1585" y="92"/>
                  </a:cubicBezTo>
                  <a:cubicBezTo>
                    <a:pt x="1585" y="91"/>
                    <a:pt x="1584" y="91"/>
                    <a:pt x="1583" y="91"/>
                  </a:cubicBezTo>
                  <a:close/>
                  <a:moveTo>
                    <a:pt x="859" y="81"/>
                  </a:moveTo>
                  <a:cubicBezTo>
                    <a:pt x="859" y="87"/>
                    <a:pt x="859" y="94"/>
                    <a:pt x="859" y="100"/>
                  </a:cubicBezTo>
                  <a:cubicBezTo>
                    <a:pt x="859" y="100"/>
                    <a:pt x="859" y="101"/>
                    <a:pt x="859" y="101"/>
                  </a:cubicBezTo>
                  <a:cubicBezTo>
                    <a:pt x="859" y="101"/>
                    <a:pt x="859" y="100"/>
                    <a:pt x="859" y="99"/>
                  </a:cubicBezTo>
                  <a:cubicBezTo>
                    <a:pt x="859" y="87"/>
                    <a:pt x="859" y="74"/>
                    <a:pt x="859" y="61"/>
                  </a:cubicBezTo>
                  <a:cubicBezTo>
                    <a:pt x="859" y="60"/>
                    <a:pt x="860" y="59"/>
                    <a:pt x="859" y="57"/>
                  </a:cubicBezTo>
                  <a:cubicBezTo>
                    <a:pt x="859" y="65"/>
                    <a:pt x="859" y="73"/>
                    <a:pt x="859" y="81"/>
                  </a:cubicBezTo>
                  <a:close/>
                  <a:moveTo>
                    <a:pt x="714" y="86"/>
                  </a:moveTo>
                  <a:cubicBezTo>
                    <a:pt x="714" y="86"/>
                    <a:pt x="714" y="87"/>
                    <a:pt x="715" y="87"/>
                  </a:cubicBezTo>
                  <a:cubicBezTo>
                    <a:pt x="715" y="85"/>
                    <a:pt x="715" y="83"/>
                    <a:pt x="715" y="81"/>
                  </a:cubicBezTo>
                  <a:cubicBezTo>
                    <a:pt x="714" y="69"/>
                    <a:pt x="715" y="57"/>
                    <a:pt x="714" y="46"/>
                  </a:cubicBezTo>
                  <a:cubicBezTo>
                    <a:pt x="714" y="45"/>
                    <a:pt x="715" y="44"/>
                    <a:pt x="714" y="44"/>
                  </a:cubicBezTo>
                  <a:cubicBezTo>
                    <a:pt x="714" y="58"/>
                    <a:pt x="714" y="72"/>
                    <a:pt x="714" y="86"/>
                  </a:cubicBezTo>
                  <a:close/>
                  <a:moveTo>
                    <a:pt x="741" y="44"/>
                  </a:moveTo>
                  <a:cubicBezTo>
                    <a:pt x="742" y="44"/>
                    <a:pt x="742" y="44"/>
                    <a:pt x="742" y="42"/>
                  </a:cubicBezTo>
                  <a:cubicBezTo>
                    <a:pt x="742" y="40"/>
                    <a:pt x="742" y="38"/>
                    <a:pt x="742" y="36"/>
                  </a:cubicBezTo>
                  <a:cubicBezTo>
                    <a:pt x="742" y="34"/>
                    <a:pt x="742" y="34"/>
                    <a:pt x="741" y="34"/>
                  </a:cubicBezTo>
                  <a:cubicBezTo>
                    <a:pt x="736" y="34"/>
                    <a:pt x="731" y="34"/>
                    <a:pt x="725" y="34"/>
                  </a:cubicBezTo>
                  <a:cubicBezTo>
                    <a:pt x="726" y="35"/>
                    <a:pt x="726" y="34"/>
                    <a:pt x="727" y="34"/>
                  </a:cubicBezTo>
                  <a:cubicBezTo>
                    <a:pt x="732" y="34"/>
                    <a:pt x="736" y="34"/>
                    <a:pt x="741" y="34"/>
                  </a:cubicBezTo>
                  <a:cubicBezTo>
                    <a:pt x="742" y="34"/>
                    <a:pt x="742" y="34"/>
                    <a:pt x="742" y="36"/>
                  </a:cubicBezTo>
                  <a:cubicBezTo>
                    <a:pt x="742" y="38"/>
                    <a:pt x="742" y="40"/>
                    <a:pt x="742" y="42"/>
                  </a:cubicBezTo>
                  <a:cubicBezTo>
                    <a:pt x="742" y="44"/>
                    <a:pt x="742" y="43"/>
                    <a:pt x="741" y="43"/>
                  </a:cubicBezTo>
                  <a:cubicBezTo>
                    <a:pt x="736" y="43"/>
                    <a:pt x="732" y="43"/>
                    <a:pt x="727" y="43"/>
                  </a:cubicBezTo>
                  <a:cubicBezTo>
                    <a:pt x="726" y="43"/>
                    <a:pt x="726" y="43"/>
                    <a:pt x="725" y="44"/>
                  </a:cubicBezTo>
                  <a:cubicBezTo>
                    <a:pt x="731" y="44"/>
                    <a:pt x="736" y="44"/>
                    <a:pt x="741" y="44"/>
                  </a:cubicBezTo>
                  <a:close/>
                  <a:moveTo>
                    <a:pt x="871" y="100"/>
                  </a:moveTo>
                  <a:cubicBezTo>
                    <a:pt x="871" y="93"/>
                    <a:pt x="871" y="87"/>
                    <a:pt x="871" y="80"/>
                  </a:cubicBezTo>
                  <a:cubicBezTo>
                    <a:pt x="871" y="73"/>
                    <a:pt x="871" y="67"/>
                    <a:pt x="871" y="60"/>
                  </a:cubicBezTo>
                  <a:cubicBezTo>
                    <a:pt x="870" y="61"/>
                    <a:pt x="870" y="63"/>
                    <a:pt x="870" y="64"/>
                  </a:cubicBezTo>
                  <a:cubicBezTo>
                    <a:pt x="870" y="76"/>
                    <a:pt x="870" y="88"/>
                    <a:pt x="870" y="99"/>
                  </a:cubicBezTo>
                  <a:cubicBezTo>
                    <a:pt x="870" y="100"/>
                    <a:pt x="870" y="101"/>
                    <a:pt x="870" y="101"/>
                  </a:cubicBezTo>
                  <a:cubicBezTo>
                    <a:pt x="871" y="101"/>
                    <a:pt x="871" y="100"/>
                    <a:pt x="871" y="100"/>
                  </a:cubicBezTo>
                  <a:close/>
                  <a:moveTo>
                    <a:pt x="1110" y="100"/>
                  </a:moveTo>
                  <a:cubicBezTo>
                    <a:pt x="1110" y="93"/>
                    <a:pt x="1110" y="86"/>
                    <a:pt x="1110" y="79"/>
                  </a:cubicBezTo>
                  <a:cubicBezTo>
                    <a:pt x="1110" y="73"/>
                    <a:pt x="1110" y="66"/>
                    <a:pt x="1110" y="60"/>
                  </a:cubicBezTo>
                  <a:cubicBezTo>
                    <a:pt x="1110" y="61"/>
                    <a:pt x="1110" y="63"/>
                    <a:pt x="1110" y="64"/>
                  </a:cubicBezTo>
                  <a:cubicBezTo>
                    <a:pt x="1110" y="76"/>
                    <a:pt x="1110" y="88"/>
                    <a:pt x="1110" y="99"/>
                  </a:cubicBezTo>
                  <a:cubicBezTo>
                    <a:pt x="1110" y="100"/>
                    <a:pt x="1110" y="101"/>
                    <a:pt x="1110" y="101"/>
                  </a:cubicBezTo>
                  <a:cubicBezTo>
                    <a:pt x="1111" y="101"/>
                    <a:pt x="1110" y="100"/>
                    <a:pt x="1110" y="100"/>
                  </a:cubicBezTo>
                  <a:close/>
                  <a:moveTo>
                    <a:pt x="1288" y="100"/>
                  </a:moveTo>
                  <a:cubicBezTo>
                    <a:pt x="1288" y="88"/>
                    <a:pt x="1288" y="75"/>
                    <a:pt x="1288" y="63"/>
                  </a:cubicBezTo>
                  <a:cubicBezTo>
                    <a:pt x="1288" y="64"/>
                    <a:pt x="1288" y="65"/>
                    <a:pt x="1288" y="66"/>
                  </a:cubicBezTo>
                  <a:cubicBezTo>
                    <a:pt x="1288" y="77"/>
                    <a:pt x="1288" y="88"/>
                    <a:pt x="1288" y="99"/>
                  </a:cubicBezTo>
                  <a:cubicBezTo>
                    <a:pt x="1288" y="100"/>
                    <a:pt x="1288" y="101"/>
                    <a:pt x="1288" y="101"/>
                  </a:cubicBezTo>
                  <a:cubicBezTo>
                    <a:pt x="1288" y="101"/>
                    <a:pt x="1288" y="101"/>
                    <a:pt x="1288" y="100"/>
                  </a:cubicBezTo>
                  <a:close/>
                  <a:moveTo>
                    <a:pt x="1201" y="34"/>
                  </a:moveTo>
                  <a:cubicBezTo>
                    <a:pt x="1196" y="34"/>
                    <a:pt x="1192" y="34"/>
                    <a:pt x="1187" y="34"/>
                  </a:cubicBezTo>
                  <a:cubicBezTo>
                    <a:pt x="1186" y="34"/>
                    <a:pt x="1186" y="34"/>
                    <a:pt x="1186" y="32"/>
                  </a:cubicBezTo>
                  <a:cubicBezTo>
                    <a:pt x="1186" y="27"/>
                    <a:pt x="1186" y="21"/>
                    <a:pt x="1186" y="16"/>
                  </a:cubicBezTo>
                  <a:cubicBezTo>
                    <a:pt x="1186" y="16"/>
                    <a:pt x="1186" y="15"/>
                    <a:pt x="1186" y="15"/>
                  </a:cubicBezTo>
                  <a:cubicBezTo>
                    <a:pt x="1185" y="14"/>
                    <a:pt x="1185" y="14"/>
                    <a:pt x="1185" y="15"/>
                  </a:cubicBezTo>
                  <a:cubicBezTo>
                    <a:pt x="1185" y="15"/>
                    <a:pt x="1185" y="14"/>
                    <a:pt x="1185" y="15"/>
                  </a:cubicBezTo>
                  <a:cubicBezTo>
                    <a:pt x="1185" y="15"/>
                    <a:pt x="1185" y="16"/>
                    <a:pt x="1185" y="16"/>
                  </a:cubicBezTo>
                  <a:cubicBezTo>
                    <a:pt x="1185" y="22"/>
                    <a:pt x="1185" y="27"/>
                    <a:pt x="1185" y="33"/>
                  </a:cubicBezTo>
                  <a:cubicBezTo>
                    <a:pt x="1185" y="34"/>
                    <a:pt x="1185" y="34"/>
                    <a:pt x="1187" y="34"/>
                  </a:cubicBezTo>
                  <a:cubicBezTo>
                    <a:pt x="1191" y="34"/>
                    <a:pt x="1196" y="34"/>
                    <a:pt x="1200" y="34"/>
                  </a:cubicBezTo>
                  <a:cubicBezTo>
                    <a:pt x="1201" y="34"/>
                    <a:pt x="1202" y="34"/>
                    <a:pt x="1202" y="34"/>
                  </a:cubicBezTo>
                  <a:cubicBezTo>
                    <a:pt x="1202" y="34"/>
                    <a:pt x="1201" y="34"/>
                    <a:pt x="1201" y="34"/>
                  </a:cubicBezTo>
                  <a:close/>
                  <a:moveTo>
                    <a:pt x="1346" y="16"/>
                  </a:moveTo>
                  <a:cubicBezTo>
                    <a:pt x="1346" y="19"/>
                    <a:pt x="1346" y="22"/>
                    <a:pt x="1346" y="26"/>
                  </a:cubicBezTo>
                  <a:cubicBezTo>
                    <a:pt x="1346" y="26"/>
                    <a:pt x="1346" y="26"/>
                    <a:pt x="1347" y="27"/>
                  </a:cubicBezTo>
                  <a:cubicBezTo>
                    <a:pt x="1348" y="26"/>
                    <a:pt x="1349" y="25"/>
                    <a:pt x="1350" y="23"/>
                  </a:cubicBezTo>
                  <a:cubicBezTo>
                    <a:pt x="1349" y="24"/>
                    <a:pt x="1348" y="25"/>
                    <a:pt x="1347" y="26"/>
                  </a:cubicBezTo>
                  <a:cubicBezTo>
                    <a:pt x="1347" y="22"/>
                    <a:pt x="1347" y="19"/>
                    <a:pt x="1347" y="15"/>
                  </a:cubicBezTo>
                  <a:cubicBezTo>
                    <a:pt x="1347" y="15"/>
                    <a:pt x="1347" y="15"/>
                    <a:pt x="1347" y="15"/>
                  </a:cubicBezTo>
                  <a:cubicBezTo>
                    <a:pt x="1346" y="15"/>
                    <a:pt x="1346" y="15"/>
                    <a:pt x="1346" y="16"/>
                  </a:cubicBezTo>
                  <a:close/>
                  <a:moveTo>
                    <a:pt x="1676" y="102"/>
                  </a:moveTo>
                  <a:cubicBezTo>
                    <a:pt x="1680" y="102"/>
                    <a:pt x="1683" y="102"/>
                    <a:pt x="1687" y="102"/>
                  </a:cubicBezTo>
                  <a:cubicBezTo>
                    <a:pt x="1687" y="102"/>
                    <a:pt x="1687" y="102"/>
                    <a:pt x="1688" y="102"/>
                  </a:cubicBezTo>
                  <a:cubicBezTo>
                    <a:pt x="1688" y="102"/>
                    <a:pt x="1688" y="101"/>
                    <a:pt x="1688" y="101"/>
                  </a:cubicBezTo>
                  <a:cubicBezTo>
                    <a:pt x="1688" y="101"/>
                    <a:pt x="1688" y="101"/>
                    <a:pt x="1687" y="101"/>
                  </a:cubicBezTo>
                  <a:cubicBezTo>
                    <a:pt x="1683" y="101"/>
                    <a:pt x="1679" y="101"/>
                    <a:pt x="1675" y="101"/>
                  </a:cubicBezTo>
                  <a:cubicBezTo>
                    <a:pt x="1675" y="102"/>
                    <a:pt x="1676" y="102"/>
                    <a:pt x="1676" y="102"/>
                  </a:cubicBezTo>
                  <a:close/>
                  <a:moveTo>
                    <a:pt x="603" y="34"/>
                  </a:moveTo>
                  <a:cubicBezTo>
                    <a:pt x="600" y="34"/>
                    <a:pt x="597" y="34"/>
                    <a:pt x="593" y="34"/>
                  </a:cubicBezTo>
                  <a:cubicBezTo>
                    <a:pt x="593" y="34"/>
                    <a:pt x="593" y="34"/>
                    <a:pt x="592" y="34"/>
                  </a:cubicBezTo>
                  <a:cubicBezTo>
                    <a:pt x="592" y="34"/>
                    <a:pt x="592" y="35"/>
                    <a:pt x="592" y="35"/>
                  </a:cubicBezTo>
                  <a:cubicBezTo>
                    <a:pt x="592" y="34"/>
                    <a:pt x="593" y="34"/>
                    <a:pt x="593" y="34"/>
                  </a:cubicBezTo>
                  <a:cubicBezTo>
                    <a:pt x="597" y="34"/>
                    <a:pt x="600" y="34"/>
                    <a:pt x="603" y="34"/>
                  </a:cubicBezTo>
                  <a:cubicBezTo>
                    <a:pt x="604" y="34"/>
                    <a:pt x="604" y="34"/>
                    <a:pt x="605" y="35"/>
                  </a:cubicBezTo>
                  <a:cubicBezTo>
                    <a:pt x="605" y="34"/>
                    <a:pt x="604" y="34"/>
                    <a:pt x="603" y="34"/>
                  </a:cubicBezTo>
                  <a:close/>
                  <a:moveTo>
                    <a:pt x="1471" y="59"/>
                  </a:moveTo>
                  <a:cubicBezTo>
                    <a:pt x="1471" y="56"/>
                    <a:pt x="1471" y="52"/>
                    <a:pt x="1471" y="48"/>
                  </a:cubicBezTo>
                  <a:cubicBezTo>
                    <a:pt x="1471" y="48"/>
                    <a:pt x="1471" y="47"/>
                    <a:pt x="1471" y="47"/>
                  </a:cubicBezTo>
                  <a:cubicBezTo>
                    <a:pt x="1471" y="51"/>
                    <a:pt x="1471" y="56"/>
                    <a:pt x="1471" y="60"/>
                  </a:cubicBezTo>
                  <a:cubicBezTo>
                    <a:pt x="1471" y="60"/>
                    <a:pt x="1471" y="60"/>
                    <a:pt x="1471" y="59"/>
                  </a:cubicBezTo>
                  <a:close/>
                  <a:moveTo>
                    <a:pt x="585" y="22"/>
                  </a:moveTo>
                  <a:cubicBezTo>
                    <a:pt x="585" y="21"/>
                    <a:pt x="585" y="21"/>
                    <a:pt x="585" y="21"/>
                  </a:cubicBezTo>
                  <a:cubicBezTo>
                    <a:pt x="585" y="17"/>
                    <a:pt x="585" y="14"/>
                    <a:pt x="585" y="10"/>
                  </a:cubicBezTo>
                  <a:cubicBezTo>
                    <a:pt x="585" y="10"/>
                    <a:pt x="585" y="9"/>
                    <a:pt x="585" y="9"/>
                  </a:cubicBezTo>
                  <a:cubicBezTo>
                    <a:pt x="585" y="9"/>
                    <a:pt x="585" y="9"/>
                    <a:pt x="585" y="10"/>
                  </a:cubicBezTo>
                  <a:cubicBezTo>
                    <a:pt x="585" y="13"/>
                    <a:pt x="585" y="17"/>
                    <a:pt x="585" y="21"/>
                  </a:cubicBezTo>
                  <a:cubicBezTo>
                    <a:pt x="585" y="21"/>
                    <a:pt x="585" y="21"/>
                    <a:pt x="585" y="21"/>
                  </a:cubicBezTo>
                  <a:cubicBezTo>
                    <a:pt x="585" y="22"/>
                    <a:pt x="585" y="22"/>
                    <a:pt x="585" y="22"/>
                  </a:cubicBezTo>
                  <a:close/>
                  <a:moveTo>
                    <a:pt x="1699" y="15"/>
                  </a:moveTo>
                  <a:cubicBezTo>
                    <a:pt x="1699" y="19"/>
                    <a:pt x="1699" y="22"/>
                    <a:pt x="1699" y="26"/>
                  </a:cubicBezTo>
                  <a:cubicBezTo>
                    <a:pt x="1699" y="26"/>
                    <a:pt x="1699" y="26"/>
                    <a:pt x="1699" y="26"/>
                  </a:cubicBezTo>
                  <a:cubicBezTo>
                    <a:pt x="1699" y="27"/>
                    <a:pt x="1699" y="26"/>
                    <a:pt x="1699" y="26"/>
                  </a:cubicBezTo>
                  <a:cubicBezTo>
                    <a:pt x="1699" y="26"/>
                    <a:pt x="1699" y="25"/>
                    <a:pt x="1699" y="25"/>
                  </a:cubicBezTo>
                  <a:cubicBezTo>
                    <a:pt x="1699" y="22"/>
                    <a:pt x="1699" y="19"/>
                    <a:pt x="1699" y="17"/>
                  </a:cubicBezTo>
                  <a:cubicBezTo>
                    <a:pt x="1699" y="16"/>
                    <a:pt x="1699" y="15"/>
                    <a:pt x="1699" y="15"/>
                  </a:cubicBezTo>
                  <a:cubicBezTo>
                    <a:pt x="1699" y="15"/>
                    <a:pt x="1699" y="15"/>
                    <a:pt x="1699" y="15"/>
                  </a:cubicBezTo>
                  <a:close/>
                  <a:moveTo>
                    <a:pt x="1531" y="15"/>
                  </a:moveTo>
                  <a:cubicBezTo>
                    <a:pt x="1531" y="19"/>
                    <a:pt x="1531" y="22"/>
                    <a:pt x="1531" y="26"/>
                  </a:cubicBezTo>
                  <a:cubicBezTo>
                    <a:pt x="1531" y="26"/>
                    <a:pt x="1531" y="26"/>
                    <a:pt x="1531" y="26"/>
                  </a:cubicBezTo>
                  <a:cubicBezTo>
                    <a:pt x="1531" y="27"/>
                    <a:pt x="1531" y="26"/>
                    <a:pt x="1531" y="26"/>
                  </a:cubicBezTo>
                  <a:cubicBezTo>
                    <a:pt x="1531" y="26"/>
                    <a:pt x="1531" y="25"/>
                    <a:pt x="1531" y="25"/>
                  </a:cubicBezTo>
                  <a:cubicBezTo>
                    <a:pt x="1531" y="22"/>
                    <a:pt x="1531" y="19"/>
                    <a:pt x="1531" y="17"/>
                  </a:cubicBezTo>
                  <a:cubicBezTo>
                    <a:pt x="1531" y="16"/>
                    <a:pt x="1531" y="15"/>
                    <a:pt x="1531" y="15"/>
                  </a:cubicBezTo>
                  <a:cubicBezTo>
                    <a:pt x="1531" y="15"/>
                    <a:pt x="1531" y="15"/>
                    <a:pt x="1531" y="15"/>
                  </a:cubicBezTo>
                  <a:close/>
                  <a:moveTo>
                    <a:pt x="1261" y="95"/>
                  </a:moveTo>
                  <a:cubicBezTo>
                    <a:pt x="1261" y="93"/>
                    <a:pt x="1261" y="91"/>
                    <a:pt x="1261" y="89"/>
                  </a:cubicBezTo>
                  <a:cubicBezTo>
                    <a:pt x="1261" y="88"/>
                    <a:pt x="1261" y="87"/>
                    <a:pt x="1261" y="86"/>
                  </a:cubicBezTo>
                  <a:cubicBezTo>
                    <a:pt x="1260" y="86"/>
                    <a:pt x="1260" y="87"/>
                    <a:pt x="1260" y="87"/>
                  </a:cubicBezTo>
                  <a:cubicBezTo>
                    <a:pt x="1260" y="87"/>
                    <a:pt x="1260" y="87"/>
                    <a:pt x="1261" y="87"/>
                  </a:cubicBezTo>
                  <a:cubicBezTo>
                    <a:pt x="1261" y="90"/>
                    <a:pt x="1261" y="93"/>
                    <a:pt x="1261" y="96"/>
                  </a:cubicBezTo>
                  <a:cubicBezTo>
                    <a:pt x="1261" y="96"/>
                    <a:pt x="1261" y="97"/>
                    <a:pt x="1261" y="97"/>
                  </a:cubicBezTo>
                  <a:cubicBezTo>
                    <a:pt x="1261" y="97"/>
                    <a:pt x="1261" y="96"/>
                    <a:pt x="1261" y="95"/>
                  </a:cubicBezTo>
                  <a:close/>
                  <a:moveTo>
                    <a:pt x="801" y="96"/>
                  </a:moveTo>
                  <a:cubicBezTo>
                    <a:pt x="801" y="93"/>
                    <a:pt x="801" y="90"/>
                    <a:pt x="801" y="87"/>
                  </a:cubicBezTo>
                  <a:cubicBezTo>
                    <a:pt x="801" y="87"/>
                    <a:pt x="801" y="87"/>
                    <a:pt x="801" y="86"/>
                  </a:cubicBezTo>
                  <a:cubicBezTo>
                    <a:pt x="801" y="86"/>
                    <a:pt x="801" y="86"/>
                    <a:pt x="801" y="87"/>
                  </a:cubicBezTo>
                  <a:cubicBezTo>
                    <a:pt x="801" y="87"/>
                    <a:pt x="801" y="87"/>
                    <a:pt x="801" y="87"/>
                  </a:cubicBezTo>
                  <a:cubicBezTo>
                    <a:pt x="801" y="90"/>
                    <a:pt x="801" y="93"/>
                    <a:pt x="801" y="96"/>
                  </a:cubicBezTo>
                  <a:cubicBezTo>
                    <a:pt x="801" y="97"/>
                    <a:pt x="801" y="97"/>
                    <a:pt x="800" y="97"/>
                  </a:cubicBezTo>
                  <a:cubicBezTo>
                    <a:pt x="801" y="97"/>
                    <a:pt x="801" y="97"/>
                    <a:pt x="801" y="96"/>
                  </a:cubicBezTo>
                  <a:close/>
                  <a:moveTo>
                    <a:pt x="1021" y="20"/>
                  </a:moveTo>
                  <a:cubicBezTo>
                    <a:pt x="1021" y="17"/>
                    <a:pt x="1021" y="14"/>
                    <a:pt x="1021" y="11"/>
                  </a:cubicBezTo>
                  <a:cubicBezTo>
                    <a:pt x="1021" y="10"/>
                    <a:pt x="1021" y="10"/>
                    <a:pt x="1021" y="10"/>
                  </a:cubicBezTo>
                  <a:cubicBezTo>
                    <a:pt x="1021" y="14"/>
                    <a:pt x="1021" y="17"/>
                    <a:pt x="1021" y="21"/>
                  </a:cubicBezTo>
                  <a:cubicBezTo>
                    <a:pt x="1021" y="21"/>
                    <a:pt x="1021" y="21"/>
                    <a:pt x="1021" y="20"/>
                  </a:cubicBezTo>
                  <a:close/>
                  <a:moveTo>
                    <a:pt x="951" y="51"/>
                  </a:moveTo>
                  <a:cubicBezTo>
                    <a:pt x="951" y="55"/>
                    <a:pt x="951" y="58"/>
                    <a:pt x="951" y="61"/>
                  </a:cubicBezTo>
                  <a:cubicBezTo>
                    <a:pt x="951" y="61"/>
                    <a:pt x="951" y="62"/>
                    <a:pt x="951" y="62"/>
                  </a:cubicBezTo>
                  <a:cubicBezTo>
                    <a:pt x="951" y="58"/>
                    <a:pt x="951" y="54"/>
                    <a:pt x="951" y="50"/>
                  </a:cubicBezTo>
                  <a:cubicBezTo>
                    <a:pt x="951" y="51"/>
                    <a:pt x="951" y="51"/>
                    <a:pt x="951" y="51"/>
                  </a:cubicBezTo>
                  <a:close/>
                  <a:moveTo>
                    <a:pt x="1021" y="97"/>
                  </a:moveTo>
                  <a:cubicBezTo>
                    <a:pt x="1021" y="94"/>
                    <a:pt x="1021" y="91"/>
                    <a:pt x="1021" y="88"/>
                  </a:cubicBezTo>
                  <a:cubicBezTo>
                    <a:pt x="1021" y="87"/>
                    <a:pt x="1021" y="87"/>
                    <a:pt x="1021" y="87"/>
                  </a:cubicBezTo>
                  <a:cubicBezTo>
                    <a:pt x="1021" y="87"/>
                    <a:pt x="1021" y="87"/>
                    <a:pt x="1021" y="87"/>
                  </a:cubicBezTo>
                  <a:cubicBezTo>
                    <a:pt x="1021" y="87"/>
                    <a:pt x="1021" y="87"/>
                    <a:pt x="1021" y="88"/>
                  </a:cubicBezTo>
                  <a:cubicBezTo>
                    <a:pt x="1021" y="91"/>
                    <a:pt x="1021" y="94"/>
                    <a:pt x="1021" y="98"/>
                  </a:cubicBezTo>
                  <a:cubicBezTo>
                    <a:pt x="1021" y="97"/>
                    <a:pt x="1021" y="97"/>
                    <a:pt x="1021" y="97"/>
                  </a:cubicBezTo>
                  <a:close/>
                  <a:moveTo>
                    <a:pt x="594" y="123"/>
                  </a:moveTo>
                  <a:cubicBezTo>
                    <a:pt x="594" y="126"/>
                    <a:pt x="594" y="129"/>
                    <a:pt x="594" y="132"/>
                  </a:cubicBezTo>
                  <a:cubicBezTo>
                    <a:pt x="594" y="132"/>
                    <a:pt x="594" y="132"/>
                    <a:pt x="595" y="132"/>
                  </a:cubicBezTo>
                  <a:cubicBezTo>
                    <a:pt x="595" y="132"/>
                    <a:pt x="595" y="132"/>
                    <a:pt x="595" y="132"/>
                  </a:cubicBezTo>
                  <a:cubicBezTo>
                    <a:pt x="595" y="129"/>
                    <a:pt x="595" y="126"/>
                    <a:pt x="595" y="123"/>
                  </a:cubicBezTo>
                  <a:cubicBezTo>
                    <a:pt x="595" y="123"/>
                    <a:pt x="595" y="123"/>
                    <a:pt x="596" y="123"/>
                  </a:cubicBezTo>
                  <a:cubicBezTo>
                    <a:pt x="594" y="122"/>
                    <a:pt x="594" y="122"/>
                    <a:pt x="594" y="123"/>
                  </a:cubicBezTo>
                  <a:close/>
                  <a:moveTo>
                    <a:pt x="697" y="46"/>
                  </a:moveTo>
                  <a:cubicBezTo>
                    <a:pt x="697" y="43"/>
                    <a:pt x="697" y="40"/>
                    <a:pt x="697" y="37"/>
                  </a:cubicBezTo>
                  <a:cubicBezTo>
                    <a:pt x="697" y="36"/>
                    <a:pt x="697" y="36"/>
                    <a:pt x="696" y="36"/>
                  </a:cubicBezTo>
                  <a:cubicBezTo>
                    <a:pt x="696" y="39"/>
                    <a:pt x="696" y="42"/>
                    <a:pt x="696" y="46"/>
                  </a:cubicBezTo>
                  <a:cubicBezTo>
                    <a:pt x="696" y="46"/>
                    <a:pt x="697" y="46"/>
                    <a:pt x="696" y="47"/>
                  </a:cubicBezTo>
                  <a:cubicBezTo>
                    <a:pt x="697" y="47"/>
                    <a:pt x="697" y="46"/>
                    <a:pt x="697" y="46"/>
                  </a:cubicBezTo>
                  <a:close/>
                  <a:moveTo>
                    <a:pt x="655" y="34"/>
                  </a:moveTo>
                  <a:cubicBezTo>
                    <a:pt x="652" y="34"/>
                    <a:pt x="648" y="34"/>
                    <a:pt x="645" y="34"/>
                  </a:cubicBezTo>
                  <a:cubicBezTo>
                    <a:pt x="645" y="34"/>
                    <a:pt x="645" y="34"/>
                    <a:pt x="644" y="34"/>
                  </a:cubicBezTo>
                  <a:cubicBezTo>
                    <a:pt x="645" y="34"/>
                    <a:pt x="645" y="34"/>
                    <a:pt x="645" y="34"/>
                  </a:cubicBezTo>
                  <a:cubicBezTo>
                    <a:pt x="648" y="34"/>
                    <a:pt x="652" y="34"/>
                    <a:pt x="655" y="34"/>
                  </a:cubicBezTo>
                  <a:cubicBezTo>
                    <a:pt x="655" y="34"/>
                    <a:pt x="655" y="34"/>
                    <a:pt x="656" y="35"/>
                  </a:cubicBezTo>
                  <a:cubicBezTo>
                    <a:pt x="656" y="34"/>
                    <a:pt x="655" y="34"/>
                    <a:pt x="655" y="34"/>
                  </a:cubicBezTo>
                  <a:close/>
                  <a:moveTo>
                    <a:pt x="1100" y="102"/>
                  </a:moveTo>
                  <a:cubicBezTo>
                    <a:pt x="1103" y="102"/>
                    <a:pt x="1106" y="102"/>
                    <a:pt x="1109" y="102"/>
                  </a:cubicBezTo>
                  <a:cubicBezTo>
                    <a:pt x="1109" y="102"/>
                    <a:pt x="1110" y="102"/>
                    <a:pt x="1110" y="101"/>
                  </a:cubicBezTo>
                  <a:cubicBezTo>
                    <a:pt x="1106" y="101"/>
                    <a:pt x="1103" y="101"/>
                    <a:pt x="1099" y="101"/>
                  </a:cubicBezTo>
                  <a:cubicBezTo>
                    <a:pt x="1099" y="102"/>
                    <a:pt x="1100" y="102"/>
                    <a:pt x="1100" y="102"/>
                  </a:cubicBezTo>
                  <a:close/>
                  <a:moveTo>
                    <a:pt x="860" y="102"/>
                  </a:moveTo>
                  <a:cubicBezTo>
                    <a:pt x="863" y="102"/>
                    <a:pt x="866" y="102"/>
                    <a:pt x="869" y="102"/>
                  </a:cubicBezTo>
                  <a:cubicBezTo>
                    <a:pt x="870" y="102"/>
                    <a:pt x="870" y="102"/>
                    <a:pt x="870" y="101"/>
                  </a:cubicBezTo>
                  <a:cubicBezTo>
                    <a:pt x="867" y="101"/>
                    <a:pt x="863" y="101"/>
                    <a:pt x="859" y="101"/>
                  </a:cubicBezTo>
                  <a:cubicBezTo>
                    <a:pt x="860" y="102"/>
                    <a:pt x="860" y="102"/>
                    <a:pt x="860" y="102"/>
                  </a:cubicBezTo>
                  <a:close/>
                  <a:moveTo>
                    <a:pt x="742" y="100"/>
                  </a:moveTo>
                  <a:cubicBezTo>
                    <a:pt x="742" y="97"/>
                    <a:pt x="742" y="95"/>
                    <a:pt x="742" y="93"/>
                  </a:cubicBezTo>
                  <a:cubicBezTo>
                    <a:pt x="742" y="92"/>
                    <a:pt x="742" y="92"/>
                    <a:pt x="742" y="92"/>
                  </a:cubicBezTo>
                  <a:cubicBezTo>
                    <a:pt x="742" y="91"/>
                    <a:pt x="742" y="92"/>
                    <a:pt x="742" y="92"/>
                  </a:cubicBezTo>
                  <a:cubicBezTo>
                    <a:pt x="742" y="92"/>
                    <a:pt x="742" y="92"/>
                    <a:pt x="742" y="93"/>
                  </a:cubicBezTo>
                  <a:cubicBezTo>
                    <a:pt x="742" y="95"/>
                    <a:pt x="742" y="98"/>
                    <a:pt x="742" y="100"/>
                  </a:cubicBezTo>
                  <a:cubicBezTo>
                    <a:pt x="742" y="101"/>
                    <a:pt x="742" y="101"/>
                    <a:pt x="742" y="101"/>
                  </a:cubicBezTo>
                  <a:cubicBezTo>
                    <a:pt x="743" y="101"/>
                    <a:pt x="742" y="100"/>
                    <a:pt x="742" y="100"/>
                  </a:cubicBezTo>
                  <a:close/>
                  <a:moveTo>
                    <a:pt x="1586" y="101"/>
                  </a:moveTo>
                  <a:cubicBezTo>
                    <a:pt x="1586" y="98"/>
                    <a:pt x="1586" y="95"/>
                    <a:pt x="1586" y="93"/>
                  </a:cubicBezTo>
                  <a:cubicBezTo>
                    <a:pt x="1586" y="92"/>
                    <a:pt x="1585" y="92"/>
                    <a:pt x="1585" y="92"/>
                  </a:cubicBezTo>
                  <a:cubicBezTo>
                    <a:pt x="1585" y="95"/>
                    <a:pt x="1585" y="98"/>
                    <a:pt x="1585" y="101"/>
                  </a:cubicBezTo>
                  <a:cubicBezTo>
                    <a:pt x="1585" y="101"/>
                    <a:pt x="1586" y="101"/>
                    <a:pt x="1586" y="101"/>
                  </a:cubicBezTo>
                  <a:close/>
                  <a:moveTo>
                    <a:pt x="1754" y="101"/>
                  </a:moveTo>
                  <a:cubicBezTo>
                    <a:pt x="1754" y="98"/>
                    <a:pt x="1754" y="95"/>
                    <a:pt x="1754" y="93"/>
                  </a:cubicBezTo>
                  <a:cubicBezTo>
                    <a:pt x="1754" y="92"/>
                    <a:pt x="1754" y="92"/>
                    <a:pt x="1753" y="92"/>
                  </a:cubicBezTo>
                  <a:cubicBezTo>
                    <a:pt x="1753" y="95"/>
                    <a:pt x="1753" y="98"/>
                    <a:pt x="1753" y="101"/>
                  </a:cubicBezTo>
                  <a:cubicBezTo>
                    <a:pt x="1754" y="101"/>
                    <a:pt x="1754" y="101"/>
                    <a:pt x="1754" y="101"/>
                  </a:cubicBezTo>
                  <a:close/>
                  <a:moveTo>
                    <a:pt x="1684" y="36"/>
                  </a:moveTo>
                  <a:cubicBezTo>
                    <a:pt x="1684" y="34"/>
                    <a:pt x="1684" y="31"/>
                    <a:pt x="1684" y="29"/>
                  </a:cubicBezTo>
                  <a:cubicBezTo>
                    <a:pt x="1684" y="29"/>
                    <a:pt x="1684" y="28"/>
                    <a:pt x="1684" y="28"/>
                  </a:cubicBezTo>
                  <a:cubicBezTo>
                    <a:pt x="1684" y="31"/>
                    <a:pt x="1684" y="34"/>
                    <a:pt x="1684" y="37"/>
                  </a:cubicBezTo>
                  <a:cubicBezTo>
                    <a:pt x="1684" y="37"/>
                    <a:pt x="1684" y="36"/>
                    <a:pt x="1684" y="36"/>
                  </a:cubicBezTo>
                  <a:close/>
                  <a:moveTo>
                    <a:pt x="1207" y="73"/>
                  </a:moveTo>
                  <a:cubicBezTo>
                    <a:pt x="1207" y="70"/>
                    <a:pt x="1207" y="67"/>
                    <a:pt x="1207" y="64"/>
                  </a:cubicBezTo>
                  <a:cubicBezTo>
                    <a:pt x="1207" y="66"/>
                    <a:pt x="1207" y="71"/>
                    <a:pt x="1207" y="73"/>
                  </a:cubicBezTo>
                  <a:close/>
                  <a:moveTo>
                    <a:pt x="1398" y="35"/>
                  </a:moveTo>
                  <a:cubicBezTo>
                    <a:pt x="1398" y="33"/>
                    <a:pt x="1398" y="30"/>
                    <a:pt x="1398" y="28"/>
                  </a:cubicBezTo>
                  <a:cubicBezTo>
                    <a:pt x="1398" y="28"/>
                    <a:pt x="1397" y="28"/>
                    <a:pt x="1397" y="27"/>
                  </a:cubicBezTo>
                  <a:cubicBezTo>
                    <a:pt x="1397" y="30"/>
                    <a:pt x="1397" y="33"/>
                    <a:pt x="1397" y="35"/>
                  </a:cubicBezTo>
                  <a:cubicBezTo>
                    <a:pt x="1397" y="35"/>
                    <a:pt x="1398" y="35"/>
                    <a:pt x="1398" y="35"/>
                  </a:cubicBezTo>
                  <a:close/>
                  <a:moveTo>
                    <a:pt x="1058" y="94"/>
                  </a:moveTo>
                  <a:cubicBezTo>
                    <a:pt x="1061" y="94"/>
                    <a:pt x="1064" y="94"/>
                    <a:pt x="1066" y="94"/>
                  </a:cubicBezTo>
                  <a:cubicBezTo>
                    <a:pt x="1064" y="94"/>
                    <a:pt x="1061" y="94"/>
                    <a:pt x="1058" y="94"/>
                  </a:cubicBezTo>
                  <a:close/>
                  <a:moveTo>
                    <a:pt x="1236" y="94"/>
                  </a:moveTo>
                  <a:cubicBezTo>
                    <a:pt x="1239" y="94"/>
                    <a:pt x="1242" y="94"/>
                    <a:pt x="1244" y="94"/>
                  </a:cubicBezTo>
                  <a:cubicBezTo>
                    <a:pt x="1242" y="94"/>
                    <a:pt x="1239" y="94"/>
                    <a:pt x="1236" y="94"/>
                  </a:cubicBezTo>
                  <a:close/>
                  <a:moveTo>
                    <a:pt x="598" y="133"/>
                  </a:moveTo>
                  <a:cubicBezTo>
                    <a:pt x="600" y="133"/>
                    <a:pt x="602" y="133"/>
                    <a:pt x="604" y="133"/>
                  </a:cubicBezTo>
                  <a:cubicBezTo>
                    <a:pt x="605" y="133"/>
                    <a:pt x="605" y="133"/>
                    <a:pt x="605" y="133"/>
                  </a:cubicBezTo>
                  <a:cubicBezTo>
                    <a:pt x="602" y="133"/>
                    <a:pt x="600" y="133"/>
                    <a:pt x="597" y="133"/>
                  </a:cubicBezTo>
                  <a:cubicBezTo>
                    <a:pt x="597" y="133"/>
                    <a:pt x="598" y="133"/>
                    <a:pt x="598" y="133"/>
                  </a:cubicBezTo>
                  <a:close/>
                  <a:moveTo>
                    <a:pt x="993" y="93"/>
                  </a:moveTo>
                  <a:cubicBezTo>
                    <a:pt x="996" y="93"/>
                    <a:pt x="998" y="93"/>
                    <a:pt x="1001" y="93"/>
                  </a:cubicBezTo>
                  <a:cubicBezTo>
                    <a:pt x="998" y="93"/>
                    <a:pt x="996" y="93"/>
                    <a:pt x="993" y="93"/>
                  </a:cubicBezTo>
                  <a:close/>
                  <a:moveTo>
                    <a:pt x="1559" y="54"/>
                  </a:moveTo>
                  <a:cubicBezTo>
                    <a:pt x="1561" y="53"/>
                    <a:pt x="1562" y="52"/>
                    <a:pt x="1563" y="50"/>
                  </a:cubicBezTo>
                  <a:cubicBezTo>
                    <a:pt x="1562" y="51"/>
                    <a:pt x="1561" y="53"/>
                    <a:pt x="1559" y="54"/>
                  </a:cubicBezTo>
                  <a:close/>
                  <a:moveTo>
                    <a:pt x="1728" y="54"/>
                  </a:moveTo>
                  <a:cubicBezTo>
                    <a:pt x="1729" y="53"/>
                    <a:pt x="1730" y="52"/>
                    <a:pt x="1731" y="50"/>
                  </a:cubicBezTo>
                  <a:cubicBezTo>
                    <a:pt x="1730" y="51"/>
                    <a:pt x="1729" y="53"/>
                    <a:pt x="1728" y="54"/>
                  </a:cubicBezTo>
                  <a:close/>
                  <a:moveTo>
                    <a:pt x="776" y="94"/>
                  </a:moveTo>
                  <a:cubicBezTo>
                    <a:pt x="779" y="94"/>
                    <a:pt x="782" y="94"/>
                    <a:pt x="784" y="94"/>
                  </a:cubicBezTo>
                  <a:cubicBezTo>
                    <a:pt x="782" y="94"/>
                    <a:pt x="779" y="94"/>
                    <a:pt x="776" y="94"/>
                  </a:cubicBezTo>
                  <a:close/>
                  <a:moveTo>
                    <a:pt x="672" y="94"/>
                  </a:moveTo>
                  <a:cubicBezTo>
                    <a:pt x="675" y="94"/>
                    <a:pt x="677" y="94"/>
                    <a:pt x="680" y="94"/>
                  </a:cubicBezTo>
                  <a:cubicBezTo>
                    <a:pt x="677" y="94"/>
                    <a:pt x="675" y="94"/>
                    <a:pt x="672" y="94"/>
                  </a:cubicBezTo>
                  <a:close/>
                  <a:moveTo>
                    <a:pt x="1570" y="36"/>
                  </a:moveTo>
                  <a:cubicBezTo>
                    <a:pt x="1571" y="33"/>
                    <a:pt x="1571" y="31"/>
                    <a:pt x="1570" y="29"/>
                  </a:cubicBezTo>
                  <a:cubicBezTo>
                    <a:pt x="1570" y="31"/>
                    <a:pt x="1570" y="33"/>
                    <a:pt x="1570" y="36"/>
                  </a:cubicBezTo>
                  <a:close/>
                  <a:moveTo>
                    <a:pt x="1738" y="36"/>
                  </a:moveTo>
                  <a:cubicBezTo>
                    <a:pt x="1739" y="33"/>
                    <a:pt x="1739" y="31"/>
                    <a:pt x="1738" y="29"/>
                  </a:cubicBezTo>
                  <a:cubicBezTo>
                    <a:pt x="1738" y="31"/>
                    <a:pt x="1738" y="33"/>
                    <a:pt x="1738" y="36"/>
                  </a:cubicBezTo>
                  <a:close/>
                  <a:moveTo>
                    <a:pt x="1309" y="33"/>
                  </a:moveTo>
                  <a:cubicBezTo>
                    <a:pt x="1307" y="33"/>
                    <a:pt x="1305" y="33"/>
                    <a:pt x="1303" y="33"/>
                  </a:cubicBezTo>
                  <a:cubicBezTo>
                    <a:pt x="1303" y="33"/>
                    <a:pt x="1303" y="33"/>
                    <a:pt x="1303" y="33"/>
                  </a:cubicBezTo>
                  <a:cubicBezTo>
                    <a:pt x="1305" y="33"/>
                    <a:pt x="1307" y="33"/>
                    <a:pt x="1309" y="33"/>
                  </a:cubicBezTo>
                  <a:cubicBezTo>
                    <a:pt x="1309" y="33"/>
                    <a:pt x="1309" y="33"/>
                    <a:pt x="1309" y="33"/>
                  </a:cubicBezTo>
                  <a:close/>
                  <a:moveTo>
                    <a:pt x="1029" y="66"/>
                  </a:moveTo>
                  <a:cubicBezTo>
                    <a:pt x="1029" y="68"/>
                    <a:pt x="1029" y="69"/>
                    <a:pt x="1029" y="71"/>
                  </a:cubicBezTo>
                  <a:cubicBezTo>
                    <a:pt x="1029" y="71"/>
                    <a:pt x="1029" y="72"/>
                    <a:pt x="1029" y="72"/>
                  </a:cubicBezTo>
                  <a:cubicBezTo>
                    <a:pt x="1029" y="70"/>
                    <a:pt x="1029" y="67"/>
                    <a:pt x="1029" y="65"/>
                  </a:cubicBezTo>
                  <a:cubicBezTo>
                    <a:pt x="1029" y="65"/>
                    <a:pt x="1029" y="66"/>
                    <a:pt x="1029" y="66"/>
                  </a:cubicBezTo>
                  <a:close/>
                  <a:moveTo>
                    <a:pt x="1351" y="74"/>
                  </a:moveTo>
                  <a:cubicBezTo>
                    <a:pt x="1352" y="73"/>
                    <a:pt x="1353" y="72"/>
                    <a:pt x="1354" y="71"/>
                  </a:cubicBezTo>
                  <a:cubicBezTo>
                    <a:pt x="1353" y="72"/>
                    <a:pt x="1352" y="73"/>
                    <a:pt x="1351" y="74"/>
                  </a:cubicBezTo>
                  <a:close/>
                  <a:moveTo>
                    <a:pt x="730" y="103"/>
                  </a:moveTo>
                  <a:cubicBezTo>
                    <a:pt x="731" y="103"/>
                    <a:pt x="733" y="103"/>
                    <a:pt x="735" y="103"/>
                  </a:cubicBezTo>
                  <a:cubicBezTo>
                    <a:pt x="735" y="103"/>
                    <a:pt x="735" y="103"/>
                    <a:pt x="735" y="103"/>
                  </a:cubicBezTo>
                  <a:cubicBezTo>
                    <a:pt x="733" y="103"/>
                    <a:pt x="731" y="103"/>
                    <a:pt x="729" y="103"/>
                  </a:cubicBezTo>
                  <a:cubicBezTo>
                    <a:pt x="729" y="103"/>
                    <a:pt x="729" y="103"/>
                    <a:pt x="730" y="103"/>
                  </a:cubicBezTo>
                  <a:close/>
                  <a:moveTo>
                    <a:pt x="1195" y="103"/>
                  </a:moveTo>
                  <a:cubicBezTo>
                    <a:pt x="1195" y="103"/>
                    <a:pt x="1195" y="103"/>
                    <a:pt x="1195" y="103"/>
                  </a:cubicBezTo>
                  <a:cubicBezTo>
                    <a:pt x="1193" y="103"/>
                    <a:pt x="1191" y="103"/>
                    <a:pt x="1189" y="103"/>
                  </a:cubicBezTo>
                  <a:cubicBezTo>
                    <a:pt x="1191" y="104"/>
                    <a:pt x="1193" y="103"/>
                    <a:pt x="1195" y="103"/>
                  </a:cubicBezTo>
                  <a:close/>
                  <a:moveTo>
                    <a:pt x="549" y="27"/>
                  </a:moveTo>
                  <a:cubicBezTo>
                    <a:pt x="548" y="29"/>
                    <a:pt x="548" y="31"/>
                    <a:pt x="549" y="33"/>
                  </a:cubicBezTo>
                  <a:cubicBezTo>
                    <a:pt x="549" y="31"/>
                    <a:pt x="549" y="29"/>
                    <a:pt x="549" y="27"/>
                  </a:cubicBezTo>
                  <a:close/>
                  <a:moveTo>
                    <a:pt x="658" y="51"/>
                  </a:moveTo>
                  <a:cubicBezTo>
                    <a:pt x="658" y="52"/>
                    <a:pt x="658" y="54"/>
                    <a:pt x="659" y="55"/>
                  </a:cubicBezTo>
                  <a:cubicBezTo>
                    <a:pt x="659" y="53"/>
                    <a:pt x="659" y="51"/>
                    <a:pt x="659" y="49"/>
                  </a:cubicBezTo>
                  <a:cubicBezTo>
                    <a:pt x="658" y="50"/>
                    <a:pt x="658" y="50"/>
                    <a:pt x="658" y="51"/>
                  </a:cubicBezTo>
                  <a:close/>
                  <a:moveTo>
                    <a:pt x="1409" y="48"/>
                  </a:moveTo>
                  <a:cubicBezTo>
                    <a:pt x="1409" y="49"/>
                    <a:pt x="1409" y="50"/>
                    <a:pt x="1409" y="52"/>
                  </a:cubicBezTo>
                  <a:cubicBezTo>
                    <a:pt x="1410" y="50"/>
                    <a:pt x="1410" y="48"/>
                    <a:pt x="1410" y="47"/>
                  </a:cubicBezTo>
                  <a:cubicBezTo>
                    <a:pt x="1409" y="47"/>
                    <a:pt x="1409" y="47"/>
                    <a:pt x="1409" y="48"/>
                  </a:cubicBezTo>
                  <a:close/>
                  <a:moveTo>
                    <a:pt x="1386" y="35"/>
                  </a:moveTo>
                  <a:cubicBezTo>
                    <a:pt x="1387" y="33"/>
                    <a:pt x="1387" y="31"/>
                    <a:pt x="1386" y="30"/>
                  </a:cubicBezTo>
                  <a:cubicBezTo>
                    <a:pt x="1386" y="31"/>
                    <a:pt x="1386" y="33"/>
                    <a:pt x="1386" y="35"/>
                  </a:cubicBezTo>
                  <a:close/>
                  <a:moveTo>
                    <a:pt x="694" y="70"/>
                  </a:moveTo>
                  <a:cubicBezTo>
                    <a:pt x="695" y="71"/>
                    <a:pt x="695" y="72"/>
                    <a:pt x="696" y="73"/>
                  </a:cubicBezTo>
                  <a:cubicBezTo>
                    <a:pt x="696" y="71"/>
                    <a:pt x="695" y="71"/>
                    <a:pt x="694" y="70"/>
                  </a:cubicBezTo>
                  <a:close/>
                  <a:moveTo>
                    <a:pt x="1676" y="14"/>
                  </a:moveTo>
                  <a:cubicBezTo>
                    <a:pt x="1677" y="15"/>
                    <a:pt x="1678" y="15"/>
                    <a:pt x="1679" y="16"/>
                  </a:cubicBezTo>
                  <a:cubicBezTo>
                    <a:pt x="1678" y="15"/>
                    <a:pt x="1678" y="14"/>
                    <a:pt x="1676" y="14"/>
                  </a:cubicBezTo>
                  <a:close/>
                  <a:moveTo>
                    <a:pt x="999" y="103"/>
                  </a:moveTo>
                  <a:cubicBezTo>
                    <a:pt x="1000" y="103"/>
                    <a:pt x="1001" y="104"/>
                    <a:pt x="1002" y="103"/>
                  </a:cubicBezTo>
                  <a:cubicBezTo>
                    <a:pt x="1000" y="103"/>
                    <a:pt x="999" y="103"/>
                    <a:pt x="997" y="103"/>
                  </a:cubicBezTo>
                  <a:cubicBezTo>
                    <a:pt x="998" y="103"/>
                    <a:pt x="998" y="103"/>
                    <a:pt x="999" y="103"/>
                  </a:cubicBezTo>
                  <a:close/>
                  <a:moveTo>
                    <a:pt x="1678" y="50"/>
                  </a:moveTo>
                  <a:cubicBezTo>
                    <a:pt x="1677" y="51"/>
                    <a:pt x="1677" y="52"/>
                    <a:pt x="1676" y="52"/>
                  </a:cubicBezTo>
                  <a:cubicBezTo>
                    <a:pt x="1677" y="52"/>
                    <a:pt x="1678" y="51"/>
                    <a:pt x="1678" y="50"/>
                  </a:cubicBezTo>
                  <a:close/>
                  <a:moveTo>
                    <a:pt x="747" y="72"/>
                  </a:moveTo>
                  <a:cubicBezTo>
                    <a:pt x="747" y="72"/>
                    <a:pt x="747" y="73"/>
                    <a:pt x="747" y="74"/>
                  </a:cubicBezTo>
                  <a:cubicBezTo>
                    <a:pt x="747" y="72"/>
                    <a:pt x="747" y="71"/>
                    <a:pt x="747" y="69"/>
                  </a:cubicBezTo>
                  <a:cubicBezTo>
                    <a:pt x="747" y="70"/>
                    <a:pt x="747" y="71"/>
                    <a:pt x="747" y="72"/>
                  </a:cubicBezTo>
                  <a:close/>
                  <a:moveTo>
                    <a:pt x="1078" y="39"/>
                  </a:moveTo>
                  <a:cubicBezTo>
                    <a:pt x="1079" y="39"/>
                    <a:pt x="1080" y="40"/>
                    <a:pt x="1080" y="41"/>
                  </a:cubicBezTo>
                  <a:cubicBezTo>
                    <a:pt x="1080" y="40"/>
                    <a:pt x="1079" y="39"/>
                    <a:pt x="1078" y="39"/>
                  </a:cubicBezTo>
                  <a:close/>
                  <a:moveTo>
                    <a:pt x="1307" y="43"/>
                  </a:moveTo>
                  <a:cubicBezTo>
                    <a:pt x="1305" y="43"/>
                    <a:pt x="1303" y="43"/>
                    <a:pt x="1302" y="43"/>
                  </a:cubicBezTo>
                  <a:cubicBezTo>
                    <a:pt x="1303" y="43"/>
                    <a:pt x="1305" y="43"/>
                    <a:pt x="1307" y="43"/>
                  </a:cubicBezTo>
                  <a:close/>
                  <a:moveTo>
                    <a:pt x="688" y="87"/>
                  </a:moveTo>
                  <a:cubicBezTo>
                    <a:pt x="689" y="85"/>
                    <a:pt x="689" y="84"/>
                    <a:pt x="688" y="82"/>
                  </a:cubicBezTo>
                  <a:cubicBezTo>
                    <a:pt x="688" y="84"/>
                    <a:pt x="688" y="85"/>
                    <a:pt x="688" y="87"/>
                  </a:cubicBezTo>
                  <a:close/>
                  <a:moveTo>
                    <a:pt x="1409" y="63"/>
                  </a:moveTo>
                  <a:cubicBezTo>
                    <a:pt x="1409" y="64"/>
                    <a:pt x="1409" y="65"/>
                    <a:pt x="1410" y="65"/>
                  </a:cubicBezTo>
                  <a:cubicBezTo>
                    <a:pt x="1410" y="64"/>
                    <a:pt x="1410" y="62"/>
                    <a:pt x="1409" y="61"/>
                  </a:cubicBezTo>
                  <a:cubicBezTo>
                    <a:pt x="1409" y="61"/>
                    <a:pt x="1409" y="62"/>
                    <a:pt x="1409" y="63"/>
                  </a:cubicBezTo>
                  <a:close/>
                  <a:moveTo>
                    <a:pt x="1241" y="103"/>
                  </a:moveTo>
                  <a:cubicBezTo>
                    <a:pt x="1242" y="103"/>
                    <a:pt x="1243" y="104"/>
                    <a:pt x="1244" y="103"/>
                  </a:cubicBezTo>
                  <a:cubicBezTo>
                    <a:pt x="1242" y="103"/>
                    <a:pt x="1241" y="103"/>
                    <a:pt x="1239" y="103"/>
                  </a:cubicBezTo>
                  <a:cubicBezTo>
                    <a:pt x="1240" y="103"/>
                    <a:pt x="1241" y="103"/>
                    <a:pt x="1241" y="103"/>
                  </a:cubicBezTo>
                  <a:close/>
                  <a:moveTo>
                    <a:pt x="1063" y="103"/>
                  </a:moveTo>
                  <a:cubicBezTo>
                    <a:pt x="1064" y="103"/>
                    <a:pt x="1065" y="104"/>
                    <a:pt x="1066" y="103"/>
                  </a:cubicBezTo>
                  <a:cubicBezTo>
                    <a:pt x="1064" y="103"/>
                    <a:pt x="1063" y="103"/>
                    <a:pt x="1062" y="103"/>
                  </a:cubicBezTo>
                  <a:cubicBezTo>
                    <a:pt x="1062" y="103"/>
                    <a:pt x="1063" y="103"/>
                    <a:pt x="1063" y="103"/>
                  </a:cubicBezTo>
                  <a:close/>
                  <a:moveTo>
                    <a:pt x="561" y="103"/>
                  </a:moveTo>
                  <a:cubicBezTo>
                    <a:pt x="562" y="103"/>
                    <a:pt x="563" y="104"/>
                    <a:pt x="564" y="103"/>
                  </a:cubicBezTo>
                  <a:cubicBezTo>
                    <a:pt x="562" y="103"/>
                    <a:pt x="561" y="103"/>
                    <a:pt x="560" y="103"/>
                  </a:cubicBezTo>
                  <a:cubicBezTo>
                    <a:pt x="560" y="103"/>
                    <a:pt x="561" y="103"/>
                    <a:pt x="561" y="103"/>
                  </a:cubicBezTo>
                  <a:close/>
                  <a:moveTo>
                    <a:pt x="747" y="64"/>
                  </a:moveTo>
                  <a:cubicBezTo>
                    <a:pt x="747" y="65"/>
                    <a:pt x="747" y="66"/>
                    <a:pt x="747" y="67"/>
                  </a:cubicBezTo>
                  <a:cubicBezTo>
                    <a:pt x="747" y="66"/>
                    <a:pt x="747" y="64"/>
                    <a:pt x="747" y="63"/>
                  </a:cubicBezTo>
                  <a:cubicBezTo>
                    <a:pt x="747" y="63"/>
                    <a:pt x="747" y="64"/>
                    <a:pt x="747" y="64"/>
                  </a:cubicBezTo>
                  <a:close/>
                  <a:moveTo>
                    <a:pt x="963" y="50"/>
                  </a:moveTo>
                  <a:cubicBezTo>
                    <a:pt x="962" y="52"/>
                    <a:pt x="962" y="53"/>
                    <a:pt x="962" y="55"/>
                  </a:cubicBezTo>
                  <a:cubicBezTo>
                    <a:pt x="963" y="53"/>
                    <a:pt x="963" y="52"/>
                    <a:pt x="963" y="50"/>
                  </a:cubicBezTo>
                  <a:close/>
                  <a:moveTo>
                    <a:pt x="962" y="57"/>
                  </a:moveTo>
                  <a:cubicBezTo>
                    <a:pt x="962" y="58"/>
                    <a:pt x="962" y="60"/>
                    <a:pt x="963" y="61"/>
                  </a:cubicBezTo>
                  <a:cubicBezTo>
                    <a:pt x="963" y="59"/>
                    <a:pt x="963" y="58"/>
                    <a:pt x="962" y="57"/>
                  </a:cubicBezTo>
                  <a:close/>
                  <a:moveTo>
                    <a:pt x="993" y="103"/>
                  </a:moveTo>
                  <a:cubicBezTo>
                    <a:pt x="992" y="103"/>
                    <a:pt x="991" y="103"/>
                    <a:pt x="989" y="103"/>
                  </a:cubicBezTo>
                  <a:cubicBezTo>
                    <a:pt x="991" y="104"/>
                    <a:pt x="992" y="103"/>
                    <a:pt x="993" y="103"/>
                  </a:cubicBezTo>
                  <a:close/>
                  <a:moveTo>
                    <a:pt x="784" y="103"/>
                  </a:moveTo>
                  <a:cubicBezTo>
                    <a:pt x="782" y="103"/>
                    <a:pt x="781" y="103"/>
                    <a:pt x="779" y="103"/>
                  </a:cubicBezTo>
                  <a:cubicBezTo>
                    <a:pt x="781" y="103"/>
                    <a:pt x="782" y="104"/>
                    <a:pt x="784" y="103"/>
                  </a:cubicBezTo>
                  <a:close/>
                  <a:moveTo>
                    <a:pt x="1658" y="67"/>
                  </a:moveTo>
                  <a:cubicBezTo>
                    <a:pt x="1658" y="66"/>
                    <a:pt x="1657" y="65"/>
                    <a:pt x="1656" y="65"/>
                  </a:cubicBezTo>
                  <a:cubicBezTo>
                    <a:pt x="1657" y="65"/>
                    <a:pt x="1657" y="66"/>
                    <a:pt x="1658" y="67"/>
                  </a:cubicBezTo>
                  <a:close/>
                  <a:moveTo>
                    <a:pt x="1144" y="62"/>
                  </a:moveTo>
                  <a:cubicBezTo>
                    <a:pt x="1144" y="60"/>
                    <a:pt x="1144" y="59"/>
                    <a:pt x="1144" y="58"/>
                  </a:cubicBezTo>
                  <a:cubicBezTo>
                    <a:pt x="1144" y="59"/>
                    <a:pt x="1143" y="61"/>
                    <a:pt x="1144" y="62"/>
                  </a:cubicBezTo>
                  <a:close/>
                  <a:moveTo>
                    <a:pt x="599" y="123"/>
                  </a:moveTo>
                  <a:cubicBezTo>
                    <a:pt x="600" y="124"/>
                    <a:pt x="601" y="124"/>
                    <a:pt x="603" y="123"/>
                  </a:cubicBezTo>
                  <a:cubicBezTo>
                    <a:pt x="601" y="123"/>
                    <a:pt x="600" y="123"/>
                    <a:pt x="599" y="123"/>
                  </a:cubicBezTo>
                  <a:close/>
                  <a:moveTo>
                    <a:pt x="571" y="16"/>
                  </a:moveTo>
                  <a:cubicBezTo>
                    <a:pt x="570" y="16"/>
                    <a:pt x="569" y="16"/>
                    <a:pt x="568" y="16"/>
                  </a:cubicBezTo>
                  <a:cubicBezTo>
                    <a:pt x="569" y="17"/>
                    <a:pt x="570" y="16"/>
                    <a:pt x="571" y="16"/>
                  </a:cubicBezTo>
                  <a:close/>
                  <a:moveTo>
                    <a:pt x="1004" y="16"/>
                  </a:moveTo>
                  <a:cubicBezTo>
                    <a:pt x="1003" y="16"/>
                    <a:pt x="1002" y="16"/>
                    <a:pt x="1000" y="16"/>
                  </a:cubicBezTo>
                  <a:cubicBezTo>
                    <a:pt x="1002" y="17"/>
                    <a:pt x="1003" y="16"/>
                    <a:pt x="1004" y="16"/>
                  </a:cubicBezTo>
                  <a:close/>
                  <a:moveTo>
                    <a:pt x="997" y="16"/>
                  </a:moveTo>
                  <a:cubicBezTo>
                    <a:pt x="996" y="16"/>
                    <a:pt x="995" y="16"/>
                    <a:pt x="994" y="16"/>
                  </a:cubicBezTo>
                  <a:cubicBezTo>
                    <a:pt x="995" y="16"/>
                    <a:pt x="996" y="17"/>
                    <a:pt x="997" y="16"/>
                  </a:cubicBezTo>
                  <a:close/>
                  <a:moveTo>
                    <a:pt x="1003" y="6"/>
                  </a:moveTo>
                  <a:cubicBezTo>
                    <a:pt x="1004" y="6"/>
                    <a:pt x="1005" y="6"/>
                    <a:pt x="1007" y="6"/>
                  </a:cubicBezTo>
                  <a:cubicBezTo>
                    <a:pt x="1005" y="5"/>
                    <a:pt x="1004" y="6"/>
                    <a:pt x="1003" y="6"/>
                  </a:cubicBezTo>
                  <a:close/>
                  <a:moveTo>
                    <a:pt x="571" y="6"/>
                  </a:moveTo>
                  <a:cubicBezTo>
                    <a:pt x="572" y="6"/>
                    <a:pt x="573" y="6"/>
                    <a:pt x="575" y="6"/>
                  </a:cubicBezTo>
                  <a:cubicBezTo>
                    <a:pt x="574" y="5"/>
                    <a:pt x="572" y="6"/>
                    <a:pt x="571" y="6"/>
                  </a:cubicBezTo>
                  <a:close/>
                  <a:moveTo>
                    <a:pt x="680" y="103"/>
                  </a:moveTo>
                  <a:cubicBezTo>
                    <a:pt x="679" y="103"/>
                    <a:pt x="678" y="103"/>
                    <a:pt x="676" y="103"/>
                  </a:cubicBezTo>
                  <a:cubicBezTo>
                    <a:pt x="678" y="103"/>
                    <a:pt x="679" y="104"/>
                    <a:pt x="680" y="103"/>
                  </a:cubicBezTo>
                  <a:close/>
                  <a:moveTo>
                    <a:pt x="1236" y="103"/>
                  </a:moveTo>
                  <a:cubicBezTo>
                    <a:pt x="1235" y="103"/>
                    <a:pt x="1234" y="103"/>
                    <a:pt x="1233" y="103"/>
                  </a:cubicBezTo>
                  <a:cubicBezTo>
                    <a:pt x="1234" y="104"/>
                    <a:pt x="1235" y="103"/>
                    <a:pt x="1236" y="103"/>
                  </a:cubicBezTo>
                  <a:close/>
                  <a:moveTo>
                    <a:pt x="1058" y="103"/>
                  </a:moveTo>
                  <a:cubicBezTo>
                    <a:pt x="1057" y="103"/>
                    <a:pt x="1056" y="103"/>
                    <a:pt x="1055" y="103"/>
                  </a:cubicBezTo>
                  <a:cubicBezTo>
                    <a:pt x="1056" y="104"/>
                    <a:pt x="1057" y="103"/>
                    <a:pt x="1058" y="103"/>
                  </a:cubicBezTo>
                  <a:close/>
                  <a:moveTo>
                    <a:pt x="1470" y="42"/>
                  </a:moveTo>
                  <a:cubicBezTo>
                    <a:pt x="1470" y="43"/>
                    <a:pt x="1470" y="44"/>
                    <a:pt x="1471" y="46"/>
                  </a:cubicBezTo>
                  <a:cubicBezTo>
                    <a:pt x="1471" y="44"/>
                    <a:pt x="1471" y="43"/>
                    <a:pt x="1470" y="42"/>
                  </a:cubicBezTo>
                  <a:close/>
                  <a:moveTo>
                    <a:pt x="733" y="94"/>
                  </a:moveTo>
                  <a:cubicBezTo>
                    <a:pt x="735" y="94"/>
                    <a:pt x="736" y="94"/>
                    <a:pt x="737" y="94"/>
                  </a:cubicBezTo>
                  <a:cubicBezTo>
                    <a:pt x="736" y="94"/>
                    <a:pt x="735" y="94"/>
                    <a:pt x="733" y="94"/>
                  </a:cubicBezTo>
                  <a:close/>
                  <a:moveTo>
                    <a:pt x="1444" y="103"/>
                  </a:moveTo>
                  <a:cubicBezTo>
                    <a:pt x="1443" y="103"/>
                    <a:pt x="1442" y="103"/>
                    <a:pt x="1441" y="103"/>
                  </a:cubicBezTo>
                  <a:cubicBezTo>
                    <a:pt x="1442" y="103"/>
                    <a:pt x="1443" y="104"/>
                    <a:pt x="1444" y="103"/>
                  </a:cubicBezTo>
                  <a:close/>
                  <a:moveTo>
                    <a:pt x="878" y="45"/>
                  </a:moveTo>
                  <a:cubicBezTo>
                    <a:pt x="877" y="46"/>
                    <a:pt x="876" y="46"/>
                    <a:pt x="876" y="47"/>
                  </a:cubicBezTo>
                  <a:cubicBezTo>
                    <a:pt x="877" y="47"/>
                    <a:pt x="877" y="46"/>
                    <a:pt x="878" y="45"/>
                  </a:cubicBezTo>
                  <a:close/>
                  <a:moveTo>
                    <a:pt x="1567" y="21"/>
                  </a:moveTo>
                  <a:cubicBezTo>
                    <a:pt x="1566" y="20"/>
                    <a:pt x="1566" y="19"/>
                    <a:pt x="1565" y="19"/>
                  </a:cubicBezTo>
                  <a:cubicBezTo>
                    <a:pt x="1565" y="20"/>
                    <a:pt x="1566" y="20"/>
                    <a:pt x="1567" y="21"/>
                  </a:cubicBezTo>
                  <a:close/>
                  <a:moveTo>
                    <a:pt x="1750" y="33"/>
                  </a:moveTo>
                  <a:cubicBezTo>
                    <a:pt x="1749" y="34"/>
                    <a:pt x="1749" y="35"/>
                    <a:pt x="1749" y="36"/>
                  </a:cubicBezTo>
                  <a:cubicBezTo>
                    <a:pt x="1750" y="35"/>
                    <a:pt x="1750" y="34"/>
                    <a:pt x="1750" y="33"/>
                  </a:cubicBezTo>
                  <a:close/>
                  <a:moveTo>
                    <a:pt x="673" y="44"/>
                  </a:moveTo>
                  <a:cubicBezTo>
                    <a:pt x="672" y="45"/>
                    <a:pt x="672" y="45"/>
                    <a:pt x="671" y="46"/>
                  </a:cubicBezTo>
                  <a:cubicBezTo>
                    <a:pt x="672" y="46"/>
                    <a:pt x="673" y="45"/>
                    <a:pt x="673" y="44"/>
                  </a:cubicBezTo>
                  <a:close/>
                  <a:moveTo>
                    <a:pt x="1193" y="94"/>
                  </a:moveTo>
                  <a:cubicBezTo>
                    <a:pt x="1195" y="94"/>
                    <a:pt x="1196" y="94"/>
                    <a:pt x="1197" y="94"/>
                  </a:cubicBezTo>
                  <a:cubicBezTo>
                    <a:pt x="1196" y="94"/>
                    <a:pt x="1195" y="94"/>
                    <a:pt x="1193" y="94"/>
                  </a:cubicBezTo>
                  <a:close/>
                  <a:moveTo>
                    <a:pt x="776" y="103"/>
                  </a:moveTo>
                  <a:cubicBezTo>
                    <a:pt x="775" y="103"/>
                    <a:pt x="774" y="103"/>
                    <a:pt x="773" y="103"/>
                  </a:cubicBezTo>
                  <a:cubicBezTo>
                    <a:pt x="774" y="104"/>
                    <a:pt x="775" y="103"/>
                    <a:pt x="776" y="103"/>
                  </a:cubicBezTo>
                  <a:close/>
                  <a:moveTo>
                    <a:pt x="1582" y="33"/>
                  </a:moveTo>
                  <a:cubicBezTo>
                    <a:pt x="1581" y="34"/>
                    <a:pt x="1581" y="35"/>
                    <a:pt x="1581" y="36"/>
                  </a:cubicBezTo>
                  <a:cubicBezTo>
                    <a:pt x="1582" y="35"/>
                    <a:pt x="1582" y="34"/>
                    <a:pt x="1582" y="33"/>
                  </a:cubicBezTo>
                  <a:close/>
                  <a:moveTo>
                    <a:pt x="1695" y="94"/>
                  </a:moveTo>
                  <a:cubicBezTo>
                    <a:pt x="1696" y="93"/>
                    <a:pt x="1696" y="92"/>
                    <a:pt x="1696" y="91"/>
                  </a:cubicBezTo>
                  <a:cubicBezTo>
                    <a:pt x="1695" y="92"/>
                    <a:pt x="1695" y="93"/>
                    <a:pt x="1695" y="94"/>
                  </a:cubicBezTo>
                  <a:close/>
                  <a:moveTo>
                    <a:pt x="1471" y="62"/>
                  </a:moveTo>
                  <a:cubicBezTo>
                    <a:pt x="1470" y="63"/>
                    <a:pt x="1470" y="64"/>
                    <a:pt x="1470" y="65"/>
                  </a:cubicBezTo>
                  <a:cubicBezTo>
                    <a:pt x="1471" y="64"/>
                    <a:pt x="1471" y="63"/>
                    <a:pt x="1471" y="62"/>
                  </a:cubicBezTo>
                  <a:close/>
                  <a:moveTo>
                    <a:pt x="764" y="87"/>
                  </a:moveTo>
                  <a:cubicBezTo>
                    <a:pt x="764" y="88"/>
                    <a:pt x="765" y="89"/>
                    <a:pt x="766" y="89"/>
                  </a:cubicBezTo>
                  <a:cubicBezTo>
                    <a:pt x="765" y="88"/>
                    <a:pt x="765" y="88"/>
                    <a:pt x="764" y="87"/>
                  </a:cubicBezTo>
                  <a:close/>
                  <a:moveTo>
                    <a:pt x="805" y="59"/>
                  </a:moveTo>
                  <a:cubicBezTo>
                    <a:pt x="805" y="60"/>
                    <a:pt x="805" y="61"/>
                    <a:pt x="806" y="62"/>
                  </a:cubicBezTo>
                  <a:cubicBezTo>
                    <a:pt x="806" y="61"/>
                    <a:pt x="806" y="60"/>
                    <a:pt x="805" y="59"/>
                  </a:cubicBezTo>
                  <a:close/>
                  <a:moveTo>
                    <a:pt x="673" y="103"/>
                  </a:moveTo>
                  <a:cubicBezTo>
                    <a:pt x="672" y="103"/>
                    <a:pt x="671" y="103"/>
                    <a:pt x="670" y="103"/>
                  </a:cubicBezTo>
                  <a:cubicBezTo>
                    <a:pt x="671" y="104"/>
                    <a:pt x="672" y="103"/>
                    <a:pt x="673" y="103"/>
                  </a:cubicBezTo>
                  <a:close/>
                  <a:moveTo>
                    <a:pt x="557" y="103"/>
                  </a:moveTo>
                  <a:cubicBezTo>
                    <a:pt x="556" y="103"/>
                    <a:pt x="555" y="103"/>
                    <a:pt x="553" y="103"/>
                  </a:cubicBezTo>
                  <a:cubicBezTo>
                    <a:pt x="554" y="104"/>
                    <a:pt x="556" y="103"/>
                    <a:pt x="557" y="103"/>
                  </a:cubicBezTo>
                  <a:close/>
                  <a:moveTo>
                    <a:pt x="1256" y="39"/>
                  </a:moveTo>
                  <a:cubicBezTo>
                    <a:pt x="1257" y="40"/>
                    <a:pt x="1257" y="40"/>
                    <a:pt x="1258" y="41"/>
                  </a:cubicBezTo>
                  <a:cubicBezTo>
                    <a:pt x="1258" y="40"/>
                    <a:pt x="1257" y="39"/>
                    <a:pt x="1256" y="39"/>
                  </a:cubicBezTo>
                  <a:close/>
                  <a:moveTo>
                    <a:pt x="1735" y="21"/>
                  </a:moveTo>
                  <a:cubicBezTo>
                    <a:pt x="1735" y="20"/>
                    <a:pt x="1734" y="19"/>
                    <a:pt x="1733" y="19"/>
                  </a:cubicBezTo>
                  <a:cubicBezTo>
                    <a:pt x="1734" y="20"/>
                    <a:pt x="1734" y="20"/>
                    <a:pt x="1735" y="21"/>
                  </a:cubicBezTo>
                  <a:close/>
                  <a:moveTo>
                    <a:pt x="835" y="45"/>
                  </a:moveTo>
                  <a:cubicBezTo>
                    <a:pt x="834" y="46"/>
                    <a:pt x="834" y="46"/>
                    <a:pt x="833" y="47"/>
                  </a:cubicBezTo>
                  <a:cubicBezTo>
                    <a:pt x="834" y="47"/>
                    <a:pt x="835" y="46"/>
                    <a:pt x="835" y="45"/>
                  </a:cubicBezTo>
                  <a:close/>
                  <a:moveTo>
                    <a:pt x="685" y="42"/>
                  </a:moveTo>
                  <a:cubicBezTo>
                    <a:pt x="685" y="42"/>
                    <a:pt x="684" y="42"/>
                    <a:pt x="683" y="42"/>
                  </a:cubicBezTo>
                  <a:cubicBezTo>
                    <a:pt x="683" y="43"/>
                    <a:pt x="685" y="42"/>
                    <a:pt x="685" y="42"/>
                  </a:cubicBezTo>
                  <a:close/>
                  <a:moveTo>
                    <a:pt x="1438" y="103"/>
                  </a:moveTo>
                  <a:cubicBezTo>
                    <a:pt x="1437" y="103"/>
                    <a:pt x="1436" y="103"/>
                    <a:pt x="1435" y="103"/>
                  </a:cubicBezTo>
                  <a:cubicBezTo>
                    <a:pt x="1436" y="104"/>
                    <a:pt x="1437" y="103"/>
                    <a:pt x="1438" y="103"/>
                  </a:cubicBezTo>
                  <a:close/>
                  <a:moveTo>
                    <a:pt x="902" y="59"/>
                  </a:moveTo>
                  <a:cubicBezTo>
                    <a:pt x="902" y="58"/>
                    <a:pt x="902" y="57"/>
                    <a:pt x="901" y="56"/>
                  </a:cubicBezTo>
                  <a:cubicBezTo>
                    <a:pt x="901" y="57"/>
                    <a:pt x="901" y="58"/>
                    <a:pt x="902" y="59"/>
                  </a:cubicBezTo>
                  <a:close/>
                  <a:moveTo>
                    <a:pt x="566" y="6"/>
                  </a:moveTo>
                  <a:cubicBezTo>
                    <a:pt x="567" y="6"/>
                    <a:pt x="567" y="6"/>
                    <a:pt x="568" y="6"/>
                  </a:cubicBezTo>
                  <a:cubicBezTo>
                    <a:pt x="567" y="5"/>
                    <a:pt x="567" y="5"/>
                    <a:pt x="566" y="6"/>
                  </a:cubicBezTo>
                  <a:close/>
                  <a:moveTo>
                    <a:pt x="700" y="82"/>
                  </a:moveTo>
                  <a:cubicBezTo>
                    <a:pt x="700" y="83"/>
                    <a:pt x="700" y="84"/>
                    <a:pt x="700" y="85"/>
                  </a:cubicBezTo>
                  <a:cubicBezTo>
                    <a:pt x="700" y="84"/>
                    <a:pt x="700" y="83"/>
                    <a:pt x="700" y="82"/>
                  </a:cubicBezTo>
                  <a:close/>
                  <a:moveTo>
                    <a:pt x="758" y="72"/>
                  </a:moveTo>
                  <a:cubicBezTo>
                    <a:pt x="758" y="73"/>
                    <a:pt x="758" y="74"/>
                    <a:pt x="759" y="75"/>
                  </a:cubicBezTo>
                  <a:cubicBezTo>
                    <a:pt x="759" y="74"/>
                    <a:pt x="759" y="73"/>
                    <a:pt x="758" y="72"/>
                  </a:cubicBezTo>
                  <a:close/>
                  <a:moveTo>
                    <a:pt x="1527" y="94"/>
                  </a:moveTo>
                  <a:cubicBezTo>
                    <a:pt x="1527" y="93"/>
                    <a:pt x="1527" y="92"/>
                    <a:pt x="1527" y="91"/>
                  </a:cubicBezTo>
                  <a:cubicBezTo>
                    <a:pt x="1527" y="92"/>
                    <a:pt x="1527" y="93"/>
                    <a:pt x="1527" y="94"/>
                  </a:cubicBezTo>
                  <a:close/>
                  <a:moveTo>
                    <a:pt x="1364" y="6"/>
                  </a:moveTo>
                  <a:cubicBezTo>
                    <a:pt x="1365" y="6"/>
                    <a:pt x="1366" y="6"/>
                    <a:pt x="1367" y="6"/>
                  </a:cubicBezTo>
                  <a:cubicBezTo>
                    <a:pt x="1366" y="6"/>
                    <a:pt x="1365" y="5"/>
                    <a:pt x="1364" y="6"/>
                  </a:cubicBezTo>
                  <a:close/>
                  <a:moveTo>
                    <a:pt x="992" y="6"/>
                  </a:moveTo>
                  <a:cubicBezTo>
                    <a:pt x="993" y="6"/>
                    <a:pt x="994" y="6"/>
                    <a:pt x="995" y="6"/>
                  </a:cubicBezTo>
                  <a:cubicBezTo>
                    <a:pt x="994" y="6"/>
                    <a:pt x="993" y="5"/>
                    <a:pt x="992" y="6"/>
                  </a:cubicBezTo>
                  <a:close/>
                  <a:moveTo>
                    <a:pt x="561" y="6"/>
                  </a:moveTo>
                  <a:cubicBezTo>
                    <a:pt x="562" y="6"/>
                    <a:pt x="563" y="6"/>
                    <a:pt x="564" y="6"/>
                  </a:cubicBezTo>
                  <a:cubicBezTo>
                    <a:pt x="563" y="6"/>
                    <a:pt x="562" y="5"/>
                    <a:pt x="561" y="6"/>
                  </a:cubicBezTo>
                  <a:close/>
                  <a:moveTo>
                    <a:pt x="565" y="16"/>
                  </a:moveTo>
                  <a:cubicBezTo>
                    <a:pt x="564" y="16"/>
                    <a:pt x="563" y="16"/>
                    <a:pt x="562" y="16"/>
                  </a:cubicBezTo>
                  <a:cubicBezTo>
                    <a:pt x="563" y="16"/>
                    <a:pt x="564" y="17"/>
                    <a:pt x="565" y="16"/>
                  </a:cubicBezTo>
                  <a:close/>
                  <a:moveTo>
                    <a:pt x="1581" y="26"/>
                  </a:moveTo>
                  <a:cubicBezTo>
                    <a:pt x="1581" y="27"/>
                    <a:pt x="1581" y="28"/>
                    <a:pt x="1582" y="29"/>
                  </a:cubicBezTo>
                  <a:cubicBezTo>
                    <a:pt x="1582" y="28"/>
                    <a:pt x="1582" y="27"/>
                    <a:pt x="1581" y="26"/>
                  </a:cubicBezTo>
                  <a:close/>
                  <a:moveTo>
                    <a:pt x="998" y="6"/>
                  </a:moveTo>
                  <a:cubicBezTo>
                    <a:pt x="999" y="6"/>
                    <a:pt x="999" y="6"/>
                    <a:pt x="1000" y="6"/>
                  </a:cubicBezTo>
                  <a:cubicBezTo>
                    <a:pt x="999" y="5"/>
                    <a:pt x="999" y="5"/>
                    <a:pt x="998" y="6"/>
                  </a:cubicBezTo>
                  <a:close/>
                  <a:moveTo>
                    <a:pt x="1410" y="69"/>
                  </a:moveTo>
                  <a:cubicBezTo>
                    <a:pt x="1410" y="68"/>
                    <a:pt x="1410" y="67"/>
                    <a:pt x="1410" y="66"/>
                  </a:cubicBezTo>
                  <a:cubicBezTo>
                    <a:pt x="1410" y="67"/>
                    <a:pt x="1409" y="68"/>
                    <a:pt x="1410" y="69"/>
                  </a:cubicBezTo>
                  <a:close/>
                  <a:moveTo>
                    <a:pt x="886" y="33"/>
                  </a:moveTo>
                  <a:cubicBezTo>
                    <a:pt x="886" y="33"/>
                    <a:pt x="887" y="33"/>
                    <a:pt x="888" y="33"/>
                  </a:cubicBezTo>
                  <a:cubicBezTo>
                    <a:pt x="887" y="33"/>
                    <a:pt x="886" y="32"/>
                    <a:pt x="886" y="33"/>
                  </a:cubicBezTo>
                  <a:close/>
                  <a:moveTo>
                    <a:pt x="1726" y="6"/>
                  </a:moveTo>
                  <a:cubicBezTo>
                    <a:pt x="1726" y="6"/>
                    <a:pt x="1727" y="6"/>
                    <a:pt x="1728" y="6"/>
                  </a:cubicBezTo>
                  <a:cubicBezTo>
                    <a:pt x="1727" y="5"/>
                    <a:pt x="1727" y="6"/>
                    <a:pt x="1726" y="6"/>
                  </a:cubicBezTo>
                  <a:close/>
                  <a:moveTo>
                    <a:pt x="725" y="83"/>
                  </a:moveTo>
                  <a:cubicBezTo>
                    <a:pt x="725" y="84"/>
                    <a:pt x="725" y="85"/>
                    <a:pt x="726" y="86"/>
                  </a:cubicBezTo>
                  <a:cubicBezTo>
                    <a:pt x="726" y="85"/>
                    <a:pt x="726" y="84"/>
                    <a:pt x="725" y="83"/>
                  </a:cubicBezTo>
                  <a:close/>
                  <a:moveTo>
                    <a:pt x="1717" y="6"/>
                  </a:moveTo>
                  <a:cubicBezTo>
                    <a:pt x="1718" y="6"/>
                    <a:pt x="1719" y="6"/>
                    <a:pt x="1719" y="6"/>
                  </a:cubicBezTo>
                  <a:cubicBezTo>
                    <a:pt x="1719" y="6"/>
                    <a:pt x="1718" y="5"/>
                    <a:pt x="1717" y="6"/>
                  </a:cubicBezTo>
                  <a:close/>
                  <a:moveTo>
                    <a:pt x="1410" y="46"/>
                  </a:moveTo>
                  <a:cubicBezTo>
                    <a:pt x="1410" y="45"/>
                    <a:pt x="1410" y="44"/>
                    <a:pt x="1410" y="43"/>
                  </a:cubicBezTo>
                  <a:cubicBezTo>
                    <a:pt x="1409" y="44"/>
                    <a:pt x="1410" y="45"/>
                    <a:pt x="1410" y="46"/>
                  </a:cubicBezTo>
                  <a:close/>
                  <a:moveTo>
                    <a:pt x="1063" y="33"/>
                  </a:moveTo>
                  <a:cubicBezTo>
                    <a:pt x="1064" y="33"/>
                    <a:pt x="1065" y="33"/>
                    <a:pt x="1065" y="33"/>
                  </a:cubicBezTo>
                  <a:cubicBezTo>
                    <a:pt x="1065" y="32"/>
                    <a:pt x="1064" y="33"/>
                    <a:pt x="1063" y="33"/>
                  </a:cubicBezTo>
                  <a:close/>
                  <a:moveTo>
                    <a:pt x="1029" y="64"/>
                  </a:moveTo>
                  <a:cubicBezTo>
                    <a:pt x="1030" y="63"/>
                    <a:pt x="1030" y="62"/>
                    <a:pt x="1030" y="61"/>
                  </a:cubicBezTo>
                  <a:cubicBezTo>
                    <a:pt x="1029" y="62"/>
                    <a:pt x="1029" y="63"/>
                    <a:pt x="1029" y="64"/>
                  </a:cubicBezTo>
                  <a:close/>
                  <a:moveTo>
                    <a:pt x="1558" y="6"/>
                  </a:moveTo>
                  <a:cubicBezTo>
                    <a:pt x="1558" y="6"/>
                    <a:pt x="1559" y="6"/>
                    <a:pt x="1560" y="6"/>
                  </a:cubicBezTo>
                  <a:cubicBezTo>
                    <a:pt x="1559" y="5"/>
                    <a:pt x="1558" y="6"/>
                    <a:pt x="1558" y="6"/>
                  </a:cubicBezTo>
                  <a:close/>
                  <a:moveTo>
                    <a:pt x="1549" y="6"/>
                  </a:moveTo>
                  <a:cubicBezTo>
                    <a:pt x="1550" y="6"/>
                    <a:pt x="1550" y="6"/>
                    <a:pt x="1551" y="6"/>
                  </a:cubicBezTo>
                  <a:cubicBezTo>
                    <a:pt x="1550" y="6"/>
                    <a:pt x="1549" y="5"/>
                    <a:pt x="1549" y="6"/>
                  </a:cubicBezTo>
                  <a:close/>
                  <a:moveTo>
                    <a:pt x="1444" y="6"/>
                  </a:moveTo>
                  <a:cubicBezTo>
                    <a:pt x="1445" y="6"/>
                    <a:pt x="1445" y="6"/>
                    <a:pt x="1446" y="6"/>
                  </a:cubicBezTo>
                  <a:cubicBezTo>
                    <a:pt x="1446" y="5"/>
                    <a:pt x="1445" y="6"/>
                    <a:pt x="1444" y="6"/>
                  </a:cubicBezTo>
                  <a:close/>
                  <a:moveTo>
                    <a:pt x="1750" y="27"/>
                  </a:moveTo>
                  <a:cubicBezTo>
                    <a:pt x="1749" y="28"/>
                    <a:pt x="1749" y="28"/>
                    <a:pt x="1750" y="29"/>
                  </a:cubicBezTo>
                  <a:cubicBezTo>
                    <a:pt x="1750" y="28"/>
                    <a:pt x="1750" y="27"/>
                    <a:pt x="1750" y="27"/>
                  </a:cubicBezTo>
                  <a:close/>
                  <a:moveTo>
                    <a:pt x="1373" y="6"/>
                  </a:moveTo>
                  <a:cubicBezTo>
                    <a:pt x="1374" y="6"/>
                    <a:pt x="1375" y="6"/>
                    <a:pt x="1376" y="6"/>
                  </a:cubicBezTo>
                  <a:cubicBezTo>
                    <a:pt x="1375" y="5"/>
                    <a:pt x="1374" y="6"/>
                    <a:pt x="1373" y="6"/>
                  </a:cubicBezTo>
                  <a:close/>
                  <a:moveTo>
                    <a:pt x="1135" y="33"/>
                  </a:moveTo>
                  <a:cubicBezTo>
                    <a:pt x="1135" y="33"/>
                    <a:pt x="1136" y="33"/>
                    <a:pt x="1137" y="33"/>
                  </a:cubicBezTo>
                  <a:cubicBezTo>
                    <a:pt x="1136" y="32"/>
                    <a:pt x="1136" y="33"/>
                    <a:pt x="1135" y="33"/>
                  </a:cubicBezTo>
                  <a:close/>
                  <a:moveTo>
                    <a:pt x="720" y="99"/>
                  </a:moveTo>
                  <a:cubicBezTo>
                    <a:pt x="720" y="99"/>
                    <a:pt x="719" y="98"/>
                    <a:pt x="719" y="98"/>
                  </a:cubicBezTo>
                  <a:cubicBezTo>
                    <a:pt x="719" y="99"/>
                    <a:pt x="719" y="99"/>
                    <a:pt x="720" y="99"/>
                  </a:cubicBezTo>
                  <a:close/>
                  <a:moveTo>
                    <a:pt x="1030" y="76"/>
                  </a:moveTo>
                  <a:cubicBezTo>
                    <a:pt x="1030" y="75"/>
                    <a:pt x="1030" y="74"/>
                    <a:pt x="1029" y="73"/>
                  </a:cubicBezTo>
                  <a:cubicBezTo>
                    <a:pt x="1029" y="74"/>
                    <a:pt x="1029" y="75"/>
                    <a:pt x="1030" y="76"/>
                  </a:cubicBezTo>
                  <a:close/>
                  <a:moveTo>
                    <a:pt x="685" y="33"/>
                  </a:moveTo>
                  <a:cubicBezTo>
                    <a:pt x="686" y="33"/>
                    <a:pt x="687" y="33"/>
                    <a:pt x="687" y="33"/>
                  </a:cubicBezTo>
                  <a:cubicBezTo>
                    <a:pt x="687" y="32"/>
                    <a:pt x="686" y="33"/>
                    <a:pt x="685" y="33"/>
                  </a:cubicBezTo>
                  <a:close/>
                  <a:moveTo>
                    <a:pt x="890" y="42"/>
                  </a:moveTo>
                  <a:cubicBezTo>
                    <a:pt x="890" y="42"/>
                    <a:pt x="889" y="42"/>
                    <a:pt x="888" y="42"/>
                  </a:cubicBezTo>
                  <a:cubicBezTo>
                    <a:pt x="889" y="43"/>
                    <a:pt x="890" y="42"/>
                    <a:pt x="890" y="42"/>
                  </a:cubicBezTo>
                  <a:close/>
                  <a:moveTo>
                    <a:pt x="893" y="33"/>
                  </a:moveTo>
                  <a:cubicBezTo>
                    <a:pt x="894" y="33"/>
                    <a:pt x="894" y="33"/>
                    <a:pt x="895" y="33"/>
                  </a:cubicBezTo>
                  <a:cubicBezTo>
                    <a:pt x="894" y="32"/>
                    <a:pt x="894" y="33"/>
                    <a:pt x="893" y="33"/>
                  </a:cubicBezTo>
                  <a:close/>
                  <a:moveTo>
                    <a:pt x="1293" y="39"/>
                  </a:moveTo>
                  <a:cubicBezTo>
                    <a:pt x="1294" y="38"/>
                    <a:pt x="1294" y="38"/>
                    <a:pt x="1295" y="37"/>
                  </a:cubicBezTo>
                  <a:cubicBezTo>
                    <a:pt x="1294" y="38"/>
                    <a:pt x="1293" y="38"/>
                    <a:pt x="1293" y="39"/>
                  </a:cubicBezTo>
                  <a:close/>
                  <a:moveTo>
                    <a:pt x="773" y="33"/>
                  </a:moveTo>
                  <a:cubicBezTo>
                    <a:pt x="774" y="33"/>
                    <a:pt x="775" y="33"/>
                    <a:pt x="776" y="33"/>
                  </a:cubicBezTo>
                  <a:cubicBezTo>
                    <a:pt x="775" y="33"/>
                    <a:pt x="774" y="32"/>
                    <a:pt x="773" y="33"/>
                  </a:cubicBezTo>
                  <a:close/>
                  <a:moveTo>
                    <a:pt x="828" y="58"/>
                  </a:moveTo>
                  <a:cubicBezTo>
                    <a:pt x="828" y="59"/>
                    <a:pt x="828" y="60"/>
                    <a:pt x="828" y="61"/>
                  </a:cubicBezTo>
                  <a:cubicBezTo>
                    <a:pt x="829" y="60"/>
                    <a:pt x="828" y="59"/>
                    <a:pt x="828" y="58"/>
                  </a:cubicBezTo>
                  <a:close/>
                  <a:moveTo>
                    <a:pt x="677" y="33"/>
                  </a:moveTo>
                  <a:cubicBezTo>
                    <a:pt x="678" y="33"/>
                    <a:pt x="679" y="33"/>
                    <a:pt x="680" y="33"/>
                  </a:cubicBezTo>
                  <a:cubicBezTo>
                    <a:pt x="679" y="33"/>
                    <a:pt x="678" y="32"/>
                    <a:pt x="677" y="33"/>
                  </a:cubicBezTo>
                  <a:close/>
                  <a:moveTo>
                    <a:pt x="1369" y="6"/>
                  </a:moveTo>
                  <a:cubicBezTo>
                    <a:pt x="1370" y="6"/>
                    <a:pt x="1371" y="6"/>
                    <a:pt x="1371" y="6"/>
                  </a:cubicBezTo>
                  <a:cubicBezTo>
                    <a:pt x="1371" y="5"/>
                    <a:pt x="1370" y="5"/>
                    <a:pt x="1369" y="6"/>
                  </a:cubicBezTo>
                  <a:close/>
                  <a:moveTo>
                    <a:pt x="781" y="33"/>
                  </a:moveTo>
                  <a:cubicBezTo>
                    <a:pt x="781" y="33"/>
                    <a:pt x="782" y="33"/>
                    <a:pt x="783" y="33"/>
                  </a:cubicBezTo>
                  <a:cubicBezTo>
                    <a:pt x="782" y="32"/>
                    <a:pt x="781" y="33"/>
                    <a:pt x="781" y="33"/>
                  </a:cubicBezTo>
                  <a:close/>
                  <a:moveTo>
                    <a:pt x="1005" y="103"/>
                  </a:moveTo>
                  <a:cubicBezTo>
                    <a:pt x="1004" y="103"/>
                    <a:pt x="1004" y="103"/>
                    <a:pt x="1003" y="103"/>
                  </a:cubicBezTo>
                  <a:cubicBezTo>
                    <a:pt x="1004" y="103"/>
                    <a:pt x="1004" y="103"/>
                    <a:pt x="1005" y="103"/>
                  </a:cubicBezTo>
                  <a:close/>
                  <a:moveTo>
                    <a:pt x="1207" y="76"/>
                  </a:moveTo>
                  <a:cubicBezTo>
                    <a:pt x="1208" y="75"/>
                    <a:pt x="1208" y="74"/>
                    <a:pt x="1207" y="74"/>
                  </a:cubicBezTo>
                  <a:cubicBezTo>
                    <a:pt x="1207" y="74"/>
                    <a:pt x="1207" y="75"/>
                    <a:pt x="1207" y="76"/>
                  </a:cubicBezTo>
                  <a:close/>
                  <a:moveTo>
                    <a:pt x="1127" y="33"/>
                  </a:moveTo>
                  <a:cubicBezTo>
                    <a:pt x="1128" y="33"/>
                    <a:pt x="1129" y="33"/>
                    <a:pt x="1130" y="33"/>
                  </a:cubicBezTo>
                  <a:cubicBezTo>
                    <a:pt x="1129" y="33"/>
                    <a:pt x="1128" y="32"/>
                    <a:pt x="1127" y="33"/>
                  </a:cubicBezTo>
                  <a:close/>
                  <a:moveTo>
                    <a:pt x="1531" y="15"/>
                  </a:moveTo>
                  <a:cubicBezTo>
                    <a:pt x="1531" y="14"/>
                    <a:pt x="1532" y="14"/>
                    <a:pt x="1532" y="13"/>
                  </a:cubicBezTo>
                  <a:cubicBezTo>
                    <a:pt x="1532" y="14"/>
                    <a:pt x="1531" y="14"/>
                    <a:pt x="1531" y="15"/>
                  </a:cubicBezTo>
                  <a:close/>
                  <a:moveTo>
                    <a:pt x="1548" y="75"/>
                  </a:moveTo>
                  <a:cubicBezTo>
                    <a:pt x="1547" y="75"/>
                    <a:pt x="1547" y="76"/>
                    <a:pt x="1546" y="76"/>
                  </a:cubicBezTo>
                  <a:cubicBezTo>
                    <a:pt x="1547" y="76"/>
                    <a:pt x="1547" y="76"/>
                    <a:pt x="1548" y="75"/>
                  </a:cubicBezTo>
                  <a:close/>
                  <a:moveTo>
                    <a:pt x="1699" y="15"/>
                  </a:moveTo>
                  <a:cubicBezTo>
                    <a:pt x="1700" y="14"/>
                    <a:pt x="1700" y="14"/>
                    <a:pt x="1700" y="13"/>
                  </a:cubicBezTo>
                  <a:cubicBezTo>
                    <a:pt x="1700" y="14"/>
                    <a:pt x="1699" y="14"/>
                    <a:pt x="1699" y="15"/>
                  </a:cubicBezTo>
                  <a:close/>
                  <a:moveTo>
                    <a:pt x="844" y="33"/>
                  </a:moveTo>
                  <a:cubicBezTo>
                    <a:pt x="845" y="33"/>
                    <a:pt x="846" y="33"/>
                    <a:pt x="847" y="33"/>
                  </a:cubicBezTo>
                  <a:cubicBezTo>
                    <a:pt x="846" y="33"/>
                    <a:pt x="845" y="32"/>
                    <a:pt x="844" y="33"/>
                  </a:cubicBezTo>
                  <a:close/>
                  <a:moveTo>
                    <a:pt x="851" y="33"/>
                  </a:moveTo>
                  <a:cubicBezTo>
                    <a:pt x="852" y="33"/>
                    <a:pt x="852" y="33"/>
                    <a:pt x="853" y="33"/>
                  </a:cubicBezTo>
                  <a:cubicBezTo>
                    <a:pt x="852" y="32"/>
                    <a:pt x="852" y="33"/>
                    <a:pt x="851" y="33"/>
                  </a:cubicBezTo>
                  <a:close/>
                  <a:moveTo>
                    <a:pt x="1055" y="33"/>
                  </a:moveTo>
                  <a:cubicBezTo>
                    <a:pt x="1056" y="33"/>
                    <a:pt x="1057" y="33"/>
                    <a:pt x="1058" y="33"/>
                  </a:cubicBezTo>
                  <a:cubicBezTo>
                    <a:pt x="1057" y="33"/>
                    <a:pt x="1056" y="32"/>
                    <a:pt x="1055" y="33"/>
                  </a:cubicBezTo>
                  <a:close/>
                  <a:moveTo>
                    <a:pt x="1661" y="8"/>
                  </a:moveTo>
                  <a:cubicBezTo>
                    <a:pt x="1661" y="8"/>
                    <a:pt x="1662" y="8"/>
                    <a:pt x="1663" y="8"/>
                  </a:cubicBezTo>
                  <a:cubicBezTo>
                    <a:pt x="1662" y="7"/>
                    <a:pt x="1661" y="8"/>
                    <a:pt x="1661" y="8"/>
                  </a:cubicBezTo>
                  <a:close/>
                  <a:moveTo>
                    <a:pt x="1233" y="33"/>
                  </a:moveTo>
                  <a:cubicBezTo>
                    <a:pt x="1234" y="33"/>
                    <a:pt x="1235" y="33"/>
                    <a:pt x="1236" y="33"/>
                  </a:cubicBezTo>
                  <a:cubicBezTo>
                    <a:pt x="1235" y="33"/>
                    <a:pt x="1234" y="32"/>
                    <a:pt x="1233" y="33"/>
                  </a:cubicBezTo>
                  <a:close/>
                  <a:moveTo>
                    <a:pt x="1241" y="33"/>
                  </a:moveTo>
                  <a:cubicBezTo>
                    <a:pt x="1241" y="33"/>
                    <a:pt x="1242" y="33"/>
                    <a:pt x="1243" y="33"/>
                  </a:cubicBezTo>
                  <a:cubicBezTo>
                    <a:pt x="1242" y="32"/>
                    <a:pt x="1241" y="33"/>
                    <a:pt x="1241" y="33"/>
                  </a:cubicBezTo>
                  <a:close/>
                  <a:moveTo>
                    <a:pt x="589" y="73"/>
                  </a:moveTo>
                  <a:cubicBezTo>
                    <a:pt x="589" y="74"/>
                    <a:pt x="589" y="75"/>
                    <a:pt x="589" y="76"/>
                  </a:cubicBezTo>
                  <a:cubicBezTo>
                    <a:pt x="589" y="75"/>
                    <a:pt x="590" y="74"/>
                    <a:pt x="589" y="73"/>
                  </a:cubicBezTo>
                  <a:close/>
                  <a:moveTo>
                    <a:pt x="1410" y="72"/>
                  </a:moveTo>
                  <a:cubicBezTo>
                    <a:pt x="1410" y="71"/>
                    <a:pt x="1410" y="70"/>
                    <a:pt x="1410" y="69"/>
                  </a:cubicBezTo>
                  <a:cubicBezTo>
                    <a:pt x="1410" y="70"/>
                    <a:pt x="1410" y="71"/>
                    <a:pt x="1410" y="72"/>
                  </a:cubicBezTo>
                  <a:close/>
                  <a:moveTo>
                    <a:pt x="1370" y="15"/>
                  </a:moveTo>
                  <a:cubicBezTo>
                    <a:pt x="1369" y="15"/>
                    <a:pt x="1369" y="15"/>
                    <a:pt x="1368" y="15"/>
                  </a:cubicBezTo>
                  <a:cubicBezTo>
                    <a:pt x="1369" y="15"/>
                    <a:pt x="1369" y="15"/>
                    <a:pt x="1370" y="15"/>
                  </a:cubicBezTo>
                  <a:close/>
                  <a:moveTo>
                    <a:pt x="1555" y="15"/>
                  </a:moveTo>
                  <a:cubicBezTo>
                    <a:pt x="1554" y="15"/>
                    <a:pt x="1553" y="15"/>
                    <a:pt x="1552" y="15"/>
                  </a:cubicBezTo>
                  <a:cubicBezTo>
                    <a:pt x="1553" y="15"/>
                    <a:pt x="1554" y="15"/>
                    <a:pt x="1555" y="15"/>
                  </a:cubicBezTo>
                  <a:close/>
                  <a:moveTo>
                    <a:pt x="1470" y="66"/>
                  </a:moveTo>
                  <a:cubicBezTo>
                    <a:pt x="1470" y="67"/>
                    <a:pt x="1470" y="67"/>
                    <a:pt x="1470" y="68"/>
                  </a:cubicBezTo>
                  <a:cubicBezTo>
                    <a:pt x="1471" y="67"/>
                    <a:pt x="1470" y="67"/>
                    <a:pt x="1470" y="66"/>
                  </a:cubicBezTo>
                  <a:close/>
                  <a:moveTo>
                    <a:pt x="1723" y="15"/>
                  </a:moveTo>
                  <a:cubicBezTo>
                    <a:pt x="1722" y="15"/>
                    <a:pt x="1721" y="15"/>
                    <a:pt x="1720" y="15"/>
                  </a:cubicBezTo>
                  <a:cubicBezTo>
                    <a:pt x="1721" y="15"/>
                    <a:pt x="1722" y="15"/>
                    <a:pt x="1723" y="15"/>
                  </a:cubicBezTo>
                  <a:close/>
                  <a:moveTo>
                    <a:pt x="951" y="65"/>
                  </a:moveTo>
                  <a:cubicBezTo>
                    <a:pt x="951" y="64"/>
                    <a:pt x="951" y="63"/>
                    <a:pt x="951" y="63"/>
                  </a:cubicBezTo>
                  <a:cubicBezTo>
                    <a:pt x="951" y="64"/>
                    <a:pt x="951" y="64"/>
                    <a:pt x="951" y="65"/>
                  </a:cubicBezTo>
                  <a:close/>
                  <a:moveTo>
                    <a:pt x="1558" y="16"/>
                  </a:moveTo>
                  <a:cubicBezTo>
                    <a:pt x="1557" y="15"/>
                    <a:pt x="1556" y="15"/>
                    <a:pt x="1556" y="15"/>
                  </a:cubicBezTo>
                  <a:cubicBezTo>
                    <a:pt x="1556" y="16"/>
                    <a:pt x="1557" y="15"/>
                    <a:pt x="1558" y="16"/>
                  </a:cubicBezTo>
                  <a:close/>
                  <a:moveTo>
                    <a:pt x="1726" y="16"/>
                  </a:moveTo>
                  <a:cubicBezTo>
                    <a:pt x="1725" y="15"/>
                    <a:pt x="1724" y="15"/>
                    <a:pt x="1724" y="15"/>
                  </a:cubicBezTo>
                  <a:cubicBezTo>
                    <a:pt x="1724" y="16"/>
                    <a:pt x="1725" y="15"/>
                    <a:pt x="1726" y="16"/>
                  </a:cubicBezTo>
                  <a:close/>
                  <a:moveTo>
                    <a:pt x="1207" y="63"/>
                  </a:moveTo>
                  <a:cubicBezTo>
                    <a:pt x="1208" y="63"/>
                    <a:pt x="1208" y="62"/>
                    <a:pt x="1207" y="61"/>
                  </a:cubicBezTo>
                  <a:cubicBezTo>
                    <a:pt x="1207" y="62"/>
                    <a:pt x="1207" y="63"/>
                    <a:pt x="1207" y="63"/>
                  </a:cubicBezTo>
                  <a:close/>
                  <a:moveTo>
                    <a:pt x="1155" y="53"/>
                  </a:moveTo>
                  <a:cubicBezTo>
                    <a:pt x="1155" y="54"/>
                    <a:pt x="1155" y="54"/>
                    <a:pt x="1155" y="55"/>
                  </a:cubicBezTo>
                  <a:cubicBezTo>
                    <a:pt x="1155" y="54"/>
                    <a:pt x="1155" y="53"/>
                    <a:pt x="1155" y="53"/>
                  </a:cubicBezTo>
                  <a:close/>
                  <a:moveTo>
                    <a:pt x="680" y="42"/>
                  </a:moveTo>
                  <a:cubicBezTo>
                    <a:pt x="679" y="42"/>
                    <a:pt x="679" y="42"/>
                    <a:pt x="678" y="42"/>
                  </a:cubicBezTo>
                  <a:cubicBezTo>
                    <a:pt x="679" y="42"/>
                    <a:pt x="679" y="43"/>
                    <a:pt x="680" y="42"/>
                  </a:cubicBezTo>
                  <a:close/>
                  <a:moveTo>
                    <a:pt x="1568" y="59"/>
                  </a:moveTo>
                  <a:cubicBezTo>
                    <a:pt x="1568" y="59"/>
                    <a:pt x="1567" y="60"/>
                    <a:pt x="1567" y="60"/>
                  </a:cubicBezTo>
                  <a:cubicBezTo>
                    <a:pt x="1568" y="60"/>
                    <a:pt x="1568" y="60"/>
                    <a:pt x="1568" y="59"/>
                  </a:cubicBezTo>
                  <a:close/>
                  <a:moveTo>
                    <a:pt x="848" y="42"/>
                  </a:moveTo>
                  <a:cubicBezTo>
                    <a:pt x="847" y="42"/>
                    <a:pt x="846" y="42"/>
                    <a:pt x="845" y="42"/>
                  </a:cubicBezTo>
                  <a:cubicBezTo>
                    <a:pt x="846" y="43"/>
                    <a:pt x="847" y="42"/>
                    <a:pt x="848" y="42"/>
                  </a:cubicBezTo>
                  <a:close/>
                  <a:moveTo>
                    <a:pt x="1440" y="6"/>
                  </a:moveTo>
                  <a:cubicBezTo>
                    <a:pt x="1441" y="6"/>
                    <a:pt x="1441" y="6"/>
                    <a:pt x="1442" y="6"/>
                  </a:cubicBezTo>
                  <a:cubicBezTo>
                    <a:pt x="1441" y="5"/>
                    <a:pt x="1441" y="5"/>
                    <a:pt x="1440" y="6"/>
                  </a:cubicBezTo>
                  <a:close/>
                  <a:moveTo>
                    <a:pt x="1554" y="6"/>
                  </a:moveTo>
                  <a:cubicBezTo>
                    <a:pt x="1554" y="6"/>
                    <a:pt x="1555" y="6"/>
                    <a:pt x="1556" y="6"/>
                  </a:cubicBezTo>
                  <a:cubicBezTo>
                    <a:pt x="1555" y="5"/>
                    <a:pt x="1554" y="5"/>
                    <a:pt x="1554" y="6"/>
                  </a:cubicBezTo>
                  <a:close/>
                  <a:moveTo>
                    <a:pt x="1722" y="6"/>
                  </a:moveTo>
                  <a:cubicBezTo>
                    <a:pt x="1722" y="6"/>
                    <a:pt x="1723" y="6"/>
                    <a:pt x="1724" y="6"/>
                  </a:cubicBezTo>
                  <a:cubicBezTo>
                    <a:pt x="1723" y="5"/>
                    <a:pt x="1722" y="5"/>
                    <a:pt x="1722" y="6"/>
                  </a:cubicBezTo>
                  <a:close/>
                  <a:moveTo>
                    <a:pt x="1436" y="6"/>
                  </a:moveTo>
                  <a:cubicBezTo>
                    <a:pt x="1437" y="6"/>
                    <a:pt x="1438" y="6"/>
                    <a:pt x="1438" y="6"/>
                  </a:cubicBezTo>
                  <a:cubicBezTo>
                    <a:pt x="1438" y="6"/>
                    <a:pt x="1437" y="6"/>
                    <a:pt x="1436" y="6"/>
                  </a:cubicBezTo>
                  <a:close/>
                  <a:moveTo>
                    <a:pt x="990" y="6"/>
                  </a:moveTo>
                  <a:cubicBezTo>
                    <a:pt x="990" y="7"/>
                    <a:pt x="991" y="7"/>
                    <a:pt x="992" y="6"/>
                  </a:cubicBezTo>
                  <a:cubicBezTo>
                    <a:pt x="991" y="6"/>
                    <a:pt x="990" y="6"/>
                    <a:pt x="990" y="6"/>
                  </a:cubicBezTo>
                  <a:close/>
                  <a:moveTo>
                    <a:pt x="1007" y="6"/>
                  </a:moveTo>
                  <a:cubicBezTo>
                    <a:pt x="1008" y="7"/>
                    <a:pt x="1009" y="6"/>
                    <a:pt x="1009" y="6"/>
                  </a:cubicBezTo>
                  <a:cubicBezTo>
                    <a:pt x="1009" y="6"/>
                    <a:pt x="1008" y="6"/>
                    <a:pt x="1007" y="6"/>
                  </a:cubicBezTo>
                  <a:close/>
                  <a:moveTo>
                    <a:pt x="886" y="42"/>
                  </a:moveTo>
                  <a:cubicBezTo>
                    <a:pt x="885" y="42"/>
                    <a:pt x="884" y="42"/>
                    <a:pt x="884" y="42"/>
                  </a:cubicBezTo>
                  <a:cubicBezTo>
                    <a:pt x="884" y="42"/>
                    <a:pt x="885" y="43"/>
                    <a:pt x="886" y="42"/>
                  </a:cubicBezTo>
                  <a:close/>
                  <a:moveTo>
                    <a:pt x="990" y="92"/>
                  </a:moveTo>
                  <a:cubicBezTo>
                    <a:pt x="991" y="93"/>
                    <a:pt x="992" y="93"/>
                    <a:pt x="992" y="93"/>
                  </a:cubicBezTo>
                  <a:cubicBezTo>
                    <a:pt x="992" y="92"/>
                    <a:pt x="991" y="93"/>
                    <a:pt x="990" y="92"/>
                  </a:cubicBezTo>
                  <a:close/>
                  <a:moveTo>
                    <a:pt x="1040" y="40"/>
                  </a:moveTo>
                  <a:cubicBezTo>
                    <a:pt x="1041" y="40"/>
                    <a:pt x="1041" y="40"/>
                    <a:pt x="1041" y="39"/>
                  </a:cubicBezTo>
                  <a:cubicBezTo>
                    <a:pt x="1041" y="39"/>
                    <a:pt x="1040" y="40"/>
                    <a:pt x="1040" y="40"/>
                  </a:cubicBezTo>
                  <a:close/>
                  <a:moveTo>
                    <a:pt x="951" y="50"/>
                  </a:moveTo>
                  <a:cubicBezTo>
                    <a:pt x="951" y="49"/>
                    <a:pt x="951" y="48"/>
                    <a:pt x="951" y="48"/>
                  </a:cubicBezTo>
                  <a:cubicBezTo>
                    <a:pt x="951" y="48"/>
                    <a:pt x="951" y="49"/>
                    <a:pt x="951" y="50"/>
                  </a:cubicBezTo>
                  <a:close/>
                  <a:moveTo>
                    <a:pt x="1265" y="58"/>
                  </a:moveTo>
                  <a:cubicBezTo>
                    <a:pt x="1265" y="58"/>
                    <a:pt x="1265" y="59"/>
                    <a:pt x="1266" y="60"/>
                  </a:cubicBezTo>
                  <a:cubicBezTo>
                    <a:pt x="1266" y="59"/>
                    <a:pt x="1266" y="58"/>
                    <a:pt x="1265" y="58"/>
                  </a:cubicBezTo>
                  <a:close/>
                  <a:moveTo>
                    <a:pt x="694" y="97"/>
                  </a:moveTo>
                  <a:cubicBezTo>
                    <a:pt x="694" y="97"/>
                    <a:pt x="693" y="97"/>
                    <a:pt x="693" y="98"/>
                  </a:cubicBezTo>
                  <a:cubicBezTo>
                    <a:pt x="694" y="98"/>
                    <a:pt x="694" y="97"/>
                    <a:pt x="694" y="97"/>
                  </a:cubicBezTo>
                  <a:close/>
                  <a:moveTo>
                    <a:pt x="1002" y="93"/>
                  </a:moveTo>
                  <a:cubicBezTo>
                    <a:pt x="1003" y="93"/>
                    <a:pt x="1003" y="93"/>
                    <a:pt x="1004" y="92"/>
                  </a:cubicBezTo>
                  <a:cubicBezTo>
                    <a:pt x="1003" y="93"/>
                    <a:pt x="1002" y="92"/>
                    <a:pt x="1002" y="93"/>
                  </a:cubicBezTo>
                  <a:close/>
                  <a:moveTo>
                    <a:pt x="1373" y="56"/>
                  </a:moveTo>
                  <a:cubicBezTo>
                    <a:pt x="1374" y="56"/>
                    <a:pt x="1374" y="55"/>
                    <a:pt x="1375" y="55"/>
                  </a:cubicBezTo>
                  <a:cubicBezTo>
                    <a:pt x="1374" y="55"/>
                    <a:pt x="1373" y="55"/>
                    <a:pt x="1373" y="56"/>
                  </a:cubicBezTo>
                  <a:close/>
                  <a:moveTo>
                    <a:pt x="1127" y="42"/>
                  </a:moveTo>
                  <a:cubicBezTo>
                    <a:pt x="1127" y="42"/>
                    <a:pt x="1126" y="42"/>
                    <a:pt x="1125" y="42"/>
                  </a:cubicBezTo>
                  <a:cubicBezTo>
                    <a:pt x="1126" y="42"/>
                    <a:pt x="1127" y="43"/>
                    <a:pt x="1127" y="42"/>
                  </a:cubicBezTo>
                  <a:close/>
                  <a:moveTo>
                    <a:pt x="1132" y="42"/>
                  </a:moveTo>
                  <a:cubicBezTo>
                    <a:pt x="1131" y="42"/>
                    <a:pt x="1131" y="42"/>
                    <a:pt x="1130" y="42"/>
                  </a:cubicBezTo>
                  <a:cubicBezTo>
                    <a:pt x="1131" y="43"/>
                    <a:pt x="1131" y="42"/>
                    <a:pt x="1132" y="42"/>
                  </a:cubicBezTo>
                  <a:close/>
                  <a:moveTo>
                    <a:pt x="1343" y="92"/>
                  </a:moveTo>
                  <a:cubicBezTo>
                    <a:pt x="1343" y="92"/>
                    <a:pt x="1343" y="91"/>
                    <a:pt x="1343" y="90"/>
                  </a:cubicBezTo>
                  <a:cubicBezTo>
                    <a:pt x="1343" y="91"/>
                    <a:pt x="1343" y="92"/>
                    <a:pt x="1343" y="92"/>
                  </a:cubicBezTo>
                  <a:close/>
                  <a:moveTo>
                    <a:pt x="1707" y="88"/>
                  </a:moveTo>
                  <a:cubicBezTo>
                    <a:pt x="1707" y="88"/>
                    <a:pt x="1707" y="89"/>
                    <a:pt x="1707" y="90"/>
                  </a:cubicBezTo>
                  <a:cubicBezTo>
                    <a:pt x="1707" y="89"/>
                    <a:pt x="1707" y="88"/>
                    <a:pt x="1707" y="88"/>
                  </a:cubicBezTo>
                  <a:close/>
                  <a:moveTo>
                    <a:pt x="1069" y="103"/>
                  </a:moveTo>
                  <a:cubicBezTo>
                    <a:pt x="1068" y="103"/>
                    <a:pt x="1067" y="103"/>
                    <a:pt x="1066" y="103"/>
                  </a:cubicBezTo>
                  <a:cubicBezTo>
                    <a:pt x="1067" y="103"/>
                    <a:pt x="1068" y="103"/>
                    <a:pt x="1069" y="103"/>
                  </a:cubicBezTo>
                  <a:close/>
                  <a:moveTo>
                    <a:pt x="1470" y="39"/>
                  </a:moveTo>
                  <a:cubicBezTo>
                    <a:pt x="1470" y="40"/>
                    <a:pt x="1470" y="40"/>
                    <a:pt x="1470" y="41"/>
                  </a:cubicBezTo>
                  <a:cubicBezTo>
                    <a:pt x="1470" y="40"/>
                    <a:pt x="1471" y="40"/>
                    <a:pt x="1470" y="39"/>
                  </a:cubicBezTo>
                  <a:close/>
                  <a:moveTo>
                    <a:pt x="1385" y="58"/>
                  </a:moveTo>
                  <a:cubicBezTo>
                    <a:pt x="1385" y="58"/>
                    <a:pt x="1384" y="59"/>
                    <a:pt x="1384" y="59"/>
                  </a:cubicBezTo>
                  <a:cubicBezTo>
                    <a:pt x="1385" y="59"/>
                    <a:pt x="1385" y="59"/>
                    <a:pt x="1385" y="58"/>
                  </a:cubicBezTo>
                  <a:close/>
                  <a:moveTo>
                    <a:pt x="1175" y="89"/>
                  </a:moveTo>
                  <a:cubicBezTo>
                    <a:pt x="1175" y="88"/>
                    <a:pt x="1175" y="87"/>
                    <a:pt x="1174" y="87"/>
                  </a:cubicBezTo>
                  <a:cubicBezTo>
                    <a:pt x="1175" y="87"/>
                    <a:pt x="1174" y="88"/>
                    <a:pt x="1175" y="89"/>
                  </a:cubicBezTo>
                  <a:close/>
                  <a:moveTo>
                    <a:pt x="551" y="39"/>
                  </a:moveTo>
                  <a:cubicBezTo>
                    <a:pt x="552" y="40"/>
                    <a:pt x="552" y="40"/>
                    <a:pt x="552" y="41"/>
                  </a:cubicBezTo>
                  <a:cubicBezTo>
                    <a:pt x="552" y="40"/>
                    <a:pt x="552" y="39"/>
                    <a:pt x="551" y="39"/>
                  </a:cubicBezTo>
                  <a:close/>
                  <a:moveTo>
                    <a:pt x="1389" y="54"/>
                  </a:moveTo>
                  <a:cubicBezTo>
                    <a:pt x="1389" y="54"/>
                    <a:pt x="1388" y="55"/>
                    <a:pt x="1388" y="55"/>
                  </a:cubicBezTo>
                  <a:cubicBezTo>
                    <a:pt x="1389" y="55"/>
                    <a:pt x="1389" y="55"/>
                    <a:pt x="1389" y="54"/>
                  </a:cubicBezTo>
                  <a:close/>
                  <a:moveTo>
                    <a:pt x="1087" y="57"/>
                  </a:moveTo>
                  <a:cubicBezTo>
                    <a:pt x="1087" y="58"/>
                    <a:pt x="1087" y="59"/>
                    <a:pt x="1088" y="60"/>
                  </a:cubicBezTo>
                  <a:cubicBezTo>
                    <a:pt x="1088" y="59"/>
                    <a:pt x="1088" y="58"/>
                    <a:pt x="1087" y="57"/>
                  </a:cubicBezTo>
                  <a:close/>
                  <a:moveTo>
                    <a:pt x="989" y="103"/>
                  </a:moveTo>
                  <a:cubicBezTo>
                    <a:pt x="988" y="103"/>
                    <a:pt x="987" y="103"/>
                    <a:pt x="986" y="103"/>
                  </a:cubicBezTo>
                  <a:cubicBezTo>
                    <a:pt x="987" y="103"/>
                    <a:pt x="988" y="103"/>
                    <a:pt x="989" y="103"/>
                  </a:cubicBezTo>
                  <a:close/>
                  <a:moveTo>
                    <a:pt x="589" y="80"/>
                  </a:moveTo>
                  <a:cubicBezTo>
                    <a:pt x="589" y="81"/>
                    <a:pt x="589" y="82"/>
                    <a:pt x="589" y="82"/>
                  </a:cubicBezTo>
                  <a:cubicBezTo>
                    <a:pt x="590" y="82"/>
                    <a:pt x="589" y="81"/>
                    <a:pt x="589" y="80"/>
                  </a:cubicBezTo>
                  <a:close/>
                  <a:moveTo>
                    <a:pt x="1716" y="75"/>
                  </a:moveTo>
                  <a:cubicBezTo>
                    <a:pt x="1715" y="75"/>
                    <a:pt x="1715" y="76"/>
                    <a:pt x="1714" y="76"/>
                  </a:cubicBezTo>
                  <a:cubicBezTo>
                    <a:pt x="1715" y="76"/>
                    <a:pt x="1715" y="76"/>
                    <a:pt x="1716" y="75"/>
                  </a:cubicBezTo>
                  <a:close/>
                  <a:moveTo>
                    <a:pt x="1005" y="92"/>
                  </a:moveTo>
                  <a:cubicBezTo>
                    <a:pt x="1005" y="92"/>
                    <a:pt x="1006" y="93"/>
                    <a:pt x="1006" y="92"/>
                  </a:cubicBezTo>
                  <a:cubicBezTo>
                    <a:pt x="1006" y="92"/>
                    <a:pt x="1005" y="92"/>
                    <a:pt x="1005" y="92"/>
                  </a:cubicBezTo>
                  <a:close/>
                  <a:moveTo>
                    <a:pt x="1289" y="60"/>
                  </a:moveTo>
                  <a:cubicBezTo>
                    <a:pt x="1288" y="61"/>
                    <a:pt x="1288" y="61"/>
                    <a:pt x="1288" y="62"/>
                  </a:cubicBezTo>
                  <a:cubicBezTo>
                    <a:pt x="1289" y="61"/>
                    <a:pt x="1289" y="61"/>
                    <a:pt x="1289" y="60"/>
                  </a:cubicBezTo>
                  <a:close/>
                  <a:moveTo>
                    <a:pt x="1030" y="61"/>
                  </a:moveTo>
                  <a:cubicBezTo>
                    <a:pt x="1030" y="61"/>
                    <a:pt x="1030" y="60"/>
                    <a:pt x="1030" y="59"/>
                  </a:cubicBezTo>
                  <a:cubicBezTo>
                    <a:pt x="1029" y="60"/>
                    <a:pt x="1030" y="61"/>
                    <a:pt x="1030" y="61"/>
                  </a:cubicBezTo>
                  <a:close/>
                  <a:moveTo>
                    <a:pt x="1219" y="75"/>
                  </a:moveTo>
                  <a:cubicBezTo>
                    <a:pt x="1219" y="75"/>
                    <a:pt x="1219" y="76"/>
                    <a:pt x="1219" y="77"/>
                  </a:cubicBezTo>
                  <a:cubicBezTo>
                    <a:pt x="1219" y="76"/>
                    <a:pt x="1219" y="75"/>
                    <a:pt x="1219" y="75"/>
                  </a:cubicBezTo>
                  <a:close/>
                  <a:moveTo>
                    <a:pt x="1386" y="29"/>
                  </a:moveTo>
                  <a:cubicBezTo>
                    <a:pt x="1386" y="28"/>
                    <a:pt x="1386" y="28"/>
                    <a:pt x="1386" y="27"/>
                  </a:cubicBezTo>
                  <a:cubicBezTo>
                    <a:pt x="1386" y="28"/>
                    <a:pt x="1385" y="29"/>
                    <a:pt x="1386" y="29"/>
                  </a:cubicBezTo>
                  <a:close/>
                  <a:moveTo>
                    <a:pt x="669" y="103"/>
                  </a:moveTo>
                  <a:cubicBezTo>
                    <a:pt x="669" y="103"/>
                    <a:pt x="668" y="103"/>
                    <a:pt x="668" y="103"/>
                  </a:cubicBezTo>
                  <a:cubicBezTo>
                    <a:pt x="668" y="103"/>
                    <a:pt x="669" y="103"/>
                    <a:pt x="669" y="103"/>
                  </a:cubicBezTo>
                  <a:close/>
                  <a:moveTo>
                    <a:pt x="1208" y="78"/>
                  </a:moveTo>
                  <a:cubicBezTo>
                    <a:pt x="1208" y="78"/>
                    <a:pt x="1208" y="77"/>
                    <a:pt x="1208" y="76"/>
                  </a:cubicBezTo>
                  <a:cubicBezTo>
                    <a:pt x="1208" y="77"/>
                    <a:pt x="1207" y="78"/>
                    <a:pt x="1208" y="78"/>
                  </a:cubicBezTo>
                  <a:close/>
                  <a:moveTo>
                    <a:pt x="1067" y="93"/>
                  </a:moveTo>
                  <a:cubicBezTo>
                    <a:pt x="1068" y="94"/>
                    <a:pt x="1068" y="94"/>
                    <a:pt x="1069" y="93"/>
                  </a:cubicBezTo>
                  <a:cubicBezTo>
                    <a:pt x="1068" y="93"/>
                    <a:pt x="1067" y="93"/>
                    <a:pt x="1067" y="93"/>
                  </a:cubicBezTo>
                  <a:close/>
                  <a:moveTo>
                    <a:pt x="912" y="52"/>
                  </a:moveTo>
                  <a:cubicBezTo>
                    <a:pt x="912" y="52"/>
                    <a:pt x="912" y="53"/>
                    <a:pt x="912" y="54"/>
                  </a:cubicBezTo>
                  <a:cubicBezTo>
                    <a:pt x="912" y="53"/>
                    <a:pt x="913" y="52"/>
                    <a:pt x="912" y="52"/>
                  </a:cubicBezTo>
                  <a:close/>
                  <a:moveTo>
                    <a:pt x="788" y="102"/>
                  </a:moveTo>
                  <a:cubicBezTo>
                    <a:pt x="788" y="102"/>
                    <a:pt x="787" y="102"/>
                    <a:pt x="787" y="103"/>
                  </a:cubicBezTo>
                  <a:cubicBezTo>
                    <a:pt x="787" y="102"/>
                    <a:pt x="788" y="103"/>
                    <a:pt x="788" y="102"/>
                  </a:cubicBezTo>
                  <a:close/>
                  <a:moveTo>
                    <a:pt x="1684" y="26"/>
                  </a:moveTo>
                  <a:cubicBezTo>
                    <a:pt x="1684" y="27"/>
                    <a:pt x="1684" y="27"/>
                    <a:pt x="1684" y="28"/>
                  </a:cubicBezTo>
                  <a:cubicBezTo>
                    <a:pt x="1684" y="27"/>
                    <a:pt x="1684" y="26"/>
                    <a:pt x="1684" y="26"/>
                  </a:cubicBezTo>
                  <a:close/>
                  <a:moveTo>
                    <a:pt x="1007" y="102"/>
                  </a:moveTo>
                  <a:cubicBezTo>
                    <a:pt x="1007" y="102"/>
                    <a:pt x="1006" y="102"/>
                    <a:pt x="1006" y="103"/>
                  </a:cubicBezTo>
                  <a:cubicBezTo>
                    <a:pt x="1006" y="102"/>
                    <a:pt x="1007" y="103"/>
                    <a:pt x="1007" y="102"/>
                  </a:cubicBezTo>
                  <a:close/>
                  <a:moveTo>
                    <a:pt x="1729" y="6"/>
                  </a:moveTo>
                  <a:cubicBezTo>
                    <a:pt x="1729" y="6"/>
                    <a:pt x="1730" y="7"/>
                    <a:pt x="1730" y="6"/>
                  </a:cubicBezTo>
                  <a:cubicBezTo>
                    <a:pt x="1730" y="6"/>
                    <a:pt x="1729" y="6"/>
                    <a:pt x="1729" y="6"/>
                  </a:cubicBezTo>
                  <a:close/>
                  <a:moveTo>
                    <a:pt x="1714" y="6"/>
                  </a:moveTo>
                  <a:cubicBezTo>
                    <a:pt x="1715" y="7"/>
                    <a:pt x="1716" y="7"/>
                    <a:pt x="1716" y="6"/>
                  </a:cubicBezTo>
                  <a:cubicBezTo>
                    <a:pt x="1716" y="6"/>
                    <a:pt x="1715" y="6"/>
                    <a:pt x="1714" y="6"/>
                  </a:cubicBezTo>
                  <a:close/>
                  <a:moveTo>
                    <a:pt x="1560" y="6"/>
                  </a:moveTo>
                  <a:cubicBezTo>
                    <a:pt x="1561" y="6"/>
                    <a:pt x="1562" y="7"/>
                    <a:pt x="1562" y="6"/>
                  </a:cubicBezTo>
                  <a:cubicBezTo>
                    <a:pt x="1562" y="6"/>
                    <a:pt x="1561" y="6"/>
                    <a:pt x="1560" y="6"/>
                  </a:cubicBezTo>
                  <a:close/>
                  <a:moveTo>
                    <a:pt x="1546" y="6"/>
                  </a:moveTo>
                  <a:cubicBezTo>
                    <a:pt x="1547" y="7"/>
                    <a:pt x="1547" y="7"/>
                    <a:pt x="1548" y="6"/>
                  </a:cubicBezTo>
                  <a:cubicBezTo>
                    <a:pt x="1547" y="6"/>
                    <a:pt x="1547" y="6"/>
                    <a:pt x="1546" y="6"/>
                  </a:cubicBezTo>
                  <a:close/>
                  <a:moveTo>
                    <a:pt x="566" y="103"/>
                  </a:moveTo>
                  <a:cubicBezTo>
                    <a:pt x="566" y="103"/>
                    <a:pt x="565" y="103"/>
                    <a:pt x="564" y="103"/>
                  </a:cubicBezTo>
                  <a:cubicBezTo>
                    <a:pt x="565" y="103"/>
                    <a:pt x="566" y="103"/>
                    <a:pt x="566" y="103"/>
                  </a:cubicBezTo>
                  <a:close/>
                  <a:moveTo>
                    <a:pt x="772" y="103"/>
                  </a:moveTo>
                  <a:cubicBezTo>
                    <a:pt x="772" y="103"/>
                    <a:pt x="771" y="103"/>
                    <a:pt x="770" y="103"/>
                  </a:cubicBezTo>
                  <a:cubicBezTo>
                    <a:pt x="771" y="103"/>
                    <a:pt x="772" y="103"/>
                    <a:pt x="772" y="103"/>
                  </a:cubicBezTo>
                  <a:close/>
                  <a:moveTo>
                    <a:pt x="699" y="79"/>
                  </a:moveTo>
                  <a:cubicBezTo>
                    <a:pt x="699" y="80"/>
                    <a:pt x="699" y="81"/>
                    <a:pt x="700" y="81"/>
                  </a:cubicBezTo>
                  <a:cubicBezTo>
                    <a:pt x="700" y="80"/>
                    <a:pt x="700" y="80"/>
                    <a:pt x="699" y="79"/>
                  </a:cubicBezTo>
                  <a:close/>
                  <a:moveTo>
                    <a:pt x="1362" y="6"/>
                  </a:moveTo>
                  <a:cubicBezTo>
                    <a:pt x="1363" y="7"/>
                    <a:pt x="1363" y="6"/>
                    <a:pt x="1364" y="6"/>
                  </a:cubicBezTo>
                  <a:cubicBezTo>
                    <a:pt x="1363" y="6"/>
                    <a:pt x="1363" y="6"/>
                    <a:pt x="1362" y="6"/>
                  </a:cubicBezTo>
                  <a:close/>
                  <a:moveTo>
                    <a:pt x="575" y="6"/>
                  </a:moveTo>
                  <a:cubicBezTo>
                    <a:pt x="576" y="7"/>
                    <a:pt x="576" y="6"/>
                    <a:pt x="577" y="6"/>
                  </a:cubicBezTo>
                  <a:cubicBezTo>
                    <a:pt x="577" y="6"/>
                    <a:pt x="576" y="6"/>
                    <a:pt x="575" y="6"/>
                  </a:cubicBezTo>
                  <a:close/>
                  <a:moveTo>
                    <a:pt x="843" y="42"/>
                  </a:moveTo>
                  <a:cubicBezTo>
                    <a:pt x="842" y="42"/>
                    <a:pt x="842" y="42"/>
                    <a:pt x="841" y="42"/>
                  </a:cubicBezTo>
                  <a:cubicBezTo>
                    <a:pt x="842" y="42"/>
                    <a:pt x="842" y="43"/>
                    <a:pt x="843" y="42"/>
                  </a:cubicBezTo>
                  <a:close/>
                  <a:moveTo>
                    <a:pt x="951" y="47"/>
                  </a:moveTo>
                  <a:cubicBezTo>
                    <a:pt x="952" y="46"/>
                    <a:pt x="952" y="46"/>
                    <a:pt x="952" y="45"/>
                  </a:cubicBezTo>
                  <a:cubicBezTo>
                    <a:pt x="951" y="46"/>
                    <a:pt x="951" y="46"/>
                    <a:pt x="951" y="47"/>
                  </a:cubicBezTo>
                  <a:close/>
                  <a:moveTo>
                    <a:pt x="559" y="6"/>
                  </a:moveTo>
                  <a:cubicBezTo>
                    <a:pt x="559" y="7"/>
                    <a:pt x="560" y="6"/>
                    <a:pt x="560" y="6"/>
                  </a:cubicBezTo>
                  <a:cubicBezTo>
                    <a:pt x="560" y="6"/>
                    <a:pt x="559" y="6"/>
                    <a:pt x="559" y="6"/>
                  </a:cubicBezTo>
                  <a:close/>
                  <a:moveTo>
                    <a:pt x="805" y="56"/>
                  </a:moveTo>
                  <a:cubicBezTo>
                    <a:pt x="805" y="57"/>
                    <a:pt x="805" y="58"/>
                    <a:pt x="805" y="58"/>
                  </a:cubicBezTo>
                  <a:cubicBezTo>
                    <a:pt x="805" y="57"/>
                    <a:pt x="806" y="57"/>
                    <a:pt x="805" y="56"/>
                  </a:cubicBezTo>
                  <a:close/>
                  <a:moveTo>
                    <a:pt x="963" y="47"/>
                  </a:moveTo>
                  <a:cubicBezTo>
                    <a:pt x="963" y="48"/>
                    <a:pt x="963" y="49"/>
                    <a:pt x="963" y="49"/>
                  </a:cubicBezTo>
                  <a:cubicBezTo>
                    <a:pt x="963" y="49"/>
                    <a:pt x="963" y="48"/>
                    <a:pt x="963" y="47"/>
                  </a:cubicBezTo>
                  <a:close/>
                  <a:moveTo>
                    <a:pt x="1410" y="40"/>
                  </a:moveTo>
                  <a:cubicBezTo>
                    <a:pt x="1411" y="39"/>
                    <a:pt x="1411" y="38"/>
                    <a:pt x="1411" y="38"/>
                  </a:cubicBezTo>
                  <a:cubicBezTo>
                    <a:pt x="1410" y="38"/>
                    <a:pt x="1411" y="39"/>
                    <a:pt x="1410" y="40"/>
                  </a:cubicBezTo>
                  <a:close/>
                  <a:moveTo>
                    <a:pt x="859" y="57"/>
                  </a:moveTo>
                  <a:cubicBezTo>
                    <a:pt x="859" y="56"/>
                    <a:pt x="859" y="55"/>
                    <a:pt x="859" y="55"/>
                  </a:cubicBezTo>
                  <a:cubicBezTo>
                    <a:pt x="859" y="55"/>
                    <a:pt x="858" y="56"/>
                    <a:pt x="859" y="57"/>
                  </a:cubicBezTo>
                  <a:close/>
                  <a:moveTo>
                    <a:pt x="1410" y="42"/>
                  </a:moveTo>
                  <a:cubicBezTo>
                    <a:pt x="1410" y="42"/>
                    <a:pt x="1410" y="41"/>
                    <a:pt x="1410" y="40"/>
                  </a:cubicBezTo>
                  <a:cubicBezTo>
                    <a:pt x="1410" y="41"/>
                    <a:pt x="1410" y="42"/>
                    <a:pt x="1410" y="42"/>
                  </a:cubicBezTo>
                  <a:close/>
                  <a:moveTo>
                    <a:pt x="1470" y="69"/>
                  </a:moveTo>
                  <a:cubicBezTo>
                    <a:pt x="1470" y="69"/>
                    <a:pt x="1470" y="70"/>
                    <a:pt x="1470" y="71"/>
                  </a:cubicBezTo>
                  <a:cubicBezTo>
                    <a:pt x="1470" y="70"/>
                    <a:pt x="1470" y="69"/>
                    <a:pt x="1470" y="69"/>
                  </a:cubicBezTo>
                  <a:close/>
                  <a:moveTo>
                    <a:pt x="1186" y="85"/>
                  </a:moveTo>
                  <a:cubicBezTo>
                    <a:pt x="1186" y="86"/>
                    <a:pt x="1186" y="86"/>
                    <a:pt x="1186" y="87"/>
                  </a:cubicBezTo>
                  <a:cubicBezTo>
                    <a:pt x="1186" y="86"/>
                    <a:pt x="1186" y="86"/>
                    <a:pt x="1186" y="85"/>
                  </a:cubicBezTo>
                  <a:close/>
                  <a:moveTo>
                    <a:pt x="1041" y="74"/>
                  </a:moveTo>
                  <a:cubicBezTo>
                    <a:pt x="1041" y="75"/>
                    <a:pt x="1041" y="76"/>
                    <a:pt x="1041" y="76"/>
                  </a:cubicBezTo>
                  <a:cubicBezTo>
                    <a:pt x="1041" y="76"/>
                    <a:pt x="1041" y="75"/>
                    <a:pt x="1041" y="74"/>
                  </a:cubicBezTo>
                  <a:close/>
                  <a:moveTo>
                    <a:pt x="688" y="33"/>
                  </a:moveTo>
                  <a:cubicBezTo>
                    <a:pt x="688" y="33"/>
                    <a:pt x="689" y="33"/>
                    <a:pt x="690" y="33"/>
                  </a:cubicBezTo>
                  <a:cubicBezTo>
                    <a:pt x="689" y="33"/>
                    <a:pt x="688" y="33"/>
                    <a:pt x="688" y="33"/>
                  </a:cubicBezTo>
                  <a:close/>
                  <a:moveTo>
                    <a:pt x="748" y="77"/>
                  </a:moveTo>
                  <a:cubicBezTo>
                    <a:pt x="748" y="76"/>
                    <a:pt x="748" y="75"/>
                    <a:pt x="747" y="75"/>
                  </a:cubicBezTo>
                  <a:cubicBezTo>
                    <a:pt x="747" y="76"/>
                    <a:pt x="747" y="76"/>
                    <a:pt x="748" y="77"/>
                  </a:cubicBezTo>
                  <a:close/>
                  <a:moveTo>
                    <a:pt x="952" y="67"/>
                  </a:moveTo>
                  <a:cubicBezTo>
                    <a:pt x="952" y="67"/>
                    <a:pt x="952" y="66"/>
                    <a:pt x="951" y="66"/>
                  </a:cubicBezTo>
                  <a:cubicBezTo>
                    <a:pt x="951" y="66"/>
                    <a:pt x="951" y="67"/>
                    <a:pt x="952" y="67"/>
                  </a:cubicBezTo>
                  <a:close/>
                  <a:moveTo>
                    <a:pt x="993" y="16"/>
                  </a:moveTo>
                  <a:cubicBezTo>
                    <a:pt x="992" y="16"/>
                    <a:pt x="992" y="16"/>
                    <a:pt x="991" y="17"/>
                  </a:cubicBezTo>
                  <a:cubicBezTo>
                    <a:pt x="992" y="17"/>
                    <a:pt x="993" y="17"/>
                    <a:pt x="993" y="16"/>
                  </a:cubicBezTo>
                  <a:close/>
                  <a:moveTo>
                    <a:pt x="700" y="86"/>
                  </a:moveTo>
                  <a:cubicBezTo>
                    <a:pt x="699" y="86"/>
                    <a:pt x="699" y="87"/>
                    <a:pt x="699" y="88"/>
                  </a:cubicBezTo>
                  <a:cubicBezTo>
                    <a:pt x="700" y="87"/>
                    <a:pt x="700" y="86"/>
                    <a:pt x="700" y="86"/>
                  </a:cubicBezTo>
                  <a:close/>
                  <a:moveTo>
                    <a:pt x="1006" y="17"/>
                  </a:moveTo>
                  <a:cubicBezTo>
                    <a:pt x="1006" y="16"/>
                    <a:pt x="1005" y="16"/>
                    <a:pt x="1005" y="16"/>
                  </a:cubicBezTo>
                  <a:cubicBezTo>
                    <a:pt x="1005" y="17"/>
                    <a:pt x="1006" y="16"/>
                    <a:pt x="1006" y="17"/>
                  </a:cubicBezTo>
                  <a:close/>
                  <a:moveTo>
                    <a:pt x="871" y="58"/>
                  </a:moveTo>
                  <a:cubicBezTo>
                    <a:pt x="871" y="58"/>
                    <a:pt x="871" y="59"/>
                    <a:pt x="871" y="59"/>
                  </a:cubicBezTo>
                  <a:cubicBezTo>
                    <a:pt x="871" y="59"/>
                    <a:pt x="871" y="58"/>
                    <a:pt x="871" y="58"/>
                  </a:cubicBezTo>
                  <a:close/>
                  <a:moveTo>
                    <a:pt x="1386" y="37"/>
                  </a:moveTo>
                  <a:cubicBezTo>
                    <a:pt x="1386" y="37"/>
                    <a:pt x="1386" y="36"/>
                    <a:pt x="1386" y="35"/>
                  </a:cubicBezTo>
                  <a:cubicBezTo>
                    <a:pt x="1385" y="36"/>
                    <a:pt x="1386" y="37"/>
                    <a:pt x="1386" y="37"/>
                  </a:cubicBezTo>
                  <a:close/>
                  <a:moveTo>
                    <a:pt x="715" y="90"/>
                  </a:moveTo>
                  <a:cubicBezTo>
                    <a:pt x="715" y="89"/>
                    <a:pt x="715" y="88"/>
                    <a:pt x="715" y="88"/>
                  </a:cubicBezTo>
                  <a:cubicBezTo>
                    <a:pt x="715" y="88"/>
                    <a:pt x="714" y="89"/>
                    <a:pt x="715" y="90"/>
                  </a:cubicBezTo>
                  <a:close/>
                  <a:moveTo>
                    <a:pt x="1397" y="25"/>
                  </a:moveTo>
                  <a:cubicBezTo>
                    <a:pt x="1397" y="26"/>
                    <a:pt x="1397" y="26"/>
                    <a:pt x="1397" y="27"/>
                  </a:cubicBezTo>
                  <a:cubicBezTo>
                    <a:pt x="1397" y="26"/>
                    <a:pt x="1397" y="25"/>
                    <a:pt x="1397" y="25"/>
                  </a:cubicBezTo>
                  <a:close/>
                  <a:moveTo>
                    <a:pt x="1367" y="15"/>
                  </a:moveTo>
                  <a:cubicBezTo>
                    <a:pt x="1366" y="15"/>
                    <a:pt x="1366" y="15"/>
                    <a:pt x="1365" y="15"/>
                  </a:cubicBezTo>
                  <a:cubicBezTo>
                    <a:pt x="1366" y="15"/>
                    <a:pt x="1366" y="16"/>
                    <a:pt x="1367" y="15"/>
                  </a:cubicBezTo>
                  <a:close/>
                  <a:moveTo>
                    <a:pt x="1373" y="15"/>
                  </a:moveTo>
                  <a:cubicBezTo>
                    <a:pt x="1373" y="15"/>
                    <a:pt x="1372" y="15"/>
                    <a:pt x="1371" y="15"/>
                  </a:cubicBezTo>
                  <a:cubicBezTo>
                    <a:pt x="1372" y="16"/>
                    <a:pt x="1373" y="15"/>
                    <a:pt x="1373" y="15"/>
                  </a:cubicBezTo>
                  <a:close/>
                  <a:moveTo>
                    <a:pt x="963" y="64"/>
                  </a:moveTo>
                  <a:cubicBezTo>
                    <a:pt x="963" y="65"/>
                    <a:pt x="963" y="65"/>
                    <a:pt x="963" y="66"/>
                  </a:cubicBezTo>
                  <a:cubicBezTo>
                    <a:pt x="963" y="65"/>
                    <a:pt x="964" y="64"/>
                    <a:pt x="963" y="64"/>
                  </a:cubicBezTo>
                  <a:close/>
                  <a:moveTo>
                    <a:pt x="1665" y="58"/>
                  </a:moveTo>
                  <a:cubicBezTo>
                    <a:pt x="1664" y="58"/>
                    <a:pt x="1664" y="58"/>
                    <a:pt x="1664" y="59"/>
                  </a:cubicBezTo>
                  <a:cubicBezTo>
                    <a:pt x="1664" y="59"/>
                    <a:pt x="1664" y="59"/>
                    <a:pt x="1664" y="59"/>
                  </a:cubicBezTo>
                  <a:cubicBezTo>
                    <a:pt x="1664" y="59"/>
                    <a:pt x="1664" y="59"/>
                    <a:pt x="1665" y="58"/>
                  </a:cubicBezTo>
                  <a:close/>
                  <a:moveTo>
                    <a:pt x="1246" y="103"/>
                  </a:moveTo>
                  <a:cubicBezTo>
                    <a:pt x="1245" y="103"/>
                    <a:pt x="1245" y="103"/>
                    <a:pt x="1244" y="103"/>
                  </a:cubicBezTo>
                  <a:cubicBezTo>
                    <a:pt x="1245" y="103"/>
                    <a:pt x="1246" y="103"/>
                    <a:pt x="1246" y="103"/>
                  </a:cubicBezTo>
                  <a:close/>
                  <a:moveTo>
                    <a:pt x="1411" y="74"/>
                  </a:moveTo>
                  <a:cubicBezTo>
                    <a:pt x="1411" y="73"/>
                    <a:pt x="1411" y="72"/>
                    <a:pt x="1410" y="72"/>
                  </a:cubicBezTo>
                  <a:cubicBezTo>
                    <a:pt x="1411" y="72"/>
                    <a:pt x="1410" y="73"/>
                    <a:pt x="1411" y="74"/>
                  </a:cubicBezTo>
                  <a:close/>
                  <a:moveTo>
                    <a:pt x="1198" y="103"/>
                  </a:moveTo>
                  <a:cubicBezTo>
                    <a:pt x="1197" y="103"/>
                    <a:pt x="1196" y="103"/>
                    <a:pt x="1196" y="103"/>
                  </a:cubicBezTo>
                  <a:cubicBezTo>
                    <a:pt x="1197" y="103"/>
                    <a:pt x="1197" y="103"/>
                    <a:pt x="1198" y="103"/>
                  </a:cubicBezTo>
                  <a:close/>
                  <a:moveTo>
                    <a:pt x="1539" y="88"/>
                  </a:moveTo>
                  <a:cubicBezTo>
                    <a:pt x="1538" y="88"/>
                    <a:pt x="1539" y="89"/>
                    <a:pt x="1539" y="90"/>
                  </a:cubicBezTo>
                  <a:cubicBezTo>
                    <a:pt x="1539" y="89"/>
                    <a:pt x="1539" y="88"/>
                    <a:pt x="1539" y="88"/>
                  </a:cubicBezTo>
                  <a:close/>
                  <a:moveTo>
                    <a:pt x="1188" y="103"/>
                  </a:moveTo>
                  <a:cubicBezTo>
                    <a:pt x="1188" y="103"/>
                    <a:pt x="1187" y="103"/>
                    <a:pt x="1187" y="103"/>
                  </a:cubicBezTo>
                  <a:cubicBezTo>
                    <a:pt x="1187" y="103"/>
                    <a:pt x="1188" y="103"/>
                    <a:pt x="1188" y="103"/>
                  </a:cubicBezTo>
                  <a:close/>
                  <a:moveTo>
                    <a:pt x="1551" y="15"/>
                  </a:moveTo>
                  <a:cubicBezTo>
                    <a:pt x="1550" y="15"/>
                    <a:pt x="1550" y="15"/>
                    <a:pt x="1549" y="15"/>
                  </a:cubicBezTo>
                  <a:cubicBezTo>
                    <a:pt x="1550" y="15"/>
                    <a:pt x="1551" y="16"/>
                    <a:pt x="1551" y="15"/>
                  </a:cubicBezTo>
                  <a:close/>
                  <a:moveTo>
                    <a:pt x="1470" y="71"/>
                  </a:moveTo>
                  <a:cubicBezTo>
                    <a:pt x="1469" y="71"/>
                    <a:pt x="1469" y="72"/>
                    <a:pt x="1469" y="73"/>
                  </a:cubicBezTo>
                  <a:cubicBezTo>
                    <a:pt x="1470" y="72"/>
                    <a:pt x="1470" y="71"/>
                    <a:pt x="1470" y="71"/>
                  </a:cubicBezTo>
                  <a:close/>
                  <a:moveTo>
                    <a:pt x="1719" y="15"/>
                  </a:moveTo>
                  <a:cubicBezTo>
                    <a:pt x="1719" y="15"/>
                    <a:pt x="1718" y="15"/>
                    <a:pt x="1717" y="15"/>
                  </a:cubicBezTo>
                  <a:cubicBezTo>
                    <a:pt x="1718" y="15"/>
                    <a:pt x="1719" y="16"/>
                    <a:pt x="1719" y="15"/>
                  </a:cubicBezTo>
                  <a:close/>
                  <a:moveTo>
                    <a:pt x="759" y="75"/>
                  </a:moveTo>
                  <a:cubicBezTo>
                    <a:pt x="759" y="76"/>
                    <a:pt x="759" y="77"/>
                    <a:pt x="759" y="77"/>
                  </a:cubicBezTo>
                  <a:cubicBezTo>
                    <a:pt x="759" y="77"/>
                    <a:pt x="759" y="76"/>
                    <a:pt x="759" y="75"/>
                  </a:cubicBezTo>
                  <a:close/>
                  <a:moveTo>
                    <a:pt x="1527" y="90"/>
                  </a:moveTo>
                  <a:cubicBezTo>
                    <a:pt x="1528" y="90"/>
                    <a:pt x="1528" y="89"/>
                    <a:pt x="1528" y="89"/>
                  </a:cubicBezTo>
                  <a:cubicBezTo>
                    <a:pt x="1527" y="89"/>
                    <a:pt x="1527" y="90"/>
                    <a:pt x="1527" y="90"/>
                  </a:cubicBezTo>
                  <a:close/>
                  <a:moveTo>
                    <a:pt x="963" y="62"/>
                  </a:moveTo>
                  <a:cubicBezTo>
                    <a:pt x="963" y="62"/>
                    <a:pt x="963" y="63"/>
                    <a:pt x="963" y="64"/>
                  </a:cubicBezTo>
                  <a:cubicBezTo>
                    <a:pt x="963" y="63"/>
                    <a:pt x="963" y="62"/>
                    <a:pt x="963" y="62"/>
                  </a:cubicBezTo>
                  <a:close/>
                  <a:moveTo>
                    <a:pt x="1696" y="90"/>
                  </a:moveTo>
                  <a:cubicBezTo>
                    <a:pt x="1696" y="90"/>
                    <a:pt x="1696" y="89"/>
                    <a:pt x="1696" y="89"/>
                  </a:cubicBezTo>
                  <a:cubicBezTo>
                    <a:pt x="1695" y="89"/>
                    <a:pt x="1696" y="90"/>
                    <a:pt x="1696" y="90"/>
                  </a:cubicBezTo>
                  <a:close/>
                  <a:moveTo>
                    <a:pt x="1030" y="78"/>
                  </a:moveTo>
                  <a:cubicBezTo>
                    <a:pt x="1030" y="77"/>
                    <a:pt x="1030" y="77"/>
                    <a:pt x="1030" y="76"/>
                  </a:cubicBezTo>
                  <a:cubicBezTo>
                    <a:pt x="1030" y="77"/>
                    <a:pt x="1029" y="77"/>
                    <a:pt x="1030" y="78"/>
                  </a:cubicBezTo>
                  <a:close/>
                  <a:moveTo>
                    <a:pt x="1144" y="57"/>
                  </a:moveTo>
                  <a:cubicBezTo>
                    <a:pt x="1144" y="57"/>
                    <a:pt x="1144" y="56"/>
                    <a:pt x="1143" y="55"/>
                  </a:cubicBezTo>
                  <a:cubicBezTo>
                    <a:pt x="1144" y="56"/>
                    <a:pt x="1143" y="57"/>
                    <a:pt x="1144" y="57"/>
                  </a:cubicBezTo>
                  <a:close/>
                  <a:moveTo>
                    <a:pt x="1111" y="58"/>
                  </a:moveTo>
                  <a:cubicBezTo>
                    <a:pt x="1110" y="58"/>
                    <a:pt x="1110" y="59"/>
                    <a:pt x="1110" y="59"/>
                  </a:cubicBezTo>
                  <a:cubicBezTo>
                    <a:pt x="1111" y="59"/>
                    <a:pt x="1111" y="58"/>
                    <a:pt x="1111" y="58"/>
                  </a:cubicBezTo>
                  <a:close/>
                  <a:moveTo>
                    <a:pt x="747" y="62"/>
                  </a:moveTo>
                  <a:cubicBezTo>
                    <a:pt x="748" y="62"/>
                    <a:pt x="748" y="61"/>
                    <a:pt x="748" y="60"/>
                  </a:cubicBezTo>
                  <a:cubicBezTo>
                    <a:pt x="747" y="61"/>
                    <a:pt x="747" y="62"/>
                    <a:pt x="747" y="62"/>
                  </a:cubicBezTo>
                  <a:close/>
                  <a:moveTo>
                    <a:pt x="786" y="103"/>
                  </a:moveTo>
                  <a:cubicBezTo>
                    <a:pt x="786" y="103"/>
                    <a:pt x="785" y="103"/>
                    <a:pt x="784" y="103"/>
                  </a:cubicBezTo>
                  <a:cubicBezTo>
                    <a:pt x="785" y="103"/>
                    <a:pt x="786" y="103"/>
                    <a:pt x="786" y="103"/>
                  </a:cubicBezTo>
                  <a:close/>
                  <a:moveTo>
                    <a:pt x="1470" y="36"/>
                  </a:moveTo>
                  <a:cubicBezTo>
                    <a:pt x="1470" y="37"/>
                    <a:pt x="1470" y="38"/>
                    <a:pt x="1470" y="38"/>
                  </a:cubicBezTo>
                  <a:cubicBezTo>
                    <a:pt x="1470" y="38"/>
                    <a:pt x="1470" y="37"/>
                    <a:pt x="1470" y="36"/>
                  </a:cubicBezTo>
                  <a:close/>
                  <a:moveTo>
                    <a:pt x="1188" y="91"/>
                  </a:moveTo>
                  <a:cubicBezTo>
                    <a:pt x="1188" y="91"/>
                    <a:pt x="1188" y="92"/>
                    <a:pt x="1189" y="92"/>
                  </a:cubicBezTo>
                  <a:cubicBezTo>
                    <a:pt x="1189" y="91"/>
                    <a:pt x="1188" y="91"/>
                    <a:pt x="1188" y="91"/>
                  </a:cubicBezTo>
                  <a:close/>
                  <a:moveTo>
                    <a:pt x="1397" y="36"/>
                  </a:moveTo>
                  <a:cubicBezTo>
                    <a:pt x="1397" y="37"/>
                    <a:pt x="1397" y="37"/>
                    <a:pt x="1397" y="38"/>
                  </a:cubicBezTo>
                  <a:cubicBezTo>
                    <a:pt x="1397" y="37"/>
                    <a:pt x="1397" y="37"/>
                    <a:pt x="1397" y="36"/>
                  </a:cubicBezTo>
                  <a:close/>
                  <a:moveTo>
                    <a:pt x="1745" y="15"/>
                  </a:moveTo>
                  <a:cubicBezTo>
                    <a:pt x="1745" y="15"/>
                    <a:pt x="1745" y="16"/>
                    <a:pt x="1745" y="16"/>
                  </a:cubicBezTo>
                  <a:cubicBezTo>
                    <a:pt x="1745" y="15"/>
                    <a:pt x="1745" y="15"/>
                    <a:pt x="1745" y="15"/>
                  </a:cubicBezTo>
                  <a:close/>
                  <a:moveTo>
                    <a:pt x="856" y="48"/>
                  </a:moveTo>
                  <a:cubicBezTo>
                    <a:pt x="856" y="47"/>
                    <a:pt x="856" y="47"/>
                    <a:pt x="855" y="47"/>
                  </a:cubicBezTo>
                  <a:cubicBezTo>
                    <a:pt x="855" y="47"/>
                    <a:pt x="855" y="47"/>
                    <a:pt x="856" y="48"/>
                  </a:cubicBezTo>
                  <a:close/>
                  <a:moveTo>
                    <a:pt x="1376" y="6"/>
                  </a:moveTo>
                  <a:cubicBezTo>
                    <a:pt x="1377" y="6"/>
                    <a:pt x="1377" y="6"/>
                    <a:pt x="1378" y="6"/>
                  </a:cubicBezTo>
                  <a:cubicBezTo>
                    <a:pt x="1377" y="6"/>
                    <a:pt x="1377" y="6"/>
                    <a:pt x="1376" y="6"/>
                  </a:cubicBezTo>
                  <a:close/>
                  <a:moveTo>
                    <a:pt x="1434" y="6"/>
                  </a:moveTo>
                  <a:cubicBezTo>
                    <a:pt x="1435" y="7"/>
                    <a:pt x="1435" y="7"/>
                    <a:pt x="1436" y="6"/>
                  </a:cubicBezTo>
                  <a:cubicBezTo>
                    <a:pt x="1435" y="6"/>
                    <a:pt x="1435" y="6"/>
                    <a:pt x="1434" y="6"/>
                  </a:cubicBezTo>
                  <a:close/>
                  <a:moveTo>
                    <a:pt x="1447" y="6"/>
                  </a:moveTo>
                  <a:cubicBezTo>
                    <a:pt x="1447" y="6"/>
                    <a:pt x="1448" y="7"/>
                    <a:pt x="1448" y="6"/>
                  </a:cubicBezTo>
                  <a:cubicBezTo>
                    <a:pt x="1448" y="6"/>
                    <a:pt x="1447" y="6"/>
                    <a:pt x="1447" y="6"/>
                  </a:cubicBezTo>
                  <a:close/>
                  <a:moveTo>
                    <a:pt x="1537" y="21"/>
                  </a:moveTo>
                  <a:cubicBezTo>
                    <a:pt x="1537" y="21"/>
                    <a:pt x="1537" y="21"/>
                    <a:pt x="1536" y="21"/>
                  </a:cubicBezTo>
                  <a:cubicBezTo>
                    <a:pt x="1537" y="21"/>
                    <a:pt x="1537" y="21"/>
                    <a:pt x="1537" y="21"/>
                  </a:cubicBezTo>
                  <a:close/>
                  <a:moveTo>
                    <a:pt x="557" y="7"/>
                  </a:moveTo>
                  <a:cubicBezTo>
                    <a:pt x="557" y="7"/>
                    <a:pt x="558" y="7"/>
                    <a:pt x="558" y="7"/>
                  </a:cubicBezTo>
                  <a:cubicBezTo>
                    <a:pt x="558" y="7"/>
                    <a:pt x="557" y="6"/>
                    <a:pt x="557" y="7"/>
                  </a:cubicBezTo>
                  <a:close/>
                  <a:moveTo>
                    <a:pt x="577" y="7"/>
                  </a:moveTo>
                  <a:cubicBezTo>
                    <a:pt x="578" y="7"/>
                    <a:pt x="578" y="7"/>
                    <a:pt x="579" y="7"/>
                  </a:cubicBezTo>
                  <a:cubicBezTo>
                    <a:pt x="578" y="6"/>
                    <a:pt x="578" y="7"/>
                    <a:pt x="577" y="7"/>
                  </a:cubicBezTo>
                  <a:close/>
                  <a:moveTo>
                    <a:pt x="988" y="7"/>
                  </a:moveTo>
                  <a:cubicBezTo>
                    <a:pt x="988" y="7"/>
                    <a:pt x="989" y="7"/>
                    <a:pt x="989" y="7"/>
                  </a:cubicBezTo>
                  <a:cubicBezTo>
                    <a:pt x="989" y="7"/>
                    <a:pt x="988" y="6"/>
                    <a:pt x="988" y="7"/>
                  </a:cubicBezTo>
                  <a:close/>
                  <a:moveTo>
                    <a:pt x="1010" y="7"/>
                  </a:moveTo>
                  <a:cubicBezTo>
                    <a:pt x="1010" y="7"/>
                    <a:pt x="1011" y="7"/>
                    <a:pt x="1012" y="7"/>
                  </a:cubicBezTo>
                  <a:cubicBezTo>
                    <a:pt x="1011" y="6"/>
                    <a:pt x="1011" y="7"/>
                    <a:pt x="1010" y="7"/>
                  </a:cubicBezTo>
                  <a:close/>
                  <a:moveTo>
                    <a:pt x="1360" y="7"/>
                  </a:moveTo>
                  <a:cubicBezTo>
                    <a:pt x="1361" y="7"/>
                    <a:pt x="1361" y="7"/>
                    <a:pt x="1362" y="7"/>
                  </a:cubicBezTo>
                  <a:cubicBezTo>
                    <a:pt x="1361" y="7"/>
                    <a:pt x="1361" y="6"/>
                    <a:pt x="1360" y="7"/>
                  </a:cubicBezTo>
                  <a:close/>
                  <a:moveTo>
                    <a:pt x="1378" y="7"/>
                  </a:moveTo>
                  <a:cubicBezTo>
                    <a:pt x="1378" y="7"/>
                    <a:pt x="1379" y="7"/>
                    <a:pt x="1379" y="7"/>
                  </a:cubicBezTo>
                  <a:cubicBezTo>
                    <a:pt x="1379" y="6"/>
                    <a:pt x="1379" y="7"/>
                    <a:pt x="1378" y="7"/>
                  </a:cubicBezTo>
                  <a:close/>
                  <a:moveTo>
                    <a:pt x="968" y="16"/>
                  </a:moveTo>
                  <a:cubicBezTo>
                    <a:pt x="969" y="16"/>
                    <a:pt x="969" y="16"/>
                    <a:pt x="969" y="15"/>
                  </a:cubicBezTo>
                  <a:cubicBezTo>
                    <a:pt x="969" y="15"/>
                    <a:pt x="969" y="15"/>
                    <a:pt x="968" y="16"/>
                  </a:cubicBezTo>
                  <a:close/>
                  <a:moveTo>
                    <a:pt x="680" y="94"/>
                  </a:moveTo>
                  <a:cubicBezTo>
                    <a:pt x="680" y="94"/>
                    <a:pt x="681" y="94"/>
                    <a:pt x="681" y="93"/>
                  </a:cubicBezTo>
                  <a:cubicBezTo>
                    <a:pt x="681" y="93"/>
                    <a:pt x="680" y="93"/>
                    <a:pt x="680" y="94"/>
                  </a:cubicBezTo>
                  <a:close/>
                  <a:moveTo>
                    <a:pt x="952" y="45"/>
                  </a:moveTo>
                  <a:cubicBezTo>
                    <a:pt x="952" y="44"/>
                    <a:pt x="952" y="44"/>
                    <a:pt x="952" y="43"/>
                  </a:cubicBezTo>
                  <a:cubicBezTo>
                    <a:pt x="951" y="44"/>
                    <a:pt x="952" y="44"/>
                    <a:pt x="952" y="45"/>
                  </a:cubicBezTo>
                  <a:close/>
                  <a:moveTo>
                    <a:pt x="737" y="94"/>
                  </a:moveTo>
                  <a:cubicBezTo>
                    <a:pt x="738" y="94"/>
                    <a:pt x="738" y="94"/>
                    <a:pt x="739" y="93"/>
                  </a:cubicBezTo>
                  <a:cubicBezTo>
                    <a:pt x="738" y="93"/>
                    <a:pt x="738" y="93"/>
                    <a:pt x="737" y="94"/>
                  </a:cubicBezTo>
                  <a:close/>
                  <a:moveTo>
                    <a:pt x="1706" y="21"/>
                  </a:moveTo>
                  <a:cubicBezTo>
                    <a:pt x="1705" y="21"/>
                    <a:pt x="1705" y="21"/>
                    <a:pt x="1705" y="21"/>
                  </a:cubicBezTo>
                  <a:cubicBezTo>
                    <a:pt x="1705" y="21"/>
                    <a:pt x="1705" y="21"/>
                    <a:pt x="1706" y="21"/>
                  </a:cubicBezTo>
                  <a:close/>
                  <a:moveTo>
                    <a:pt x="774" y="93"/>
                  </a:moveTo>
                  <a:cubicBezTo>
                    <a:pt x="775" y="94"/>
                    <a:pt x="775" y="94"/>
                    <a:pt x="776" y="93"/>
                  </a:cubicBezTo>
                  <a:cubicBezTo>
                    <a:pt x="775" y="93"/>
                    <a:pt x="775" y="93"/>
                    <a:pt x="774" y="93"/>
                  </a:cubicBezTo>
                  <a:close/>
                  <a:moveTo>
                    <a:pt x="1076" y="37"/>
                  </a:moveTo>
                  <a:cubicBezTo>
                    <a:pt x="1077" y="38"/>
                    <a:pt x="1077" y="38"/>
                    <a:pt x="1077" y="38"/>
                  </a:cubicBezTo>
                  <a:cubicBezTo>
                    <a:pt x="1077" y="37"/>
                    <a:pt x="1077" y="37"/>
                    <a:pt x="1076" y="37"/>
                  </a:cubicBezTo>
                  <a:close/>
                  <a:moveTo>
                    <a:pt x="785" y="93"/>
                  </a:moveTo>
                  <a:cubicBezTo>
                    <a:pt x="785" y="94"/>
                    <a:pt x="786" y="94"/>
                    <a:pt x="786" y="93"/>
                  </a:cubicBezTo>
                  <a:cubicBezTo>
                    <a:pt x="786" y="93"/>
                    <a:pt x="785" y="93"/>
                    <a:pt x="785" y="93"/>
                  </a:cubicBezTo>
                  <a:close/>
                  <a:moveTo>
                    <a:pt x="579" y="7"/>
                  </a:moveTo>
                  <a:cubicBezTo>
                    <a:pt x="580" y="7"/>
                    <a:pt x="580" y="7"/>
                    <a:pt x="581" y="7"/>
                  </a:cubicBezTo>
                  <a:cubicBezTo>
                    <a:pt x="580" y="7"/>
                    <a:pt x="580" y="7"/>
                    <a:pt x="579" y="7"/>
                  </a:cubicBezTo>
                  <a:close/>
                  <a:moveTo>
                    <a:pt x="1056" y="93"/>
                  </a:moveTo>
                  <a:cubicBezTo>
                    <a:pt x="1057" y="94"/>
                    <a:pt x="1057" y="94"/>
                    <a:pt x="1058" y="93"/>
                  </a:cubicBezTo>
                  <a:cubicBezTo>
                    <a:pt x="1057" y="93"/>
                    <a:pt x="1057" y="93"/>
                    <a:pt x="1056" y="93"/>
                  </a:cubicBezTo>
                  <a:close/>
                  <a:moveTo>
                    <a:pt x="1012" y="7"/>
                  </a:moveTo>
                  <a:cubicBezTo>
                    <a:pt x="1012" y="7"/>
                    <a:pt x="1013" y="7"/>
                    <a:pt x="1013" y="7"/>
                  </a:cubicBezTo>
                  <a:cubicBezTo>
                    <a:pt x="1013" y="7"/>
                    <a:pt x="1012" y="7"/>
                    <a:pt x="1012" y="7"/>
                  </a:cubicBezTo>
                  <a:close/>
                  <a:moveTo>
                    <a:pt x="1375" y="16"/>
                  </a:moveTo>
                  <a:cubicBezTo>
                    <a:pt x="1375" y="16"/>
                    <a:pt x="1374" y="15"/>
                    <a:pt x="1374" y="16"/>
                  </a:cubicBezTo>
                  <a:cubicBezTo>
                    <a:pt x="1374" y="16"/>
                    <a:pt x="1374" y="16"/>
                    <a:pt x="1375" y="16"/>
                  </a:cubicBezTo>
                  <a:close/>
                  <a:moveTo>
                    <a:pt x="1191" y="93"/>
                  </a:moveTo>
                  <a:cubicBezTo>
                    <a:pt x="1192" y="94"/>
                    <a:pt x="1192" y="94"/>
                    <a:pt x="1193" y="94"/>
                  </a:cubicBezTo>
                  <a:cubicBezTo>
                    <a:pt x="1192" y="93"/>
                    <a:pt x="1192" y="93"/>
                    <a:pt x="1191" y="93"/>
                  </a:cubicBezTo>
                  <a:close/>
                  <a:moveTo>
                    <a:pt x="1215" y="94"/>
                  </a:moveTo>
                  <a:cubicBezTo>
                    <a:pt x="1215" y="94"/>
                    <a:pt x="1215" y="93"/>
                    <a:pt x="1214" y="93"/>
                  </a:cubicBezTo>
                  <a:cubicBezTo>
                    <a:pt x="1214" y="94"/>
                    <a:pt x="1215" y="94"/>
                    <a:pt x="1215" y="94"/>
                  </a:cubicBezTo>
                  <a:close/>
                  <a:moveTo>
                    <a:pt x="1581" y="37"/>
                  </a:moveTo>
                  <a:cubicBezTo>
                    <a:pt x="1581" y="37"/>
                    <a:pt x="1581" y="38"/>
                    <a:pt x="1581" y="39"/>
                  </a:cubicBezTo>
                  <a:cubicBezTo>
                    <a:pt x="1582" y="38"/>
                    <a:pt x="1581" y="37"/>
                    <a:pt x="1581" y="37"/>
                  </a:cubicBezTo>
                  <a:close/>
                  <a:moveTo>
                    <a:pt x="1549" y="16"/>
                  </a:moveTo>
                  <a:cubicBezTo>
                    <a:pt x="1548" y="15"/>
                    <a:pt x="1548" y="16"/>
                    <a:pt x="1548" y="16"/>
                  </a:cubicBezTo>
                  <a:cubicBezTo>
                    <a:pt x="1548" y="16"/>
                    <a:pt x="1549" y="16"/>
                    <a:pt x="1549" y="16"/>
                  </a:cubicBezTo>
                  <a:close/>
                  <a:moveTo>
                    <a:pt x="1749" y="37"/>
                  </a:moveTo>
                  <a:cubicBezTo>
                    <a:pt x="1749" y="37"/>
                    <a:pt x="1749" y="38"/>
                    <a:pt x="1749" y="39"/>
                  </a:cubicBezTo>
                  <a:cubicBezTo>
                    <a:pt x="1750" y="38"/>
                    <a:pt x="1749" y="37"/>
                    <a:pt x="1749" y="37"/>
                  </a:cubicBezTo>
                  <a:close/>
                  <a:moveTo>
                    <a:pt x="1717" y="16"/>
                  </a:moveTo>
                  <a:cubicBezTo>
                    <a:pt x="1717" y="15"/>
                    <a:pt x="1716" y="16"/>
                    <a:pt x="1716" y="16"/>
                  </a:cubicBezTo>
                  <a:cubicBezTo>
                    <a:pt x="1716" y="16"/>
                    <a:pt x="1717" y="16"/>
                    <a:pt x="1717" y="16"/>
                  </a:cubicBezTo>
                  <a:close/>
                  <a:moveTo>
                    <a:pt x="1234" y="93"/>
                  </a:moveTo>
                  <a:cubicBezTo>
                    <a:pt x="1235" y="94"/>
                    <a:pt x="1235" y="94"/>
                    <a:pt x="1236" y="93"/>
                  </a:cubicBezTo>
                  <a:cubicBezTo>
                    <a:pt x="1235" y="93"/>
                    <a:pt x="1235" y="93"/>
                    <a:pt x="1234" y="93"/>
                  </a:cubicBezTo>
                  <a:close/>
                  <a:moveTo>
                    <a:pt x="1245" y="93"/>
                  </a:moveTo>
                  <a:cubicBezTo>
                    <a:pt x="1245" y="94"/>
                    <a:pt x="1246" y="94"/>
                    <a:pt x="1246" y="93"/>
                  </a:cubicBezTo>
                  <a:cubicBezTo>
                    <a:pt x="1246" y="93"/>
                    <a:pt x="1245" y="93"/>
                    <a:pt x="1245" y="93"/>
                  </a:cubicBezTo>
                  <a:close/>
                  <a:moveTo>
                    <a:pt x="761" y="38"/>
                  </a:moveTo>
                  <a:cubicBezTo>
                    <a:pt x="761" y="38"/>
                    <a:pt x="761" y="38"/>
                    <a:pt x="762" y="37"/>
                  </a:cubicBezTo>
                  <a:cubicBezTo>
                    <a:pt x="761" y="37"/>
                    <a:pt x="761" y="38"/>
                    <a:pt x="761" y="38"/>
                  </a:cubicBezTo>
                  <a:close/>
                  <a:moveTo>
                    <a:pt x="1154" y="51"/>
                  </a:moveTo>
                  <a:cubicBezTo>
                    <a:pt x="1154" y="52"/>
                    <a:pt x="1154" y="52"/>
                    <a:pt x="1155" y="53"/>
                  </a:cubicBezTo>
                  <a:cubicBezTo>
                    <a:pt x="1155" y="52"/>
                    <a:pt x="1155" y="51"/>
                    <a:pt x="1154" y="51"/>
                  </a:cubicBezTo>
                  <a:close/>
                  <a:moveTo>
                    <a:pt x="1038" y="94"/>
                  </a:moveTo>
                  <a:cubicBezTo>
                    <a:pt x="1038" y="94"/>
                    <a:pt x="1037" y="94"/>
                    <a:pt x="1037" y="94"/>
                  </a:cubicBezTo>
                  <a:cubicBezTo>
                    <a:pt x="1037" y="94"/>
                    <a:pt x="1037" y="94"/>
                    <a:pt x="1038" y="94"/>
                  </a:cubicBezTo>
                  <a:close/>
                  <a:moveTo>
                    <a:pt x="1742" y="53"/>
                  </a:moveTo>
                  <a:cubicBezTo>
                    <a:pt x="1742" y="53"/>
                    <a:pt x="1742" y="54"/>
                    <a:pt x="1741" y="54"/>
                  </a:cubicBezTo>
                  <a:cubicBezTo>
                    <a:pt x="1742" y="54"/>
                    <a:pt x="1742" y="54"/>
                    <a:pt x="1742" y="53"/>
                  </a:cubicBezTo>
                  <a:close/>
                  <a:moveTo>
                    <a:pt x="1420" y="95"/>
                  </a:moveTo>
                  <a:cubicBezTo>
                    <a:pt x="1420" y="95"/>
                    <a:pt x="1420" y="94"/>
                    <a:pt x="1419" y="94"/>
                  </a:cubicBezTo>
                  <a:cubicBezTo>
                    <a:pt x="1420" y="95"/>
                    <a:pt x="1420" y="95"/>
                    <a:pt x="1420" y="95"/>
                  </a:cubicBezTo>
                  <a:close/>
                  <a:moveTo>
                    <a:pt x="552" y="21"/>
                  </a:moveTo>
                  <a:cubicBezTo>
                    <a:pt x="551" y="22"/>
                    <a:pt x="551" y="22"/>
                    <a:pt x="551" y="22"/>
                  </a:cubicBezTo>
                  <a:cubicBezTo>
                    <a:pt x="551" y="22"/>
                    <a:pt x="552" y="22"/>
                    <a:pt x="552" y="21"/>
                  </a:cubicBezTo>
                  <a:close/>
                  <a:moveTo>
                    <a:pt x="696" y="95"/>
                  </a:moveTo>
                  <a:cubicBezTo>
                    <a:pt x="695" y="95"/>
                    <a:pt x="695" y="95"/>
                    <a:pt x="695" y="96"/>
                  </a:cubicBezTo>
                  <a:cubicBezTo>
                    <a:pt x="696" y="96"/>
                    <a:pt x="696" y="95"/>
                    <a:pt x="696" y="95"/>
                  </a:cubicBezTo>
                  <a:close/>
                  <a:moveTo>
                    <a:pt x="1116" y="38"/>
                  </a:moveTo>
                  <a:cubicBezTo>
                    <a:pt x="1116" y="38"/>
                    <a:pt x="1117" y="38"/>
                    <a:pt x="1117" y="37"/>
                  </a:cubicBezTo>
                  <a:cubicBezTo>
                    <a:pt x="1116" y="37"/>
                    <a:pt x="1116" y="38"/>
                    <a:pt x="1116" y="38"/>
                  </a:cubicBezTo>
                  <a:close/>
                  <a:moveTo>
                    <a:pt x="969" y="96"/>
                  </a:moveTo>
                  <a:cubicBezTo>
                    <a:pt x="969" y="96"/>
                    <a:pt x="969" y="95"/>
                    <a:pt x="968" y="95"/>
                  </a:cubicBezTo>
                  <a:cubicBezTo>
                    <a:pt x="969" y="96"/>
                    <a:pt x="969" y="96"/>
                    <a:pt x="969" y="96"/>
                  </a:cubicBezTo>
                  <a:close/>
                  <a:moveTo>
                    <a:pt x="971" y="97"/>
                  </a:moveTo>
                  <a:cubicBezTo>
                    <a:pt x="970" y="96"/>
                    <a:pt x="970" y="96"/>
                    <a:pt x="969" y="96"/>
                  </a:cubicBezTo>
                  <a:cubicBezTo>
                    <a:pt x="970" y="96"/>
                    <a:pt x="970" y="97"/>
                    <a:pt x="971" y="97"/>
                  </a:cubicBezTo>
                  <a:close/>
                  <a:moveTo>
                    <a:pt x="1040" y="97"/>
                  </a:moveTo>
                  <a:cubicBezTo>
                    <a:pt x="1040" y="97"/>
                    <a:pt x="1040" y="96"/>
                    <a:pt x="1039" y="96"/>
                  </a:cubicBezTo>
                  <a:cubicBezTo>
                    <a:pt x="1040" y="97"/>
                    <a:pt x="1040" y="97"/>
                    <a:pt x="1040" y="97"/>
                  </a:cubicBezTo>
                  <a:close/>
                  <a:moveTo>
                    <a:pt x="1309" y="44"/>
                  </a:moveTo>
                  <a:cubicBezTo>
                    <a:pt x="1308" y="43"/>
                    <a:pt x="1308" y="43"/>
                    <a:pt x="1307" y="43"/>
                  </a:cubicBezTo>
                  <a:cubicBezTo>
                    <a:pt x="1307" y="44"/>
                    <a:pt x="1308" y="44"/>
                    <a:pt x="1309" y="44"/>
                  </a:cubicBezTo>
                  <a:close/>
                  <a:moveTo>
                    <a:pt x="1498" y="21"/>
                  </a:moveTo>
                  <a:cubicBezTo>
                    <a:pt x="1498" y="22"/>
                    <a:pt x="1497" y="22"/>
                    <a:pt x="1497" y="22"/>
                  </a:cubicBezTo>
                  <a:cubicBezTo>
                    <a:pt x="1498" y="22"/>
                    <a:pt x="1498" y="22"/>
                    <a:pt x="1498" y="21"/>
                  </a:cubicBezTo>
                  <a:close/>
                  <a:moveTo>
                    <a:pt x="1684" y="37"/>
                  </a:moveTo>
                  <a:cubicBezTo>
                    <a:pt x="1684" y="38"/>
                    <a:pt x="1684" y="38"/>
                    <a:pt x="1684" y="39"/>
                  </a:cubicBezTo>
                  <a:cubicBezTo>
                    <a:pt x="1684" y="38"/>
                    <a:pt x="1684" y="38"/>
                    <a:pt x="1684" y="37"/>
                  </a:cubicBezTo>
                  <a:close/>
                  <a:moveTo>
                    <a:pt x="1219" y="97"/>
                  </a:moveTo>
                  <a:cubicBezTo>
                    <a:pt x="1218" y="97"/>
                    <a:pt x="1218" y="97"/>
                    <a:pt x="1218" y="97"/>
                  </a:cubicBezTo>
                  <a:cubicBezTo>
                    <a:pt x="1218" y="97"/>
                    <a:pt x="1218" y="97"/>
                    <a:pt x="1219" y="97"/>
                  </a:cubicBezTo>
                  <a:close/>
                  <a:moveTo>
                    <a:pt x="759" y="98"/>
                  </a:moveTo>
                  <a:cubicBezTo>
                    <a:pt x="759" y="97"/>
                    <a:pt x="759" y="97"/>
                    <a:pt x="758" y="97"/>
                  </a:cubicBezTo>
                  <a:cubicBezTo>
                    <a:pt x="758" y="97"/>
                    <a:pt x="759" y="98"/>
                    <a:pt x="759" y="98"/>
                  </a:cubicBezTo>
                  <a:close/>
                  <a:moveTo>
                    <a:pt x="562" y="16"/>
                  </a:moveTo>
                  <a:cubicBezTo>
                    <a:pt x="561" y="16"/>
                    <a:pt x="561" y="16"/>
                    <a:pt x="560" y="17"/>
                  </a:cubicBezTo>
                  <a:cubicBezTo>
                    <a:pt x="561" y="17"/>
                    <a:pt x="561" y="17"/>
                    <a:pt x="562" y="16"/>
                  </a:cubicBezTo>
                  <a:close/>
                  <a:moveTo>
                    <a:pt x="573" y="17"/>
                  </a:moveTo>
                  <a:cubicBezTo>
                    <a:pt x="573" y="16"/>
                    <a:pt x="572" y="16"/>
                    <a:pt x="572" y="16"/>
                  </a:cubicBezTo>
                  <a:cubicBezTo>
                    <a:pt x="572" y="17"/>
                    <a:pt x="573" y="17"/>
                    <a:pt x="573" y="17"/>
                  </a:cubicBezTo>
                  <a:close/>
                  <a:moveTo>
                    <a:pt x="1423" y="98"/>
                  </a:moveTo>
                  <a:cubicBezTo>
                    <a:pt x="1423" y="97"/>
                    <a:pt x="1422" y="97"/>
                    <a:pt x="1422" y="97"/>
                  </a:cubicBezTo>
                  <a:cubicBezTo>
                    <a:pt x="1422" y="97"/>
                    <a:pt x="1422" y="98"/>
                    <a:pt x="1423" y="98"/>
                  </a:cubicBezTo>
                  <a:close/>
                  <a:moveTo>
                    <a:pt x="665" y="39"/>
                  </a:moveTo>
                  <a:cubicBezTo>
                    <a:pt x="665" y="38"/>
                    <a:pt x="665" y="38"/>
                    <a:pt x="666" y="38"/>
                  </a:cubicBezTo>
                  <a:cubicBezTo>
                    <a:pt x="665" y="38"/>
                    <a:pt x="665" y="38"/>
                    <a:pt x="665" y="39"/>
                  </a:cubicBezTo>
                  <a:close/>
                  <a:moveTo>
                    <a:pt x="1457" y="97"/>
                  </a:moveTo>
                  <a:cubicBezTo>
                    <a:pt x="1456" y="97"/>
                    <a:pt x="1456" y="98"/>
                    <a:pt x="1456" y="98"/>
                  </a:cubicBezTo>
                  <a:cubicBezTo>
                    <a:pt x="1456" y="98"/>
                    <a:pt x="1457" y="98"/>
                    <a:pt x="1457" y="97"/>
                  </a:cubicBezTo>
                  <a:close/>
                  <a:moveTo>
                    <a:pt x="761" y="99"/>
                  </a:moveTo>
                  <a:cubicBezTo>
                    <a:pt x="760" y="98"/>
                    <a:pt x="760" y="98"/>
                    <a:pt x="760" y="98"/>
                  </a:cubicBezTo>
                  <a:cubicBezTo>
                    <a:pt x="760" y="99"/>
                    <a:pt x="760" y="99"/>
                    <a:pt x="761" y="99"/>
                  </a:cubicBezTo>
                  <a:close/>
                  <a:moveTo>
                    <a:pt x="1425" y="99"/>
                  </a:moveTo>
                  <a:cubicBezTo>
                    <a:pt x="1424" y="99"/>
                    <a:pt x="1424" y="98"/>
                    <a:pt x="1424" y="98"/>
                  </a:cubicBezTo>
                  <a:cubicBezTo>
                    <a:pt x="1424" y="99"/>
                    <a:pt x="1424" y="99"/>
                    <a:pt x="1425" y="99"/>
                  </a:cubicBezTo>
                  <a:close/>
                  <a:moveTo>
                    <a:pt x="1574" y="53"/>
                  </a:moveTo>
                  <a:cubicBezTo>
                    <a:pt x="1574" y="53"/>
                    <a:pt x="1573" y="54"/>
                    <a:pt x="1573" y="54"/>
                  </a:cubicBezTo>
                  <a:cubicBezTo>
                    <a:pt x="1574" y="54"/>
                    <a:pt x="1574" y="54"/>
                    <a:pt x="1574" y="53"/>
                  </a:cubicBezTo>
                  <a:close/>
                  <a:moveTo>
                    <a:pt x="1011" y="102"/>
                  </a:moveTo>
                  <a:cubicBezTo>
                    <a:pt x="1010" y="101"/>
                    <a:pt x="1010" y="102"/>
                    <a:pt x="1009" y="102"/>
                  </a:cubicBezTo>
                  <a:cubicBezTo>
                    <a:pt x="1010" y="102"/>
                    <a:pt x="1010" y="102"/>
                    <a:pt x="1011" y="102"/>
                  </a:cubicBezTo>
                  <a:close/>
                  <a:moveTo>
                    <a:pt x="984" y="102"/>
                  </a:moveTo>
                  <a:cubicBezTo>
                    <a:pt x="984" y="102"/>
                    <a:pt x="983" y="102"/>
                    <a:pt x="983" y="102"/>
                  </a:cubicBezTo>
                  <a:cubicBezTo>
                    <a:pt x="983" y="102"/>
                    <a:pt x="984" y="102"/>
                    <a:pt x="984" y="102"/>
                  </a:cubicBezTo>
                  <a:close/>
                  <a:moveTo>
                    <a:pt x="1009" y="102"/>
                  </a:moveTo>
                  <a:cubicBezTo>
                    <a:pt x="1009" y="102"/>
                    <a:pt x="1008" y="102"/>
                    <a:pt x="1008" y="102"/>
                  </a:cubicBezTo>
                  <a:cubicBezTo>
                    <a:pt x="1008" y="102"/>
                    <a:pt x="1009" y="102"/>
                    <a:pt x="1009" y="102"/>
                  </a:cubicBezTo>
                  <a:close/>
                  <a:moveTo>
                    <a:pt x="568" y="102"/>
                  </a:moveTo>
                  <a:cubicBezTo>
                    <a:pt x="568" y="102"/>
                    <a:pt x="567" y="102"/>
                    <a:pt x="567" y="103"/>
                  </a:cubicBezTo>
                  <a:cubicBezTo>
                    <a:pt x="567" y="103"/>
                    <a:pt x="568" y="103"/>
                    <a:pt x="568" y="102"/>
                  </a:cubicBezTo>
                  <a:close/>
                  <a:moveTo>
                    <a:pt x="1220" y="39"/>
                  </a:moveTo>
                  <a:cubicBezTo>
                    <a:pt x="1220" y="38"/>
                    <a:pt x="1221" y="38"/>
                    <a:pt x="1221" y="38"/>
                  </a:cubicBezTo>
                  <a:cubicBezTo>
                    <a:pt x="1221" y="38"/>
                    <a:pt x="1220" y="38"/>
                    <a:pt x="1220" y="39"/>
                  </a:cubicBezTo>
                  <a:close/>
                  <a:moveTo>
                    <a:pt x="684" y="102"/>
                  </a:moveTo>
                  <a:cubicBezTo>
                    <a:pt x="683" y="102"/>
                    <a:pt x="683" y="102"/>
                    <a:pt x="683" y="103"/>
                  </a:cubicBezTo>
                  <a:cubicBezTo>
                    <a:pt x="683" y="103"/>
                    <a:pt x="684" y="103"/>
                    <a:pt x="684" y="102"/>
                  </a:cubicBezTo>
                  <a:close/>
                  <a:moveTo>
                    <a:pt x="986" y="103"/>
                  </a:moveTo>
                  <a:cubicBezTo>
                    <a:pt x="986" y="102"/>
                    <a:pt x="985" y="102"/>
                    <a:pt x="985" y="102"/>
                  </a:cubicBezTo>
                  <a:cubicBezTo>
                    <a:pt x="985" y="103"/>
                    <a:pt x="986" y="103"/>
                    <a:pt x="986" y="103"/>
                  </a:cubicBezTo>
                  <a:close/>
                  <a:moveTo>
                    <a:pt x="1052" y="103"/>
                  </a:moveTo>
                  <a:cubicBezTo>
                    <a:pt x="1052" y="102"/>
                    <a:pt x="1051" y="102"/>
                    <a:pt x="1051" y="102"/>
                  </a:cubicBezTo>
                  <a:cubicBezTo>
                    <a:pt x="1051" y="103"/>
                    <a:pt x="1052" y="103"/>
                    <a:pt x="1052" y="103"/>
                  </a:cubicBezTo>
                  <a:close/>
                  <a:moveTo>
                    <a:pt x="1070" y="102"/>
                  </a:moveTo>
                  <a:cubicBezTo>
                    <a:pt x="1070" y="102"/>
                    <a:pt x="1069" y="102"/>
                    <a:pt x="1069" y="103"/>
                  </a:cubicBezTo>
                  <a:cubicBezTo>
                    <a:pt x="1069" y="103"/>
                    <a:pt x="1070" y="103"/>
                    <a:pt x="1070" y="102"/>
                  </a:cubicBezTo>
                  <a:close/>
                  <a:moveTo>
                    <a:pt x="575" y="17"/>
                  </a:moveTo>
                  <a:cubicBezTo>
                    <a:pt x="575" y="17"/>
                    <a:pt x="574" y="17"/>
                    <a:pt x="574" y="17"/>
                  </a:cubicBezTo>
                  <a:cubicBezTo>
                    <a:pt x="574" y="17"/>
                    <a:pt x="575" y="17"/>
                    <a:pt x="575" y="17"/>
                  </a:cubicBezTo>
                  <a:close/>
                  <a:moveTo>
                    <a:pt x="1259" y="42"/>
                  </a:moveTo>
                  <a:cubicBezTo>
                    <a:pt x="1259" y="42"/>
                    <a:pt x="1259" y="42"/>
                    <a:pt x="1260" y="43"/>
                  </a:cubicBezTo>
                  <a:cubicBezTo>
                    <a:pt x="1260" y="42"/>
                    <a:pt x="1259" y="42"/>
                    <a:pt x="1259" y="42"/>
                  </a:cubicBezTo>
                  <a:close/>
                  <a:moveTo>
                    <a:pt x="1230" y="103"/>
                  </a:moveTo>
                  <a:cubicBezTo>
                    <a:pt x="1230" y="102"/>
                    <a:pt x="1229" y="102"/>
                    <a:pt x="1229" y="102"/>
                  </a:cubicBezTo>
                  <a:cubicBezTo>
                    <a:pt x="1229" y="103"/>
                    <a:pt x="1230" y="103"/>
                    <a:pt x="1230" y="103"/>
                  </a:cubicBezTo>
                  <a:close/>
                  <a:moveTo>
                    <a:pt x="1248" y="102"/>
                  </a:moveTo>
                  <a:cubicBezTo>
                    <a:pt x="1248" y="102"/>
                    <a:pt x="1247" y="102"/>
                    <a:pt x="1247" y="103"/>
                  </a:cubicBezTo>
                  <a:cubicBezTo>
                    <a:pt x="1247" y="103"/>
                    <a:pt x="1248" y="103"/>
                    <a:pt x="1248" y="102"/>
                  </a:cubicBezTo>
                  <a:close/>
                  <a:moveTo>
                    <a:pt x="1663" y="8"/>
                  </a:moveTo>
                  <a:cubicBezTo>
                    <a:pt x="1664" y="8"/>
                    <a:pt x="1664" y="8"/>
                    <a:pt x="1665" y="8"/>
                  </a:cubicBezTo>
                  <a:cubicBezTo>
                    <a:pt x="1664" y="8"/>
                    <a:pt x="1664" y="8"/>
                    <a:pt x="1663" y="8"/>
                  </a:cubicBezTo>
                  <a:close/>
                  <a:moveTo>
                    <a:pt x="991" y="17"/>
                  </a:moveTo>
                  <a:cubicBezTo>
                    <a:pt x="990" y="17"/>
                    <a:pt x="990" y="17"/>
                    <a:pt x="990" y="17"/>
                  </a:cubicBezTo>
                  <a:cubicBezTo>
                    <a:pt x="990" y="17"/>
                    <a:pt x="991" y="17"/>
                    <a:pt x="991" y="17"/>
                  </a:cubicBezTo>
                  <a:close/>
                  <a:moveTo>
                    <a:pt x="1008" y="17"/>
                  </a:moveTo>
                  <a:cubicBezTo>
                    <a:pt x="1008" y="17"/>
                    <a:pt x="1008" y="17"/>
                    <a:pt x="1007" y="17"/>
                  </a:cubicBezTo>
                  <a:cubicBezTo>
                    <a:pt x="1007" y="17"/>
                    <a:pt x="1008" y="17"/>
                    <a:pt x="1008" y="17"/>
                  </a:cubicBezTo>
                  <a:close/>
                  <a:moveTo>
                    <a:pt x="1433" y="103"/>
                  </a:moveTo>
                  <a:cubicBezTo>
                    <a:pt x="1432" y="102"/>
                    <a:pt x="1432" y="102"/>
                    <a:pt x="1431" y="102"/>
                  </a:cubicBezTo>
                  <a:cubicBezTo>
                    <a:pt x="1432" y="103"/>
                    <a:pt x="1432" y="103"/>
                    <a:pt x="1433" y="103"/>
                  </a:cubicBezTo>
                  <a:close/>
                  <a:moveTo>
                    <a:pt x="1447" y="102"/>
                  </a:moveTo>
                  <a:cubicBezTo>
                    <a:pt x="1447" y="102"/>
                    <a:pt x="1446" y="102"/>
                    <a:pt x="1446" y="103"/>
                  </a:cubicBezTo>
                  <a:cubicBezTo>
                    <a:pt x="1446" y="103"/>
                    <a:pt x="1447" y="103"/>
                    <a:pt x="1447" y="102"/>
                  </a:cubicBezTo>
                  <a:close/>
                  <a:moveTo>
                    <a:pt x="682" y="103"/>
                  </a:moveTo>
                  <a:cubicBezTo>
                    <a:pt x="682" y="103"/>
                    <a:pt x="681" y="103"/>
                    <a:pt x="681" y="103"/>
                  </a:cubicBezTo>
                  <a:cubicBezTo>
                    <a:pt x="681" y="103"/>
                    <a:pt x="682" y="103"/>
                    <a:pt x="682" y="103"/>
                  </a:cubicBezTo>
                  <a:close/>
                  <a:moveTo>
                    <a:pt x="728" y="103"/>
                  </a:moveTo>
                  <a:cubicBezTo>
                    <a:pt x="728" y="103"/>
                    <a:pt x="727" y="103"/>
                    <a:pt x="727" y="103"/>
                  </a:cubicBezTo>
                  <a:cubicBezTo>
                    <a:pt x="727" y="103"/>
                    <a:pt x="728" y="103"/>
                    <a:pt x="728" y="103"/>
                  </a:cubicBezTo>
                  <a:close/>
                  <a:moveTo>
                    <a:pt x="738" y="103"/>
                  </a:moveTo>
                  <a:cubicBezTo>
                    <a:pt x="737" y="103"/>
                    <a:pt x="737" y="103"/>
                    <a:pt x="736" y="103"/>
                  </a:cubicBezTo>
                  <a:cubicBezTo>
                    <a:pt x="737" y="103"/>
                    <a:pt x="737" y="103"/>
                    <a:pt x="738" y="103"/>
                  </a:cubicBezTo>
                  <a:close/>
                  <a:moveTo>
                    <a:pt x="1054" y="103"/>
                  </a:moveTo>
                  <a:cubicBezTo>
                    <a:pt x="1054" y="103"/>
                    <a:pt x="1053" y="103"/>
                    <a:pt x="1053" y="103"/>
                  </a:cubicBezTo>
                  <a:cubicBezTo>
                    <a:pt x="1053" y="103"/>
                    <a:pt x="1054" y="103"/>
                    <a:pt x="1054" y="103"/>
                  </a:cubicBezTo>
                  <a:close/>
                  <a:moveTo>
                    <a:pt x="961" y="24"/>
                  </a:moveTo>
                  <a:cubicBezTo>
                    <a:pt x="961" y="23"/>
                    <a:pt x="962" y="23"/>
                    <a:pt x="962" y="23"/>
                  </a:cubicBezTo>
                  <a:cubicBezTo>
                    <a:pt x="961" y="23"/>
                    <a:pt x="961" y="23"/>
                    <a:pt x="961" y="24"/>
                  </a:cubicBezTo>
                  <a:close/>
                  <a:moveTo>
                    <a:pt x="1232" y="103"/>
                  </a:moveTo>
                  <a:cubicBezTo>
                    <a:pt x="1232" y="103"/>
                    <a:pt x="1231" y="103"/>
                    <a:pt x="1230" y="103"/>
                  </a:cubicBezTo>
                  <a:cubicBezTo>
                    <a:pt x="1231" y="103"/>
                    <a:pt x="1231" y="103"/>
                    <a:pt x="1232" y="103"/>
                  </a:cubicBezTo>
                  <a:close/>
                  <a:moveTo>
                    <a:pt x="1435" y="103"/>
                  </a:moveTo>
                  <a:cubicBezTo>
                    <a:pt x="1434" y="103"/>
                    <a:pt x="1434" y="103"/>
                    <a:pt x="1433" y="103"/>
                  </a:cubicBezTo>
                  <a:cubicBezTo>
                    <a:pt x="1433" y="103"/>
                    <a:pt x="1434" y="103"/>
                    <a:pt x="1435" y="103"/>
                  </a:cubicBezTo>
                  <a:close/>
                  <a:moveTo>
                    <a:pt x="1446" y="103"/>
                  </a:moveTo>
                  <a:cubicBezTo>
                    <a:pt x="1445" y="103"/>
                    <a:pt x="1445" y="103"/>
                    <a:pt x="1444" y="103"/>
                  </a:cubicBezTo>
                  <a:cubicBezTo>
                    <a:pt x="1445" y="103"/>
                    <a:pt x="1445" y="103"/>
                    <a:pt x="1446" y="103"/>
                  </a:cubicBezTo>
                  <a:close/>
                  <a:moveTo>
                    <a:pt x="607" y="122"/>
                  </a:moveTo>
                  <a:cubicBezTo>
                    <a:pt x="607" y="122"/>
                    <a:pt x="608" y="122"/>
                    <a:pt x="608" y="121"/>
                  </a:cubicBezTo>
                  <a:cubicBezTo>
                    <a:pt x="607" y="121"/>
                    <a:pt x="607" y="122"/>
                    <a:pt x="607" y="122"/>
                  </a:cubicBezTo>
                  <a:close/>
                  <a:moveTo>
                    <a:pt x="1665" y="8"/>
                  </a:moveTo>
                  <a:cubicBezTo>
                    <a:pt x="1665" y="9"/>
                    <a:pt x="1666" y="9"/>
                    <a:pt x="1666" y="9"/>
                  </a:cubicBezTo>
                  <a:cubicBezTo>
                    <a:pt x="1666" y="8"/>
                    <a:pt x="1665" y="8"/>
                    <a:pt x="1665" y="8"/>
                  </a:cubicBezTo>
                  <a:close/>
                  <a:moveTo>
                    <a:pt x="597" y="123"/>
                  </a:moveTo>
                  <a:cubicBezTo>
                    <a:pt x="597" y="123"/>
                    <a:pt x="598" y="123"/>
                    <a:pt x="598" y="123"/>
                  </a:cubicBezTo>
                  <a:cubicBezTo>
                    <a:pt x="598" y="123"/>
                    <a:pt x="597" y="123"/>
                    <a:pt x="597" y="123"/>
                  </a:cubicBezTo>
                  <a:close/>
                  <a:moveTo>
                    <a:pt x="1411" y="36"/>
                  </a:moveTo>
                  <a:cubicBezTo>
                    <a:pt x="1411" y="35"/>
                    <a:pt x="1412" y="35"/>
                    <a:pt x="1411" y="34"/>
                  </a:cubicBezTo>
                  <a:cubicBezTo>
                    <a:pt x="1411" y="35"/>
                    <a:pt x="1411" y="35"/>
                    <a:pt x="1411" y="36"/>
                  </a:cubicBezTo>
                  <a:close/>
                  <a:moveTo>
                    <a:pt x="1469" y="34"/>
                  </a:moveTo>
                  <a:cubicBezTo>
                    <a:pt x="1469" y="35"/>
                    <a:pt x="1469" y="35"/>
                    <a:pt x="1470" y="36"/>
                  </a:cubicBezTo>
                  <a:cubicBezTo>
                    <a:pt x="1470" y="35"/>
                    <a:pt x="1470" y="35"/>
                    <a:pt x="1469" y="34"/>
                  </a:cubicBezTo>
                  <a:close/>
                  <a:moveTo>
                    <a:pt x="619" y="123"/>
                  </a:moveTo>
                  <a:cubicBezTo>
                    <a:pt x="619" y="123"/>
                    <a:pt x="619" y="124"/>
                    <a:pt x="618" y="124"/>
                  </a:cubicBezTo>
                  <a:cubicBezTo>
                    <a:pt x="619" y="124"/>
                    <a:pt x="619" y="124"/>
                    <a:pt x="619" y="123"/>
                  </a:cubicBezTo>
                  <a:close/>
                  <a:moveTo>
                    <a:pt x="618" y="125"/>
                  </a:moveTo>
                  <a:cubicBezTo>
                    <a:pt x="617" y="125"/>
                    <a:pt x="617" y="125"/>
                    <a:pt x="617" y="126"/>
                  </a:cubicBezTo>
                  <a:cubicBezTo>
                    <a:pt x="618" y="126"/>
                    <a:pt x="618" y="125"/>
                    <a:pt x="618" y="125"/>
                  </a:cubicBezTo>
                  <a:close/>
                  <a:moveTo>
                    <a:pt x="966" y="18"/>
                  </a:moveTo>
                  <a:cubicBezTo>
                    <a:pt x="967" y="18"/>
                    <a:pt x="967" y="17"/>
                    <a:pt x="967" y="17"/>
                  </a:cubicBezTo>
                  <a:cubicBezTo>
                    <a:pt x="967" y="17"/>
                    <a:pt x="966" y="17"/>
                    <a:pt x="966" y="18"/>
                  </a:cubicBezTo>
                  <a:close/>
                  <a:moveTo>
                    <a:pt x="615" y="128"/>
                  </a:moveTo>
                  <a:cubicBezTo>
                    <a:pt x="615" y="128"/>
                    <a:pt x="614" y="128"/>
                    <a:pt x="614" y="129"/>
                  </a:cubicBezTo>
                  <a:cubicBezTo>
                    <a:pt x="615" y="129"/>
                    <a:pt x="615" y="128"/>
                    <a:pt x="615" y="128"/>
                  </a:cubicBezTo>
                  <a:close/>
                  <a:moveTo>
                    <a:pt x="597" y="133"/>
                  </a:moveTo>
                  <a:cubicBezTo>
                    <a:pt x="596" y="132"/>
                    <a:pt x="596" y="132"/>
                    <a:pt x="595" y="133"/>
                  </a:cubicBezTo>
                  <a:cubicBezTo>
                    <a:pt x="596" y="133"/>
                    <a:pt x="596" y="133"/>
                    <a:pt x="597" y="133"/>
                  </a:cubicBezTo>
                  <a:close/>
                  <a:moveTo>
                    <a:pt x="759" y="39"/>
                  </a:moveTo>
                  <a:cubicBezTo>
                    <a:pt x="760" y="39"/>
                    <a:pt x="760" y="39"/>
                    <a:pt x="760" y="39"/>
                  </a:cubicBezTo>
                  <a:cubicBezTo>
                    <a:pt x="760" y="39"/>
                    <a:pt x="759" y="39"/>
                    <a:pt x="759" y="39"/>
                  </a:cubicBezTo>
                  <a:close/>
                  <a:moveTo>
                    <a:pt x="906" y="39"/>
                  </a:moveTo>
                  <a:cubicBezTo>
                    <a:pt x="906" y="39"/>
                    <a:pt x="907" y="39"/>
                    <a:pt x="907" y="40"/>
                  </a:cubicBezTo>
                  <a:cubicBezTo>
                    <a:pt x="907" y="39"/>
                    <a:pt x="907" y="39"/>
                    <a:pt x="906" y="39"/>
                  </a:cubicBezTo>
                  <a:close/>
                  <a:moveTo>
                    <a:pt x="1397" y="38"/>
                  </a:moveTo>
                  <a:cubicBezTo>
                    <a:pt x="1396" y="39"/>
                    <a:pt x="1396" y="39"/>
                    <a:pt x="1397" y="40"/>
                  </a:cubicBezTo>
                  <a:cubicBezTo>
                    <a:pt x="1397" y="39"/>
                    <a:pt x="1397" y="39"/>
                    <a:pt x="1397" y="38"/>
                  </a:cubicBezTo>
                  <a:close/>
                  <a:moveTo>
                    <a:pt x="659" y="49"/>
                  </a:moveTo>
                  <a:cubicBezTo>
                    <a:pt x="659" y="49"/>
                    <a:pt x="659" y="48"/>
                    <a:pt x="659" y="48"/>
                  </a:cubicBezTo>
                  <a:cubicBezTo>
                    <a:pt x="658" y="48"/>
                    <a:pt x="659" y="49"/>
                    <a:pt x="659" y="49"/>
                  </a:cubicBezTo>
                  <a:close/>
                  <a:moveTo>
                    <a:pt x="1149" y="39"/>
                  </a:moveTo>
                  <a:cubicBezTo>
                    <a:pt x="1149" y="39"/>
                    <a:pt x="1149" y="40"/>
                    <a:pt x="1149" y="40"/>
                  </a:cubicBezTo>
                  <a:cubicBezTo>
                    <a:pt x="1149" y="39"/>
                    <a:pt x="1149" y="39"/>
                    <a:pt x="1149" y="39"/>
                  </a:cubicBezTo>
                  <a:close/>
                  <a:moveTo>
                    <a:pt x="1581" y="39"/>
                  </a:moveTo>
                  <a:cubicBezTo>
                    <a:pt x="1581" y="39"/>
                    <a:pt x="1581" y="40"/>
                    <a:pt x="1581" y="40"/>
                  </a:cubicBezTo>
                  <a:cubicBezTo>
                    <a:pt x="1581" y="40"/>
                    <a:pt x="1581" y="39"/>
                    <a:pt x="1581" y="39"/>
                  </a:cubicBezTo>
                  <a:close/>
                  <a:moveTo>
                    <a:pt x="1749" y="39"/>
                  </a:moveTo>
                  <a:cubicBezTo>
                    <a:pt x="1749" y="39"/>
                    <a:pt x="1749" y="40"/>
                    <a:pt x="1749" y="40"/>
                  </a:cubicBezTo>
                  <a:cubicBezTo>
                    <a:pt x="1749" y="40"/>
                    <a:pt x="1749" y="39"/>
                    <a:pt x="1749" y="39"/>
                  </a:cubicBezTo>
                  <a:close/>
                  <a:moveTo>
                    <a:pt x="864" y="39"/>
                  </a:moveTo>
                  <a:cubicBezTo>
                    <a:pt x="864" y="40"/>
                    <a:pt x="865" y="40"/>
                    <a:pt x="865" y="40"/>
                  </a:cubicBezTo>
                  <a:cubicBezTo>
                    <a:pt x="865" y="40"/>
                    <a:pt x="865" y="39"/>
                    <a:pt x="864" y="39"/>
                  </a:cubicBezTo>
                  <a:close/>
                  <a:moveTo>
                    <a:pt x="1218" y="40"/>
                  </a:moveTo>
                  <a:cubicBezTo>
                    <a:pt x="1219" y="40"/>
                    <a:pt x="1219" y="40"/>
                    <a:pt x="1219" y="39"/>
                  </a:cubicBezTo>
                  <a:cubicBezTo>
                    <a:pt x="1219" y="39"/>
                    <a:pt x="1218" y="39"/>
                    <a:pt x="1218" y="40"/>
                  </a:cubicBezTo>
                  <a:close/>
                  <a:moveTo>
                    <a:pt x="1391" y="52"/>
                  </a:moveTo>
                  <a:cubicBezTo>
                    <a:pt x="1391" y="52"/>
                    <a:pt x="1390" y="52"/>
                    <a:pt x="1390" y="53"/>
                  </a:cubicBezTo>
                  <a:cubicBezTo>
                    <a:pt x="1391" y="53"/>
                    <a:pt x="1391" y="52"/>
                    <a:pt x="1391" y="52"/>
                  </a:cubicBezTo>
                  <a:close/>
                  <a:moveTo>
                    <a:pt x="1397" y="40"/>
                  </a:moveTo>
                  <a:cubicBezTo>
                    <a:pt x="1396" y="40"/>
                    <a:pt x="1396" y="41"/>
                    <a:pt x="1396" y="41"/>
                  </a:cubicBezTo>
                  <a:cubicBezTo>
                    <a:pt x="1397" y="41"/>
                    <a:pt x="1396" y="40"/>
                    <a:pt x="1397" y="40"/>
                  </a:cubicBezTo>
                  <a:close/>
                  <a:moveTo>
                    <a:pt x="831" y="41"/>
                  </a:moveTo>
                  <a:cubicBezTo>
                    <a:pt x="831" y="41"/>
                    <a:pt x="831" y="41"/>
                    <a:pt x="831" y="40"/>
                  </a:cubicBezTo>
                  <a:cubicBezTo>
                    <a:pt x="831" y="40"/>
                    <a:pt x="831" y="41"/>
                    <a:pt x="831" y="41"/>
                  </a:cubicBezTo>
                  <a:close/>
                  <a:moveTo>
                    <a:pt x="1112" y="42"/>
                  </a:moveTo>
                  <a:cubicBezTo>
                    <a:pt x="1113" y="42"/>
                    <a:pt x="1113" y="41"/>
                    <a:pt x="1113" y="41"/>
                  </a:cubicBezTo>
                  <a:cubicBezTo>
                    <a:pt x="1113" y="41"/>
                    <a:pt x="1112" y="41"/>
                    <a:pt x="1112" y="42"/>
                  </a:cubicBezTo>
                  <a:close/>
                  <a:moveTo>
                    <a:pt x="670" y="49"/>
                  </a:moveTo>
                  <a:cubicBezTo>
                    <a:pt x="670" y="49"/>
                    <a:pt x="670" y="49"/>
                    <a:pt x="670" y="50"/>
                  </a:cubicBezTo>
                  <a:cubicBezTo>
                    <a:pt x="670" y="50"/>
                    <a:pt x="670" y="49"/>
                    <a:pt x="670" y="49"/>
                  </a:cubicBezTo>
                  <a:close/>
                  <a:moveTo>
                    <a:pt x="1115" y="49"/>
                  </a:moveTo>
                  <a:cubicBezTo>
                    <a:pt x="1115" y="49"/>
                    <a:pt x="1114" y="49"/>
                    <a:pt x="1114" y="50"/>
                  </a:cubicBezTo>
                  <a:cubicBezTo>
                    <a:pt x="1115" y="49"/>
                    <a:pt x="1115" y="49"/>
                    <a:pt x="1115" y="49"/>
                  </a:cubicBezTo>
                  <a:close/>
                  <a:moveTo>
                    <a:pt x="1380" y="50"/>
                  </a:moveTo>
                  <a:cubicBezTo>
                    <a:pt x="1380" y="49"/>
                    <a:pt x="1380" y="49"/>
                    <a:pt x="1381" y="49"/>
                  </a:cubicBezTo>
                  <a:cubicBezTo>
                    <a:pt x="1380" y="49"/>
                    <a:pt x="1380" y="49"/>
                    <a:pt x="1380" y="50"/>
                  </a:cubicBezTo>
                  <a:close/>
                  <a:moveTo>
                    <a:pt x="607" y="132"/>
                  </a:moveTo>
                  <a:cubicBezTo>
                    <a:pt x="606" y="132"/>
                    <a:pt x="606" y="132"/>
                    <a:pt x="605" y="133"/>
                  </a:cubicBezTo>
                  <a:cubicBezTo>
                    <a:pt x="606" y="133"/>
                    <a:pt x="606" y="133"/>
                    <a:pt x="607" y="132"/>
                  </a:cubicBezTo>
                  <a:close/>
                  <a:moveTo>
                    <a:pt x="976" y="23"/>
                  </a:moveTo>
                  <a:cubicBezTo>
                    <a:pt x="976" y="24"/>
                    <a:pt x="975" y="24"/>
                    <a:pt x="975" y="24"/>
                  </a:cubicBezTo>
                  <a:cubicBezTo>
                    <a:pt x="976" y="24"/>
                    <a:pt x="976" y="24"/>
                    <a:pt x="976" y="23"/>
                  </a:cubicBezTo>
                  <a:close/>
                  <a:moveTo>
                    <a:pt x="553" y="42"/>
                  </a:moveTo>
                  <a:cubicBezTo>
                    <a:pt x="554" y="42"/>
                    <a:pt x="554" y="42"/>
                    <a:pt x="554" y="42"/>
                  </a:cubicBezTo>
                  <a:cubicBezTo>
                    <a:pt x="554" y="42"/>
                    <a:pt x="554" y="42"/>
                    <a:pt x="553" y="42"/>
                  </a:cubicBezTo>
                  <a:close/>
                  <a:moveTo>
                    <a:pt x="1725" y="56"/>
                  </a:moveTo>
                  <a:cubicBezTo>
                    <a:pt x="1726" y="56"/>
                    <a:pt x="1726" y="56"/>
                    <a:pt x="1726" y="56"/>
                  </a:cubicBezTo>
                  <a:cubicBezTo>
                    <a:pt x="1726" y="56"/>
                    <a:pt x="1725" y="56"/>
                    <a:pt x="1725" y="56"/>
                  </a:cubicBezTo>
                  <a:close/>
                  <a:moveTo>
                    <a:pt x="659" y="57"/>
                  </a:moveTo>
                  <a:cubicBezTo>
                    <a:pt x="659" y="57"/>
                    <a:pt x="659" y="56"/>
                    <a:pt x="659" y="56"/>
                  </a:cubicBezTo>
                  <a:cubicBezTo>
                    <a:pt x="659" y="56"/>
                    <a:pt x="658" y="57"/>
                    <a:pt x="659" y="57"/>
                  </a:cubicBezTo>
                  <a:close/>
                  <a:moveTo>
                    <a:pt x="829" y="56"/>
                  </a:moveTo>
                  <a:cubicBezTo>
                    <a:pt x="828" y="57"/>
                    <a:pt x="828" y="57"/>
                    <a:pt x="828" y="58"/>
                  </a:cubicBezTo>
                  <a:cubicBezTo>
                    <a:pt x="829" y="58"/>
                    <a:pt x="829" y="57"/>
                    <a:pt x="829" y="56"/>
                  </a:cubicBezTo>
                  <a:close/>
                  <a:moveTo>
                    <a:pt x="859" y="55"/>
                  </a:moveTo>
                  <a:cubicBezTo>
                    <a:pt x="859" y="54"/>
                    <a:pt x="859" y="54"/>
                    <a:pt x="858" y="53"/>
                  </a:cubicBezTo>
                  <a:cubicBezTo>
                    <a:pt x="858" y="54"/>
                    <a:pt x="858" y="54"/>
                    <a:pt x="859" y="55"/>
                  </a:cubicBezTo>
                  <a:close/>
                  <a:moveTo>
                    <a:pt x="1372" y="57"/>
                  </a:moveTo>
                  <a:cubicBezTo>
                    <a:pt x="1372" y="57"/>
                    <a:pt x="1372" y="57"/>
                    <a:pt x="1373" y="57"/>
                  </a:cubicBezTo>
                  <a:cubicBezTo>
                    <a:pt x="1372" y="57"/>
                    <a:pt x="1372" y="57"/>
                    <a:pt x="1372" y="57"/>
                  </a:cubicBezTo>
                  <a:close/>
                  <a:moveTo>
                    <a:pt x="578" y="58"/>
                  </a:moveTo>
                  <a:cubicBezTo>
                    <a:pt x="578" y="58"/>
                    <a:pt x="579" y="58"/>
                    <a:pt x="579" y="58"/>
                  </a:cubicBezTo>
                  <a:cubicBezTo>
                    <a:pt x="579" y="58"/>
                    <a:pt x="579" y="58"/>
                    <a:pt x="578" y="58"/>
                  </a:cubicBezTo>
                  <a:close/>
                  <a:moveTo>
                    <a:pt x="1208" y="59"/>
                  </a:moveTo>
                  <a:cubicBezTo>
                    <a:pt x="1208" y="59"/>
                    <a:pt x="1208" y="58"/>
                    <a:pt x="1208" y="58"/>
                  </a:cubicBezTo>
                  <a:cubicBezTo>
                    <a:pt x="1208" y="58"/>
                    <a:pt x="1208" y="59"/>
                    <a:pt x="1208" y="59"/>
                  </a:cubicBezTo>
                  <a:close/>
                  <a:moveTo>
                    <a:pt x="1289" y="58"/>
                  </a:moveTo>
                  <a:cubicBezTo>
                    <a:pt x="1289" y="59"/>
                    <a:pt x="1289" y="59"/>
                    <a:pt x="1289" y="60"/>
                  </a:cubicBezTo>
                  <a:cubicBezTo>
                    <a:pt x="1289" y="59"/>
                    <a:pt x="1289" y="59"/>
                    <a:pt x="1289" y="58"/>
                  </a:cubicBezTo>
                  <a:close/>
                  <a:moveTo>
                    <a:pt x="748" y="60"/>
                  </a:moveTo>
                  <a:cubicBezTo>
                    <a:pt x="748" y="60"/>
                    <a:pt x="748" y="59"/>
                    <a:pt x="748" y="59"/>
                  </a:cubicBezTo>
                  <a:cubicBezTo>
                    <a:pt x="748" y="59"/>
                    <a:pt x="748" y="60"/>
                    <a:pt x="748" y="60"/>
                  </a:cubicBezTo>
                  <a:close/>
                  <a:moveTo>
                    <a:pt x="670" y="50"/>
                  </a:moveTo>
                  <a:cubicBezTo>
                    <a:pt x="669" y="51"/>
                    <a:pt x="669" y="52"/>
                    <a:pt x="670" y="52"/>
                  </a:cubicBezTo>
                  <a:cubicBezTo>
                    <a:pt x="670" y="52"/>
                    <a:pt x="670" y="51"/>
                    <a:pt x="670" y="50"/>
                  </a:cubicBezTo>
                  <a:close/>
                  <a:moveTo>
                    <a:pt x="1737" y="59"/>
                  </a:moveTo>
                  <a:cubicBezTo>
                    <a:pt x="1736" y="59"/>
                    <a:pt x="1736" y="59"/>
                    <a:pt x="1736" y="60"/>
                  </a:cubicBezTo>
                  <a:cubicBezTo>
                    <a:pt x="1736" y="60"/>
                    <a:pt x="1736" y="60"/>
                    <a:pt x="1737" y="59"/>
                  </a:cubicBezTo>
                  <a:close/>
                  <a:moveTo>
                    <a:pt x="580" y="59"/>
                  </a:moveTo>
                  <a:cubicBezTo>
                    <a:pt x="580" y="60"/>
                    <a:pt x="581" y="60"/>
                    <a:pt x="581" y="60"/>
                  </a:cubicBezTo>
                  <a:cubicBezTo>
                    <a:pt x="581" y="60"/>
                    <a:pt x="581" y="59"/>
                    <a:pt x="580" y="59"/>
                  </a:cubicBezTo>
                  <a:close/>
                  <a:moveTo>
                    <a:pt x="1208" y="61"/>
                  </a:moveTo>
                  <a:cubicBezTo>
                    <a:pt x="1208" y="60"/>
                    <a:pt x="1208" y="60"/>
                    <a:pt x="1208" y="59"/>
                  </a:cubicBezTo>
                  <a:cubicBezTo>
                    <a:pt x="1207" y="60"/>
                    <a:pt x="1208" y="60"/>
                    <a:pt x="1208" y="61"/>
                  </a:cubicBezTo>
                  <a:close/>
                  <a:moveTo>
                    <a:pt x="1666" y="60"/>
                  </a:moveTo>
                  <a:cubicBezTo>
                    <a:pt x="1666" y="60"/>
                    <a:pt x="1667" y="61"/>
                    <a:pt x="1667" y="61"/>
                  </a:cubicBezTo>
                  <a:cubicBezTo>
                    <a:pt x="1667" y="60"/>
                    <a:pt x="1666" y="60"/>
                    <a:pt x="1666" y="60"/>
                  </a:cubicBezTo>
                  <a:close/>
                  <a:moveTo>
                    <a:pt x="1719" y="61"/>
                  </a:moveTo>
                  <a:cubicBezTo>
                    <a:pt x="1720" y="61"/>
                    <a:pt x="1720" y="60"/>
                    <a:pt x="1720" y="60"/>
                  </a:cubicBezTo>
                  <a:cubicBezTo>
                    <a:pt x="1720" y="60"/>
                    <a:pt x="1719" y="60"/>
                    <a:pt x="1719" y="61"/>
                  </a:cubicBezTo>
                  <a:close/>
                  <a:moveTo>
                    <a:pt x="1383" y="60"/>
                  </a:moveTo>
                  <a:cubicBezTo>
                    <a:pt x="1382" y="60"/>
                    <a:pt x="1382" y="61"/>
                    <a:pt x="1382" y="61"/>
                  </a:cubicBezTo>
                  <a:cubicBezTo>
                    <a:pt x="1382" y="61"/>
                    <a:pt x="1382" y="61"/>
                    <a:pt x="1383" y="60"/>
                  </a:cubicBezTo>
                  <a:close/>
                  <a:moveTo>
                    <a:pt x="1366" y="62"/>
                  </a:moveTo>
                  <a:cubicBezTo>
                    <a:pt x="1366" y="61"/>
                    <a:pt x="1367" y="61"/>
                    <a:pt x="1367" y="61"/>
                  </a:cubicBezTo>
                  <a:cubicBezTo>
                    <a:pt x="1366" y="61"/>
                    <a:pt x="1366" y="61"/>
                    <a:pt x="1366" y="62"/>
                  </a:cubicBezTo>
                  <a:close/>
                  <a:moveTo>
                    <a:pt x="1550" y="62"/>
                  </a:moveTo>
                  <a:cubicBezTo>
                    <a:pt x="1550" y="62"/>
                    <a:pt x="1550" y="62"/>
                    <a:pt x="1551" y="61"/>
                  </a:cubicBezTo>
                  <a:cubicBezTo>
                    <a:pt x="1550" y="61"/>
                    <a:pt x="1550" y="61"/>
                    <a:pt x="1550" y="62"/>
                  </a:cubicBezTo>
                  <a:close/>
                  <a:moveTo>
                    <a:pt x="1566" y="61"/>
                  </a:moveTo>
                  <a:cubicBezTo>
                    <a:pt x="1566" y="61"/>
                    <a:pt x="1565" y="61"/>
                    <a:pt x="1565" y="62"/>
                  </a:cubicBezTo>
                  <a:cubicBezTo>
                    <a:pt x="1566" y="62"/>
                    <a:pt x="1566" y="62"/>
                    <a:pt x="1566" y="61"/>
                  </a:cubicBezTo>
                  <a:close/>
                  <a:moveTo>
                    <a:pt x="1718" y="62"/>
                  </a:moveTo>
                  <a:cubicBezTo>
                    <a:pt x="1718" y="62"/>
                    <a:pt x="1719" y="62"/>
                    <a:pt x="1719" y="61"/>
                  </a:cubicBezTo>
                  <a:cubicBezTo>
                    <a:pt x="1718" y="61"/>
                    <a:pt x="1718" y="61"/>
                    <a:pt x="1718" y="62"/>
                  </a:cubicBezTo>
                  <a:close/>
                  <a:moveTo>
                    <a:pt x="1456" y="10"/>
                  </a:moveTo>
                  <a:cubicBezTo>
                    <a:pt x="1456" y="10"/>
                    <a:pt x="1456" y="10"/>
                    <a:pt x="1457" y="10"/>
                  </a:cubicBezTo>
                  <a:cubicBezTo>
                    <a:pt x="1457" y="10"/>
                    <a:pt x="1456" y="10"/>
                    <a:pt x="1456" y="10"/>
                  </a:cubicBezTo>
                  <a:close/>
                  <a:moveTo>
                    <a:pt x="1734" y="61"/>
                  </a:moveTo>
                  <a:cubicBezTo>
                    <a:pt x="1734" y="61"/>
                    <a:pt x="1733" y="61"/>
                    <a:pt x="1733" y="62"/>
                  </a:cubicBezTo>
                  <a:cubicBezTo>
                    <a:pt x="1734" y="62"/>
                    <a:pt x="1734" y="62"/>
                    <a:pt x="1734" y="61"/>
                  </a:cubicBezTo>
                  <a:close/>
                  <a:moveTo>
                    <a:pt x="1119" y="45"/>
                  </a:moveTo>
                  <a:cubicBezTo>
                    <a:pt x="1118" y="45"/>
                    <a:pt x="1118" y="45"/>
                    <a:pt x="1118" y="46"/>
                  </a:cubicBezTo>
                  <a:cubicBezTo>
                    <a:pt x="1118" y="46"/>
                    <a:pt x="1119" y="46"/>
                    <a:pt x="1119" y="45"/>
                  </a:cubicBezTo>
                  <a:close/>
                  <a:moveTo>
                    <a:pt x="1365" y="63"/>
                  </a:moveTo>
                  <a:cubicBezTo>
                    <a:pt x="1365" y="62"/>
                    <a:pt x="1365" y="62"/>
                    <a:pt x="1366" y="62"/>
                  </a:cubicBezTo>
                  <a:cubicBezTo>
                    <a:pt x="1365" y="62"/>
                    <a:pt x="1365" y="62"/>
                    <a:pt x="1365" y="63"/>
                  </a:cubicBezTo>
                  <a:close/>
                  <a:moveTo>
                    <a:pt x="583" y="62"/>
                  </a:moveTo>
                  <a:cubicBezTo>
                    <a:pt x="583" y="63"/>
                    <a:pt x="584" y="63"/>
                    <a:pt x="584" y="63"/>
                  </a:cubicBezTo>
                  <a:cubicBezTo>
                    <a:pt x="584" y="63"/>
                    <a:pt x="584" y="62"/>
                    <a:pt x="583" y="62"/>
                  </a:cubicBezTo>
                  <a:close/>
                  <a:moveTo>
                    <a:pt x="1581" y="25"/>
                  </a:moveTo>
                  <a:cubicBezTo>
                    <a:pt x="1581" y="25"/>
                    <a:pt x="1581" y="26"/>
                    <a:pt x="1581" y="26"/>
                  </a:cubicBezTo>
                  <a:cubicBezTo>
                    <a:pt x="1581" y="26"/>
                    <a:pt x="1582" y="25"/>
                    <a:pt x="1581" y="25"/>
                  </a:cubicBezTo>
                  <a:close/>
                  <a:moveTo>
                    <a:pt x="1548" y="63"/>
                  </a:moveTo>
                  <a:cubicBezTo>
                    <a:pt x="1549" y="63"/>
                    <a:pt x="1549" y="63"/>
                    <a:pt x="1549" y="62"/>
                  </a:cubicBezTo>
                  <a:cubicBezTo>
                    <a:pt x="1549" y="62"/>
                    <a:pt x="1548" y="62"/>
                    <a:pt x="1548" y="63"/>
                  </a:cubicBezTo>
                  <a:close/>
                  <a:moveTo>
                    <a:pt x="1668" y="62"/>
                  </a:moveTo>
                  <a:cubicBezTo>
                    <a:pt x="1668" y="63"/>
                    <a:pt x="1669" y="63"/>
                    <a:pt x="1669" y="63"/>
                  </a:cubicBezTo>
                  <a:cubicBezTo>
                    <a:pt x="1669" y="63"/>
                    <a:pt x="1669" y="62"/>
                    <a:pt x="1668" y="62"/>
                  </a:cubicBezTo>
                  <a:close/>
                  <a:moveTo>
                    <a:pt x="964" y="44"/>
                  </a:moveTo>
                  <a:cubicBezTo>
                    <a:pt x="963" y="44"/>
                    <a:pt x="963" y="45"/>
                    <a:pt x="963" y="45"/>
                  </a:cubicBezTo>
                  <a:cubicBezTo>
                    <a:pt x="964" y="45"/>
                    <a:pt x="964" y="44"/>
                    <a:pt x="964" y="44"/>
                  </a:cubicBezTo>
                  <a:close/>
                  <a:moveTo>
                    <a:pt x="1749" y="25"/>
                  </a:moveTo>
                  <a:cubicBezTo>
                    <a:pt x="1749" y="25"/>
                    <a:pt x="1749" y="26"/>
                    <a:pt x="1749" y="26"/>
                  </a:cubicBezTo>
                  <a:cubicBezTo>
                    <a:pt x="1749" y="26"/>
                    <a:pt x="1750" y="25"/>
                    <a:pt x="1749" y="25"/>
                  </a:cubicBezTo>
                  <a:close/>
                  <a:moveTo>
                    <a:pt x="1716" y="63"/>
                  </a:moveTo>
                  <a:cubicBezTo>
                    <a:pt x="1717" y="63"/>
                    <a:pt x="1717" y="63"/>
                    <a:pt x="1717" y="62"/>
                  </a:cubicBezTo>
                  <a:cubicBezTo>
                    <a:pt x="1717" y="62"/>
                    <a:pt x="1717" y="62"/>
                    <a:pt x="1716" y="63"/>
                  </a:cubicBezTo>
                  <a:close/>
                  <a:moveTo>
                    <a:pt x="1036" y="45"/>
                  </a:moveTo>
                  <a:cubicBezTo>
                    <a:pt x="1037" y="45"/>
                    <a:pt x="1037" y="44"/>
                    <a:pt x="1037" y="44"/>
                  </a:cubicBezTo>
                  <a:cubicBezTo>
                    <a:pt x="1036" y="44"/>
                    <a:pt x="1036" y="44"/>
                    <a:pt x="1036" y="45"/>
                  </a:cubicBezTo>
                  <a:close/>
                  <a:moveTo>
                    <a:pt x="1571" y="10"/>
                  </a:moveTo>
                  <a:cubicBezTo>
                    <a:pt x="1571" y="10"/>
                    <a:pt x="1571" y="11"/>
                    <a:pt x="1572" y="11"/>
                  </a:cubicBezTo>
                  <a:cubicBezTo>
                    <a:pt x="1572" y="10"/>
                    <a:pt x="1571" y="10"/>
                    <a:pt x="1571" y="10"/>
                  </a:cubicBezTo>
                  <a:close/>
                  <a:moveTo>
                    <a:pt x="1213" y="46"/>
                  </a:moveTo>
                  <a:cubicBezTo>
                    <a:pt x="1213" y="46"/>
                    <a:pt x="1214" y="46"/>
                    <a:pt x="1214" y="45"/>
                  </a:cubicBezTo>
                  <a:cubicBezTo>
                    <a:pt x="1213" y="45"/>
                    <a:pt x="1213" y="46"/>
                    <a:pt x="1213" y="46"/>
                  </a:cubicBezTo>
                  <a:close/>
                  <a:moveTo>
                    <a:pt x="901" y="56"/>
                  </a:moveTo>
                  <a:cubicBezTo>
                    <a:pt x="901" y="55"/>
                    <a:pt x="901" y="54"/>
                    <a:pt x="901" y="54"/>
                  </a:cubicBezTo>
                  <a:cubicBezTo>
                    <a:pt x="901" y="55"/>
                    <a:pt x="901" y="55"/>
                    <a:pt x="901" y="56"/>
                  </a:cubicBezTo>
                  <a:close/>
                  <a:moveTo>
                    <a:pt x="1363" y="64"/>
                  </a:moveTo>
                  <a:cubicBezTo>
                    <a:pt x="1364" y="64"/>
                    <a:pt x="1364" y="63"/>
                    <a:pt x="1364" y="63"/>
                  </a:cubicBezTo>
                  <a:cubicBezTo>
                    <a:pt x="1364" y="63"/>
                    <a:pt x="1363" y="63"/>
                    <a:pt x="1363" y="64"/>
                  </a:cubicBezTo>
                  <a:close/>
                  <a:moveTo>
                    <a:pt x="1381" y="19"/>
                  </a:moveTo>
                  <a:cubicBezTo>
                    <a:pt x="1380" y="18"/>
                    <a:pt x="1380" y="18"/>
                    <a:pt x="1379" y="18"/>
                  </a:cubicBezTo>
                  <a:cubicBezTo>
                    <a:pt x="1380" y="18"/>
                    <a:pt x="1380" y="19"/>
                    <a:pt x="1381" y="19"/>
                  </a:cubicBezTo>
                  <a:close/>
                  <a:moveTo>
                    <a:pt x="1547" y="64"/>
                  </a:moveTo>
                  <a:cubicBezTo>
                    <a:pt x="1547" y="64"/>
                    <a:pt x="1548" y="64"/>
                    <a:pt x="1548" y="63"/>
                  </a:cubicBezTo>
                  <a:cubicBezTo>
                    <a:pt x="1547" y="63"/>
                    <a:pt x="1547" y="63"/>
                    <a:pt x="1547" y="64"/>
                  </a:cubicBezTo>
                  <a:close/>
                  <a:moveTo>
                    <a:pt x="1715" y="64"/>
                  </a:moveTo>
                  <a:cubicBezTo>
                    <a:pt x="1715" y="64"/>
                    <a:pt x="1716" y="64"/>
                    <a:pt x="1716" y="63"/>
                  </a:cubicBezTo>
                  <a:cubicBezTo>
                    <a:pt x="1716" y="63"/>
                    <a:pt x="1715" y="63"/>
                    <a:pt x="1715" y="64"/>
                  </a:cubicBezTo>
                  <a:close/>
                  <a:moveTo>
                    <a:pt x="585" y="64"/>
                  </a:moveTo>
                  <a:cubicBezTo>
                    <a:pt x="585" y="64"/>
                    <a:pt x="585" y="65"/>
                    <a:pt x="585" y="65"/>
                  </a:cubicBezTo>
                  <a:cubicBezTo>
                    <a:pt x="585" y="64"/>
                    <a:pt x="585" y="64"/>
                    <a:pt x="585" y="64"/>
                  </a:cubicBezTo>
                  <a:close/>
                  <a:moveTo>
                    <a:pt x="805" y="54"/>
                  </a:moveTo>
                  <a:cubicBezTo>
                    <a:pt x="805" y="55"/>
                    <a:pt x="805" y="55"/>
                    <a:pt x="805" y="56"/>
                  </a:cubicBezTo>
                  <a:cubicBezTo>
                    <a:pt x="805" y="55"/>
                    <a:pt x="805" y="55"/>
                    <a:pt x="805" y="54"/>
                  </a:cubicBezTo>
                  <a:close/>
                  <a:moveTo>
                    <a:pt x="1360" y="66"/>
                  </a:moveTo>
                  <a:cubicBezTo>
                    <a:pt x="1360" y="66"/>
                    <a:pt x="1361" y="66"/>
                    <a:pt x="1361" y="65"/>
                  </a:cubicBezTo>
                  <a:cubicBezTo>
                    <a:pt x="1360" y="65"/>
                    <a:pt x="1360" y="66"/>
                    <a:pt x="1360" y="66"/>
                  </a:cubicBezTo>
                  <a:close/>
                  <a:moveTo>
                    <a:pt x="1729" y="65"/>
                  </a:moveTo>
                  <a:cubicBezTo>
                    <a:pt x="1728" y="65"/>
                    <a:pt x="1728" y="66"/>
                    <a:pt x="1728" y="66"/>
                  </a:cubicBezTo>
                  <a:cubicBezTo>
                    <a:pt x="1728" y="66"/>
                    <a:pt x="1728" y="66"/>
                    <a:pt x="1729" y="65"/>
                  </a:cubicBezTo>
                  <a:close/>
                  <a:moveTo>
                    <a:pt x="1712" y="66"/>
                  </a:moveTo>
                  <a:cubicBezTo>
                    <a:pt x="1712" y="66"/>
                    <a:pt x="1713" y="66"/>
                    <a:pt x="1713" y="66"/>
                  </a:cubicBezTo>
                  <a:cubicBezTo>
                    <a:pt x="1712" y="66"/>
                    <a:pt x="1712" y="66"/>
                    <a:pt x="1712" y="66"/>
                  </a:cubicBezTo>
                  <a:close/>
                  <a:moveTo>
                    <a:pt x="537" y="27"/>
                  </a:moveTo>
                  <a:cubicBezTo>
                    <a:pt x="537" y="26"/>
                    <a:pt x="537" y="26"/>
                    <a:pt x="537" y="25"/>
                  </a:cubicBezTo>
                  <a:cubicBezTo>
                    <a:pt x="537" y="26"/>
                    <a:pt x="537" y="26"/>
                    <a:pt x="537" y="27"/>
                  </a:cubicBezTo>
                  <a:close/>
                  <a:moveTo>
                    <a:pt x="1358" y="68"/>
                  </a:moveTo>
                  <a:cubicBezTo>
                    <a:pt x="1359" y="67"/>
                    <a:pt x="1359" y="67"/>
                    <a:pt x="1359" y="67"/>
                  </a:cubicBezTo>
                  <a:cubicBezTo>
                    <a:pt x="1359" y="67"/>
                    <a:pt x="1358" y="67"/>
                    <a:pt x="1358" y="68"/>
                  </a:cubicBezTo>
                  <a:close/>
                  <a:moveTo>
                    <a:pt x="1351" y="11"/>
                  </a:moveTo>
                  <a:cubicBezTo>
                    <a:pt x="1351" y="11"/>
                    <a:pt x="1351" y="11"/>
                    <a:pt x="1352" y="11"/>
                  </a:cubicBezTo>
                  <a:cubicBezTo>
                    <a:pt x="1351" y="11"/>
                    <a:pt x="1351" y="11"/>
                    <a:pt x="1351" y="11"/>
                  </a:cubicBezTo>
                  <a:close/>
                  <a:moveTo>
                    <a:pt x="1542" y="68"/>
                  </a:moveTo>
                  <a:cubicBezTo>
                    <a:pt x="1542" y="68"/>
                    <a:pt x="1542" y="68"/>
                    <a:pt x="1543" y="67"/>
                  </a:cubicBezTo>
                  <a:cubicBezTo>
                    <a:pt x="1542" y="67"/>
                    <a:pt x="1542" y="68"/>
                    <a:pt x="1542" y="68"/>
                  </a:cubicBezTo>
                  <a:close/>
                  <a:moveTo>
                    <a:pt x="1457" y="11"/>
                  </a:moveTo>
                  <a:cubicBezTo>
                    <a:pt x="1457" y="11"/>
                    <a:pt x="1458" y="11"/>
                    <a:pt x="1458" y="11"/>
                  </a:cubicBezTo>
                  <a:cubicBezTo>
                    <a:pt x="1458" y="11"/>
                    <a:pt x="1458" y="11"/>
                    <a:pt x="1457" y="11"/>
                  </a:cubicBezTo>
                  <a:close/>
                  <a:moveTo>
                    <a:pt x="1660" y="68"/>
                  </a:moveTo>
                  <a:cubicBezTo>
                    <a:pt x="1660" y="68"/>
                    <a:pt x="1659" y="68"/>
                    <a:pt x="1659" y="67"/>
                  </a:cubicBezTo>
                  <a:cubicBezTo>
                    <a:pt x="1659" y="68"/>
                    <a:pt x="1659" y="68"/>
                    <a:pt x="1660" y="68"/>
                  </a:cubicBezTo>
                  <a:close/>
                  <a:moveTo>
                    <a:pt x="1038" y="43"/>
                  </a:moveTo>
                  <a:cubicBezTo>
                    <a:pt x="1038" y="43"/>
                    <a:pt x="1038" y="42"/>
                    <a:pt x="1038" y="42"/>
                  </a:cubicBezTo>
                  <a:cubicBezTo>
                    <a:pt x="1038" y="42"/>
                    <a:pt x="1038" y="43"/>
                    <a:pt x="1038" y="43"/>
                  </a:cubicBezTo>
                  <a:close/>
                  <a:moveTo>
                    <a:pt x="952" y="69"/>
                  </a:moveTo>
                  <a:cubicBezTo>
                    <a:pt x="952" y="69"/>
                    <a:pt x="952" y="68"/>
                    <a:pt x="952" y="68"/>
                  </a:cubicBezTo>
                  <a:cubicBezTo>
                    <a:pt x="952" y="68"/>
                    <a:pt x="951" y="69"/>
                    <a:pt x="952" y="69"/>
                  </a:cubicBezTo>
                  <a:close/>
                  <a:moveTo>
                    <a:pt x="1373" y="68"/>
                  </a:moveTo>
                  <a:cubicBezTo>
                    <a:pt x="1372" y="68"/>
                    <a:pt x="1372" y="68"/>
                    <a:pt x="1372" y="68"/>
                  </a:cubicBezTo>
                  <a:cubicBezTo>
                    <a:pt x="1372" y="68"/>
                    <a:pt x="1373" y="68"/>
                    <a:pt x="1373" y="68"/>
                  </a:cubicBezTo>
                  <a:close/>
                  <a:moveTo>
                    <a:pt x="1557" y="68"/>
                  </a:moveTo>
                  <a:cubicBezTo>
                    <a:pt x="1556" y="68"/>
                    <a:pt x="1556" y="68"/>
                    <a:pt x="1556" y="69"/>
                  </a:cubicBezTo>
                  <a:cubicBezTo>
                    <a:pt x="1556" y="69"/>
                    <a:pt x="1556" y="69"/>
                    <a:pt x="1557" y="68"/>
                  </a:cubicBezTo>
                  <a:close/>
                  <a:moveTo>
                    <a:pt x="1356" y="69"/>
                  </a:moveTo>
                  <a:cubicBezTo>
                    <a:pt x="1357" y="69"/>
                    <a:pt x="1357" y="69"/>
                    <a:pt x="1357" y="68"/>
                  </a:cubicBezTo>
                  <a:cubicBezTo>
                    <a:pt x="1357" y="68"/>
                    <a:pt x="1356" y="69"/>
                    <a:pt x="1356" y="69"/>
                  </a:cubicBezTo>
                  <a:close/>
                  <a:moveTo>
                    <a:pt x="1423" y="12"/>
                  </a:moveTo>
                  <a:cubicBezTo>
                    <a:pt x="1424" y="12"/>
                    <a:pt x="1424" y="11"/>
                    <a:pt x="1424" y="11"/>
                  </a:cubicBezTo>
                  <a:cubicBezTo>
                    <a:pt x="1424" y="11"/>
                    <a:pt x="1423" y="11"/>
                    <a:pt x="1423" y="12"/>
                  </a:cubicBezTo>
                  <a:close/>
                  <a:moveTo>
                    <a:pt x="692" y="69"/>
                  </a:moveTo>
                  <a:cubicBezTo>
                    <a:pt x="692" y="69"/>
                    <a:pt x="693" y="69"/>
                    <a:pt x="693" y="70"/>
                  </a:cubicBezTo>
                  <a:cubicBezTo>
                    <a:pt x="693" y="69"/>
                    <a:pt x="692" y="69"/>
                    <a:pt x="692" y="69"/>
                  </a:cubicBezTo>
                  <a:close/>
                  <a:moveTo>
                    <a:pt x="1540" y="70"/>
                  </a:moveTo>
                  <a:cubicBezTo>
                    <a:pt x="1540" y="70"/>
                    <a:pt x="1540" y="70"/>
                    <a:pt x="1541" y="69"/>
                  </a:cubicBezTo>
                  <a:cubicBezTo>
                    <a:pt x="1540" y="69"/>
                    <a:pt x="1540" y="69"/>
                    <a:pt x="1540" y="70"/>
                  </a:cubicBezTo>
                  <a:close/>
                  <a:moveTo>
                    <a:pt x="1708" y="70"/>
                  </a:moveTo>
                  <a:cubicBezTo>
                    <a:pt x="1708" y="70"/>
                    <a:pt x="1709" y="70"/>
                    <a:pt x="1709" y="69"/>
                  </a:cubicBezTo>
                  <a:cubicBezTo>
                    <a:pt x="1708" y="69"/>
                    <a:pt x="1708" y="69"/>
                    <a:pt x="1708" y="70"/>
                  </a:cubicBezTo>
                  <a:close/>
                  <a:moveTo>
                    <a:pt x="1367" y="72"/>
                  </a:moveTo>
                  <a:cubicBezTo>
                    <a:pt x="1367" y="72"/>
                    <a:pt x="1366" y="72"/>
                    <a:pt x="1366" y="73"/>
                  </a:cubicBezTo>
                  <a:cubicBezTo>
                    <a:pt x="1367" y="73"/>
                    <a:pt x="1367" y="72"/>
                    <a:pt x="1367" y="72"/>
                  </a:cubicBezTo>
                  <a:close/>
                  <a:moveTo>
                    <a:pt x="868" y="45"/>
                  </a:moveTo>
                  <a:cubicBezTo>
                    <a:pt x="868" y="46"/>
                    <a:pt x="868" y="46"/>
                    <a:pt x="868" y="46"/>
                  </a:cubicBezTo>
                  <a:cubicBezTo>
                    <a:pt x="868" y="46"/>
                    <a:pt x="868" y="46"/>
                    <a:pt x="869" y="46"/>
                  </a:cubicBezTo>
                  <a:cubicBezTo>
                    <a:pt x="868" y="45"/>
                    <a:pt x="868" y="45"/>
                    <a:pt x="868" y="45"/>
                  </a:cubicBezTo>
                  <a:close/>
                  <a:moveTo>
                    <a:pt x="1740" y="11"/>
                  </a:moveTo>
                  <a:cubicBezTo>
                    <a:pt x="1741" y="11"/>
                    <a:pt x="1741" y="12"/>
                    <a:pt x="1741" y="12"/>
                  </a:cubicBezTo>
                  <a:cubicBezTo>
                    <a:pt x="1741" y="11"/>
                    <a:pt x="1741" y="11"/>
                    <a:pt x="1740" y="11"/>
                  </a:cubicBezTo>
                  <a:close/>
                  <a:moveTo>
                    <a:pt x="912" y="50"/>
                  </a:moveTo>
                  <a:cubicBezTo>
                    <a:pt x="912" y="50"/>
                    <a:pt x="912" y="51"/>
                    <a:pt x="912" y="51"/>
                  </a:cubicBezTo>
                  <a:cubicBezTo>
                    <a:pt x="912" y="51"/>
                    <a:pt x="912" y="50"/>
                    <a:pt x="912" y="50"/>
                  </a:cubicBezTo>
                  <a:close/>
                  <a:moveTo>
                    <a:pt x="1551" y="72"/>
                  </a:moveTo>
                  <a:cubicBezTo>
                    <a:pt x="1551" y="72"/>
                    <a:pt x="1550" y="73"/>
                    <a:pt x="1550" y="73"/>
                  </a:cubicBezTo>
                  <a:cubicBezTo>
                    <a:pt x="1551" y="73"/>
                    <a:pt x="1551" y="73"/>
                    <a:pt x="1551" y="72"/>
                  </a:cubicBezTo>
                  <a:close/>
                  <a:moveTo>
                    <a:pt x="1389" y="11"/>
                  </a:moveTo>
                  <a:cubicBezTo>
                    <a:pt x="1389" y="12"/>
                    <a:pt x="1389" y="12"/>
                    <a:pt x="1389" y="12"/>
                  </a:cubicBezTo>
                  <a:cubicBezTo>
                    <a:pt x="1389" y="12"/>
                    <a:pt x="1389" y="11"/>
                    <a:pt x="1389" y="11"/>
                  </a:cubicBezTo>
                  <a:close/>
                  <a:moveTo>
                    <a:pt x="1719" y="72"/>
                  </a:moveTo>
                  <a:cubicBezTo>
                    <a:pt x="1719" y="72"/>
                    <a:pt x="1718" y="73"/>
                    <a:pt x="1718" y="73"/>
                  </a:cubicBezTo>
                  <a:cubicBezTo>
                    <a:pt x="1719" y="73"/>
                    <a:pt x="1719" y="73"/>
                    <a:pt x="1719" y="72"/>
                  </a:cubicBezTo>
                  <a:close/>
                  <a:moveTo>
                    <a:pt x="1296" y="36"/>
                  </a:moveTo>
                  <a:cubicBezTo>
                    <a:pt x="1296" y="36"/>
                    <a:pt x="1296" y="36"/>
                    <a:pt x="1297" y="36"/>
                  </a:cubicBezTo>
                  <a:cubicBezTo>
                    <a:pt x="1296" y="36"/>
                    <a:pt x="1296" y="36"/>
                    <a:pt x="1296" y="36"/>
                  </a:cubicBezTo>
                  <a:close/>
                  <a:moveTo>
                    <a:pt x="1469" y="73"/>
                  </a:moveTo>
                  <a:cubicBezTo>
                    <a:pt x="1469" y="73"/>
                    <a:pt x="1469" y="74"/>
                    <a:pt x="1469" y="74"/>
                  </a:cubicBezTo>
                  <a:cubicBezTo>
                    <a:pt x="1469" y="74"/>
                    <a:pt x="1469" y="73"/>
                    <a:pt x="1469" y="73"/>
                  </a:cubicBezTo>
                  <a:close/>
                  <a:moveTo>
                    <a:pt x="963" y="45"/>
                  </a:moveTo>
                  <a:cubicBezTo>
                    <a:pt x="963" y="46"/>
                    <a:pt x="963" y="46"/>
                    <a:pt x="963" y="47"/>
                  </a:cubicBezTo>
                  <a:cubicBezTo>
                    <a:pt x="964" y="46"/>
                    <a:pt x="963" y="46"/>
                    <a:pt x="963" y="45"/>
                  </a:cubicBezTo>
                  <a:close/>
                  <a:moveTo>
                    <a:pt x="687" y="43"/>
                  </a:moveTo>
                  <a:cubicBezTo>
                    <a:pt x="687" y="42"/>
                    <a:pt x="686" y="42"/>
                    <a:pt x="686" y="42"/>
                  </a:cubicBezTo>
                  <a:cubicBezTo>
                    <a:pt x="686" y="43"/>
                    <a:pt x="687" y="43"/>
                    <a:pt x="687" y="43"/>
                  </a:cubicBezTo>
                  <a:close/>
                  <a:moveTo>
                    <a:pt x="545" y="12"/>
                  </a:moveTo>
                  <a:cubicBezTo>
                    <a:pt x="546" y="12"/>
                    <a:pt x="546" y="12"/>
                    <a:pt x="546" y="12"/>
                  </a:cubicBezTo>
                  <a:cubicBezTo>
                    <a:pt x="546" y="12"/>
                    <a:pt x="546" y="12"/>
                    <a:pt x="545" y="12"/>
                  </a:cubicBezTo>
                  <a:close/>
                  <a:moveTo>
                    <a:pt x="1549" y="74"/>
                  </a:moveTo>
                  <a:cubicBezTo>
                    <a:pt x="1549" y="74"/>
                    <a:pt x="1549" y="74"/>
                    <a:pt x="1548" y="74"/>
                  </a:cubicBezTo>
                  <a:cubicBezTo>
                    <a:pt x="1549" y="74"/>
                    <a:pt x="1549" y="74"/>
                    <a:pt x="1549" y="74"/>
                  </a:cubicBezTo>
                  <a:close/>
                  <a:moveTo>
                    <a:pt x="1411" y="75"/>
                  </a:moveTo>
                  <a:cubicBezTo>
                    <a:pt x="1411" y="75"/>
                    <a:pt x="1411" y="74"/>
                    <a:pt x="1411" y="74"/>
                  </a:cubicBezTo>
                  <a:cubicBezTo>
                    <a:pt x="1411" y="74"/>
                    <a:pt x="1411" y="75"/>
                    <a:pt x="1411" y="75"/>
                  </a:cubicBezTo>
                  <a:close/>
                  <a:moveTo>
                    <a:pt x="1364" y="75"/>
                  </a:moveTo>
                  <a:cubicBezTo>
                    <a:pt x="1363" y="75"/>
                    <a:pt x="1363" y="75"/>
                    <a:pt x="1363" y="75"/>
                  </a:cubicBezTo>
                  <a:cubicBezTo>
                    <a:pt x="1363" y="75"/>
                    <a:pt x="1364" y="75"/>
                    <a:pt x="1364" y="75"/>
                  </a:cubicBezTo>
                  <a:close/>
                  <a:moveTo>
                    <a:pt x="835" y="37"/>
                  </a:moveTo>
                  <a:cubicBezTo>
                    <a:pt x="836" y="37"/>
                    <a:pt x="836" y="36"/>
                    <a:pt x="836" y="36"/>
                  </a:cubicBezTo>
                  <a:cubicBezTo>
                    <a:pt x="836" y="36"/>
                    <a:pt x="835" y="36"/>
                    <a:pt x="835" y="37"/>
                  </a:cubicBezTo>
                  <a:close/>
                  <a:moveTo>
                    <a:pt x="1534" y="76"/>
                  </a:moveTo>
                  <a:cubicBezTo>
                    <a:pt x="1534" y="76"/>
                    <a:pt x="1534" y="76"/>
                    <a:pt x="1534" y="75"/>
                  </a:cubicBezTo>
                  <a:cubicBezTo>
                    <a:pt x="1534" y="75"/>
                    <a:pt x="1534" y="76"/>
                    <a:pt x="1534" y="76"/>
                  </a:cubicBezTo>
                  <a:close/>
                  <a:moveTo>
                    <a:pt x="972" y="27"/>
                  </a:moveTo>
                  <a:cubicBezTo>
                    <a:pt x="972" y="27"/>
                    <a:pt x="972" y="28"/>
                    <a:pt x="971" y="28"/>
                  </a:cubicBezTo>
                  <a:cubicBezTo>
                    <a:pt x="972" y="28"/>
                    <a:pt x="972" y="28"/>
                    <a:pt x="972" y="27"/>
                  </a:cubicBezTo>
                  <a:close/>
                  <a:moveTo>
                    <a:pt x="876" y="37"/>
                  </a:moveTo>
                  <a:cubicBezTo>
                    <a:pt x="877" y="37"/>
                    <a:pt x="877" y="36"/>
                    <a:pt x="877" y="36"/>
                  </a:cubicBezTo>
                  <a:cubicBezTo>
                    <a:pt x="877" y="36"/>
                    <a:pt x="876" y="36"/>
                    <a:pt x="876" y="37"/>
                  </a:cubicBezTo>
                  <a:close/>
                  <a:moveTo>
                    <a:pt x="1702" y="76"/>
                  </a:moveTo>
                  <a:cubicBezTo>
                    <a:pt x="1702" y="76"/>
                    <a:pt x="1702" y="76"/>
                    <a:pt x="1703" y="75"/>
                  </a:cubicBezTo>
                  <a:cubicBezTo>
                    <a:pt x="1702" y="75"/>
                    <a:pt x="1702" y="76"/>
                    <a:pt x="1702" y="76"/>
                  </a:cubicBezTo>
                  <a:close/>
                  <a:moveTo>
                    <a:pt x="1411" y="77"/>
                  </a:moveTo>
                  <a:cubicBezTo>
                    <a:pt x="1412" y="77"/>
                    <a:pt x="1412" y="76"/>
                    <a:pt x="1411" y="76"/>
                  </a:cubicBezTo>
                  <a:cubicBezTo>
                    <a:pt x="1411" y="76"/>
                    <a:pt x="1411" y="77"/>
                    <a:pt x="1411" y="77"/>
                  </a:cubicBezTo>
                  <a:close/>
                  <a:moveTo>
                    <a:pt x="1570" y="28"/>
                  </a:moveTo>
                  <a:cubicBezTo>
                    <a:pt x="1570" y="28"/>
                    <a:pt x="1570" y="27"/>
                    <a:pt x="1570" y="27"/>
                  </a:cubicBezTo>
                  <a:cubicBezTo>
                    <a:pt x="1570" y="27"/>
                    <a:pt x="1570" y="28"/>
                    <a:pt x="1570" y="28"/>
                  </a:cubicBezTo>
                  <a:close/>
                  <a:moveTo>
                    <a:pt x="1738" y="28"/>
                  </a:moveTo>
                  <a:cubicBezTo>
                    <a:pt x="1738" y="28"/>
                    <a:pt x="1738" y="27"/>
                    <a:pt x="1738" y="27"/>
                  </a:cubicBezTo>
                  <a:cubicBezTo>
                    <a:pt x="1738" y="27"/>
                    <a:pt x="1738" y="28"/>
                    <a:pt x="1738" y="28"/>
                  </a:cubicBezTo>
                  <a:close/>
                  <a:moveTo>
                    <a:pt x="1041" y="76"/>
                  </a:moveTo>
                  <a:cubicBezTo>
                    <a:pt x="1041" y="77"/>
                    <a:pt x="1041" y="77"/>
                    <a:pt x="1041" y="78"/>
                  </a:cubicBezTo>
                  <a:cubicBezTo>
                    <a:pt x="1041" y="77"/>
                    <a:pt x="1042" y="77"/>
                    <a:pt x="1041" y="76"/>
                  </a:cubicBezTo>
                  <a:close/>
                  <a:moveTo>
                    <a:pt x="1111" y="43"/>
                  </a:moveTo>
                  <a:cubicBezTo>
                    <a:pt x="1112" y="43"/>
                    <a:pt x="1112" y="43"/>
                    <a:pt x="1112" y="42"/>
                  </a:cubicBezTo>
                  <a:cubicBezTo>
                    <a:pt x="1112" y="43"/>
                    <a:pt x="1111" y="43"/>
                    <a:pt x="1111" y="43"/>
                  </a:cubicBezTo>
                  <a:close/>
                  <a:moveTo>
                    <a:pt x="1219" y="77"/>
                  </a:moveTo>
                  <a:cubicBezTo>
                    <a:pt x="1219" y="77"/>
                    <a:pt x="1219" y="78"/>
                    <a:pt x="1219" y="78"/>
                  </a:cubicBezTo>
                  <a:cubicBezTo>
                    <a:pt x="1219" y="78"/>
                    <a:pt x="1219" y="77"/>
                    <a:pt x="1219" y="77"/>
                  </a:cubicBezTo>
                  <a:close/>
                  <a:moveTo>
                    <a:pt x="1412" y="79"/>
                  </a:moveTo>
                  <a:cubicBezTo>
                    <a:pt x="1412" y="78"/>
                    <a:pt x="1412" y="78"/>
                    <a:pt x="1411" y="77"/>
                  </a:cubicBezTo>
                  <a:cubicBezTo>
                    <a:pt x="1412" y="78"/>
                    <a:pt x="1411" y="78"/>
                    <a:pt x="1412" y="79"/>
                  </a:cubicBezTo>
                  <a:close/>
                  <a:moveTo>
                    <a:pt x="686" y="78"/>
                  </a:moveTo>
                  <a:cubicBezTo>
                    <a:pt x="685" y="78"/>
                    <a:pt x="685" y="78"/>
                    <a:pt x="685" y="77"/>
                  </a:cubicBezTo>
                  <a:cubicBezTo>
                    <a:pt x="685" y="78"/>
                    <a:pt x="685" y="78"/>
                    <a:pt x="686" y="78"/>
                  </a:cubicBezTo>
                  <a:close/>
                  <a:moveTo>
                    <a:pt x="1134" y="43"/>
                  </a:moveTo>
                  <a:cubicBezTo>
                    <a:pt x="1133" y="42"/>
                    <a:pt x="1133" y="42"/>
                    <a:pt x="1132" y="42"/>
                  </a:cubicBezTo>
                  <a:cubicBezTo>
                    <a:pt x="1133" y="43"/>
                    <a:pt x="1133" y="43"/>
                    <a:pt x="1134" y="43"/>
                  </a:cubicBezTo>
                  <a:close/>
                  <a:moveTo>
                    <a:pt x="748" y="79"/>
                  </a:moveTo>
                  <a:cubicBezTo>
                    <a:pt x="748" y="78"/>
                    <a:pt x="748" y="78"/>
                    <a:pt x="748" y="77"/>
                  </a:cubicBezTo>
                  <a:cubicBezTo>
                    <a:pt x="748" y="78"/>
                    <a:pt x="747" y="78"/>
                    <a:pt x="748" y="79"/>
                  </a:cubicBezTo>
                  <a:close/>
                  <a:moveTo>
                    <a:pt x="1030" y="80"/>
                  </a:moveTo>
                  <a:cubicBezTo>
                    <a:pt x="1030" y="79"/>
                    <a:pt x="1030" y="79"/>
                    <a:pt x="1030" y="78"/>
                  </a:cubicBezTo>
                  <a:cubicBezTo>
                    <a:pt x="1030" y="79"/>
                    <a:pt x="1030" y="79"/>
                    <a:pt x="1030" y="80"/>
                  </a:cubicBezTo>
                  <a:close/>
                  <a:moveTo>
                    <a:pt x="1215" y="43"/>
                  </a:moveTo>
                  <a:cubicBezTo>
                    <a:pt x="1216" y="43"/>
                    <a:pt x="1216" y="43"/>
                    <a:pt x="1216" y="42"/>
                  </a:cubicBezTo>
                  <a:cubicBezTo>
                    <a:pt x="1215" y="42"/>
                    <a:pt x="1215" y="43"/>
                    <a:pt x="1215" y="43"/>
                  </a:cubicBezTo>
                  <a:close/>
                  <a:moveTo>
                    <a:pt x="1411" y="38"/>
                  </a:moveTo>
                  <a:cubicBezTo>
                    <a:pt x="1411" y="37"/>
                    <a:pt x="1411" y="37"/>
                    <a:pt x="1411" y="36"/>
                  </a:cubicBezTo>
                  <a:cubicBezTo>
                    <a:pt x="1411" y="36"/>
                    <a:pt x="1411" y="37"/>
                    <a:pt x="1411" y="38"/>
                  </a:cubicBezTo>
                  <a:close/>
                  <a:moveTo>
                    <a:pt x="1208" y="80"/>
                  </a:moveTo>
                  <a:cubicBezTo>
                    <a:pt x="1208" y="79"/>
                    <a:pt x="1208" y="79"/>
                    <a:pt x="1208" y="78"/>
                  </a:cubicBezTo>
                  <a:cubicBezTo>
                    <a:pt x="1208" y="79"/>
                    <a:pt x="1208" y="80"/>
                    <a:pt x="1208" y="80"/>
                  </a:cubicBezTo>
                  <a:close/>
                  <a:moveTo>
                    <a:pt x="1543" y="79"/>
                  </a:moveTo>
                  <a:cubicBezTo>
                    <a:pt x="1543" y="79"/>
                    <a:pt x="1542" y="80"/>
                    <a:pt x="1542" y="80"/>
                  </a:cubicBezTo>
                  <a:cubicBezTo>
                    <a:pt x="1543" y="80"/>
                    <a:pt x="1543" y="80"/>
                    <a:pt x="1543" y="79"/>
                  </a:cubicBezTo>
                  <a:close/>
                  <a:moveTo>
                    <a:pt x="1711" y="79"/>
                  </a:moveTo>
                  <a:cubicBezTo>
                    <a:pt x="1711" y="79"/>
                    <a:pt x="1711" y="80"/>
                    <a:pt x="1710" y="80"/>
                  </a:cubicBezTo>
                  <a:cubicBezTo>
                    <a:pt x="1711" y="80"/>
                    <a:pt x="1711" y="80"/>
                    <a:pt x="1711" y="79"/>
                  </a:cubicBezTo>
                  <a:close/>
                  <a:moveTo>
                    <a:pt x="971" y="29"/>
                  </a:moveTo>
                  <a:cubicBezTo>
                    <a:pt x="970" y="29"/>
                    <a:pt x="970" y="29"/>
                    <a:pt x="970" y="30"/>
                  </a:cubicBezTo>
                  <a:cubicBezTo>
                    <a:pt x="971" y="30"/>
                    <a:pt x="971" y="29"/>
                    <a:pt x="971" y="29"/>
                  </a:cubicBezTo>
                  <a:close/>
                  <a:moveTo>
                    <a:pt x="1087" y="55"/>
                  </a:moveTo>
                  <a:cubicBezTo>
                    <a:pt x="1087" y="56"/>
                    <a:pt x="1087" y="56"/>
                    <a:pt x="1087" y="57"/>
                  </a:cubicBezTo>
                  <a:cubicBezTo>
                    <a:pt x="1087" y="56"/>
                    <a:pt x="1088" y="56"/>
                    <a:pt x="1087" y="55"/>
                  </a:cubicBezTo>
                  <a:close/>
                  <a:moveTo>
                    <a:pt x="970" y="81"/>
                  </a:moveTo>
                  <a:cubicBezTo>
                    <a:pt x="971" y="81"/>
                    <a:pt x="971" y="82"/>
                    <a:pt x="971" y="82"/>
                  </a:cubicBezTo>
                  <a:cubicBezTo>
                    <a:pt x="971" y="81"/>
                    <a:pt x="971" y="81"/>
                    <a:pt x="970" y="81"/>
                  </a:cubicBezTo>
                  <a:close/>
                  <a:moveTo>
                    <a:pt x="589" y="83"/>
                  </a:moveTo>
                  <a:cubicBezTo>
                    <a:pt x="589" y="83"/>
                    <a:pt x="589" y="84"/>
                    <a:pt x="589" y="84"/>
                  </a:cubicBezTo>
                  <a:cubicBezTo>
                    <a:pt x="589" y="84"/>
                    <a:pt x="589" y="83"/>
                    <a:pt x="589" y="83"/>
                  </a:cubicBezTo>
                  <a:close/>
                  <a:moveTo>
                    <a:pt x="975" y="85"/>
                  </a:moveTo>
                  <a:cubicBezTo>
                    <a:pt x="975" y="86"/>
                    <a:pt x="975" y="86"/>
                    <a:pt x="976" y="86"/>
                  </a:cubicBezTo>
                  <a:cubicBezTo>
                    <a:pt x="976" y="86"/>
                    <a:pt x="975" y="86"/>
                    <a:pt x="975" y="85"/>
                  </a:cubicBezTo>
                  <a:close/>
                  <a:moveTo>
                    <a:pt x="1675" y="12"/>
                  </a:moveTo>
                  <a:cubicBezTo>
                    <a:pt x="1675" y="13"/>
                    <a:pt x="1675" y="13"/>
                    <a:pt x="1676" y="13"/>
                  </a:cubicBezTo>
                  <a:cubicBezTo>
                    <a:pt x="1676" y="13"/>
                    <a:pt x="1675" y="12"/>
                    <a:pt x="1675" y="12"/>
                  </a:cubicBezTo>
                  <a:close/>
                  <a:moveTo>
                    <a:pt x="1223" y="86"/>
                  </a:moveTo>
                  <a:cubicBezTo>
                    <a:pt x="1223" y="86"/>
                    <a:pt x="1223" y="87"/>
                    <a:pt x="1224" y="87"/>
                  </a:cubicBezTo>
                  <a:cubicBezTo>
                    <a:pt x="1224" y="86"/>
                    <a:pt x="1223" y="86"/>
                    <a:pt x="1223" y="86"/>
                  </a:cubicBezTo>
                  <a:close/>
                  <a:moveTo>
                    <a:pt x="718" y="97"/>
                  </a:moveTo>
                  <a:cubicBezTo>
                    <a:pt x="718" y="97"/>
                    <a:pt x="718" y="97"/>
                    <a:pt x="717" y="96"/>
                  </a:cubicBezTo>
                  <a:cubicBezTo>
                    <a:pt x="717" y="97"/>
                    <a:pt x="718" y="97"/>
                    <a:pt x="718" y="97"/>
                  </a:cubicBezTo>
                  <a:close/>
                  <a:moveTo>
                    <a:pt x="1143" y="55"/>
                  </a:moveTo>
                  <a:cubicBezTo>
                    <a:pt x="1143" y="55"/>
                    <a:pt x="1143" y="54"/>
                    <a:pt x="1143" y="54"/>
                  </a:cubicBezTo>
                  <a:cubicBezTo>
                    <a:pt x="1143" y="54"/>
                    <a:pt x="1143" y="55"/>
                    <a:pt x="1143" y="55"/>
                  </a:cubicBezTo>
                  <a:close/>
                  <a:moveTo>
                    <a:pt x="880" y="44"/>
                  </a:moveTo>
                  <a:cubicBezTo>
                    <a:pt x="879" y="44"/>
                    <a:pt x="879" y="44"/>
                    <a:pt x="879" y="45"/>
                  </a:cubicBezTo>
                  <a:cubicBezTo>
                    <a:pt x="879" y="45"/>
                    <a:pt x="879" y="45"/>
                    <a:pt x="880" y="44"/>
                  </a:cubicBezTo>
                  <a:close/>
                  <a:moveTo>
                    <a:pt x="1348" y="14"/>
                  </a:moveTo>
                  <a:cubicBezTo>
                    <a:pt x="1348" y="13"/>
                    <a:pt x="1349" y="13"/>
                    <a:pt x="1349" y="13"/>
                  </a:cubicBezTo>
                  <a:cubicBezTo>
                    <a:pt x="1348" y="13"/>
                    <a:pt x="1348" y="13"/>
                    <a:pt x="1348" y="14"/>
                  </a:cubicBezTo>
                  <a:close/>
                  <a:moveTo>
                    <a:pt x="1344" y="88"/>
                  </a:moveTo>
                  <a:cubicBezTo>
                    <a:pt x="1344" y="88"/>
                    <a:pt x="1344" y="87"/>
                    <a:pt x="1344" y="87"/>
                  </a:cubicBezTo>
                  <a:cubicBezTo>
                    <a:pt x="1343" y="87"/>
                    <a:pt x="1344" y="87"/>
                    <a:pt x="1344" y="88"/>
                  </a:cubicBezTo>
                  <a:close/>
                  <a:moveTo>
                    <a:pt x="658" y="88"/>
                  </a:moveTo>
                  <a:cubicBezTo>
                    <a:pt x="659" y="88"/>
                    <a:pt x="659" y="88"/>
                    <a:pt x="659" y="88"/>
                  </a:cubicBezTo>
                  <a:cubicBezTo>
                    <a:pt x="659" y="88"/>
                    <a:pt x="659" y="87"/>
                    <a:pt x="658" y="88"/>
                  </a:cubicBezTo>
                  <a:close/>
                  <a:moveTo>
                    <a:pt x="1355" y="87"/>
                  </a:moveTo>
                  <a:cubicBezTo>
                    <a:pt x="1354" y="88"/>
                    <a:pt x="1354" y="88"/>
                    <a:pt x="1354" y="89"/>
                  </a:cubicBezTo>
                  <a:cubicBezTo>
                    <a:pt x="1355" y="88"/>
                    <a:pt x="1355" y="88"/>
                    <a:pt x="1355" y="87"/>
                  </a:cubicBezTo>
                  <a:close/>
                  <a:moveTo>
                    <a:pt x="1557" y="56"/>
                  </a:moveTo>
                  <a:cubicBezTo>
                    <a:pt x="1557" y="56"/>
                    <a:pt x="1558" y="56"/>
                    <a:pt x="1558" y="56"/>
                  </a:cubicBezTo>
                  <a:cubicBezTo>
                    <a:pt x="1558" y="56"/>
                    <a:pt x="1557" y="56"/>
                    <a:pt x="1557" y="56"/>
                  </a:cubicBezTo>
                  <a:close/>
                  <a:moveTo>
                    <a:pt x="660" y="88"/>
                  </a:moveTo>
                  <a:cubicBezTo>
                    <a:pt x="660" y="89"/>
                    <a:pt x="660" y="89"/>
                    <a:pt x="661" y="89"/>
                  </a:cubicBezTo>
                  <a:cubicBezTo>
                    <a:pt x="660" y="89"/>
                    <a:pt x="660" y="88"/>
                    <a:pt x="660" y="88"/>
                  </a:cubicBezTo>
                  <a:close/>
                  <a:moveTo>
                    <a:pt x="962" y="89"/>
                  </a:moveTo>
                  <a:cubicBezTo>
                    <a:pt x="962" y="89"/>
                    <a:pt x="961" y="89"/>
                    <a:pt x="961" y="88"/>
                  </a:cubicBezTo>
                  <a:cubicBezTo>
                    <a:pt x="961" y="89"/>
                    <a:pt x="961" y="89"/>
                    <a:pt x="962" y="89"/>
                  </a:cubicBezTo>
                  <a:close/>
                  <a:moveTo>
                    <a:pt x="1343" y="90"/>
                  </a:moveTo>
                  <a:cubicBezTo>
                    <a:pt x="1344" y="89"/>
                    <a:pt x="1344" y="89"/>
                    <a:pt x="1344" y="88"/>
                  </a:cubicBezTo>
                  <a:cubicBezTo>
                    <a:pt x="1343" y="89"/>
                    <a:pt x="1343" y="89"/>
                    <a:pt x="1343" y="90"/>
                  </a:cubicBezTo>
                  <a:close/>
                  <a:moveTo>
                    <a:pt x="1570" y="38"/>
                  </a:moveTo>
                  <a:cubicBezTo>
                    <a:pt x="1570" y="37"/>
                    <a:pt x="1570" y="37"/>
                    <a:pt x="1570" y="36"/>
                  </a:cubicBezTo>
                  <a:cubicBezTo>
                    <a:pt x="1570" y="37"/>
                    <a:pt x="1570" y="37"/>
                    <a:pt x="1570" y="38"/>
                  </a:cubicBezTo>
                  <a:close/>
                  <a:moveTo>
                    <a:pt x="1265" y="56"/>
                  </a:moveTo>
                  <a:cubicBezTo>
                    <a:pt x="1265" y="56"/>
                    <a:pt x="1265" y="57"/>
                    <a:pt x="1265" y="57"/>
                  </a:cubicBezTo>
                  <a:cubicBezTo>
                    <a:pt x="1265" y="57"/>
                    <a:pt x="1265" y="56"/>
                    <a:pt x="1265" y="56"/>
                  </a:cubicBezTo>
                  <a:close/>
                  <a:moveTo>
                    <a:pt x="1738" y="38"/>
                  </a:moveTo>
                  <a:cubicBezTo>
                    <a:pt x="1738" y="37"/>
                    <a:pt x="1738" y="37"/>
                    <a:pt x="1738" y="36"/>
                  </a:cubicBezTo>
                  <a:cubicBezTo>
                    <a:pt x="1738" y="37"/>
                    <a:pt x="1738" y="37"/>
                    <a:pt x="1738" y="38"/>
                  </a:cubicBezTo>
                  <a:close/>
                  <a:moveTo>
                    <a:pt x="1469" y="31"/>
                  </a:moveTo>
                  <a:cubicBezTo>
                    <a:pt x="1469" y="31"/>
                    <a:pt x="1469" y="32"/>
                    <a:pt x="1469" y="32"/>
                  </a:cubicBezTo>
                  <a:cubicBezTo>
                    <a:pt x="1469" y="32"/>
                    <a:pt x="1469" y="31"/>
                    <a:pt x="1469" y="31"/>
                  </a:cubicBezTo>
                  <a:close/>
                  <a:moveTo>
                    <a:pt x="623" y="89"/>
                  </a:moveTo>
                  <a:cubicBezTo>
                    <a:pt x="623" y="89"/>
                    <a:pt x="623" y="89"/>
                    <a:pt x="624" y="90"/>
                  </a:cubicBezTo>
                  <a:cubicBezTo>
                    <a:pt x="624" y="90"/>
                    <a:pt x="624" y="90"/>
                    <a:pt x="624" y="89"/>
                  </a:cubicBezTo>
                  <a:cubicBezTo>
                    <a:pt x="624" y="89"/>
                    <a:pt x="624" y="89"/>
                    <a:pt x="623" y="89"/>
                  </a:cubicBezTo>
                  <a:close/>
                  <a:moveTo>
                    <a:pt x="554" y="20"/>
                  </a:moveTo>
                  <a:cubicBezTo>
                    <a:pt x="553" y="20"/>
                    <a:pt x="553" y="20"/>
                    <a:pt x="553" y="20"/>
                  </a:cubicBezTo>
                  <a:cubicBezTo>
                    <a:pt x="553" y="20"/>
                    <a:pt x="554" y="20"/>
                    <a:pt x="554" y="20"/>
                  </a:cubicBezTo>
                  <a:close/>
                  <a:moveTo>
                    <a:pt x="1175" y="91"/>
                  </a:moveTo>
                  <a:cubicBezTo>
                    <a:pt x="1175" y="90"/>
                    <a:pt x="1175" y="90"/>
                    <a:pt x="1175" y="89"/>
                  </a:cubicBezTo>
                  <a:cubicBezTo>
                    <a:pt x="1175" y="90"/>
                    <a:pt x="1175" y="90"/>
                    <a:pt x="1175" y="91"/>
                  </a:cubicBezTo>
                  <a:close/>
                  <a:moveTo>
                    <a:pt x="1226" y="89"/>
                  </a:moveTo>
                  <a:cubicBezTo>
                    <a:pt x="1226" y="90"/>
                    <a:pt x="1227" y="90"/>
                    <a:pt x="1227" y="90"/>
                  </a:cubicBezTo>
                  <a:cubicBezTo>
                    <a:pt x="1227" y="90"/>
                    <a:pt x="1226" y="89"/>
                    <a:pt x="1226" y="89"/>
                  </a:cubicBezTo>
                  <a:close/>
                  <a:moveTo>
                    <a:pt x="1479" y="31"/>
                  </a:moveTo>
                  <a:cubicBezTo>
                    <a:pt x="1478" y="31"/>
                    <a:pt x="1478" y="31"/>
                    <a:pt x="1477" y="31"/>
                  </a:cubicBezTo>
                  <a:cubicBezTo>
                    <a:pt x="1478" y="32"/>
                    <a:pt x="1478" y="32"/>
                    <a:pt x="1479" y="31"/>
                  </a:cubicBezTo>
                  <a:close/>
                  <a:moveTo>
                    <a:pt x="555" y="43"/>
                  </a:moveTo>
                  <a:cubicBezTo>
                    <a:pt x="555" y="43"/>
                    <a:pt x="556" y="44"/>
                    <a:pt x="556" y="44"/>
                  </a:cubicBezTo>
                  <a:cubicBezTo>
                    <a:pt x="556" y="43"/>
                    <a:pt x="556" y="43"/>
                    <a:pt x="555" y="43"/>
                  </a:cubicBezTo>
                  <a:close/>
                  <a:moveTo>
                    <a:pt x="766" y="90"/>
                  </a:moveTo>
                  <a:cubicBezTo>
                    <a:pt x="767" y="90"/>
                    <a:pt x="767" y="90"/>
                    <a:pt x="767" y="90"/>
                  </a:cubicBezTo>
                  <a:cubicBezTo>
                    <a:pt x="767" y="90"/>
                    <a:pt x="767" y="90"/>
                    <a:pt x="766" y="90"/>
                  </a:cubicBezTo>
                  <a:close/>
                  <a:moveTo>
                    <a:pt x="1355" y="20"/>
                  </a:moveTo>
                  <a:cubicBezTo>
                    <a:pt x="1354" y="20"/>
                    <a:pt x="1354" y="20"/>
                    <a:pt x="1354" y="20"/>
                  </a:cubicBezTo>
                  <a:cubicBezTo>
                    <a:pt x="1354" y="20"/>
                    <a:pt x="1355" y="20"/>
                    <a:pt x="1355" y="20"/>
                  </a:cubicBezTo>
                  <a:close/>
                  <a:moveTo>
                    <a:pt x="575" y="56"/>
                  </a:moveTo>
                  <a:cubicBezTo>
                    <a:pt x="576" y="56"/>
                    <a:pt x="576" y="56"/>
                    <a:pt x="576" y="56"/>
                  </a:cubicBezTo>
                  <a:cubicBezTo>
                    <a:pt x="576" y="56"/>
                    <a:pt x="576" y="56"/>
                    <a:pt x="575" y="56"/>
                  </a:cubicBezTo>
                  <a:close/>
                  <a:moveTo>
                    <a:pt x="727" y="90"/>
                  </a:moveTo>
                  <a:cubicBezTo>
                    <a:pt x="727" y="90"/>
                    <a:pt x="727" y="91"/>
                    <a:pt x="728" y="91"/>
                  </a:cubicBezTo>
                  <a:cubicBezTo>
                    <a:pt x="728" y="91"/>
                    <a:pt x="728" y="90"/>
                    <a:pt x="727" y="90"/>
                  </a:cubicBezTo>
                  <a:close/>
                  <a:moveTo>
                    <a:pt x="753" y="91"/>
                  </a:moveTo>
                  <a:cubicBezTo>
                    <a:pt x="753" y="91"/>
                    <a:pt x="753" y="90"/>
                    <a:pt x="752" y="90"/>
                  </a:cubicBezTo>
                  <a:cubicBezTo>
                    <a:pt x="752" y="91"/>
                    <a:pt x="752" y="91"/>
                    <a:pt x="753" y="91"/>
                  </a:cubicBezTo>
                  <a:close/>
                  <a:moveTo>
                    <a:pt x="755" y="44"/>
                  </a:moveTo>
                  <a:cubicBezTo>
                    <a:pt x="755" y="44"/>
                    <a:pt x="755" y="44"/>
                    <a:pt x="755" y="43"/>
                  </a:cubicBezTo>
                  <a:cubicBezTo>
                    <a:pt x="755" y="43"/>
                    <a:pt x="755" y="44"/>
                    <a:pt x="755" y="44"/>
                  </a:cubicBezTo>
                  <a:close/>
                  <a:moveTo>
                    <a:pt x="1213" y="91"/>
                  </a:moveTo>
                  <a:cubicBezTo>
                    <a:pt x="1213" y="91"/>
                    <a:pt x="1213" y="91"/>
                    <a:pt x="1212" y="90"/>
                  </a:cubicBezTo>
                  <a:cubicBezTo>
                    <a:pt x="1212" y="91"/>
                    <a:pt x="1213" y="91"/>
                    <a:pt x="1213" y="91"/>
                  </a:cubicBezTo>
                  <a:close/>
                  <a:moveTo>
                    <a:pt x="1412" y="34"/>
                  </a:moveTo>
                  <a:cubicBezTo>
                    <a:pt x="1412" y="34"/>
                    <a:pt x="1412" y="33"/>
                    <a:pt x="1412" y="33"/>
                  </a:cubicBezTo>
                  <a:cubicBezTo>
                    <a:pt x="1411" y="33"/>
                    <a:pt x="1412" y="34"/>
                    <a:pt x="1412" y="34"/>
                  </a:cubicBezTo>
                  <a:close/>
                  <a:moveTo>
                    <a:pt x="1469" y="33"/>
                  </a:moveTo>
                  <a:cubicBezTo>
                    <a:pt x="1469" y="33"/>
                    <a:pt x="1469" y="34"/>
                    <a:pt x="1469" y="34"/>
                  </a:cubicBezTo>
                  <a:cubicBezTo>
                    <a:pt x="1469" y="34"/>
                    <a:pt x="1469" y="33"/>
                    <a:pt x="1469" y="33"/>
                  </a:cubicBezTo>
                  <a:close/>
                  <a:moveTo>
                    <a:pt x="675" y="33"/>
                  </a:moveTo>
                  <a:cubicBezTo>
                    <a:pt x="676" y="33"/>
                    <a:pt x="676" y="33"/>
                    <a:pt x="677" y="33"/>
                  </a:cubicBezTo>
                  <a:cubicBezTo>
                    <a:pt x="676" y="33"/>
                    <a:pt x="676" y="33"/>
                    <a:pt x="675" y="33"/>
                  </a:cubicBezTo>
                  <a:close/>
                  <a:moveTo>
                    <a:pt x="771" y="33"/>
                  </a:moveTo>
                  <a:cubicBezTo>
                    <a:pt x="772" y="33"/>
                    <a:pt x="772" y="33"/>
                    <a:pt x="773" y="33"/>
                  </a:cubicBezTo>
                  <a:cubicBezTo>
                    <a:pt x="772" y="33"/>
                    <a:pt x="772" y="33"/>
                    <a:pt x="771" y="33"/>
                  </a:cubicBezTo>
                  <a:close/>
                  <a:moveTo>
                    <a:pt x="784" y="33"/>
                  </a:moveTo>
                  <a:cubicBezTo>
                    <a:pt x="784" y="33"/>
                    <a:pt x="785" y="33"/>
                    <a:pt x="785" y="33"/>
                  </a:cubicBezTo>
                  <a:cubicBezTo>
                    <a:pt x="785" y="33"/>
                    <a:pt x="784" y="33"/>
                    <a:pt x="784" y="33"/>
                  </a:cubicBezTo>
                  <a:close/>
                  <a:moveTo>
                    <a:pt x="843" y="33"/>
                  </a:moveTo>
                  <a:cubicBezTo>
                    <a:pt x="843" y="33"/>
                    <a:pt x="844" y="33"/>
                    <a:pt x="844" y="33"/>
                  </a:cubicBezTo>
                  <a:cubicBezTo>
                    <a:pt x="844" y="33"/>
                    <a:pt x="843" y="33"/>
                    <a:pt x="843" y="33"/>
                  </a:cubicBezTo>
                  <a:close/>
                  <a:moveTo>
                    <a:pt x="1154" y="49"/>
                  </a:moveTo>
                  <a:cubicBezTo>
                    <a:pt x="1154" y="50"/>
                    <a:pt x="1154" y="50"/>
                    <a:pt x="1154" y="51"/>
                  </a:cubicBezTo>
                  <a:cubicBezTo>
                    <a:pt x="1154" y="50"/>
                    <a:pt x="1154" y="50"/>
                    <a:pt x="1154" y="49"/>
                  </a:cubicBezTo>
                  <a:close/>
                  <a:moveTo>
                    <a:pt x="1082" y="43"/>
                  </a:moveTo>
                  <a:cubicBezTo>
                    <a:pt x="1082" y="43"/>
                    <a:pt x="1082" y="44"/>
                    <a:pt x="1083" y="44"/>
                  </a:cubicBezTo>
                  <a:cubicBezTo>
                    <a:pt x="1083" y="44"/>
                    <a:pt x="1083" y="43"/>
                    <a:pt x="1082" y="43"/>
                  </a:cubicBezTo>
                  <a:close/>
                  <a:moveTo>
                    <a:pt x="904" y="37"/>
                  </a:moveTo>
                  <a:cubicBezTo>
                    <a:pt x="905" y="37"/>
                    <a:pt x="905" y="37"/>
                    <a:pt x="905" y="38"/>
                  </a:cubicBezTo>
                  <a:cubicBezTo>
                    <a:pt x="905" y="37"/>
                    <a:pt x="905" y="37"/>
                    <a:pt x="904" y="37"/>
                  </a:cubicBezTo>
                  <a:close/>
                  <a:moveTo>
                    <a:pt x="884" y="33"/>
                  </a:moveTo>
                  <a:cubicBezTo>
                    <a:pt x="884" y="33"/>
                    <a:pt x="885" y="33"/>
                    <a:pt x="885" y="33"/>
                  </a:cubicBezTo>
                  <a:cubicBezTo>
                    <a:pt x="885" y="33"/>
                    <a:pt x="884" y="33"/>
                    <a:pt x="884" y="33"/>
                  </a:cubicBezTo>
                  <a:close/>
                  <a:moveTo>
                    <a:pt x="896" y="33"/>
                  </a:moveTo>
                  <a:cubicBezTo>
                    <a:pt x="896" y="33"/>
                    <a:pt x="896" y="33"/>
                    <a:pt x="897" y="33"/>
                  </a:cubicBezTo>
                  <a:cubicBezTo>
                    <a:pt x="897" y="33"/>
                    <a:pt x="896" y="33"/>
                    <a:pt x="896" y="33"/>
                  </a:cubicBezTo>
                  <a:close/>
                  <a:moveTo>
                    <a:pt x="1463" y="90"/>
                  </a:moveTo>
                  <a:cubicBezTo>
                    <a:pt x="1462" y="91"/>
                    <a:pt x="1462" y="91"/>
                    <a:pt x="1462" y="91"/>
                  </a:cubicBezTo>
                  <a:cubicBezTo>
                    <a:pt x="1462" y="91"/>
                    <a:pt x="1463" y="91"/>
                    <a:pt x="1463" y="90"/>
                  </a:cubicBezTo>
                  <a:close/>
                  <a:moveTo>
                    <a:pt x="754" y="92"/>
                  </a:moveTo>
                  <a:cubicBezTo>
                    <a:pt x="754" y="92"/>
                    <a:pt x="753" y="91"/>
                    <a:pt x="753" y="91"/>
                  </a:cubicBezTo>
                  <a:cubicBezTo>
                    <a:pt x="753" y="92"/>
                    <a:pt x="753" y="92"/>
                    <a:pt x="754" y="92"/>
                  </a:cubicBezTo>
                  <a:close/>
                  <a:moveTo>
                    <a:pt x="1053" y="33"/>
                  </a:moveTo>
                  <a:cubicBezTo>
                    <a:pt x="1054" y="33"/>
                    <a:pt x="1054" y="33"/>
                    <a:pt x="1055" y="33"/>
                  </a:cubicBezTo>
                  <a:cubicBezTo>
                    <a:pt x="1054" y="33"/>
                    <a:pt x="1054" y="33"/>
                    <a:pt x="1053" y="33"/>
                  </a:cubicBezTo>
                  <a:close/>
                  <a:moveTo>
                    <a:pt x="1066" y="33"/>
                  </a:moveTo>
                  <a:cubicBezTo>
                    <a:pt x="1066" y="33"/>
                    <a:pt x="1067" y="33"/>
                    <a:pt x="1067" y="33"/>
                  </a:cubicBezTo>
                  <a:cubicBezTo>
                    <a:pt x="1067" y="33"/>
                    <a:pt x="1066" y="33"/>
                    <a:pt x="1066" y="33"/>
                  </a:cubicBezTo>
                  <a:close/>
                  <a:moveTo>
                    <a:pt x="1126" y="33"/>
                  </a:moveTo>
                  <a:cubicBezTo>
                    <a:pt x="1126" y="33"/>
                    <a:pt x="1127" y="33"/>
                    <a:pt x="1127" y="33"/>
                  </a:cubicBezTo>
                  <a:cubicBezTo>
                    <a:pt x="1127" y="33"/>
                    <a:pt x="1126" y="33"/>
                    <a:pt x="1126" y="33"/>
                  </a:cubicBezTo>
                  <a:close/>
                  <a:moveTo>
                    <a:pt x="1137" y="33"/>
                  </a:moveTo>
                  <a:cubicBezTo>
                    <a:pt x="1138" y="33"/>
                    <a:pt x="1138" y="33"/>
                    <a:pt x="1139" y="33"/>
                  </a:cubicBezTo>
                  <a:cubicBezTo>
                    <a:pt x="1139" y="33"/>
                    <a:pt x="1138" y="33"/>
                    <a:pt x="1137" y="33"/>
                  </a:cubicBezTo>
                  <a:close/>
                  <a:moveTo>
                    <a:pt x="979" y="21"/>
                  </a:moveTo>
                  <a:cubicBezTo>
                    <a:pt x="978" y="22"/>
                    <a:pt x="978" y="22"/>
                    <a:pt x="978" y="22"/>
                  </a:cubicBezTo>
                  <a:cubicBezTo>
                    <a:pt x="978" y="22"/>
                    <a:pt x="979" y="22"/>
                    <a:pt x="979" y="21"/>
                  </a:cubicBezTo>
                  <a:close/>
                  <a:moveTo>
                    <a:pt x="1461" y="14"/>
                  </a:moveTo>
                  <a:cubicBezTo>
                    <a:pt x="1461" y="15"/>
                    <a:pt x="1461" y="15"/>
                    <a:pt x="1462" y="15"/>
                  </a:cubicBezTo>
                  <a:cubicBezTo>
                    <a:pt x="1462" y="15"/>
                    <a:pt x="1461" y="14"/>
                    <a:pt x="1461" y="14"/>
                  </a:cubicBezTo>
                  <a:close/>
                  <a:moveTo>
                    <a:pt x="1231" y="33"/>
                  </a:moveTo>
                  <a:cubicBezTo>
                    <a:pt x="1232" y="33"/>
                    <a:pt x="1232" y="33"/>
                    <a:pt x="1233" y="33"/>
                  </a:cubicBezTo>
                  <a:cubicBezTo>
                    <a:pt x="1232" y="33"/>
                    <a:pt x="1232" y="33"/>
                    <a:pt x="1231" y="33"/>
                  </a:cubicBezTo>
                  <a:close/>
                  <a:moveTo>
                    <a:pt x="1244" y="33"/>
                  </a:moveTo>
                  <a:cubicBezTo>
                    <a:pt x="1244" y="33"/>
                    <a:pt x="1245" y="33"/>
                    <a:pt x="1245" y="33"/>
                  </a:cubicBezTo>
                  <a:cubicBezTo>
                    <a:pt x="1245" y="33"/>
                    <a:pt x="1244" y="33"/>
                    <a:pt x="1244" y="33"/>
                  </a:cubicBezTo>
                  <a:close/>
                  <a:moveTo>
                    <a:pt x="1675" y="53"/>
                  </a:moveTo>
                  <a:cubicBezTo>
                    <a:pt x="1674" y="54"/>
                    <a:pt x="1674" y="54"/>
                    <a:pt x="1674" y="54"/>
                  </a:cubicBezTo>
                  <a:cubicBezTo>
                    <a:pt x="1674" y="54"/>
                    <a:pt x="1674" y="54"/>
                    <a:pt x="1675" y="53"/>
                  </a:cubicBezTo>
                  <a:close/>
                  <a:moveTo>
                    <a:pt x="963" y="21"/>
                  </a:moveTo>
                  <a:cubicBezTo>
                    <a:pt x="963" y="21"/>
                    <a:pt x="963" y="21"/>
                    <a:pt x="964" y="20"/>
                  </a:cubicBezTo>
                  <a:cubicBezTo>
                    <a:pt x="963" y="21"/>
                    <a:pt x="963" y="21"/>
                    <a:pt x="963" y="21"/>
                  </a:cubicBezTo>
                  <a:close/>
                  <a:moveTo>
                    <a:pt x="1146" y="37"/>
                  </a:moveTo>
                  <a:cubicBezTo>
                    <a:pt x="1146" y="37"/>
                    <a:pt x="1147" y="37"/>
                    <a:pt x="1147" y="38"/>
                  </a:cubicBezTo>
                  <a:cubicBezTo>
                    <a:pt x="1147" y="37"/>
                    <a:pt x="1147" y="37"/>
                    <a:pt x="1146" y="37"/>
                  </a:cubicBezTo>
                  <a:close/>
                  <a:moveTo>
                    <a:pt x="987" y="92"/>
                  </a:moveTo>
                  <a:cubicBezTo>
                    <a:pt x="987" y="92"/>
                    <a:pt x="988" y="92"/>
                    <a:pt x="988" y="92"/>
                  </a:cubicBezTo>
                  <a:cubicBezTo>
                    <a:pt x="988" y="92"/>
                    <a:pt x="987" y="92"/>
                    <a:pt x="987" y="92"/>
                  </a:cubicBezTo>
                  <a:close/>
                  <a:moveTo>
                    <a:pt x="1007" y="92"/>
                  </a:moveTo>
                  <a:cubicBezTo>
                    <a:pt x="1007" y="92"/>
                    <a:pt x="1008" y="92"/>
                    <a:pt x="1008" y="92"/>
                  </a:cubicBezTo>
                  <a:cubicBezTo>
                    <a:pt x="1008" y="92"/>
                    <a:pt x="1007" y="92"/>
                    <a:pt x="1007" y="92"/>
                  </a:cubicBezTo>
                  <a:close/>
                  <a:moveTo>
                    <a:pt x="1087" y="53"/>
                  </a:moveTo>
                  <a:cubicBezTo>
                    <a:pt x="1087" y="54"/>
                    <a:pt x="1087" y="54"/>
                    <a:pt x="1087" y="55"/>
                  </a:cubicBezTo>
                  <a:cubicBezTo>
                    <a:pt x="1087" y="54"/>
                    <a:pt x="1087" y="54"/>
                    <a:pt x="1087" y="53"/>
                  </a:cubicBezTo>
                  <a:close/>
                  <a:moveTo>
                    <a:pt x="988" y="92"/>
                  </a:moveTo>
                  <a:cubicBezTo>
                    <a:pt x="989" y="93"/>
                    <a:pt x="989" y="92"/>
                    <a:pt x="990" y="92"/>
                  </a:cubicBezTo>
                  <a:cubicBezTo>
                    <a:pt x="990" y="92"/>
                    <a:pt x="989" y="92"/>
                    <a:pt x="988" y="92"/>
                  </a:cubicBezTo>
                  <a:close/>
                  <a:moveTo>
                    <a:pt x="755" y="93"/>
                  </a:moveTo>
                  <a:cubicBezTo>
                    <a:pt x="755" y="93"/>
                    <a:pt x="754" y="93"/>
                    <a:pt x="754" y="92"/>
                  </a:cubicBezTo>
                  <a:cubicBezTo>
                    <a:pt x="754" y="93"/>
                    <a:pt x="754" y="93"/>
                    <a:pt x="755" y="93"/>
                  </a:cubicBezTo>
                  <a:close/>
                  <a:moveTo>
                    <a:pt x="1419" y="93"/>
                  </a:moveTo>
                  <a:cubicBezTo>
                    <a:pt x="1419" y="93"/>
                    <a:pt x="1418" y="93"/>
                    <a:pt x="1418" y="92"/>
                  </a:cubicBezTo>
                  <a:cubicBezTo>
                    <a:pt x="1418" y="93"/>
                    <a:pt x="1418" y="93"/>
                    <a:pt x="1419" y="93"/>
                  </a:cubicBezTo>
                  <a:close/>
                  <a:moveTo>
                    <a:pt x="1052" y="34"/>
                  </a:moveTo>
                  <a:cubicBezTo>
                    <a:pt x="1052" y="34"/>
                    <a:pt x="1053" y="34"/>
                    <a:pt x="1053" y="33"/>
                  </a:cubicBezTo>
                  <a:cubicBezTo>
                    <a:pt x="1053" y="33"/>
                    <a:pt x="1052" y="33"/>
                    <a:pt x="1052" y="34"/>
                  </a:cubicBezTo>
                  <a:close/>
                  <a:moveTo>
                    <a:pt x="754" y="45"/>
                  </a:moveTo>
                  <a:cubicBezTo>
                    <a:pt x="754" y="45"/>
                    <a:pt x="754" y="45"/>
                    <a:pt x="754" y="44"/>
                  </a:cubicBezTo>
                  <a:cubicBezTo>
                    <a:pt x="754" y="45"/>
                    <a:pt x="754" y="45"/>
                    <a:pt x="754" y="45"/>
                  </a:cubicBezTo>
                  <a:close/>
                  <a:moveTo>
                    <a:pt x="787" y="93"/>
                  </a:moveTo>
                  <a:cubicBezTo>
                    <a:pt x="787" y="93"/>
                    <a:pt x="788" y="93"/>
                    <a:pt x="788" y="93"/>
                  </a:cubicBezTo>
                  <a:cubicBezTo>
                    <a:pt x="788" y="93"/>
                    <a:pt x="787" y="93"/>
                    <a:pt x="787" y="93"/>
                  </a:cubicBezTo>
                  <a:close/>
                  <a:moveTo>
                    <a:pt x="966" y="94"/>
                  </a:moveTo>
                  <a:cubicBezTo>
                    <a:pt x="966" y="93"/>
                    <a:pt x="966" y="93"/>
                    <a:pt x="965" y="93"/>
                  </a:cubicBezTo>
                  <a:cubicBezTo>
                    <a:pt x="965" y="93"/>
                    <a:pt x="966" y="93"/>
                    <a:pt x="966" y="94"/>
                  </a:cubicBezTo>
                  <a:close/>
                  <a:moveTo>
                    <a:pt x="670" y="93"/>
                  </a:moveTo>
                  <a:cubicBezTo>
                    <a:pt x="671" y="94"/>
                    <a:pt x="671" y="94"/>
                    <a:pt x="672" y="93"/>
                  </a:cubicBezTo>
                  <a:cubicBezTo>
                    <a:pt x="671" y="93"/>
                    <a:pt x="671" y="93"/>
                    <a:pt x="670" y="93"/>
                  </a:cubicBezTo>
                  <a:close/>
                  <a:moveTo>
                    <a:pt x="1419" y="16"/>
                  </a:moveTo>
                  <a:cubicBezTo>
                    <a:pt x="1420" y="16"/>
                    <a:pt x="1420" y="15"/>
                    <a:pt x="1420" y="15"/>
                  </a:cubicBezTo>
                  <a:cubicBezTo>
                    <a:pt x="1420" y="15"/>
                    <a:pt x="1420" y="15"/>
                    <a:pt x="1419" y="16"/>
                  </a:cubicBezTo>
                  <a:close/>
                  <a:moveTo>
                    <a:pt x="834" y="38"/>
                  </a:moveTo>
                  <a:cubicBezTo>
                    <a:pt x="834" y="38"/>
                    <a:pt x="834" y="37"/>
                    <a:pt x="835" y="37"/>
                  </a:cubicBezTo>
                  <a:cubicBezTo>
                    <a:pt x="834" y="37"/>
                    <a:pt x="834" y="37"/>
                    <a:pt x="834" y="38"/>
                  </a:cubicBezTo>
                  <a:close/>
                  <a:moveTo>
                    <a:pt x="1576" y="15"/>
                  </a:moveTo>
                  <a:cubicBezTo>
                    <a:pt x="1577" y="15"/>
                    <a:pt x="1577" y="16"/>
                    <a:pt x="1577" y="16"/>
                  </a:cubicBezTo>
                  <a:cubicBezTo>
                    <a:pt x="1577" y="15"/>
                    <a:pt x="1577" y="15"/>
                    <a:pt x="1576" y="15"/>
                  </a:cubicBezTo>
                  <a:close/>
                  <a:moveTo>
                    <a:pt x="605" y="66"/>
                  </a:moveTo>
                  <a:cubicBezTo>
                    <a:pt x="605" y="66"/>
                    <a:pt x="605" y="66"/>
                    <a:pt x="604" y="65"/>
                  </a:cubicBezTo>
                  <a:cubicBezTo>
                    <a:pt x="604" y="66"/>
                    <a:pt x="604" y="66"/>
                    <a:pt x="605" y="66"/>
                  </a:cubicBezTo>
                  <a:close/>
                  <a:moveTo>
                    <a:pt x="900" y="52"/>
                  </a:moveTo>
                  <a:cubicBezTo>
                    <a:pt x="901" y="52"/>
                    <a:pt x="900" y="51"/>
                    <a:pt x="900" y="51"/>
                  </a:cubicBezTo>
                  <a:cubicBezTo>
                    <a:pt x="900" y="51"/>
                    <a:pt x="900" y="52"/>
                    <a:pt x="900" y="52"/>
                  </a:cubicBezTo>
                  <a:close/>
                  <a:moveTo>
                    <a:pt x="1086" y="51"/>
                  </a:moveTo>
                  <a:cubicBezTo>
                    <a:pt x="1086" y="51"/>
                    <a:pt x="1086" y="52"/>
                    <a:pt x="1086" y="52"/>
                  </a:cubicBezTo>
                  <a:cubicBezTo>
                    <a:pt x="1086" y="52"/>
                    <a:pt x="1086" y="51"/>
                    <a:pt x="1086" y="51"/>
                  </a:cubicBezTo>
                  <a:close/>
                  <a:moveTo>
                    <a:pt x="1433" y="7"/>
                  </a:moveTo>
                  <a:cubicBezTo>
                    <a:pt x="1433" y="7"/>
                    <a:pt x="1434" y="7"/>
                    <a:pt x="1434" y="7"/>
                  </a:cubicBezTo>
                  <a:cubicBezTo>
                    <a:pt x="1433" y="6"/>
                    <a:pt x="1433" y="6"/>
                    <a:pt x="1433" y="7"/>
                  </a:cubicBezTo>
                  <a:close/>
                  <a:moveTo>
                    <a:pt x="1448" y="7"/>
                  </a:moveTo>
                  <a:cubicBezTo>
                    <a:pt x="1449" y="7"/>
                    <a:pt x="1449" y="7"/>
                    <a:pt x="1449" y="7"/>
                  </a:cubicBezTo>
                  <a:cubicBezTo>
                    <a:pt x="1449" y="6"/>
                    <a:pt x="1449" y="6"/>
                    <a:pt x="1448" y="7"/>
                  </a:cubicBezTo>
                  <a:close/>
                  <a:moveTo>
                    <a:pt x="1396" y="22"/>
                  </a:moveTo>
                  <a:cubicBezTo>
                    <a:pt x="1396" y="23"/>
                    <a:pt x="1396" y="23"/>
                    <a:pt x="1396" y="23"/>
                  </a:cubicBezTo>
                  <a:cubicBezTo>
                    <a:pt x="1396" y="23"/>
                    <a:pt x="1397" y="22"/>
                    <a:pt x="1396" y="22"/>
                  </a:cubicBezTo>
                  <a:close/>
                  <a:moveTo>
                    <a:pt x="1545" y="7"/>
                  </a:moveTo>
                  <a:cubicBezTo>
                    <a:pt x="1545" y="7"/>
                    <a:pt x="1546" y="7"/>
                    <a:pt x="1546" y="7"/>
                  </a:cubicBezTo>
                  <a:cubicBezTo>
                    <a:pt x="1546" y="7"/>
                    <a:pt x="1545" y="6"/>
                    <a:pt x="1545" y="7"/>
                  </a:cubicBezTo>
                  <a:close/>
                  <a:moveTo>
                    <a:pt x="1562" y="7"/>
                  </a:moveTo>
                  <a:cubicBezTo>
                    <a:pt x="1563" y="7"/>
                    <a:pt x="1563" y="7"/>
                    <a:pt x="1564" y="7"/>
                  </a:cubicBezTo>
                  <a:cubicBezTo>
                    <a:pt x="1563" y="6"/>
                    <a:pt x="1563" y="7"/>
                    <a:pt x="1562" y="7"/>
                  </a:cubicBezTo>
                  <a:close/>
                  <a:moveTo>
                    <a:pt x="1713" y="7"/>
                  </a:moveTo>
                  <a:cubicBezTo>
                    <a:pt x="1713" y="7"/>
                    <a:pt x="1714" y="7"/>
                    <a:pt x="1714" y="7"/>
                  </a:cubicBezTo>
                  <a:cubicBezTo>
                    <a:pt x="1714" y="7"/>
                    <a:pt x="1713" y="6"/>
                    <a:pt x="1713" y="7"/>
                  </a:cubicBezTo>
                  <a:close/>
                  <a:moveTo>
                    <a:pt x="1731" y="7"/>
                  </a:moveTo>
                  <a:cubicBezTo>
                    <a:pt x="1731" y="7"/>
                    <a:pt x="1731" y="7"/>
                    <a:pt x="1732" y="7"/>
                  </a:cubicBezTo>
                  <a:cubicBezTo>
                    <a:pt x="1731" y="6"/>
                    <a:pt x="1731" y="7"/>
                    <a:pt x="1731" y="7"/>
                  </a:cubicBezTo>
                  <a:close/>
                  <a:moveTo>
                    <a:pt x="556" y="7"/>
                  </a:moveTo>
                  <a:cubicBezTo>
                    <a:pt x="556" y="7"/>
                    <a:pt x="557" y="7"/>
                    <a:pt x="557" y="7"/>
                  </a:cubicBezTo>
                  <a:cubicBezTo>
                    <a:pt x="557" y="7"/>
                    <a:pt x="556" y="7"/>
                    <a:pt x="556" y="7"/>
                  </a:cubicBezTo>
                  <a:close/>
                  <a:moveTo>
                    <a:pt x="986" y="7"/>
                  </a:moveTo>
                  <a:cubicBezTo>
                    <a:pt x="987" y="7"/>
                    <a:pt x="987" y="7"/>
                    <a:pt x="988" y="7"/>
                  </a:cubicBezTo>
                  <a:cubicBezTo>
                    <a:pt x="987" y="7"/>
                    <a:pt x="987" y="7"/>
                    <a:pt x="986" y="7"/>
                  </a:cubicBezTo>
                  <a:close/>
                  <a:moveTo>
                    <a:pt x="1359" y="7"/>
                  </a:moveTo>
                  <a:cubicBezTo>
                    <a:pt x="1360" y="7"/>
                    <a:pt x="1360" y="7"/>
                    <a:pt x="1360" y="7"/>
                  </a:cubicBezTo>
                  <a:cubicBezTo>
                    <a:pt x="1360" y="7"/>
                    <a:pt x="1360" y="7"/>
                    <a:pt x="1359" y="7"/>
                  </a:cubicBezTo>
                  <a:close/>
                  <a:moveTo>
                    <a:pt x="1379" y="7"/>
                  </a:moveTo>
                  <a:cubicBezTo>
                    <a:pt x="1380" y="7"/>
                    <a:pt x="1380" y="7"/>
                    <a:pt x="1381" y="7"/>
                  </a:cubicBezTo>
                  <a:cubicBezTo>
                    <a:pt x="1380" y="7"/>
                    <a:pt x="1380" y="7"/>
                    <a:pt x="1379" y="7"/>
                  </a:cubicBezTo>
                  <a:close/>
                  <a:moveTo>
                    <a:pt x="1466" y="22"/>
                  </a:moveTo>
                  <a:cubicBezTo>
                    <a:pt x="1466" y="23"/>
                    <a:pt x="1466" y="23"/>
                    <a:pt x="1466" y="23"/>
                  </a:cubicBezTo>
                  <a:cubicBezTo>
                    <a:pt x="1466" y="23"/>
                    <a:pt x="1466" y="22"/>
                    <a:pt x="1466" y="22"/>
                  </a:cubicBezTo>
                  <a:close/>
                  <a:moveTo>
                    <a:pt x="1031" y="56"/>
                  </a:moveTo>
                  <a:cubicBezTo>
                    <a:pt x="1031" y="56"/>
                    <a:pt x="1031" y="56"/>
                    <a:pt x="1031" y="55"/>
                  </a:cubicBezTo>
                  <a:cubicBezTo>
                    <a:pt x="1031" y="56"/>
                    <a:pt x="1031" y="56"/>
                    <a:pt x="1031" y="56"/>
                  </a:cubicBezTo>
                  <a:close/>
                  <a:moveTo>
                    <a:pt x="1468" y="29"/>
                  </a:moveTo>
                  <a:cubicBezTo>
                    <a:pt x="1468" y="30"/>
                    <a:pt x="1468" y="30"/>
                    <a:pt x="1469" y="31"/>
                  </a:cubicBezTo>
                  <a:cubicBezTo>
                    <a:pt x="1469" y="30"/>
                    <a:pt x="1469" y="30"/>
                    <a:pt x="1468" y="29"/>
                  </a:cubicBezTo>
                  <a:close/>
                  <a:moveTo>
                    <a:pt x="1543" y="7"/>
                  </a:moveTo>
                  <a:cubicBezTo>
                    <a:pt x="1544" y="7"/>
                    <a:pt x="1544" y="7"/>
                    <a:pt x="1545" y="7"/>
                  </a:cubicBezTo>
                  <a:cubicBezTo>
                    <a:pt x="1544" y="7"/>
                    <a:pt x="1544" y="7"/>
                    <a:pt x="1543" y="7"/>
                  </a:cubicBezTo>
                  <a:close/>
                  <a:moveTo>
                    <a:pt x="1300" y="44"/>
                  </a:moveTo>
                  <a:cubicBezTo>
                    <a:pt x="1300" y="44"/>
                    <a:pt x="1299" y="44"/>
                    <a:pt x="1299" y="44"/>
                  </a:cubicBezTo>
                  <a:cubicBezTo>
                    <a:pt x="1299" y="44"/>
                    <a:pt x="1300" y="44"/>
                    <a:pt x="1300" y="44"/>
                  </a:cubicBezTo>
                  <a:close/>
                  <a:moveTo>
                    <a:pt x="1712" y="7"/>
                  </a:moveTo>
                  <a:cubicBezTo>
                    <a:pt x="1712" y="7"/>
                    <a:pt x="1712" y="7"/>
                    <a:pt x="1713" y="7"/>
                  </a:cubicBezTo>
                  <a:cubicBezTo>
                    <a:pt x="1712" y="7"/>
                    <a:pt x="1712" y="7"/>
                    <a:pt x="1712" y="7"/>
                  </a:cubicBezTo>
                  <a:close/>
                  <a:moveTo>
                    <a:pt x="1264" y="50"/>
                  </a:moveTo>
                  <a:cubicBezTo>
                    <a:pt x="1264" y="50"/>
                    <a:pt x="1264" y="51"/>
                    <a:pt x="1264" y="51"/>
                  </a:cubicBezTo>
                  <a:cubicBezTo>
                    <a:pt x="1264" y="51"/>
                    <a:pt x="1264" y="50"/>
                    <a:pt x="1264" y="50"/>
                  </a:cubicBezTo>
                  <a:close/>
                  <a:moveTo>
                    <a:pt x="555" y="8"/>
                  </a:moveTo>
                  <a:cubicBezTo>
                    <a:pt x="555" y="8"/>
                    <a:pt x="555" y="8"/>
                    <a:pt x="556" y="7"/>
                  </a:cubicBezTo>
                  <a:cubicBezTo>
                    <a:pt x="555" y="7"/>
                    <a:pt x="555" y="7"/>
                    <a:pt x="555" y="8"/>
                  </a:cubicBezTo>
                  <a:close/>
                  <a:moveTo>
                    <a:pt x="581" y="7"/>
                  </a:moveTo>
                  <a:cubicBezTo>
                    <a:pt x="581" y="7"/>
                    <a:pt x="581" y="8"/>
                    <a:pt x="582" y="8"/>
                  </a:cubicBezTo>
                  <a:cubicBezTo>
                    <a:pt x="581" y="7"/>
                    <a:pt x="581" y="7"/>
                    <a:pt x="581" y="7"/>
                  </a:cubicBezTo>
                  <a:close/>
                  <a:moveTo>
                    <a:pt x="985" y="8"/>
                  </a:moveTo>
                  <a:cubicBezTo>
                    <a:pt x="985" y="8"/>
                    <a:pt x="986" y="8"/>
                    <a:pt x="986" y="7"/>
                  </a:cubicBezTo>
                  <a:cubicBezTo>
                    <a:pt x="986" y="7"/>
                    <a:pt x="985" y="7"/>
                    <a:pt x="985" y="8"/>
                  </a:cubicBezTo>
                  <a:close/>
                  <a:moveTo>
                    <a:pt x="1014" y="7"/>
                  </a:moveTo>
                  <a:cubicBezTo>
                    <a:pt x="1014" y="8"/>
                    <a:pt x="1014" y="8"/>
                    <a:pt x="1015" y="7"/>
                  </a:cubicBezTo>
                  <a:cubicBezTo>
                    <a:pt x="1014" y="7"/>
                    <a:pt x="1014" y="7"/>
                    <a:pt x="1014" y="7"/>
                  </a:cubicBezTo>
                  <a:close/>
                  <a:moveTo>
                    <a:pt x="1227" y="35"/>
                  </a:moveTo>
                  <a:cubicBezTo>
                    <a:pt x="1227" y="35"/>
                    <a:pt x="1227" y="35"/>
                    <a:pt x="1228" y="34"/>
                  </a:cubicBezTo>
                  <a:cubicBezTo>
                    <a:pt x="1227" y="34"/>
                    <a:pt x="1227" y="34"/>
                    <a:pt x="1227" y="35"/>
                  </a:cubicBezTo>
                  <a:close/>
                  <a:moveTo>
                    <a:pt x="1749" y="40"/>
                  </a:moveTo>
                  <a:cubicBezTo>
                    <a:pt x="1748" y="41"/>
                    <a:pt x="1748" y="41"/>
                    <a:pt x="1748" y="42"/>
                  </a:cubicBezTo>
                  <a:cubicBezTo>
                    <a:pt x="1749" y="41"/>
                    <a:pt x="1749" y="41"/>
                    <a:pt x="1749" y="40"/>
                  </a:cubicBezTo>
                  <a:close/>
                  <a:moveTo>
                    <a:pt x="1483" y="30"/>
                  </a:moveTo>
                  <a:cubicBezTo>
                    <a:pt x="1482" y="30"/>
                    <a:pt x="1482" y="30"/>
                    <a:pt x="1482" y="30"/>
                  </a:cubicBezTo>
                  <a:cubicBezTo>
                    <a:pt x="1482" y="30"/>
                    <a:pt x="1483" y="30"/>
                    <a:pt x="1483" y="30"/>
                  </a:cubicBezTo>
                  <a:close/>
                  <a:moveTo>
                    <a:pt x="613" y="58"/>
                  </a:moveTo>
                  <a:cubicBezTo>
                    <a:pt x="613" y="58"/>
                    <a:pt x="613" y="58"/>
                    <a:pt x="613" y="59"/>
                  </a:cubicBezTo>
                  <a:cubicBezTo>
                    <a:pt x="613" y="58"/>
                    <a:pt x="613" y="58"/>
                    <a:pt x="613" y="58"/>
                  </a:cubicBezTo>
                  <a:close/>
                  <a:moveTo>
                    <a:pt x="1263" y="49"/>
                  </a:moveTo>
                  <a:cubicBezTo>
                    <a:pt x="1263" y="49"/>
                    <a:pt x="1263" y="50"/>
                    <a:pt x="1264" y="50"/>
                  </a:cubicBezTo>
                  <a:cubicBezTo>
                    <a:pt x="1264" y="50"/>
                    <a:pt x="1264" y="49"/>
                    <a:pt x="1263" y="49"/>
                  </a:cubicBezTo>
                  <a:close/>
                  <a:moveTo>
                    <a:pt x="1264" y="51"/>
                  </a:moveTo>
                  <a:cubicBezTo>
                    <a:pt x="1264" y="51"/>
                    <a:pt x="1264" y="52"/>
                    <a:pt x="1264" y="52"/>
                  </a:cubicBezTo>
                  <a:cubicBezTo>
                    <a:pt x="1264" y="52"/>
                    <a:pt x="1264" y="51"/>
                    <a:pt x="1264" y="51"/>
                  </a:cubicBezTo>
                  <a:close/>
                  <a:moveTo>
                    <a:pt x="691" y="44"/>
                  </a:moveTo>
                  <a:cubicBezTo>
                    <a:pt x="691" y="43"/>
                    <a:pt x="690" y="43"/>
                    <a:pt x="690" y="43"/>
                  </a:cubicBezTo>
                  <a:cubicBezTo>
                    <a:pt x="690" y="44"/>
                    <a:pt x="691" y="44"/>
                    <a:pt x="691" y="44"/>
                  </a:cubicBezTo>
                  <a:close/>
                  <a:moveTo>
                    <a:pt x="1412" y="31"/>
                  </a:moveTo>
                  <a:cubicBezTo>
                    <a:pt x="1413" y="31"/>
                    <a:pt x="1413" y="31"/>
                    <a:pt x="1413" y="30"/>
                  </a:cubicBezTo>
                  <a:cubicBezTo>
                    <a:pt x="1412" y="30"/>
                    <a:pt x="1412" y="31"/>
                    <a:pt x="1412" y="31"/>
                  </a:cubicBezTo>
                  <a:close/>
                  <a:moveTo>
                    <a:pt x="644" y="64"/>
                  </a:moveTo>
                  <a:cubicBezTo>
                    <a:pt x="644" y="65"/>
                    <a:pt x="644" y="65"/>
                    <a:pt x="644" y="65"/>
                  </a:cubicBezTo>
                  <a:cubicBezTo>
                    <a:pt x="644" y="65"/>
                    <a:pt x="644" y="65"/>
                    <a:pt x="644" y="64"/>
                  </a:cubicBezTo>
                  <a:close/>
                  <a:moveTo>
                    <a:pt x="553" y="8"/>
                  </a:moveTo>
                  <a:cubicBezTo>
                    <a:pt x="554" y="8"/>
                    <a:pt x="554" y="8"/>
                    <a:pt x="555" y="8"/>
                  </a:cubicBezTo>
                  <a:cubicBezTo>
                    <a:pt x="554" y="8"/>
                    <a:pt x="554" y="7"/>
                    <a:pt x="553" y="8"/>
                  </a:cubicBezTo>
                  <a:close/>
                  <a:moveTo>
                    <a:pt x="1569" y="42"/>
                  </a:moveTo>
                  <a:cubicBezTo>
                    <a:pt x="1569" y="41"/>
                    <a:pt x="1569" y="41"/>
                    <a:pt x="1569" y="41"/>
                  </a:cubicBezTo>
                  <a:cubicBezTo>
                    <a:pt x="1569" y="41"/>
                    <a:pt x="1569" y="41"/>
                    <a:pt x="1569" y="42"/>
                  </a:cubicBezTo>
                  <a:close/>
                  <a:moveTo>
                    <a:pt x="984" y="8"/>
                  </a:moveTo>
                  <a:cubicBezTo>
                    <a:pt x="984" y="8"/>
                    <a:pt x="985" y="8"/>
                    <a:pt x="985" y="8"/>
                  </a:cubicBezTo>
                  <a:cubicBezTo>
                    <a:pt x="984" y="8"/>
                    <a:pt x="984" y="7"/>
                    <a:pt x="984" y="8"/>
                  </a:cubicBezTo>
                  <a:close/>
                  <a:moveTo>
                    <a:pt x="1015" y="8"/>
                  </a:moveTo>
                  <a:cubicBezTo>
                    <a:pt x="1015" y="8"/>
                    <a:pt x="1016" y="8"/>
                    <a:pt x="1016" y="8"/>
                  </a:cubicBezTo>
                  <a:cubicBezTo>
                    <a:pt x="1016" y="7"/>
                    <a:pt x="1015" y="8"/>
                    <a:pt x="1015" y="8"/>
                  </a:cubicBezTo>
                  <a:close/>
                  <a:moveTo>
                    <a:pt x="1183" y="15"/>
                  </a:moveTo>
                  <a:cubicBezTo>
                    <a:pt x="1184" y="15"/>
                    <a:pt x="1184" y="15"/>
                    <a:pt x="1185" y="15"/>
                  </a:cubicBezTo>
                  <a:cubicBezTo>
                    <a:pt x="1184" y="15"/>
                    <a:pt x="1184" y="14"/>
                    <a:pt x="1183" y="15"/>
                  </a:cubicBezTo>
                  <a:close/>
                  <a:moveTo>
                    <a:pt x="1481" y="19"/>
                  </a:moveTo>
                  <a:cubicBezTo>
                    <a:pt x="1482" y="19"/>
                    <a:pt x="1482" y="19"/>
                    <a:pt x="1482" y="19"/>
                  </a:cubicBezTo>
                  <a:cubicBezTo>
                    <a:pt x="1482" y="19"/>
                    <a:pt x="1482" y="19"/>
                    <a:pt x="1481" y="19"/>
                  </a:cubicBezTo>
                  <a:close/>
                  <a:moveTo>
                    <a:pt x="1430" y="8"/>
                  </a:moveTo>
                  <a:cubicBezTo>
                    <a:pt x="1430" y="8"/>
                    <a:pt x="1430" y="8"/>
                    <a:pt x="1431" y="8"/>
                  </a:cubicBezTo>
                  <a:cubicBezTo>
                    <a:pt x="1430" y="8"/>
                    <a:pt x="1430" y="7"/>
                    <a:pt x="1430" y="8"/>
                  </a:cubicBezTo>
                  <a:close/>
                  <a:moveTo>
                    <a:pt x="1452" y="8"/>
                  </a:moveTo>
                  <a:cubicBezTo>
                    <a:pt x="1452" y="8"/>
                    <a:pt x="1452" y="8"/>
                    <a:pt x="1453" y="8"/>
                  </a:cubicBezTo>
                  <a:cubicBezTo>
                    <a:pt x="1452" y="7"/>
                    <a:pt x="1452" y="8"/>
                    <a:pt x="1452" y="8"/>
                  </a:cubicBezTo>
                  <a:close/>
                  <a:moveTo>
                    <a:pt x="1580" y="44"/>
                  </a:moveTo>
                  <a:cubicBezTo>
                    <a:pt x="1579" y="44"/>
                    <a:pt x="1579" y="44"/>
                    <a:pt x="1579" y="45"/>
                  </a:cubicBezTo>
                  <a:cubicBezTo>
                    <a:pt x="1580" y="45"/>
                    <a:pt x="1580" y="44"/>
                    <a:pt x="1580" y="44"/>
                  </a:cubicBezTo>
                  <a:close/>
                  <a:moveTo>
                    <a:pt x="1570" y="39"/>
                  </a:moveTo>
                  <a:cubicBezTo>
                    <a:pt x="1570" y="39"/>
                    <a:pt x="1570" y="39"/>
                    <a:pt x="1570" y="38"/>
                  </a:cubicBezTo>
                  <a:cubicBezTo>
                    <a:pt x="1569" y="38"/>
                    <a:pt x="1570" y="39"/>
                    <a:pt x="1570" y="39"/>
                  </a:cubicBezTo>
                  <a:close/>
                  <a:moveTo>
                    <a:pt x="1738" y="39"/>
                  </a:moveTo>
                  <a:cubicBezTo>
                    <a:pt x="1738" y="39"/>
                    <a:pt x="1738" y="39"/>
                    <a:pt x="1738" y="38"/>
                  </a:cubicBezTo>
                  <a:cubicBezTo>
                    <a:pt x="1738" y="38"/>
                    <a:pt x="1738" y="39"/>
                    <a:pt x="1738" y="39"/>
                  </a:cubicBezTo>
                  <a:close/>
                  <a:moveTo>
                    <a:pt x="1480" y="31"/>
                  </a:moveTo>
                  <a:cubicBezTo>
                    <a:pt x="1479" y="31"/>
                    <a:pt x="1479" y="31"/>
                    <a:pt x="1479" y="31"/>
                  </a:cubicBezTo>
                  <a:cubicBezTo>
                    <a:pt x="1479" y="31"/>
                    <a:pt x="1479" y="31"/>
                    <a:pt x="1480" y="31"/>
                  </a:cubicBezTo>
                  <a:close/>
                  <a:moveTo>
                    <a:pt x="1289" y="57"/>
                  </a:moveTo>
                  <a:cubicBezTo>
                    <a:pt x="1289" y="57"/>
                    <a:pt x="1289" y="58"/>
                    <a:pt x="1289" y="58"/>
                  </a:cubicBezTo>
                  <a:cubicBezTo>
                    <a:pt x="1289" y="58"/>
                    <a:pt x="1289" y="57"/>
                    <a:pt x="1289" y="57"/>
                  </a:cubicBezTo>
                  <a:close/>
                  <a:moveTo>
                    <a:pt x="605" y="36"/>
                  </a:moveTo>
                  <a:cubicBezTo>
                    <a:pt x="605" y="36"/>
                    <a:pt x="605" y="37"/>
                    <a:pt x="605" y="37"/>
                  </a:cubicBezTo>
                  <a:cubicBezTo>
                    <a:pt x="605" y="36"/>
                    <a:pt x="605" y="36"/>
                    <a:pt x="605" y="36"/>
                  </a:cubicBezTo>
                  <a:close/>
                  <a:moveTo>
                    <a:pt x="1412" y="33"/>
                  </a:moveTo>
                  <a:cubicBezTo>
                    <a:pt x="1412" y="32"/>
                    <a:pt x="1412" y="32"/>
                    <a:pt x="1412" y="32"/>
                  </a:cubicBezTo>
                  <a:cubicBezTo>
                    <a:pt x="1412" y="32"/>
                    <a:pt x="1412" y="32"/>
                    <a:pt x="1412" y="33"/>
                  </a:cubicBezTo>
                  <a:close/>
                  <a:moveTo>
                    <a:pt x="983" y="8"/>
                  </a:moveTo>
                  <a:cubicBezTo>
                    <a:pt x="983" y="8"/>
                    <a:pt x="983" y="8"/>
                    <a:pt x="984" y="8"/>
                  </a:cubicBezTo>
                  <a:cubicBezTo>
                    <a:pt x="983" y="8"/>
                    <a:pt x="983" y="8"/>
                    <a:pt x="983" y="8"/>
                  </a:cubicBezTo>
                  <a:close/>
                  <a:moveTo>
                    <a:pt x="1182" y="15"/>
                  </a:moveTo>
                  <a:cubicBezTo>
                    <a:pt x="1183" y="15"/>
                    <a:pt x="1183" y="15"/>
                    <a:pt x="1184" y="15"/>
                  </a:cubicBezTo>
                  <a:cubicBezTo>
                    <a:pt x="1183" y="15"/>
                    <a:pt x="1183" y="15"/>
                    <a:pt x="1182" y="15"/>
                  </a:cubicBezTo>
                  <a:close/>
                  <a:moveTo>
                    <a:pt x="652" y="44"/>
                  </a:moveTo>
                  <a:cubicBezTo>
                    <a:pt x="652" y="44"/>
                    <a:pt x="652" y="45"/>
                    <a:pt x="652" y="45"/>
                  </a:cubicBezTo>
                  <a:cubicBezTo>
                    <a:pt x="652" y="45"/>
                    <a:pt x="652" y="44"/>
                    <a:pt x="652" y="44"/>
                  </a:cubicBezTo>
                  <a:close/>
                  <a:moveTo>
                    <a:pt x="616" y="67"/>
                  </a:moveTo>
                  <a:cubicBezTo>
                    <a:pt x="616" y="67"/>
                    <a:pt x="616" y="67"/>
                    <a:pt x="616" y="68"/>
                  </a:cubicBezTo>
                  <a:cubicBezTo>
                    <a:pt x="616" y="67"/>
                    <a:pt x="616" y="67"/>
                    <a:pt x="616" y="67"/>
                  </a:cubicBezTo>
                  <a:close/>
                  <a:moveTo>
                    <a:pt x="1143" y="54"/>
                  </a:moveTo>
                  <a:cubicBezTo>
                    <a:pt x="1143" y="53"/>
                    <a:pt x="1143" y="53"/>
                    <a:pt x="1143" y="53"/>
                  </a:cubicBezTo>
                  <a:cubicBezTo>
                    <a:pt x="1143" y="53"/>
                    <a:pt x="1143" y="54"/>
                    <a:pt x="1143" y="54"/>
                  </a:cubicBezTo>
                  <a:close/>
                  <a:moveTo>
                    <a:pt x="1181" y="16"/>
                  </a:moveTo>
                  <a:cubicBezTo>
                    <a:pt x="1182" y="16"/>
                    <a:pt x="1182" y="16"/>
                    <a:pt x="1182" y="15"/>
                  </a:cubicBezTo>
                  <a:cubicBezTo>
                    <a:pt x="1182" y="15"/>
                    <a:pt x="1182" y="15"/>
                    <a:pt x="1181" y="16"/>
                  </a:cubicBezTo>
                  <a:close/>
                  <a:moveTo>
                    <a:pt x="804" y="53"/>
                  </a:moveTo>
                  <a:cubicBezTo>
                    <a:pt x="804" y="53"/>
                    <a:pt x="804" y="54"/>
                    <a:pt x="805" y="54"/>
                  </a:cubicBezTo>
                  <a:cubicBezTo>
                    <a:pt x="805" y="54"/>
                    <a:pt x="805" y="53"/>
                    <a:pt x="804" y="53"/>
                  </a:cubicBezTo>
                  <a:close/>
                  <a:moveTo>
                    <a:pt x="1567" y="8"/>
                  </a:moveTo>
                  <a:cubicBezTo>
                    <a:pt x="1567" y="8"/>
                    <a:pt x="1567" y="8"/>
                    <a:pt x="1568" y="8"/>
                  </a:cubicBezTo>
                  <a:cubicBezTo>
                    <a:pt x="1568" y="8"/>
                    <a:pt x="1567" y="8"/>
                    <a:pt x="1567" y="8"/>
                  </a:cubicBezTo>
                  <a:close/>
                  <a:moveTo>
                    <a:pt x="1669" y="57"/>
                  </a:moveTo>
                  <a:cubicBezTo>
                    <a:pt x="1668" y="57"/>
                    <a:pt x="1668" y="57"/>
                    <a:pt x="1668" y="57"/>
                  </a:cubicBezTo>
                  <a:cubicBezTo>
                    <a:pt x="1668" y="57"/>
                    <a:pt x="1669" y="57"/>
                    <a:pt x="1669" y="57"/>
                  </a:cubicBezTo>
                  <a:close/>
                  <a:moveTo>
                    <a:pt x="1735" y="8"/>
                  </a:moveTo>
                  <a:cubicBezTo>
                    <a:pt x="1735" y="8"/>
                    <a:pt x="1735" y="8"/>
                    <a:pt x="1736" y="8"/>
                  </a:cubicBezTo>
                  <a:cubicBezTo>
                    <a:pt x="1736" y="8"/>
                    <a:pt x="1735" y="8"/>
                    <a:pt x="1735" y="8"/>
                  </a:cubicBezTo>
                  <a:close/>
                  <a:moveTo>
                    <a:pt x="552" y="9"/>
                  </a:moveTo>
                  <a:cubicBezTo>
                    <a:pt x="552" y="9"/>
                    <a:pt x="552" y="9"/>
                    <a:pt x="553" y="8"/>
                  </a:cubicBezTo>
                  <a:cubicBezTo>
                    <a:pt x="552" y="8"/>
                    <a:pt x="552" y="8"/>
                    <a:pt x="552" y="9"/>
                  </a:cubicBezTo>
                  <a:close/>
                  <a:moveTo>
                    <a:pt x="830" y="53"/>
                  </a:moveTo>
                  <a:cubicBezTo>
                    <a:pt x="830" y="53"/>
                    <a:pt x="829" y="53"/>
                    <a:pt x="829" y="54"/>
                  </a:cubicBezTo>
                  <a:cubicBezTo>
                    <a:pt x="830" y="54"/>
                    <a:pt x="830" y="53"/>
                    <a:pt x="830" y="53"/>
                  </a:cubicBezTo>
                  <a:close/>
                  <a:moveTo>
                    <a:pt x="982" y="9"/>
                  </a:moveTo>
                  <a:cubicBezTo>
                    <a:pt x="982" y="9"/>
                    <a:pt x="982" y="9"/>
                    <a:pt x="983" y="8"/>
                  </a:cubicBezTo>
                  <a:cubicBezTo>
                    <a:pt x="982" y="8"/>
                    <a:pt x="982" y="8"/>
                    <a:pt x="982" y="9"/>
                  </a:cubicBezTo>
                  <a:close/>
                  <a:moveTo>
                    <a:pt x="1017" y="8"/>
                  </a:moveTo>
                  <a:cubicBezTo>
                    <a:pt x="1018" y="9"/>
                    <a:pt x="1018" y="9"/>
                    <a:pt x="1018" y="9"/>
                  </a:cubicBezTo>
                  <a:cubicBezTo>
                    <a:pt x="1018" y="8"/>
                    <a:pt x="1018" y="8"/>
                    <a:pt x="1017" y="8"/>
                  </a:cubicBezTo>
                  <a:close/>
                  <a:moveTo>
                    <a:pt x="1016" y="19"/>
                  </a:moveTo>
                  <a:cubicBezTo>
                    <a:pt x="1016" y="19"/>
                    <a:pt x="1016" y="19"/>
                    <a:pt x="1015" y="19"/>
                  </a:cubicBezTo>
                  <a:cubicBezTo>
                    <a:pt x="1016" y="19"/>
                    <a:pt x="1016" y="19"/>
                    <a:pt x="1016" y="19"/>
                  </a:cubicBezTo>
                  <a:close/>
                  <a:moveTo>
                    <a:pt x="1180" y="16"/>
                  </a:moveTo>
                  <a:cubicBezTo>
                    <a:pt x="1181" y="16"/>
                    <a:pt x="1181" y="16"/>
                    <a:pt x="1181" y="16"/>
                  </a:cubicBezTo>
                  <a:cubicBezTo>
                    <a:pt x="1181" y="16"/>
                    <a:pt x="1181" y="15"/>
                    <a:pt x="1180" y="16"/>
                  </a:cubicBezTo>
                  <a:close/>
                  <a:moveTo>
                    <a:pt x="1364" y="16"/>
                  </a:moveTo>
                  <a:cubicBezTo>
                    <a:pt x="1364" y="16"/>
                    <a:pt x="1364" y="16"/>
                    <a:pt x="1363" y="16"/>
                  </a:cubicBezTo>
                  <a:cubicBezTo>
                    <a:pt x="1364" y="16"/>
                    <a:pt x="1364" y="16"/>
                    <a:pt x="1364" y="16"/>
                  </a:cubicBezTo>
                  <a:close/>
                  <a:moveTo>
                    <a:pt x="615" y="66"/>
                  </a:moveTo>
                  <a:cubicBezTo>
                    <a:pt x="615" y="66"/>
                    <a:pt x="615" y="66"/>
                    <a:pt x="616" y="67"/>
                  </a:cubicBezTo>
                  <a:cubicBezTo>
                    <a:pt x="616" y="66"/>
                    <a:pt x="616" y="66"/>
                    <a:pt x="615" y="66"/>
                  </a:cubicBezTo>
                  <a:close/>
                  <a:moveTo>
                    <a:pt x="853" y="33"/>
                  </a:moveTo>
                  <a:cubicBezTo>
                    <a:pt x="854" y="33"/>
                    <a:pt x="854" y="33"/>
                    <a:pt x="855" y="33"/>
                  </a:cubicBezTo>
                  <a:cubicBezTo>
                    <a:pt x="854" y="33"/>
                    <a:pt x="854" y="33"/>
                    <a:pt x="853" y="33"/>
                  </a:cubicBezTo>
                  <a:close/>
                  <a:moveTo>
                    <a:pt x="1480" y="19"/>
                  </a:moveTo>
                  <a:cubicBezTo>
                    <a:pt x="1481" y="19"/>
                    <a:pt x="1481" y="19"/>
                    <a:pt x="1481" y="19"/>
                  </a:cubicBezTo>
                  <a:cubicBezTo>
                    <a:pt x="1481" y="19"/>
                    <a:pt x="1481" y="19"/>
                    <a:pt x="1480" y="19"/>
                  </a:cubicBezTo>
                  <a:close/>
                  <a:moveTo>
                    <a:pt x="1559" y="16"/>
                  </a:moveTo>
                  <a:cubicBezTo>
                    <a:pt x="1559" y="16"/>
                    <a:pt x="1558" y="16"/>
                    <a:pt x="1558" y="16"/>
                  </a:cubicBezTo>
                  <a:cubicBezTo>
                    <a:pt x="1558" y="16"/>
                    <a:pt x="1559" y="16"/>
                    <a:pt x="1559" y="16"/>
                  </a:cubicBezTo>
                  <a:close/>
                  <a:moveTo>
                    <a:pt x="1727" y="16"/>
                  </a:moveTo>
                  <a:cubicBezTo>
                    <a:pt x="1727" y="16"/>
                    <a:pt x="1727" y="16"/>
                    <a:pt x="1726" y="16"/>
                  </a:cubicBezTo>
                  <a:cubicBezTo>
                    <a:pt x="1726" y="16"/>
                    <a:pt x="1727" y="16"/>
                    <a:pt x="1727" y="16"/>
                  </a:cubicBezTo>
                  <a:close/>
                  <a:moveTo>
                    <a:pt x="605" y="37"/>
                  </a:moveTo>
                  <a:cubicBezTo>
                    <a:pt x="605" y="37"/>
                    <a:pt x="605" y="38"/>
                    <a:pt x="606" y="38"/>
                  </a:cubicBezTo>
                  <a:cubicBezTo>
                    <a:pt x="606" y="37"/>
                    <a:pt x="606" y="37"/>
                    <a:pt x="605" y="37"/>
                  </a:cubicBezTo>
                  <a:close/>
                  <a:moveTo>
                    <a:pt x="606" y="38"/>
                  </a:moveTo>
                  <a:cubicBezTo>
                    <a:pt x="606" y="38"/>
                    <a:pt x="606" y="39"/>
                    <a:pt x="606" y="39"/>
                  </a:cubicBezTo>
                  <a:cubicBezTo>
                    <a:pt x="606" y="38"/>
                    <a:pt x="606" y="38"/>
                    <a:pt x="606" y="38"/>
                  </a:cubicBezTo>
                  <a:close/>
                  <a:moveTo>
                    <a:pt x="670" y="53"/>
                  </a:moveTo>
                  <a:cubicBezTo>
                    <a:pt x="670" y="54"/>
                    <a:pt x="670" y="54"/>
                    <a:pt x="670" y="54"/>
                  </a:cubicBezTo>
                  <a:cubicBezTo>
                    <a:pt x="670" y="54"/>
                    <a:pt x="670" y="53"/>
                    <a:pt x="670" y="53"/>
                  </a:cubicBezTo>
                  <a:close/>
                  <a:moveTo>
                    <a:pt x="981" y="9"/>
                  </a:moveTo>
                  <a:cubicBezTo>
                    <a:pt x="981" y="9"/>
                    <a:pt x="981" y="9"/>
                    <a:pt x="982" y="9"/>
                  </a:cubicBezTo>
                  <a:cubicBezTo>
                    <a:pt x="981" y="9"/>
                    <a:pt x="981" y="8"/>
                    <a:pt x="981" y="9"/>
                  </a:cubicBezTo>
                  <a:close/>
                  <a:moveTo>
                    <a:pt x="674" y="34"/>
                  </a:moveTo>
                  <a:cubicBezTo>
                    <a:pt x="674" y="34"/>
                    <a:pt x="675" y="34"/>
                    <a:pt x="675" y="33"/>
                  </a:cubicBezTo>
                  <a:cubicBezTo>
                    <a:pt x="675" y="33"/>
                    <a:pt x="674" y="33"/>
                    <a:pt x="674" y="34"/>
                  </a:cubicBezTo>
                  <a:close/>
                  <a:moveTo>
                    <a:pt x="1363" y="16"/>
                  </a:moveTo>
                  <a:cubicBezTo>
                    <a:pt x="1363" y="16"/>
                    <a:pt x="1362" y="16"/>
                    <a:pt x="1362" y="16"/>
                  </a:cubicBezTo>
                  <a:cubicBezTo>
                    <a:pt x="1362" y="16"/>
                    <a:pt x="1363" y="16"/>
                    <a:pt x="1363" y="16"/>
                  </a:cubicBezTo>
                  <a:close/>
                  <a:moveTo>
                    <a:pt x="1376" y="16"/>
                  </a:moveTo>
                  <a:cubicBezTo>
                    <a:pt x="1376" y="16"/>
                    <a:pt x="1375" y="16"/>
                    <a:pt x="1375" y="16"/>
                  </a:cubicBezTo>
                  <a:cubicBezTo>
                    <a:pt x="1375" y="16"/>
                    <a:pt x="1376" y="16"/>
                    <a:pt x="1376" y="16"/>
                  </a:cubicBezTo>
                  <a:close/>
                  <a:moveTo>
                    <a:pt x="690" y="33"/>
                  </a:moveTo>
                  <a:cubicBezTo>
                    <a:pt x="690" y="34"/>
                    <a:pt x="691" y="34"/>
                    <a:pt x="691" y="34"/>
                  </a:cubicBezTo>
                  <a:cubicBezTo>
                    <a:pt x="691" y="33"/>
                    <a:pt x="690" y="33"/>
                    <a:pt x="690" y="33"/>
                  </a:cubicBezTo>
                  <a:close/>
                  <a:moveTo>
                    <a:pt x="1301" y="43"/>
                  </a:moveTo>
                  <a:cubicBezTo>
                    <a:pt x="1301" y="43"/>
                    <a:pt x="1301" y="43"/>
                    <a:pt x="1300" y="44"/>
                  </a:cubicBezTo>
                  <a:cubicBezTo>
                    <a:pt x="1301" y="44"/>
                    <a:pt x="1301" y="44"/>
                    <a:pt x="1301" y="43"/>
                  </a:cubicBezTo>
                  <a:close/>
                  <a:moveTo>
                    <a:pt x="770" y="34"/>
                  </a:moveTo>
                  <a:cubicBezTo>
                    <a:pt x="770" y="34"/>
                    <a:pt x="771" y="34"/>
                    <a:pt x="771" y="33"/>
                  </a:cubicBezTo>
                  <a:cubicBezTo>
                    <a:pt x="771" y="33"/>
                    <a:pt x="770" y="33"/>
                    <a:pt x="770" y="34"/>
                  </a:cubicBezTo>
                  <a:close/>
                  <a:moveTo>
                    <a:pt x="785" y="33"/>
                  </a:moveTo>
                  <a:cubicBezTo>
                    <a:pt x="786" y="34"/>
                    <a:pt x="786" y="34"/>
                    <a:pt x="787" y="34"/>
                  </a:cubicBezTo>
                  <a:cubicBezTo>
                    <a:pt x="786" y="33"/>
                    <a:pt x="786" y="33"/>
                    <a:pt x="785" y="33"/>
                  </a:cubicBezTo>
                  <a:close/>
                  <a:moveTo>
                    <a:pt x="1548" y="16"/>
                  </a:moveTo>
                  <a:cubicBezTo>
                    <a:pt x="1547" y="16"/>
                    <a:pt x="1547" y="16"/>
                    <a:pt x="1546" y="16"/>
                  </a:cubicBezTo>
                  <a:cubicBezTo>
                    <a:pt x="1547" y="16"/>
                    <a:pt x="1547" y="16"/>
                    <a:pt x="1548" y="16"/>
                  </a:cubicBezTo>
                  <a:close/>
                  <a:moveTo>
                    <a:pt x="1666" y="9"/>
                  </a:moveTo>
                  <a:cubicBezTo>
                    <a:pt x="1667" y="9"/>
                    <a:pt x="1667" y="9"/>
                    <a:pt x="1667" y="9"/>
                  </a:cubicBezTo>
                  <a:cubicBezTo>
                    <a:pt x="1667" y="9"/>
                    <a:pt x="1667" y="9"/>
                    <a:pt x="1666" y="9"/>
                  </a:cubicBezTo>
                  <a:close/>
                  <a:moveTo>
                    <a:pt x="1581" y="23"/>
                  </a:moveTo>
                  <a:cubicBezTo>
                    <a:pt x="1581" y="24"/>
                    <a:pt x="1581" y="24"/>
                    <a:pt x="1581" y="24"/>
                  </a:cubicBezTo>
                  <a:cubicBezTo>
                    <a:pt x="1581" y="24"/>
                    <a:pt x="1581" y="23"/>
                    <a:pt x="1581" y="23"/>
                  </a:cubicBezTo>
                  <a:close/>
                  <a:moveTo>
                    <a:pt x="1716" y="16"/>
                  </a:moveTo>
                  <a:cubicBezTo>
                    <a:pt x="1715" y="16"/>
                    <a:pt x="1715" y="16"/>
                    <a:pt x="1715" y="16"/>
                  </a:cubicBezTo>
                  <a:cubicBezTo>
                    <a:pt x="1715" y="16"/>
                    <a:pt x="1715" y="16"/>
                    <a:pt x="1716" y="16"/>
                  </a:cubicBezTo>
                  <a:close/>
                  <a:moveTo>
                    <a:pt x="841" y="34"/>
                  </a:moveTo>
                  <a:cubicBezTo>
                    <a:pt x="842" y="34"/>
                    <a:pt x="842" y="34"/>
                    <a:pt x="842" y="33"/>
                  </a:cubicBezTo>
                  <a:cubicBezTo>
                    <a:pt x="842" y="33"/>
                    <a:pt x="842" y="33"/>
                    <a:pt x="841" y="34"/>
                  </a:cubicBezTo>
                  <a:close/>
                  <a:moveTo>
                    <a:pt x="1395" y="43"/>
                  </a:moveTo>
                  <a:cubicBezTo>
                    <a:pt x="1395" y="44"/>
                    <a:pt x="1395" y="44"/>
                    <a:pt x="1395" y="44"/>
                  </a:cubicBezTo>
                  <a:cubicBezTo>
                    <a:pt x="1396" y="44"/>
                    <a:pt x="1395" y="44"/>
                    <a:pt x="1395" y="43"/>
                  </a:cubicBezTo>
                  <a:close/>
                  <a:moveTo>
                    <a:pt x="615" y="65"/>
                  </a:moveTo>
                  <a:cubicBezTo>
                    <a:pt x="615" y="65"/>
                    <a:pt x="615" y="65"/>
                    <a:pt x="615" y="66"/>
                  </a:cubicBezTo>
                  <a:cubicBezTo>
                    <a:pt x="615" y="65"/>
                    <a:pt x="615" y="65"/>
                    <a:pt x="615" y="65"/>
                  </a:cubicBezTo>
                  <a:close/>
                  <a:moveTo>
                    <a:pt x="718" y="17"/>
                  </a:moveTo>
                  <a:cubicBezTo>
                    <a:pt x="719" y="17"/>
                    <a:pt x="719" y="17"/>
                    <a:pt x="719" y="16"/>
                  </a:cubicBezTo>
                  <a:cubicBezTo>
                    <a:pt x="719" y="16"/>
                    <a:pt x="718" y="16"/>
                    <a:pt x="718" y="17"/>
                  </a:cubicBezTo>
                  <a:close/>
                  <a:moveTo>
                    <a:pt x="1749" y="23"/>
                  </a:moveTo>
                  <a:cubicBezTo>
                    <a:pt x="1749" y="24"/>
                    <a:pt x="1749" y="24"/>
                    <a:pt x="1749" y="24"/>
                  </a:cubicBezTo>
                  <a:cubicBezTo>
                    <a:pt x="1749" y="24"/>
                    <a:pt x="1749" y="23"/>
                    <a:pt x="1749" y="23"/>
                  </a:cubicBezTo>
                  <a:close/>
                  <a:moveTo>
                    <a:pt x="1479" y="20"/>
                  </a:moveTo>
                  <a:cubicBezTo>
                    <a:pt x="1480" y="20"/>
                    <a:pt x="1480" y="20"/>
                    <a:pt x="1480" y="19"/>
                  </a:cubicBezTo>
                  <a:cubicBezTo>
                    <a:pt x="1480" y="19"/>
                    <a:pt x="1480" y="19"/>
                    <a:pt x="1479" y="20"/>
                  </a:cubicBezTo>
                  <a:close/>
                  <a:moveTo>
                    <a:pt x="1580" y="42"/>
                  </a:moveTo>
                  <a:cubicBezTo>
                    <a:pt x="1580" y="42"/>
                    <a:pt x="1580" y="42"/>
                    <a:pt x="1580" y="43"/>
                  </a:cubicBezTo>
                  <a:cubicBezTo>
                    <a:pt x="1580" y="42"/>
                    <a:pt x="1580" y="42"/>
                    <a:pt x="1580" y="42"/>
                  </a:cubicBezTo>
                  <a:close/>
                  <a:moveTo>
                    <a:pt x="1362" y="16"/>
                  </a:moveTo>
                  <a:cubicBezTo>
                    <a:pt x="1362" y="16"/>
                    <a:pt x="1361" y="16"/>
                    <a:pt x="1361" y="17"/>
                  </a:cubicBezTo>
                  <a:cubicBezTo>
                    <a:pt x="1361" y="17"/>
                    <a:pt x="1362" y="17"/>
                    <a:pt x="1362" y="16"/>
                  </a:cubicBezTo>
                  <a:close/>
                  <a:moveTo>
                    <a:pt x="1377" y="17"/>
                  </a:moveTo>
                  <a:cubicBezTo>
                    <a:pt x="1377" y="16"/>
                    <a:pt x="1376" y="16"/>
                    <a:pt x="1376" y="16"/>
                  </a:cubicBezTo>
                  <a:cubicBezTo>
                    <a:pt x="1376" y="17"/>
                    <a:pt x="1377" y="17"/>
                    <a:pt x="1377" y="17"/>
                  </a:cubicBezTo>
                  <a:close/>
                  <a:moveTo>
                    <a:pt x="883" y="34"/>
                  </a:moveTo>
                  <a:cubicBezTo>
                    <a:pt x="883" y="34"/>
                    <a:pt x="883" y="34"/>
                    <a:pt x="884" y="33"/>
                  </a:cubicBezTo>
                  <a:cubicBezTo>
                    <a:pt x="883" y="33"/>
                    <a:pt x="883" y="33"/>
                    <a:pt x="883" y="34"/>
                  </a:cubicBezTo>
                  <a:close/>
                  <a:moveTo>
                    <a:pt x="897" y="33"/>
                  </a:moveTo>
                  <a:cubicBezTo>
                    <a:pt x="898" y="34"/>
                    <a:pt x="898" y="34"/>
                    <a:pt x="898" y="34"/>
                  </a:cubicBezTo>
                  <a:cubicBezTo>
                    <a:pt x="898" y="33"/>
                    <a:pt x="898" y="33"/>
                    <a:pt x="897" y="33"/>
                  </a:cubicBezTo>
                  <a:close/>
                  <a:moveTo>
                    <a:pt x="1068" y="33"/>
                  </a:moveTo>
                  <a:cubicBezTo>
                    <a:pt x="1068" y="34"/>
                    <a:pt x="1068" y="34"/>
                    <a:pt x="1069" y="34"/>
                  </a:cubicBezTo>
                  <a:cubicBezTo>
                    <a:pt x="1068" y="33"/>
                    <a:pt x="1068" y="33"/>
                    <a:pt x="1068" y="33"/>
                  </a:cubicBezTo>
                  <a:close/>
                  <a:moveTo>
                    <a:pt x="1397" y="24"/>
                  </a:moveTo>
                  <a:cubicBezTo>
                    <a:pt x="1397" y="24"/>
                    <a:pt x="1397" y="24"/>
                    <a:pt x="1397" y="25"/>
                  </a:cubicBezTo>
                  <a:cubicBezTo>
                    <a:pt x="1397" y="24"/>
                    <a:pt x="1397" y="24"/>
                    <a:pt x="1397" y="24"/>
                  </a:cubicBezTo>
                  <a:close/>
                  <a:moveTo>
                    <a:pt x="1124" y="34"/>
                  </a:moveTo>
                  <a:cubicBezTo>
                    <a:pt x="1125" y="34"/>
                    <a:pt x="1125" y="34"/>
                    <a:pt x="1126" y="33"/>
                  </a:cubicBezTo>
                  <a:cubicBezTo>
                    <a:pt x="1125" y="33"/>
                    <a:pt x="1125" y="33"/>
                    <a:pt x="1124" y="34"/>
                  </a:cubicBezTo>
                  <a:close/>
                  <a:moveTo>
                    <a:pt x="1139" y="33"/>
                  </a:moveTo>
                  <a:cubicBezTo>
                    <a:pt x="1139" y="34"/>
                    <a:pt x="1140" y="34"/>
                    <a:pt x="1140" y="34"/>
                  </a:cubicBezTo>
                  <a:cubicBezTo>
                    <a:pt x="1140" y="33"/>
                    <a:pt x="1140" y="33"/>
                    <a:pt x="1139" y="33"/>
                  </a:cubicBezTo>
                  <a:close/>
                  <a:moveTo>
                    <a:pt x="1683" y="24"/>
                  </a:moveTo>
                  <a:cubicBezTo>
                    <a:pt x="1683" y="24"/>
                    <a:pt x="1683" y="24"/>
                    <a:pt x="1683" y="25"/>
                  </a:cubicBezTo>
                  <a:cubicBezTo>
                    <a:pt x="1683" y="24"/>
                    <a:pt x="1683" y="24"/>
                    <a:pt x="1683" y="24"/>
                  </a:cubicBezTo>
                  <a:close/>
                  <a:moveTo>
                    <a:pt x="1230" y="34"/>
                  </a:moveTo>
                  <a:cubicBezTo>
                    <a:pt x="1230" y="34"/>
                    <a:pt x="1231" y="34"/>
                    <a:pt x="1231" y="33"/>
                  </a:cubicBezTo>
                  <a:cubicBezTo>
                    <a:pt x="1231" y="33"/>
                    <a:pt x="1230" y="33"/>
                    <a:pt x="1230" y="34"/>
                  </a:cubicBezTo>
                  <a:close/>
                  <a:moveTo>
                    <a:pt x="537" y="25"/>
                  </a:moveTo>
                  <a:cubicBezTo>
                    <a:pt x="538" y="25"/>
                    <a:pt x="538" y="24"/>
                    <a:pt x="538" y="24"/>
                  </a:cubicBezTo>
                  <a:cubicBezTo>
                    <a:pt x="537" y="24"/>
                    <a:pt x="537" y="25"/>
                    <a:pt x="537" y="25"/>
                  </a:cubicBezTo>
                  <a:close/>
                  <a:moveTo>
                    <a:pt x="560" y="17"/>
                  </a:moveTo>
                  <a:cubicBezTo>
                    <a:pt x="560" y="17"/>
                    <a:pt x="559" y="17"/>
                    <a:pt x="559" y="17"/>
                  </a:cubicBezTo>
                  <a:cubicBezTo>
                    <a:pt x="559" y="17"/>
                    <a:pt x="560" y="17"/>
                    <a:pt x="560" y="17"/>
                  </a:cubicBezTo>
                  <a:close/>
                  <a:moveTo>
                    <a:pt x="717" y="17"/>
                  </a:moveTo>
                  <a:cubicBezTo>
                    <a:pt x="717" y="17"/>
                    <a:pt x="718" y="17"/>
                    <a:pt x="718" y="17"/>
                  </a:cubicBezTo>
                  <a:cubicBezTo>
                    <a:pt x="718" y="17"/>
                    <a:pt x="717" y="16"/>
                    <a:pt x="717" y="17"/>
                  </a:cubicBezTo>
                  <a:close/>
                  <a:moveTo>
                    <a:pt x="610" y="50"/>
                  </a:moveTo>
                  <a:cubicBezTo>
                    <a:pt x="610" y="50"/>
                    <a:pt x="610" y="50"/>
                    <a:pt x="610" y="51"/>
                  </a:cubicBezTo>
                  <a:cubicBezTo>
                    <a:pt x="610" y="50"/>
                    <a:pt x="610" y="50"/>
                    <a:pt x="610" y="50"/>
                  </a:cubicBezTo>
                  <a:close/>
                  <a:moveTo>
                    <a:pt x="1478" y="20"/>
                  </a:moveTo>
                  <a:cubicBezTo>
                    <a:pt x="1479" y="20"/>
                    <a:pt x="1479" y="20"/>
                    <a:pt x="1479" y="20"/>
                  </a:cubicBezTo>
                  <a:cubicBezTo>
                    <a:pt x="1479" y="20"/>
                    <a:pt x="1479" y="20"/>
                    <a:pt x="1478" y="20"/>
                  </a:cubicBezTo>
                  <a:close/>
                  <a:moveTo>
                    <a:pt x="1748" y="42"/>
                  </a:moveTo>
                  <a:cubicBezTo>
                    <a:pt x="1748" y="42"/>
                    <a:pt x="1748" y="42"/>
                    <a:pt x="1748" y="43"/>
                  </a:cubicBezTo>
                  <a:cubicBezTo>
                    <a:pt x="1749" y="42"/>
                    <a:pt x="1748" y="42"/>
                    <a:pt x="1748" y="42"/>
                  </a:cubicBezTo>
                  <a:close/>
                  <a:moveTo>
                    <a:pt x="601" y="57"/>
                  </a:moveTo>
                  <a:cubicBezTo>
                    <a:pt x="601" y="56"/>
                    <a:pt x="601" y="56"/>
                    <a:pt x="600" y="56"/>
                  </a:cubicBezTo>
                  <a:cubicBezTo>
                    <a:pt x="600" y="56"/>
                    <a:pt x="600" y="56"/>
                    <a:pt x="601" y="57"/>
                  </a:cubicBezTo>
                  <a:close/>
                  <a:moveTo>
                    <a:pt x="1245" y="33"/>
                  </a:moveTo>
                  <a:cubicBezTo>
                    <a:pt x="1246" y="34"/>
                    <a:pt x="1246" y="34"/>
                    <a:pt x="1246" y="34"/>
                  </a:cubicBezTo>
                  <a:cubicBezTo>
                    <a:pt x="1246" y="33"/>
                    <a:pt x="1246" y="33"/>
                    <a:pt x="1245" y="33"/>
                  </a:cubicBezTo>
                  <a:close/>
                  <a:moveTo>
                    <a:pt x="608" y="44"/>
                  </a:moveTo>
                  <a:cubicBezTo>
                    <a:pt x="608" y="44"/>
                    <a:pt x="608" y="45"/>
                    <a:pt x="608" y="45"/>
                  </a:cubicBezTo>
                  <a:cubicBezTo>
                    <a:pt x="608" y="44"/>
                    <a:pt x="608" y="44"/>
                    <a:pt x="608" y="44"/>
                  </a:cubicBezTo>
                  <a:close/>
                  <a:moveTo>
                    <a:pt x="641" y="43"/>
                  </a:moveTo>
                  <a:cubicBezTo>
                    <a:pt x="641" y="43"/>
                    <a:pt x="642" y="42"/>
                    <a:pt x="642" y="42"/>
                  </a:cubicBezTo>
                  <a:cubicBezTo>
                    <a:pt x="641" y="42"/>
                    <a:pt x="641" y="43"/>
                    <a:pt x="641" y="43"/>
                  </a:cubicBezTo>
                  <a:close/>
                  <a:moveTo>
                    <a:pt x="1466" y="24"/>
                  </a:moveTo>
                  <a:cubicBezTo>
                    <a:pt x="1466" y="24"/>
                    <a:pt x="1466" y="25"/>
                    <a:pt x="1467" y="25"/>
                  </a:cubicBezTo>
                  <a:cubicBezTo>
                    <a:pt x="1467" y="25"/>
                    <a:pt x="1467" y="24"/>
                    <a:pt x="1466" y="24"/>
                  </a:cubicBezTo>
                  <a:close/>
                  <a:moveTo>
                    <a:pt x="1301" y="34"/>
                  </a:moveTo>
                  <a:cubicBezTo>
                    <a:pt x="1302" y="34"/>
                    <a:pt x="1302" y="34"/>
                    <a:pt x="1302" y="33"/>
                  </a:cubicBezTo>
                  <a:cubicBezTo>
                    <a:pt x="1302" y="33"/>
                    <a:pt x="1301" y="33"/>
                    <a:pt x="1301" y="34"/>
                  </a:cubicBezTo>
                  <a:close/>
                  <a:moveTo>
                    <a:pt x="1310" y="33"/>
                  </a:moveTo>
                  <a:cubicBezTo>
                    <a:pt x="1310" y="34"/>
                    <a:pt x="1311" y="34"/>
                    <a:pt x="1311" y="34"/>
                  </a:cubicBezTo>
                  <a:cubicBezTo>
                    <a:pt x="1311" y="33"/>
                    <a:pt x="1310" y="33"/>
                    <a:pt x="1310" y="33"/>
                  </a:cubicBezTo>
                  <a:close/>
                  <a:moveTo>
                    <a:pt x="672" y="34"/>
                  </a:moveTo>
                  <a:cubicBezTo>
                    <a:pt x="673" y="34"/>
                    <a:pt x="673" y="34"/>
                    <a:pt x="674" y="34"/>
                  </a:cubicBezTo>
                  <a:cubicBezTo>
                    <a:pt x="673" y="34"/>
                    <a:pt x="673" y="34"/>
                    <a:pt x="672" y="34"/>
                  </a:cubicBezTo>
                  <a:close/>
                  <a:moveTo>
                    <a:pt x="691" y="34"/>
                  </a:moveTo>
                  <a:cubicBezTo>
                    <a:pt x="691" y="34"/>
                    <a:pt x="692" y="34"/>
                    <a:pt x="692" y="34"/>
                  </a:cubicBezTo>
                  <a:cubicBezTo>
                    <a:pt x="692" y="34"/>
                    <a:pt x="692" y="34"/>
                    <a:pt x="691" y="34"/>
                  </a:cubicBezTo>
                  <a:close/>
                  <a:moveTo>
                    <a:pt x="640" y="47"/>
                  </a:moveTo>
                  <a:cubicBezTo>
                    <a:pt x="640" y="47"/>
                    <a:pt x="640" y="46"/>
                    <a:pt x="640" y="46"/>
                  </a:cubicBezTo>
                  <a:cubicBezTo>
                    <a:pt x="640" y="46"/>
                    <a:pt x="640" y="46"/>
                    <a:pt x="640" y="47"/>
                  </a:cubicBezTo>
                  <a:close/>
                  <a:moveTo>
                    <a:pt x="632" y="67"/>
                  </a:moveTo>
                  <a:cubicBezTo>
                    <a:pt x="633" y="66"/>
                    <a:pt x="633" y="66"/>
                    <a:pt x="633" y="66"/>
                  </a:cubicBezTo>
                  <a:cubicBezTo>
                    <a:pt x="632" y="66"/>
                    <a:pt x="632" y="66"/>
                    <a:pt x="632" y="67"/>
                  </a:cubicBezTo>
                  <a:close/>
                  <a:moveTo>
                    <a:pt x="840" y="34"/>
                  </a:moveTo>
                  <a:cubicBezTo>
                    <a:pt x="841" y="34"/>
                    <a:pt x="841" y="34"/>
                    <a:pt x="841" y="34"/>
                  </a:cubicBezTo>
                  <a:cubicBezTo>
                    <a:pt x="841" y="34"/>
                    <a:pt x="841" y="34"/>
                    <a:pt x="840" y="34"/>
                  </a:cubicBezTo>
                  <a:close/>
                  <a:moveTo>
                    <a:pt x="1264" y="52"/>
                  </a:moveTo>
                  <a:cubicBezTo>
                    <a:pt x="1264" y="53"/>
                    <a:pt x="1264" y="53"/>
                    <a:pt x="1265" y="54"/>
                  </a:cubicBezTo>
                  <a:cubicBezTo>
                    <a:pt x="1265" y="53"/>
                    <a:pt x="1265" y="53"/>
                    <a:pt x="1264" y="52"/>
                  </a:cubicBezTo>
                  <a:close/>
                  <a:moveTo>
                    <a:pt x="632" y="68"/>
                  </a:moveTo>
                  <a:cubicBezTo>
                    <a:pt x="632" y="67"/>
                    <a:pt x="632" y="67"/>
                    <a:pt x="632" y="67"/>
                  </a:cubicBezTo>
                  <a:cubicBezTo>
                    <a:pt x="632" y="67"/>
                    <a:pt x="632" y="67"/>
                    <a:pt x="632" y="68"/>
                  </a:cubicBezTo>
                  <a:close/>
                  <a:moveTo>
                    <a:pt x="559" y="17"/>
                  </a:moveTo>
                  <a:cubicBezTo>
                    <a:pt x="559" y="17"/>
                    <a:pt x="558" y="17"/>
                    <a:pt x="558" y="17"/>
                  </a:cubicBezTo>
                  <a:cubicBezTo>
                    <a:pt x="558" y="17"/>
                    <a:pt x="559" y="17"/>
                    <a:pt x="559" y="17"/>
                  </a:cubicBezTo>
                  <a:close/>
                  <a:moveTo>
                    <a:pt x="576" y="17"/>
                  </a:moveTo>
                  <a:cubicBezTo>
                    <a:pt x="576" y="17"/>
                    <a:pt x="576" y="17"/>
                    <a:pt x="575" y="17"/>
                  </a:cubicBezTo>
                  <a:cubicBezTo>
                    <a:pt x="576" y="17"/>
                    <a:pt x="576" y="17"/>
                    <a:pt x="576" y="17"/>
                  </a:cubicBezTo>
                  <a:close/>
                  <a:moveTo>
                    <a:pt x="716" y="17"/>
                  </a:moveTo>
                  <a:cubicBezTo>
                    <a:pt x="716" y="17"/>
                    <a:pt x="717" y="17"/>
                    <a:pt x="717" y="17"/>
                  </a:cubicBezTo>
                  <a:cubicBezTo>
                    <a:pt x="717" y="17"/>
                    <a:pt x="716" y="17"/>
                    <a:pt x="716" y="17"/>
                  </a:cubicBezTo>
                  <a:close/>
                  <a:moveTo>
                    <a:pt x="989" y="17"/>
                  </a:moveTo>
                  <a:cubicBezTo>
                    <a:pt x="989" y="17"/>
                    <a:pt x="988" y="17"/>
                    <a:pt x="988" y="17"/>
                  </a:cubicBezTo>
                  <a:cubicBezTo>
                    <a:pt x="989" y="17"/>
                    <a:pt x="989" y="17"/>
                    <a:pt x="989" y="17"/>
                  </a:cubicBezTo>
                  <a:close/>
                  <a:moveTo>
                    <a:pt x="1010" y="17"/>
                  </a:moveTo>
                  <a:cubicBezTo>
                    <a:pt x="1010" y="17"/>
                    <a:pt x="1009" y="17"/>
                    <a:pt x="1009" y="17"/>
                  </a:cubicBezTo>
                  <a:cubicBezTo>
                    <a:pt x="1009" y="17"/>
                    <a:pt x="1010" y="17"/>
                    <a:pt x="1010" y="17"/>
                  </a:cubicBezTo>
                  <a:close/>
                  <a:moveTo>
                    <a:pt x="1477" y="21"/>
                  </a:moveTo>
                  <a:cubicBezTo>
                    <a:pt x="1478" y="20"/>
                    <a:pt x="1478" y="20"/>
                    <a:pt x="1478" y="20"/>
                  </a:cubicBezTo>
                  <a:cubicBezTo>
                    <a:pt x="1478" y="20"/>
                    <a:pt x="1477" y="20"/>
                    <a:pt x="1477" y="21"/>
                  </a:cubicBezTo>
                  <a:close/>
                  <a:moveTo>
                    <a:pt x="1030" y="58"/>
                  </a:moveTo>
                  <a:cubicBezTo>
                    <a:pt x="1031" y="57"/>
                    <a:pt x="1031" y="57"/>
                    <a:pt x="1031" y="57"/>
                  </a:cubicBezTo>
                  <a:cubicBezTo>
                    <a:pt x="1030" y="57"/>
                    <a:pt x="1030" y="57"/>
                    <a:pt x="1030" y="58"/>
                  </a:cubicBezTo>
                  <a:close/>
                  <a:moveTo>
                    <a:pt x="898" y="34"/>
                  </a:moveTo>
                  <a:cubicBezTo>
                    <a:pt x="899" y="34"/>
                    <a:pt x="899" y="34"/>
                    <a:pt x="899" y="34"/>
                  </a:cubicBezTo>
                  <a:cubicBezTo>
                    <a:pt x="899" y="34"/>
                    <a:pt x="899" y="34"/>
                    <a:pt x="898" y="34"/>
                  </a:cubicBezTo>
                  <a:close/>
                  <a:moveTo>
                    <a:pt x="911" y="47"/>
                  </a:moveTo>
                  <a:cubicBezTo>
                    <a:pt x="911" y="47"/>
                    <a:pt x="911" y="48"/>
                    <a:pt x="911" y="48"/>
                  </a:cubicBezTo>
                  <a:cubicBezTo>
                    <a:pt x="911" y="48"/>
                    <a:pt x="911" y="47"/>
                    <a:pt x="911" y="47"/>
                  </a:cubicBezTo>
                  <a:close/>
                  <a:moveTo>
                    <a:pt x="651" y="46"/>
                  </a:moveTo>
                  <a:cubicBezTo>
                    <a:pt x="651" y="46"/>
                    <a:pt x="651" y="46"/>
                    <a:pt x="651" y="47"/>
                  </a:cubicBezTo>
                  <a:cubicBezTo>
                    <a:pt x="651" y="47"/>
                    <a:pt x="651" y="46"/>
                    <a:pt x="651" y="46"/>
                  </a:cubicBezTo>
                  <a:close/>
                  <a:moveTo>
                    <a:pt x="1051" y="34"/>
                  </a:moveTo>
                  <a:cubicBezTo>
                    <a:pt x="1051" y="34"/>
                    <a:pt x="1052" y="34"/>
                    <a:pt x="1052" y="34"/>
                  </a:cubicBezTo>
                  <a:cubicBezTo>
                    <a:pt x="1052" y="34"/>
                    <a:pt x="1051" y="34"/>
                    <a:pt x="1051" y="34"/>
                  </a:cubicBezTo>
                  <a:close/>
                  <a:moveTo>
                    <a:pt x="804" y="50"/>
                  </a:moveTo>
                  <a:cubicBezTo>
                    <a:pt x="804" y="51"/>
                    <a:pt x="804" y="51"/>
                    <a:pt x="804" y="51"/>
                  </a:cubicBezTo>
                  <a:cubicBezTo>
                    <a:pt x="804" y="51"/>
                    <a:pt x="804" y="51"/>
                    <a:pt x="804" y="50"/>
                  </a:cubicBezTo>
                  <a:close/>
                  <a:moveTo>
                    <a:pt x="1683" y="25"/>
                  </a:moveTo>
                  <a:cubicBezTo>
                    <a:pt x="1683" y="25"/>
                    <a:pt x="1683" y="25"/>
                    <a:pt x="1684" y="26"/>
                  </a:cubicBezTo>
                  <a:cubicBezTo>
                    <a:pt x="1684" y="25"/>
                    <a:pt x="1684" y="25"/>
                    <a:pt x="1683" y="25"/>
                  </a:cubicBezTo>
                  <a:close/>
                  <a:moveTo>
                    <a:pt x="1069" y="34"/>
                  </a:moveTo>
                  <a:cubicBezTo>
                    <a:pt x="1069" y="34"/>
                    <a:pt x="1070" y="34"/>
                    <a:pt x="1070" y="34"/>
                  </a:cubicBezTo>
                  <a:cubicBezTo>
                    <a:pt x="1070" y="34"/>
                    <a:pt x="1069" y="34"/>
                    <a:pt x="1069" y="34"/>
                  </a:cubicBezTo>
                  <a:close/>
                  <a:moveTo>
                    <a:pt x="638" y="51"/>
                  </a:moveTo>
                  <a:cubicBezTo>
                    <a:pt x="639" y="50"/>
                    <a:pt x="639" y="50"/>
                    <a:pt x="639" y="50"/>
                  </a:cubicBezTo>
                  <a:cubicBezTo>
                    <a:pt x="638" y="50"/>
                    <a:pt x="638" y="50"/>
                    <a:pt x="638" y="51"/>
                  </a:cubicBezTo>
                  <a:close/>
                  <a:moveTo>
                    <a:pt x="1123" y="34"/>
                  </a:moveTo>
                  <a:cubicBezTo>
                    <a:pt x="1124" y="34"/>
                    <a:pt x="1124" y="34"/>
                    <a:pt x="1124" y="34"/>
                  </a:cubicBezTo>
                  <a:cubicBezTo>
                    <a:pt x="1124" y="34"/>
                    <a:pt x="1124" y="34"/>
                    <a:pt x="1123" y="34"/>
                  </a:cubicBezTo>
                  <a:close/>
                  <a:moveTo>
                    <a:pt x="1140" y="34"/>
                  </a:moveTo>
                  <a:cubicBezTo>
                    <a:pt x="1141" y="34"/>
                    <a:pt x="1141" y="34"/>
                    <a:pt x="1141" y="34"/>
                  </a:cubicBezTo>
                  <a:cubicBezTo>
                    <a:pt x="1141" y="34"/>
                    <a:pt x="1141" y="34"/>
                    <a:pt x="1140" y="34"/>
                  </a:cubicBezTo>
                  <a:close/>
                  <a:moveTo>
                    <a:pt x="1385" y="26"/>
                  </a:moveTo>
                  <a:cubicBezTo>
                    <a:pt x="1385" y="26"/>
                    <a:pt x="1385" y="25"/>
                    <a:pt x="1385" y="25"/>
                  </a:cubicBezTo>
                  <a:cubicBezTo>
                    <a:pt x="1385" y="25"/>
                    <a:pt x="1385" y="26"/>
                    <a:pt x="1385" y="26"/>
                  </a:cubicBezTo>
                  <a:close/>
                  <a:moveTo>
                    <a:pt x="1414" y="26"/>
                  </a:moveTo>
                  <a:cubicBezTo>
                    <a:pt x="1414" y="26"/>
                    <a:pt x="1414" y="25"/>
                    <a:pt x="1414" y="25"/>
                  </a:cubicBezTo>
                  <a:cubicBezTo>
                    <a:pt x="1414" y="25"/>
                    <a:pt x="1414" y="26"/>
                    <a:pt x="1414" y="26"/>
                  </a:cubicBezTo>
                  <a:close/>
                  <a:moveTo>
                    <a:pt x="952" y="43"/>
                  </a:moveTo>
                  <a:cubicBezTo>
                    <a:pt x="952" y="43"/>
                    <a:pt x="952" y="42"/>
                    <a:pt x="952" y="42"/>
                  </a:cubicBezTo>
                  <a:cubicBezTo>
                    <a:pt x="952" y="42"/>
                    <a:pt x="952" y="43"/>
                    <a:pt x="952" y="43"/>
                  </a:cubicBezTo>
                  <a:close/>
                  <a:moveTo>
                    <a:pt x="1467" y="25"/>
                  </a:moveTo>
                  <a:cubicBezTo>
                    <a:pt x="1467" y="25"/>
                    <a:pt x="1467" y="26"/>
                    <a:pt x="1467" y="26"/>
                  </a:cubicBezTo>
                  <a:cubicBezTo>
                    <a:pt x="1467" y="26"/>
                    <a:pt x="1467" y="25"/>
                    <a:pt x="1467" y="25"/>
                  </a:cubicBezTo>
                  <a:close/>
                  <a:moveTo>
                    <a:pt x="1229" y="34"/>
                  </a:moveTo>
                  <a:cubicBezTo>
                    <a:pt x="1229" y="34"/>
                    <a:pt x="1230" y="34"/>
                    <a:pt x="1230" y="34"/>
                  </a:cubicBezTo>
                  <a:cubicBezTo>
                    <a:pt x="1229" y="34"/>
                    <a:pt x="1229" y="34"/>
                    <a:pt x="1229" y="34"/>
                  </a:cubicBezTo>
                  <a:close/>
                  <a:moveTo>
                    <a:pt x="715" y="18"/>
                  </a:moveTo>
                  <a:cubicBezTo>
                    <a:pt x="715" y="18"/>
                    <a:pt x="716" y="18"/>
                    <a:pt x="716" y="17"/>
                  </a:cubicBezTo>
                  <a:cubicBezTo>
                    <a:pt x="716" y="17"/>
                    <a:pt x="715" y="17"/>
                    <a:pt x="715" y="18"/>
                  </a:cubicBezTo>
                  <a:close/>
                  <a:moveTo>
                    <a:pt x="988" y="17"/>
                  </a:moveTo>
                  <a:cubicBezTo>
                    <a:pt x="988" y="17"/>
                    <a:pt x="987" y="17"/>
                    <a:pt x="987" y="18"/>
                  </a:cubicBezTo>
                  <a:cubicBezTo>
                    <a:pt x="987" y="18"/>
                    <a:pt x="988" y="18"/>
                    <a:pt x="988" y="17"/>
                  </a:cubicBezTo>
                  <a:close/>
                  <a:moveTo>
                    <a:pt x="1011" y="18"/>
                  </a:moveTo>
                  <a:cubicBezTo>
                    <a:pt x="1011" y="17"/>
                    <a:pt x="1011" y="17"/>
                    <a:pt x="1010" y="17"/>
                  </a:cubicBezTo>
                  <a:cubicBezTo>
                    <a:pt x="1010" y="18"/>
                    <a:pt x="1011" y="18"/>
                    <a:pt x="1011" y="18"/>
                  </a:cubicBezTo>
                  <a:close/>
                  <a:moveTo>
                    <a:pt x="1247" y="34"/>
                  </a:moveTo>
                  <a:cubicBezTo>
                    <a:pt x="1247" y="34"/>
                    <a:pt x="1247" y="34"/>
                    <a:pt x="1248" y="34"/>
                  </a:cubicBezTo>
                  <a:cubicBezTo>
                    <a:pt x="1248" y="34"/>
                    <a:pt x="1247" y="34"/>
                    <a:pt x="1247" y="34"/>
                  </a:cubicBezTo>
                  <a:close/>
                  <a:moveTo>
                    <a:pt x="1209" y="56"/>
                  </a:moveTo>
                  <a:cubicBezTo>
                    <a:pt x="1209" y="56"/>
                    <a:pt x="1209" y="56"/>
                    <a:pt x="1209" y="55"/>
                  </a:cubicBezTo>
                  <a:cubicBezTo>
                    <a:pt x="1208" y="55"/>
                    <a:pt x="1209" y="56"/>
                    <a:pt x="1209" y="56"/>
                  </a:cubicBezTo>
                  <a:close/>
                  <a:moveTo>
                    <a:pt x="901" y="53"/>
                  </a:moveTo>
                  <a:cubicBezTo>
                    <a:pt x="901" y="53"/>
                    <a:pt x="901" y="53"/>
                    <a:pt x="901" y="52"/>
                  </a:cubicBezTo>
                  <a:cubicBezTo>
                    <a:pt x="901" y="53"/>
                    <a:pt x="900" y="53"/>
                    <a:pt x="901" y="53"/>
                  </a:cubicBezTo>
                  <a:close/>
                  <a:moveTo>
                    <a:pt x="549" y="34"/>
                  </a:moveTo>
                  <a:cubicBezTo>
                    <a:pt x="549" y="34"/>
                    <a:pt x="549" y="35"/>
                    <a:pt x="549" y="35"/>
                  </a:cubicBezTo>
                  <a:cubicBezTo>
                    <a:pt x="549" y="35"/>
                    <a:pt x="549" y="34"/>
                    <a:pt x="549" y="34"/>
                  </a:cubicBezTo>
                  <a:close/>
                  <a:moveTo>
                    <a:pt x="671" y="34"/>
                  </a:moveTo>
                  <a:cubicBezTo>
                    <a:pt x="672" y="34"/>
                    <a:pt x="672" y="34"/>
                    <a:pt x="673" y="34"/>
                  </a:cubicBezTo>
                  <a:cubicBezTo>
                    <a:pt x="672" y="34"/>
                    <a:pt x="672" y="34"/>
                    <a:pt x="671" y="34"/>
                  </a:cubicBezTo>
                  <a:close/>
                  <a:moveTo>
                    <a:pt x="692" y="34"/>
                  </a:moveTo>
                  <a:cubicBezTo>
                    <a:pt x="693" y="34"/>
                    <a:pt x="693" y="34"/>
                    <a:pt x="693" y="34"/>
                  </a:cubicBezTo>
                  <a:cubicBezTo>
                    <a:pt x="693" y="34"/>
                    <a:pt x="693" y="34"/>
                    <a:pt x="692" y="34"/>
                  </a:cubicBezTo>
                  <a:close/>
                  <a:moveTo>
                    <a:pt x="1581" y="40"/>
                  </a:moveTo>
                  <a:cubicBezTo>
                    <a:pt x="1580" y="41"/>
                    <a:pt x="1580" y="41"/>
                    <a:pt x="1580" y="42"/>
                  </a:cubicBezTo>
                  <a:cubicBezTo>
                    <a:pt x="1581" y="41"/>
                    <a:pt x="1581" y="41"/>
                    <a:pt x="1581" y="40"/>
                  </a:cubicBezTo>
                  <a:close/>
                  <a:moveTo>
                    <a:pt x="653" y="42"/>
                  </a:moveTo>
                  <a:cubicBezTo>
                    <a:pt x="652" y="43"/>
                    <a:pt x="652" y="43"/>
                    <a:pt x="652" y="43"/>
                  </a:cubicBezTo>
                  <a:cubicBezTo>
                    <a:pt x="653" y="43"/>
                    <a:pt x="653" y="43"/>
                    <a:pt x="653" y="42"/>
                  </a:cubicBezTo>
                  <a:close/>
                  <a:moveTo>
                    <a:pt x="678" y="42"/>
                  </a:moveTo>
                  <a:cubicBezTo>
                    <a:pt x="677" y="42"/>
                    <a:pt x="677" y="42"/>
                    <a:pt x="677" y="43"/>
                  </a:cubicBezTo>
                  <a:cubicBezTo>
                    <a:pt x="677" y="43"/>
                    <a:pt x="677" y="43"/>
                    <a:pt x="678" y="42"/>
                  </a:cubicBezTo>
                  <a:close/>
                  <a:moveTo>
                    <a:pt x="604" y="65"/>
                  </a:moveTo>
                  <a:cubicBezTo>
                    <a:pt x="604" y="64"/>
                    <a:pt x="604" y="64"/>
                    <a:pt x="604" y="64"/>
                  </a:cubicBezTo>
                  <a:cubicBezTo>
                    <a:pt x="604" y="64"/>
                    <a:pt x="603" y="64"/>
                    <a:pt x="604" y="65"/>
                  </a:cubicBezTo>
                  <a:close/>
                  <a:moveTo>
                    <a:pt x="610" y="51"/>
                  </a:moveTo>
                  <a:cubicBezTo>
                    <a:pt x="610" y="51"/>
                    <a:pt x="610" y="51"/>
                    <a:pt x="611" y="52"/>
                  </a:cubicBezTo>
                  <a:cubicBezTo>
                    <a:pt x="611" y="51"/>
                    <a:pt x="611" y="51"/>
                    <a:pt x="610" y="51"/>
                  </a:cubicBezTo>
                  <a:close/>
                  <a:moveTo>
                    <a:pt x="1153" y="47"/>
                  </a:moveTo>
                  <a:cubicBezTo>
                    <a:pt x="1153" y="47"/>
                    <a:pt x="1153" y="48"/>
                    <a:pt x="1154" y="48"/>
                  </a:cubicBezTo>
                  <a:cubicBezTo>
                    <a:pt x="1154" y="48"/>
                    <a:pt x="1154" y="47"/>
                    <a:pt x="1153" y="47"/>
                  </a:cubicBezTo>
                  <a:close/>
                  <a:moveTo>
                    <a:pt x="598" y="50"/>
                  </a:moveTo>
                  <a:cubicBezTo>
                    <a:pt x="598" y="50"/>
                    <a:pt x="598" y="50"/>
                    <a:pt x="598" y="49"/>
                  </a:cubicBezTo>
                  <a:cubicBezTo>
                    <a:pt x="598" y="50"/>
                    <a:pt x="598" y="50"/>
                    <a:pt x="598" y="50"/>
                  </a:cubicBezTo>
                  <a:close/>
                  <a:moveTo>
                    <a:pt x="829" y="55"/>
                  </a:moveTo>
                  <a:cubicBezTo>
                    <a:pt x="829" y="55"/>
                    <a:pt x="829" y="56"/>
                    <a:pt x="829" y="56"/>
                  </a:cubicBezTo>
                  <a:cubicBezTo>
                    <a:pt x="829" y="56"/>
                    <a:pt x="829" y="55"/>
                    <a:pt x="829" y="55"/>
                  </a:cubicBezTo>
                  <a:close/>
                  <a:moveTo>
                    <a:pt x="841" y="42"/>
                  </a:moveTo>
                  <a:cubicBezTo>
                    <a:pt x="841" y="42"/>
                    <a:pt x="840" y="42"/>
                    <a:pt x="840" y="43"/>
                  </a:cubicBezTo>
                  <a:cubicBezTo>
                    <a:pt x="840" y="43"/>
                    <a:pt x="841" y="43"/>
                    <a:pt x="841" y="42"/>
                  </a:cubicBezTo>
                  <a:close/>
                  <a:moveTo>
                    <a:pt x="849" y="43"/>
                  </a:moveTo>
                  <a:cubicBezTo>
                    <a:pt x="849" y="42"/>
                    <a:pt x="848" y="42"/>
                    <a:pt x="848" y="42"/>
                  </a:cubicBezTo>
                  <a:cubicBezTo>
                    <a:pt x="848" y="43"/>
                    <a:pt x="849" y="43"/>
                    <a:pt x="849" y="43"/>
                  </a:cubicBezTo>
                  <a:close/>
                  <a:moveTo>
                    <a:pt x="1385" y="39"/>
                  </a:moveTo>
                  <a:cubicBezTo>
                    <a:pt x="1386" y="39"/>
                    <a:pt x="1386" y="38"/>
                    <a:pt x="1386" y="38"/>
                  </a:cubicBezTo>
                  <a:cubicBezTo>
                    <a:pt x="1385" y="38"/>
                    <a:pt x="1385" y="39"/>
                    <a:pt x="1385" y="39"/>
                  </a:cubicBezTo>
                  <a:close/>
                  <a:moveTo>
                    <a:pt x="1570" y="27"/>
                  </a:moveTo>
                  <a:cubicBezTo>
                    <a:pt x="1570" y="26"/>
                    <a:pt x="1570" y="26"/>
                    <a:pt x="1570" y="26"/>
                  </a:cubicBezTo>
                  <a:cubicBezTo>
                    <a:pt x="1570" y="26"/>
                    <a:pt x="1569" y="26"/>
                    <a:pt x="1570" y="27"/>
                  </a:cubicBezTo>
                  <a:close/>
                  <a:moveTo>
                    <a:pt x="803" y="49"/>
                  </a:moveTo>
                  <a:cubicBezTo>
                    <a:pt x="803" y="50"/>
                    <a:pt x="803" y="50"/>
                    <a:pt x="804" y="50"/>
                  </a:cubicBezTo>
                  <a:cubicBezTo>
                    <a:pt x="804" y="50"/>
                    <a:pt x="804" y="50"/>
                    <a:pt x="803" y="49"/>
                  </a:cubicBezTo>
                  <a:close/>
                  <a:moveTo>
                    <a:pt x="1738" y="27"/>
                  </a:moveTo>
                  <a:cubicBezTo>
                    <a:pt x="1738" y="26"/>
                    <a:pt x="1738" y="26"/>
                    <a:pt x="1738" y="26"/>
                  </a:cubicBezTo>
                  <a:cubicBezTo>
                    <a:pt x="1738" y="26"/>
                    <a:pt x="1738" y="26"/>
                    <a:pt x="1738" y="27"/>
                  </a:cubicBezTo>
                  <a:close/>
                  <a:moveTo>
                    <a:pt x="892" y="43"/>
                  </a:moveTo>
                  <a:cubicBezTo>
                    <a:pt x="892" y="42"/>
                    <a:pt x="891" y="42"/>
                    <a:pt x="891" y="42"/>
                  </a:cubicBezTo>
                  <a:cubicBezTo>
                    <a:pt x="891" y="43"/>
                    <a:pt x="892" y="43"/>
                    <a:pt x="892" y="43"/>
                  </a:cubicBezTo>
                  <a:close/>
                  <a:moveTo>
                    <a:pt x="964" y="42"/>
                  </a:moveTo>
                  <a:cubicBezTo>
                    <a:pt x="964" y="43"/>
                    <a:pt x="964" y="43"/>
                    <a:pt x="964" y="43"/>
                  </a:cubicBezTo>
                  <a:cubicBezTo>
                    <a:pt x="964" y="43"/>
                    <a:pt x="964" y="43"/>
                    <a:pt x="964" y="42"/>
                  </a:cubicBezTo>
                  <a:close/>
                  <a:moveTo>
                    <a:pt x="1125" y="42"/>
                  </a:moveTo>
                  <a:cubicBezTo>
                    <a:pt x="1125" y="42"/>
                    <a:pt x="1124" y="42"/>
                    <a:pt x="1124" y="43"/>
                  </a:cubicBezTo>
                  <a:cubicBezTo>
                    <a:pt x="1124" y="43"/>
                    <a:pt x="1125" y="43"/>
                    <a:pt x="1125" y="42"/>
                  </a:cubicBezTo>
                  <a:close/>
                  <a:moveTo>
                    <a:pt x="549" y="26"/>
                  </a:moveTo>
                  <a:cubicBezTo>
                    <a:pt x="549" y="26"/>
                    <a:pt x="549" y="27"/>
                    <a:pt x="549" y="27"/>
                  </a:cubicBezTo>
                  <a:cubicBezTo>
                    <a:pt x="549" y="27"/>
                    <a:pt x="549" y="26"/>
                    <a:pt x="549" y="26"/>
                  </a:cubicBezTo>
                  <a:close/>
                  <a:moveTo>
                    <a:pt x="1737" y="42"/>
                  </a:moveTo>
                  <a:cubicBezTo>
                    <a:pt x="1737" y="41"/>
                    <a:pt x="1737" y="41"/>
                    <a:pt x="1737" y="41"/>
                  </a:cubicBezTo>
                  <a:cubicBezTo>
                    <a:pt x="1737" y="41"/>
                    <a:pt x="1737" y="41"/>
                    <a:pt x="1737" y="42"/>
                  </a:cubicBezTo>
                  <a:close/>
                  <a:moveTo>
                    <a:pt x="1396" y="21"/>
                  </a:moveTo>
                  <a:cubicBezTo>
                    <a:pt x="1396" y="22"/>
                    <a:pt x="1396" y="22"/>
                    <a:pt x="1396" y="22"/>
                  </a:cubicBezTo>
                  <a:cubicBezTo>
                    <a:pt x="1396" y="22"/>
                    <a:pt x="1396" y="21"/>
                    <a:pt x="1396" y="21"/>
                  </a:cubicBezTo>
                  <a:close/>
                  <a:moveTo>
                    <a:pt x="1013" y="18"/>
                  </a:moveTo>
                  <a:cubicBezTo>
                    <a:pt x="1012" y="18"/>
                    <a:pt x="1012" y="18"/>
                    <a:pt x="1012" y="18"/>
                  </a:cubicBezTo>
                  <a:cubicBezTo>
                    <a:pt x="1012" y="18"/>
                    <a:pt x="1012" y="18"/>
                    <a:pt x="1013" y="18"/>
                  </a:cubicBezTo>
                  <a:close/>
                  <a:moveTo>
                    <a:pt x="1386" y="27"/>
                  </a:moveTo>
                  <a:cubicBezTo>
                    <a:pt x="1386" y="27"/>
                    <a:pt x="1386" y="26"/>
                    <a:pt x="1385" y="26"/>
                  </a:cubicBezTo>
                  <a:cubicBezTo>
                    <a:pt x="1385" y="26"/>
                    <a:pt x="1385" y="27"/>
                    <a:pt x="1386" y="27"/>
                  </a:cubicBezTo>
                  <a:close/>
                  <a:moveTo>
                    <a:pt x="1050" y="34"/>
                  </a:moveTo>
                  <a:cubicBezTo>
                    <a:pt x="1050" y="34"/>
                    <a:pt x="1051" y="34"/>
                    <a:pt x="1051" y="34"/>
                  </a:cubicBezTo>
                  <a:cubicBezTo>
                    <a:pt x="1050" y="34"/>
                    <a:pt x="1050" y="34"/>
                    <a:pt x="1050" y="34"/>
                  </a:cubicBezTo>
                  <a:close/>
                  <a:moveTo>
                    <a:pt x="1467" y="26"/>
                  </a:moveTo>
                  <a:cubicBezTo>
                    <a:pt x="1467" y="26"/>
                    <a:pt x="1467" y="27"/>
                    <a:pt x="1468" y="27"/>
                  </a:cubicBezTo>
                  <a:cubicBezTo>
                    <a:pt x="1468" y="27"/>
                    <a:pt x="1468" y="26"/>
                    <a:pt x="1467" y="26"/>
                  </a:cubicBezTo>
                  <a:close/>
                  <a:moveTo>
                    <a:pt x="607" y="43"/>
                  </a:moveTo>
                  <a:cubicBezTo>
                    <a:pt x="607" y="43"/>
                    <a:pt x="607" y="43"/>
                    <a:pt x="608" y="44"/>
                  </a:cubicBezTo>
                  <a:cubicBezTo>
                    <a:pt x="608" y="43"/>
                    <a:pt x="608" y="43"/>
                    <a:pt x="607" y="43"/>
                  </a:cubicBezTo>
                  <a:close/>
                  <a:moveTo>
                    <a:pt x="1070" y="34"/>
                  </a:moveTo>
                  <a:cubicBezTo>
                    <a:pt x="1070" y="34"/>
                    <a:pt x="1071" y="34"/>
                    <a:pt x="1071" y="34"/>
                  </a:cubicBezTo>
                  <a:cubicBezTo>
                    <a:pt x="1071" y="34"/>
                    <a:pt x="1070" y="34"/>
                    <a:pt x="1070" y="34"/>
                  </a:cubicBezTo>
                  <a:close/>
                  <a:moveTo>
                    <a:pt x="643" y="68"/>
                  </a:moveTo>
                  <a:cubicBezTo>
                    <a:pt x="642" y="68"/>
                    <a:pt x="642" y="68"/>
                    <a:pt x="642" y="69"/>
                  </a:cubicBezTo>
                  <a:cubicBezTo>
                    <a:pt x="643" y="69"/>
                    <a:pt x="643" y="68"/>
                    <a:pt x="643" y="68"/>
                  </a:cubicBezTo>
                  <a:close/>
                  <a:moveTo>
                    <a:pt x="1031" y="54"/>
                  </a:moveTo>
                  <a:cubicBezTo>
                    <a:pt x="1032" y="54"/>
                    <a:pt x="1032" y="54"/>
                    <a:pt x="1032" y="53"/>
                  </a:cubicBezTo>
                  <a:cubicBezTo>
                    <a:pt x="1031" y="53"/>
                    <a:pt x="1031" y="54"/>
                    <a:pt x="1031" y="54"/>
                  </a:cubicBezTo>
                  <a:close/>
                  <a:moveTo>
                    <a:pt x="689" y="43"/>
                  </a:moveTo>
                  <a:cubicBezTo>
                    <a:pt x="688" y="43"/>
                    <a:pt x="688" y="43"/>
                    <a:pt x="687" y="43"/>
                  </a:cubicBezTo>
                  <a:cubicBezTo>
                    <a:pt x="688" y="43"/>
                    <a:pt x="688" y="43"/>
                    <a:pt x="689" y="43"/>
                  </a:cubicBezTo>
                  <a:close/>
                  <a:moveTo>
                    <a:pt x="748" y="58"/>
                  </a:moveTo>
                  <a:cubicBezTo>
                    <a:pt x="748" y="58"/>
                    <a:pt x="748" y="58"/>
                    <a:pt x="748" y="57"/>
                  </a:cubicBezTo>
                  <a:cubicBezTo>
                    <a:pt x="748" y="58"/>
                    <a:pt x="748" y="58"/>
                    <a:pt x="748" y="58"/>
                  </a:cubicBezTo>
                  <a:close/>
                  <a:moveTo>
                    <a:pt x="659" y="47"/>
                  </a:moveTo>
                  <a:cubicBezTo>
                    <a:pt x="659" y="47"/>
                    <a:pt x="659" y="47"/>
                    <a:pt x="659" y="46"/>
                  </a:cubicBezTo>
                  <a:cubicBezTo>
                    <a:pt x="659" y="46"/>
                    <a:pt x="659" y="47"/>
                    <a:pt x="659" y="47"/>
                  </a:cubicBezTo>
                  <a:close/>
                  <a:moveTo>
                    <a:pt x="1248" y="34"/>
                  </a:moveTo>
                  <a:cubicBezTo>
                    <a:pt x="1248" y="34"/>
                    <a:pt x="1249" y="34"/>
                    <a:pt x="1249" y="34"/>
                  </a:cubicBezTo>
                  <a:cubicBezTo>
                    <a:pt x="1249" y="34"/>
                    <a:pt x="1248" y="34"/>
                    <a:pt x="1248" y="34"/>
                  </a:cubicBezTo>
                  <a:close/>
                  <a:moveTo>
                    <a:pt x="602" y="58"/>
                  </a:moveTo>
                  <a:cubicBezTo>
                    <a:pt x="602" y="58"/>
                    <a:pt x="601" y="58"/>
                    <a:pt x="601" y="57"/>
                  </a:cubicBezTo>
                  <a:cubicBezTo>
                    <a:pt x="601" y="58"/>
                    <a:pt x="601" y="58"/>
                    <a:pt x="602" y="58"/>
                  </a:cubicBezTo>
                  <a:close/>
                  <a:moveTo>
                    <a:pt x="580" y="18"/>
                  </a:moveTo>
                  <a:cubicBezTo>
                    <a:pt x="579" y="18"/>
                    <a:pt x="579" y="18"/>
                    <a:pt x="579" y="18"/>
                  </a:cubicBezTo>
                  <a:cubicBezTo>
                    <a:pt x="579" y="18"/>
                    <a:pt x="579" y="18"/>
                    <a:pt x="580" y="18"/>
                  </a:cubicBezTo>
                  <a:close/>
                  <a:moveTo>
                    <a:pt x="850" y="43"/>
                  </a:moveTo>
                  <a:cubicBezTo>
                    <a:pt x="850" y="43"/>
                    <a:pt x="850" y="43"/>
                    <a:pt x="849" y="43"/>
                  </a:cubicBezTo>
                  <a:cubicBezTo>
                    <a:pt x="850" y="43"/>
                    <a:pt x="850" y="43"/>
                    <a:pt x="850" y="43"/>
                  </a:cubicBezTo>
                  <a:close/>
                  <a:moveTo>
                    <a:pt x="1468" y="27"/>
                  </a:moveTo>
                  <a:cubicBezTo>
                    <a:pt x="1467" y="27"/>
                    <a:pt x="1468" y="28"/>
                    <a:pt x="1468" y="28"/>
                  </a:cubicBezTo>
                  <a:cubicBezTo>
                    <a:pt x="1468" y="28"/>
                    <a:pt x="1468" y="27"/>
                    <a:pt x="1468" y="27"/>
                  </a:cubicBezTo>
                  <a:close/>
                  <a:moveTo>
                    <a:pt x="1014" y="18"/>
                  </a:moveTo>
                  <a:cubicBezTo>
                    <a:pt x="1013" y="18"/>
                    <a:pt x="1013" y="18"/>
                    <a:pt x="1013" y="18"/>
                  </a:cubicBezTo>
                  <a:cubicBezTo>
                    <a:pt x="1013" y="18"/>
                    <a:pt x="1013" y="18"/>
                    <a:pt x="1014" y="18"/>
                  </a:cubicBezTo>
                  <a:close/>
                  <a:moveTo>
                    <a:pt x="893" y="43"/>
                  </a:moveTo>
                  <a:cubicBezTo>
                    <a:pt x="893" y="43"/>
                    <a:pt x="893" y="43"/>
                    <a:pt x="892" y="43"/>
                  </a:cubicBezTo>
                  <a:cubicBezTo>
                    <a:pt x="892" y="43"/>
                    <a:pt x="893" y="43"/>
                    <a:pt x="893" y="43"/>
                  </a:cubicBezTo>
                  <a:close/>
                  <a:moveTo>
                    <a:pt x="954" y="37"/>
                  </a:moveTo>
                  <a:cubicBezTo>
                    <a:pt x="954" y="37"/>
                    <a:pt x="954" y="36"/>
                    <a:pt x="954" y="36"/>
                  </a:cubicBezTo>
                  <a:cubicBezTo>
                    <a:pt x="954" y="36"/>
                    <a:pt x="954" y="37"/>
                    <a:pt x="954" y="37"/>
                  </a:cubicBezTo>
                  <a:close/>
                  <a:moveTo>
                    <a:pt x="911" y="46"/>
                  </a:moveTo>
                  <a:cubicBezTo>
                    <a:pt x="911" y="46"/>
                    <a:pt x="911" y="47"/>
                    <a:pt x="911" y="47"/>
                  </a:cubicBezTo>
                  <a:cubicBezTo>
                    <a:pt x="911" y="47"/>
                    <a:pt x="911" y="46"/>
                    <a:pt x="911" y="46"/>
                  </a:cubicBezTo>
                  <a:close/>
                  <a:moveTo>
                    <a:pt x="1124" y="43"/>
                  </a:moveTo>
                  <a:cubicBezTo>
                    <a:pt x="1123" y="43"/>
                    <a:pt x="1123" y="43"/>
                    <a:pt x="1123" y="43"/>
                  </a:cubicBezTo>
                  <a:cubicBezTo>
                    <a:pt x="1123" y="43"/>
                    <a:pt x="1123" y="43"/>
                    <a:pt x="1124" y="43"/>
                  </a:cubicBezTo>
                  <a:close/>
                  <a:moveTo>
                    <a:pt x="1135" y="43"/>
                  </a:moveTo>
                  <a:cubicBezTo>
                    <a:pt x="1134" y="43"/>
                    <a:pt x="1134" y="43"/>
                    <a:pt x="1134" y="43"/>
                  </a:cubicBezTo>
                  <a:cubicBezTo>
                    <a:pt x="1134" y="43"/>
                    <a:pt x="1134" y="43"/>
                    <a:pt x="1135" y="43"/>
                  </a:cubicBezTo>
                  <a:close/>
                  <a:moveTo>
                    <a:pt x="608" y="45"/>
                  </a:moveTo>
                  <a:cubicBezTo>
                    <a:pt x="608" y="45"/>
                    <a:pt x="608" y="46"/>
                    <a:pt x="608" y="46"/>
                  </a:cubicBezTo>
                  <a:cubicBezTo>
                    <a:pt x="608" y="45"/>
                    <a:pt x="609" y="45"/>
                    <a:pt x="608" y="45"/>
                  </a:cubicBezTo>
                  <a:close/>
                  <a:moveTo>
                    <a:pt x="964" y="41"/>
                  </a:moveTo>
                  <a:cubicBezTo>
                    <a:pt x="964" y="41"/>
                    <a:pt x="964" y="42"/>
                    <a:pt x="964" y="42"/>
                  </a:cubicBezTo>
                  <a:cubicBezTo>
                    <a:pt x="965" y="42"/>
                    <a:pt x="965" y="42"/>
                    <a:pt x="964" y="41"/>
                  </a:cubicBezTo>
                  <a:close/>
                  <a:moveTo>
                    <a:pt x="804" y="51"/>
                  </a:moveTo>
                  <a:cubicBezTo>
                    <a:pt x="804" y="52"/>
                    <a:pt x="804" y="52"/>
                    <a:pt x="804" y="53"/>
                  </a:cubicBezTo>
                  <a:cubicBezTo>
                    <a:pt x="804" y="52"/>
                    <a:pt x="805" y="52"/>
                    <a:pt x="804" y="51"/>
                  </a:cubicBezTo>
                  <a:close/>
                  <a:moveTo>
                    <a:pt x="644" y="36"/>
                  </a:moveTo>
                  <a:cubicBezTo>
                    <a:pt x="644" y="36"/>
                    <a:pt x="644" y="36"/>
                    <a:pt x="644" y="35"/>
                  </a:cubicBezTo>
                  <a:cubicBezTo>
                    <a:pt x="644" y="36"/>
                    <a:pt x="644" y="36"/>
                    <a:pt x="644" y="36"/>
                  </a:cubicBezTo>
                  <a:close/>
                  <a:moveTo>
                    <a:pt x="643" y="66"/>
                  </a:moveTo>
                  <a:cubicBezTo>
                    <a:pt x="643" y="66"/>
                    <a:pt x="643" y="67"/>
                    <a:pt x="643" y="67"/>
                  </a:cubicBezTo>
                  <a:cubicBezTo>
                    <a:pt x="643" y="67"/>
                    <a:pt x="643" y="66"/>
                    <a:pt x="643" y="66"/>
                  </a:cubicBezTo>
                  <a:close/>
                  <a:moveTo>
                    <a:pt x="900" y="51"/>
                  </a:moveTo>
                  <a:cubicBezTo>
                    <a:pt x="900" y="51"/>
                    <a:pt x="900" y="50"/>
                    <a:pt x="900" y="50"/>
                  </a:cubicBezTo>
                  <a:cubicBezTo>
                    <a:pt x="900" y="50"/>
                    <a:pt x="900" y="51"/>
                    <a:pt x="900" y="51"/>
                  </a:cubicBezTo>
                  <a:close/>
                  <a:moveTo>
                    <a:pt x="1748" y="43"/>
                  </a:moveTo>
                  <a:cubicBezTo>
                    <a:pt x="1748" y="43"/>
                    <a:pt x="1748" y="43"/>
                    <a:pt x="1748" y="44"/>
                  </a:cubicBezTo>
                  <a:cubicBezTo>
                    <a:pt x="1748" y="43"/>
                    <a:pt x="1748" y="43"/>
                    <a:pt x="1748" y="43"/>
                  </a:cubicBezTo>
                  <a:close/>
                  <a:moveTo>
                    <a:pt x="964" y="67"/>
                  </a:moveTo>
                  <a:cubicBezTo>
                    <a:pt x="964" y="68"/>
                    <a:pt x="964" y="68"/>
                    <a:pt x="964" y="69"/>
                  </a:cubicBezTo>
                  <a:cubicBezTo>
                    <a:pt x="964" y="68"/>
                    <a:pt x="964" y="68"/>
                    <a:pt x="964" y="67"/>
                  </a:cubicBezTo>
                  <a:close/>
                  <a:moveTo>
                    <a:pt x="953" y="38"/>
                  </a:moveTo>
                  <a:cubicBezTo>
                    <a:pt x="954" y="38"/>
                    <a:pt x="954" y="38"/>
                    <a:pt x="954" y="37"/>
                  </a:cubicBezTo>
                  <a:cubicBezTo>
                    <a:pt x="953" y="37"/>
                    <a:pt x="953" y="38"/>
                    <a:pt x="953" y="38"/>
                  </a:cubicBezTo>
                  <a:close/>
                  <a:moveTo>
                    <a:pt x="1580" y="22"/>
                  </a:moveTo>
                  <a:cubicBezTo>
                    <a:pt x="1580" y="22"/>
                    <a:pt x="1580" y="23"/>
                    <a:pt x="1581" y="23"/>
                  </a:cubicBezTo>
                  <a:cubicBezTo>
                    <a:pt x="1581" y="23"/>
                    <a:pt x="1581" y="22"/>
                    <a:pt x="1580" y="22"/>
                  </a:cubicBezTo>
                  <a:close/>
                  <a:moveTo>
                    <a:pt x="1468" y="28"/>
                  </a:moveTo>
                  <a:cubicBezTo>
                    <a:pt x="1468" y="29"/>
                    <a:pt x="1468" y="29"/>
                    <a:pt x="1468" y="29"/>
                  </a:cubicBezTo>
                  <a:cubicBezTo>
                    <a:pt x="1468" y="29"/>
                    <a:pt x="1468" y="29"/>
                    <a:pt x="1468" y="28"/>
                  </a:cubicBezTo>
                  <a:close/>
                  <a:moveTo>
                    <a:pt x="690" y="43"/>
                  </a:moveTo>
                  <a:cubicBezTo>
                    <a:pt x="690" y="43"/>
                    <a:pt x="689" y="43"/>
                    <a:pt x="689" y="43"/>
                  </a:cubicBezTo>
                  <a:cubicBezTo>
                    <a:pt x="689" y="43"/>
                    <a:pt x="690" y="43"/>
                    <a:pt x="690" y="43"/>
                  </a:cubicBezTo>
                  <a:close/>
                  <a:moveTo>
                    <a:pt x="953" y="39"/>
                  </a:moveTo>
                  <a:cubicBezTo>
                    <a:pt x="953" y="39"/>
                    <a:pt x="953" y="39"/>
                    <a:pt x="953" y="38"/>
                  </a:cubicBezTo>
                  <a:cubicBezTo>
                    <a:pt x="953" y="38"/>
                    <a:pt x="953" y="39"/>
                    <a:pt x="953" y="39"/>
                  </a:cubicBezTo>
                  <a:close/>
                  <a:moveTo>
                    <a:pt x="985" y="18"/>
                  </a:moveTo>
                  <a:cubicBezTo>
                    <a:pt x="985" y="18"/>
                    <a:pt x="984" y="18"/>
                    <a:pt x="984" y="19"/>
                  </a:cubicBezTo>
                  <a:cubicBezTo>
                    <a:pt x="984" y="19"/>
                    <a:pt x="985" y="19"/>
                    <a:pt x="985" y="18"/>
                  </a:cubicBezTo>
                  <a:close/>
                  <a:moveTo>
                    <a:pt x="1748" y="22"/>
                  </a:moveTo>
                  <a:cubicBezTo>
                    <a:pt x="1748" y="22"/>
                    <a:pt x="1748" y="23"/>
                    <a:pt x="1749" y="23"/>
                  </a:cubicBezTo>
                  <a:cubicBezTo>
                    <a:pt x="1749" y="23"/>
                    <a:pt x="1749" y="22"/>
                    <a:pt x="1748" y="22"/>
                  </a:cubicBezTo>
                  <a:close/>
                  <a:moveTo>
                    <a:pt x="964" y="66"/>
                  </a:moveTo>
                  <a:cubicBezTo>
                    <a:pt x="963" y="66"/>
                    <a:pt x="963" y="67"/>
                    <a:pt x="964" y="67"/>
                  </a:cubicBezTo>
                  <a:cubicBezTo>
                    <a:pt x="964" y="67"/>
                    <a:pt x="964" y="66"/>
                    <a:pt x="964" y="66"/>
                  </a:cubicBezTo>
                  <a:close/>
                  <a:moveTo>
                    <a:pt x="659" y="59"/>
                  </a:moveTo>
                  <a:cubicBezTo>
                    <a:pt x="659" y="58"/>
                    <a:pt x="659" y="58"/>
                    <a:pt x="659" y="58"/>
                  </a:cubicBezTo>
                  <a:cubicBezTo>
                    <a:pt x="659" y="58"/>
                    <a:pt x="659" y="58"/>
                    <a:pt x="659" y="59"/>
                  </a:cubicBezTo>
                  <a:close/>
                  <a:moveTo>
                    <a:pt x="588" y="70"/>
                  </a:moveTo>
                  <a:cubicBezTo>
                    <a:pt x="588" y="70"/>
                    <a:pt x="588" y="70"/>
                    <a:pt x="588" y="71"/>
                  </a:cubicBezTo>
                  <a:cubicBezTo>
                    <a:pt x="588" y="70"/>
                    <a:pt x="588" y="70"/>
                    <a:pt x="588" y="70"/>
                  </a:cubicBezTo>
                  <a:close/>
                  <a:moveTo>
                    <a:pt x="631" y="71"/>
                  </a:moveTo>
                  <a:cubicBezTo>
                    <a:pt x="631" y="70"/>
                    <a:pt x="631" y="70"/>
                    <a:pt x="631" y="70"/>
                  </a:cubicBezTo>
                  <a:cubicBezTo>
                    <a:pt x="631" y="70"/>
                    <a:pt x="631" y="70"/>
                    <a:pt x="631" y="71"/>
                  </a:cubicBezTo>
                  <a:close/>
                  <a:moveTo>
                    <a:pt x="952" y="71"/>
                  </a:moveTo>
                  <a:cubicBezTo>
                    <a:pt x="952" y="70"/>
                    <a:pt x="952" y="70"/>
                    <a:pt x="952" y="69"/>
                  </a:cubicBezTo>
                  <a:cubicBezTo>
                    <a:pt x="952" y="70"/>
                    <a:pt x="952" y="70"/>
                    <a:pt x="952" y="71"/>
                  </a:cubicBezTo>
                  <a:close/>
                  <a:moveTo>
                    <a:pt x="588" y="71"/>
                  </a:moveTo>
                  <a:cubicBezTo>
                    <a:pt x="588" y="71"/>
                    <a:pt x="588" y="71"/>
                    <a:pt x="589" y="72"/>
                  </a:cubicBezTo>
                  <a:cubicBezTo>
                    <a:pt x="589" y="71"/>
                    <a:pt x="589" y="71"/>
                    <a:pt x="588" y="71"/>
                  </a:cubicBezTo>
                  <a:close/>
                  <a:moveTo>
                    <a:pt x="953" y="72"/>
                  </a:moveTo>
                  <a:cubicBezTo>
                    <a:pt x="953" y="71"/>
                    <a:pt x="953" y="71"/>
                    <a:pt x="952" y="71"/>
                  </a:cubicBezTo>
                  <a:cubicBezTo>
                    <a:pt x="952" y="71"/>
                    <a:pt x="952" y="72"/>
                    <a:pt x="953" y="72"/>
                  </a:cubicBezTo>
                  <a:close/>
                  <a:moveTo>
                    <a:pt x="952" y="42"/>
                  </a:moveTo>
                  <a:cubicBezTo>
                    <a:pt x="953" y="41"/>
                    <a:pt x="953" y="41"/>
                    <a:pt x="953" y="41"/>
                  </a:cubicBezTo>
                  <a:cubicBezTo>
                    <a:pt x="952" y="41"/>
                    <a:pt x="952" y="41"/>
                    <a:pt x="952" y="42"/>
                  </a:cubicBezTo>
                  <a:close/>
                  <a:moveTo>
                    <a:pt x="607" y="73"/>
                  </a:moveTo>
                  <a:cubicBezTo>
                    <a:pt x="607" y="72"/>
                    <a:pt x="607" y="72"/>
                    <a:pt x="607" y="72"/>
                  </a:cubicBezTo>
                  <a:cubicBezTo>
                    <a:pt x="607" y="72"/>
                    <a:pt x="607" y="72"/>
                    <a:pt x="607" y="73"/>
                  </a:cubicBezTo>
                  <a:close/>
                  <a:moveTo>
                    <a:pt x="617" y="72"/>
                  </a:moveTo>
                  <a:cubicBezTo>
                    <a:pt x="617" y="72"/>
                    <a:pt x="617" y="72"/>
                    <a:pt x="618" y="73"/>
                  </a:cubicBezTo>
                  <a:cubicBezTo>
                    <a:pt x="618" y="72"/>
                    <a:pt x="618" y="72"/>
                    <a:pt x="617" y="72"/>
                  </a:cubicBezTo>
                  <a:close/>
                  <a:moveTo>
                    <a:pt x="589" y="72"/>
                  </a:moveTo>
                  <a:cubicBezTo>
                    <a:pt x="589" y="72"/>
                    <a:pt x="589" y="73"/>
                    <a:pt x="589" y="73"/>
                  </a:cubicBezTo>
                  <a:cubicBezTo>
                    <a:pt x="589" y="73"/>
                    <a:pt x="589" y="72"/>
                    <a:pt x="589" y="72"/>
                  </a:cubicBezTo>
                  <a:close/>
                  <a:moveTo>
                    <a:pt x="953" y="73"/>
                  </a:moveTo>
                  <a:cubicBezTo>
                    <a:pt x="953" y="73"/>
                    <a:pt x="953" y="72"/>
                    <a:pt x="953" y="72"/>
                  </a:cubicBezTo>
                  <a:cubicBezTo>
                    <a:pt x="953" y="72"/>
                    <a:pt x="953" y="73"/>
                    <a:pt x="953" y="73"/>
                  </a:cubicBezTo>
                  <a:close/>
                  <a:moveTo>
                    <a:pt x="618" y="73"/>
                  </a:moveTo>
                  <a:cubicBezTo>
                    <a:pt x="618" y="73"/>
                    <a:pt x="618" y="73"/>
                    <a:pt x="618" y="74"/>
                  </a:cubicBezTo>
                  <a:cubicBezTo>
                    <a:pt x="618" y="73"/>
                    <a:pt x="618" y="73"/>
                    <a:pt x="618" y="73"/>
                  </a:cubicBezTo>
                  <a:close/>
                  <a:moveTo>
                    <a:pt x="637" y="53"/>
                  </a:moveTo>
                  <a:cubicBezTo>
                    <a:pt x="638" y="53"/>
                    <a:pt x="638" y="53"/>
                    <a:pt x="638" y="52"/>
                  </a:cubicBezTo>
                  <a:cubicBezTo>
                    <a:pt x="637" y="53"/>
                    <a:pt x="637" y="53"/>
                    <a:pt x="637" y="53"/>
                  </a:cubicBezTo>
                  <a:close/>
                  <a:moveTo>
                    <a:pt x="608" y="74"/>
                  </a:moveTo>
                  <a:cubicBezTo>
                    <a:pt x="608" y="74"/>
                    <a:pt x="608" y="74"/>
                    <a:pt x="607" y="73"/>
                  </a:cubicBezTo>
                  <a:cubicBezTo>
                    <a:pt x="607" y="74"/>
                    <a:pt x="607" y="74"/>
                    <a:pt x="608" y="74"/>
                  </a:cubicBezTo>
                  <a:close/>
                  <a:moveTo>
                    <a:pt x="630" y="74"/>
                  </a:moveTo>
                  <a:cubicBezTo>
                    <a:pt x="630" y="74"/>
                    <a:pt x="630" y="74"/>
                    <a:pt x="630" y="73"/>
                  </a:cubicBezTo>
                  <a:cubicBezTo>
                    <a:pt x="630" y="74"/>
                    <a:pt x="630" y="74"/>
                    <a:pt x="630" y="74"/>
                  </a:cubicBezTo>
                  <a:close/>
                  <a:moveTo>
                    <a:pt x="618" y="74"/>
                  </a:moveTo>
                  <a:cubicBezTo>
                    <a:pt x="618" y="74"/>
                    <a:pt x="618" y="74"/>
                    <a:pt x="619" y="75"/>
                  </a:cubicBezTo>
                  <a:cubicBezTo>
                    <a:pt x="619" y="74"/>
                    <a:pt x="619" y="74"/>
                    <a:pt x="618" y="74"/>
                  </a:cubicBezTo>
                  <a:close/>
                  <a:moveTo>
                    <a:pt x="653" y="41"/>
                  </a:moveTo>
                  <a:cubicBezTo>
                    <a:pt x="653" y="41"/>
                    <a:pt x="653" y="41"/>
                    <a:pt x="653" y="42"/>
                  </a:cubicBezTo>
                  <a:cubicBezTo>
                    <a:pt x="653" y="41"/>
                    <a:pt x="653" y="41"/>
                    <a:pt x="653" y="41"/>
                  </a:cubicBezTo>
                  <a:close/>
                  <a:moveTo>
                    <a:pt x="1030" y="59"/>
                  </a:moveTo>
                  <a:cubicBezTo>
                    <a:pt x="1030" y="59"/>
                    <a:pt x="1030" y="58"/>
                    <a:pt x="1030" y="58"/>
                  </a:cubicBezTo>
                  <a:cubicBezTo>
                    <a:pt x="1030" y="58"/>
                    <a:pt x="1030" y="59"/>
                    <a:pt x="1030" y="59"/>
                  </a:cubicBezTo>
                  <a:close/>
                  <a:moveTo>
                    <a:pt x="911" y="48"/>
                  </a:moveTo>
                  <a:cubicBezTo>
                    <a:pt x="911" y="49"/>
                    <a:pt x="911" y="49"/>
                    <a:pt x="912" y="49"/>
                  </a:cubicBezTo>
                  <a:cubicBezTo>
                    <a:pt x="912" y="49"/>
                    <a:pt x="912" y="49"/>
                    <a:pt x="911" y="48"/>
                  </a:cubicBezTo>
                  <a:close/>
                  <a:moveTo>
                    <a:pt x="1469" y="75"/>
                  </a:moveTo>
                  <a:cubicBezTo>
                    <a:pt x="1469" y="75"/>
                    <a:pt x="1469" y="75"/>
                    <a:pt x="1469" y="76"/>
                  </a:cubicBezTo>
                  <a:cubicBezTo>
                    <a:pt x="1469" y="75"/>
                    <a:pt x="1469" y="75"/>
                    <a:pt x="1469" y="75"/>
                  </a:cubicBezTo>
                  <a:close/>
                  <a:moveTo>
                    <a:pt x="1385" y="41"/>
                  </a:moveTo>
                  <a:cubicBezTo>
                    <a:pt x="1385" y="41"/>
                    <a:pt x="1385" y="41"/>
                    <a:pt x="1385" y="40"/>
                  </a:cubicBezTo>
                  <a:cubicBezTo>
                    <a:pt x="1385" y="41"/>
                    <a:pt x="1385" y="41"/>
                    <a:pt x="1385" y="41"/>
                  </a:cubicBezTo>
                  <a:close/>
                  <a:moveTo>
                    <a:pt x="1666" y="58"/>
                  </a:moveTo>
                  <a:cubicBezTo>
                    <a:pt x="1665" y="58"/>
                    <a:pt x="1665" y="58"/>
                    <a:pt x="1665" y="58"/>
                  </a:cubicBezTo>
                  <a:cubicBezTo>
                    <a:pt x="1665" y="58"/>
                    <a:pt x="1665" y="58"/>
                    <a:pt x="1666" y="58"/>
                  </a:cubicBezTo>
                  <a:close/>
                  <a:moveTo>
                    <a:pt x="629" y="77"/>
                  </a:moveTo>
                  <a:cubicBezTo>
                    <a:pt x="629" y="77"/>
                    <a:pt x="629" y="77"/>
                    <a:pt x="629" y="76"/>
                  </a:cubicBezTo>
                  <a:cubicBezTo>
                    <a:pt x="629" y="76"/>
                    <a:pt x="629" y="77"/>
                    <a:pt x="629" y="77"/>
                  </a:cubicBezTo>
                  <a:close/>
                  <a:moveTo>
                    <a:pt x="954" y="77"/>
                  </a:moveTo>
                  <a:cubicBezTo>
                    <a:pt x="954" y="77"/>
                    <a:pt x="954" y="76"/>
                    <a:pt x="954" y="76"/>
                  </a:cubicBezTo>
                  <a:cubicBezTo>
                    <a:pt x="954" y="76"/>
                    <a:pt x="954" y="77"/>
                    <a:pt x="954" y="77"/>
                  </a:cubicBezTo>
                  <a:close/>
                  <a:moveTo>
                    <a:pt x="1469" y="76"/>
                  </a:moveTo>
                  <a:cubicBezTo>
                    <a:pt x="1468" y="76"/>
                    <a:pt x="1468" y="77"/>
                    <a:pt x="1468" y="77"/>
                  </a:cubicBezTo>
                  <a:cubicBezTo>
                    <a:pt x="1469" y="77"/>
                    <a:pt x="1469" y="76"/>
                    <a:pt x="1469" y="76"/>
                  </a:cubicBezTo>
                  <a:close/>
                  <a:moveTo>
                    <a:pt x="699" y="77"/>
                  </a:moveTo>
                  <a:cubicBezTo>
                    <a:pt x="699" y="77"/>
                    <a:pt x="699" y="78"/>
                    <a:pt x="699" y="78"/>
                  </a:cubicBezTo>
                  <a:cubicBezTo>
                    <a:pt x="699" y="77"/>
                    <a:pt x="699" y="77"/>
                    <a:pt x="699" y="77"/>
                  </a:cubicBezTo>
                  <a:close/>
                  <a:moveTo>
                    <a:pt x="759" y="77"/>
                  </a:moveTo>
                  <a:cubicBezTo>
                    <a:pt x="759" y="78"/>
                    <a:pt x="759" y="78"/>
                    <a:pt x="759" y="79"/>
                  </a:cubicBezTo>
                  <a:cubicBezTo>
                    <a:pt x="759" y="78"/>
                    <a:pt x="760" y="78"/>
                    <a:pt x="759" y="77"/>
                  </a:cubicBezTo>
                  <a:close/>
                  <a:moveTo>
                    <a:pt x="1468" y="77"/>
                  </a:moveTo>
                  <a:cubicBezTo>
                    <a:pt x="1468" y="78"/>
                    <a:pt x="1468" y="78"/>
                    <a:pt x="1468" y="79"/>
                  </a:cubicBezTo>
                  <a:cubicBezTo>
                    <a:pt x="1468" y="78"/>
                    <a:pt x="1468" y="78"/>
                    <a:pt x="1468" y="77"/>
                  </a:cubicBezTo>
                  <a:close/>
                  <a:moveTo>
                    <a:pt x="699" y="78"/>
                  </a:moveTo>
                  <a:cubicBezTo>
                    <a:pt x="699" y="78"/>
                    <a:pt x="699" y="79"/>
                    <a:pt x="699" y="79"/>
                  </a:cubicBezTo>
                  <a:cubicBezTo>
                    <a:pt x="699" y="79"/>
                    <a:pt x="699" y="78"/>
                    <a:pt x="699" y="78"/>
                  </a:cubicBezTo>
                  <a:close/>
                  <a:moveTo>
                    <a:pt x="1041" y="78"/>
                  </a:moveTo>
                  <a:cubicBezTo>
                    <a:pt x="1041" y="79"/>
                    <a:pt x="1041" y="79"/>
                    <a:pt x="1042" y="79"/>
                  </a:cubicBezTo>
                  <a:cubicBezTo>
                    <a:pt x="1042" y="79"/>
                    <a:pt x="1042" y="78"/>
                    <a:pt x="1041" y="78"/>
                  </a:cubicBezTo>
                  <a:close/>
                  <a:moveTo>
                    <a:pt x="1219" y="78"/>
                  </a:moveTo>
                  <a:cubicBezTo>
                    <a:pt x="1219" y="79"/>
                    <a:pt x="1219" y="79"/>
                    <a:pt x="1220" y="79"/>
                  </a:cubicBezTo>
                  <a:cubicBezTo>
                    <a:pt x="1220" y="79"/>
                    <a:pt x="1220" y="78"/>
                    <a:pt x="1219" y="78"/>
                  </a:cubicBezTo>
                  <a:close/>
                  <a:moveTo>
                    <a:pt x="620" y="79"/>
                  </a:moveTo>
                  <a:cubicBezTo>
                    <a:pt x="620" y="79"/>
                    <a:pt x="620" y="79"/>
                    <a:pt x="620" y="80"/>
                  </a:cubicBezTo>
                  <a:cubicBezTo>
                    <a:pt x="620" y="79"/>
                    <a:pt x="620" y="79"/>
                    <a:pt x="620" y="79"/>
                  </a:cubicBezTo>
                  <a:close/>
                  <a:moveTo>
                    <a:pt x="1412" y="80"/>
                  </a:moveTo>
                  <a:cubicBezTo>
                    <a:pt x="1412" y="79"/>
                    <a:pt x="1412" y="79"/>
                    <a:pt x="1412" y="79"/>
                  </a:cubicBezTo>
                  <a:cubicBezTo>
                    <a:pt x="1412" y="79"/>
                    <a:pt x="1412" y="79"/>
                    <a:pt x="1412" y="80"/>
                  </a:cubicBezTo>
                  <a:close/>
                  <a:moveTo>
                    <a:pt x="1468" y="79"/>
                  </a:moveTo>
                  <a:cubicBezTo>
                    <a:pt x="1468" y="79"/>
                    <a:pt x="1468" y="79"/>
                    <a:pt x="1468" y="80"/>
                  </a:cubicBezTo>
                  <a:cubicBezTo>
                    <a:pt x="1468" y="79"/>
                    <a:pt x="1468" y="79"/>
                    <a:pt x="1468" y="79"/>
                  </a:cubicBezTo>
                  <a:close/>
                  <a:moveTo>
                    <a:pt x="760" y="79"/>
                  </a:moveTo>
                  <a:cubicBezTo>
                    <a:pt x="759" y="79"/>
                    <a:pt x="760" y="80"/>
                    <a:pt x="760" y="80"/>
                  </a:cubicBezTo>
                  <a:cubicBezTo>
                    <a:pt x="760" y="80"/>
                    <a:pt x="760" y="79"/>
                    <a:pt x="760" y="79"/>
                  </a:cubicBezTo>
                  <a:close/>
                  <a:moveTo>
                    <a:pt x="748" y="80"/>
                  </a:moveTo>
                  <a:cubicBezTo>
                    <a:pt x="748" y="80"/>
                    <a:pt x="748" y="79"/>
                    <a:pt x="748" y="79"/>
                  </a:cubicBezTo>
                  <a:cubicBezTo>
                    <a:pt x="748" y="80"/>
                    <a:pt x="748" y="80"/>
                    <a:pt x="748" y="80"/>
                  </a:cubicBezTo>
                  <a:close/>
                  <a:moveTo>
                    <a:pt x="1042" y="79"/>
                  </a:moveTo>
                  <a:cubicBezTo>
                    <a:pt x="1042" y="80"/>
                    <a:pt x="1042" y="80"/>
                    <a:pt x="1042" y="80"/>
                  </a:cubicBezTo>
                  <a:cubicBezTo>
                    <a:pt x="1042" y="80"/>
                    <a:pt x="1042" y="80"/>
                    <a:pt x="1042" y="79"/>
                  </a:cubicBezTo>
                  <a:close/>
                  <a:moveTo>
                    <a:pt x="613" y="59"/>
                  </a:moveTo>
                  <a:cubicBezTo>
                    <a:pt x="613" y="59"/>
                    <a:pt x="613" y="59"/>
                    <a:pt x="613" y="60"/>
                  </a:cubicBezTo>
                  <a:cubicBezTo>
                    <a:pt x="613" y="59"/>
                    <a:pt x="613" y="59"/>
                    <a:pt x="613" y="59"/>
                  </a:cubicBezTo>
                  <a:close/>
                  <a:moveTo>
                    <a:pt x="610" y="81"/>
                  </a:moveTo>
                  <a:cubicBezTo>
                    <a:pt x="610" y="80"/>
                    <a:pt x="610" y="80"/>
                    <a:pt x="610" y="80"/>
                  </a:cubicBezTo>
                  <a:cubicBezTo>
                    <a:pt x="610" y="80"/>
                    <a:pt x="610" y="80"/>
                    <a:pt x="610" y="81"/>
                  </a:cubicBezTo>
                  <a:close/>
                  <a:moveTo>
                    <a:pt x="620" y="80"/>
                  </a:moveTo>
                  <a:cubicBezTo>
                    <a:pt x="620" y="80"/>
                    <a:pt x="620" y="80"/>
                    <a:pt x="621" y="81"/>
                  </a:cubicBezTo>
                  <a:cubicBezTo>
                    <a:pt x="621" y="80"/>
                    <a:pt x="621" y="80"/>
                    <a:pt x="620" y="80"/>
                  </a:cubicBezTo>
                  <a:close/>
                  <a:moveTo>
                    <a:pt x="627" y="81"/>
                  </a:moveTo>
                  <a:cubicBezTo>
                    <a:pt x="628" y="81"/>
                    <a:pt x="628" y="80"/>
                    <a:pt x="628" y="80"/>
                  </a:cubicBezTo>
                  <a:cubicBezTo>
                    <a:pt x="627" y="80"/>
                    <a:pt x="627" y="81"/>
                    <a:pt x="627" y="81"/>
                  </a:cubicBezTo>
                  <a:close/>
                  <a:moveTo>
                    <a:pt x="760" y="80"/>
                  </a:moveTo>
                  <a:cubicBezTo>
                    <a:pt x="760" y="80"/>
                    <a:pt x="760" y="81"/>
                    <a:pt x="760" y="81"/>
                  </a:cubicBezTo>
                  <a:cubicBezTo>
                    <a:pt x="760" y="81"/>
                    <a:pt x="760" y="80"/>
                    <a:pt x="760" y="80"/>
                  </a:cubicBezTo>
                  <a:close/>
                  <a:moveTo>
                    <a:pt x="1031" y="81"/>
                  </a:moveTo>
                  <a:cubicBezTo>
                    <a:pt x="1031" y="81"/>
                    <a:pt x="1031" y="80"/>
                    <a:pt x="1030" y="80"/>
                  </a:cubicBezTo>
                  <a:cubicBezTo>
                    <a:pt x="1030" y="80"/>
                    <a:pt x="1030" y="81"/>
                    <a:pt x="1031" y="81"/>
                  </a:cubicBezTo>
                  <a:close/>
                  <a:moveTo>
                    <a:pt x="1413" y="81"/>
                  </a:moveTo>
                  <a:cubicBezTo>
                    <a:pt x="1413" y="81"/>
                    <a:pt x="1413" y="80"/>
                    <a:pt x="1412" y="80"/>
                  </a:cubicBezTo>
                  <a:cubicBezTo>
                    <a:pt x="1412" y="80"/>
                    <a:pt x="1412" y="81"/>
                    <a:pt x="1413" y="81"/>
                  </a:cubicBezTo>
                  <a:close/>
                  <a:moveTo>
                    <a:pt x="1086" y="52"/>
                  </a:moveTo>
                  <a:cubicBezTo>
                    <a:pt x="1086" y="53"/>
                    <a:pt x="1086" y="53"/>
                    <a:pt x="1087" y="53"/>
                  </a:cubicBezTo>
                  <a:cubicBezTo>
                    <a:pt x="1087" y="53"/>
                    <a:pt x="1087" y="52"/>
                    <a:pt x="1086" y="52"/>
                  </a:cubicBezTo>
                  <a:close/>
                  <a:moveTo>
                    <a:pt x="1209" y="81"/>
                  </a:moveTo>
                  <a:cubicBezTo>
                    <a:pt x="1209" y="81"/>
                    <a:pt x="1209" y="80"/>
                    <a:pt x="1208" y="80"/>
                  </a:cubicBezTo>
                  <a:cubicBezTo>
                    <a:pt x="1208" y="81"/>
                    <a:pt x="1208" y="81"/>
                    <a:pt x="1209" y="81"/>
                  </a:cubicBezTo>
                  <a:close/>
                  <a:moveTo>
                    <a:pt x="621" y="81"/>
                  </a:moveTo>
                  <a:cubicBezTo>
                    <a:pt x="621" y="81"/>
                    <a:pt x="621" y="81"/>
                    <a:pt x="621" y="82"/>
                  </a:cubicBezTo>
                  <a:cubicBezTo>
                    <a:pt x="621" y="81"/>
                    <a:pt x="621" y="81"/>
                    <a:pt x="621" y="81"/>
                  </a:cubicBezTo>
                  <a:close/>
                  <a:moveTo>
                    <a:pt x="749" y="82"/>
                  </a:moveTo>
                  <a:cubicBezTo>
                    <a:pt x="749" y="81"/>
                    <a:pt x="749" y="81"/>
                    <a:pt x="748" y="81"/>
                  </a:cubicBezTo>
                  <a:cubicBezTo>
                    <a:pt x="748" y="81"/>
                    <a:pt x="748" y="81"/>
                    <a:pt x="749" y="82"/>
                  </a:cubicBezTo>
                  <a:close/>
                  <a:moveTo>
                    <a:pt x="637" y="81"/>
                  </a:moveTo>
                  <a:cubicBezTo>
                    <a:pt x="637" y="81"/>
                    <a:pt x="637" y="82"/>
                    <a:pt x="637" y="82"/>
                  </a:cubicBezTo>
                  <a:cubicBezTo>
                    <a:pt x="637" y="82"/>
                    <a:pt x="637" y="81"/>
                    <a:pt x="637" y="81"/>
                  </a:cubicBezTo>
                  <a:close/>
                  <a:moveTo>
                    <a:pt x="1413" y="82"/>
                  </a:moveTo>
                  <a:cubicBezTo>
                    <a:pt x="1413" y="82"/>
                    <a:pt x="1413" y="81"/>
                    <a:pt x="1413" y="81"/>
                  </a:cubicBezTo>
                  <a:cubicBezTo>
                    <a:pt x="1413" y="81"/>
                    <a:pt x="1412" y="82"/>
                    <a:pt x="1413" y="82"/>
                  </a:cubicBezTo>
                  <a:close/>
                  <a:moveTo>
                    <a:pt x="611" y="82"/>
                  </a:moveTo>
                  <a:cubicBezTo>
                    <a:pt x="611" y="82"/>
                    <a:pt x="611" y="82"/>
                    <a:pt x="611" y="81"/>
                  </a:cubicBezTo>
                  <a:cubicBezTo>
                    <a:pt x="611" y="82"/>
                    <a:pt x="610" y="82"/>
                    <a:pt x="611" y="82"/>
                  </a:cubicBezTo>
                  <a:close/>
                  <a:moveTo>
                    <a:pt x="1031" y="82"/>
                  </a:moveTo>
                  <a:cubicBezTo>
                    <a:pt x="1031" y="82"/>
                    <a:pt x="1031" y="82"/>
                    <a:pt x="1031" y="81"/>
                  </a:cubicBezTo>
                  <a:cubicBezTo>
                    <a:pt x="1031" y="82"/>
                    <a:pt x="1031" y="82"/>
                    <a:pt x="1031" y="82"/>
                  </a:cubicBezTo>
                  <a:close/>
                  <a:moveTo>
                    <a:pt x="1467" y="82"/>
                  </a:moveTo>
                  <a:cubicBezTo>
                    <a:pt x="1467" y="82"/>
                    <a:pt x="1466" y="82"/>
                    <a:pt x="1466" y="83"/>
                  </a:cubicBezTo>
                  <a:cubicBezTo>
                    <a:pt x="1467" y="82"/>
                    <a:pt x="1467" y="82"/>
                    <a:pt x="1467" y="82"/>
                  </a:cubicBezTo>
                  <a:close/>
                  <a:moveTo>
                    <a:pt x="858" y="53"/>
                  </a:moveTo>
                  <a:cubicBezTo>
                    <a:pt x="858" y="53"/>
                    <a:pt x="858" y="52"/>
                    <a:pt x="858" y="52"/>
                  </a:cubicBezTo>
                  <a:cubicBezTo>
                    <a:pt x="858" y="52"/>
                    <a:pt x="858" y="53"/>
                    <a:pt x="858" y="53"/>
                  </a:cubicBezTo>
                  <a:close/>
                  <a:moveTo>
                    <a:pt x="749" y="83"/>
                  </a:moveTo>
                  <a:cubicBezTo>
                    <a:pt x="749" y="83"/>
                    <a:pt x="749" y="82"/>
                    <a:pt x="749" y="82"/>
                  </a:cubicBezTo>
                  <a:cubicBezTo>
                    <a:pt x="749" y="82"/>
                    <a:pt x="749" y="83"/>
                    <a:pt x="749" y="83"/>
                  </a:cubicBezTo>
                  <a:close/>
                  <a:moveTo>
                    <a:pt x="1413" y="83"/>
                  </a:moveTo>
                  <a:cubicBezTo>
                    <a:pt x="1413" y="83"/>
                    <a:pt x="1413" y="82"/>
                    <a:pt x="1413" y="82"/>
                  </a:cubicBezTo>
                  <a:cubicBezTo>
                    <a:pt x="1413" y="82"/>
                    <a:pt x="1413" y="83"/>
                    <a:pt x="1413" y="83"/>
                  </a:cubicBezTo>
                  <a:close/>
                  <a:moveTo>
                    <a:pt x="637" y="83"/>
                  </a:moveTo>
                  <a:cubicBezTo>
                    <a:pt x="636" y="83"/>
                    <a:pt x="636" y="83"/>
                    <a:pt x="636" y="84"/>
                  </a:cubicBezTo>
                  <a:cubicBezTo>
                    <a:pt x="637" y="84"/>
                    <a:pt x="637" y="83"/>
                    <a:pt x="637" y="83"/>
                  </a:cubicBezTo>
                  <a:close/>
                  <a:moveTo>
                    <a:pt x="1209" y="84"/>
                  </a:moveTo>
                  <a:cubicBezTo>
                    <a:pt x="1209" y="83"/>
                    <a:pt x="1209" y="83"/>
                    <a:pt x="1209" y="83"/>
                  </a:cubicBezTo>
                  <a:cubicBezTo>
                    <a:pt x="1209" y="83"/>
                    <a:pt x="1209" y="83"/>
                    <a:pt x="1209" y="84"/>
                  </a:cubicBezTo>
                  <a:close/>
                  <a:moveTo>
                    <a:pt x="1396" y="41"/>
                  </a:moveTo>
                  <a:cubicBezTo>
                    <a:pt x="1396" y="42"/>
                    <a:pt x="1396" y="42"/>
                    <a:pt x="1396" y="42"/>
                  </a:cubicBezTo>
                  <a:cubicBezTo>
                    <a:pt x="1396" y="42"/>
                    <a:pt x="1396" y="42"/>
                    <a:pt x="1396" y="41"/>
                  </a:cubicBezTo>
                  <a:close/>
                  <a:moveTo>
                    <a:pt x="749" y="84"/>
                  </a:moveTo>
                  <a:cubicBezTo>
                    <a:pt x="749" y="84"/>
                    <a:pt x="749" y="83"/>
                    <a:pt x="749" y="83"/>
                  </a:cubicBezTo>
                  <a:cubicBezTo>
                    <a:pt x="749" y="83"/>
                    <a:pt x="749" y="84"/>
                    <a:pt x="749" y="84"/>
                  </a:cubicBezTo>
                  <a:close/>
                  <a:moveTo>
                    <a:pt x="1667" y="84"/>
                  </a:moveTo>
                  <a:cubicBezTo>
                    <a:pt x="1667" y="84"/>
                    <a:pt x="1667" y="83"/>
                    <a:pt x="1667" y="83"/>
                  </a:cubicBezTo>
                  <a:cubicBezTo>
                    <a:pt x="1667" y="83"/>
                    <a:pt x="1667" y="84"/>
                    <a:pt x="1667" y="84"/>
                  </a:cubicBezTo>
                  <a:close/>
                  <a:moveTo>
                    <a:pt x="626" y="85"/>
                  </a:moveTo>
                  <a:cubicBezTo>
                    <a:pt x="626" y="85"/>
                    <a:pt x="626" y="84"/>
                    <a:pt x="626" y="84"/>
                  </a:cubicBezTo>
                  <a:cubicBezTo>
                    <a:pt x="626" y="84"/>
                    <a:pt x="626" y="84"/>
                    <a:pt x="626" y="85"/>
                  </a:cubicBezTo>
                  <a:close/>
                  <a:moveTo>
                    <a:pt x="589" y="84"/>
                  </a:moveTo>
                  <a:cubicBezTo>
                    <a:pt x="588" y="85"/>
                    <a:pt x="588" y="85"/>
                    <a:pt x="588" y="85"/>
                  </a:cubicBezTo>
                  <a:cubicBezTo>
                    <a:pt x="589" y="85"/>
                    <a:pt x="589" y="85"/>
                    <a:pt x="589" y="84"/>
                  </a:cubicBezTo>
                  <a:close/>
                  <a:moveTo>
                    <a:pt x="636" y="84"/>
                  </a:moveTo>
                  <a:cubicBezTo>
                    <a:pt x="636" y="85"/>
                    <a:pt x="636" y="85"/>
                    <a:pt x="636" y="85"/>
                  </a:cubicBezTo>
                  <a:cubicBezTo>
                    <a:pt x="636" y="85"/>
                    <a:pt x="636" y="85"/>
                    <a:pt x="636" y="84"/>
                  </a:cubicBezTo>
                  <a:close/>
                  <a:moveTo>
                    <a:pt x="1032" y="85"/>
                  </a:moveTo>
                  <a:cubicBezTo>
                    <a:pt x="1032" y="85"/>
                    <a:pt x="1032" y="85"/>
                    <a:pt x="1032" y="84"/>
                  </a:cubicBezTo>
                  <a:cubicBezTo>
                    <a:pt x="1032" y="85"/>
                    <a:pt x="1032" y="85"/>
                    <a:pt x="1032" y="85"/>
                  </a:cubicBezTo>
                  <a:close/>
                  <a:moveTo>
                    <a:pt x="595" y="42"/>
                  </a:moveTo>
                  <a:cubicBezTo>
                    <a:pt x="595" y="42"/>
                    <a:pt x="595" y="42"/>
                    <a:pt x="595" y="41"/>
                  </a:cubicBezTo>
                  <a:cubicBezTo>
                    <a:pt x="595" y="42"/>
                    <a:pt x="595" y="42"/>
                    <a:pt x="595" y="42"/>
                  </a:cubicBezTo>
                  <a:close/>
                  <a:moveTo>
                    <a:pt x="1344" y="87"/>
                  </a:moveTo>
                  <a:cubicBezTo>
                    <a:pt x="1344" y="86"/>
                    <a:pt x="1344" y="86"/>
                    <a:pt x="1344" y="86"/>
                  </a:cubicBezTo>
                  <a:cubicBezTo>
                    <a:pt x="1344" y="86"/>
                    <a:pt x="1344" y="86"/>
                    <a:pt x="1344" y="87"/>
                  </a:cubicBezTo>
                  <a:close/>
                  <a:moveTo>
                    <a:pt x="635" y="60"/>
                  </a:moveTo>
                  <a:cubicBezTo>
                    <a:pt x="635" y="60"/>
                    <a:pt x="635" y="59"/>
                    <a:pt x="635" y="59"/>
                  </a:cubicBezTo>
                  <a:cubicBezTo>
                    <a:pt x="635" y="59"/>
                    <a:pt x="635" y="60"/>
                    <a:pt x="635" y="60"/>
                  </a:cubicBezTo>
                  <a:close/>
                  <a:moveTo>
                    <a:pt x="1355" y="86"/>
                  </a:moveTo>
                  <a:cubicBezTo>
                    <a:pt x="1355" y="86"/>
                    <a:pt x="1355" y="86"/>
                    <a:pt x="1355" y="87"/>
                  </a:cubicBezTo>
                  <a:cubicBezTo>
                    <a:pt x="1355" y="87"/>
                    <a:pt x="1355" y="86"/>
                    <a:pt x="1355" y="86"/>
                  </a:cubicBezTo>
                  <a:close/>
                  <a:moveTo>
                    <a:pt x="1528" y="87"/>
                  </a:moveTo>
                  <a:cubicBezTo>
                    <a:pt x="1528" y="87"/>
                    <a:pt x="1528" y="86"/>
                    <a:pt x="1528" y="86"/>
                  </a:cubicBezTo>
                  <a:cubicBezTo>
                    <a:pt x="1528" y="86"/>
                    <a:pt x="1528" y="87"/>
                    <a:pt x="1528" y="87"/>
                  </a:cubicBezTo>
                  <a:close/>
                  <a:moveTo>
                    <a:pt x="1696" y="87"/>
                  </a:moveTo>
                  <a:cubicBezTo>
                    <a:pt x="1697" y="87"/>
                    <a:pt x="1697" y="86"/>
                    <a:pt x="1697" y="86"/>
                  </a:cubicBezTo>
                  <a:cubicBezTo>
                    <a:pt x="1696" y="86"/>
                    <a:pt x="1696" y="87"/>
                    <a:pt x="1696" y="87"/>
                  </a:cubicBezTo>
                  <a:close/>
                  <a:moveTo>
                    <a:pt x="635" y="86"/>
                  </a:moveTo>
                  <a:cubicBezTo>
                    <a:pt x="635" y="86"/>
                    <a:pt x="635" y="87"/>
                    <a:pt x="635" y="87"/>
                  </a:cubicBezTo>
                  <a:cubicBezTo>
                    <a:pt x="635" y="87"/>
                    <a:pt x="635" y="87"/>
                    <a:pt x="635" y="86"/>
                  </a:cubicBezTo>
                  <a:close/>
                  <a:moveTo>
                    <a:pt x="726" y="86"/>
                  </a:moveTo>
                  <a:cubicBezTo>
                    <a:pt x="726" y="87"/>
                    <a:pt x="726" y="87"/>
                    <a:pt x="726" y="87"/>
                  </a:cubicBezTo>
                  <a:cubicBezTo>
                    <a:pt x="726" y="87"/>
                    <a:pt x="726" y="87"/>
                    <a:pt x="726" y="86"/>
                  </a:cubicBezTo>
                  <a:close/>
                  <a:moveTo>
                    <a:pt x="1539" y="86"/>
                  </a:moveTo>
                  <a:cubicBezTo>
                    <a:pt x="1539" y="86"/>
                    <a:pt x="1539" y="87"/>
                    <a:pt x="1539" y="87"/>
                  </a:cubicBezTo>
                  <a:cubicBezTo>
                    <a:pt x="1539" y="87"/>
                    <a:pt x="1539" y="87"/>
                    <a:pt x="1539" y="86"/>
                  </a:cubicBezTo>
                  <a:close/>
                  <a:moveTo>
                    <a:pt x="1707" y="86"/>
                  </a:moveTo>
                  <a:cubicBezTo>
                    <a:pt x="1707" y="86"/>
                    <a:pt x="1707" y="87"/>
                    <a:pt x="1707" y="87"/>
                  </a:cubicBezTo>
                  <a:cubicBezTo>
                    <a:pt x="1707" y="87"/>
                    <a:pt x="1707" y="87"/>
                    <a:pt x="1707" y="86"/>
                  </a:cubicBezTo>
                  <a:close/>
                  <a:moveTo>
                    <a:pt x="623" y="87"/>
                  </a:moveTo>
                  <a:cubicBezTo>
                    <a:pt x="623" y="87"/>
                    <a:pt x="623" y="87"/>
                    <a:pt x="623" y="88"/>
                  </a:cubicBezTo>
                  <a:cubicBezTo>
                    <a:pt x="623" y="87"/>
                    <a:pt x="623" y="87"/>
                    <a:pt x="623" y="87"/>
                  </a:cubicBezTo>
                  <a:close/>
                  <a:moveTo>
                    <a:pt x="625" y="88"/>
                  </a:moveTo>
                  <a:cubicBezTo>
                    <a:pt x="625" y="87"/>
                    <a:pt x="625" y="87"/>
                    <a:pt x="625" y="87"/>
                  </a:cubicBezTo>
                  <a:cubicBezTo>
                    <a:pt x="625" y="87"/>
                    <a:pt x="625" y="87"/>
                    <a:pt x="625" y="88"/>
                  </a:cubicBezTo>
                  <a:close/>
                  <a:moveTo>
                    <a:pt x="1265" y="54"/>
                  </a:moveTo>
                  <a:cubicBezTo>
                    <a:pt x="1265" y="54"/>
                    <a:pt x="1265" y="55"/>
                    <a:pt x="1265" y="55"/>
                  </a:cubicBezTo>
                  <a:cubicBezTo>
                    <a:pt x="1265" y="55"/>
                    <a:pt x="1265" y="54"/>
                    <a:pt x="1265" y="54"/>
                  </a:cubicBezTo>
                  <a:close/>
                  <a:moveTo>
                    <a:pt x="829" y="54"/>
                  </a:moveTo>
                  <a:cubicBezTo>
                    <a:pt x="829" y="54"/>
                    <a:pt x="829" y="54"/>
                    <a:pt x="829" y="55"/>
                  </a:cubicBezTo>
                  <a:cubicBezTo>
                    <a:pt x="830" y="55"/>
                    <a:pt x="829" y="54"/>
                    <a:pt x="829" y="54"/>
                  </a:cubicBezTo>
                  <a:close/>
                  <a:moveTo>
                    <a:pt x="1528" y="88"/>
                  </a:moveTo>
                  <a:cubicBezTo>
                    <a:pt x="1528" y="88"/>
                    <a:pt x="1528" y="88"/>
                    <a:pt x="1528" y="87"/>
                  </a:cubicBezTo>
                  <a:cubicBezTo>
                    <a:pt x="1528" y="88"/>
                    <a:pt x="1528" y="88"/>
                    <a:pt x="1528" y="88"/>
                  </a:cubicBezTo>
                  <a:close/>
                  <a:moveTo>
                    <a:pt x="1696" y="88"/>
                  </a:moveTo>
                  <a:cubicBezTo>
                    <a:pt x="1696" y="88"/>
                    <a:pt x="1696" y="88"/>
                    <a:pt x="1696" y="87"/>
                  </a:cubicBezTo>
                  <a:cubicBezTo>
                    <a:pt x="1696" y="88"/>
                    <a:pt x="1696" y="88"/>
                    <a:pt x="1696" y="88"/>
                  </a:cubicBezTo>
                  <a:close/>
                  <a:moveTo>
                    <a:pt x="588" y="88"/>
                  </a:moveTo>
                  <a:cubicBezTo>
                    <a:pt x="587" y="88"/>
                    <a:pt x="587" y="88"/>
                    <a:pt x="587" y="89"/>
                  </a:cubicBezTo>
                  <a:cubicBezTo>
                    <a:pt x="588" y="88"/>
                    <a:pt x="588" y="88"/>
                    <a:pt x="588" y="88"/>
                  </a:cubicBezTo>
                  <a:close/>
                  <a:moveTo>
                    <a:pt x="613" y="89"/>
                  </a:moveTo>
                  <a:cubicBezTo>
                    <a:pt x="613" y="88"/>
                    <a:pt x="613" y="88"/>
                    <a:pt x="613" y="88"/>
                  </a:cubicBezTo>
                  <a:cubicBezTo>
                    <a:pt x="613" y="88"/>
                    <a:pt x="613" y="88"/>
                    <a:pt x="613" y="89"/>
                  </a:cubicBezTo>
                  <a:close/>
                  <a:moveTo>
                    <a:pt x="623" y="88"/>
                  </a:moveTo>
                  <a:cubicBezTo>
                    <a:pt x="623" y="88"/>
                    <a:pt x="623" y="88"/>
                    <a:pt x="623" y="89"/>
                  </a:cubicBezTo>
                  <a:cubicBezTo>
                    <a:pt x="623" y="88"/>
                    <a:pt x="623" y="88"/>
                    <a:pt x="623" y="88"/>
                  </a:cubicBezTo>
                  <a:close/>
                  <a:moveTo>
                    <a:pt x="726" y="88"/>
                  </a:moveTo>
                  <a:cubicBezTo>
                    <a:pt x="726" y="88"/>
                    <a:pt x="726" y="88"/>
                    <a:pt x="726" y="89"/>
                  </a:cubicBezTo>
                  <a:cubicBezTo>
                    <a:pt x="726" y="88"/>
                    <a:pt x="727" y="88"/>
                    <a:pt x="726" y="88"/>
                  </a:cubicBezTo>
                  <a:close/>
                  <a:moveTo>
                    <a:pt x="699" y="88"/>
                  </a:moveTo>
                  <a:cubicBezTo>
                    <a:pt x="699" y="88"/>
                    <a:pt x="699" y="89"/>
                    <a:pt x="699" y="89"/>
                  </a:cubicBezTo>
                  <a:cubicBezTo>
                    <a:pt x="699" y="89"/>
                    <a:pt x="699" y="88"/>
                    <a:pt x="699" y="88"/>
                  </a:cubicBezTo>
                  <a:close/>
                  <a:moveTo>
                    <a:pt x="1384" y="42"/>
                  </a:moveTo>
                  <a:cubicBezTo>
                    <a:pt x="1385" y="42"/>
                    <a:pt x="1385" y="42"/>
                    <a:pt x="1385" y="41"/>
                  </a:cubicBezTo>
                  <a:cubicBezTo>
                    <a:pt x="1384" y="42"/>
                    <a:pt x="1384" y="42"/>
                    <a:pt x="1384" y="42"/>
                  </a:cubicBezTo>
                  <a:close/>
                  <a:moveTo>
                    <a:pt x="614" y="90"/>
                  </a:moveTo>
                  <a:cubicBezTo>
                    <a:pt x="614" y="90"/>
                    <a:pt x="614" y="90"/>
                    <a:pt x="614" y="89"/>
                  </a:cubicBezTo>
                  <a:cubicBezTo>
                    <a:pt x="614" y="90"/>
                    <a:pt x="614" y="90"/>
                    <a:pt x="614" y="90"/>
                  </a:cubicBezTo>
                  <a:close/>
                  <a:moveTo>
                    <a:pt x="748" y="57"/>
                  </a:moveTo>
                  <a:cubicBezTo>
                    <a:pt x="749" y="57"/>
                    <a:pt x="749" y="56"/>
                    <a:pt x="749" y="56"/>
                  </a:cubicBezTo>
                  <a:cubicBezTo>
                    <a:pt x="748" y="56"/>
                    <a:pt x="748" y="57"/>
                    <a:pt x="748" y="57"/>
                  </a:cubicBezTo>
                  <a:close/>
                  <a:moveTo>
                    <a:pt x="1014" y="90"/>
                  </a:moveTo>
                  <a:cubicBezTo>
                    <a:pt x="1014" y="90"/>
                    <a:pt x="1015" y="90"/>
                    <a:pt x="1015" y="90"/>
                  </a:cubicBezTo>
                  <a:cubicBezTo>
                    <a:pt x="1015" y="90"/>
                    <a:pt x="1014" y="90"/>
                    <a:pt x="1014" y="90"/>
                  </a:cubicBezTo>
                  <a:close/>
                  <a:moveTo>
                    <a:pt x="715" y="91"/>
                  </a:moveTo>
                  <a:cubicBezTo>
                    <a:pt x="715" y="91"/>
                    <a:pt x="715" y="90"/>
                    <a:pt x="715" y="90"/>
                  </a:cubicBezTo>
                  <a:cubicBezTo>
                    <a:pt x="715" y="90"/>
                    <a:pt x="715" y="91"/>
                    <a:pt x="715" y="91"/>
                  </a:cubicBezTo>
                  <a:close/>
                  <a:moveTo>
                    <a:pt x="613" y="60"/>
                  </a:moveTo>
                  <a:cubicBezTo>
                    <a:pt x="613" y="60"/>
                    <a:pt x="613" y="61"/>
                    <a:pt x="614" y="61"/>
                  </a:cubicBezTo>
                  <a:cubicBezTo>
                    <a:pt x="614" y="60"/>
                    <a:pt x="614" y="60"/>
                    <a:pt x="613" y="60"/>
                  </a:cubicBezTo>
                  <a:close/>
                  <a:moveTo>
                    <a:pt x="1011" y="91"/>
                  </a:moveTo>
                  <a:cubicBezTo>
                    <a:pt x="1011" y="91"/>
                    <a:pt x="1012" y="91"/>
                    <a:pt x="1012" y="91"/>
                  </a:cubicBezTo>
                  <a:cubicBezTo>
                    <a:pt x="1012" y="91"/>
                    <a:pt x="1011" y="91"/>
                    <a:pt x="1011" y="91"/>
                  </a:cubicBezTo>
                  <a:close/>
                  <a:moveTo>
                    <a:pt x="1010" y="91"/>
                  </a:moveTo>
                  <a:cubicBezTo>
                    <a:pt x="1010" y="91"/>
                    <a:pt x="1011" y="91"/>
                    <a:pt x="1011" y="91"/>
                  </a:cubicBezTo>
                  <a:cubicBezTo>
                    <a:pt x="1010" y="91"/>
                    <a:pt x="1010" y="91"/>
                    <a:pt x="1010" y="91"/>
                  </a:cubicBezTo>
                  <a:close/>
                  <a:moveTo>
                    <a:pt x="1176" y="92"/>
                  </a:moveTo>
                  <a:cubicBezTo>
                    <a:pt x="1176" y="92"/>
                    <a:pt x="1175" y="91"/>
                    <a:pt x="1175" y="91"/>
                  </a:cubicBezTo>
                  <a:cubicBezTo>
                    <a:pt x="1175" y="91"/>
                    <a:pt x="1175" y="92"/>
                    <a:pt x="1176" y="92"/>
                  </a:cubicBezTo>
                  <a:close/>
                  <a:moveTo>
                    <a:pt x="1737" y="41"/>
                  </a:moveTo>
                  <a:cubicBezTo>
                    <a:pt x="1738" y="40"/>
                    <a:pt x="1738" y="40"/>
                    <a:pt x="1738" y="40"/>
                  </a:cubicBezTo>
                  <a:cubicBezTo>
                    <a:pt x="1737" y="40"/>
                    <a:pt x="1737" y="40"/>
                    <a:pt x="1737" y="41"/>
                  </a:cubicBezTo>
                  <a:close/>
                  <a:moveTo>
                    <a:pt x="716" y="92"/>
                  </a:moveTo>
                  <a:cubicBezTo>
                    <a:pt x="716" y="92"/>
                    <a:pt x="716" y="92"/>
                    <a:pt x="715" y="91"/>
                  </a:cubicBezTo>
                  <a:cubicBezTo>
                    <a:pt x="715" y="92"/>
                    <a:pt x="715" y="92"/>
                    <a:pt x="716" y="92"/>
                  </a:cubicBezTo>
                  <a:close/>
                  <a:moveTo>
                    <a:pt x="986" y="91"/>
                  </a:moveTo>
                  <a:cubicBezTo>
                    <a:pt x="986" y="92"/>
                    <a:pt x="986" y="92"/>
                    <a:pt x="987" y="92"/>
                  </a:cubicBezTo>
                  <a:cubicBezTo>
                    <a:pt x="987" y="91"/>
                    <a:pt x="986" y="91"/>
                    <a:pt x="986" y="91"/>
                  </a:cubicBezTo>
                  <a:close/>
                  <a:moveTo>
                    <a:pt x="1008" y="92"/>
                  </a:moveTo>
                  <a:cubicBezTo>
                    <a:pt x="1009" y="92"/>
                    <a:pt x="1009" y="92"/>
                    <a:pt x="1010" y="91"/>
                  </a:cubicBezTo>
                  <a:cubicBezTo>
                    <a:pt x="1009" y="91"/>
                    <a:pt x="1009" y="91"/>
                    <a:pt x="1008" y="92"/>
                  </a:cubicBezTo>
                  <a:close/>
                  <a:moveTo>
                    <a:pt x="1251" y="92"/>
                  </a:moveTo>
                  <a:cubicBezTo>
                    <a:pt x="1252" y="92"/>
                    <a:pt x="1252" y="92"/>
                    <a:pt x="1252" y="91"/>
                  </a:cubicBezTo>
                  <a:cubicBezTo>
                    <a:pt x="1252" y="91"/>
                    <a:pt x="1252" y="91"/>
                    <a:pt x="1251" y="92"/>
                  </a:cubicBezTo>
                  <a:close/>
                  <a:moveTo>
                    <a:pt x="791" y="92"/>
                  </a:moveTo>
                  <a:cubicBezTo>
                    <a:pt x="791" y="92"/>
                    <a:pt x="791" y="92"/>
                    <a:pt x="792" y="92"/>
                  </a:cubicBezTo>
                  <a:cubicBezTo>
                    <a:pt x="791" y="92"/>
                    <a:pt x="791" y="92"/>
                    <a:pt x="791" y="92"/>
                  </a:cubicBezTo>
                  <a:close/>
                  <a:moveTo>
                    <a:pt x="667" y="92"/>
                  </a:moveTo>
                  <a:cubicBezTo>
                    <a:pt x="667" y="92"/>
                    <a:pt x="667" y="93"/>
                    <a:pt x="668" y="92"/>
                  </a:cubicBezTo>
                  <a:cubicBezTo>
                    <a:pt x="667" y="92"/>
                    <a:pt x="667" y="92"/>
                    <a:pt x="667" y="92"/>
                  </a:cubicBezTo>
                  <a:close/>
                  <a:moveTo>
                    <a:pt x="789" y="92"/>
                  </a:moveTo>
                  <a:cubicBezTo>
                    <a:pt x="790" y="92"/>
                    <a:pt x="790" y="92"/>
                    <a:pt x="791" y="92"/>
                  </a:cubicBezTo>
                  <a:cubicBezTo>
                    <a:pt x="790" y="92"/>
                    <a:pt x="790" y="92"/>
                    <a:pt x="789" y="92"/>
                  </a:cubicBezTo>
                  <a:close/>
                  <a:moveTo>
                    <a:pt x="1569" y="41"/>
                  </a:moveTo>
                  <a:cubicBezTo>
                    <a:pt x="1570" y="40"/>
                    <a:pt x="1570" y="40"/>
                    <a:pt x="1570" y="40"/>
                  </a:cubicBezTo>
                  <a:cubicBezTo>
                    <a:pt x="1569" y="40"/>
                    <a:pt x="1569" y="40"/>
                    <a:pt x="1569" y="41"/>
                  </a:cubicBezTo>
                  <a:close/>
                  <a:moveTo>
                    <a:pt x="1176" y="93"/>
                  </a:moveTo>
                  <a:cubicBezTo>
                    <a:pt x="1176" y="93"/>
                    <a:pt x="1176" y="92"/>
                    <a:pt x="1175" y="92"/>
                  </a:cubicBezTo>
                  <a:cubicBezTo>
                    <a:pt x="1175" y="92"/>
                    <a:pt x="1175" y="93"/>
                    <a:pt x="1176" y="93"/>
                  </a:cubicBezTo>
                  <a:close/>
                  <a:moveTo>
                    <a:pt x="668" y="92"/>
                  </a:moveTo>
                  <a:cubicBezTo>
                    <a:pt x="668" y="93"/>
                    <a:pt x="668" y="93"/>
                    <a:pt x="669" y="93"/>
                  </a:cubicBezTo>
                  <a:cubicBezTo>
                    <a:pt x="668" y="92"/>
                    <a:pt x="668" y="92"/>
                    <a:pt x="668" y="92"/>
                  </a:cubicBezTo>
                  <a:close/>
                  <a:moveTo>
                    <a:pt x="716" y="93"/>
                  </a:moveTo>
                  <a:cubicBezTo>
                    <a:pt x="716" y="93"/>
                    <a:pt x="716" y="93"/>
                    <a:pt x="716" y="92"/>
                  </a:cubicBezTo>
                  <a:cubicBezTo>
                    <a:pt x="716" y="93"/>
                    <a:pt x="716" y="93"/>
                    <a:pt x="716" y="93"/>
                  </a:cubicBezTo>
                  <a:close/>
                  <a:moveTo>
                    <a:pt x="772" y="92"/>
                  </a:moveTo>
                  <a:cubicBezTo>
                    <a:pt x="772" y="93"/>
                    <a:pt x="772" y="93"/>
                    <a:pt x="773" y="93"/>
                  </a:cubicBezTo>
                  <a:cubicBezTo>
                    <a:pt x="772" y="92"/>
                    <a:pt x="772" y="92"/>
                    <a:pt x="772" y="92"/>
                  </a:cubicBezTo>
                  <a:close/>
                  <a:moveTo>
                    <a:pt x="788" y="93"/>
                  </a:moveTo>
                  <a:cubicBezTo>
                    <a:pt x="789" y="93"/>
                    <a:pt x="789" y="93"/>
                    <a:pt x="789" y="92"/>
                  </a:cubicBezTo>
                  <a:cubicBezTo>
                    <a:pt x="789" y="92"/>
                    <a:pt x="789" y="92"/>
                    <a:pt x="788" y="93"/>
                  </a:cubicBezTo>
                  <a:close/>
                  <a:moveTo>
                    <a:pt x="1070" y="93"/>
                  </a:moveTo>
                  <a:cubicBezTo>
                    <a:pt x="1071" y="93"/>
                    <a:pt x="1071" y="93"/>
                    <a:pt x="1071" y="92"/>
                  </a:cubicBezTo>
                  <a:cubicBezTo>
                    <a:pt x="1071" y="92"/>
                    <a:pt x="1071" y="92"/>
                    <a:pt x="1070" y="93"/>
                  </a:cubicBezTo>
                  <a:close/>
                  <a:moveTo>
                    <a:pt x="1248" y="93"/>
                  </a:moveTo>
                  <a:cubicBezTo>
                    <a:pt x="1249" y="93"/>
                    <a:pt x="1249" y="93"/>
                    <a:pt x="1249" y="92"/>
                  </a:cubicBezTo>
                  <a:cubicBezTo>
                    <a:pt x="1249" y="92"/>
                    <a:pt x="1249" y="92"/>
                    <a:pt x="1248" y="93"/>
                  </a:cubicBezTo>
                  <a:close/>
                  <a:moveTo>
                    <a:pt x="669" y="93"/>
                  </a:moveTo>
                  <a:cubicBezTo>
                    <a:pt x="669" y="93"/>
                    <a:pt x="670" y="93"/>
                    <a:pt x="670" y="93"/>
                  </a:cubicBezTo>
                  <a:cubicBezTo>
                    <a:pt x="670" y="93"/>
                    <a:pt x="669" y="93"/>
                    <a:pt x="669" y="93"/>
                  </a:cubicBezTo>
                  <a:close/>
                  <a:moveTo>
                    <a:pt x="682" y="93"/>
                  </a:moveTo>
                  <a:cubicBezTo>
                    <a:pt x="682" y="93"/>
                    <a:pt x="682" y="93"/>
                    <a:pt x="683" y="93"/>
                  </a:cubicBezTo>
                  <a:cubicBezTo>
                    <a:pt x="682" y="93"/>
                    <a:pt x="682" y="93"/>
                    <a:pt x="682" y="93"/>
                  </a:cubicBezTo>
                  <a:close/>
                  <a:moveTo>
                    <a:pt x="773" y="93"/>
                  </a:moveTo>
                  <a:cubicBezTo>
                    <a:pt x="773" y="93"/>
                    <a:pt x="774" y="93"/>
                    <a:pt x="774" y="93"/>
                  </a:cubicBezTo>
                  <a:cubicBezTo>
                    <a:pt x="774" y="93"/>
                    <a:pt x="773" y="93"/>
                    <a:pt x="773" y="93"/>
                  </a:cubicBezTo>
                  <a:close/>
                  <a:moveTo>
                    <a:pt x="1055" y="93"/>
                  </a:moveTo>
                  <a:cubicBezTo>
                    <a:pt x="1055" y="93"/>
                    <a:pt x="1056" y="93"/>
                    <a:pt x="1056" y="93"/>
                  </a:cubicBezTo>
                  <a:cubicBezTo>
                    <a:pt x="1056" y="93"/>
                    <a:pt x="1055" y="93"/>
                    <a:pt x="1055" y="93"/>
                  </a:cubicBezTo>
                  <a:close/>
                  <a:moveTo>
                    <a:pt x="1069" y="93"/>
                  </a:moveTo>
                  <a:cubicBezTo>
                    <a:pt x="1069" y="93"/>
                    <a:pt x="1070" y="93"/>
                    <a:pt x="1070" y="93"/>
                  </a:cubicBezTo>
                  <a:cubicBezTo>
                    <a:pt x="1070" y="93"/>
                    <a:pt x="1069" y="93"/>
                    <a:pt x="1069" y="93"/>
                  </a:cubicBezTo>
                  <a:close/>
                  <a:moveTo>
                    <a:pt x="1233" y="93"/>
                  </a:moveTo>
                  <a:cubicBezTo>
                    <a:pt x="1233" y="93"/>
                    <a:pt x="1234" y="93"/>
                    <a:pt x="1234" y="93"/>
                  </a:cubicBezTo>
                  <a:cubicBezTo>
                    <a:pt x="1234" y="93"/>
                    <a:pt x="1233" y="93"/>
                    <a:pt x="1233" y="93"/>
                  </a:cubicBezTo>
                  <a:close/>
                  <a:moveTo>
                    <a:pt x="1247" y="93"/>
                  </a:moveTo>
                  <a:cubicBezTo>
                    <a:pt x="1247" y="93"/>
                    <a:pt x="1248" y="93"/>
                    <a:pt x="1248" y="93"/>
                  </a:cubicBezTo>
                  <a:cubicBezTo>
                    <a:pt x="1248" y="93"/>
                    <a:pt x="1247" y="93"/>
                    <a:pt x="1247" y="93"/>
                  </a:cubicBezTo>
                  <a:close/>
                  <a:moveTo>
                    <a:pt x="636" y="57"/>
                  </a:moveTo>
                  <a:cubicBezTo>
                    <a:pt x="636" y="57"/>
                    <a:pt x="636" y="57"/>
                    <a:pt x="636" y="56"/>
                  </a:cubicBezTo>
                  <a:cubicBezTo>
                    <a:pt x="636" y="57"/>
                    <a:pt x="636" y="57"/>
                    <a:pt x="636" y="57"/>
                  </a:cubicBezTo>
                  <a:close/>
                  <a:moveTo>
                    <a:pt x="731" y="93"/>
                  </a:moveTo>
                  <a:cubicBezTo>
                    <a:pt x="732" y="94"/>
                    <a:pt x="732" y="94"/>
                    <a:pt x="733" y="93"/>
                  </a:cubicBezTo>
                  <a:cubicBezTo>
                    <a:pt x="732" y="93"/>
                    <a:pt x="732" y="93"/>
                    <a:pt x="731" y="93"/>
                  </a:cubicBezTo>
                  <a:close/>
                  <a:moveTo>
                    <a:pt x="645" y="61"/>
                  </a:moveTo>
                  <a:cubicBezTo>
                    <a:pt x="645" y="61"/>
                    <a:pt x="645" y="61"/>
                    <a:pt x="645" y="62"/>
                  </a:cubicBezTo>
                  <a:cubicBezTo>
                    <a:pt x="645" y="62"/>
                    <a:pt x="645" y="61"/>
                    <a:pt x="645" y="61"/>
                  </a:cubicBezTo>
                  <a:close/>
                  <a:moveTo>
                    <a:pt x="639" y="50"/>
                  </a:moveTo>
                  <a:cubicBezTo>
                    <a:pt x="639" y="49"/>
                    <a:pt x="639" y="49"/>
                    <a:pt x="639" y="49"/>
                  </a:cubicBezTo>
                  <a:cubicBezTo>
                    <a:pt x="639" y="49"/>
                    <a:pt x="639" y="49"/>
                    <a:pt x="639" y="50"/>
                  </a:cubicBezTo>
                  <a:close/>
                  <a:moveTo>
                    <a:pt x="1197" y="93"/>
                  </a:moveTo>
                  <a:cubicBezTo>
                    <a:pt x="1198" y="94"/>
                    <a:pt x="1198" y="94"/>
                    <a:pt x="1199" y="93"/>
                  </a:cubicBezTo>
                  <a:cubicBezTo>
                    <a:pt x="1198" y="93"/>
                    <a:pt x="1198" y="93"/>
                    <a:pt x="1197" y="93"/>
                  </a:cubicBezTo>
                  <a:close/>
                  <a:moveTo>
                    <a:pt x="595" y="41"/>
                  </a:moveTo>
                  <a:cubicBezTo>
                    <a:pt x="595" y="40"/>
                    <a:pt x="594" y="40"/>
                    <a:pt x="594" y="40"/>
                  </a:cubicBezTo>
                  <a:cubicBezTo>
                    <a:pt x="594" y="40"/>
                    <a:pt x="594" y="40"/>
                    <a:pt x="595" y="41"/>
                  </a:cubicBezTo>
                  <a:close/>
                  <a:moveTo>
                    <a:pt x="670" y="55"/>
                  </a:moveTo>
                  <a:cubicBezTo>
                    <a:pt x="670" y="55"/>
                    <a:pt x="670" y="55"/>
                    <a:pt x="670" y="56"/>
                  </a:cubicBezTo>
                  <a:cubicBezTo>
                    <a:pt x="670" y="55"/>
                    <a:pt x="670" y="55"/>
                    <a:pt x="670" y="55"/>
                  </a:cubicBezTo>
                  <a:close/>
                  <a:moveTo>
                    <a:pt x="871" y="56"/>
                  </a:moveTo>
                  <a:cubicBezTo>
                    <a:pt x="871" y="56"/>
                    <a:pt x="871" y="57"/>
                    <a:pt x="871" y="57"/>
                  </a:cubicBezTo>
                  <a:cubicBezTo>
                    <a:pt x="871" y="57"/>
                    <a:pt x="871" y="57"/>
                    <a:pt x="871" y="56"/>
                  </a:cubicBezTo>
                  <a:close/>
                  <a:moveTo>
                    <a:pt x="1111" y="56"/>
                  </a:moveTo>
                  <a:cubicBezTo>
                    <a:pt x="1111" y="56"/>
                    <a:pt x="1111" y="57"/>
                    <a:pt x="1111" y="57"/>
                  </a:cubicBezTo>
                  <a:cubicBezTo>
                    <a:pt x="1111" y="57"/>
                    <a:pt x="1111" y="57"/>
                    <a:pt x="1111" y="56"/>
                  </a:cubicBezTo>
                  <a:close/>
                  <a:moveTo>
                    <a:pt x="617" y="97"/>
                  </a:moveTo>
                  <a:cubicBezTo>
                    <a:pt x="616" y="96"/>
                    <a:pt x="616" y="96"/>
                    <a:pt x="616" y="96"/>
                  </a:cubicBezTo>
                  <a:cubicBezTo>
                    <a:pt x="616" y="96"/>
                    <a:pt x="616" y="96"/>
                    <a:pt x="617" y="97"/>
                  </a:cubicBezTo>
                  <a:close/>
                  <a:moveTo>
                    <a:pt x="1208" y="57"/>
                  </a:moveTo>
                  <a:cubicBezTo>
                    <a:pt x="1209" y="57"/>
                    <a:pt x="1209" y="57"/>
                    <a:pt x="1209" y="56"/>
                  </a:cubicBezTo>
                  <a:cubicBezTo>
                    <a:pt x="1208" y="57"/>
                    <a:pt x="1208" y="57"/>
                    <a:pt x="1208" y="57"/>
                  </a:cubicBezTo>
                  <a:close/>
                  <a:moveTo>
                    <a:pt x="1684" y="39"/>
                  </a:moveTo>
                  <a:cubicBezTo>
                    <a:pt x="1683" y="39"/>
                    <a:pt x="1683" y="40"/>
                    <a:pt x="1683" y="40"/>
                  </a:cubicBezTo>
                  <a:cubicBezTo>
                    <a:pt x="1684" y="40"/>
                    <a:pt x="1684" y="40"/>
                    <a:pt x="1684" y="39"/>
                  </a:cubicBezTo>
                  <a:close/>
                  <a:moveTo>
                    <a:pt x="617" y="98"/>
                  </a:moveTo>
                  <a:cubicBezTo>
                    <a:pt x="617" y="98"/>
                    <a:pt x="617" y="98"/>
                    <a:pt x="617" y="97"/>
                  </a:cubicBezTo>
                  <a:cubicBezTo>
                    <a:pt x="617" y="98"/>
                    <a:pt x="617" y="98"/>
                    <a:pt x="617" y="98"/>
                  </a:cubicBezTo>
                  <a:close/>
                  <a:moveTo>
                    <a:pt x="1385" y="40"/>
                  </a:moveTo>
                  <a:cubicBezTo>
                    <a:pt x="1385" y="40"/>
                    <a:pt x="1385" y="40"/>
                    <a:pt x="1385" y="39"/>
                  </a:cubicBezTo>
                  <a:cubicBezTo>
                    <a:pt x="1385" y="39"/>
                    <a:pt x="1385" y="40"/>
                    <a:pt x="1385" y="40"/>
                  </a:cubicBezTo>
                  <a:close/>
                  <a:moveTo>
                    <a:pt x="1017" y="99"/>
                  </a:moveTo>
                  <a:cubicBezTo>
                    <a:pt x="1017" y="99"/>
                    <a:pt x="1017" y="99"/>
                    <a:pt x="1016" y="100"/>
                  </a:cubicBezTo>
                  <a:cubicBezTo>
                    <a:pt x="1017" y="100"/>
                    <a:pt x="1017" y="100"/>
                    <a:pt x="1017" y="99"/>
                  </a:cubicBezTo>
                  <a:close/>
                  <a:moveTo>
                    <a:pt x="1255" y="100"/>
                  </a:moveTo>
                  <a:cubicBezTo>
                    <a:pt x="1255" y="100"/>
                    <a:pt x="1254" y="100"/>
                    <a:pt x="1254" y="100"/>
                  </a:cubicBezTo>
                  <a:cubicBezTo>
                    <a:pt x="1255" y="100"/>
                    <a:pt x="1255" y="101"/>
                    <a:pt x="1255" y="100"/>
                  </a:cubicBezTo>
                  <a:close/>
                  <a:moveTo>
                    <a:pt x="794" y="100"/>
                  </a:moveTo>
                  <a:cubicBezTo>
                    <a:pt x="794" y="100"/>
                    <a:pt x="794" y="101"/>
                    <a:pt x="793" y="101"/>
                  </a:cubicBezTo>
                  <a:cubicBezTo>
                    <a:pt x="794" y="101"/>
                    <a:pt x="794" y="101"/>
                    <a:pt x="794" y="100"/>
                  </a:cubicBezTo>
                  <a:close/>
                  <a:moveTo>
                    <a:pt x="573" y="101"/>
                  </a:moveTo>
                  <a:cubicBezTo>
                    <a:pt x="573" y="101"/>
                    <a:pt x="572" y="101"/>
                    <a:pt x="572" y="101"/>
                  </a:cubicBezTo>
                  <a:cubicBezTo>
                    <a:pt x="573" y="101"/>
                    <a:pt x="573" y="101"/>
                    <a:pt x="573" y="101"/>
                  </a:cubicBezTo>
                  <a:close/>
                  <a:moveTo>
                    <a:pt x="765" y="101"/>
                  </a:moveTo>
                  <a:cubicBezTo>
                    <a:pt x="765" y="101"/>
                    <a:pt x="765" y="101"/>
                    <a:pt x="764" y="101"/>
                  </a:cubicBezTo>
                  <a:cubicBezTo>
                    <a:pt x="765" y="101"/>
                    <a:pt x="765" y="101"/>
                    <a:pt x="765" y="101"/>
                  </a:cubicBezTo>
                  <a:close/>
                  <a:moveTo>
                    <a:pt x="1013" y="101"/>
                  </a:moveTo>
                  <a:cubicBezTo>
                    <a:pt x="1013" y="101"/>
                    <a:pt x="1012" y="101"/>
                    <a:pt x="1012" y="101"/>
                  </a:cubicBezTo>
                  <a:cubicBezTo>
                    <a:pt x="1013" y="101"/>
                    <a:pt x="1013" y="101"/>
                    <a:pt x="1013" y="101"/>
                  </a:cubicBezTo>
                  <a:close/>
                  <a:moveTo>
                    <a:pt x="1076" y="101"/>
                  </a:moveTo>
                  <a:cubicBezTo>
                    <a:pt x="1075" y="101"/>
                    <a:pt x="1075" y="101"/>
                    <a:pt x="1074" y="101"/>
                  </a:cubicBezTo>
                  <a:cubicBezTo>
                    <a:pt x="1075" y="101"/>
                    <a:pt x="1075" y="101"/>
                    <a:pt x="1076" y="101"/>
                  </a:cubicBezTo>
                  <a:close/>
                  <a:moveTo>
                    <a:pt x="572" y="101"/>
                  </a:moveTo>
                  <a:cubicBezTo>
                    <a:pt x="572" y="101"/>
                    <a:pt x="571" y="101"/>
                    <a:pt x="571" y="101"/>
                  </a:cubicBezTo>
                  <a:cubicBezTo>
                    <a:pt x="572" y="102"/>
                    <a:pt x="572" y="102"/>
                    <a:pt x="572" y="101"/>
                  </a:cubicBezTo>
                  <a:close/>
                  <a:moveTo>
                    <a:pt x="629" y="101"/>
                  </a:moveTo>
                  <a:cubicBezTo>
                    <a:pt x="629" y="101"/>
                    <a:pt x="629" y="102"/>
                    <a:pt x="629" y="102"/>
                  </a:cubicBezTo>
                  <a:cubicBezTo>
                    <a:pt x="629" y="102"/>
                    <a:pt x="629" y="102"/>
                    <a:pt x="629" y="101"/>
                  </a:cubicBezTo>
                  <a:close/>
                  <a:moveTo>
                    <a:pt x="792" y="101"/>
                  </a:moveTo>
                  <a:cubicBezTo>
                    <a:pt x="792" y="101"/>
                    <a:pt x="791" y="101"/>
                    <a:pt x="791" y="102"/>
                  </a:cubicBezTo>
                  <a:cubicBezTo>
                    <a:pt x="792" y="102"/>
                    <a:pt x="792" y="102"/>
                    <a:pt x="792" y="101"/>
                  </a:cubicBezTo>
                  <a:close/>
                  <a:moveTo>
                    <a:pt x="982" y="102"/>
                  </a:moveTo>
                  <a:cubicBezTo>
                    <a:pt x="981" y="101"/>
                    <a:pt x="981" y="101"/>
                    <a:pt x="981" y="101"/>
                  </a:cubicBezTo>
                  <a:cubicBezTo>
                    <a:pt x="981" y="102"/>
                    <a:pt x="981" y="102"/>
                    <a:pt x="982" y="102"/>
                  </a:cubicBezTo>
                  <a:close/>
                  <a:moveTo>
                    <a:pt x="1012" y="101"/>
                  </a:moveTo>
                  <a:cubicBezTo>
                    <a:pt x="1012" y="101"/>
                    <a:pt x="1011" y="101"/>
                    <a:pt x="1011" y="101"/>
                  </a:cubicBezTo>
                  <a:cubicBezTo>
                    <a:pt x="1011" y="101"/>
                    <a:pt x="1012" y="102"/>
                    <a:pt x="1012" y="101"/>
                  </a:cubicBezTo>
                  <a:close/>
                  <a:moveTo>
                    <a:pt x="1048" y="101"/>
                  </a:moveTo>
                  <a:cubicBezTo>
                    <a:pt x="1048" y="101"/>
                    <a:pt x="1048" y="101"/>
                    <a:pt x="1047" y="101"/>
                  </a:cubicBezTo>
                  <a:cubicBezTo>
                    <a:pt x="1048" y="102"/>
                    <a:pt x="1048" y="101"/>
                    <a:pt x="1048" y="101"/>
                  </a:cubicBezTo>
                  <a:close/>
                  <a:moveTo>
                    <a:pt x="1075" y="101"/>
                  </a:moveTo>
                  <a:cubicBezTo>
                    <a:pt x="1074" y="101"/>
                    <a:pt x="1074" y="101"/>
                    <a:pt x="1073" y="101"/>
                  </a:cubicBezTo>
                  <a:cubicBezTo>
                    <a:pt x="1074" y="101"/>
                    <a:pt x="1074" y="102"/>
                    <a:pt x="1075" y="101"/>
                  </a:cubicBezTo>
                  <a:close/>
                  <a:moveTo>
                    <a:pt x="1226" y="101"/>
                  </a:moveTo>
                  <a:cubicBezTo>
                    <a:pt x="1226" y="101"/>
                    <a:pt x="1226" y="101"/>
                    <a:pt x="1225" y="101"/>
                  </a:cubicBezTo>
                  <a:cubicBezTo>
                    <a:pt x="1225" y="102"/>
                    <a:pt x="1226" y="102"/>
                    <a:pt x="1226" y="101"/>
                  </a:cubicBezTo>
                  <a:close/>
                  <a:moveTo>
                    <a:pt x="571" y="101"/>
                  </a:moveTo>
                  <a:cubicBezTo>
                    <a:pt x="571" y="101"/>
                    <a:pt x="570" y="101"/>
                    <a:pt x="570" y="102"/>
                  </a:cubicBezTo>
                  <a:cubicBezTo>
                    <a:pt x="570" y="102"/>
                    <a:pt x="571" y="102"/>
                    <a:pt x="571" y="101"/>
                  </a:cubicBezTo>
                  <a:close/>
                  <a:moveTo>
                    <a:pt x="618" y="103"/>
                  </a:moveTo>
                  <a:cubicBezTo>
                    <a:pt x="618" y="102"/>
                    <a:pt x="618" y="102"/>
                    <a:pt x="618" y="102"/>
                  </a:cubicBezTo>
                  <a:cubicBezTo>
                    <a:pt x="618" y="102"/>
                    <a:pt x="618" y="102"/>
                    <a:pt x="618" y="103"/>
                  </a:cubicBezTo>
                  <a:close/>
                  <a:moveTo>
                    <a:pt x="665" y="102"/>
                  </a:moveTo>
                  <a:cubicBezTo>
                    <a:pt x="664" y="101"/>
                    <a:pt x="664" y="101"/>
                    <a:pt x="663" y="101"/>
                  </a:cubicBezTo>
                  <a:cubicBezTo>
                    <a:pt x="664" y="102"/>
                    <a:pt x="664" y="102"/>
                    <a:pt x="665" y="102"/>
                  </a:cubicBezTo>
                  <a:close/>
                  <a:moveTo>
                    <a:pt x="724" y="102"/>
                  </a:moveTo>
                  <a:cubicBezTo>
                    <a:pt x="724" y="102"/>
                    <a:pt x="724" y="101"/>
                    <a:pt x="723" y="101"/>
                  </a:cubicBezTo>
                  <a:cubicBezTo>
                    <a:pt x="724" y="102"/>
                    <a:pt x="724" y="102"/>
                    <a:pt x="724" y="102"/>
                  </a:cubicBezTo>
                  <a:close/>
                  <a:moveTo>
                    <a:pt x="791" y="101"/>
                  </a:moveTo>
                  <a:cubicBezTo>
                    <a:pt x="791" y="101"/>
                    <a:pt x="790" y="101"/>
                    <a:pt x="790" y="102"/>
                  </a:cubicBezTo>
                  <a:cubicBezTo>
                    <a:pt x="790" y="102"/>
                    <a:pt x="791" y="102"/>
                    <a:pt x="791" y="101"/>
                  </a:cubicBezTo>
                  <a:close/>
                  <a:moveTo>
                    <a:pt x="983" y="102"/>
                  </a:moveTo>
                  <a:cubicBezTo>
                    <a:pt x="982" y="101"/>
                    <a:pt x="982" y="101"/>
                    <a:pt x="982" y="101"/>
                  </a:cubicBezTo>
                  <a:cubicBezTo>
                    <a:pt x="982" y="102"/>
                    <a:pt x="982" y="102"/>
                    <a:pt x="983" y="102"/>
                  </a:cubicBezTo>
                  <a:close/>
                  <a:moveTo>
                    <a:pt x="1050" y="102"/>
                  </a:moveTo>
                  <a:cubicBezTo>
                    <a:pt x="1049" y="102"/>
                    <a:pt x="1049" y="101"/>
                    <a:pt x="1048" y="101"/>
                  </a:cubicBezTo>
                  <a:cubicBezTo>
                    <a:pt x="1049" y="102"/>
                    <a:pt x="1049" y="102"/>
                    <a:pt x="1050" y="102"/>
                  </a:cubicBezTo>
                  <a:close/>
                  <a:moveTo>
                    <a:pt x="1073" y="102"/>
                  </a:moveTo>
                  <a:cubicBezTo>
                    <a:pt x="1073" y="102"/>
                    <a:pt x="1072" y="102"/>
                    <a:pt x="1072" y="102"/>
                  </a:cubicBezTo>
                  <a:cubicBezTo>
                    <a:pt x="1072" y="102"/>
                    <a:pt x="1073" y="102"/>
                    <a:pt x="1073" y="102"/>
                  </a:cubicBezTo>
                  <a:close/>
                  <a:moveTo>
                    <a:pt x="1227" y="102"/>
                  </a:moveTo>
                  <a:cubicBezTo>
                    <a:pt x="1227" y="102"/>
                    <a:pt x="1227" y="101"/>
                    <a:pt x="1226" y="101"/>
                  </a:cubicBezTo>
                  <a:cubicBezTo>
                    <a:pt x="1227" y="102"/>
                    <a:pt x="1227" y="102"/>
                    <a:pt x="1227" y="102"/>
                  </a:cubicBezTo>
                  <a:close/>
                  <a:moveTo>
                    <a:pt x="1251" y="102"/>
                  </a:moveTo>
                  <a:cubicBezTo>
                    <a:pt x="1251" y="101"/>
                    <a:pt x="1250" y="102"/>
                    <a:pt x="1250" y="102"/>
                  </a:cubicBezTo>
                  <a:cubicBezTo>
                    <a:pt x="1250" y="102"/>
                    <a:pt x="1251" y="102"/>
                    <a:pt x="1251" y="102"/>
                  </a:cubicBezTo>
                  <a:close/>
                  <a:moveTo>
                    <a:pt x="1430" y="102"/>
                  </a:moveTo>
                  <a:cubicBezTo>
                    <a:pt x="1430" y="102"/>
                    <a:pt x="1430" y="101"/>
                    <a:pt x="1429" y="101"/>
                  </a:cubicBezTo>
                  <a:cubicBezTo>
                    <a:pt x="1429" y="102"/>
                    <a:pt x="1430" y="102"/>
                    <a:pt x="1430" y="102"/>
                  </a:cubicBezTo>
                  <a:close/>
                  <a:moveTo>
                    <a:pt x="570" y="102"/>
                  </a:moveTo>
                  <a:cubicBezTo>
                    <a:pt x="569" y="102"/>
                    <a:pt x="569" y="102"/>
                    <a:pt x="569" y="102"/>
                  </a:cubicBezTo>
                  <a:cubicBezTo>
                    <a:pt x="569" y="102"/>
                    <a:pt x="569" y="102"/>
                    <a:pt x="570" y="102"/>
                  </a:cubicBezTo>
                  <a:close/>
                  <a:moveTo>
                    <a:pt x="666" y="102"/>
                  </a:moveTo>
                  <a:cubicBezTo>
                    <a:pt x="666" y="102"/>
                    <a:pt x="665" y="102"/>
                    <a:pt x="665" y="102"/>
                  </a:cubicBezTo>
                  <a:cubicBezTo>
                    <a:pt x="665" y="102"/>
                    <a:pt x="666" y="102"/>
                    <a:pt x="666" y="102"/>
                  </a:cubicBezTo>
                  <a:close/>
                  <a:moveTo>
                    <a:pt x="685" y="102"/>
                  </a:moveTo>
                  <a:cubicBezTo>
                    <a:pt x="685" y="102"/>
                    <a:pt x="684" y="102"/>
                    <a:pt x="684" y="102"/>
                  </a:cubicBezTo>
                  <a:cubicBezTo>
                    <a:pt x="684" y="102"/>
                    <a:pt x="685" y="102"/>
                    <a:pt x="685" y="102"/>
                  </a:cubicBezTo>
                  <a:close/>
                  <a:moveTo>
                    <a:pt x="740" y="102"/>
                  </a:moveTo>
                  <a:cubicBezTo>
                    <a:pt x="740" y="102"/>
                    <a:pt x="740" y="102"/>
                    <a:pt x="739" y="102"/>
                  </a:cubicBezTo>
                  <a:cubicBezTo>
                    <a:pt x="740" y="102"/>
                    <a:pt x="740" y="102"/>
                    <a:pt x="740" y="102"/>
                  </a:cubicBezTo>
                  <a:close/>
                  <a:moveTo>
                    <a:pt x="769" y="102"/>
                  </a:moveTo>
                  <a:cubicBezTo>
                    <a:pt x="768" y="102"/>
                    <a:pt x="768" y="102"/>
                    <a:pt x="768" y="102"/>
                  </a:cubicBezTo>
                  <a:cubicBezTo>
                    <a:pt x="768" y="102"/>
                    <a:pt x="768" y="102"/>
                    <a:pt x="769" y="102"/>
                  </a:cubicBezTo>
                  <a:close/>
                  <a:moveTo>
                    <a:pt x="790" y="102"/>
                  </a:moveTo>
                  <a:cubicBezTo>
                    <a:pt x="789" y="102"/>
                    <a:pt x="789" y="102"/>
                    <a:pt x="789" y="102"/>
                  </a:cubicBezTo>
                  <a:cubicBezTo>
                    <a:pt x="789" y="102"/>
                    <a:pt x="789" y="102"/>
                    <a:pt x="790" y="102"/>
                  </a:cubicBezTo>
                  <a:close/>
                  <a:moveTo>
                    <a:pt x="1031" y="55"/>
                  </a:moveTo>
                  <a:cubicBezTo>
                    <a:pt x="1031" y="55"/>
                    <a:pt x="1031" y="55"/>
                    <a:pt x="1031" y="54"/>
                  </a:cubicBezTo>
                  <a:cubicBezTo>
                    <a:pt x="1031" y="54"/>
                    <a:pt x="1031" y="55"/>
                    <a:pt x="1031" y="55"/>
                  </a:cubicBezTo>
                  <a:close/>
                  <a:moveTo>
                    <a:pt x="1051" y="102"/>
                  </a:moveTo>
                  <a:cubicBezTo>
                    <a:pt x="1050" y="102"/>
                    <a:pt x="1050" y="102"/>
                    <a:pt x="1049" y="102"/>
                  </a:cubicBezTo>
                  <a:cubicBezTo>
                    <a:pt x="1050" y="102"/>
                    <a:pt x="1050" y="102"/>
                    <a:pt x="1051" y="102"/>
                  </a:cubicBezTo>
                  <a:close/>
                  <a:moveTo>
                    <a:pt x="1072" y="102"/>
                  </a:moveTo>
                  <a:cubicBezTo>
                    <a:pt x="1071" y="102"/>
                    <a:pt x="1071" y="102"/>
                    <a:pt x="1071" y="102"/>
                  </a:cubicBezTo>
                  <a:cubicBezTo>
                    <a:pt x="1071" y="102"/>
                    <a:pt x="1071" y="102"/>
                    <a:pt x="1072" y="102"/>
                  </a:cubicBezTo>
                  <a:close/>
                  <a:moveTo>
                    <a:pt x="1185" y="102"/>
                  </a:moveTo>
                  <a:cubicBezTo>
                    <a:pt x="1185" y="102"/>
                    <a:pt x="1185" y="102"/>
                    <a:pt x="1184" y="102"/>
                  </a:cubicBezTo>
                  <a:cubicBezTo>
                    <a:pt x="1184" y="102"/>
                    <a:pt x="1185" y="102"/>
                    <a:pt x="1185" y="102"/>
                  </a:cubicBezTo>
                  <a:close/>
                  <a:moveTo>
                    <a:pt x="1200" y="102"/>
                  </a:moveTo>
                  <a:cubicBezTo>
                    <a:pt x="1200" y="102"/>
                    <a:pt x="1199" y="102"/>
                    <a:pt x="1199" y="102"/>
                  </a:cubicBezTo>
                  <a:cubicBezTo>
                    <a:pt x="1200" y="102"/>
                    <a:pt x="1200" y="102"/>
                    <a:pt x="1200" y="102"/>
                  </a:cubicBezTo>
                  <a:close/>
                  <a:moveTo>
                    <a:pt x="1229" y="102"/>
                  </a:moveTo>
                  <a:cubicBezTo>
                    <a:pt x="1228" y="102"/>
                    <a:pt x="1228" y="102"/>
                    <a:pt x="1227" y="102"/>
                  </a:cubicBezTo>
                  <a:cubicBezTo>
                    <a:pt x="1228" y="102"/>
                    <a:pt x="1228" y="102"/>
                    <a:pt x="1229" y="102"/>
                  </a:cubicBezTo>
                  <a:close/>
                  <a:moveTo>
                    <a:pt x="1250" y="102"/>
                  </a:moveTo>
                  <a:cubicBezTo>
                    <a:pt x="1249" y="102"/>
                    <a:pt x="1249" y="102"/>
                    <a:pt x="1248" y="102"/>
                  </a:cubicBezTo>
                  <a:cubicBezTo>
                    <a:pt x="1249" y="102"/>
                    <a:pt x="1249" y="102"/>
                    <a:pt x="1250" y="102"/>
                  </a:cubicBezTo>
                  <a:close/>
                  <a:moveTo>
                    <a:pt x="1431" y="102"/>
                  </a:moveTo>
                  <a:cubicBezTo>
                    <a:pt x="1431" y="102"/>
                    <a:pt x="1431" y="102"/>
                    <a:pt x="1430" y="102"/>
                  </a:cubicBezTo>
                  <a:cubicBezTo>
                    <a:pt x="1431" y="102"/>
                    <a:pt x="1431" y="102"/>
                    <a:pt x="1431" y="102"/>
                  </a:cubicBezTo>
                  <a:close/>
                  <a:moveTo>
                    <a:pt x="1448" y="102"/>
                  </a:moveTo>
                  <a:cubicBezTo>
                    <a:pt x="1448" y="102"/>
                    <a:pt x="1448" y="102"/>
                    <a:pt x="1447" y="102"/>
                  </a:cubicBezTo>
                  <a:cubicBezTo>
                    <a:pt x="1448" y="102"/>
                    <a:pt x="1448" y="102"/>
                    <a:pt x="1448" y="102"/>
                  </a:cubicBezTo>
                  <a:close/>
                  <a:moveTo>
                    <a:pt x="1652" y="62"/>
                  </a:moveTo>
                  <a:cubicBezTo>
                    <a:pt x="1651" y="62"/>
                    <a:pt x="1651" y="62"/>
                    <a:pt x="1651" y="62"/>
                  </a:cubicBezTo>
                  <a:cubicBezTo>
                    <a:pt x="1651" y="62"/>
                    <a:pt x="1651" y="62"/>
                    <a:pt x="1652" y="62"/>
                  </a:cubicBezTo>
                  <a:close/>
                  <a:moveTo>
                    <a:pt x="667" y="103"/>
                  </a:moveTo>
                  <a:cubicBezTo>
                    <a:pt x="667" y="102"/>
                    <a:pt x="667" y="102"/>
                    <a:pt x="666" y="102"/>
                  </a:cubicBezTo>
                  <a:cubicBezTo>
                    <a:pt x="667" y="103"/>
                    <a:pt x="667" y="103"/>
                    <a:pt x="667" y="103"/>
                  </a:cubicBezTo>
                  <a:close/>
                  <a:moveTo>
                    <a:pt x="727" y="103"/>
                  </a:moveTo>
                  <a:cubicBezTo>
                    <a:pt x="726" y="102"/>
                    <a:pt x="726" y="102"/>
                    <a:pt x="725" y="102"/>
                  </a:cubicBezTo>
                  <a:cubicBezTo>
                    <a:pt x="726" y="103"/>
                    <a:pt x="726" y="103"/>
                    <a:pt x="727" y="103"/>
                  </a:cubicBezTo>
                  <a:close/>
                  <a:moveTo>
                    <a:pt x="739" y="102"/>
                  </a:moveTo>
                  <a:cubicBezTo>
                    <a:pt x="739" y="102"/>
                    <a:pt x="738" y="102"/>
                    <a:pt x="738" y="103"/>
                  </a:cubicBezTo>
                  <a:cubicBezTo>
                    <a:pt x="738" y="103"/>
                    <a:pt x="739" y="103"/>
                    <a:pt x="739" y="102"/>
                  </a:cubicBezTo>
                  <a:close/>
                  <a:moveTo>
                    <a:pt x="770" y="103"/>
                  </a:moveTo>
                  <a:cubicBezTo>
                    <a:pt x="770" y="102"/>
                    <a:pt x="769" y="102"/>
                    <a:pt x="769" y="102"/>
                  </a:cubicBezTo>
                  <a:cubicBezTo>
                    <a:pt x="769" y="103"/>
                    <a:pt x="770" y="103"/>
                    <a:pt x="770" y="103"/>
                  </a:cubicBezTo>
                  <a:close/>
                  <a:moveTo>
                    <a:pt x="1186" y="103"/>
                  </a:moveTo>
                  <a:cubicBezTo>
                    <a:pt x="1186" y="102"/>
                    <a:pt x="1186" y="102"/>
                    <a:pt x="1185" y="102"/>
                  </a:cubicBezTo>
                  <a:cubicBezTo>
                    <a:pt x="1186" y="103"/>
                    <a:pt x="1186" y="103"/>
                    <a:pt x="1186" y="103"/>
                  </a:cubicBezTo>
                  <a:close/>
                  <a:moveTo>
                    <a:pt x="1199" y="102"/>
                  </a:moveTo>
                  <a:cubicBezTo>
                    <a:pt x="1199" y="102"/>
                    <a:pt x="1198" y="102"/>
                    <a:pt x="1198" y="103"/>
                  </a:cubicBezTo>
                  <a:cubicBezTo>
                    <a:pt x="1198" y="103"/>
                    <a:pt x="1199" y="103"/>
                    <a:pt x="1199" y="102"/>
                  </a:cubicBezTo>
                  <a:close/>
                  <a:moveTo>
                    <a:pt x="953" y="40"/>
                  </a:moveTo>
                  <a:cubicBezTo>
                    <a:pt x="953" y="40"/>
                    <a:pt x="953" y="40"/>
                    <a:pt x="953" y="39"/>
                  </a:cubicBezTo>
                  <a:cubicBezTo>
                    <a:pt x="953" y="39"/>
                    <a:pt x="953" y="40"/>
                    <a:pt x="953" y="40"/>
                  </a:cubicBezTo>
                  <a:close/>
                  <a:moveTo>
                    <a:pt x="645" y="63"/>
                  </a:moveTo>
                  <a:cubicBezTo>
                    <a:pt x="644" y="63"/>
                    <a:pt x="644" y="63"/>
                    <a:pt x="644" y="64"/>
                  </a:cubicBezTo>
                  <a:cubicBezTo>
                    <a:pt x="645" y="63"/>
                    <a:pt x="645" y="63"/>
                    <a:pt x="645" y="63"/>
                  </a:cubicBezTo>
                  <a:close/>
                  <a:moveTo>
                    <a:pt x="611" y="52"/>
                  </a:moveTo>
                  <a:cubicBezTo>
                    <a:pt x="610" y="52"/>
                    <a:pt x="611" y="53"/>
                    <a:pt x="611" y="53"/>
                  </a:cubicBezTo>
                  <a:cubicBezTo>
                    <a:pt x="611" y="52"/>
                    <a:pt x="611" y="52"/>
                    <a:pt x="611" y="52"/>
                  </a:cubicBezTo>
                  <a:close/>
                  <a:moveTo>
                    <a:pt x="642" y="40"/>
                  </a:moveTo>
                  <a:cubicBezTo>
                    <a:pt x="643" y="40"/>
                    <a:pt x="643" y="40"/>
                    <a:pt x="643" y="39"/>
                  </a:cubicBezTo>
                  <a:cubicBezTo>
                    <a:pt x="642" y="39"/>
                    <a:pt x="642" y="40"/>
                    <a:pt x="642" y="40"/>
                  </a:cubicBezTo>
                  <a:close/>
                  <a:moveTo>
                    <a:pt x="803" y="48"/>
                  </a:moveTo>
                  <a:cubicBezTo>
                    <a:pt x="803" y="48"/>
                    <a:pt x="803" y="48"/>
                    <a:pt x="803" y="49"/>
                  </a:cubicBezTo>
                  <a:cubicBezTo>
                    <a:pt x="803" y="48"/>
                    <a:pt x="803" y="48"/>
                    <a:pt x="803" y="48"/>
                  </a:cubicBezTo>
                  <a:close/>
                  <a:moveTo>
                    <a:pt x="670" y="48"/>
                  </a:moveTo>
                  <a:cubicBezTo>
                    <a:pt x="670" y="48"/>
                    <a:pt x="670" y="48"/>
                    <a:pt x="670" y="49"/>
                  </a:cubicBezTo>
                  <a:cubicBezTo>
                    <a:pt x="670" y="48"/>
                    <a:pt x="670" y="48"/>
                    <a:pt x="670" y="48"/>
                  </a:cubicBezTo>
                  <a:close/>
                  <a:moveTo>
                    <a:pt x="651" y="48"/>
                  </a:moveTo>
                  <a:cubicBezTo>
                    <a:pt x="650" y="48"/>
                    <a:pt x="650" y="48"/>
                    <a:pt x="650" y="49"/>
                  </a:cubicBezTo>
                  <a:cubicBezTo>
                    <a:pt x="651" y="48"/>
                    <a:pt x="651" y="48"/>
                    <a:pt x="651" y="48"/>
                  </a:cubicBezTo>
                  <a:close/>
                  <a:moveTo>
                    <a:pt x="598" y="49"/>
                  </a:moveTo>
                  <a:cubicBezTo>
                    <a:pt x="598" y="48"/>
                    <a:pt x="598" y="48"/>
                    <a:pt x="597" y="48"/>
                  </a:cubicBezTo>
                  <a:cubicBezTo>
                    <a:pt x="597" y="48"/>
                    <a:pt x="597" y="48"/>
                    <a:pt x="598" y="49"/>
                  </a:cubicBezTo>
                  <a:close/>
                  <a:moveTo>
                    <a:pt x="629" y="103"/>
                  </a:moveTo>
                  <a:cubicBezTo>
                    <a:pt x="628" y="103"/>
                    <a:pt x="628" y="104"/>
                    <a:pt x="628" y="104"/>
                  </a:cubicBezTo>
                  <a:cubicBezTo>
                    <a:pt x="629" y="104"/>
                    <a:pt x="629" y="103"/>
                    <a:pt x="629" y="103"/>
                  </a:cubicBezTo>
                  <a:close/>
                  <a:moveTo>
                    <a:pt x="628" y="105"/>
                  </a:moveTo>
                  <a:cubicBezTo>
                    <a:pt x="628" y="105"/>
                    <a:pt x="628" y="105"/>
                    <a:pt x="628" y="106"/>
                  </a:cubicBezTo>
                  <a:cubicBezTo>
                    <a:pt x="628" y="105"/>
                    <a:pt x="628" y="105"/>
                    <a:pt x="628" y="105"/>
                  </a:cubicBezTo>
                  <a:close/>
                  <a:moveTo>
                    <a:pt x="627" y="106"/>
                  </a:moveTo>
                  <a:cubicBezTo>
                    <a:pt x="627" y="107"/>
                    <a:pt x="627" y="107"/>
                    <a:pt x="627" y="107"/>
                  </a:cubicBezTo>
                  <a:cubicBezTo>
                    <a:pt x="627" y="107"/>
                    <a:pt x="627" y="107"/>
                    <a:pt x="627" y="106"/>
                  </a:cubicBezTo>
                  <a:close/>
                  <a:moveTo>
                    <a:pt x="596" y="123"/>
                  </a:moveTo>
                  <a:cubicBezTo>
                    <a:pt x="596" y="123"/>
                    <a:pt x="596" y="123"/>
                    <a:pt x="597" y="123"/>
                  </a:cubicBezTo>
                  <a:cubicBezTo>
                    <a:pt x="596" y="123"/>
                    <a:pt x="596" y="123"/>
                    <a:pt x="596" y="123"/>
                  </a:cubicBezTo>
                  <a:close/>
                  <a:moveTo>
                    <a:pt x="634" y="64"/>
                  </a:moveTo>
                  <a:cubicBezTo>
                    <a:pt x="634" y="64"/>
                    <a:pt x="634" y="63"/>
                    <a:pt x="634" y="63"/>
                  </a:cubicBezTo>
                  <a:cubicBezTo>
                    <a:pt x="633" y="63"/>
                    <a:pt x="634" y="64"/>
                    <a:pt x="634" y="64"/>
                  </a:cubicBezTo>
                  <a:close/>
                  <a:moveTo>
                    <a:pt x="603" y="123"/>
                  </a:moveTo>
                  <a:cubicBezTo>
                    <a:pt x="604" y="123"/>
                    <a:pt x="604" y="123"/>
                    <a:pt x="604" y="123"/>
                  </a:cubicBezTo>
                  <a:cubicBezTo>
                    <a:pt x="604" y="123"/>
                    <a:pt x="604" y="123"/>
                    <a:pt x="603" y="123"/>
                  </a:cubicBezTo>
                  <a:close/>
                  <a:moveTo>
                    <a:pt x="1032" y="52"/>
                  </a:moveTo>
                  <a:cubicBezTo>
                    <a:pt x="1032" y="52"/>
                    <a:pt x="1032" y="52"/>
                    <a:pt x="1032" y="51"/>
                  </a:cubicBezTo>
                  <a:cubicBezTo>
                    <a:pt x="1032" y="52"/>
                    <a:pt x="1032" y="52"/>
                    <a:pt x="1032" y="52"/>
                  </a:cubicBezTo>
                  <a:close/>
                  <a:moveTo>
                    <a:pt x="608" y="132"/>
                  </a:moveTo>
                  <a:cubicBezTo>
                    <a:pt x="607" y="132"/>
                    <a:pt x="607" y="132"/>
                    <a:pt x="607" y="132"/>
                  </a:cubicBezTo>
                  <a:cubicBezTo>
                    <a:pt x="607" y="132"/>
                    <a:pt x="607" y="133"/>
                    <a:pt x="608" y="132"/>
                  </a:cubicBezTo>
                  <a:close/>
                  <a:moveTo>
                    <a:pt x="1179" y="16"/>
                  </a:moveTo>
                  <a:cubicBezTo>
                    <a:pt x="1180" y="16"/>
                    <a:pt x="1180" y="16"/>
                    <a:pt x="1180" y="16"/>
                  </a:cubicBezTo>
                  <a:cubicBezTo>
                    <a:pt x="1180" y="16"/>
                    <a:pt x="1180" y="16"/>
                    <a:pt x="1179" y="16"/>
                  </a:cubicBezTo>
                  <a:close/>
                  <a:moveTo>
                    <a:pt x="1393" y="16"/>
                  </a:moveTo>
                  <a:cubicBezTo>
                    <a:pt x="1393" y="16"/>
                    <a:pt x="1393" y="16"/>
                    <a:pt x="1393" y="17"/>
                  </a:cubicBezTo>
                  <a:cubicBezTo>
                    <a:pt x="1393" y="16"/>
                    <a:pt x="1393" y="16"/>
                    <a:pt x="1393" y="16"/>
                  </a:cubicBezTo>
                  <a:close/>
                  <a:moveTo>
                    <a:pt x="1462" y="16"/>
                  </a:moveTo>
                  <a:cubicBezTo>
                    <a:pt x="1462" y="16"/>
                    <a:pt x="1462" y="16"/>
                    <a:pt x="1463" y="17"/>
                  </a:cubicBezTo>
                  <a:cubicBezTo>
                    <a:pt x="1463" y="16"/>
                    <a:pt x="1463" y="16"/>
                    <a:pt x="1462" y="16"/>
                  </a:cubicBezTo>
                  <a:close/>
                  <a:moveTo>
                    <a:pt x="1488" y="16"/>
                  </a:moveTo>
                  <a:cubicBezTo>
                    <a:pt x="1488" y="16"/>
                    <a:pt x="1489" y="16"/>
                    <a:pt x="1489" y="16"/>
                  </a:cubicBezTo>
                  <a:cubicBezTo>
                    <a:pt x="1489" y="16"/>
                    <a:pt x="1488" y="16"/>
                    <a:pt x="1488" y="16"/>
                  </a:cubicBezTo>
                  <a:close/>
                  <a:moveTo>
                    <a:pt x="1560" y="16"/>
                  </a:moveTo>
                  <a:cubicBezTo>
                    <a:pt x="1560" y="16"/>
                    <a:pt x="1560" y="16"/>
                    <a:pt x="1559" y="16"/>
                  </a:cubicBezTo>
                  <a:cubicBezTo>
                    <a:pt x="1560" y="16"/>
                    <a:pt x="1560" y="16"/>
                    <a:pt x="1560" y="16"/>
                  </a:cubicBezTo>
                  <a:close/>
                  <a:moveTo>
                    <a:pt x="1728" y="16"/>
                  </a:moveTo>
                  <a:cubicBezTo>
                    <a:pt x="1728" y="16"/>
                    <a:pt x="1728" y="16"/>
                    <a:pt x="1728" y="16"/>
                  </a:cubicBezTo>
                  <a:cubicBezTo>
                    <a:pt x="1728" y="16"/>
                    <a:pt x="1728" y="16"/>
                    <a:pt x="1728" y="16"/>
                  </a:cubicBezTo>
                  <a:close/>
                  <a:moveTo>
                    <a:pt x="541" y="17"/>
                  </a:moveTo>
                  <a:cubicBezTo>
                    <a:pt x="542" y="17"/>
                    <a:pt x="542" y="17"/>
                    <a:pt x="542" y="16"/>
                  </a:cubicBezTo>
                  <a:cubicBezTo>
                    <a:pt x="541" y="16"/>
                    <a:pt x="541" y="17"/>
                    <a:pt x="541" y="17"/>
                  </a:cubicBezTo>
                  <a:close/>
                  <a:moveTo>
                    <a:pt x="1568" y="44"/>
                  </a:moveTo>
                  <a:cubicBezTo>
                    <a:pt x="1568" y="44"/>
                    <a:pt x="1568" y="44"/>
                    <a:pt x="1568" y="43"/>
                  </a:cubicBezTo>
                  <a:cubicBezTo>
                    <a:pt x="1568" y="44"/>
                    <a:pt x="1568" y="44"/>
                    <a:pt x="1568" y="44"/>
                  </a:cubicBezTo>
                  <a:close/>
                  <a:moveTo>
                    <a:pt x="1178" y="17"/>
                  </a:moveTo>
                  <a:cubicBezTo>
                    <a:pt x="1179" y="17"/>
                    <a:pt x="1179" y="17"/>
                    <a:pt x="1179" y="16"/>
                  </a:cubicBezTo>
                  <a:cubicBezTo>
                    <a:pt x="1179" y="16"/>
                    <a:pt x="1178" y="16"/>
                    <a:pt x="1178" y="17"/>
                  </a:cubicBezTo>
                  <a:close/>
                  <a:moveTo>
                    <a:pt x="1682" y="43"/>
                  </a:moveTo>
                  <a:cubicBezTo>
                    <a:pt x="1682" y="44"/>
                    <a:pt x="1682" y="44"/>
                    <a:pt x="1682" y="44"/>
                  </a:cubicBezTo>
                  <a:cubicBezTo>
                    <a:pt x="1682" y="44"/>
                    <a:pt x="1682" y="44"/>
                    <a:pt x="1682" y="43"/>
                  </a:cubicBezTo>
                  <a:close/>
                  <a:moveTo>
                    <a:pt x="1487" y="17"/>
                  </a:moveTo>
                  <a:cubicBezTo>
                    <a:pt x="1488" y="17"/>
                    <a:pt x="1488" y="17"/>
                    <a:pt x="1488" y="16"/>
                  </a:cubicBezTo>
                  <a:cubicBezTo>
                    <a:pt x="1488" y="16"/>
                    <a:pt x="1488" y="16"/>
                    <a:pt x="1487" y="17"/>
                  </a:cubicBezTo>
                  <a:close/>
                  <a:moveTo>
                    <a:pt x="1546" y="16"/>
                  </a:moveTo>
                  <a:cubicBezTo>
                    <a:pt x="1546" y="16"/>
                    <a:pt x="1546" y="16"/>
                    <a:pt x="1545" y="17"/>
                  </a:cubicBezTo>
                  <a:cubicBezTo>
                    <a:pt x="1546" y="17"/>
                    <a:pt x="1546" y="17"/>
                    <a:pt x="1546" y="16"/>
                  </a:cubicBezTo>
                  <a:close/>
                  <a:moveTo>
                    <a:pt x="1561" y="17"/>
                  </a:moveTo>
                  <a:cubicBezTo>
                    <a:pt x="1561" y="16"/>
                    <a:pt x="1561" y="16"/>
                    <a:pt x="1560" y="16"/>
                  </a:cubicBezTo>
                  <a:cubicBezTo>
                    <a:pt x="1561" y="17"/>
                    <a:pt x="1561" y="17"/>
                    <a:pt x="1561" y="17"/>
                  </a:cubicBezTo>
                  <a:close/>
                  <a:moveTo>
                    <a:pt x="1577" y="16"/>
                  </a:moveTo>
                  <a:cubicBezTo>
                    <a:pt x="1577" y="17"/>
                    <a:pt x="1578" y="17"/>
                    <a:pt x="1578" y="17"/>
                  </a:cubicBezTo>
                  <a:cubicBezTo>
                    <a:pt x="1578" y="17"/>
                    <a:pt x="1578" y="16"/>
                    <a:pt x="1577" y="16"/>
                  </a:cubicBezTo>
                  <a:close/>
                  <a:moveTo>
                    <a:pt x="1736" y="44"/>
                  </a:moveTo>
                  <a:cubicBezTo>
                    <a:pt x="1736" y="44"/>
                    <a:pt x="1736" y="44"/>
                    <a:pt x="1736" y="43"/>
                  </a:cubicBezTo>
                  <a:cubicBezTo>
                    <a:pt x="1736" y="44"/>
                    <a:pt x="1736" y="44"/>
                    <a:pt x="1736" y="44"/>
                  </a:cubicBezTo>
                  <a:close/>
                  <a:moveTo>
                    <a:pt x="1714" y="16"/>
                  </a:moveTo>
                  <a:cubicBezTo>
                    <a:pt x="1714" y="16"/>
                    <a:pt x="1714" y="16"/>
                    <a:pt x="1713" y="17"/>
                  </a:cubicBezTo>
                  <a:cubicBezTo>
                    <a:pt x="1714" y="17"/>
                    <a:pt x="1714" y="17"/>
                    <a:pt x="1714" y="16"/>
                  </a:cubicBezTo>
                  <a:close/>
                  <a:moveTo>
                    <a:pt x="1729" y="17"/>
                  </a:moveTo>
                  <a:cubicBezTo>
                    <a:pt x="1729" y="16"/>
                    <a:pt x="1729" y="16"/>
                    <a:pt x="1729" y="16"/>
                  </a:cubicBezTo>
                  <a:cubicBezTo>
                    <a:pt x="1729" y="17"/>
                    <a:pt x="1729" y="17"/>
                    <a:pt x="1729" y="17"/>
                  </a:cubicBezTo>
                  <a:close/>
                  <a:moveTo>
                    <a:pt x="1746" y="16"/>
                  </a:moveTo>
                  <a:cubicBezTo>
                    <a:pt x="1746" y="17"/>
                    <a:pt x="1746" y="17"/>
                    <a:pt x="1746" y="17"/>
                  </a:cubicBezTo>
                  <a:cubicBezTo>
                    <a:pt x="1746" y="17"/>
                    <a:pt x="1746" y="16"/>
                    <a:pt x="1746" y="16"/>
                  </a:cubicBezTo>
                  <a:close/>
                  <a:moveTo>
                    <a:pt x="1177" y="17"/>
                  </a:moveTo>
                  <a:cubicBezTo>
                    <a:pt x="1178" y="17"/>
                    <a:pt x="1178" y="17"/>
                    <a:pt x="1178" y="17"/>
                  </a:cubicBezTo>
                  <a:cubicBezTo>
                    <a:pt x="1178" y="17"/>
                    <a:pt x="1177" y="17"/>
                    <a:pt x="1177" y="17"/>
                  </a:cubicBezTo>
                  <a:close/>
                  <a:moveTo>
                    <a:pt x="1361" y="17"/>
                  </a:moveTo>
                  <a:cubicBezTo>
                    <a:pt x="1361" y="17"/>
                    <a:pt x="1360" y="17"/>
                    <a:pt x="1360" y="17"/>
                  </a:cubicBezTo>
                  <a:cubicBezTo>
                    <a:pt x="1361" y="17"/>
                    <a:pt x="1361" y="17"/>
                    <a:pt x="1361" y="17"/>
                  </a:cubicBezTo>
                  <a:close/>
                  <a:moveTo>
                    <a:pt x="1378" y="17"/>
                  </a:moveTo>
                  <a:cubicBezTo>
                    <a:pt x="1378" y="17"/>
                    <a:pt x="1377" y="17"/>
                    <a:pt x="1377" y="17"/>
                  </a:cubicBezTo>
                  <a:cubicBezTo>
                    <a:pt x="1377" y="17"/>
                    <a:pt x="1377" y="17"/>
                    <a:pt x="1378" y="17"/>
                  </a:cubicBezTo>
                  <a:close/>
                  <a:moveTo>
                    <a:pt x="1418" y="17"/>
                  </a:moveTo>
                  <a:cubicBezTo>
                    <a:pt x="1419" y="17"/>
                    <a:pt x="1419" y="17"/>
                    <a:pt x="1419" y="17"/>
                  </a:cubicBezTo>
                  <a:cubicBezTo>
                    <a:pt x="1419" y="17"/>
                    <a:pt x="1418" y="17"/>
                    <a:pt x="1418" y="17"/>
                  </a:cubicBezTo>
                  <a:close/>
                  <a:moveTo>
                    <a:pt x="660" y="44"/>
                  </a:moveTo>
                  <a:cubicBezTo>
                    <a:pt x="660" y="44"/>
                    <a:pt x="660" y="44"/>
                    <a:pt x="660" y="44"/>
                  </a:cubicBezTo>
                  <a:cubicBezTo>
                    <a:pt x="660" y="44"/>
                    <a:pt x="660" y="44"/>
                    <a:pt x="660" y="44"/>
                  </a:cubicBezTo>
                  <a:close/>
                  <a:moveTo>
                    <a:pt x="1487" y="17"/>
                  </a:moveTo>
                  <a:cubicBezTo>
                    <a:pt x="1487" y="17"/>
                    <a:pt x="1487" y="17"/>
                    <a:pt x="1487" y="17"/>
                  </a:cubicBezTo>
                  <a:cubicBezTo>
                    <a:pt x="1487" y="17"/>
                    <a:pt x="1487" y="17"/>
                    <a:pt x="1487" y="17"/>
                  </a:cubicBezTo>
                  <a:close/>
                  <a:moveTo>
                    <a:pt x="1545" y="17"/>
                  </a:moveTo>
                  <a:cubicBezTo>
                    <a:pt x="1545" y="17"/>
                    <a:pt x="1545" y="17"/>
                    <a:pt x="1544" y="17"/>
                  </a:cubicBezTo>
                  <a:cubicBezTo>
                    <a:pt x="1545" y="17"/>
                    <a:pt x="1545" y="17"/>
                    <a:pt x="1545" y="17"/>
                  </a:cubicBezTo>
                  <a:close/>
                  <a:moveTo>
                    <a:pt x="1562" y="17"/>
                  </a:moveTo>
                  <a:cubicBezTo>
                    <a:pt x="1562" y="17"/>
                    <a:pt x="1561" y="17"/>
                    <a:pt x="1561" y="17"/>
                  </a:cubicBezTo>
                  <a:cubicBezTo>
                    <a:pt x="1561" y="17"/>
                    <a:pt x="1562" y="17"/>
                    <a:pt x="1562" y="17"/>
                  </a:cubicBezTo>
                  <a:close/>
                  <a:moveTo>
                    <a:pt x="674" y="44"/>
                  </a:moveTo>
                  <a:cubicBezTo>
                    <a:pt x="674" y="44"/>
                    <a:pt x="674" y="44"/>
                    <a:pt x="674" y="44"/>
                  </a:cubicBezTo>
                  <a:cubicBezTo>
                    <a:pt x="674" y="44"/>
                    <a:pt x="674" y="44"/>
                    <a:pt x="674" y="44"/>
                  </a:cubicBezTo>
                  <a:close/>
                  <a:moveTo>
                    <a:pt x="1713" y="17"/>
                  </a:moveTo>
                  <a:cubicBezTo>
                    <a:pt x="1713" y="17"/>
                    <a:pt x="1713" y="17"/>
                    <a:pt x="1713" y="17"/>
                  </a:cubicBezTo>
                  <a:cubicBezTo>
                    <a:pt x="1713" y="17"/>
                    <a:pt x="1713" y="17"/>
                    <a:pt x="1713" y="17"/>
                  </a:cubicBezTo>
                  <a:close/>
                  <a:moveTo>
                    <a:pt x="1730" y="17"/>
                  </a:moveTo>
                  <a:cubicBezTo>
                    <a:pt x="1730" y="17"/>
                    <a:pt x="1730" y="17"/>
                    <a:pt x="1729" y="17"/>
                  </a:cubicBezTo>
                  <a:cubicBezTo>
                    <a:pt x="1729" y="17"/>
                    <a:pt x="1730" y="17"/>
                    <a:pt x="1730" y="17"/>
                  </a:cubicBezTo>
                  <a:close/>
                  <a:moveTo>
                    <a:pt x="692" y="44"/>
                  </a:moveTo>
                  <a:cubicBezTo>
                    <a:pt x="692" y="44"/>
                    <a:pt x="691" y="44"/>
                    <a:pt x="691" y="44"/>
                  </a:cubicBezTo>
                  <a:cubicBezTo>
                    <a:pt x="691" y="44"/>
                    <a:pt x="691" y="44"/>
                    <a:pt x="692" y="44"/>
                  </a:cubicBezTo>
                  <a:close/>
                  <a:moveTo>
                    <a:pt x="1176" y="17"/>
                  </a:moveTo>
                  <a:cubicBezTo>
                    <a:pt x="1176" y="17"/>
                    <a:pt x="1177" y="17"/>
                    <a:pt x="1177" y="17"/>
                  </a:cubicBezTo>
                  <a:cubicBezTo>
                    <a:pt x="1177" y="17"/>
                    <a:pt x="1176" y="17"/>
                    <a:pt x="1176" y="17"/>
                  </a:cubicBezTo>
                  <a:close/>
                  <a:moveTo>
                    <a:pt x="1360" y="17"/>
                  </a:moveTo>
                  <a:cubicBezTo>
                    <a:pt x="1360" y="17"/>
                    <a:pt x="1359" y="17"/>
                    <a:pt x="1359" y="17"/>
                  </a:cubicBezTo>
                  <a:cubicBezTo>
                    <a:pt x="1360" y="17"/>
                    <a:pt x="1360" y="17"/>
                    <a:pt x="1360" y="17"/>
                  </a:cubicBezTo>
                  <a:close/>
                  <a:moveTo>
                    <a:pt x="1378" y="17"/>
                  </a:moveTo>
                  <a:cubicBezTo>
                    <a:pt x="1378" y="17"/>
                    <a:pt x="1378" y="17"/>
                    <a:pt x="1378" y="17"/>
                  </a:cubicBezTo>
                  <a:cubicBezTo>
                    <a:pt x="1378" y="17"/>
                    <a:pt x="1378" y="17"/>
                    <a:pt x="1378" y="17"/>
                  </a:cubicBezTo>
                  <a:close/>
                  <a:moveTo>
                    <a:pt x="1394" y="17"/>
                  </a:moveTo>
                  <a:cubicBezTo>
                    <a:pt x="1394" y="17"/>
                    <a:pt x="1394" y="17"/>
                    <a:pt x="1394" y="18"/>
                  </a:cubicBezTo>
                  <a:cubicBezTo>
                    <a:pt x="1394" y="17"/>
                    <a:pt x="1394" y="17"/>
                    <a:pt x="1394" y="17"/>
                  </a:cubicBezTo>
                  <a:close/>
                  <a:moveTo>
                    <a:pt x="1463" y="17"/>
                  </a:moveTo>
                  <a:cubicBezTo>
                    <a:pt x="1463" y="17"/>
                    <a:pt x="1463" y="18"/>
                    <a:pt x="1463" y="18"/>
                  </a:cubicBezTo>
                  <a:cubicBezTo>
                    <a:pt x="1463" y="17"/>
                    <a:pt x="1463" y="17"/>
                    <a:pt x="1463" y="17"/>
                  </a:cubicBezTo>
                  <a:close/>
                  <a:moveTo>
                    <a:pt x="1486" y="17"/>
                  </a:moveTo>
                  <a:cubicBezTo>
                    <a:pt x="1486" y="17"/>
                    <a:pt x="1487" y="17"/>
                    <a:pt x="1487" y="17"/>
                  </a:cubicBezTo>
                  <a:cubicBezTo>
                    <a:pt x="1486" y="17"/>
                    <a:pt x="1486" y="17"/>
                    <a:pt x="1486" y="17"/>
                  </a:cubicBezTo>
                  <a:close/>
                  <a:moveTo>
                    <a:pt x="1544" y="17"/>
                  </a:moveTo>
                  <a:cubicBezTo>
                    <a:pt x="1544" y="17"/>
                    <a:pt x="1544" y="17"/>
                    <a:pt x="1544" y="17"/>
                  </a:cubicBezTo>
                  <a:cubicBezTo>
                    <a:pt x="1544" y="17"/>
                    <a:pt x="1544" y="17"/>
                    <a:pt x="1544" y="17"/>
                  </a:cubicBezTo>
                  <a:close/>
                  <a:moveTo>
                    <a:pt x="1563" y="17"/>
                  </a:moveTo>
                  <a:cubicBezTo>
                    <a:pt x="1562" y="17"/>
                    <a:pt x="1562" y="17"/>
                    <a:pt x="1562" y="17"/>
                  </a:cubicBezTo>
                  <a:cubicBezTo>
                    <a:pt x="1562" y="17"/>
                    <a:pt x="1562" y="17"/>
                    <a:pt x="1563" y="17"/>
                  </a:cubicBezTo>
                  <a:close/>
                  <a:moveTo>
                    <a:pt x="801" y="44"/>
                  </a:moveTo>
                  <a:cubicBezTo>
                    <a:pt x="801" y="44"/>
                    <a:pt x="801" y="44"/>
                    <a:pt x="801" y="44"/>
                  </a:cubicBezTo>
                  <a:cubicBezTo>
                    <a:pt x="801" y="44"/>
                    <a:pt x="801" y="44"/>
                    <a:pt x="801" y="44"/>
                  </a:cubicBezTo>
                  <a:close/>
                  <a:moveTo>
                    <a:pt x="1713" y="17"/>
                  </a:moveTo>
                  <a:cubicBezTo>
                    <a:pt x="1712" y="17"/>
                    <a:pt x="1712" y="17"/>
                    <a:pt x="1712" y="17"/>
                  </a:cubicBezTo>
                  <a:cubicBezTo>
                    <a:pt x="1712" y="17"/>
                    <a:pt x="1712" y="17"/>
                    <a:pt x="1713" y="17"/>
                  </a:cubicBezTo>
                  <a:close/>
                  <a:moveTo>
                    <a:pt x="1731" y="17"/>
                  </a:moveTo>
                  <a:cubicBezTo>
                    <a:pt x="1731" y="17"/>
                    <a:pt x="1730" y="17"/>
                    <a:pt x="1730" y="17"/>
                  </a:cubicBezTo>
                  <a:cubicBezTo>
                    <a:pt x="1730" y="17"/>
                    <a:pt x="1730" y="17"/>
                    <a:pt x="1731" y="17"/>
                  </a:cubicBezTo>
                  <a:close/>
                  <a:moveTo>
                    <a:pt x="837" y="44"/>
                  </a:moveTo>
                  <a:cubicBezTo>
                    <a:pt x="837" y="44"/>
                    <a:pt x="837" y="44"/>
                    <a:pt x="837" y="44"/>
                  </a:cubicBezTo>
                  <a:cubicBezTo>
                    <a:pt x="837" y="44"/>
                    <a:pt x="837" y="44"/>
                    <a:pt x="837" y="44"/>
                  </a:cubicBezTo>
                  <a:close/>
                  <a:moveTo>
                    <a:pt x="852" y="44"/>
                  </a:moveTo>
                  <a:cubicBezTo>
                    <a:pt x="852" y="44"/>
                    <a:pt x="852" y="44"/>
                    <a:pt x="852" y="44"/>
                  </a:cubicBezTo>
                  <a:cubicBezTo>
                    <a:pt x="852" y="44"/>
                    <a:pt x="852" y="44"/>
                    <a:pt x="852" y="44"/>
                  </a:cubicBezTo>
                  <a:close/>
                  <a:moveTo>
                    <a:pt x="558" y="17"/>
                  </a:moveTo>
                  <a:cubicBezTo>
                    <a:pt x="558" y="17"/>
                    <a:pt x="557" y="17"/>
                    <a:pt x="557" y="18"/>
                  </a:cubicBezTo>
                  <a:cubicBezTo>
                    <a:pt x="558" y="18"/>
                    <a:pt x="558" y="18"/>
                    <a:pt x="558" y="17"/>
                  </a:cubicBezTo>
                  <a:close/>
                  <a:moveTo>
                    <a:pt x="578" y="18"/>
                  </a:moveTo>
                  <a:cubicBezTo>
                    <a:pt x="577" y="17"/>
                    <a:pt x="577" y="17"/>
                    <a:pt x="577" y="17"/>
                  </a:cubicBezTo>
                  <a:cubicBezTo>
                    <a:pt x="577" y="18"/>
                    <a:pt x="577" y="18"/>
                    <a:pt x="578" y="18"/>
                  </a:cubicBezTo>
                  <a:close/>
                  <a:moveTo>
                    <a:pt x="1175" y="18"/>
                  </a:moveTo>
                  <a:cubicBezTo>
                    <a:pt x="1175" y="18"/>
                    <a:pt x="1176" y="18"/>
                    <a:pt x="1176" y="17"/>
                  </a:cubicBezTo>
                  <a:cubicBezTo>
                    <a:pt x="1176" y="17"/>
                    <a:pt x="1175" y="17"/>
                    <a:pt x="1175" y="18"/>
                  </a:cubicBezTo>
                  <a:close/>
                  <a:moveTo>
                    <a:pt x="1359" y="17"/>
                  </a:moveTo>
                  <a:cubicBezTo>
                    <a:pt x="1359" y="17"/>
                    <a:pt x="1359" y="17"/>
                    <a:pt x="1359" y="18"/>
                  </a:cubicBezTo>
                  <a:cubicBezTo>
                    <a:pt x="1359" y="18"/>
                    <a:pt x="1359" y="18"/>
                    <a:pt x="1359" y="17"/>
                  </a:cubicBezTo>
                  <a:close/>
                  <a:moveTo>
                    <a:pt x="1379" y="18"/>
                  </a:moveTo>
                  <a:cubicBezTo>
                    <a:pt x="1379" y="17"/>
                    <a:pt x="1379" y="17"/>
                    <a:pt x="1378" y="17"/>
                  </a:cubicBezTo>
                  <a:cubicBezTo>
                    <a:pt x="1379" y="18"/>
                    <a:pt x="1379" y="18"/>
                    <a:pt x="1379" y="18"/>
                  </a:cubicBezTo>
                  <a:close/>
                  <a:moveTo>
                    <a:pt x="867" y="44"/>
                  </a:moveTo>
                  <a:cubicBezTo>
                    <a:pt x="867" y="44"/>
                    <a:pt x="867" y="44"/>
                    <a:pt x="867" y="44"/>
                  </a:cubicBezTo>
                  <a:cubicBezTo>
                    <a:pt x="867" y="44"/>
                    <a:pt x="867" y="44"/>
                    <a:pt x="867" y="44"/>
                  </a:cubicBezTo>
                  <a:close/>
                  <a:moveTo>
                    <a:pt x="1485" y="18"/>
                  </a:moveTo>
                  <a:cubicBezTo>
                    <a:pt x="1485" y="18"/>
                    <a:pt x="1486" y="18"/>
                    <a:pt x="1486" y="17"/>
                  </a:cubicBezTo>
                  <a:cubicBezTo>
                    <a:pt x="1485" y="17"/>
                    <a:pt x="1485" y="17"/>
                    <a:pt x="1485" y="18"/>
                  </a:cubicBezTo>
                  <a:close/>
                  <a:moveTo>
                    <a:pt x="1543" y="17"/>
                  </a:moveTo>
                  <a:cubicBezTo>
                    <a:pt x="1543" y="17"/>
                    <a:pt x="1543" y="17"/>
                    <a:pt x="1543" y="18"/>
                  </a:cubicBezTo>
                  <a:cubicBezTo>
                    <a:pt x="1543" y="18"/>
                    <a:pt x="1543" y="18"/>
                    <a:pt x="1543" y="17"/>
                  </a:cubicBezTo>
                  <a:close/>
                  <a:moveTo>
                    <a:pt x="1563" y="18"/>
                  </a:moveTo>
                  <a:cubicBezTo>
                    <a:pt x="1563" y="17"/>
                    <a:pt x="1563" y="17"/>
                    <a:pt x="1563" y="17"/>
                  </a:cubicBezTo>
                  <a:cubicBezTo>
                    <a:pt x="1563" y="18"/>
                    <a:pt x="1563" y="18"/>
                    <a:pt x="1563" y="18"/>
                  </a:cubicBezTo>
                  <a:close/>
                  <a:moveTo>
                    <a:pt x="1578" y="17"/>
                  </a:moveTo>
                  <a:cubicBezTo>
                    <a:pt x="1578" y="18"/>
                    <a:pt x="1578" y="18"/>
                    <a:pt x="1579" y="18"/>
                  </a:cubicBezTo>
                  <a:cubicBezTo>
                    <a:pt x="1579" y="18"/>
                    <a:pt x="1579" y="17"/>
                    <a:pt x="1578" y="17"/>
                  </a:cubicBezTo>
                  <a:close/>
                  <a:moveTo>
                    <a:pt x="1680" y="17"/>
                  </a:moveTo>
                  <a:cubicBezTo>
                    <a:pt x="1680" y="18"/>
                    <a:pt x="1680" y="18"/>
                    <a:pt x="1680" y="18"/>
                  </a:cubicBezTo>
                  <a:cubicBezTo>
                    <a:pt x="1680" y="18"/>
                    <a:pt x="1680" y="17"/>
                    <a:pt x="1680" y="17"/>
                  </a:cubicBezTo>
                  <a:close/>
                  <a:moveTo>
                    <a:pt x="1712" y="17"/>
                  </a:moveTo>
                  <a:cubicBezTo>
                    <a:pt x="1711" y="17"/>
                    <a:pt x="1711" y="17"/>
                    <a:pt x="1711" y="18"/>
                  </a:cubicBezTo>
                  <a:cubicBezTo>
                    <a:pt x="1711" y="18"/>
                    <a:pt x="1711" y="18"/>
                    <a:pt x="1712" y="17"/>
                  </a:cubicBezTo>
                  <a:close/>
                  <a:moveTo>
                    <a:pt x="1731" y="18"/>
                  </a:moveTo>
                  <a:cubicBezTo>
                    <a:pt x="1731" y="17"/>
                    <a:pt x="1731" y="17"/>
                    <a:pt x="1731" y="17"/>
                  </a:cubicBezTo>
                  <a:cubicBezTo>
                    <a:pt x="1731" y="18"/>
                    <a:pt x="1731" y="18"/>
                    <a:pt x="1731" y="18"/>
                  </a:cubicBezTo>
                  <a:close/>
                  <a:moveTo>
                    <a:pt x="1746" y="17"/>
                  </a:moveTo>
                  <a:cubicBezTo>
                    <a:pt x="1746" y="18"/>
                    <a:pt x="1746" y="18"/>
                    <a:pt x="1747" y="18"/>
                  </a:cubicBezTo>
                  <a:cubicBezTo>
                    <a:pt x="1747" y="18"/>
                    <a:pt x="1747" y="17"/>
                    <a:pt x="1746" y="17"/>
                  </a:cubicBezTo>
                  <a:close/>
                  <a:moveTo>
                    <a:pt x="540" y="18"/>
                  </a:moveTo>
                  <a:cubicBezTo>
                    <a:pt x="541" y="18"/>
                    <a:pt x="541" y="18"/>
                    <a:pt x="541" y="18"/>
                  </a:cubicBezTo>
                  <a:cubicBezTo>
                    <a:pt x="540" y="18"/>
                    <a:pt x="540" y="18"/>
                    <a:pt x="540" y="18"/>
                  </a:cubicBezTo>
                  <a:close/>
                  <a:moveTo>
                    <a:pt x="557" y="18"/>
                  </a:moveTo>
                  <a:cubicBezTo>
                    <a:pt x="557" y="18"/>
                    <a:pt x="557" y="18"/>
                    <a:pt x="556" y="18"/>
                  </a:cubicBezTo>
                  <a:cubicBezTo>
                    <a:pt x="557" y="18"/>
                    <a:pt x="557" y="18"/>
                    <a:pt x="557" y="18"/>
                  </a:cubicBezTo>
                  <a:close/>
                  <a:moveTo>
                    <a:pt x="579" y="18"/>
                  </a:moveTo>
                  <a:cubicBezTo>
                    <a:pt x="578" y="18"/>
                    <a:pt x="578" y="18"/>
                    <a:pt x="578" y="18"/>
                  </a:cubicBezTo>
                  <a:cubicBezTo>
                    <a:pt x="578" y="18"/>
                    <a:pt x="578" y="18"/>
                    <a:pt x="579" y="18"/>
                  </a:cubicBezTo>
                  <a:close/>
                  <a:moveTo>
                    <a:pt x="869" y="44"/>
                  </a:moveTo>
                  <a:cubicBezTo>
                    <a:pt x="869" y="44"/>
                    <a:pt x="870" y="44"/>
                    <a:pt x="870" y="44"/>
                  </a:cubicBezTo>
                  <a:cubicBezTo>
                    <a:pt x="869" y="44"/>
                    <a:pt x="869" y="44"/>
                    <a:pt x="869" y="44"/>
                  </a:cubicBezTo>
                  <a:close/>
                  <a:moveTo>
                    <a:pt x="987" y="18"/>
                  </a:moveTo>
                  <a:cubicBezTo>
                    <a:pt x="986" y="18"/>
                    <a:pt x="986" y="18"/>
                    <a:pt x="986" y="18"/>
                  </a:cubicBezTo>
                  <a:cubicBezTo>
                    <a:pt x="986" y="18"/>
                    <a:pt x="987" y="18"/>
                    <a:pt x="987" y="18"/>
                  </a:cubicBezTo>
                  <a:close/>
                  <a:moveTo>
                    <a:pt x="1359" y="18"/>
                  </a:moveTo>
                  <a:cubicBezTo>
                    <a:pt x="1358" y="18"/>
                    <a:pt x="1358" y="18"/>
                    <a:pt x="1358" y="18"/>
                  </a:cubicBezTo>
                  <a:cubicBezTo>
                    <a:pt x="1358" y="18"/>
                    <a:pt x="1358" y="18"/>
                    <a:pt x="1359" y="18"/>
                  </a:cubicBezTo>
                  <a:close/>
                  <a:moveTo>
                    <a:pt x="880" y="44"/>
                  </a:moveTo>
                  <a:cubicBezTo>
                    <a:pt x="880" y="44"/>
                    <a:pt x="880" y="44"/>
                    <a:pt x="880" y="44"/>
                  </a:cubicBezTo>
                  <a:cubicBezTo>
                    <a:pt x="880" y="44"/>
                    <a:pt x="880" y="44"/>
                    <a:pt x="880" y="44"/>
                  </a:cubicBezTo>
                  <a:close/>
                  <a:moveTo>
                    <a:pt x="1394" y="18"/>
                  </a:moveTo>
                  <a:cubicBezTo>
                    <a:pt x="1394" y="18"/>
                    <a:pt x="1394" y="18"/>
                    <a:pt x="1394" y="18"/>
                  </a:cubicBezTo>
                  <a:cubicBezTo>
                    <a:pt x="1394" y="18"/>
                    <a:pt x="1394" y="18"/>
                    <a:pt x="1394" y="18"/>
                  </a:cubicBezTo>
                  <a:close/>
                  <a:moveTo>
                    <a:pt x="1418" y="18"/>
                  </a:moveTo>
                  <a:cubicBezTo>
                    <a:pt x="1418" y="18"/>
                    <a:pt x="1418" y="18"/>
                    <a:pt x="1418" y="18"/>
                  </a:cubicBezTo>
                  <a:cubicBezTo>
                    <a:pt x="1418" y="18"/>
                    <a:pt x="1418" y="18"/>
                    <a:pt x="1418" y="18"/>
                  </a:cubicBezTo>
                  <a:close/>
                  <a:moveTo>
                    <a:pt x="1463" y="18"/>
                  </a:moveTo>
                  <a:cubicBezTo>
                    <a:pt x="1463" y="18"/>
                    <a:pt x="1463" y="18"/>
                    <a:pt x="1464" y="18"/>
                  </a:cubicBezTo>
                  <a:cubicBezTo>
                    <a:pt x="1464" y="18"/>
                    <a:pt x="1464" y="18"/>
                    <a:pt x="1463" y="18"/>
                  </a:cubicBezTo>
                  <a:close/>
                  <a:moveTo>
                    <a:pt x="1484" y="18"/>
                  </a:moveTo>
                  <a:cubicBezTo>
                    <a:pt x="1485" y="18"/>
                    <a:pt x="1485" y="18"/>
                    <a:pt x="1485" y="18"/>
                  </a:cubicBezTo>
                  <a:cubicBezTo>
                    <a:pt x="1485" y="18"/>
                    <a:pt x="1484" y="18"/>
                    <a:pt x="1484" y="18"/>
                  </a:cubicBezTo>
                  <a:close/>
                  <a:moveTo>
                    <a:pt x="1543" y="18"/>
                  </a:moveTo>
                  <a:cubicBezTo>
                    <a:pt x="1542" y="18"/>
                    <a:pt x="1542" y="18"/>
                    <a:pt x="1542" y="18"/>
                  </a:cubicBezTo>
                  <a:cubicBezTo>
                    <a:pt x="1542" y="18"/>
                    <a:pt x="1543" y="18"/>
                    <a:pt x="1543" y="18"/>
                  </a:cubicBezTo>
                  <a:close/>
                  <a:moveTo>
                    <a:pt x="895" y="44"/>
                  </a:moveTo>
                  <a:cubicBezTo>
                    <a:pt x="895" y="44"/>
                    <a:pt x="895" y="44"/>
                    <a:pt x="895" y="44"/>
                  </a:cubicBezTo>
                  <a:cubicBezTo>
                    <a:pt x="895" y="44"/>
                    <a:pt x="895" y="44"/>
                    <a:pt x="895" y="44"/>
                  </a:cubicBezTo>
                  <a:close/>
                  <a:moveTo>
                    <a:pt x="1711" y="18"/>
                  </a:moveTo>
                  <a:cubicBezTo>
                    <a:pt x="1711" y="18"/>
                    <a:pt x="1710" y="18"/>
                    <a:pt x="1710" y="18"/>
                  </a:cubicBezTo>
                  <a:cubicBezTo>
                    <a:pt x="1710" y="18"/>
                    <a:pt x="1711" y="18"/>
                    <a:pt x="1711" y="18"/>
                  </a:cubicBezTo>
                  <a:close/>
                  <a:moveTo>
                    <a:pt x="557" y="18"/>
                  </a:moveTo>
                  <a:cubicBezTo>
                    <a:pt x="556" y="18"/>
                    <a:pt x="556" y="18"/>
                    <a:pt x="556" y="18"/>
                  </a:cubicBezTo>
                  <a:cubicBezTo>
                    <a:pt x="556" y="18"/>
                    <a:pt x="556" y="18"/>
                    <a:pt x="557" y="18"/>
                  </a:cubicBezTo>
                  <a:close/>
                  <a:moveTo>
                    <a:pt x="986" y="18"/>
                  </a:moveTo>
                  <a:cubicBezTo>
                    <a:pt x="985" y="18"/>
                    <a:pt x="985" y="18"/>
                    <a:pt x="985" y="18"/>
                  </a:cubicBezTo>
                  <a:cubicBezTo>
                    <a:pt x="985" y="18"/>
                    <a:pt x="986" y="18"/>
                    <a:pt x="986" y="18"/>
                  </a:cubicBezTo>
                  <a:close/>
                  <a:moveTo>
                    <a:pt x="1358" y="18"/>
                  </a:moveTo>
                  <a:cubicBezTo>
                    <a:pt x="1358" y="18"/>
                    <a:pt x="1357" y="18"/>
                    <a:pt x="1357" y="18"/>
                  </a:cubicBezTo>
                  <a:cubicBezTo>
                    <a:pt x="1357" y="18"/>
                    <a:pt x="1358" y="18"/>
                    <a:pt x="1358" y="18"/>
                  </a:cubicBezTo>
                  <a:close/>
                  <a:moveTo>
                    <a:pt x="1484" y="18"/>
                  </a:moveTo>
                  <a:cubicBezTo>
                    <a:pt x="1484" y="18"/>
                    <a:pt x="1484" y="18"/>
                    <a:pt x="1484" y="18"/>
                  </a:cubicBezTo>
                  <a:cubicBezTo>
                    <a:pt x="1484" y="18"/>
                    <a:pt x="1484" y="18"/>
                    <a:pt x="1484" y="18"/>
                  </a:cubicBezTo>
                  <a:close/>
                  <a:moveTo>
                    <a:pt x="1542" y="18"/>
                  </a:moveTo>
                  <a:cubicBezTo>
                    <a:pt x="1542" y="18"/>
                    <a:pt x="1541" y="18"/>
                    <a:pt x="1541" y="18"/>
                  </a:cubicBezTo>
                  <a:cubicBezTo>
                    <a:pt x="1542" y="18"/>
                    <a:pt x="1542" y="18"/>
                    <a:pt x="1542" y="18"/>
                  </a:cubicBezTo>
                  <a:close/>
                  <a:moveTo>
                    <a:pt x="1564" y="18"/>
                  </a:moveTo>
                  <a:cubicBezTo>
                    <a:pt x="1564" y="18"/>
                    <a:pt x="1564" y="18"/>
                    <a:pt x="1564" y="18"/>
                  </a:cubicBezTo>
                  <a:cubicBezTo>
                    <a:pt x="1564" y="18"/>
                    <a:pt x="1564" y="18"/>
                    <a:pt x="1564" y="18"/>
                  </a:cubicBezTo>
                  <a:close/>
                  <a:moveTo>
                    <a:pt x="1579" y="18"/>
                  </a:moveTo>
                  <a:cubicBezTo>
                    <a:pt x="1579" y="18"/>
                    <a:pt x="1579" y="19"/>
                    <a:pt x="1579" y="19"/>
                  </a:cubicBezTo>
                  <a:cubicBezTo>
                    <a:pt x="1579" y="18"/>
                    <a:pt x="1579" y="18"/>
                    <a:pt x="1579" y="18"/>
                  </a:cubicBezTo>
                  <a:close/>
                  <a:moveTo>
                    <a:pt x="1111" y="44"/>
                  </a:moveTo>
                  <a:cubicBezTo>
                    <a:pt x="1111" y="44"/>
                    <a:pt x="1111" y="44"/>
                    <a:pt x="1111" y="44"/>
                  </a:cubicBezTo>
                  <a:cubicBezTo>
                    <a:pt x="1111" y="44"/>
                    <a:pt x="1111" y="44"/>
                    <a:pt x="1111" y="44"/>
                  </a:cubicBezTo>
                  <a:close/>
                  <a:moveTo>
                    <a:pt x="1710" y="18"/>
                  </a:moveTo>
                  <a:cubicBezTo>
                    <a:pt x="1710" y="18"/>
                    <a:pt x="1710" y="18"/>
                    <a:pt x="1709" y="18"/>
                  </a:cubicBezTo>
                  <a:cubicBezTo>
                    <a:pt x="1710" y="18"/>
                    <a:pt x="1710" y="18"/>
                    <a:pt x="1710" y="18"/>
                  </a:cubicBezTo>
                  <a:close/>
                  <a:moveTo>
                    <a:pt x="1732" y="18"/>
                  </a:moveTo>
                  <a:cubicBezTo>
                    <a:pt x="1732" y="18"/>
                    <a:pt x="1732" y="18"/>
                    <a:pt x="1732" y="18"/>
                  </a:cubicBezTo>
                  <a:cubicBezTo>
                    <a:pt x="1732" y="18"/>
                    <a:pt x="1732" y="18"/>
                    <a:pt x="1732" y="18"/>
                  </a:cubicBezTo>
                  <a:close/>
                  <a:moveTo>
                    <a:pt x="1747" y="18"/>
                  </a:moveTo>
                  <a:cubicBezTo>
                    <a:pt x="1747" y="18"/>
                    <a:pt x="1747" y="19"/>
                    <a:pt x="1747" y="19"/>
                  </a:cubicBezTo>
                  <a:cubicBezTo>
                    <a:pt x="1747" y="18"/>
                    <a:pt x="1747" y="18"/>
                    <a:pt x="1747" y="18"/>
                  </a:cubicBezTo>
                  <a:close/>
                  <a:moveTo>
                    <a:pt x="540" y="19"/>
                  </a:moveTo>
                  <a:cubicBezTo>
                    <a:pt x="540" y="19"/>
                    <a:pt x="540" y="19"/>
                    <a:pt x="540" y="18"/>
                  </a:cubicBezTo>
                  <a:cubicBezTo>
                    <a:pt x="540" y="18"/>
                    <a:pt x="540" y="19"/>
                    <a:pt x="540" y="19"/>
                  </a:cubicBezTo>
                  <a:close/>
                  <a:moveTo>
                    <a:pt x="556" y="18"/>
                  </a:moveTo>
                  <a:cubicBezTo>
                    <a:pt x="556" y="18"/>
                    <a:pt x="555" y="18"/>
                    <a:pt x="555" y="19"/>
                  </a:cubicBezTo>
                  <a:cubicBezTo>
                    <a:pt x="555" y="19"/>
                    <a:pt x="556" y="19"/>
                    <a:pt x="556" y="18"/>
                  </a:cubicBezTo>
                  <a:close/>
                  <a:moveTo>
                    <a:pt x="580" y="19"/>
                  </a:moveTo>
                  <a:cubicBezTo>
                    <a:pt x="580" y="18"/>
                    <a:pt x="580" y="18"/>
                    <a:pt x="580" y="18"/>
                  </a:cubicBezTo>
                  <a:cubicBezTo>
                    <a:pt x="580" y="19"/>
                    <a:pt x="580" y="19"/>
                    <a:pt x="580" y="19"/>
                  </a:cubicBezTo>
                  <a:close/>
                  <a:moveTo>
                    <a:pt x="650" y="49"/>
                  </a:moveTo>
                  <a:cubicBezTo>
                    <a:pt x="650" y="50"/>
                    <a:pt x="649" y="50"/>
                    <a:pt x="649" y="50"/>
                  </a:cubicBezTo>
                  <a:cubicBezTo>
                    <a:pt x="650" y="50"/>
                    <a:pt x="650" y="50"/>
                    <a:pt x="650" y="49"/>
                  </a:cubicBezTo>
                  <a:close/>
                  <a:moveTo>
                    <a:pt x="1014" y="19"/>
                  </a:moveTo>
                  <a:cubicBezTo>
                    <a:pt x="1014" y="18"/>
                    <a:pt x="1014" y="18"/>
                    <a:pt x="1014" y="18"/>
                  </a:cubicBezTo>
                  <a:cubicBezTo>
                    <a:pt x="1014" y="19"/>
                    <a:pt x="1014" y="19"/>
                    <a:pt x="1014" y="19"/>
                  </a:cubicBezTo>
                  <a:close/>
                  <a:moveTo>
                    <a:pt x="1357" y="18"/>
                  </a:moveTo>
                  <a:cubicBezTo>
                    <a:pt x="1357" y="18"/>
                    <a:pt x="1357" y="18"/>
                    <a:pt x="1356" y="19"/>
                  </a:cubicBezTo>
                  <a:cubicBezTo>
                    <a:pt x="1357" y="19"/>
                    <a:pt x="1357" y="19"/>
                    <a:pt x="1357" y="18"/>
                  </a:cubicBezTo>
                  <a:close/>
                  <a:moveTo>
                    <a:pt x="1137" y="44"/>
                  </a:moveTo>
                  <a:cubicBezTo>
                    <a:pt x="1137" y="44"/>
                    <a:pt x="1136" y="44"/>
                    <a:pt x="1136" y="44"/>
                  </a:cubicBezTo>
                  <a:cubicBezTo>
                    <a:pt x="1136" y="44"/>
                    <a:pt x="1137" y="44"/>
                    <a:pt x="1137" y="44"/>
                  </a:cubicBezTo>
                  <a:close/>
                  <a:moveTo>
                    <a:pt x="1152" y="44"/>
                  </a:moveTo>
                  <a:cubicBezTo>
                    <a:pt x="1152" y="44"/>
                    <a:pt x="1152" y="44"/>
                    <a:pt x="1152" y="44"/>
                  </a:cubicBezTo>
                  <a:cubicBezTo>
                    <a:pt x="1152" y="44"/>
                    <a:pt x="1152" y="44"/>
                    <a:pt x="1152" y="44"/>
                  </a:cubicBezTo>
                  <a:close/>
                  <a:moveTo>
                    <a:pt x="751" y="50"/>
                  </a:moveTo>
                  <a:cubicBezTo>
                    <a:pt x="751" y="50"/>
                    <a:pt x="751" y="50"/>
                    <a:pt x="751" y="50"/>
                  </a:cubicBezTo>
                  <a:cubicBezTo>
                    <a:pt x="751" y="50"/>
                    <a:pt x="751" y="50"/>
                    <a:pt x="751" y="50"/>
                  </a:cubicBezTo>
                  <a:close/>
                  <a:moveTo>
                    <a:pt x="1482" y="19"/>
                  </a:moveTo>
                  <a:cubicBezTo>
                    <a:pt x="1483" y="19"/>
                    <a:pt x="1483" y="19"/>
                    <a:pt x="1483" y="18"/>
                  </a:cubicBezTo>
                  <a:cubicBezTo>
                    <a:pt x="1483" y="18"/>
                    <a:pt x="1483" y="18"/>
                    <a:pt x="1482" y="19"/>
                  </a:cubicBezTo>
                  <a:close/>
                  <a:moveTo>
                    <a:pt x="1541" y="18"/>
                  </a:moveTo>
                  <a:cubicBezTo>
                    <a:pt x="1541" y="18"/>
                    <a:pt x="1541" y="18"/>
                    <a:pt x="1541" y="19"/>
                  </a:cubicBezTo>
                  <a:cubicBezTo>
                    <a:pt x="1541" y="19"/>
                    <a:pt x="1541" y="19"/>
                    <a:pt x="1541" y="18"/>
                  </a:cubicBezTo>
                  <a:close/>
                  <a:moveTo>
                    <a:pt x="1680" y="18"/>
                  </a:moveTo>
                  <a:cubicBezTo>
                    <a:pt x="1681" y="19"/>
                    <a:pt x="1681" y="19"/>
                    <a:pt x="1681" y="19"/>
                  </a:cubicBezTo>
                  <a:cubicBezTo>
                    <a:pt x="1681" y="19"/>
                    <a:pt x="1681" y="18"/>
                    <a:pt x="1680" y="18"/>
                  </a:cubicBezTo>
                  <a:close/>
                  <a:moveTo>
                    <a:pt x="1709" y="18"/>
                  </a:moveTo>
                  <a:cubicBezTo>
                    <a:pt x="1709" y="18"/>
                    <a:pt x="1709" y="18"/>
                    <a:pt x="1709" y="19"/>
                  </a:cubicBezTo>
                  <a:cubicBezTo>
                    <a:pt x="1709" y="19"/>
                    <a:pt x="1709" y="19"/>
                    <a:pt x="1709" y="18"/>
                  </a:cubicBezTo>
                  <a:close/>
                  <a:moveTo>
                    <a:pt x="555" y="19"/>
                  </a:moveTo>
                  <a:cubicBezTo>
                    <a:pt x="555" y="19"/>
                    <a:pt x="555" y="19"/>
                    <a:pt x="555" y="19"/>
                  </a:cubicBezTo>
                  <a:cubicBezTo>
                    <a:pt x="555" y="19"/>
                    <a:pt x="555" y="19"/>
                    <a:pt x="555" y="19"/>
                  </a:cubicBezTo>
                  <a:close/>
                  <a:moveTo>
                    <a:pt x="581" y="19"/>
                  </a:moveTo>
                  <a:cubicBezTo>
                    <a:pt x="581" y="19"/>
                    <a:pt x="581" y="19"/>
                    <a:pt x="580" y="19"/>
                  </a:cubicBezTo>
                  <a:cubicBezTo>
                    <a:pt x="580" y="19"/>
                    <a:pt x="581" y="19"/>
                    <a:pt x="581" y="19"/>
                  </a:cubicBezTo>
                  <a:close/>
                  <a:moveTo>
                    <a:pt x="1310" y="44"/>
                  </a:moveTo>
                  <a:cubicBezTo>
                    <a:pt x="1309" y="44"/>
                    <a:pt x="1309" y="44"/>
                    <a:pt x="1309" y="44"/>
                  </a:cubicBezTo>
                  <a:cubicBezTo>
                    <a:pt x="1309" y="44"/>
                    <a:pt x="1309" y="44"/>
                    <a:pt x="1310" y="44"/>
                  </a:cubicBezTo>
                  <a:close/>
                  <a:moveTo>
                    <a:pt x="984" y="19"/>
                  </a:moveTo>
                  <a:cubicBezTo>
                    <a:pt x="984" y="19"/>
                    <a:pt x="983" y="19"/>
                    <a:pt x="983" y="19"/>
                  </a:cubicBezTo>
                  <a:cubicBezTo>
                    <a:pt x="984" y="19"/>
                    <a:pt x="984" y="19"/>
                    <a:pt x="984" y="19"/>
                  </a:cubicBezTo>
                  <a:close/>
                  <a:moveTo>
                    <a:pt x="1015" y="19"/>
                  </a:moveTo>
                  <a:cubicBezTo>
                    <a:pt x="1015" y="19"/>
                    <a:pt x="1015" y="19"/>
                    <a:pt x="1015" y="19"/>
                  </a:cubicBezTo>
                  <a:cubicBezTo>
                    <a:pt x="1015" y="19"/>
                    <a:pt x="1015" y="19"/>
                    <a:pt x="1015" y="19"/>
                  </a:cubicBezTo>
                  <a:close/>
                  <a:moveTo>
                    <a:pt x="1356" y="19"/>
                  </a:moveTo>
                  <a:cubicBezTo>
                    <a:pt x="1356" y="19"/>
                    <a:pt x="1356" y="19"/>
                    <a:pt x="1356" y="19"/>
                  </a:cubicBezTo>
                  <a:cubicBezTo>
                    <a:pt x="1356" y="19"/>
                    <a:pt x="1356" y="19"/>
                    <a:pt x="1356" y="19"/>
                  </a:cubicBezTo>
                  <a:close/>
                  <a:moveTo>
                    <a:pt x="1383" y="44"/>
                  </a:moveTo>
                  <a:cubicBezTo>
                    <a:pt x="1384" y="44"/>
                    <a:pt x="1384" y="44"/>
                    <a:pt x="1384" y="44"/>
                  </a:cubicBezTo>
                  <a:cubicBezTo>
                    <a:pt x="1383" y="44"/>
                    <a:pt x="1383" y="44"/>
                    <a:pt x="1383" y="44"/>
                  </a:cubicBezTo>
                  <a:close/>
                  <a:moveTo>
                    <a:pt x="1417" y="19"/>
                  </a:moveTo>
                  <a:cubicBezTo>
                    <a:pt x="1417" y="19"/>
                    <a:pt x="1417" y="19"/>
                    <a:pt x="1417" y="19"/>
                  </a:cubicBezTo>
                  <a:cubicBezTo>
                    <a:pt x="1417" y="19"/>
                    <a:pt x="1417" y="19"/>
                    <a:pt x="1417" y="19"/>
                  </a:cubicBezTo>
                  <a:close/>
                  <a:moveTo>
                    <a:pt x="1464" y="19"/>
                  </a:moveTo>
                  <a:cubicBezTo>
                    <a:pt x="1464" y="19"/>
                    <a:pt x="1464" y="19"/>
                    <a:pt x="1464" y="19"/>
                  </a:cubicBezTo>
                  <a:cubicBezTo>
                    <a:pt x="1464" y="19"/>
                    <a:pt x="1464" y="19"/>
                    <a:pt x="1464" y="19"/>
                  </a:cubicBezTo>
                  <a:close/>
                  <a:moveTo>
                    <a:pt x="1748" y="44"/>
                  </a:moveTo>
                  <a:cubicBezTo>
                    <a:pt x="1747" y="44"/>
                    <a:pt x="1747" y="44"/>
                    <a:pt x="1747" y="44"/>
                  </a:cubicBezTo>
                  <a:cubicBezTo>
                    <a:pt x="1748" y="44"/>
                    <a:pt x="1748" y="44"/>
                    <a:pt x="1748" y="44"/>
                  </a:cubicBezTo>
                  <a:close/>
                  <a:moveTo>
                    <a:pt x="1579" y="19"/>
                  </a:moveTo>
                  <a:cubicBezTo>
                    <a:pt x="1579" y="19"/>
                    <a:pt x="1579" y="19"/>
                    <a:pt x="1579" y="19"/>
                  </a:cubicBezTo>
                  <a:cubicBezTo>
                    <a:pt x="1579" y="19"/>
                    <a:pt x="1579" y="19"/>
                    <a:pt x="1579" y="19"/>
                  </a:cubicBezTo>
                  <a:close/>
                  <a:moveTo>
                    <a:pt x="557" y="44"/>
                  </a:moveTo>
                  <a:cubicBezTo>
                    <a:pt x="557" y="44"/>
                    <a:pt x="557" y="44"/>
                    <a:pt x="557" y="45"/>
                  </a:cubicBezTo>
                  <a:cubicBezTo>
                    <a:pt x="557" y="44"/>
                    <a:pt x="557" y="44"/>
                    <a:pt x="557" y="44"/>
                  </a:cubicBezTo>
                  <a:close/>
                  <a:moveTo>
                    <a:pt x="596" y="45"/>
                  </a:moveTo>
                  <a:cubicBezTo>
                    <a:pt x="596" y="44"/>
                    <a:pt x="596" y="44"/>
                    <a:pt x="596" y="44"/>
                  </a:cubicBezTo>
                  <a:cubicBezTo>
                    <a:pt x="596" y="44"/>
                    <a:pt x="596" y="45"/>
                    <a:pt x="596" y="45"/>
                  </a:cubicBezTo>
                  <a:close/>
                  <a:moveTo>
                    <a:pt x="1747" y="19"/>
                  </a:moveTo>
                  <a:cubicBezTo>
                    <a:pt x="1747" y="19"/>
                    <a:pt x="1747" y="19"/>
                    <a:pt x="1747" y="19"/>
                  </a:cubicBezTo>
                  <a:cubicBezTo>
                    <a:pt x="1747" y="19"/>
                    <a:pt x="1747" y="19"/>
                    <a:pt x="1747" y="19"/>
                  </a:cubicBezTo>
                  <a:close/>
                  <a:moveTo>
                    <a:pt x="640" y="45"/>
                  </a:moveTo>
                  <a:cubicBezTo>
                    <a:pt x="641" y="45"/>
                    <a:pt x="641" y="44"/>
                    <a:pt x="641" y="44"/>
                  </a:cubicBezTo>
                  <a:cubicBezTo>
                    <a:pt x="640" y="44"/>
                    <a:pt x="640" y="45"/>
                    <a:pt x="640" y="45"/>
                  </a:cubicBezTo>
                  <a:close/>
                  <a:moveTo>
                    <a:pt x="582" y="19"/>
                  </a:moveTo>
                  <a:cubicBezTo>
                    <a:pt x="582" y="19"/>
                    <a:pt x="581" y="19"/>
                    <a:pt x="581" y="19"/>
                  </a:cubicBezTo>
                  <a:cubicBezTo>
                    <a:pt x="581" y="19"/>
                    <a:pt x="581" y="19"/>
                    <a:pt x="582" y="19"/>
                  </a:cubicBezTo>
                  <a:close/>
                  <a:moveTo>
                    <a:pt x="983" y="19"/>
                  </a:moveTo>
                  <a:cubicBezTo>
                    <a:pt x="983" y="19"/>
                    <a:pt x="983" y="19"/>
                    <a:pt x="983" y="19"/>
                  </a:cubicBezTo>
                  <a:cubicBezTo>
                    <a:pt x="983" y="19"/>
                    <a:pt x="983" y="19"/>
                    <a:pt x="983" y="19"/>
                  </a:cubicBezTo>
                  <a:close/>
                  <a:moveTo>
                    <a:pt x="692" y="44"/>
                  </a:moveTo>
                  <a:cubicBezTo>
                    <a:pt x="692" y="44"/>
                    <a:pt x="692" y="44"/>
                    <a:pt x="692" y="44"/>
                  </a:cubicBezTo>
                  <a:cubicBezTo>
                    <a:pt x="692" y="44"/>
                    <a:pt x="692" y="44"/>
                    <a:pt x="692" y="44"/>
                  </a:cubicBezTo>
                  <a:close/>
                  <a:moveTo>
                    <a:pt x="837" y="44"/>
                  </a:moveTo>
                  <a:cubicBezTo>
                    <a:pt x="836" y="44"/>
                    <a:pt x="836" y="44"/>
                    <a:pt x="836" y="44"/>
                  </a:cubicBezTo>
                  <a:cubicBezTo>
                    <a:pt x="836" y="44"/>
                    <a:pt x="837" y="44"/>
                    <a:pt x="837" y="44"/>
                  </a:cubicBezTo>
                  <a:close/>
                  <a:moveTo>
                    <a:pt x="1540" y="19"/>
                  </a:moveTo>
                  <a:cubicBezTo>
                    <a:pt x="1540" y="19"/>
                    <a:pt x="1540" y="19"/>
                    <a:pt x="1540" y="19"/>
                  </a:cubicBezTo>
                  <a:cubicBezTo>
                    <a:pt x="1540" y="19"/>
                    <a:pt x="1540" y="19"/>
                    <a:pt x="1540" y="19"/>
                  </a:cubicBezTo>
                  <a:close/>
                  <a:moveTo>
                    <a:pt x="1681" y="19"/>
                  </a:moveTo>
                  <a:cubicBezTo>
                    <a:pt x="1681" y="19"/>
                    <a:pt x="1681" y="20"/>
                    <a:pt x="1681" y="20"/>
                  </a:cubicBezTo>
                  <a:cubicBezTo>
                    <a:pt x="1681" y="19"/>
                    <a:pt x="1681" y="19"/>
                    <a:pt x="1681" y="19"/>
                  </a:cubicBezTo>
                  <a:close/>
                  <a:moveTo>
                    <a:pt x="1708" y="19"/>
                  </a:moveTo>
                  <a:cubicBezTo>
                    <a:pt x="1708" y="19"/>
                    <a:pt x="1708" y="19"/>
                    <a:pt x="1708" y="19"/>
                  </a:cubicBezTo>
                  <a:cubicBezTo>
                    <a:pt x="1708" y="19"/>
                    <a:pt x="1708" y="19"/>
                    <a:pt x="1708" y="19"/>
                  </a:cubicBezTo>
                  <a:close/>
                  <a:moveTo>
                    <a:pt x="539" y="20"/>
                  </a:moveTo>
                  <a:cubicBezTo>
                    <a:pt x="540" y="20"/>
                    <a:pt x="540" y="20"/>
                    <a:pt x="540" y="19"/>
                  </a:cubicBezTo>
                  <a:cubicBezTo>
                    <a:pt x="539" y="20"/>
                    <a:pt x="539" y="20"/>
                    <a:pt x="539" y="20"/>
                  </a:cubicBezTo>
                  <a:close/>
                  <a:moveTo>
                    <a:pt x="1392" y="50"/>
                  </a:moveTo>
                  <a:cubicBezTo>
                    <a:pt x="1392" y="50"/>
                    <a:pt x="1392" y="50"/>
                    <a:pt x="1392" y="50"/>
                  </a:cubicBezTo>
                  <a:cubicBezTo>
                    <a:pt x="1392" y="50"/>
                    <a:pt x="1392" y="50"/>
                    <a:pt x="1392" y="50"/>
                  </a:cubicBezTo>
                  <a:close/>
                  <a:moveTo>
                    <a:pt x="582" y="20"/>
                  </a:moveTo>
                  <a:cubicBezTo>
                    <a:pt x="582" y="19"/>
                    <a:pt x="582" y="19"/>
                    <a:pt x="582" y="19"/>
                  </a:cubicBezTo>
                  <a:cubicBezTo>
                    <a:pt x="582" y="20"/>
                    <a:pt x="582" y="20"/>
                    <a:pt x="582" y="20"/>
                  </a:cubicBezTo>
                  <a:close/>
                  <a:moveTo>
                    <a:pt x="983" y="19"/>
                  </a:moveTo>
                  <a:cubicBezTo>
                    <a:pt x="982" y="19"/>
                    <a:pt x="982" y="19"/>
                    <a:pt x="982" y="20"/>
                  </a:cubicBezTo>
                  <a:cubicBezTo>
                    <a:pt x="982" y="20"/>
                    <a:pt x="982" y="20"/>
                    <a:pt x="983" y="19"/>
                  </a:cubicBezTo>
                  <a:close/>
                  <a:moveTo>
                    <a:pt x="1017" y="20"/>
                  </a:moveTo>
                  <a:cubicBezTo>
                    <a:pt x="1017" y="19"/>
                    <a:pt x="1017" y="19"/>
                    <a:pt x="1016" y="19"/>
                  </a:cubicBezTo>
                  <a:cubicBezTo>
                    <a:pt x="1017" y="20"/>
                    <a:pt x="1017" y="20"/>
                    <a:pt x="1017" y="20"/>
                  </a:cubicBezTo>
                  <a:close/>
                  <a:moveTo>
                    <a:pt x="1355" y="19"/>
                  </a:moveTo>
                  <a:cubicBezTo>
                    <a:pt x="1355" y="19"/>
                    <a:pt x="1355" y="19"/>
                    <a:pt x="1355" y="20"/>
                  </a:cubicBezTo>
                  <a:cubicBezTo>
                    <a:pt x="1355" y="20"/>
                    <a:pt x="1355" y="20"/>
                    <a:pt x="1355" y="19"/>
                  </a:cubicBezTo>
                  <a:close/>
                  <a:moveTo>
                    <a:pt x="1417" y="20"/>
                  </a:moveTo>
                  <a:cubicBezTo>
                    <a:pt x="1417" y="20"/>
                    <a:pt x="1417" y="20"/>
                    <a:pt x="1417" y="19"/>
                  </a:cubicBezTo>
                  <a:cubicBezTo>
                    <a:pt x="1417" y="20"/>
                    <a:pt x="1417" y="20"/>
                    <a:pt x="1417" y="20"/>
                  </a:cubicBezTo>
                  <a:close/>
                  <a:moveTo>
                    <a:pt x="1464" y="19"/>
                  </a:moveTo>
                  <a:cubicBezTo>
                    <a:pt x="1464" y="20"/>
                    <a:pt x="1464" y="20"/>
                    <a:pt x="1465" y="20"/>
                  </a:cubicBezTo>
                  <a:cubicBezTo>
                    <a:pt x="1465" y="20"/>
                    <a:pt x="1465" y="20"/>
                    <a:pt x="1464" y="19"/>
                  </a:cubicBezTo>
                  <a:close/>
                  <a:moveTo>
                    <a:pt x="1540" y="19"/>
                  </a:moveTo>
                  <a:cubicBezTo>
                    <a:pt x="1539" y="19"/>
                    <a:pt x="1539" y="19"/>
                    <a:pt x="1539" y="20"/>
                  </a:cubicBezTo>
                  <a:cubicBezTo>
                    <a:pt x="1539" y="20"/>
                    <a:pt x="1539" y="20"/>
                    <a:pt x="1540" y="19"/>
                  </a:cubicBezTo>
                  <a:close/>
                  <a:moveTo>
                    <a:pt x="1579" y="19"/>
                  </a:moveTo>
                  <a:cubicBezTo>
                    <a:pt x="1579" y="20"/>
                    <a:pt x="1579" y="20"/>
                    <a:pt x="1580" y="20"/>
                  </a:cubicBezTo>
                  <a:cubicBezTo>
                    <a:pt x="1580" y="20"/>
                    <a:pt x="1580" y="20"/>
                    <a:pt x="1579" y="19"/>
                  </a:cubicBezTo>
                  <a:close/>
                  <a:moveTo>
                    <a:pt x="1708" y="19"/>
                  </a:moveTo>
                  <a:cubicBezTo>
                    <a:pt x="1707" y="19"/>
                    <a:pt x="1707" y="19"/>
                    <a:pt x="1707" y="20"/>
                  </a:cubicBezTo>
                  <a:cubicBezTo>
                    <a:pt x="1707" y="20"/>
                    <a:pt x="1708" y="20"/>
                    <a:pt x="1708" y="19"/>
                  </a:cubicBezTo>
                  <a:close/>
                  <a:moveTo>
                    <a:pt x="1747" y="19"/>
                  </a:moveTo>
                  <a:cubicBezTo>
                    <a:pt x="1747" y="20"/>
                    <a:pt x="1747" y="20"/>
                    <a:pt x="1748" y="20"/>
                  </a:cubicBezTo>
                  <a:cubicBezTo>
                    <a:pt x="1748" y="20"/>
                    <a:pt x="1748" y="20"/>
                    <a:pt x="1747" y="19"/>
                  </a:cubicBezTo>
                  <a:close/>
                  <a:moveTo>
                    <a:pt x="910" y="44"/>
                  </a:moveTo>
                  <a:cubicBezTo>
                    <a:pt x="910" y="44"/>
                    <a:pt x="910" y="45"/>
                    <a:pt x="910" y="45"/>
                  </a:cubicBezTo>
                  <a:cubicBezTo>
                    <a:pt x="910" y="45"/>
                    <a:pt x="910" y="44"/>
                    <a:pt x="910" y="44"/>
                  </a:cubicBezTo>
                  <a:close/>
                  <a:moveTo>
                    <a:pt x="1083" y="44"/>
                  </a:moveTo>
                  <a:cubicBezTo>
                    <a:pt x="1083" y="44"/>
                    <a:pt x="1083" y="45"/>
                    <a:pt x="1083" y="45"/>
                  </a:cubicBezTo>
                  <a:cubicBezTo>
                    <a:pt x="1083" y="44"/>
                    <a:pt x="1083" y="44"/>
                    <a:pt x="1083" y="44"/>
                  </a:cubicBezTo>
                  <a:close/>
                  <a:moveTo>
                    <a:pt x="982" y="20"/>
                  </a:moveTo>
                  <a:cubicBezTo>
                    <a:pt x="982" y="20"/>
                    <a:pt x="981" y="20"/>
                    <a:pt x="981" y="20"/>
                  </a:cubicBezTo>
                  <a:cubicBezTo>
                    <a:pt x="982" y="20"/>
                    <a:pt x="982" y="20"/>
                    <a:pt x="982" y="20"/>
                  </a:cubicBezTo>
                  <a:close/>
                  <a:moveTo>
                    <a:pt x="1018" y="20"/>
                  </a:moveTo>
                  <a:cubicBezTo>
                    <a:pt x="1018" y="20"/>
                    <a:pt x="1017" y="20"/>
                    <a:pt x="1017" y="20"/>
                  </a:cubicBezTo>
                  <a:cubicBezTo>
                    <a:pt x="1017" y="20"/>
                    <a:pt x="1018" y="20"/>
                    <a:pt x="1018" y="20"/>
                  </a:cubicBezTo>
                  <a:close/>
                  <a:moveTo>
                    <a:pt x="1395" y="20"/>
                  </a:moveTo>
                  <a:cubicBezTo>
                    <a:pt x="1395" y="20"/>
                    <a:pt x="1395" y="20"/>
                    <a:pt x="1395" y="20"/>
                  </a:cubicBezTo>
                  <a:cubicBezTo>
                    <a:pt x="1395" y="20"/>
                    <a:pt x="1395" y="20"/>
                    <a:pt x="1395" y="20"/>
                  </a:cubicBezTo>
                  <a:close/>
                  <a:moveTo>
                    <a:pt x="1214" y="45"/>
                  </a:moveTo>
                  <a:cubicBezTo>
                    <a:pt x="1214" y="45"/>
                    <a:pt x="1215" y="44"/>
                    <a:pt x="1215" y="44"/>
                  </a:cubicBezTo>
                  <a:cubicBezTo>
                    <a:pt x="1214" y="44"/>
                    <a:pt x="1214" y="44"/>
                    <a:pt x="1214" y="45"/>
                  </a:cubicBezTo>
                  <a:close/>
                  <a:moveTo>
                    <a:pt x="1261" y="44"/>
                  </a:moveTo>
                  <a:cubicBezTo>
                    <a:pt x="1261" y="44"/>
                    <a:pt x="1261" y="45"/>
                    <a:pt x="1261" y="45"/>
                  </a:cubicBezTo>
                  <a:cubicBezTo>
                    <a:pt x="1261" y="44"/>
                    <a:pt x="1261" y="44"/>
                    <a:pt x="1261" y="44"/>
                  </a:cubicBezTo>
                  <a:close/>
                  <a:moveTo>
                    <a:pt x="539" y="21"/>
                  </a:moveTo>
                  <a:cubicBezTo>
                    <a:pt x="539" y="21"/>
                    <a:pt x="539" y="20"/>
                    <a:pt x="539" y="20"/>
                  </a:cubicBezTo>
                  <a:cubicBezTo>
                    <a:pt x="539" y="20"/>
                    <a:pt x="539" y="21"/>
                    <a:pt x="539" y="21"/>
                  </a:cubicBezTo>
                  <a:close/>
                  <a:moveTo>
                    <a:pt x="583" y="20"/>
                  </a:moveTo>
                  <a:cubicBezTo>
                    <a:pt x="583" y="20"/>
                    <a:pt x="583" y="20"/>
                    <a:pt x="583" y="20"/>
                  </a:cubicBezTo>
                  <a:cubicBezTo>
                    <a:pt x="583" y="20"/>
                    <a:pt x="583" y="20"/>
                    <a:pt x="583" y="20"/>
                  </a:cubicBezTo>
                  <a:close/>
                  <a:moveTo>
                    <a:pt x="1289" y="45"/>
                  </a:moveTo>
                  <a:cubicBezTo>
                    <a:pt x="1290" y="45"/>
                    <a:pt x="1290" y="44"/>
                    <a:pt x="1290" y="44"/>
                  </a:cubicBezTo>
                  <a:cubicBezTo>
                    <a:pt x="1289" y="44"/>
                    <a:pt x="1289" y="44"/>
                    <a:pt x="1289" y="45"/>
                  </a:cubicBezTo>
                  <a:close/>
                  <a:moveTo>
                    <a:pt x="981" y="20"/>
                  </a:moveTo>
                  <a:cubicBezTo>
                    <a:pt x="981" y="20"/>
                    <a:pt x="981" y="20"/>
                    <a:pt x="981" y="20"/>
                  </a:cubicBezTo>
                  <a:cubicBezTo>
                    <a:pt x="981" y="20"/>
                    <a:pt x="981" y="20"/>
                    <a:pt x="981" y="20"/>
                  </a:cubicBezTo>
                  <a:close/>
                  <a:moveTo>
                    <a:pt x="1019" y="20"/>
                  </a:moveTo>
                  <a:cubicBezTo>
                    <a:pt x="1018" y="20"/>
                    <a:pt x="1018" y="20"/>
                    <a:pt x="1018" y="20"/>
                  </a:cubicBezTo>
                  <a:cubicBezTo>
                    <a:pt x="1018" y="20"/>
                    <a:pt x="1018" y="20"/>
                    <a:pt x="1019" y="20"/>
                  </a:cubicBezTo>
                  <a:close/>
                  <a:moveTo>
                    <a:pt x="1299" y="44"/>
                  </a:moveTo>
                  <a:cubicBezTo>
                    <a:pt x="1299" y="44"/>
                    <a:pt x="1298" y="44"/>
                    <a:pt x="1298" y="44"/>
                  </a:cubicBezTo>
                  <a:cubicBezTo>
                    <a:pt x="1299" y="44"/>
                    <a:pt x="1299" y="44"/>
                    <a:pt x="1299" y="44"/>
                  </a:cubicBezTo>
                  <a:close/>
                  <a:moveTo>
                    <a:pt x="1311" y="44"/>
                  </a:moveTo>
                  <a:cubicBezTo>
                    <a:pt x="1310" y="44"/>
                    <a:pt x="1310" y="44"/>
                    <a:pt x="1310" y="44"/>
                  </a:cubicBezTo>
                  <a:cubicBezTo>
                    <a:pt x="1310" y="44"/>
                    <a:pt x="1310" y="44"/>
                    <a:pt x="1311" y="44"/>
                  </a:cubicBezTo>
                  <a:close/>
                  <a:moveTo>
                    <a:pt x="1465" y="20"/>
                  </a:moveTo>
                  <a:cubicBezTo>
                    <a:pt x="1465" y="20"/>
                    <a:pt x="1465" y="21"/>
                    <a:pt x="1465" y="21"/>
                  </a:cubicBezTo>
                  <a:cubicBezTo>
                    <a:pt x="1465" y="20"/>
                    <a:pt x="1465" y="20"/>
                    <a:pt x="1465" y="20"/>
                  </a:cubicBezTo>
                  <a:close/>
                  <a:moveTo>
                    <a:pt x="1539" y="20"/>
                  </a:moveTo>
                  <a:cubicBezTo>
                    <a:pt x="1538" y="20"/>
                    <a:pt x="1538" y="20"/>
                    <a:pt x="1538" y="20"/>
                  </a:cubicBezTo>
                  <a:cubicBezTo>
                    <a:pt x="1538" y="20"/>
                    <a:pt x="1538" y="20"/>
                    <a:pt x="1539" y="20"/>
                  </a:cubicBezTo>
                  <a:close/>
                  <a:moveTo>
                    <a:pt x="1580" y="20"/>
                  </a:moveTo>
                  <a:cubicBezTo>
                    <a:pt x="1580" y="20"/>
                    <a:pt x="1580" y="21"/>
                    <a:pt x="1580" y="21"/>
                  </a:cubicBezTo>
                  <a:cubicBezTo>
                    <a:pt x="1580" y="21"/>
                    <a:pt x="1580" y="20"/>
                    <a:pt x="1580" y="20"/>
                  </a:cubicBezTo>
                  <a:close/>
                  <a:moveTo>
                    <a:pt x="1682" y="20"/>
                  </a:moveTo>
                  <a:cubicBezTo>
                    <a:pt x="1682" y="20"/>
                    <a:pt x="1682" y="21"/>
                    <a:pt x="1682" y="21"/>
                  </a:cubicBezTo>
                  <a:cubicBezTo>
                    <a:pt x="1682" y="21"/>
                    <a:pt x="1682" y="20"/>
                    <a:pt x="1682" y="20"/>
                  </a:cubicBezTo>
                  <a:close/>
                  <a:moveTo>
                    <a:pt x="1707" y="20"/>
                  </a:moveTo>
                  <a:cubicBezTo>
                    <a:pt x="1706" y="20"/>
                    <a:pt x="1706" y="20"/>
                    <a:pt x="1706" y="20"/>
                  </a:cubicBezTo>
                  <a:cubicBezTo>
                    <a:pt x="1706" y="20"/>
                    <a:pt x="1707" y="20"/>
                    <a:pt x="1707" y="20"/>
                  </a:cubicBezTo>
                  <a:close/>
                  <a:moveTo>
                    <a:pt x="1748" y="20"/>
                  </a:moveTo>
                  <a:cubicBezTo>
                    <a:pt x="1748" y="20"/>
                    <a:pt x="1748" y="21"/>
                    <a:pt x="1748" y="21"/>
                  </a:cubicBezTo>
                  <a:cubicBezTo>
                    <a:pt x="1748" y="21"/>
                    <a:pt x="1748" y="20"/>
                    <a:pt x="1748" y="20"/>
                  </a:cubicBezTo>
                  <a:close/>
                  <a:moveTo>
                    <a:pt x="1567" y="45"/>
                  </a:moveTo>
                  <a:cubicBezTo>
                    <a:pt x="1568" y="45"/>
                    <a:pt x="1568" y="44"/>
                    <a:pt x="1568" y="44"/>
                  </a:cubicBezTo>
                  <a:cubicBezTo>
                    <a:pt x="1568" y="44"/>
                    <a:pt x="1567" y="44"/>
                    <a:pt x="1567" y="45"/>
                  </a:cubicBezTo>
                  <a:close/>
                  <a:moveTo>
                    <a:pt x="584" y="21"/>
                  </a:moveTo>
                  <a:cubicBezTo>
                    <a:pt x="584" y="21"/>
                    <a:pt x="584" y="20"/>
                    <a:pt x="583" y="20"/>
                  </a:cubicBezTo>
                  <a:cubicBezTo>
                    <a:pt x="583" y="21"/>
                    <a:pt x="584" y="21"/>
                    <a:pt x="584" y="21"/>
                  </a:cubicBezTo>
                  <a:close/>
                  <a:moveTo>
                    <a:pt x="981" y="20"/>
                  </a:moveTo>
                  <a:cubicBezTo>
                    <a:pt x="980" y="20"/>
                    <a:pt x="980" y="20"/>
                    <a:pt x="980" y="21"/>
                  </a:cubicBezTo>
                  <a:cubicBezTo>
                    <a:pt x="980" y="21"/>
                    <a:pt x="980" y="21"/>
                    <a:pt x="981" y="20"/>
                  </a:cubicBezTo>
                  <a:close/>
                  <a:moveTo>
                    <a:pt x="1019" y="21"/>
                  </a:moveTo>
                  <a:cubicBezTo>
                    <a:pt x="1019" y="20"/>
                    <a:pt x="1019" y="20"/>
                    <a:pt x="1019" y="20"/>
                  </a:cubicBezTo>
                  <a:cubicBezTo>
                    <a:pt x="1019" y="21"/>
                    <a:pt x="1019" y="21"/>
                    <a:pt x="1019" y="21"/>
                  </a:cubicBezTo>
                  <a:close/>
                  <a:moveTo>
                    <a:pt x="1682" y="44"/>
                  </a:moveTo>
                  <a:cubicBezTo>
                    <a:pt x="1682" y="44"/>
                    <a:pt x="1682" y="44"/>
                    <a:pt x="1682" y="45"/>
                  </a:cubicBezTo>
                  <a:cubicBezTo>
                    <a:pt x="1682" y="45"/>
                    <a:pt x="1682" y="44"/>
                    <a:pt x="1682" y="44"/>
                  </a:cubicBezTo>
                  <a:close/>
                  <a:moveTo>
                    <a:pt x="1736" y="45"/>
                  </a:moveTo>
                  <a:cubicBezTo>
                    <a:pt x="1736" y="45"/>
                    <a:pt x="1736" y="44"/>
                    <a:pt x="1736" y="44"/>
                  </a:cubicBezTo>
                  <a:cubicBezTo>
                    <a:pt x="1736" y="44"/>
                    <a:pt x="1736" y="44"/>
                    <a:pt x="1736" y="45"/>
                  </a:cubicBezTo>
                  <a:close/>
                  <a:moveTo>
                    <a:pt x="1395" y="20"/>
                  </a:moveTo>
                  <a:cubicBezTo>
                    <a:pt x="1395" y="21"/>
                    <a:pt x="1395" y="21"/>
                    <a:pt x="1396" y="21"/>
                  </a:cubicBezTo>
                  <a:cubicBezTo>
                    <a:pt x="1396" y="21"/>
                    <a:pt x="1396" y="21"/>
                    <a:pt x="1395" y="20"/>
                  </a:cubicBezTo>
                  <a:close/>
                  <a:moveTo>
                    <a:pt x="566" y="50"/>
                  </a:moveTo>
                  <a:cubicBezTo>
                    <a:pt x="566" y="50"/>
                    <a:pt x="567" y="50"/>
                    <a:pt x="567" y="50"/>
                  </a:cubicBezTo>
                  <a:cubicBezTo>
                    <a:pt x="567" y="50"/>
                    <a:pt x="567" y="50"/>
                    <a:pt x="566" y="50"/>
                  </a:cubicBezTo>
                  <a:close/>
                  <a:moveTo>
                    <a:pt x="660" y="45"/>
                  </a:moveTo>
                  <a:cubicBezTo>
                    <a:pt x="660" y="45"/>
                    <a:pt x="660" y="45"/>
                    <a:pt x="660" y="44"/>
                  </a:cubicBezTo>
                  <a:cubicBezTo>
                    <a:pt x="660" y="45"/>
                    <a:pt x="660" y="45"/>
                    <a:pt x="660" y="45"/>
                  </a:cubicBezTo>
                  <a:close/>
                  <a:moveTo>
                    <a:pt x="693" y="45"/>
                  </a:moveTo>
                  <a:cubicBezTo>
                    <a:pt x="693" y="44"/>
                    <a:pt x="693" y="44"/>
                    <a:pt x="692" y="44"/>
                  </a:cubicBezTo>
                  <a:cubicBezTo>
                    <a:pt x="692" y="45"/>
                    <a:pt x="693" y="45"/>
                    <a:pt x="693" y="45"/>
                  </a:cubicBezTo>
                  <a:close/>
                  <a:moveTo>
                    <a:pt x="1020" y="21"/>
                  </a:moveTo>
                  <a:cubicBezTo>
                    <a:pt x="1020" y="21"/>
                    <a:pt x="1020" y="21"/>
                    <a:pt x="1019" y="21"/>
                  </a:cubicBezTo>
                  <a:cubicBezTo>
                    <a:pt x="1019" y="21"/>
                    <a:pt x="1020" y="21"/>
                    <a:pt x="1020" y="21"/>
                  </a:cubicBezTo>
                  <a:close/>
                  <a:moveTo>
                    <a:pt x="1353" y="21"/>
                  </a:moveTo>
                  <a:cubicBezTo>
                    <a:pt x="1353" y="21"/>
                    <a:pt x="1353" y="21"/>
                    <a:pt x="1353" y="21"/>
                  </a:cubicBezTo>
                  <a:cubicBezTo>
                    <a:pt x="1353" y="21"/>
                    <a:pt x="1353" y="21"/>
                    <a:pt x="1353" y="21"/>
                  </a:cubicBezTo>
                  <a:close/>
                  <a:moveTo>
                    <a:pt x="831" y="50"/>
                  </a:moveTo>
                  <a:cubicBezTo>
                    <a:pt x="831" y="50"/>
                    <a:pt x="831" y="50"/>
                    <a:pt x="831" y="51"/>
                  </a:cubicBezTo>
                  <a:cubicBezTo>
                    <a:pt x="831" y="51"/>
                    <a:pt x="831" y="50"/>
                    <a:pt x="831" y="50"/>
                  </a:cubicBezTo>
                  <a:close/>
                  <a:moveTo>
                    <a:pt x="858" y="51"/>
                  </a:moveTo>
                  <a:cubicBezTo>
                    <a:pt x="858" y="50"/>
                    <a:pt x="858" y="50"/>
                    <a:pt x="857" y="50"/>
                  </a:cubicBezTo>
                  <a:cubicBezTo>
                    <a:pt x="857" y="50"/>
                    <a:pt x="857" y="51"/>
                    <a:pt x="858" y="51"/>
                  </a:cubicBezTo>
                  <a:close/>
                  <a:moveTo>
                    <a:pt x="1465" y="21"/>
                  </a:moveTo>
                  <a:cubicBezTo>
                    <a:pt x="1465" y="21"/>
                    <a:pt x="1465" y="21"/>
                    <a:pt x="1465" y="21"/>
                  </a:cubicBezTo>
                  <a:cubicBezTo>
                    <a:pt x="1465" y="21"/>
                    <a:pt x="1465" y="21"/>
                    <a:pt x="1465" y="21"/>
                  </a:cubicBezTo>
                  <a:close/>
                  <a:moveTo>
                    <a:pt x="853" y="45"/>
                  </a:moveTo>
                  <a:cubicBezTo>
                    <a:pt x="853" y="45"/>
                    <a:pt x="853" y="44"/>
                    <a:pt x="853" y="44"/>
                  </a:cubicBezTo>
                  <a:cubicBezTo>
                    <a:pt x="853" y="45"/>
                    <a:pt x="853" y="45"/>
                    <a:pt x="853" y="45"/>
                  </a:cubicBezTo>
                  <a:close/>
                  <a:moveTo>
                    <a:pt x="1682" y="21"/>
                  </a:moveTo>
                  <a:cubicBezTo>
                    <a:pt x="1682" y="21"/>
                    <a:pt x="1682" y="21"/>
                    <a:pt x="1682" y="22"/>
                  </a:cubicBezTo>
                  <a:cubicBezTo>
                    <a:pt x="1682" y="21"/>
                    <a:pt x="1682" y="21"/>
                    <a:pt x="1682" y="21"/>
                  </a:cubicBezTo>
                  <a:close/>
                  <a:moveTo>
                    <a:pt x="867" y="44"/>
                  </a:moveTo>
                  <a:cubicBezTo>
                    <a:pt x="867" y="45"/>
                    <a:pt x="867" y="45"/>
                    <a:pt x="868" y="45"/>
                  </a:cubicBezTo>
                  <a:cubicBezTo>
                    <a:pt x="868" y="45"/>
                    <a:pt x="868" y="45"/>
                    <a:pt x="867" y="44"/>
                  </a:cubicBezTo>
                  <a:close/>
                  <a:moveTo>
                    <a:pt x="538" y="22"/>
                  </a:moveTo>
                  <a:cubicBezTo>
                    <a:pt x="539" y="22"/>
                    <a:pt x="539" y="21"/>
                    <a:pt x="539" y="21"/>
                  </a:cubicBezTo>
                  <a:cubicBezTo>
                    <a:pt x="539" y="21"/>
                    <a:pt x="538" y="22"/>
                    <a:pt x="538" y="22"/>
                  </a:cubicBezTo>
                  <a:close/>
                  <a:moveTo>
                    <a:pt x="896" y="45"/>
                  </a:moveTo>
                  <a:cubicBezTo>
                    <a:pt x="896" y="44"/>
                    <a:pt x="896" y="44"/>
                    <a:pt x="896" y="44"/>
                  </a:cubicBezTo>
                  <a:cubicBezTo>
                    <a:pt x="896" y="45"/>
                    <a:pt x="896" y="45"/>
                    <a:pt x="896" y="45"/>
                  </a:cubicBezTo>
                  <a:close/>
                  <a:moveTo>
                    <a:pt x="979" y="21"/>
                  </a:moveTo>
                  <a:cubicBezTo>
                    <a:pt x="979" y="21"/>
                    <a:pt x="979" y="21"/>
                    <a:pt x="979" y="21"/>
                  </a:cubicBezTo>
                  <a:cubicBezTo>
                    <a:pt x="979" y="21"/>
                    <a:pt x="979" y="21"/>
                    <a:pt x="979" y="21"/>
                  </a:cubicBezTo>
                  <a:close/>
                  <a:moveTo>
                    <a:pt x="1021" y="21"/>
                  </a:moveTo>
                  <a:cubicBezTo>
                    <a:pt x="1020" y="21"/>
                    <a:pt x="1020" y="21"/>
                    <a:pt x="1020" y="21"/>
                  </a:cubicBezTo>
                  <a:cubicBezTo>
                    <a:pt x="1020" y="21"/>
                    <a:pt x="1020" y="21"/>
                    <a:pt x="1021" y="21"/>
                  </a:cubicBezTo>
                  <a:close/>
                  <a:moveTo>
                    <a:pt x="1120" y="44"/>
                  </a:moveTo>
                  <a:cubicBezTo>
                    <a:pt x="1119" y="44"/>
                    <a:pt x="1119" y="44"/>
                    <a:pt x="1119" y="45"/>
                  </a:cubicBezTo>
                  <a:cubicBezTo>
                    <a:pt x="1119" y="45"/>
                    <a:pt x="1120" y="45"/>
                    <a:pt x="1120" y="44"/>
                  </a:cubicBezTo>
                  <a:close/>
                  <a:moveTo>
                    <a:pt x="1383" y="22"/>
                  </a:moveTo>
                  <a:cubicBezTo>
                    <a:pt x="1383" y="21"/>
                    <a:pt x="1383" y="21"/>
                    <a:pt x="1383" y="21"/>
                  </a:cubicBezTo>
                  <a:cubicBezTo>
                    <a:pt x="1383" y="21"/>
                    <a:pt x="1383" y="22"/>
                    <a:pt x="1383" y="22"/>
                  </a:cubicBezTo>
                  <a:close/>
                  <a:moveTo>
                    <a:pt x="1416" y="22"/>
                  </a:moveTo>
                  <a:cubicBezTo>
                    <a:pt x="1416" y="22"/>
                    <a:pt x="1416" y="21"/>
                    <a:pt x="1416" y="21"/>
                  </a:cubicBezTo>
                  <a:cubicBezTo>
                    <a:pt x="1416" y="21"/>
                    <a:pt x="1416" y="22"/>
                    <a:pt x="1416" y="22"/>
                  </a:cubicBezTo>
                  <a:close/>
                  <a:moveTo>
                    <a:pt x="1138" y="45"/>
                  </a:moveTo>
                  <a:cubicBezTo>
                    <a:pt x="1138" y="45"/>
                    <a:pt x="1138" y="44"/>
                    <a:pt x="1137" y="44"/>
                  </a:cubicBezTo>
                  <a:cubicBezTo>
                    <a:pt x="1137" y="45"/>
                    <a:pt x="1138" y="45"/>
                    <a:pt x="1138" y="45"/>
                  </a:cubicBezTo>
                  <a:close/>
                  <a:moveTo>
                    <a:pt x="1152" y="44"/>
                  </a:moveTo>
                  <a:cubicBezTo>
                    <a:pt x="1152" y="45"/>
                    <a:pt x="1152" y="45"/>
                    <a:pt x="1152" y="45"/>
                  </a:cubicBezTo>
                  <a:cubicBezTo>
                    <a:pt x="1153" y="45"/>
                    <a:pt x="1152" y="45"/>
                    <a:pt x="1152" y="44"/>
                  </a:cubicBezTo>
                  <a:close/>
                  <a:moveTo>
                    <a:pt x="1580" y="21"/>
                  </a:moveTo>
                  <a:cubicBezTo>
                    <a:pt x="1580" y="21"/>
                    <a:pt x="1580" y="22"/>
                    <a:pt x="1580" y="22"/>
                  </a:cubicBezTo>
                  <a:cubicBezTo>
                    <a:pt x="1580" y="22"/>
                    <a:pt x="1580" y="21"/>
                    <a:pt x="1580" y="21"/>
                  </a:cubicBezTo>
                  <a:close/>
                  <a:moveTo>
                    <a:pt x="1298" y="44"/>
                  </a:moveTo>
                  <a:cubicBezTo>
                    <a:pt x="1298" y="44"/>
                    <a:pt x="1298" y="44"/>
                    <a:pt x="1298" y="45"/>
                  </a:cubicBezTo>
                  <a:cubicBezTo>
                    <a:pt x="1298" y="45"/>
                    <a:pt x="1298" y="45"/>
                    <a:pt x="1298" y="44"/>
                  </a:cubicBezTo>
                  <a:close/>
                  <a:moveTo>
                    <a:pt x="1748" y="21"/>
                  </a:moveTo>
                  <a:cubicBezTo>
                    <a:pt x="1748" y="21"/>
                    <a:pt x="1748" y="22"/>
                    <a:pt x="1748" y="22"/>
                  </a:cubicBezTo>
                  <a:cubicBezTo>
                    <a:pt x="1748" y="22"/>
                    <a:pt x="1748" y="21"/>
                    <a:pt x="1748" y="21"/>
                  </a:cubicBezTo>
                  <a:close/>
                  <a:moveTo>
                    <a:pt x="1311" y="45"/>
                  </a:moveTo>
                  <a:cubicBezTo>
                    <a:pt x="1311" y="45"/>
                    <a:pt x="1311" y="44"/>
                    <a:pt x="1311" y="44"/>
                  </a:cubicBezTo>
                  <a:cubicBezTo>
                    <a:pt x="1311" y="45"/>
                    <a:pt x="1311" y="45"/>
                    <a:pt x="1311" y="45"/>
                  </a:cubicBezTo>
                  <a:close/>
                  <a:moveTo>
                    <a:pt x="652" y="43"/>
                  </a:moveTo>
                  <a:cubicBezTo>
                    <a:pt x="652" y="43"/>
                    <a:pt x="652" y="44"/>
                    <a:pt x="652" y="44"/>
                  </a:cubicBezTo>
                  <a:cubicBezTo>
                    <a:pt x="652" y="44"/>
                    <a:pt x="652" y="44"/>
                    <a:pt x="652" y="43"/>
                  </a:cubicBezTo>
                  <a:close/>
                  <a:moveTo>
                    <a:pt x="1383" y="45"/>
                  </a:moveTo>
                  <a:cubicBezTo>
                    <a:pt x="1383" y="45"/>
                    <a:pt x="1383" y="45"/>
                    <a:pt x="1383" y="44"/>
                  </a:cubicBezTo>
                  <a:cubicBezTo>
                    <a:pt x="1383" y="45"/>
                    <a:pt x="1383" y="45"/>
                    <a:pt x="1383" y="45"/>
                  </a:cubicBezTo>
                  <a:close/>
                  <a:moveTo>
                    <a:pt x="1395" y="44"/>
                  </a:moveTo>
                  <a:cubicBezTo>
                    <a:pt x="1395" y="45"/>
                    <a:pt x="1395" y="45"/>
                    <a:pt x="1395" y="45"/>
                  </a:cubicBezTo>
                  <a:cubicBezTo>
                    <a:pt x="1395" y="45"/>
                    <a:pt x="1395" y="45"/>
                    <a:pt x="1395" y="44"/>
                  </a:cubicBezTo>
                  <a:close/>
                  <a:moveTo>
                    <a:pt x="1465" y="21"/>
                  </a:moveTo>
                  <a:cubicBezTo>
                    <a:pt x="1465" y="22"/>
                    <a:pt x="1465" y="22"/>
                    <a:pt x="1466" y="22"/>
                  </a:cubicBezTo>
                  <a:cubicBezTo>
                    <a:pt x="1466" y="22"/>
                    <a:pt x="1466" y="22"/>
                    <a:pt x="1465" y="21"/>
                  </a:cubicBezTo>
                  <a:close/>
                  <a:moveTo>
                    <a:pt x="558" y="45"/>
                  </a:moveTo>
                  <a:cubicBezTo>
                    <a:pt x="558" y="45"/>
                    <a:pt x="558" y="45"/>
                    <a:pt x="558" y="45"/>
                  </a:cubicBezTo>
                  <a:cubicBezTo>
                    <a:pt x="558" y="45"/>
                    <a:pt x="558" y="45"/>
                    <a:pt x="558" y="45"/>
                  </a:cubicBezTo>
                  <a:close/>
                  <a:moveTo>
                    <a:pt x="1568" y="22"/>
                  </a:moveTo>
                  <a:cubicBezTo>
                    <a:pt x="1568" y="22"/>
                    <a:pt x="1568" y="22"/>
                    <a:pt x="1567" y="21"/>
                  </a:cubicBezTo>
                  <a:cubicBezTo>
                    <a:pt x="1567" y="22"/>
                    <a:pt x="1568" y="22"/>
                    <a:pt x="1568" y="22"/>
                  </a:cubicBezTo>
                  <a:close/>
                  <a:moveTo>
                    <a:pt x="1736" y="22"/>
                  </a:moveTo>
                  <a:cubicBezTo>
                    <a:pt x="1736" y="22"/>
                    <a:pt x="1736" y="22"/>
                    <a:pt x="1736" y="21"/>
                  </a:cubicBezTo>
                  <a:cubicBezTo>
                    <a:pt x="1736" y="22"/>
                    <a:pt x="1736" y="22"/>
                    <a:pt x="1736" y="22"/>
                  </a:cubicBezTo>
                  <a:close/>
                  <a:moveTo>
                    <a:pt x="538" y="23"/>
                  </a:moveTo>
                  <a:cubicBezTo>
                    <a:pt x="538" y="22"/>
                    <a:pt x="538" y="22"/>
                    <a:pt x="538" y="22"/>
                  </a:cubicBezTo>
                  <a:cubicBezTo>
                    <a:pt x="538" y="22"/>
                    <a:pt x="538" y="22"/>
                    <a:pt x="538" y="23"/>
                  </a:cubicBezTo>
                  <a:close/>
                  <a:moveTo>
                    <a:pt x="694" y="45"/>
                  </a:moveTo>
                  <a:cubicBezTo>
                    <a:pt x="694" y="45"/>
                    <a:pt x="693" y="45"/>
                    <a:pt x="693" y="45"/>
                  </a:cubicBezTo>
                  <a:cubicBezTo>
                    <a:pt x="693" y="45"/>
                    <a:pt x="693" y="45"/>
                    <a:pt x="694" y="45"/>
                  </a:cubicBezTo>
                  <a:close/>
                  <a:moveTo>
                    <a:pt x="1352" y="22"/>
                  </a:moveTo>
                  <a:cubicBezTo>
                    <a:pt x="1352" y="22"/>
                    <a:pt x="1351" y="22"/>
                    <a:pt x="1351" y="22"/>
                  </a:cubicBezTo>
                  <a:cubicBezTo>
                    <a:pt x="1352" y="22"/>
                    <a:pt x="1352" y="22"/>
                    <a:pt x="1352" y="22"/>
                  </a:cubicBezTo>
                  <a:close/>
                  <a:moveTo>
                    <a:pt x="1415" y="23"/>
                  </a:moveTo>
                  <a:cubicBezTo>
                    <a:pt x="1416" y="22"/>
                    <a:pt x="1416" y="22"/>
                    <a:pt x="1416" y="22"/>
                  </a:cubicBezTo>
                  <a:cubicBezTo>
                    <a:pt x="1415" y="22"/>
                    <a:pt x="1415" y="22"/>
                    <a:pt x="1415" y="23"/>
                  </a:cubicBezTo>
                  <a:close/>
                  <a:moveTo>
                    <a:pt x="1033" y="51"/>
                  </a:moveTo>
                  <a:cubicBezTo>
                    <a:pt x="1033" y="51"/>
                    <a:pt x="1033" y="50"/>
                    <a:pt x="1033" y="50"/>
                  </a:cubicBezTo>
                  <a:cubicBezTo>
                    <a:pt x="1033" y="50"/>
                    <a:pt x="1033" y="50"/>
                    <a:pt x="1033" y="51"/>
                  </a:cubicBezTo>
                  <a:close/>
                  <a:moveTo>
                    <a:pt x="1682" y="22"/>
                  </a:moveTo>
                  <a:cubicBezTo>
                    <a:pt x="1682" y="22"/>
                    <a:pt x="1682" y="22"/>
                    <a:pt x="1683" y="23"/>
                  </a:cubicBezTo>
                  <a:cubicBezTo>
                    <a:pt x="1683" y="22"/>
                    <a:pt x="1683" y="22"/>
                    <a:pt x="1682" y="22"/>
                  </a:cubicBezTo>
                  <a:close/>
                  <a:moveTo>
                    <a:pt x="869" y="46"/>
                  </a:moveTo>
                  <a:cubicBezTo>
                    <a:pt x="869" y="45"/>
                    <a:pt x="869" y="45"/>
                    <a:pt x="869" y="45"/>
                  </a:cubicBezTo>
                  <a:cubicBezTo>
                    <a:pt x="869" y="45"/>
                    <a:pt x="868" y="45"/>
                    <a:pt x="869" y="46"/>
                  </a:cubicBezTo>
                  <a:close/>
                  <a:moveTo>
                    <a:pt x="1086" y="50"/>
                  </a:moveTo>
                  <a:cubicBezTo>
                    <a:pt x="1086" y="50"/>
                    <a:pt x="1086" y="51"/>
                    <a:pt x="1086" y="51"/>
                  </a:cubicBezTo>
                  <a:cubicBezTo>
                    <a:pt x="1086" y="51"/>
                    <a:pt x="1086" y="50"/>
                    <a:pt x="1086" y="50"/>
                  </a:cubicBezTo>
                  <a:close/>
                  <a:moveTo>
                    <a:pt x="1114" y="50"/>
                  </a:moveTo>
                  <a:cubicBezTo>
                    <a:pt x="1114" y="50"/>
                    <a:pt x="1113" y="50"/>
                    <a:pt x="1113" y="51"/>
                  </a:cubicBezTo>
                  <a:cubicBezTo>
                    <a:pt x="1114" y="51"/>
                    <a:pt x="1114" y="50"/>
                    <a:pt x="1114" y="50"/>
                  </a:cubicBezTo>
                  <a:close/>
                  <a:moveTo>
                    <a:pt x="1142" y="51"/>
                  </a:moveTo>
                  <a:cubicBezTo>
                    <a:pt x="1142" y="50"/>
                    <a:pt x="1142" y="50"/>
                    <a:pt x="1142" y="50"/>
                  </a:cubicBezTo>
                  <a:cubicBezTo>
                    <a:pt x="1142" y="50"/>
                    <a:pt x="1142" y="51"/>
                    <a:pt x="1142" y="51"/>
                  </a:cubicBezTo>
                  <a:close/>
                  <a:moveTo>
                    <a:pt x="1384" y="23"/>
                  </a:moveTo>
                  <a:cubicBezTo>
                    <a:pt x="1384" y="23"/>
                    <a:pt x="1384" y="22"/>
                    <a:pt x="1384" y="22"/>
                  </a:cubicBezTo>
                  <a:cubicBezTo>
                    <a:pt x="1384" y="22"/>
                    <a:pt x="1384" y="23"/>
                    <a:pt x="1384" y="23"/>
                  </a:cubicBezTo>
                  <a:close/>
                  <a:moveTo>
                    <a:pt x="1211" y="51"/>
                  </a:moveTo>
                  <a:cubicBezTo>
                    <a:pt x="1211" y="51"/>
                    <a:pt x="1211" y="50"/>
                    <a:pt x="1211" y="50"/>
                  </a:cubicBezTo>
                  <a:cubicBezTo>
                    <a:pt x="1211" y="50"/>
                    <a:pt x="1211" y="50"/>
                    <a:pt x="1211" y="51"/>
                  </a:cubicBezTo>
                  <a:close/>
                  <a:moveTo>
                    <a:pt x="1536" y="22"/>
                  </a:moveTo>
                  <a:cubicBezTo>
                    <a:pt x="1535" y="22"/>
                    <a:pt x="1535" y="22"/>
                    <a:pt x="1535" y="23"/>
                  </a:cubicBezTo>
                  <a:cubicBezTo>
                    <a:pt x="1535" y="22"/>
                    <a:pt x="1536" y="22"/>
                    <a:pt x="1536" y="22"/>
                  </a:cubicBezTo>
                  <a:close/>
                  <a:moveTo>
                    <a:pt x="1704" y="22"/>
                  </a:moveTo>
                  <a:cubicBezTo>
                    <a:pt x="1704" y="22"/>
                    <a:pt x="1703" y="22"/>
                    <a:pt x="1703" y="23"/>
                  </a:cubicBezTo>
                  <a:cubicBezTo>
                    <a:pt x="1704" y="22"/>
                    <a:pt x="1704" y="22"/>
                    <a:pt x="1704" y="22"/>
                  </a:cubicBezTo>
                  <a:close/>
                  <a:moveTo>
                    <a:pt x="872" y="55"/>
                  </a:moveTo>
                  <a:cubicBezTo>
                    <a:pt x="871" y="55"/>
                    <a:pt x="871" y="56"/>
                    <a:pt x="871" y="56"/>
                  </a:cubicBezTo>
                  <a:cubicBezTo>
                    <a:pt x="872" y="56"/>
                    <a:pt x="872" y="55"/>
                    <a:pt x="872" y="55"/>
                  </a:cubicBezTo>
                  <a:close/>
                  <a:moveTo>
                    <a:pt x="572" y="53"/>
                  </a:moveTo>
                  <a:cubicBezTo>
                    <a:pt x="572" y="53"/>
                    <a:pt x="572" y="53"/>
                    <a:pt x="572" y="54"/>
                  </a:cubicBezTo>
                  <a:cubicBezTo>
                    <a:pt x="572" y="53"/>
                    <a:pt x="572" y="53"/>
                    <a:pt x="572" y="53"/>
                  </a:cubicBezTo>
                  <a:close/>
                  <a:moveTo>
                    <a:pt x="977" y="22"/>
                  </a:moveTo>
                  <a:cubicBezTo>
                    <a:pt x="977" y="22"/>
                    <a:pt x="977" y="23"/>
                    <a:pt x="977" y="23"/>
                  </a:cubicBezTo>
                  <a:cubicBezTo>
                    <a:pt x="977" y="23"/>
                    <a:pt x="977" y="23"/>
                    <a:pt x="977" y="22"/>
                  </a:cubicBezTo>
                  <a:close/>
                  <a:moveTo>
                    <a:pt x="1261" y="45"/>
                  </a:moveTo>
                  <a:cubicBezTo>
                    <a:pt x="1261" y="45"/>
                    <a:pt x="1261" y="45"/>
                    <a:pt x="1261" y="45"/>
                  </a:cubicBezTo>
                  <a:cubicBezTo>
                    <a:pt x="1261" y="45"/>
                    <a:pt x="1261" y="45"/>
                    <a:pt x="1261" y="45"/>
                  </a:cubicBezTo>
                  <a:close/>
                  <a:moveTo>
                    <a:pt x="1415" y="23"/>
                  </a:moveTo>
                  <a:cubicBezTo>
                    <a:pt x="1415" y="23"/>
                    <a:pt x="1415" y="23"/>
                    <a:pt x="1415" y="23"/>
                  </a:cubicBezTo>
                  <a:cubicBezTo>
                    <a:pt x="1415" y="23"/>
                    <a:pt x="1415" y="23"/>
                    <a:pt x="1415" y="23"/>
                  </a:cubicBezTo>
                  <a:close/>
                  <a:moveTo>
                    <a:pt x="1497" y="22"/>
                  </a:moveTo>
                  <a:cubicBezTo>
                    <a:pt x="1496" y="22"/>
                    <a:pt x="1496" y="23"/>
                    <a:pt x="1496" y="23"/>
                  </a:cubicBezTo>
                  <a:cubicBezTo>
                    <a:pt x="1496" y="23"/>
                    <a:pt x="1497" y="23"/>
                    <a:pt x="1497" y="22"/>
                  </a:cubicBezTo>
                  <a:close/>
                  <a:moveTo>
                    <a:pt x="1289" y="45"/>
                  </a:moveTo>
                  <a:cubicBezTo>
                    <a:pt x="1289" y="45"/>
                    <a:pt x="1289" y="45"/>
                    <a:pt x="1289" y="45"/>
                  </a:cubicBezTo>
                  <a:cubicBezTo>
                    <a:pt x="1289" y="45"/>
                    <a:pt x="1289" y="45"/>
                    <a:pt x="1289" y="45"/>
                  </a:cubicBezTo>
                  <a:close/>
                  <a:moveTo>
                    <a:pt x="1568" y="23"/>
                  </a:moveTo>
                  <a:cubicBezTo>
                    <a:pt x="1568" y="23"/>
                    <a:pt x="1568" y="23"/>
                    <a:pt x="1568" y="23"/>
                  </a:cubicBezTo>
                  <a:cubicBezTo>
                    <a:pt x="1568" y="23"/>
                    <a:pt x="1568" y="23"/>
                    <a:pt x="1568" y="23"/>
                  </a:cubicBezTo>
                  <a:close/>
                  <a:moveTo>
                    <a:pt x="1683" y="23"/>
                  </a:moveTo>
                  <a:cubicBezTo>
                    <a:pt x="1683" y="23"/>
                    <a:pt x="1683" y="23"/>
                    <a:pt x="1683" y="23"/>
                  </a:cubicBezTo>
                  <a:cubicBezTo>
                    <a:pt x="1683" y="23"/>
                    <a:pt x="1683" y="23"/>
                    <a:pt x="1683" y="23"/>
                  </a:cubicBezTo>
                  <a:close/>
                  <a:moveTo>
                    <a:pt x="1298" y="45"/>
                  </a:moveTo>
                  <a:cubicBezTo>
                    <a:pt x="1297" y="45"/>
                    <a:pt x="1297" y="45"/>
                    <a:pt x="1297" y="45"/>
                  </a:cubicBezTo>
                  <a:cubicBezTo>
                    <a:pt x="1297" y="45"/>
                    <a:pt x="1298" y="45"/>
                    <a:pt x="1298" y="45"/>
                  </a:cubicBezTo>
                  <a:close/>
                  <a:moveTo>
                    <a:pt x="1737" y="23"/>
                  </a:moveTo>
                  <a:cubicBezTo>
                    <a:pt x="1737" y="23"/>
                    <a:pt x="1737" y="23"/>
                    <a:pt x="1736" y="23"/>
                  </a:cubicBezTo>
                  <a:cubicBezTo>
                    <a:pt x="1736" y="23"/>
                    <a:pt x="1736" y="23"/>
                    <a:pt x="1737" y="23"/>
                  </a:cubicBezTo>
                  <a:close/>
                  <a:moveTo>
                    <a:pt x="538" y="24"/>
                  </a:moveTo>
                  <a:cubicBezTo>
                    <a:pt x="538" y="23"/>
                    <a:pt x="538" y="23"/>
                    <a:pt x="538" y="23"/>
                  </a:cubicBezTo>
                  <a:cubicBezTo>
                    <a:pt x="538" y="23"/>
                    <a:pt x="538" y="23"/>
                    <a:pt x="538" y="24"/>
                  </a:cubicBezTo>
                  <a:close/>
                  <a:moveTo>
                    <a:pt x="551" y="23"/>
                  </a:moveTo>
                  <a:cubicBezTo>
                    <a:pt x="550" y="23"/>
                    <a:pt x="550" y="23"/>
                    <a:pt x="550" y="24"/>
                  </a:cubicBezTo>
                  <a:cubicBezTo>
                    <a:pt x="551" y="23"/>
                    <a:pt x="551" y="23"/>
                    <a:pt x="551" y="23"/>
                  </a:cubicBezTo>
                  <a:close/>
                  <a:moveTo>
                    <a:pt x="600" y="54"/>
                  </a:moveTo>
                  <a:cubicBezTo>
                    <a:pt x="600" y="53"/>
                    <a:pt x="600" y="53"/>
                    <a:pt x="599" y="53"/>
                  </a:cubicBezTo>
                  <a:cubicBezTo>
                    <a:pt x="599" y="53"/>
                    <a:pt x="599" y="54"/>
                    <a:pt x="600" y="54"/>
                  </a:cubicBezTo>
                  <a:close/>
                  <a:moveTo>
                    <a:pt x="648" y="53"/>
                  </a:moveTo>
                  <a:cubicBezTo>
                    <a:pt x="648" y="53"/>
                    <a:pt x="648" y="53"/>
                    <a:pt x="648" y="54"/>
                  </a:cubicBezTo>
                  <a:cubicBezTo>
                    <a:pt x="648" y="54"/>
                    <a:pt x="648" y="53"/>
                    <a:pt x="648" y="53"/>
                  </a:cubicBezTo>
                  <a:close/>
                  <a:moveTo>
                    <a:pt x="1384" y="24"/>
                  </a:moveTo>
                  <a:cubicBezTo>
                    <a:pt x="1384" y="23"/>
                    <a:pt x="1384" y="23"/>
                    <a:pt x="1384" y="23"/>
                  </a:cubicBezTo>
                  <a:cubicBezTo>
                    <a:pt x="1384" y="23"/>
                    <a:pt x="1384" y="23"/>
                    <a:pt x="1384" y="24"/>
                  </a:cubicBezTo>
                  <a:close/>
                  <a:moveTo>
                    <a:pt x="1579" y="45"/>
                  </a:moveTo>
                  <a:cubicBezTo>
                    <a:pt x="1579" y="45"/>
                    <a:pt x="1579" y="45"/>
                    <a:pt x="1579" y="45"/>
                  </a:cubicBezTo>
                  <a:cubicBezTo>
                    <a:pt x="1579" y="45"/>
                    <a:pt x="1579" y="45"/>
                    <a:pt x="1579" y="45"/>
                  </a:cubicBezTo>
                  <a:close/>
                  <a:moveTo>
                    <a:pt x="1682" y="45"/>
                  </a:moveTo>
                  <a:cubicBezTo>
                    <a:pt x="1681" y="45"/>
                    <a:pt x="1681" y="45"/>
                    <a:pt x="1681" y="45"/>
                  </a:cubicBezTo>
                  <a:cubicBezTo>
                    <a:pt x="1682" y="45"/>
                    <a:pt x="1682" y="45"/>
                    <a:pt x="1682" y="45"/>
                  </a:cubicBezTo>
                  <a:close/>
                  <a:moveTo>
                    <a:pt x="1747" y="45"/>
                  </a:moveTo>
                  <a:cubicBezTo>
                    <a:pt x="1747" y="45"/>
                    <a:pt x="1747" y="45"/>
                    <a:pt x="1747" y="45"/>
                  </a:cubicBezTo>
                  <a:cubicBezTo>
                    <a:pt x="1747" y="45"/>
                    <a:pt x="1747" y="45"/>
                    <a:pt x="1747" y="45"/>
                  </a:cubicBezTo>
                  <a:close/>
                  <a:moveTo>
                    <a:pt x="1466" y="23"/>
                  </a:moveTo>
                  <a:cubicBezTo>
                    <a:pt x="1466" y="23"/>
                    <a:pt x="1466" y="24"/>
                    <a:pt x="1466" y="24"/>
                  </a:cubicBezTo>
                  <a:cubicBezTo>
                    <a:pt x="1466" y="24"/>
                    <a:pt x="1466" y="23"/>
                    <a:pt x="1466" y="23"/>
                  </a:cubicBezTo>
                  <a:close/>
                  <a:moveTo>
                    <a:pt x="1496" y="23"/>
                  </a:moveTo>
                  <a:cubicBezTo>
                    <a:pt x="1495" y="23"/>
                    <a:pt x="1495" y="23"/>
                    <a:pt x="1495" y="24"/>
                  </a:cubicBezTo>
                  <a:cubicBezTo>
                    <a:pt x="1495" y="24"/>
                    <a:pt x="1496" y="23"/>
                    <a:pt x="1496" y="23"/>
                  </a:cubicBezTo>
                  <a:close/>
                  <a:moveTo>
                    <a:pt x="597" y="46"/>
                  </a:moveTo>
                  <a:cubicBezTo>
                    <a:pt x="597" y="45"/>
                    <a:pt x="597" y="45"/>
                    <a:pt x="596" y="45"/>
                  </a:cubicBezTo>
                  <a:cubicBezTo>
                    <a:pt x="596" y="45"/>
                    <a:pt x="596" y="46"/>
                    <a:pt x="597" y="46"/>
                  </a:cubicBezTo>
                  <a:close/>
                  <a:moveTo>
                    <a:pt x="1569" y="24"/>
                  </a:moveTo>
                  <a:cubicBezTo>
                    <a:pt x="1569" y="24"/>
                    <a:pt x="1569" y="23"/>
                    <a:pt x="1568" y="23"/>
                  </a:cubicBezTo>
                  <a:cubicBezTo>
                    <a:pt x="1568" y="23"/>
                    <a:pt x="1569" y="24"/>
                    <a:pt x="1569" y="24"/>
                  </a:cubicBezTo>
                  <a:close/>
                  <a:moveTo>
                    <a:pt x="640" y="46"/>
                  </a:moveTo>
                  <a:cubicBezTo>
                    <a:pt x="640" y="46"/>
                    <a:pt x="640" y="45"/>
                    <a:pt x="640" y="45"/>
                  </a:cubicBezTo>
                  <a:cubicBezTo>
                    <a:pt x="640" y="45"/>
                    <a:pt x="640" y="46"/>
                    <a:pt x="640" y="46"/>
                  </a:cubicBezTo>
                  <a:close/>
                  <a:moveTo>
                    <a:pt x="1737" y="24"/>
                  </a:moveTo>
                  <a:cubicBezTo>
                    <a:pt x="1737" y="24"/>
                    <a:pt x="1737" y="23"/>
                    <a:pt x="1737" y="23"/>
                  </a:cubicBezTo>
                  <a:cubicBezTo>
                    <a:pt x="1737" y="23"/>
                    <a:pt x="1737" y="24"/>
                    <a:pt x="1737" y="24"/>
                  </a:cubicBezTo>
                  <a:close/>
                  <a:moveTo>
                    <a:pt x="550" y="23"/>
                  </a:moveTo>
                  <a:cubicBezTo>
                    <a:pt x="550" y="24"/>
                    <a:pt x="550" y="24"/>
                    <a:pt x="550" y="24"/>
                  </a:cubicBezTo>
                  <a:cubicBezTo>
                    <a:pt x="550" y="24"/>
                    <a:pt x="550" y="24"/>
                    <a:pt x="550" y="23"/>
                  </a:cubicBezTo>
                  <a:close/>
                  <a:moveTo>
                    <a:pt x="652" y="45"/>
                  </a:moveTo>
                  <a:cubicBezTo>
                    <a:pt x="651" y="45"/>
                    <a:pt x="651" y="46"/>
                    <a:pt x="651" y="46"/>
                  </a:cubicBezTo>
                  <a:cubicBezTo>
                    <a:pt x="652" y="46"/>
                    <a:pt x="652" y="45"/>
                    <a:pt x="652" y="45"/>
                  </a:cubicBezTo>
                  <a:close/>
                  <a:moveTo>
                    <a:pt x="1385" y="24"/>
                  </a:moveTo>
                  <a:cubicBezTo>
                    <a:pt x="1385" y="24"/>
                    <a:pt x="1385" y="24"/>
                    <a:pt x="1384" y="23"/>
                  </a:cubicBezTo>
                  <a:cubicBezTo>
                    <a:pt x="1384" y="24"/>
                    <a:pt x="1384" y="24"/>
                    <a:pt x="1385" y="24"/>
                  </a:cubicBezTo>
                  <a:close/>
                  <a:moveTo>
                    <a:pt x="1415" y="24"/>
                  </a:moveTo>
                  <a:cubicBezTo>
                    <a:pt x="1415" y="24"/>
                    <a:pt x="1415" y="24"/>
                    <a:pt x="1415" y="24"/>
                  </a:cubicBezTo>
                  <a:cubicBezTo>
                    <a:pt x="1415" y="24"/>
                    <a:pt x="1415" y="24"/>
                    <a:pt x="1415" y="24"/>
                  </a:cubicBezTo>
                  <a:close/>
                  <a:moveTo>
                    <a:pt x="694" y="45"/>
                  </a:moveTo>
                  <a:cubicBezTo>
                    <a:pt x="694" y="45"/>
                    <a:pt x="694" y="45"/>
                    <a:pt x="694" y="45"/>
                  </a:cubicBezTo>
                  <a:cubicBezTo>
                    <a:pt x="694" y="45"/>
                    <a:pt x="694" y="45"/>
                    <a:pt x="694" y="45"/>
                  </a:cubicBezTo>
                  <a:close/>
                  <a:moveTo>
                    <a:pt x="567" y="50"/>
                  </a:moveTo>
                  <a:cubicBezTo>
                    <a:pt x="567" y="51"/>
                    <a:pt x="567" y="51"/>
                    <a:pt x="568" y="51"/>
                  </a:cubicBezTo>
                  <a:cubicBezTo>
                    <a:pt x="568" y="50"/>
                    <a:pt x="567" y="50"/>
                    <a:pt x="567" y="50"/>
                  </a:cubicBezTo>
                  <a:close/>
                  <a:moveTo>
                    <a:pt x="599" y="51"/>
                  </a:moveTo>
                  <a:cubicBezTo>
                    <a:pt x="599" y="51"/>
                    <a:pt x="599" y="50"/>
                    <a:pt x="598" y="50"/>
                  </a:cubicBezTo>
                  <a:cubicBezTo>
                    <a:pt x="598" y="51"/>
                    <a:pt x="598" y="51"/>
                    <a:pt x="599" y="51"/>
                  </a:cubicBezTo>
                  <a:close/>
                  <a:moveTo>
                    <a:pt x="1495" y="24"/>
                  </a:moveTo>
                  <a:cubicBezTo>
                    <a:pt x="1494" y="24"/>
                    <a:pt x="1494" y="24"/>
                    <a:pt x="1494" y="24"/>
                  </a:cubicBezTo>
                  <a:cubicBezTo>
                    <a:pt x="1494" y="24"/>
                    <a:pt x="1495" y="24"/>
                    <a:pt x="1495" y="24"/>
                  </a:cubicBezTo>
                  <a:close/>
                  <a:moveTo>
                    <a:pt x="649" y="50"/>
                  </a:moveTo>
                  <a:cubicBezTo>
                    <a:pt x="649" y="50"/>
                    <a:pt x="649" y="51"/>
                    <a:pt x="649" y="51"/>
                  </a:cubicBezTo>
                  <a:cubicBezTo>
                    <a:pt x="649" y="51"/>
                    <a:pt x="650" y="51"/>
                    <a:pt x="649" y="50"/>
                  </a:cubicBezTo>
                  <a:close/>
                  <a:moveTo>
                    <a:pt x="1569" y="25"/>
                  </a:moveTo>
                  <a:cubicBezTo>
                    <a:pt x="1569" y="24"/>
                    <a:pt x="1569" y="24"/>
                    <a:pt x="1569" y="24"/>
                  </a:cubicBezTo>
                  <a:cubicBezTo>
                    <a:pt x="1569" y="24"/>
                    <a:pt x="1569" y="24"/>
                    <a:pt x="1569" y="25"/>
                  </a:cubicBezTo>
                  <a:close/>
                  <a:moveTo>
                    <a:pt x="750" y="51"/>
                  </a:moveTo>
                  <a:cubicBezTo>
                    <a:pt x="751" y="51"/>
                    <a:pt x="751" y="51"/>
                    <a:pt x="751" y="50"/>
                  </a:cubicBezTo>
                  <a:cubicBezTo>
                    <a:pt x="751" y="51"/>
                    <a:pt x="750" y="51"/>
                    <a:pt x="750" y="51"/>
                  </a:cubicBezTo>
                  <a:close/>
                  <a:moveTo>
                    <a:pt x="1737" y="25"/>
                  </a:moveTo>
                  <a:cubicBezTo>
                    <a:pt x="1737" y="24"/>
                    <a:pt x="1737" y="24"/>
                    <a:pt x="1737" y="24"/>
                  </a:cubicBezTo>
                  <a:cubicBezTo>
                    <a:pt x="1737" y="24"/>
                    <a:pt x="1737" y="24"/>
                    <a:pt x="1737" y="25"/>
                  </a:cubicBezTo>
                  <a:close/>
                  <a:moveTo>
                    <a:pt x="550" y="24"/>
                  </a:moveTo>
                  <a:cubicBezTo>
                    <a:pt x="550" y="24"/>
                    <a:pt x="550" y="25"/>
                    <a:pt x="550" y="25"/>
                  </a:cubicBezTo>
                  <a:cubicBezTo>
                    <a:pt x="550" y="25"/>
                    <a:pt x="550" y="24"/>
                    <a:pt x="550" y="24"/>
                  </a:cubicBezTo>
                  <a:close/>
                  <a:moveTo>
                    <a:pt x="960" y="25"/>
                  </a:moveTo>
                  <a:cubicBezTo>
                    <a:pt x="960" y="25"/>
                    <a:pt x="960" y="25"/>
                    <a:pt x="960" y="24"/>
                  </a:cubicBezTo>
                  <a:cubicBezTo>
                    <a:pt x="960" y="24"/>
                    <a:pt x="960" y="25"/>
                    <a:pt x="960" y="25"/>
                  </a:cubicBezTo>
                  <a:close/>
                  <a:moveTo>
                    <a:pt x="910" y="45"/>
                  </a:moveTo>
                  <a:cubicBezTo>
                    <a:pt x="910" y="45"/>
                    <a:pt x="910" y="46"/>
                    <a:pt x="911" y="46"/>
                  </a:cubicBezTo>
                  <a:cubicBezTo>
                    <a:pt x="911" y="46"/>
                    <a:pt x="911" y="45"/>
                    <a:pt x="910" y="45"/>
                  </a:cubicBezTo>
                  <a:close/>
                  <a:moveTo>
                    <a:pt x="1385" y="25"/>
                  </a:moveTo>
                  <a:cubicBezTo>
                    <a:pt x="1385" y="25"/>
                    <a:pt x="1385" y="24"/>
                    <a:pt x="1385" y="24"/>
                  </a:cubicBezTo>
                  <a:cubicBezTo>
                    <a:pt x="1385" y="24"/>
                    <a:pt x="1385" y="25"/>
                    <a:pt x="1385" y="25"/>
                  </a:cubicBezTo>
                  <a:close/>
                  <a:moveTo>
                    <a:pt x="1414" y="25"/>
                  </a:moveTo>
                  <a:cubicBezTo>
                    <a:pt x="1415" y="25"/>
                    <a:pt x="1415" y="25"/>
                    <a:pt x="1415" y="24"/>
                  </a:cubicBezTo>
                  <a:cubicBezTo>
                    <a:pt x="1414" y="24"/>
                    <a:pt x="1414" y="25"/>
                    <a:pt x="1414" y="25"/>
                  </a:cubicBezTo>
                  <a:close/>
                  <a:moveTo>
                    <a:pt x="1036" y="46"/>
                  </a:moveTo>
                  <a:cubicBezTo>
                    <a:pt x="1036" y="46"/>
                    <a:pt x="1036" y="45"/>
                    <a:pt x="1036" y="45"/>
                  </a:cubicBezTo>
                  <a:cubicBezTo>
                    <a:pt x="1036" y="45"/>
                    <a:pt x="1036" y="46"/>
                    <a:pt x="1036" y="46"/>
                  </a:cubicBezTo>
                  <a:close/>
                  <a:moveTo>
                    <a:pt x="1083" y="45"/>
                  </a:moveTo>
                  <a:cubicBezTo>
                    <a:pt x="1084" y="45"/>
                    <a:pt x="1084" y="46"/>
                    <a:pt x="1084" y="46"/>
                  </a:cubicBezTo>
                  <a:cubicBezTo>
                    <a:pt x="1084" y="46"/>
                    <a:pt x="1084" y="45"/>
                    <a:pt x="1083" y="45"/>
                  </a:cubicBezTo>
                  <a:close/>
                  <a:moveTo>
                    <a:pt x="1494" y="24"/>
                  </a:moveTo>
                  <a:cubicBezTo>
                    <a:pt x="1493" y="25"/>
                    <a:pt x="1493" y="25"/>
                    <a:pt x="1493" y="25"/>
                  </a:cubicBezTo>
                  <a:cubicBezTo>
                    <a:pt x="1493" y="25"/>
                    <a:pt x="1493" y="25"/>
                    <a:pt x="1494" y="24"/>
                  </a:cubicBezTo>
                  <a:close/>
                  <a:moveTo>
                    <a:pt x="1152" y="45"/>
                  </a:moveTo>
                  <a:cubicBezTo>
                    <a:pt x="1152" y="45"/>
                    <a:pt x="1153" y="46"/>
                    <a:pt x="1153" y="46"/>
                  </a:cubicBezTo>
                  <a:cubicBezTo>
                    <a:pt x="1153" y="46"/>
                    <a:pt x="1153" y="45"/>
                    <a:pt x="1152" y="45"/>
                  </a:cubicBezTo>
                  <a:close/>
                  <a:moveTo>
                    <a:pt x="550" y="25"/>
                  </a:moveTo>
                  <a:cubicBezTo>
                    <a:pt x="549" y="25"/>
                    <a:pt x="549" y="25"/>
                    <a:pt x="549" y="26"/>
                  </a:cubicBezTo>
                  <a:cubicBezTo>
                    <a:pt x="550" y="25"/>
                    <a:pt x="550" y="25"/>
                    <a:pt x="550" y="25"/>
                  </a:cubicBezTo>
                  <a:close/>
                  <a:moveTo>
                    <a:pt x="874" y="50"/>
                  </a:moveTo>
                  <a:cubicBezTo>
                    <a:pt x="873" y="50"/>
                    <a:pt x="873" y="51"/>
                    <a:pt x="873" y="51"/>
                  </a:cubicBezTo>
                  <a:cubicBezTo>
                    <a:pt x="874" y="51"/>
                    <a:pt x="874" y="51"/>
                    <a:pt x="874" y="50"/>
                  </a:cubicBezTo>
                  <a:close/>
                  <a:moveTo>
                    <a:pt x="1493" y="25"/>
                  </a:moveTo>
                  <a:cubicBezTo>
                    <a:pt x="1493" y="25"/>
                    <a:pt x="1492" y="25"/>
                    <a:pt x="1492" y="25"/>
                  </a:cubicBezTo>
                  <a:cubicBezTo>
                    <a:pt x="1493" y="25"/>
                    <a:pt x="1493" y="25"/>
                    <a:pt x="1493" y="25"/>
                  </a:cubicBezTo>
                  <a:close/>
                  <a:moveTo>
                    <a:pt x="1312" y="45"/>
                  </a:moveTo>
                  <a:cubicBezTo>
                    <a:pt x="1312" y="45"/>
                    <a:pt x="1312" y="45"/>
                    <a:pt x="1312" y="45"/>
                  </a:cubicBezTo>
                  <a:cubicBezTo>
                    <a:pt x="1312" y="46"/>
                    <a:pt x="1312" y="45"/>
                    <a:pt x="1312" y="45"/>
                  </a:cubicBezTo>
                  <a:close/>
                  <a:moveTo>
                    <a:pt x="1570" y="26"/>
                  </a:moveTo>
                  <a:cubicBezTo>
                    <a:pt x="1570" y="25"/>
                    <a:pt x="1570" y="25"/>
                    <a:pt x="1569" y="25"/>
                  </a:cubicBezTo>
                  <a:cubicBezTo>
                    <a:pt x="1569" y="25"/>
                    <a:pt x="1569" y="25"/>
                    <a:pt x="1570" y="26"/>
                  </a:cubicBezTo>
                  <a:close/>
                  <a:moveTo>
                    <a:pt x="1383" y="46"/>
                  </a:moveTo>
                  <a:cubicBezTo>
                    <a:pt x="1383" y="46"/>
                    <a:pt x="1383" y="45"/>
                    <a:pt x="1383" y="45"/>
                  </a:cubicBezTo>
                  <a:cubicBezTo>
                    <a:pt x="1383" y="45"/>
                    <a:pt x="1383" y="46"/>
                    <a:pt x="1383" y="46"/>
                  </a:cubicBezTo>
                  <a:close/>
                  <a:moveTo>
                    <a:pt x="1738" y="26"/>
                  </a:moveTo>
                  <a:cubicBezTo>
                    <a:pt x="1738" y="25"/>
                    <a:pt x="1738" y="25"/>
                    <a:pt x="1737" y="25"/>
                  </a:cubicBezTo>
                  <a:cubicBezTo>
                    <a:pt x="1737" y="25"/>
                    <a:pt x="1737" y="25"/>
                    <a:pt x="1738" y="26"/>
                  </a:cubicBezTo>
                  <a:close/>
                  <a:moveTo>
                    <a:pt x="959" y="26"/>
                  </a:moveTo>
                  <a:cubicBezTo>
                    <a:pt x="960" y="26"/>
                    <a:pt x="960" y="26"/>
                    <a:pt x="960" y="25"/>
                  </a:cubicBezTo>
                  <a:cubicBezTo>
                    <a:pt x="959" y="25"/>
                    <a:pt x="959" y="26"/>
                    <a:pt x="959" y="26"/>
                  </a:cubicBezTo>
                  <a:close/>
                  <a:moveTo>
                    <a:pt x="1395" y="45"/>
                  </a:moveTo>
                  <a:cubicBezTo>
                    <a:pt x="1395" y="45"/>
                    <a:pt x="1394" y="46"/>
                    <a:pt x="1394" y="46"/>
                  </a:cubicBezTo>
                  <a:cubicBezTo>
                    <a:pt x="1395" y="46"/>
                    <a:pt x="1395" y="45"/>
                    <a:pt x="1395" y="45"/>
                  </a:cubicBezTo>
                  <a:close/>
                  <a:moveTo>
                    <a:pt x="1492" y="25"/>
                  </a:moveTo>
                  <a:cubicBezTo>
                    <a:pt x="1492" y="25"/>
                    <a:pt x="1492" y="25"/>
                    <a:pt x="1492" y="26"/>
                  </a:cubicBezTo>
                  <a:cubicBezTo>
                    <a:pt x="1492" y="26"/>
                    <a:pt x="1492" y="26"/>
                    <a:pt x="1492" y="25"/>
                  </a:cubicBezTo>
                  <a:close/>
                  <a:moveTo>
                    <a:pt x="559" y="45"/>
                  </a:moveTo>
                  <a:cubicBezTo>
                    <a:pt x="559" y="46"/>
                    <a:pt x="559" y="46"/>
                    <a:pt x="559" y="46"/>
                  </a:cubicBezTo>
                  <a:cubicBezTo>
                    <a:pt x="559" y="46"/>
                    <a:pt x="559" y="45"/>
                    <a:pt x="559" y="45"/>
                  </a:cubicBezTo>
                  <a:close/>
                  <a:moveTo>
                    <a:pt x="659" y="46"/>
                  </a:moveTo>
                  <a:cubicBezTo>
                    <a:pt x="660" y="46"/>
                    <a:pt x="660" y="46"/>
                    <a:pt x="660" y="45"/>
                  </a:cubicBezTo>
                  <a:cubicBezTo>
                    <a:pt x="659" y="46"/>
                    <a:pt x="659" y="46"/>
                    <a:pt x="659" y="46"/>
                  </a:cubicBezTo>
                  <a:close/>
                  <a:moveTo>
                    <a:pt x="695" y="46"/>
                  </a:moveTo>
                  <a:cubicBezTo>
                    <a:pt x="695" y="46"/>
                    <a:pt x="695" y="45"/>
                    <a:pt x="694" y="45"/>
                  </a:cubicBezTo>
                  <a:cubicBezTo>
                    <a:pt x="695" y="46"/>
                    <a:pt x="695" y="46"/>
                    <a:pt x="695" y="46"/>
                  </a:cubicBezTo>
                  <a:close/>
                  <a:moveTo>
                    <a:pt x="802" y="46"/>
                  </a:moveTo>
                  <a:cubicBezTo>
                    <a:pt x="802" y="46"/>
                    <a:pt x="802" y="46"/>
                    <a:pt x="802" y="46"/>
                  </a:cubicBezTo>
                  <a:cubicBezTo>
                    <a:pt x="802" y="46"/>
                    <a:pt x="802" y="46"/>
                    <a:pt x="802" y="46"/>
                  </a:cubicBezTo>
                  <a:close/>
                  <a:moveTo>
                    <a:pt x="1292" y="50"/>
                  </a:moveTo>
                  <a:cubicBezTo>
                    <a:pt x="1292" y="50"/>
                    <a:pt x="1292" y="51"/>
                    <a:pt x="1292" y="51"/>
                  </a:cubicBezTo>
                  <a:cubicBezTo>
                    <a:pt x="1292" y="51"/>
                    <a:pt x="1292" y="51"/>
                    <a:pt x="1292" y="50"/>
                  </a:cubicBezTo>
                  <a:close/>
                  <a:moveTo>
                    <a:pt x="1414" y="27"/>
                  </a:moveTo>
                  <a:cubicBezTo>
                    <a:pt x="1414" y="27"/>
                    <a:pt x="1414" y="26"/>
                    <a:pt x="1414" y="26"/>
                  </a:cubicBezTo>
                  <a:cubicBezTo>
                    <a:pt x="1414" y="26"/>
                    <a:pt x="1414" y="26"/>
                    <a:pt x="1414" y="27"/>
                  </a:cubicBezTo>
                  <a:close/>
                  <a:moveTo>
                    <a:pt x="872" y="53"/>
                  </a:moveTo>
                  <a:cubicBezTo>
                    <a:pt x="872" y="53"/>
                    <a:pt x="872" y="54"/>
                    <a:pt x="872" y="54"/>
                  </a:cubicBezTo>
                  <a:cubicBezTo>
                    <a:pt x="872" y="54"/>
                    <a:pt x="872" y="53"/>
                    <a:pt x="872" y="53"/>
                  </a:cubicBezTo>
                  <a:close/>
                  <a:moveTo>
                    <a:pt x="959" y="27"/>
                  </a:moveTo>
                  <a:cubicBezTo>
                    <a:pt x="959" y="27"/>
                    <a:pt x="959" y="27"/>
                    <a:pt x="959" y="26"/>
                  </a:cubicBezTo>
                  <a:cubicBezTo>
                    <a:pt x="959" y="26"/>
                    <a:pt x="959" y="27"/>
                    <a:pt x="959" y="27"/>
                  </a:cubicBezTo>
                  <a:close/>
                  <a:moveTo>
                    <a:pt x="1490" y="26"/>
                  </a:moveTo>
                  <a:cubicBezTo>
                    <a:pt x="1490" y="26"/>
                    <a:pt x="1490" y="26"/>
                    <a:pt x="1490" y="27"/>
                  </a:cubicBezTo>
                  <a:cubicBezTo>
                    <a:pt x="1490" y="27"/>
                    <a:pt x="1490" y="27"/>
                    <a:pt x="1490" y="26"/>
                  </a:cubicBezTo>
                  <a:close/>
                  <a:moveTo>
                    <a:pt x="1490" y="27"/>
                  </a:moveTo>
                  <a:cubicBezTo>
                    <a:pt x="1489" y="27"/>
                    <a:pt x="1489" y="27"/>
                    <a:pt x="1489" y="27"/>
                  </a:cubicBezTo>
                  <a:cubicBezTo>
                    <a:pt x="1489" y="27"/>
                    <a:pt x="1490" y="27"/>
                    <a:pt x="1490" y="27"/>
                  </a:cubicBezTo>
                  <a:close/>
                  <a:moveTo>
                    <a:pt x="1289" y="46"/>
                  </a:moveTo>
                  <a:cubicBezTo>
                    <a:pt x="1289" y="46"/>
                    <a:pt x="1289" y="46"/>
                    <a:pt x="1289" y="45"/>
                  </a:cubicBezTo>
                  <a:cubicBezTo>
                    <a:pt x="1289" y="46"/>
                    <a:pt x="1289" y="46"/>
                    <a:pt x="1289" y="46"/>
                  </a:cubicBezTo>
                  <a:close/>
                  <a:moveTo>
                    <a:pt x="1413" y="28"/>
                  </a:moveTo>
                  <a:cubicBezTo>
                    <a:pt x="1414" y="28"/>
                    <a:pt x="1414" y="27"/>
                    <a:pt x="1414" y="27"/>
                  </a:cubicBezTo>
                  <a:cubicBezTo>
                    <a:pt x="1413" y="27"/>
                    <a:pt x="1413" y="28"/>
                    <a:pt x="1413" y="28"/>
                  </a:cubicBezTo>
                  <a:close/>
                  <a:moveTo>
                    <a:pt x="1489" y="27"/>
                  </a:moveTo>
                  <a:cubicBezTo>
                    <a:pt x="1489" y="27"/>
                    <a:pt x="1489" y="27"/>
                    <a:pt x="1488" y="27"/>
                  </a:cubicBezTo>
                  <a:cubicBezTo>
                    <a:pt x="1489" y="27"/>
                    <a:pt x="1489" y="27"/>
                    <a:pt x="1489" y="27"/>
                  </a:cubicBezTo>
                  <a:close/>
                  <a:moveTo>
                    <a:pt x="958" y="28"/>
                  </a:moveTo>
                  <a:cubicBezTo>
                    <a:pt x="958" y="28"/>
                    <a:pt x="958" y="28"/>
                    <a:pt x="958" y="27"/>
                  </a:cubicBezTo>
                  <a:cubicBezTo>
                    <a:pt x="958" y="28"/>
                    <a:pt x="958" y="28"/>
                    <a:pt x="958" y="28"/>
                  </a:cubicBezTo>
                  <a:close/>
                  <a:moveTo>
                    <a:pt x="1488" y="27"/>
                  </a:moveTo>
                  <a:cubicBezTo>
                    <a:pt x="1488" y="27"/>
                    <a:pt x="1488" y="27"/>
                    <a:pt x="1488" y="28"/>
                  </a:cubicBezTo>
                  <a:cubicBezTo>
                    <a:pt x="1488" y="28"/>
                    <a:pt x="1488" y="28"/>
                    <a:pt x="1488" y="27"/>
                  </a:cubicBezTo>
                  <a:close/>
                  <a:moveTo>
                    <a:pt x="1488" y="28"/>
                  </a:moveTo>
                  <a:cubicBezTo>
                    <a:pt x="1487" y="28"/>
                    <a:pt x="1487" y="28"/>
                    <a:pt x="1487" y="28"/>
                  </a:cubicBezTo>
                  <a:cubicBezTo>
                    <a:pt x="1487" y="28"/>
                    <a:pt x="1488" y="28"/>
                    <a:pt x="1488" y="28"/>
                  </a:cubicBezTo>
                  <a:close/>
                  <a:moveTo>
                    <a:pt x="958" y="29"/>
                  </a:moveTo>
                  <a:cubicBezTo>
                    <a:pt x="958" y="29"/>
                    <a:pt x="958" y="28"/>
                    <a:pt x="958" y="28"/>
                  </a:cubicBezTo>
                  <a:cubicBezTo>
                    <a:pt x="958" y="28"/>
                    <a:pt x="958" y="28"/>
                    <a:pt x="958" y="29"/>
                  </a:cubicBezTo>
                  <a:close/>
                  <a:moveTo>
                    <a:pt x="1576" y="50"/>
                  </a:moveTo>
                  <a:cubicBezTo>
                    <a:pt x="1576" y="51"/>
                    <a:pt x="1576" y="51"/>
                    <a:pt x="1576" y="51"/>
                  </a:cubicBezTo>
                  <a:cubicBezTo>
                    <a:pt x="1576" y="51"/>
                    <a:pt x="1576" y="51"/>
                    <a:pt x="1576" y="50"/>
                  </a:cubicBezTo>
                  <a:close/>
                  <a:moveTo>
                    <a:pt x="1413" y="29"/>
                  </a:moveTo>
                  <a:cubicBezTo>
                    <a:pt x="1413" y="29"/>
                    <a:pt x="1413" y="28"/>
                    <a:pt x="1413" y="28"/>
                  </a:cubicBezTo>
                  <a:cubicBezTo>
                    <a:pt x="1413" y="28"/>
                    <a:pt x="1413" y="29"/>
                    <a:pt x="1413" y="29"/>
                  </a:cubicBezTo>
                  <a:close/>
                  <a:moveTo>
                    <a:pt x="1579" y="45"/>
                  </a:moveTo>
                  <a:cubicBezTo>
                    <a:pt x="1579" y="46"/>
                    <a:pt x="1579" y="46"/>
                    <a:pt x="1579" y="46"/>
                  </a:cubicBezTo>
                  <a:cubicBezTo>
                    <a:pt x="1579" y="46"/>
                    <a:pt x="1579" y="46"/>
                    <a:pt x="1579" y="45"/>
                  </a:cubicBezTo>
                  <a:close/>
                  <a:moveTo>
                    <a:pt x="1486" y="28"/>
                  </a:moveTo>
                  <a:cubicBezTo>
                    <a:pt x="1486" y="28"/>
                    <a:pt x="1485" y="29"/>
                    <a:pt x="1485" y="29"/>
                  </a:cubicBezTo>
                  <a:cubicBezTo>
                    <a:pt x="1486" y="29"/>
                    <a:pt x="1486" y="29"/>
                    <a:pt x="1486" y="28"/>
                  </a:cubicBezTo>
                  <a:close/>
                  <a:moveTo>
                    <a:pt x="957" y="29"/>
                  </a:moveTo>
                  <a:cubicBezTo>
                    <a:pt x="957" y="29"/>
                    <a:pt x="958" y="29"/>
                    <a:pt x="958" y="29"/>
                  </a:cubicBezTo>
                  <a:cubicBezTo>
                    <a:pt x="957" y="29"/>
                    <a:pt x="957" y="29"/>
                    <a:pt x="957" y="29"/>
                  </a:cubicBezTo>
                  <a:close/>
                  <a:moveTo>
                    <a:pt x="1485" y="29"/>
                  </a:moveTo>
                  <a:cubicBezTo>
                    <a:pt x="1485" y="29"/>
                    <a:pt x="1485" y="29"/>
                    <a:pt x="1485" y="29"/>
                  </a:cubicBezTo>
                  <a:cubicBezTo>
                    <a:pt x="1485" y="29"/>
                    <a:pt x="1485" y="29"/>
                    <a:pt x="1485" y="29"/>
                  </a:cubicBezTo>
                  <a:close/>
                  <a:moveTo>
                    <a:pt x="1413" y="30"/>
                  </a:moveTo>
                  <a:cubicBezTo>
                    <a:pt x="1413" y="30"/>
                    <a:pt x="1413" y="29"/>
                    <a:pt x="1413" y="29"/>
                  </a:cubicBezTo>
                  <a:cubicBezTo>
                    <a:pt x="1413" y="29"/>
                    <a:pt x="1413" y="30"/>
                    <a:pt x="1413" y="30"/>
                  </a:cubicBezTo>
                  <a:close/>
                  <a:moveTo>
                    <a:pt x="1485" y="29"/>
                  </a:moveTo>
                  <a:cubicBezTo>
                    <a:pt x="1484" y="29"/>
                    <a:pt x="1484" y="29"/>
                    <a:pt x="1484" y="29"/>
                  </a:cubicBezTo>
                  <a:cubicBezTo>
                    <a:pt x="1484" y="29"/>
                    <a:pt x="1484" y="29"/>
                    <a:pt x="1485" y="29"/>
                  </a:cubicBezTo>
                  <a:close/>
                  <a:moveTo>
                    <a:pt x="1681" y="45"/>
                  </a:moveTo>
                  <a:cubicBezTo>
                    <a:pt x="1681" y="46"/>
                    <a:pt x="1681" y="46"/>
                    <a:pt x="1681" y="46"/>
                  </a:cubicBezTo>
                  <a:cubicBezTo>
                    <a:pt x="1681" y="46"/>
                    <a:pt x="1681" y="46"/>
                    <a:pt x="1681" y="45"/>
                  </a:cubicBezTo>
                  <a:close/>
                  <a:moveTo>
                    <a:pt x="1484" y="29"/>
                  </a:moveTo>
                  <a:cubicBezTo>
                    <a:pt x="1483" y="29"/>
                    <a:pt x="1483" y="30"/>
                    <a:pt x="1483" y="30"/>
                  </a:cubicBezTo>
                  <a:cubicBezTo>
                    <a:pt x="1483" y="30"/>
                    <a:pt x="1483" y="30"/>
                    <a:pt x="1484" y="29"/>
                  </a:cubicBezTo>
                  <a:close/>
                  <a:moveTo>
                    <a:pt x="1744" y="50"/>
                  </a:moveTo>
                  <a:cubicBezTo>
                    <a:pt x="1744" y="51"/>
                    <a:pt x="1744" y="51"/>
                    <a:pt x="1744" y="51"/>
                  </a:cubicBezTo>
                  <a:cubicBezTo>
                    <a:pt x="1744" y="51"/>
                    <a:pt x="1744" y="51"/>
                    <a:pt x="1744" y="50"/>
                  </a:cubicBezTo>
                  <a:close/>
                  <a:moveTo>
                    <a:pt x="1747" y="45"/>
                  </a:moveTo>
                  <a:cubicBezTo>
                    <a:pt x="1747" y="46"/>
                    <a:pt x="1747" y="46"/>
                    <a:pt x="1747" y="46"/>
                  </a:cubicBezTo>
                  <a:cubicBezTo>
                    <a:pt x="1747" y="46"/>
                    <a:pt x="1747" y="46"/>
                    <a:pt x="1747" y="45"/>
                  </a:cubicBezTo>
                  <a:close/>
                  <a:moveTo>
                    <a:pt x="970" y="30"/>
                  </a:moveTo>
                  <a:cubicBezTo>
                    <a:pt x="969" y="30"/>
                    <a:pt x="969" y="31"/>
                    <a:pt x="969" y="31"/>
                  </a:cubicBezTo>
                  <a:cubicBezTo>
                    <a:pt x="970" y="31"/>
                    <a:pt x="970" y="30"/>
                    <a:pt x="970" y="30"/>
                  </a:cubicBezTo>
                  <a:close/>
                  <a:moveTo>
                    <a:pt x="1482" y="30"/>
                  </a:moveTo>
                  <a:cubicBezTo>
                    <a:pt x="1481" y="30"/>
                    <a:pt x="1481" y="30"/>
                    <a:pt x="1481" y="30"/>
                  </a:cubicBezTo>
                  <a:cubicBezTo>
                    <a:pt x="1481" y="30"/>
                    <a:pt x="1482" y="30"/>
                    <a:pt x="1482" y="30"/>
                  </a:cubicBezTo>
                  <a:close/>
                  <a:moveTo>
                    <a:pt x="956" y="31"/>
                  </a:moveTo>
                  <a:cubicBezTo>
                    <a:pt x="957" y="31"/>
                    <a:pt x="957" y="31"/>
                    <a:pt x="957" y="31"/>
                  </a:cubicBezTo>
                  <a:cubicBezTo>
                    <a:pt x="956" y="31"/>
                    <a:pt x="956" y="31"/>
                    <a:pt x="956" y="31"/>
                  </a:cubicBezTo>
                  <a:close/>
                  <a:moveTo>
                    <a:pt x="1481" y="31"/>
                  </a:moveTo>
                  <a:cubicBezTo>
                    <a:pt x="1480" y="30"/>
                    <a:pt x="1480" y="31"/>
                    <a:pt x="1480" y="31"/>
                  </a:cubicBezTo>
                  <a:cubicBezTo>
                    <a:pt x="1480" y="31"/>
                    <a:pt x="1481" y="31"/>
                    <a:pt x="1481" y="31"/>
                  </a:cubicBezTo>
                  <a:close/>
                  <a:moveTo>
                    <a:pt x="1112" y="53"/>
                  </a:moveTo>
                  <a:cubicBezTo>
                    <a:pt x="1112" y="53"/>
                    <a:pt x="1112" y="54"/>
                    <a:pt x="1112" y="54"/>
                  </a:cubicBezTo>
                  <a:cubicBezTo>
                    <a:pt x="1112" y="54"/>
                    <a:pt x="1112" y="53"/>
                    <a:pt x="1112" y="53"/>
                  </a:cubicBezTo>
                  <a:close/>
                  <a:moveTo>
                    <a:pt x="956" y="32"/>
                  </a:moveTo>
                  <a:cubicBezTo>
                    <a:pt x="956" y="32"/>
                    <a:pt x="956" y="32"/>
                    <a:pt x="956" y="31"/>
                  </a:cubicBezTo>
                  <a:cubicBezTo>
                    <a:pt x="956" y="31"/>
                    <a:pt x="956" y="32"/>
                    <a:pt x="956" y="32"/>
                  </a:cubicBezTo>
                  <a:close/>
                  <a:moveTo>
                    <a:pt x="969" y="31"/>
                  </a:moveTo>
                  <a:cubicBezTo>
                    <a:pt x="969" y="31"/>
                    <a:pt x="969" y="32"/>
                    <a:pt x="969" y="32"/>
                  </a:cubicBezTo>
                  <a:cubicBezTo>
                    <a:pt x="969" y="32"/>
                    <a:pt x="969" y="31"/>
                    <a:pt x="969" y="31"/>
                  </a:cubicBezTo>
                  <a:close/>
                  <a:moveTo>
                    <a:pt x="597" y="47"/>
                  </a:moveTo>
                  <a:cubicBezTo>
                    <a:pt x="597" y="46"/>
                    <a:pt x="597" y="46"/>
                    <a:pt x="597" y="46"/>
                  </a:cubicBezTo>
                  <a:cubicBezTo>
                    <a:pt x="597" y="46"/>
                    <a:pt x="597" y="46"/>
                    <a:pt x="597" y="47"/>
                  </a:cubicBezTo>
                  <a:close/>
                  <a:moveTo>
                    <a:pt x="608" y="46"/>
                  </a:moveTo>
                  <a:cubicBezTo>
                    <a:pt x="608" y="46"/>
                    <a:pt x="608" y="46"/>
                    <a:pt x="609" y="47"/>
                  </a:cubicBezTo>
                  <a:cubicBezTo>
                    <a:pt x="609" y="46"/>
                    <a:pt x="609" y="46"/>
                    <a:pt x="608" y="46"/>
                  </a:cubicBezTo>
                  <a:close/>
                  <a:moveTo>
                    <a:pt x="968" y="32"/>
                  </a:moveTo>
                  <a:cubicBezTo>
                    <a:pt x="968" y="32"/>
                    <a:pt x="968" y="33"/>
                    <a:pt x="968" y="33"/>
                  </a:cubicBezTo>
                  <a:cubicBezTo>
                    <a:pt x="968" y="33"/>
                    <a:pt x="968" y="33"/>
                    <a:pt x="968" y="32"/>
                  </a:cubicBezTo>
                  <a:close/>
                  <a:moveTo>
                    <a:pt x="955" y="34"/>
                  </a:moveTo>
                  <a:cubicBezTo>
                    <a:pt x="955" y="33"/>
                    <a:pt x="955" y="33"/>
                    <a:pt x="955" y="33"/>
                  </a:cubicBezTo>
                  <a:cubicBezTo>
                    <a:pt x="955" y="33"/>
                    <a:pt x="955" y="33"/>
                    <a:pt x="955" y="34"/>
                  </a:cubicBezTo>
                  <a:close/>
                  <a:moveTo>
                    <a:pt x="968" y="33"/>
                  </a:moveTo>
                  <a:cubicBezTo>
                    <a:pt x="968" y="33"/>
                    <a:pt x="968" y="33"/>
                    <a:pt x="968" y="34"/>
                  </a:cubicBezTo>
                  <a:cubicBezTo>
                    <a:pt x="968" y="33"/>
                    <a:pt x="968" y="33"/>
                    <a:pt x="968" y="33"/>
                  </a:cubicBezTo>
                  <a:close/>
                  <a:moveTo>
                    <a:pt x="855" y="33"/>
                  </a:moveTo>
                  <a:cubicBezTo>
                    <a:pt x="855" y="34"/>
                    <a:pt x="855" y="34"/>
                    <a:pt x="856" y="34"/>
                  </a:cubicBezTo>
                  <a:cubicBezTo>
                    <a:pt x="855" y="33"/>
                    <a:pt x="855" y="33"/>
                    <a:pt x="855" y="33"/>
                  </a:cubicBezTo>
                  <a:close/>
                  <a:moveTo>
                    <a:pt x="769" y="34"/>
                  </a:moveTo>
                  <a:cubicBezTo>
                    <a:pt x="769" y="34"/>
                    <a:pt x="770" y="34"/>
                    <a:pt x="770" y="34"/>
                  </a:cubicBezTo>
                  <a:cubicBezTo>
                    <a:pt x="769" y="34"/>
                    <a:pt x="769" y="34"/>
                    <a:pt x="769" y="34"/>
                  </a:cubicBezTo>
                  <a:close/>
                  <a:moveTo>
                    <a:pt x="787" y="34"/>
                  </a:moveTo>
                  <a:cubicBezTo>
                    <a:pt x="787" y="34"/>
                    <a:pt x="787" y="34"/>
                    <a:pt x="788" y="34"/>
                  </a:cubicBezTo>
                  <a:cubicBezTo>
                    <a:pt x="787" y="34"/>
                    <a:pt x="787" y="34"/>
                    <a:pt x="787" y="34"/>
                  </a:cubicBezTo>
                  <a:close/>
                  <a:moveTo>
                    <a:pt x="856" y="34"/>
                  </a:moveTo>
                  <a:cubicBezTo>
                    <a:pt x="856" y="34"/>
                    <a:pt x="856" y="34"/>
                    <a:pt x="857" y="34"/>
                  </a:cubicBezTo>
                  <a:cubicBezTo>
                    <a:pt x="856" y="34"/>
                    <a:pt x="856" y="34"/>
                    <a:pt x="856" y="34"/>
                  </a:cubicBezTo>
                  <a:close/>
                  <a:moveTo>
                    <a:pt x="882" y="34"/>
                  </a:moveTo>
                  <a:cubicBezTo>
                    <a:pt x="882" y="34"/>
                    <a:pt x="882" y="34"/>
                    <a:pt x="882" y="34"/>
                  </a:cubicBezTo>
                  <a:cubicBezTo>
                    <a:pt x="882" y="34"/>
                    <a:pt x="882" y="34"/>
                    <a:pt x="882" y="34"/>
                  </a:cubicBezTo>
                  <a:close/>
                  <a:moveTo>
                    <a:pt x="955" y="34"/>
                  </a:moveTo>
                  <a:cubicBezTo>
                    <a:pt x="955" y="34"/>
                    <a:pt x="955" y="34"/>
                    <a:pt x="955" y="34"/>
                  </a:cubicBezTo>
                  <a:cubicBezTo>
                    <a:pt x="955" y="34"/>
                    <a:pt x="955" y="34"/>
                    <a:pt x="955" y="34"/>
                  </a:cubicBezTo>
                  <a:close/>
                  <a:moveTo>
                    <a:pt x="968" y="34"/>
                  </a:moveTo>
                  <a:cubicBezTo>
                    <a:pt x="967" y="34"/>
                    <a:pt x="967" y="34"/>
                    <a:pt x="967" y="34"/>
                  </a:cubicBezTo>
                  <a:cubicBezTo>
                    <a:pt x="968" y="34"/>
                    <a:pt x="968" y="34"/>
                    <a:pt x="968" y="34"/>
                  </a:cubicBezTo>
                  <a:close/>
                  <a:moveTo>
                    <a:pt x="1300" y="34"/>
                  </a:moveTo>
                  <a:cubicBezTo>
                    <a:pt x="1300" y="34"/>
                    <a:pt x="1301" y="34"/>
                    <a:pt x="1301" y="34"/>
                  </a:cubicBezTo>
                  <a:cubicBezTo>
                    <a:pt x="1301" y="34"/>
                    <a:pt x="1300" y="34"/>
                    <a:pt x="1300" y="34"/>
                  </a:cubicBezTo>
                  <a:close/>
                  <a:moveTo>
                    <a:pt x="1311" y="34"/>
                  </a:moveTo>
                  <a:cubicBezTo>
                    <a:pt x="1312" y="34"/>
                    <a:pt x="1312" y="34"/>
                    <a:pt x="1312" y="34"/>
                  </a:cubicBezTo>
                  <a:cubicBezTo>
                    <a:pt x="1312" y="34"/>
                    <a:pt x="1312" y="34"/>
                    <a:pt x="1311" y="34"/>
                  </a:cubicBezTo>
                  <a:close/>
                  <a:moveTo>
                    <a:pt x="768" y="34"/>
                  </a:moveTo>
                  <a:cubicBezTo>
                    <a:pt x="768" y="34"/>
                    <a:pt x="768" y="34"/>
                    <a:pt x="769" y="34"/>
                  </a:cubicBezTo>
                  <a:cubicBezTo>
                    <a:pt x="768" y="34"/>
                    <a:pt x="768" y="34"/>
                    <a:pt x="768" y="34"/>
                  </a:cubicBezTo>
                  <a:close/>
                  <a:moveTo>
                    <a:pt x="788" y="34"/>
                  </a:moveTo>
                  <a:cubicBezTo>
                    <a:pt x="788" y="34"/>
                    <a:pt x="788" y="34"/>
                    <a:pt x="789" y="34"/>
                  </a:cubicBezTo>
                  <a:cubicBezTo>
                    <a:pt x="789" y="34"/>
                    <a:pt x="788" y="34"/>
                    <a:pt x="788" y="34"/>
                  </a:cubicBezTo>
                  <a:close/>
                  <a:moveTo>
                    <a:pt x="840" y="34"/>
                  </a:moveTo>
                  <a:cubicBezTo>
                    <a:pt x="840" y="34"/>
                    <a:pt x="840" y="34"/>
                    <a:pt x="840" y="34"/>
                  </a:cubicBezTo>
                  <a:cubicBezTo>
                    <a:pt x="840" y="34"/>
                    <a:pt x="840" y="34"/>
                    <a:pt x="840" y="34"/>
                  </a:cubicBezTo>
                  <a:close/>
                  <a:moveTo>
                    <a:pt x="857" y="34"/>
                  </a:moveTo>
                  <a:cubicBezTo>
                    <a:pt x="857" y="34"/>
                    <a:pt x="857" y="34"/>
                    <a:pt x="858" y="34"/>
                  </a:cubicBezTo>
                  <a:cubicBezTo>
                    <a:pt x="857" y="34"/>
                    <a:pt x="857" y="34"/>
                    <a:pt x="857" y="34"/>
                  </a:cubicBezTo>
                  <a:close/>
                  <a:moveTo>
                    <a:pt x="881" y="34"/>
                  </a:moveTo>
                  <a:cubicBezTo>
                    <a:pt x="881" y="34"/>
                    <a:pt x="881" y="34"/>
                    <a:pt x="881" y="34"/>
                  </a:cubicBezTo>
                  <a:cubicBezTo>
                    <a:pt x="881" y="34"/>
                    <a:pt x="881" y="34"/>
                    <a:pt x="881" y="34"/>
                  </a:cubicBezTo>
                  <a:close/>
                  <a:moveTo>
                    <a:pt x="899" y="34"/>
                  </a:moveTo>
                  <a:cubicBezTo>
                    <a:pt x="900" y="34"/>
                    <a:pt x="900" y="34"/>
                    <a:pt x="900" y="34"/>
                  </a:cubicBezTo>
                  <a:cubicBezTo>
                    <a:pt x="900" y="34"/>
                    <a:pt x="900" y="34"/>
                    <a:pt x="899" y="34"/>
                  </a:cubicBezTo>
                  <a:close/>
                  <a:moveTo>
                    <a:pt x="1123" y="34"/>
                  </a:moveTo>
                  <a:cubicBezTo>
                    <a:pt x="1123" y="34"/>
                    <a:pt x="1123" y="34"/>
                    <a:pt x="1123" y="34"/>
                  </a:cubicBezTo>
                  <a:cubicBezTo>
                    <a:pt x="1123" y="34"/>
                    <a:pt x="1123" y="34"/>
                    <a:pt x="1123" y="34"/>
                  </a:cubicBezTo>
                  <a:close/>
                  <a:moveTo>
                    <a:pt x="1141" y="34"/>
                  </a:moveTo>
                  <a:cubicBezTo>
                    <a:pt x="1141" y="34"/>
                    <a:pt x="1142" y="34"/>
                    <a:pt x="1142" y="34"/>
                  </a:cubicBezTo>
                  <a:cubicBezTo>
                    <a:pt x="1142" y="34"/>
                    <a:pt x="1142" y="34"/>
                    <a:pt x="1141" y="34"/>
                  </a:cubicBezTo>
                  <a:close/>
                  <a:moveTo>
                    <a:pt x="1228" y="34"/>
                  </a:moveTo>
                  <a:cubicBezTo>
                    <a:pt x="1228" y="34"/>
                    <a:pt x="1228" y="34"/>
                    <a:pt x="1229" y="34"/>
                  </a:cubicBezTo>
                  <a:cubicBezTo>
                    <a:pt x="1228" y="34"/>
                    <a:pt x="1228" y="34"/>
                    <a:pt x="1228" y="34"/>
                  </a:cubicBezTo>
                  <a:close/>
                  <a:moveTo>
                    <a:pt x="1299" y="34"/>
                  </a:moveTo>
                  <a:cubicBezTo>
                    <a:pt x="1299" y="34"/>
                    <a:pt x="1300" y="34"/>
                    <a:pt x="1300" y="34"/>
                  </a:cubicBezTo>
                  <a:cubicBezTo>
                    <a:pt x="1300" y="34"/>
                    <a:pt x="1299" y="34"/>
                    <a:pt x="1299" y="34"/>
                  </a:cubicBezTo>
                  <a:close/>
                  <a:moveTo>
                    <a:pt x="671" y="35"/>
                  </a:moveTo>
                  <a:cubicBezTo>
                    <a:pt x="671" y="35"/>
                    <a:pt x="671" y="35"/>
                    <a:pt x="671" y="34"/>
                  </a:cubicBezTo>
                  <a:cubicBezTo>
                    <a:pt x="671" y="34"/>
                    <a:pt x="671" y="34"/>
                    <a:pt x="671" y="35"/>
                  </a:cubicBezTo>
                  <a:close/>
                  <a:moveTo>
                    <a:pt x="693" y="34"/>
                  </a:moveTo>
                  <a:cubicBezTo>
                    <a:pt x="694" y="35"/>
                    <a:pt x="694" y="35"/>
                    <a:pt x="694" y="35"/>
                  </a:cubicBezTo>
                  <a:cubicBezTo>
                    <a:pt x="694" y="34"/>
                    <a:pt x="694" y="34"/>
                    <a:pt x="693" y="34"/>
                  </a:cubicBezTo>
                  <a:close/>
                  <a:moveTo>
                    <a:pt x="767" y="35"/>
                  </a:moveTo>
                  <a:cubicBezTo>
                    <a:pt x="767" y="35"/>
                    <a:pt x="767" y="35"/>
                    <a:pt x="768" y="34"/>
                  </a:cubicBezTo>
                  <a:cubicBezTo>
                    <a:pt x="767" y="34"/>
                    <a:pt x="767" y="34"/>
                    <a:pt x="767" y="35"/>
                  </a:cubicBezTo>
                  <a:close/>
                  <a:moveTo>
                    <a:pt x="789" y="34"/>
                  </a:moveTo>
                  <a:cubicBezTo>
                    <a:pt x="789" y="35"/>
                    <a:pt x="789" y="35"/>
                    <a:pt x="790" y="35"/>
                  </a:cubicBezTo>
                  <a:cubicBezTo>
                    <a:pt x="790" y="34"/>
                    <a:pt x="789" y="34"/>
                    <a:pt x="789" y="34"/>
                  </a:cubicBezTo>
                  <a:close/>
                  <a:moveTo>
                    <a:pt x="839" y="35"/>
                  </a:moveTo>
                  <a:cubicBezTo>
                    <a:pt x="839" y="35"/>
                    <a:pt x="839" y="35"/>
                    <a:pt x="839" y="34"/>
                  </a:cubicBezTo>
                  <a:cubicBezTo>
                    <a:pt x="839" y="34"/>
                    <a:pt x="839" y="34"/>
                    <a:pt x="839" y="35"/>
                  </a:cubicBezTo>
                  <a:close/>
                  <a:moveTo>
                    <a:pt x="858" y="34"/>
                  </a:moveTo>
                  <a:cubicBezTo>
                    <a:pt x="858" y="35"/>
                    <a:pt x="858" y="35"/>
                    <a:pt x="858" y="35"/>
                  </a:cubicBezTo>
                  <a:cubicBezTo>
                    <a:pt x="858" y="34"/>
                    <a:pt x="858" y="34"/>
                    <a:pt x="858" y="34"/>
                  </a:cubicBezTo>
                  <a:close/>
                  <a:moveTo>
                    <a:pt x="880" y="35"/>
                  </a:moveTo>
                  <a:cubicBezTo>
                    <a:pt x="880" y="35"/>
                    <a:pt x="880" y="35"/>
                    <a:pt x="881" y="34"/>
                  </a:cubicBezTo>
                  <a:cubicBezTo>
                    <a:pt x="880" y="34"/>
                    <a:pt x="880" y="34"/>
                    <a:pt x="880" y="35"/>
                  </a:cubicBezTo>
                  <a:close/>
                  <a:moveTo>
                    <a:pt x="900" y="34"/>
                  </a:moveTo>
                  <a:cubicBezTo>
                    <a:pt x="901" y="35"/>
                    <a:pt x="901" y="35"/>
                    <a:pt x="901" y="35"/>
                  </a:cubicBezTo>
                  <a:cubicBezTo>
                    <a:pt x="901" y="34"/>
                    <a:pt x="901" y="34"/>
                    <a:pt x="900" y="34"/>
                  </a:cubicBezTo>
                  <a:close/>
                  <a:moveTo>
                    <a:pt x="954" y="35"/>
                  </a:moveTo>
                  <a:cubicBezTo>
                    <a:pt x="955" y="35"/>
                    <a:pt x="955" y="35"/>
                    <a:pt x="955" y="34"/>
                  </a:cubicBezTo>
                  <a:cubicBezTo>
                    <a:pt x="954" y="35"/>
                    <a:pt x="954" y="35"/>
                    <a:pt x="954" y="35"/>
                  </a:cubicBezTo>
                  <a:close/>
                  <a:moveTo>
                    <a:pt x="967" y="34"/>
                  </a:moveTo>
                  <a:cubicBezTo>
                    <a:pt x="967" y="34"/>
                    <a:pt x="967" y="35"/>
                    <a:pt x="967" y="35"/>
                  </a:cubicBezTo>
                  <a:cubicBezTo>
                    <a:pt x="967" y="35"/>
                    <a:pt x="967" y="35"/>
                    <a:pt x="967" y="34"/>
                  </a:cubicBezTo>
                  <a:close/>
                  <a:moveTo>
                    <a:pt x="1049" y="35"/>
                  </a:moveTo>
                  <a:cubicBezTo>
                    <a:pt x="1049" y="35"/>
                    <a:pt x="1050" y="35"/>
                    <a:pt x="1050" y="34"/>
                  </a:cubicBezTo>
                  <a:cubicBezTo>
                    <a:pt x="1050" y="34"/>
                    <a:pt x="1049" y="34"/>
                    <a:pt x="1049" y="35"/>
                  </a:cubicBezTo>
                  <a:close/>
                  <a:moveTo>
                    <a:pt x="1071" y="34"/>
                  </a:moveTo>
                  <a:cubicBezTo>
                    <a:pt x="1071" y="35"/>
                    <a:pt x="1071" y="35"/>
                    <a:pt x="1072" y="35"/>
                  </a:cubicBezTo>
                  <a:cubicBezTo>
                    <a:pt x="1072" y="34"/>
                    <a:pt x="1071" y="34"/>
                    <a:pt x="1071" y="34"/>
                  </a:cubicBezTo>
                  <a:close/>
                  <a:moveTo>
                    <a:pt x="1122" y="35"/>
                  </a:moveTo>
                  <a:cubicBezTo>
                    <a:pt x="1122" y="35"/>
                    <a:pt x="1122" y="35"/>
                    <a:pt x="1122" y="34"/>
                  </a:cubicBezTo>
                  <a:cubicBezTo>
                    <a:pt x="1122" y="34"/>
                    <a:pt x="1122" y="34"/>
                    <a:pt x="1122" y="35"/>
                  </a:cubicBezTo>
                  <a:close/>
                  <a:moveTo>
                    <a:pt x="1142" y="34"/>
                  </a:moveTo>
                  <a:cubicBezTo>
                    <a:pt x="1142" y="35"/>
                    <a:pt x="1142" y="35"/>
                    <a:pt x="1143" y="35"/>
                  </a:cubicBezTo>
                  <a:cubicBezTo>
                    <a:pt x="1143" y="34"/>
                    <a:pt x="1142" y="34"/>
                    <a:pt x="1142" y="34"/>
                  </a:cubicBezTo>
                  <a:close/>
                  <a:moveTo>
                    <a:pt x="1249" y="34"/>
                  </a:moveTo>
                  <a:cubicBezTo>
                    <a:pt x="1249" y="35"/>
                    <a:pt x="1249" y="35"/>
                    <a:pt x="1250" y="35"/>
                  </a:cubicBezTo>
                  <a:cubicBezTo>
                    <a:pt x="1249" y="34"/>
                    <a:pt x="1249" y="34"/>
                    <a:pt x="1249" y="34"/>
                  </a:cubicBezTo>
                  <a:close/>
                  <a:moveTo>
                    <a:pt x="1298" y="35"/>
                  </a:moveTo>
                  <a:cubicBezTo>
                    <a:pt x="1299" y="35"/>
                    <a:pt x="1299" y="35"/>
                    <a:pt x="1299" y="34"/>
                  </a:cubicBezTo>
                  <a:cubicBezTo>
                    <a:pt x="1299" y="34"/>
                    <a:pt x="1299" y="34"/>
                    <a:pt x="1298" y="35"/>
                  </a:cubicBezTo>
                  <a:close/>
                  <a:moveTo>
                    <a:pt x="644" y="35"/>
                  </a:moveTo>
                  <a:cubicBezTo>
                    <a:pt x="644" y="35"/>
                    <a:pt x="644" y="35"/>
                    <a:pt x="644" y="35"/>
                  </a:cubicBezTo>
                  <a:cubicBezTo>
                    <a:pt x="644" y="35"/>
                    <a:pt x="644" y="35"/>
                    <a:pt x="644" y="35"/>
                  </a:cubicBezTo>
                  <a:close/>
                  <a:moveTo>
                    <a:pt x="656" y="35"/>
                  </a:moveTo>
                  <a:cubicBezTo>
                    <a:pt x="655" y="35"/>
                    <a:pt x="655" y="35"/>
                    <a:pt x="655" y="35"/>
                  </a:cubicBezTo>
                  <a:cubicBezTo>
                    <a:pt x="656" y="35"/>
                    <a:pt x="656" y="35"/>
                    <a:pt x="656" y="35"/>
                  </a:cubicBezTo>
                  <a:close/>
                  <a:moveTo>
                    <a:pt x="670" y="35"/>
                  </a:moveTo>
                  <a:cubicBezTo>
                    <a:pt x="670" y="35"/>
                    <a:pt x="671" y="35"/>
                    <a:pt x="671" y="35"/>
                  </a:cubicBezTo>
                  <a:cubicBezTo>
                    <a:pt x="670" y="35"/>
                    <a:pt x="670" y="35"/>
                    <a:pt x="670" y="35"/>
                  </a:cubicBezTo>
                  <a:close/>
                  <a:moveTo>
                    <a:pt x="694" y="35"/>
                  </a:moveTo>
                  <a:cubicBezTo>
                    <a:pt x="695" y="35"/>
                    <a:pt x="695" y="35"/>
                    <a:pt x="695" y="35"/>
                  </a:cubicBezTo>
                  <a:cubicBezTo>
                    <a:pt x="695" y="35"/>
                    <a:pt x="695" y="35"/>
                    <a:pt x="694" y="35"/>
                  </a:cubicBezTo>
                  <a:close/>
                  <a:moveTo>
                    <a:pt x="766" y="35"/>
                  </a:moveTo>
                  <a:cubicBezTo>
                    <a:pt x="766" y="35"/>
                    <a:pt x="767" y="35"/>
                    <a:pt x="767" y="35"/>
                  </a:cubicBezTo>
                  <a:cubicBezTo>
                    <a:pt x="767" y="35"/>
                    <a:pt x="766" y="35"/>
                    <a:pt x="766" y="35"/>
                  </a:cubicBezTo>
                  <a:close/>
                  <a:moveTo>
                    <a:pt x="790" y="35"/>
                  </a:moveTo>
                  <a:cubicBezTo>
                    <a:pt x="790" y="35"/>
                    <a:pt x="790" y="35"/>
                    <a:pt x="790" y="35"/>
                  </a:cubicBezTo>
                  <a:cubicBezTo>
                    <a:pt x="790" y="35"/>
                    <a:pt x="790" y="35"/>
                    <a:pt x="790" y="35"/>
                  </a:cubicBezTo>
                  <a:close/>
                  <a:moveTo>
                    <a:pt x="838" y="35"/>
                  </a:moveTo>
                  <a:cubicBezTo>
                    <a:pt x="838" y="35"/>
                    <a:pt x="838" y="35"/>
                    <a:pt x="839" y="35"/>
                  </a:cubicBezTo>
                  <a:cubicBezTo>
                    <a:pt x="838" y="35"/>
                    <a:pt x="838" y="35"/>
                    <a:pt x="838" y="35"/>
                  </a:cubicBezTo>
                  <a:close/>
                  <a:moveTo>
                    <a:pt x="858" y="35"/>
                  </a:moveTo>
                  <a:cubicBezTo>
                    <a:pt x="858" y="35"/>
                    <a:pt x="859" y="35"/>
                    <a:pt x="859" y="35"/>
                  </a:cubicBezTo>
                  <a:cubicBezTo>
                    <a:pt x="859" y="35"/>
                    <a:pt x="859" y="35"/>
                    <a:pt x="858" y="35"/>
                  </a:cubicBezTo>
                  <a:close/>
                  <a:moveTo>
                    <a:pt x="879" y="35"/>
                  </a:moveTo>
                  <a:cubicBezTo>
                    <a:pt x="879" y="35"/>
                    <a:pt x="880" y="35"/>
                    <a:pt x="880" y="35"/>
                  </a:cubicBezTo>
                  <a:cubicBezTo>
                    <a:pt x="879" y="35"/>
                    <a:pt x="879" y="35"/>
                    <a:pt x="879" y="35"/>
                  </a:cubicBezTo>
                  <a:close/>
                  <a:moveTo>
                    <a:pt x="901" y="35"/>
                  </a:moveTo>
                  <a:cubicBezTo>
                    <a:pt x="901" y="35"/>
                    <a:pt x="902" y="35"/>
                    <a:pt x="902" y="35"/>
                  </a:cubicBezTo>
                  <a:cubicBezTo>
                    <a:pt x="902" y="35"/>
                    <a:pt x="901" y="35"/>
                    <a:pt x="901" y="35"/>
                  </a:cubicBezTo>
                  <a:close/>
                  <a:moveTo>
                    <a:pt x="1048" y="35"/>
                  </a:moveTo>
                  <a:cubicBezTo>
                    <a:pt x="1048" y="35"/>
                    <a:pt x="1049" y="35"/>
                    <a:pt x="1049" y="35"/>
                  </a:cubicBezTo>
                  <a:cubicBezTo>
                    <a:pt x="1049" y="35"/>
                    <a:pt x="1048" y="35"/>
                    <a:pt x="1048" y="35"/>
                  </a:cubicBezTo>
                  <a:close/>
                  <a:moveTo>
                    <a:pt x="1072" y="35"/>
                  </a:moveTo>
                  <a:cubicBezTo>
                    <a:pt x="1072" y="35"/>
                    <a:pt x="1072" y="35"/>
                    <a:pt x="1073" y="35"/>
                  </a:cubicBezTo>
                  <a:cubicBezTo>
                    <a:pt x="1073" y="35"/>
                    <a:pt x="1072" y="35"/>
                    <a:pt x="1072" y="35"/>
                  </a:cubicBezTo>
                  <a:close/>
                  <a:moveTo>
                    <a:pt x="1121" y="35"/>
                  </a:moveTo>
                  <a:cubicBezTo>
                    <a:pt x="1121" y="35"/>
                    <a:pt x="1121" y="35"/>
                    <a:pt x="1122" y="35"/>
                  </a:cubicBezTo>
                  <a:cubicBezTo>
                    <a:pt x="1121" y="35"/>
                    <a:pt x="1121" y="35"/>
                    <a:pt x="1121" y="35"/>
                  </a:cubicBezTo>
                  <a:close/>
                  <a:moveTo>
                    <a:pt x="1226" y="35"/>
                  </a:moveTo>
                  <a:cubicBezTo>
                    <a:pt x="1226" y="35"/>
                    <a:pt x="1227" y="35"/>
                    <a:pt x="1227" y="35"/>
                  </a:cubicBezTo>
                  <a:cubicBezTo>
                    <a:pt x="1226" y="35"/>
                    <a:pt x="1226" y="35"/>
                    <a:pt x="1226" y="35"/>
                  </a:cubicBezTo>
                  <a:close/>
                  <a:moveTo>
                    <a:pt x="1250" y="35"/>
                  </a:moveTo>
                  <a:cubicBezTo>
                    <a:pt x="1250" y="35"/>
                    <a:pt x="1250" y="35"/>
                    <a:pt x="1250" y="35"/>
                  </a:cubicBezTo>
                  <a:cubicBezTo>
                    <a:pt x="1250" y="35"/>
                    <a:pt x="1250" y="35"/>
                    <a:pt x="1250" y="35"/>
                  </a:cubicBezTo>
                  <a:close/>
                  <a:moveTo>
                    <a:pt x="1298" y="35"/>
                  </a:moveTo>
                  <a:cubicBezTo>
                    <a:pt x="1298" y="35"/>
                    <a:pt x="1298" y="35"/>
                    <a:pt x="1298" y="35"/>
                  </a:cubicBezTo>
                  <a:cubicBezTo>
                    <a:pt x="1298" y="35"/>
                    <a:pt x="1298" y="35"/>
                    <a:pt x="1298" y="35"/>
                  </a:cubicBezTo>
                  <a:close/>
                  <a:moveTo>
                    <a:pt x="605" y="35"/>
                  </a:moveTo>
                  <a:cubicBezTo>
                    <a:pt x="605" y="35"/>
                    <a:pt x="605" y="36"/>
                    <a:pt x="605" y="36"/>
                  </a:cubicBezTo>
                  <a:cubicBezTo>
                    <a:pt x="605" y="35"/>
                    <a:pt x="605" y="35"/>
                    <a:pt x="605" y="35"/>
                  </a:cubicBezTo>
                  <a:close/>
                  <a:moveTo>
                    <a:pt x="695" y="35"/>
                  </a:moveTo>
                  <a:cubicBezTo>
                    <a:pt x="695" y="35"/>
                    <a:pt x="696" y="35"/>
                    <a:pt x="696" y="35"/>
                  </a:cubicBezTo>
                  <a:cubicBezTo>
                    <a:pt x="696" y="35"/>
                    <a:pt x="695" y="35"/>
                    <a:pt x="695" y="35"/>
                  </a:cubicBezTo>
                  <a:close/>
                  <a:moveTo>
                    <a:pt x="790" y="35"/>
                  </a:moveTo>
                  <a:cubicBezTo>
                    <a:pt x="791" y="35"/>
                    <a:pt x="791" y="35"/>
                    <a:pt x="791" y="35"/>
                  </a:cubicBezTo>
                  <a:cubicBezTo>
                    <a:pt x="791" y="35"/>
                    <a:pt x="791" y="35"/>
                    <a:pt x="790" y="35"/>
                  </a:cubicBezTo>
                  <a:close/>
                  <a:moveTo>
                    <a:pt x="837" y="35"/>
                  </a:moveTo>
                  <a:cubicBezTo>
                    <a:pt x="837" y="35"/>
                    <a:pt x="838" y="35"/>
                    <a:pt x="838" y="35"/>
                  </a:cubicBezTo>
                  <a:cubicBezTo>
                    <a:pt x="838" y="35"/>
                    <a:pt x="837" y="35"/>
                    <a:pt x="837" y="35"/>
                  </a:cubicBezTo>
                  <a:close/>
                  <a:moveTo>
                    <a:pt x="753" y="47"/>
                  </a:moveTo>
                  <a:cubicBezTo>
                    <a:pt x="753" y="46"/>
                    <a:pt x="753" y="46"/>
                    <a:pt x="753" y="46"/>
                  </a:cubicBezTo>
                  <a:cubicBezTo>
                    <a:pt x="753" y="46"/>
                    <a:pt x="753" y="46"/>
                    <a:pt x="753" y="47"/>
                  </a:cubicBezTo>
                  <a:close/>
                  <a:moveTo>
                    <a:pt x="638" y="52"/>
                  </a:moveTo>
                  <a:cubicBezTo>
                    <a:pt x="638" y="51"/>
                    <a:pt x="638" y="51"/>
                    <a:pt x="638" y="51"/>
                  </a:cubicBezTo>
                  <a:cubicBezTo>
                    <a:pt x="638" y="51"/>
                    <a:pt x="638" y="51"/>
                    <a:pt x="638" y="52"/>
                  </a:cubicBezTo>
                  <a:close/>
                  <a:moveTo>
                    <a:pt x="967" y="35"/>
                  </a:moveTo>
                  <a:cubicBezTo>
                    <a:pt x="967" y="35"/>
                    <a:pt x="967" y="35"/>
                    <a:pt x="967" y="36"/>
                  </a:cubicBezTo>
                  <a:cubicBezTo>
                    <a:pt x="967" y="36"/>
                    <a:pt x="967" y="35"/>
                    <a:pt x="967" y="35"/>
                  </a:cubicBezTo>
                  <a:close/>
                  <a:moveTo>
                    <a:pt x="1047" y="35"/>
                  </a:moveTo>
                  <a:cubicBezTo>
                    <a:pt x="1048" y="35"/>
                    <a:pt x="1048" y="35"/>
                    <a:pt x="1048" y="35"/>
                  </a:cubicBezTo>
                  <a:cubicBezTo>
                    <a:pt x="1048" y="35"/>
                    <a:pt x="1048" y="35"/>
                    <a:pt x="1047" y="35"/>
                  </a:cubicBezTo>
                  <a:close/>
                  <a:moveTo>
                    <a:pt x="1073" y="35"/>
                  </a:moveTo>
                  <a:cubicBezTo>
                    <a:pt x="1073" y="35"/>
                    <a:pt x="1073" y="35"/>
                    <a:pt x="1073" y="35"/>
                  </a:cubicBezTo>
                  <a:cubicBezTo>
                    <a:pt x="1073" y="35"/>
                    <a:pt x="1073" y="35"/>
                    <a:pt x="1073" y="35"/>
                  </a:cubicBezTo>
                  <a:close/>
                  <a:moveTo>
                    <a:pt x="1120" y="35"/>
                  </a:moveTo>
                  <a:cubicBezTo>
                    <a:pt x="1120" y="35"/>
                    <a:pt x="1121" y="35"/>
                    <a:pt x="1121" y="35"/>
                  </a:cubicBezTo>
                  <a:cubicBezTo>
                    <a:pt x="1121" y="35"/>
                    <a:pt x="1120" y="35"/>
                    <a:pt x="1120" y="35"/>
                  </a:cubicBezTo>
                  <a:close/>
                  <a:moveTo>
                    <a:pt x="1225" y="35"/>
                  </a:moveTo>
                  <a:cubicBezTo>
                    <a:pt x="1226" y="35"/>
                    <a:pt x="1226" y="35"/>
                    <a:pt x="1226" y="35"/>
                  </a:cubicBezTo>
                  <a:cubicBezTo>
                    <a:pt x="1226" y="35"/>
                    <a:pt x="1225" y="35"/>
                    <a:pt x="1225" y="35"/>
                  </a:cubicBezTo>
                  <a:close/>
                  <a:moveTo>
                    <a:pt x="1251" y="35"/>
                  </a:moveTo>
                  <a:cubicBezTo>
                    <a:pt x="1251" y="35"/>
                    <a:pt x="1251" y="35"/>
                    <a:pt x="1251" y="35"/>
                  </a:cubicBezTo>
                  <a:cubicBezTo>
                    <a:pt x="1251" y="35"/>
                    <a:pt x="1251" y="35"/>
                    <a:pt x="1251" y="35"/>
                  </a:cubicBezTo>
                  <a:close/>
                  <a:moveTo>
                    <a:pt x="549" y="35"/>
                  </a:moveTo>
                  <a:cubicBezTo>
                    <a:pt x="549" y="36"/>
                    <a:pt x="549" y="36"/>
                    <a:pt x="550" y="36"/>
                  </a:cubicBezTo>
                  <a:cubicBezTo>
                    <a:pt x="550" y="36"/>
                    <a:pt x="550" y="36"/>
                    <a:pt x="549" y="35"/>
                  </a:cubicBezTo>
                  <a:close/>
                  <a:moveTo>
                    <a:pt x="593" y="36"/>
                  </a:moveTo>
                  <a:cubicBezTo>
                    <a:pt x="593" y="36"/>
                    <a:pt x="593" y="35"/>
                    <a:pt x="592" y="35"/>
                  </a:cubicBezTo>
                  <a:cubicBezTo>
                    <a:pt x="592" y="36"/>
                    <a:pt x="592" y="36"/>
                    <a:pt x="593" y="36"/>
                  </a:cubicBezTo>
                  <a:close/>
                  <a:moveTo>
                    <a:pt x="655" y="35"/>
                  </a:moveTo>
                  <a:cubicBezTo>
                    <a:pt x="655" y="36"/>
                    <a:pt x="655" y="36"/>
                    <a:pt x="655" y="36"/>
                  </a:cubicBezTo>
                  <a:cubicBezTo>
                    <a:pt x="655" y="36"/>
                    <a:pt x="655" y="36"/>
                    <a:pt x="655" y="35"/>
                  </a:cubicBezTo>
                  <a:close/>
                  <a:moveTo>
                    <a:pt x="831" y="51"/>
                  </a:moveTo>
                  <a:cubicBezTo>
                    <a:pt x="831" y="51"/>
                    <a:pt x="830" y="51"/>
                    <a:pt x="830" y="51"/>
                  </a:cubicBezTo>
                  <a:cubicBezTo>
                    <a:pt x="831" y="51"/>
                    <a:pt x="831" y="51"/>
                    <a:pt x="831" y="51"/>
                  </a:cubicBezTo>
                  <a:close/>
                  <a:moveTo>
                    <a:pt x="696" y="35"/>
                  </a:moveTo>
                  <a:cubicBezTo>
                    <a:pt x="696" y="36"/>
                    <a:pt x="696" y="36"/>
                    <a:pt x="696" y="36"/>
                  </a:cubicBezTo>
                  <a:cubicBezTo>
                    <a:pt x="696" y="35"/>
                    <a:pt x="696" y="35"/>
                    <a:pt x="696" y="35"/>
                  </a:cubicBezTo>
                  <a:close/>
                  <a:moveTo>
                    <a:pt x="764" y="36"/>
                  </a:moveTo>
                  <a:cubicBezTo>
                    <a:pt x="765" y="36"/>
                    <a:pt x="765" y="36"/>
                    <a:pt x="765" y="35"/>
                  </a:cubicBezTo>
                  <a:cubicBezTo>
                    <a:pt x="765" y="35"/>
                    <a:pt x="765" y="35"/>
                    <a:pt x="764" y="36"/>
                  </a:cubicBezTo>
                  <a:close/>
                  <a:moveTo>
                    <a:pt x="791" y="35"/>
                  </a:moveTo>
                  <a:cubicBezTo>
                    <a:pt x="791" y="36"/>
                    <a:pt x="792" y="36"/>
                    <a:pt x="792" y="36"/>
                  </a:cubicBezTo>
                  <a:cubicBezTo>
                    <a:pt x="792" y="35"/>
                    <a:pt x="791" y="35"/>
                    <a:pt x="791" y="35"/>
                  </a:cubicBezTo>
                  <a:close/>
                  <a:moveTo>
                    <a:pt x="1084" y="46"/>
                  </a:moveTo>
                  <a:cubicBezTo>
                    <a:pt x="1084" y="46"/>
                    <a:pt x="1084" y="46"/>
                    <a:pt x="1084" y="47"/>
                  </a:cubicBezTo>
                  <a:cubicBezTo>
                    <a:pt x="1084" y="46"/>
                    <a:pt x="1084" y="46"/>
                    <a:pt x="1084" y="46"/>
                  </a:cubicBezTo>
                  <a:close/>
                  <a:moveTo>
                    <a:pt x="859" y="35"/>
                  </a:moveTo>
                  <a:cubicBezTo>
                    <a:pt x="860" y="36"/>
                    <a:pt x="860" y="36"/>
                    <a:pt x="860" y="36"/>
                  </a:cubicBezTo>
                  <a:cubicBezTo>
                    <a:pt x="860" y="35"/>
                    <a:pt x="860" y="35"/>
                    <a:pt x="859" y="35"/>
                  </a:cubicBezTo>
                  <a:close/>
                  <a:moveTo>
                    <a:pt x="1032" y="51"/>
                  </a:moveTo>
                  <a:cubicBezTo>
                    <a:pt x="1033" y="51"/>
                    <a:pt x="1033" y="51"/>
                    <a:pt x="1033" y="51"/>
                  </a:cubicBezTo>
                  <a:cubicBezTo>
                    <a:pt x="1032" y="51"/>
                    <a:pt x="1032" y="51"/>
                    <a:pt x="1032" y="51"/>
                  </a:cubicBezTo>
                  <a:close/>
                  <a:moveTo>
                    <a:pt x="954" y="36"/>
                  </a:moveTo>
                  <a:cubicBezTo>
                    <a:pt x="954" y="36"/>
                    <a:pt x="954" y="36"/>
                    <a:pt x="954" y="35"/>
                  </a:cubicBezTo>
                  <a:cubicBezTo>
                    <a:pt x="954" y="36"/>
                    <a:pt x="954" y="36"/>
                    <a:pt x="954" y="36"/>
                  </a:cubicBezTo>
                  <a:close/>
                  <a:moveTo>
                    <a:pt x="1047" y="36"/>
                  </a:moveTo>
                  <a:cubicBezTo>
                    <a:pt x="1047" y="36"/>
                    <a:pt x="1047" y="36"/>
                    <a:pt x="1047" y="35"/>
                  </a:cubicBezTo>
                  <a:cubicBezTo>
                    <a:pt x="1047" y="35"/>
                    <a:pt x="1047" y="35"/>
                    <a:pt x="1047" y="36"/>
                  </a:cubicBezTo>
                  <a:close/>
                  <a:moveTo>
                    <a:pt x="1073" y="35"/>
                  </a:moveTo>
                  <a:cubicBezTo>
                    <a:pt x="1074" y="36"/>
                    <a:pt x="1074" y="36"/>
                    <a:pt x="1074" y="36"/>
                  </a:cubicBezTo>
                  <a:cubicBezTo>
                    <a:pt x="1074" y="35"/>
                    <a:pt x="1074" y="35"/>
                    <a:pt x="1073" y="35"/>
                  </a:cubicBezTo>
                  <a:close/>
                  <a:moveTo>
                    <a:pt x="1119" y="36"/>
                  </a:moveTo>
                  <a:cubicBezTo>
                    <a:pt x="1120" y="36"/>
                    <a:pt x="1120" y="36"/>
                    <a:pt x="1120" y="35"/>
                  </a:cubicBezTo>
                  <a:cubicBezTo>
                    <a:pt x="1120" y="35"/>
                    <a:pt x="1120" y="35"/>
                    <a:pt x="1119" y="36"/>
                  </a:cubicBezTo>
                  <a:close/>
                  <a:moveTo>
                    <a:pt x="1144" y="35"/>
                  </a:moveTo>
                  <a:cubicBezTo>
                    <a:pt x="1144" y="36"/>
                    <a:pt x="1145" y="36"/>
                    <a:pt x="1145" y="36"/>
                  </a:cubicBezTo>
                  <a:cubicBezTo>
                    <a:pt x="1145" y="35"/>
                    <a:pt x="1144" y="35"/>
                    <a:pt x="1144" y="35"/>
                  </a:cubicBezTo>
                  <a:close/>
                  <a:moveTo>
                    <a:pt x="1225" y="36"/>
                  </a:moveTo>
                  <a:cubicBezTo>
                    <a:pt x="1225" y="36"/>
                    <a:pt x="1225" y="36"/>
                    <a:pt x="1225" y="35"/>
                  </a:cubicBezTo>
                  <a:cubicBezTo>
                    <a:pt x="1225" y="35"/>
                    <a:pt x="1225" y="35"/>
                    <a:pt x="1225" y="36"/>
                  </a:cubicBezTo>
                  <a:close/>
                  <a:moveTo>
                    <a:pt x="1251" y="35"/>
                  </a:moveTo>
                  <a:cubicBezTo>
                    <a:pt x="1251" y="36"/>
                    <a:pt x="1252" y="36"/>
                    <a:pt x="1252" y="36"/>
                  </a:cubicBezTo>
                  <a:cubicBezTo>
                    <a:pt x="1252" y="35"/>
                    <a:pt x="1252" y="35"/>
                    <a:pt x="1251" y="35"/>
                  </a:cubicBezTo>
                  <a:close/>
                  <a:moveTo>
                    <a:pt x="1297" y="36"/>
                  </a:moveTo>
                  <a:cubicBezTo>
                    <a:pt x="1297" y="36"/>
                    <a:pt x="1297" y="36"/>
                    <a:pt x="1297" y="35"/>
                  </a:cubicBezTo>
                  <a:cubicBezTo>
                    <a:pt x="1297" y="35"/>
                    <a:pt x="1297" y="35"/>
                    <a:pt x="1297" y="36"/>
                  </a:cubicBezTo>
                  <a:close/>
                  <a:moveTo>
                    <a:pt x="668" y="36"/>
                  </a:moveTo>
                  <a:cubicBezTo>
                    <a:pt x="668" y="36"/>
                    <a:pt x="668" y="36"/>
                    <a:pt x="669" y="36"/>
                  </a:cubicBezTo>
                  <a:cubicBezTo>
                    <a:pt x="668" y="36"/>
                    <a:pt x="668" y="36"/>
                    <a:pt x="668" y="36"/>
                  </a:cubicBezTo>
                  <a:close/>
                  <a:moveTo>
                    <a:pt x="1296" y="46"/>
                  </a:moveTo>
                  <a:cubicBezTo>
                    <a:pt x="1296" y="46"/>
                    <a:pt x="1296" y="46"/>
                    <a:pt x="1296" y="46"/>
                  </a:cubicBezTo>
                  <a:cubicBezTo>
                    <a:pt x="1296" y="46"/>
                    <a:pt x="1296" y="46"/>
                    <a:pt x="1296" y="46"/>
                  </a:cubicBezTo>
                  <a:close/>
                  <a:moveTo>
                    <a:pt x="792" y="36"/>
                  </a:moveTo>
                  <a:cubicBezTo>
                    <a:pt x="792" y="36"/>
                    <a:pt x="792" y="36"/>
                    <a:pt x="793" y="36"/>
                  </a:cubicBezTo>
                  <a:cubicBezTo>
                    <a:pt x="792" y="36"/>
                    <a:pt x="792" y="36"/>
                    <a:pt x="792" y="36"/>
                  </a:cubicBezTo>
                  <a:close/>
                  <a:moveTo>
                    <a:pt x="836" y="36"/>
                  </a:moveTo>
                  <a:cubicBezTo>
                    <a:pt x="836" y="36"/>
                    <a:pt x="837" y="36"/>
                    <a:pt x="837" y="36"/>
                  </a:cubicBezTo>
                  <a:cubicBezTo>
                    <a:pt x="836" y="36"/>
                    <a:pt x="836" y="36"/>
                    <a:pt x="836" y="36"/>
                  </a:cubicBezTo>
                  <a:close/>
                  <a:moveTo>
                    <a:pt x="860" y="36"/>
                  </a:moveTo>
                  <a:cubicBezTo>
                    <a:pt x="860" y="36"/>
                    <a:pt x="860" y="36"/>
                    <a:pt x="861" y="36"/>
                  </a:cubicBezTo>
                  <a:cubicBezTo>
                    <a:pt x="861" y="36"/>
                    <a:pt x="860" y="36"/>
                    <a:pt x="860" y="36"/>
                  </a:cubicBezTo>
                  <a:close/>
                  <a:moveTo>
                    <a:pt x="877" y="36"/>
                  </a:moveTo>
                  <a:cubicBezTo>
                    <a:pt x="877" y="36"/>
                    <a:pt x="878" y="36"/>
                    <a:pt x="878" y="36"/>
                  </a:cubicBezTo>
                  <a:cubicBezTo>
                    <a:pt x="878" y="36"/>
                    <a:pt x="877" y="36"/>
                    <a:pt x="877" y="36"/>
                  </a:cubicBezTo>
                  <a:close/>
                  <a:moveTo>
                    <a:pt x="903" y="36"/>
                  </a:moveTo>
                  <a:cubicBezTo>
                    <a:pt x="903" y="36"/>
                    <a:pt x="903" y="36"/>
                    <a:pt x="904" y="36"/>
                  </a:cubicBezTo>
                  <a:cubicBezTo>
                    <a:pt x="903" y="36"/>
                    <a:pt x="903" y="36"/>
                    <a:pt x="903" y="36"/>
                  </a:cubicBezTo>
                  <a:close/>
                  <a:moveTo>
                    <a:pt x="967" y="36"/>
                  </a:moveTo>
                  <a:cubicBezTo>
                    <a:pt x="966" y="36"/>
                    <a:pt x="966" y="36"/>
                    <a:pt x="966" y="36"/>
                  </a:cubicBezTo>
                  <a:cubicBezTo>
                    <a:pt x="967" y="36"/>
                    <a:pt x="967" y="36"/>
                    <a:pt x="967" y="36"/>
                  </a:cubicBezTo>
                  <a:close/>
                  <a:moveTo>
                    <a:pt x="1046" y="36"/>
                  </a:moveTo>
                  <a:cubicBezTo>
                    <a:pt x="1046" y="36"/>
                    <a:pt x="1047" y="36"/>
                    <a:pt x="1047" y="36"/>
                  </a:cubicBezTo>
                  <a:cubicBezTo>
                    <a:pt x="1046" y="36"/>
                    <a:pt x="1046" y="36"/>
                    <a:pt x="1046" y="36"/>
                  </a:cubicBezTo>
                  <a:close/>
                  <a:moveTo>
                    <a:pt x="1142" y="51"/>
                  </a:moveTo>
                  <a:cubicBezTo>
                    <a:pt x="1142" y="51"/>
                    <a:pt x="1142" y="51"/>
                    <a:pt x="1142" y="51"/>
                  </a:cubicBezTo>
                  <a:cubicBezTo>
                    <a:pt x="1142" y="51"/>
                    <a:pt x="1142" y="51"/>
                    <a:pt x="1142" y="51"/>
                  </a:cubicBezTo>
                  <a:close/>
                  <a:moveTo>
                    <a:pt x="1119" y="36"/>
                  </a:moveTo>
                  <a:cubicBezTo>
                    <a:pt x="1119" y="36"/>
                    <a:pt x="1119" y="36"/>
                    <a:pt x="1119" y="36"/>
                  </a:cubicBezTo>
                  <a:cubicBezTo>
                    <a:pt x="1119" y="36"/>
                    <a:pt x="1119" y="36"/>
                    <a:pt x="1119" y="36"/>
                  </a:cubicBezTo>
                  <a:close/>
                  <a:moveTo>
                    <a:pt x="1566" y="47"/>
                  </a:moveTo>
                  <a:cubicBezTo>
                    <a:pt x="1567" y="46"/>
                    <a:pt x="1567" y="46"/>
                    <a:pt x="1567" y="46"/>
                  </a:cubicBezTo>
                  <a:cubicBezTo>
                    <a:pt x="1566" y="46"/>
                    <a:pt x="1566" y="46"/>
                    <a:pt x="1566" y="47"/>
                  </a:cubicBezTo>
                  <a:close/>
                  <a:moveTo>
                    <a:pt x="1224" y="36"/>
                  </a:moveTo>
                  <a:cubicBezTo>
                    <a:pt x="1224" y="36"/>
                    <a:pt x="1224" y="36"/>
                    <a:pt x="1225" y="36"/>
                  </a:cubicBezTo>
                  <a:cubicBezTo>
                    <a:pt x="1224" y="36"/>
                    <a:pt x="1224" y="36"/>
                    <a:pt x="1224" y="36"/>
                  </a:cubicBezTo>
                  <a:close/>
                  <a:moveTo>
                    <a:pt x="1735" y="47"/>
                  </a:moveTo>
                  <a:cubicBezTo>
                    <a:pt x="1735" y="46"/>
                    <a:pt x="1735" y="46"/>
                    <a:pt x="1735" y="46"/>
                  </a:cubicBezTo>
                  <a:cubicBezTo>
                    <a:pt x="1735" y="46"/>
                    <a:pt x="1735" y="46"/>
                    <a:pt x="1735" y="47"/>
                  </a:cubicBezTo>
                  <a:close/>
                  <a:moveTo>
                    <a:pt x="593" y="37"/>
                  </a:moveTo>
                  <a:cubicBezTo>
                    <a:pt x="593" y="36"/>
                    <a:pt x="593" y="36"/>
                    <a:pt x="593" y="36"/>
                  </a:cubicBezTo>
                  <a:cubicBezTo>
                    <a:pt x="593" y="36"/>
                    <a:pt x="593" y="37"/>
                    <a:pt x="593" y="37"/>
                  </a:cubicBezTo>
                  <a:close/>
                  <a:moveTo>
                    <a:pt x="667" y="37"/>
                  </a:moveTo>
                  <a:cubicBezTo>
                    <a:pt x="668" y="36"/>
                    <a:pt x="668" y="36"/>
                    <a:pt x="668" y="36"/>
                  </a:cubicBezTo>
                  <a:cubicBezTo>
                    <a:pt x="668" y="36"/>
                    <a:pt x="667" y="36"/>
                    <a:pt x="667" y="37"/>
                  </a:cubicBezTo>
                  <a:close/>
                  <a:moveTo>
                    <a:pt x="560" y="46"/>
                  </a:moveTo>
                  <a:cubicBezTo>
                    <a:pt x="560" y="46"/>
                    <a:pt x="560" y="47"/>
                    <a:pt x="560" y="47"/>
                  </a:cubicBezTo>
                  <a:cubicBezTo>
                    <a:pt x="560" y="46"/>
                    <a:pt x="560" y="46"/>
                    <a:pt x="560" y="46"/>
                  </a:cubicBezTo>
                  <a:close/>
                  <a:moveTo>
                    <a:pt x="793" y="36"/>
                  </a:moveTo>
                  <a:cubicBezTo>
                    <a:pt x="793" y="36"/>
                    <a:pt x="793" y="36"/>
                    <a:pt x="793" y="37"/>
                  </a:cubicBezTo>
                  <a:cubicBezTo>
                    <a:pt x="793" y="36"/>
                    <a:pt x="793" y="36"/>
                    <a:pt x="793" y="36"/>
                  </a:cubicBezTo>
                  <a:close/>
                  <a:moveTo>
                    <a:pt x="1210" y="51"/>
                  </a:moveTo>
                  <a:cubicBezTo>
                    <a:pt x="1211" y="51"/>
                    <a:pt x="1211" y="51"/>
                    <a:pt x="1211" y="51"/>
                  </a:cubicBezTo>
                  <a:cubicBezTo>
                    <a:pt x="1210" y="51"/>
                    <a:pt x="1210" y="51"/>
                    <a:pt x="1210" y="51"/>
                  </a:cubicBezTo>
                  <a:close/>
                  <a:moveTo>
                    <a:pt x="1045" y="36"/>
                  </a:moveTo>
                  <a:cubicBezTo>
                    <a:pt x="1046" y="36"/>
                    <a:pt x="1046" y="36"/>
                    <a:pt x="1046" y="36"/>
                  </a:cubicBezTo>
                  <a:cubicBezTo>
                    <a:pt x="1046" y="36"/>
                    <a:pt x="1045" y="36"/>
                    <a:pt x="1045" y="36"/>
                  </a:cubicBezTo>
                  <a:close/>
                  <a:moveTo>
                    <a:pt x="696" y="47"/>
                  </a:moveTo>
                  <a:cubicBezTo>
                    <a:pt x="696" y="46"/>
                    <a:pt x="696" y="46"/>
                    <a:pt x="695" y="46"/>
                  </a:cubicBezTo>
                  <a:cubicBezTo>
                    <a:pt x="696" y="46"/>
                    <a:pt x="696" y="47"/>
                    <a:pt x="696" y="47"/>
                  </a:cubicBezTo>
                  <a:close/>
                  <a:moveTo>
                    <a:pt x="802" y="46"/>
                  </a:moveTo>
                  <a:cubicBezTo>
                    <a:pt x="802" y="46"/>
                    <a:pt x="802" y="47"/>
                    <a:pt x="802" y="47"/>
                  </a:cubicBezTo>
                  <a:cubicBezTo>
                    <a:pt x="802" y="47"/>
                    <a:pt x="802" y="46"/>
                    <a:pt x="802" y="46"/>
                  </a:cubicBezTo>
                  <a:close/>
                  <a:moveTo>
                    <a:pt x="1145" y="36"/>
                  </a:moveTo>
                  <a:cubicBezTo>
                    <a:pt x="1145" y="36"/>
                    <a:pt x="1146" y="36"/>
                    <a:pt x="1146" y="36"/>
                  </a:cubicBezTo>
                  <a:cubicBezTo>
                    <a:pt x="1146" y="36"/>
                    <a:pt x="1146" y="36"/>
                    <a:pt x="1145" y="36"/>
                  </a:cubicBezTo>
                  <a:close/>
                  <a:moveTo>
                    <a:pt x="1223" y="36"/>
                  </a:moveTo>
                  <a:cubicBezTo>
                    <a:pt x="1223" y="36"/>
                    <a:pt x="1224" y="36"/>
                    <a:pt x="1224" y="36"/>
                  </a:cubicBezTo>
                  <a:cubicBezTo>
                    <a:pt x="1224" y="36"/>
                    <a:pt x="1223" y="36"/>
                    <a:pt x="1223" y="36"/>
                  </a:cubicBezTo>
                  <a:close/>
                  <a:moveTo>
                    <a:pt x="1252" y="36"/>
                  </a:moveTo>
                  <a:cubicBezTo>
                    <a:pt x="1253" y="36"/>
                    <a:pt x="1253" y="36"/>
                    <a:pt x="1253" y="36"/>
                  </a:cubicBezTo>
                  <a:cubicBezTo>
                    <a:pt x="1253" y="36"/>
                    <a:pt x="1253" y="36"/>
                    <a:pt x="1252" y="36"/>
                  </a:cubicBezTo>
                  <a:close/>
                  <a:moveTo>
                    <a:pt x="550" y="36"/>
                  </a:moveTo>
                  <a:cubicBezTo>
                    <a:pt x="550" y="37"/>
                    <a:pt x="550" y="37"/>
                    <a:pt x="550" y="37"/>
                  </a:cubicBezTo>
                  <a:cubicBezTo>
                    <a:pt x="550" y="37"/>
                    <a:pt x="550" y="37"/>
                    <a:pt x="550" y="36"/>
                  </a:cubicBezTo>
                  <a:close/>
                  <a:moveTo>
                    <a:pt x="643" y="37"/>
                  </a:moveTo>
                  <a:cubicBezTo>
                    <a:pt x="644" y="37"/>
                    <a:pt x="644" y="37"/>
                    <a:pt x="644" y="36"/>
                  </a:cubicBezTo>
                  <a:cubicBezTo>
                    <a:pt x="643" y="37"/>
                    <a:pt x="643" y="37"/>
                    <a:pt x="643" y="37"/>
                  </a:cubicBezTo>
                  <a:close/>
                  <a:moveTo>
                    <a:pt x="655" y="36"/>
                  </a:moveTo>
                  <a:cubicBezTo>
                    <a:pt x="655" y="36"/>
                    <a:pt x="655" y="37"/>
                    <a:pt x="655" y="37"/>
                  </a:cubicBezTo>
                  <a:cubicBezTo>
                    <a:pt x="655" y="37"/>
                    <a:pt x="655" y="37"/>
                    <a:pt x="655" y="36"/>
                  </a:cubicBezTo>
                  <a:close/>
                  <a:moveTo>
                    <a:pt x="763" y="37"/>
                  </a:moveTo>
                  <a:cubicBezTo>
                    <a:pt x="763" y="37"/>
                    <a:pt x="763" y="37"/>
                    <a:pt x="763" y="36"/>
                  </a:cubicBezTo>
                  <a:cubicBezTo>
                    <a:pt x="763" y="36"/>
                    <a:pt x="763" y="36"/>
                    <a:pt x="763" y="37"/>
                  </a:cubicBezTo>
                  <a:close/>
                  <a:moveTo>
                    <a:pt x="898" y="47"/>
                  </a:moveTo>
                  <a:cubicBezTo>
                    <a:pt x="898" y="47"/>
                    <a:pt x="898" y="46"/>
                    <a:pt x="898" y="46"/>
                  </a:cubicBezTo>
                  <a:cubicBezTo>
                    <a:pt x="898" y="46"/>
                    <a:pt x="898" y="47"/>
                    <a:pt x="898" y="47"/>
                  </a:cubicBezTo>
                  <a:close/>
                  <a:moveTo>
                    <a:pt x="1035" y="47"/>
                  </a:moveTo>
                  <a:cubicBezTo>
                    <a:pt x="1035" y="47"/>
                    <a:pt x="1035" y="46"/>
                    <a:pt x="1035" y="46"/>
                  </a:cubicBezTo>
                  <a:cubicBezTo>
                    <a:pt x="1035" y="46"/>
                    <a:pt x="1035" y="47"/>
                    <a:pt x="1035" y="47"/>
                  </a:cubicBezTo>
                  <a:close/>
                  <a:moveTo>
                    <a:pt x="1392" y="51"/>
                  </a:moveTo>
                  <a:cubicBezTo>
                    <a:pt x="1391" y="51"/>
                    <a:pt x="1391" y="51"/>
                    <a:pt x="1391" y="51"/>
                  </a:cubicBezTo>
                  <a:cubicBezTo>
                    <a:pt x="1392" y="51"/>
                    <a:pt x="1392" y="51"/>
                    <a:pt x="1392" y="51"/>
                  </a:cubicBezTo>
                  <a:close/>
                  <a:moveTo>
                    <a:pt x="966" y="36"/>
                  </a:moveTo>
                  <a:cubicBezTo>
                    <a:pt x="966" y="37"/>
                    <a:pt x="966" y="37"/>
                    <a:pt x="966" y="37"/>
                  </a:cubicBezTo>
                  <a:cubicBezTo>
                    <a:pt x="966" y="37"/>
                    <a:pt x="966" y="37"/>
                    <a:pt x="966" y="36"/>
                  </a:cubicBezTo>
                  <a:close/>
                  <a:moveTo>
                    <a:pt x="568" y="51"/>
                  </a:moveTo>
                  <a:cubicBezTo>
                    <a:pt x="568" y="51"/>
                    <a:pt x="568" y="51"/>
                    <a:pt x="569" y="51"/>
                  </a:cubicBezTo>
                  <a:cubicBezTo>
                    <a:pt x="569" y="51"/>
                    <a:pt x="568" y="51"/>
                    <a:pt x="568" y="51"/>
                  </a:cubicBezTo>
                  <a:close/>
                  <a:moveTo>
                    <a:pt x="1075" y="36"/>
                  </a:moveTo>
                  <a:cubicBezTo>
                    <a:pt x="1075" y="37"/>
                    <a:pt x="1076" y="37"/>
                    <a:pt x="1076" y="37"/>
                  </a:cubicBezTo>
                  <a:cubicBezTo>
                    <a:pt x="1076" y="36"/>
                    <a:pt x="1076" y="36"/>
                    <a:pt x="1075" y="36"/>
                  </a:cubicBezTo>
                  <a:close/>
                  <a:moveTo>
                    <a:pt x="1118" y="37"/>
                  </a:moveTo>
                  <a:cubicBezTo>
                    <a:pt x="1118" y="37"/>
                    <a:pt x="1118" y="37"/>
                    <a:pt x="1118" y="36"/>
                  </a:cubicBezTo>
                  <a:cubicBezTo>
                    <a:pt x="1118" y="36"/>
                    <a:pt x="1118" y="36"/>
                    <a:pt x="1118" y="37"/>
                  </a:cubicBezTo>
                  <a:close/>
                  <a:moveTo>
                    <a:pt x="1153" y="46"/>
                  </a:moveTo>
                  <a:cubicBezTo>
                    <a:pt x="1153" y="46"/>
                    <a:pt x="1153" y="47"/>
                    <a:pt x="1153" y="47"/>
                  </a:cubicBezTo>
                  <a:cubicBezTo>
                    <a:pt x="1153" y="47"/>
                    <a:pt x="1153" y="46"/>
                    <a:pt x="1153" y="46"/>
                  </a:cubicBezTo>
                  <a:close/>
                  <a:moveTo>
                    <a:pt x="1223" y="37"/>
                  </a:moveTo>
                  <a:cubicBezTo>
                    <a:pt x="1223" y="37"/>
                    <a:pt x="1223" y="37"/>
                    <a:pt x="1223" y="36"/>
                  </a:cubicBezTo>
                  <a:cubicBezTo>
                    <a:pt x="1223" y="36"/>
                    <a:pt x="1223" y="36"/>
                    <a:pt x="1223" y="37"/>
                  </a:cubicBezTo>
                  <a:close/>
                  <a:moveTo>
                    <a:pt x="1253" y="36"/>
                  </a:moveTo>
                  <a:cubicBezTo>
                    <a:pt x="1253" y="37"/>
                    <a:pt x="1253" y="37"/>
                    <a:pt x="1254" y="37"/>
                  </a:cubicBezTo>
                  <a:cubicBezTo>
                    <a:pt x="1254" y="36"/>
                    <a:pt x="1253" y="36"/>
                    <a:pt x="1253" y="36"/>
                  </a:cubicBezTo>
                  <a:close/>
                  <a:moveTo>
                    <a:pt x="1213" y="47"/>
                  </a:moveTo>
                  <a:cubicBezTo>
                    <a:pt x="1213" y="47"/>
                    <a:pt x="1213" y="46"/>
                    <a:pt x="1213" y="46"/>
                  </a:cubicBezTo>
                  <a:cubicBezTo>
                    <a:pt x="1213" y="46"/>
                    <a:pt x="1213" y="47"/>
                    <a:pt x="1213" y="47"/>
                  </a:cubicBezTo>
                  <a:close/>
                  <a:moveTo>
                    <a:pt x="666" y="37"/>
                  </a:moveTo>
                  <a:cubicBezTo>
                    <a:pt x="667" y="37"/>
                    <a:pt x="667" y="37"/>
                    <a:pt x="667" y="37"/>
                  </a:cubicBezTo>
                  <a:cubicBezTo>
                    <a:pt x="667" y="37"/>
                    <a:pt x="666" y="37"/>
                    <a:pt x="666" y="37"/>
                  </a:cubicBezTo>
                  <a:close/>
                  <a:moveTo>
                    <a:pt x="762" y="37"/>
                  </a:moveTo>
                  <a:cubicBezTo>
                    <a:pt x="762" y="37"/>
                    <a:pt x="763" y="37"/>
                    <a:pt x="763" y="37"/>
                  </a:cubicBezTo>
                  <a:cubicBezTo>
                    <a:pt x="762" y="37"/>
                    <a:pt x="762" y="37"/>
                    <a:pt x="762" y="37"/>
                  </a:cubicBezTo>
                  <a:close/>
                  <a:moveTo>
                    <a:pt x="794" y="37"/>
                  </a:moveTo>
                  <a:cubicBezTo>
                    <a:pt x="794" y="37"/>
                    <a:pt x="794" y="37"/>
                    <a:pt x="794" y="37"/>
                  </a:cubicBezTo>
                  <a:cubicBezTo>
                    <a:pt x="794" y="37"/>
                    <a:pt x="794" y="37"/>
                    <a:pt x="794" y="37"/>
                  </a:cubicBezTo>
                  <a:close/>
                  <a:moveTo>
                    <a:pt x="750" y="52"/>
                  </a:moveTo>
                  <a:cubicBezTo>
                    <a:pt x="750" y="52"/>
                    <a:pt x="750" y="51"/>
                    <a:pt x="751" y="51"/>
                  </a:cubicBezTo>
                  <a:cubicBezTo>
                    <a:pt x="750" y="51"/>
                    <a:pt x="750" y="52"/>
                    <a:pt x="750" y="52"/>
                  </a:cubicBezTo>
                  <a:close/>
                  <a:moveTo>
                    <a:pt x="862" y="37"/>
                  </a:moveTo>
                  <a:cubicBezTo>
                    <a:pt x="862" y="37"/>
                    <a:pt x="862" y="37"/>
                    <a:pt x="862" y="37"/>
                  </a:cubicBezTo>
                  <a:cubicBezTo>
                    <a:pt x="862" y="37"/>
                    <a:pt x="862" y="37"/>
                    <a:pt x="862" y="37"/>
                  </a:cubicBezTo>
                  <a:close/>
                  <a:moveTo>
                    <a:pt x="858" y="52"/>
                  </a:moveTo>
                  <a:cubicBezTo>
                    <a:pt x="858" y="51"/>
                    <a:pt x="858" y="51"/>
                    <a:pt x="858" y="51"/>
                  </a:cubicBezTo>
                  <a:cubicBezTo>
                    <a:pt x="858" y="51"/>
                    <a:pt x="858" y="52"/>
                    <a:pt x="858" y="52"/>
                  </a:cubicBezTo>
                  <a:close/>
                  <a:moveTo>
                    <a:pt x="1044" y="37"/>
                  </a:moveTo>
                  <a:cubicBezTo>
                    <a:pt x="1045" y="37"/>
                    <a:pt x="1045" y="37"/>
                    <a:pt x="1045" y="37"/>
                  </a:cubicBezTo>
                  <a:cubicBezTo>
                    <a:pt x="1045" y="37"/>
                    <a:pt x="1044" y="37"/>
                    <a:pt x="1044" y="37"/>
                  </a:cubicBezTo>
                  <a:close/>
                  <a:moveTo>
                    <a:pt x="1382" y="47"/>
                  </a:moveTo>
                  <a:cubicBezTo>
                    <a:pt x="1382" y="47"/>
                    <a:pt x="1382" y="46"/>
                    <a:pt x="1382" y="46"/>
                  </a:cubicBezTo>
                  <a:cubicBezTo>
                    <a:pt x="1382" y="46"/>
                    <a:pt x="1382" y="47"/>
                    <a:pt x="1382" y="47"/>
                  </a:cubicBezTo>
                  <a:close/>
                  <a:moveTo>
                    <a:pt x="1394" y="46"/>
                  </a:moveTo>
                  <a:cubicBezTo>
                    <a:pt x="1394" y="46"/>
                    <a:pt x="1394" y="47"/>
                    <a:pt x="1394" y="47"/>
                  </a:cubicBezTo>
                  <a:cubicBezTo>
                    <a:pt x="1394" y="47"/>
                    <a:pt x="1394" y="46"/>
                    <a:pt x="1394" y="46"/>
                  </a:cubicBezTo>
                  <a:close/>
                  <a:moveTo>
                    <a:pt x="1579" y="46"/>
                  </a:moveTo>
                  <a:cubicBezTo>
                    <a:pt x="1578" y="46"/>
                    <a:pt x="1578" y="47"/>
                    <a:pt x="1578" y="47"/>
                  </a:cubicBezTo>
                  <a:cubicBezTo>
                    <a:pt x="1579" y="47"/>
                    <a:pt x="1579" y="46"/>
                    <a:pt x="1579" y="46"/>
                  </a:cubicBezTo>
                  <a:close/>
                  <a:moveTo>
                    <a:pt x="1681" y="46"/>
                  </a:moveTo>
                  <a:cubicBezTo>
                    <a:pt x="1681" y="46"/>
                    <a:pt x="1681" y="47"/>
                    <a:pt x="1680" y="47"/>
                  </a:cubicBezTo>
                  <a:cubicBezTo>
                    <a:pt x="1681" y="47"/>
                    <a:pt x="1681" y="46"/>
                    <a:pt x="1681" y="46"/>
                  </a:cubicBezTo>
                  <a:close/>
                  <a:moveTo>
                    <a:pt x="1747" y="46"/>
                  </a:moveTo>
                  <a:cubicBezTo>
                    <a:pt x="1746" y="46"/>
                    <a:pt x="1746" y="47"/>
                    <a:pt x="1746" y="47"/>
                  </a:cubicBezTo>
                  <a:cubicBezTo>
                    <a:pt x="1747" y="47"/>
                    <a:pt x="1747" y="46"/>
                    <a:pt x="1747" y="46"/>
                  </a:cubicBezTo>
                  <a:close/>
                  <a:moveTo>
                    <a:pt x="550" y="37"/>
                  </a:moveTo>
                  <a:cubicBezTo>
                    <a:pt x="550" y="37"/>
                    <a:pt x="550" y="38"/>
                    <a:pt x="550" y="38"/>
                  </a:cubicBezTo>
                  <a:cubicBezTo>
                    <a:pt x="550" y="38"/>
                    <a:pt x="550" y="37"/>
                    <a:pt x="550" y="37"/>
                  </a:cubicBezTo>
                  <a:close/>
                  <a:moveTo>
                    <a:pt x="593" y="38"/>
                  </a:moveTo>
                  <a:cubicBezTo>
                    <a:pt x="593" y="37"/>
                    <a:pt x="593" y="37"/>
                    <a:pt x="593" y="37"/>
                  </a:cubicBezTo>
                  <a:cubicBezTo>
                    <a:pt x="593" y="37"/>
                    <a:pt x="593" y="38"/>
                    <a:pt x="593" y="38"/>
                  </a:cubicBezTo>
                  <a:close/>
                  <a:moveTo>
                    <a:pt x="655" y="37"/>
                  </a:moveTo>
                  <a:cubicBezTo>
                    <a:pt x="654" y="37"/>
                    <a:pt x="654" y="38"/>
                    <a:pt x="654" y="38"/>
                  </a:cubicBezTo>
                  <a:cubicBezTo>
                    <a:pt x="655" y="38"/>
                    <a:pt x="655" y="37"/>
                    <a:pt x="655" y="37"/>
                  </a:cubicBezTo>
                  <a:close/>
                  <a:moveTo>
                    <a:pt x="560" y="47"/>
                  </a:moveTo>
                  <a:cubicBezTo>
                    <a:pt x="560" y="47"/>
                    <a:pt x="561" y="47"/>
                    <a:pt x="561" y="47"/>
                  </a:cubicBezTo>
                  <a:cubicBezTo>
                    <a:pt x="561" y="47"/>
                    <a:pt x="561" y="47"/>
                    <a:pt x="560" y="47"/>
                  </a:cubicBezTo>
                  <a:close/>
                  <a:moveTo>
                    <a:pt x="873" y="51"/>
                  </a:moveTo>
                  <a:cubicBezTo>
                    <a:pt x="873" y="51"/>
                    <a:pt x="873" y="51"/>
                    <a:pt x="873" y="52"/>
                  </a:cubicBezTo>
                  <a:cubicBezTo>
                    <a:pt x="873" y="52"/>
                    <a:pt x="873" y="51"/>
                    <a:pt x="873" y="51"/>
                  </a:cubicBezTo>
                  <a:close/>
                  <a:moveTo>
                    <a:pt x="753" y="47"/>
                  </a:moveTo>
                  <a:cubicBezTo>
                    <a:pt x="753" y="47"/>
                    <a:pt x="753" y="47"/>
                    <a:pt x="753" y="47"/>
                  </a:cubicBezTo>
                  <a:cubicBezTo>
                    <a:pt x="753" y="47"/>
                    <a:pt x="753" y="47"/>
                    <a:pt x="753" y="47"/>
                  </a:cubicBezTo>
                  <a:close/>
                  <a:moveTo>
                    <a:pt x="875" y="38"/>
                  </a:moveTo>
                  <a:cubicBezTo>
                    <a:pt x="875" y="38"/>
                    <a:pt x="876" y="37"/>
                    <a:pt x="876" y="37"/>
                  </a:cubicBezTo>
                  <a:cubicBezTo>
                    <a:pt x="875" y="37"/>
                    <a:pt x="875" y="37"/>
                    <a:pt x="875" y="38"/>
                  </a:cubicBezTo>
                  <a:close/>
                  <a:moveTo>
                    <a:pt x="1044" y="38"/>
                  </a:moveTo>
                  <a:cubicBezTo>
                    <a:pt x="1044" y="38"/>
                    <a:pt x="1044" y="37"/>
                    <a:pt x="1044" y="37"/>
                  </a:cubicBezTo>
                  <a:cubicBezTo>
                    <a:pt x="1044" y="37"/>
                    <a:pt x="1044" y="37"/>
                    <a:pt x="1044" y="38"/>
                  </a:cubicBezTo>
                  <a:close/>
                  <a:moveTo>
                    <a:pt x="1084" y="47"/>
                  </a:moveTo>
                  <a:cubicBezTo>
                    <a:pt x="1084" y="47"/>
                    <a:pt x="1084" y="47"/>
                    <a:pt x="1085" y="47"/>
                  </a:cubicBezTo>
                  <a:cubicBezTo>
                    <a:pt x="1085" y="47"/>
                    <a:pt x="1085" y="47"/>
                    <a:pt x="1084" y="47"/>
                  </a:cubicBezTo>
                  <a:close/>
                  <a:moveTo>
                    <a:pt x="1221" y="38"/>
                  </a:moveTo>
                  <a:cubicBezTo>
                    <a:pt x="1222" y="38"/>
                    <a:pt x="1222" y="37"/>
                    <a:pt x="1222" y="37"/>
                  </a:cubicBezTo>
                  <a:cubicBezTo>
                    <a:pt x="1222" y="37"/>
                    <a:pt x="1222" y="37"/>
                    <a:pt x="1221" y="38"/>
                  </a:cubicBezTo>
                  <a:close/>
                  <a:moveTo>
                    <a:pt x="643" y="38"/>
                  </a:moveTo>
                  <a:cubicBezTo>
                    <a:pt x="643" y="38"/>
                    <a:pt x="643" y="38"/>
                    <a:pt x="643" y="37"/>
                  </a:cubicBezTo>
                  <a:cubicBezTo>
                    <a:pt x="643" y="38"/>
                    <a:pt x="643" y="38"/>
                    <a:pt x="643" y="38"/>
                  </a:cubicBezTo>
                  <a:close/>
                  <a:moveTo>
                    <a:pt x="1113" y="51"/>
                  </a:moveTo>
                  <a:cubicBezTo>
                    <a:pt x="1113" y="51"/>
                    <a:pt x="1113" y="51"/>
                    <a:pt x="1113" y="52"/>
                  </a:cubicBezTo>
                  <a:cubicBezTo>
                    <a:pt x="1113" y="52"/>
                    <a:pt x="1113" y="51"/>
                    <a:pt x="1113" y="51"/>
                  </a:cubicBezTo>
                  <a:close/>
                  <a:moveTo>
                    <a:pt x="1292" y="51"/>
                  </a:moveTo>
                  <a:cubicBezTo>
                    <a:pt x="1291" y="51"/>
                    <a:pt x="1291" y="51"/>
                    <a:pt x="1291" y="52"/>
                  </a:cubicBezTo>
                  <a:cubicBezTo>
                    <a:pt x="1292" y="52"/>
                    <a:pt x="1292" y="51"/>
                    <a:pt x="1292" y="51"/>
                  </a:cubicBezTo>
                  <a:close/>
                  <a:moveTo>
                    <a:pt x="966" y="37"/>
                  </a:moveTo>
                  <a:cubicBezTo>
                    <a:pt x="966" y="38"/>
                    <a:pt x="966" y="38"/>
                    <a:pt x="966" y="38"/>
                  </a:cubicBezTo>
                  <a:cubicBezTo>
                    <a:pt x="966" y="38"/>
                    <a:pt x="966" y="38"/>
                    <a:pt x="966" y="37"/>
                  </a:cubicBezTo>
                  <a:close/>
                  <a:moveTo>
                    <a:pt x="597" y="48"/>
                  </a:moveTo>
                  <a:cubicBezTo>
                    <a:pt x="597" y="47"/>
                    <a:pt x="597" y="47"/>
                    <a:pt x="597" y="47"/>
                  </a:cubicBezTo>
                  <a:cubicBezTo>
                    <a:pt x="597" y="47"/>
                    <a:pt x="597" y="47"/>
                    <a:pt x="597" y="48"/>
                  </a:cubicBezTo>
                  <a:close/>
                  <a:moveTo>
                    <a:pt x="609" y="47"/>
                  </a:moveTo>
                  <a:cubicBezTo>
                    <a:pt x="609" y="47"/>
                    <a:pt x="609" y="47"/>
                    <a:pt x="609" y="48"/>
                  </a:cubicBezTo>
                  <a:cubicBezTo>
                    <a:pt x="609" y="47"/>
                    <a:pt x="609" y="47"/>
                    <a:pt x="609" y="47"/>
                  </a:cubicBezTo>
                  <a:close/>
                  <a:moveTo>
                    <a:pt x="639" y="48"/>
                  </a:moveTo>
                  <a:cubicBezTo>
                    <a:pt x="640" y="47"/>
                    <a:pt x="640" y="47"/>
                    <a:pt x="640" y="47"/>
                  </a:cubicBezTo>
                  <a:cubicBezTo>
                    <a:pt x="639" y="47"/>
                    <a:pt x="639" y="47"/>
                    <a:pt x="639" y="48"/>
                  </a:cubicBezTo>
                  <a:close/>
                  <a:moveTo>
                    <a:pt x="1255" y="37"/>
                  </a:moveTo>
                  <a:cubicBezTo>
                    <a:pt x="1255" y="38"/>
                    <a:pt x="1255" y="38"/>
                    <a:pt x="1255" y="38"/>
                  </a:cubicBezTo>
                  <a:cubicBezTo>
                    <a:pt x="1255" y="38"/>
                    <a:pt x="1255" y="37"/>
                    <a:pt x="1255" y="37"/>
                  </a:cubicBezTo>
                  <a:close/>
                  <a:moveTo>
                    <a:pt x="651" y="47"/>
                  </a:moveTo>
                  <a:cubicBezTo>
                    <a:pt x="651" y="47"/>
                    <a:pt x="651" y="47"/>
                    <a:pt x="651" y="48"/>
                  </a:cubicBezTo>
                  <a:cubicBezTo>
                    <a:pt x="651" y="47"/>
                    <a:pt x="651" y="47"/>
                    <a:pt x="651" y="47"/>
                  </a:cubicBezTo>
                  <a:close/>
                  <a:moveTo>
                    <a:pt x="594" y="39"/>
                  </a:moveTo>
                  <a:cubicBezTo>
                    <a:pt x="594" y="38"/>
                    <a:pt x="594" y="38"/>
                    <a:pt x="593" y="38"/>
                  </a:cubicBezTo>
                  <a:cubicBezTo>
                    <a:pt x="593" y="38"/>
                    <a:pt x="594" y="38"/>
                    <a:pt x="594" y="39"/>
                  </a:cubicBezTo>
                  <a:close/>
                  <a:moveTo>
                    <a:pt x="795" y="38"/>
                  </a:moveTo>
                  <a:cubicBezTo>
                    <a:pt x="795" y="38"/>
                    <a:pt x="795" y="38"/>
                    <a:pt x="796" y="38"/>
                  </a:cubicBezTo>
                  <a:cubicBezTo>
                    <a:pt x="796" y="38"/>
                    <a:pt x="795" y="38"/>
                    <a:pt x="795" y="38"/>
                  </a:cubicBezTo>
                  <a:close/>
                  <a:moveTo>
                    <a:pt x="671" y="47"/>
                  </a:moveTo>
                  <a:cubicBezTo>
                    <a:pt x="671" y="47"/>
                    <a:pt x="670" y="47"/>
                    <a:pt x="670" y="48"/>
                  </a:cubicBezTo>
                  <a:cubicBezTo>
                    <a:pt x="671" y="47"/>
                    <a:pt x="671" y="47"/>
                    <a:pt x="671" y="47"/>
                  </a:cubicBezTo>
                  <a:close/>
                  <a:moveTo>
                    <a:pt x="802" y="47"/>
                  </a:moveTo>
                  <a:cubicBezTo>
                    <a:pt x="802" y="47"/>
                    <a:pt x="802" y="47"/>
                    <a:pt x="803" y="48"/>
                  </a:cubicBezTo>
                  <a:cubicBezTo>
                    <a:pt x="803" y="47"/>
                    <a:pt x="803" y="47"/>
                    <a:pt x="802" y="47"/>
                  </a:cubicBezTo>
                  <a:close/>
                  <a:moveTo>
                    <a:pt x="1111" y="55"/>
                  </a:moveTo>
                  <a:cubicBezTo>
                    <a:pt x="1111" y="55"/>
                    <a:pt x="1111" y="56"/>
                    <a:pt x="1111" y="56"/>
                  </a:cubicBezTo>
                  <a:cubicBezTo>
                    <a:pt x="1111" y="56"/>
                    <a:pt x="1111" y="55"/>
                    <a:pt x="1111" y="55"/>
                  </a:cubicBezTo>
                  <a:close/>
                  <a:moveTo>
                    <a:pt x="1673" y="54"/>
                  </a:moveTo>
                  <a:cubicBezTo>
                    <a:pt x="1673" y="54"/>
                    <a:pt x="1673" y="55"/>
                    <a:pt x="1673" y="55"/>
                  </a:cubicBezTo>
                  <a:cubicBezTo>
                    <a:pt x="1673" y="55"/>
                    <a:pt x="1673" y="55"/>
                    <a:pt x="1673" y="54"/>
                  </a:cubicBezTo>
                  <a:close/>
                  <a:moveTo>
                    <a:pt x="1140" y="47"/>
                  </a:moveTo>
                  <a:cubicBezTo>
                    <a:pt x="1140" y="47"/>
                    <a:pt x="1140" y="47"/>
                    <a:pt x="1140" y="47"/>
                  </a:cubicBezTo>
                  <a:cubicBezTo>
                    <a:pt x="1140" y="47"/>
                    <a:pt x="1140" y="47"/>
                    <a:pt x="1140" y="47"/>
                  </a:cubicBezTo>
                  <a:close/>
                  <a:moveTo>
                    <a:pt x="551" y="38"/>
                  </a:moveTo>
                  <a:cubicBezTo>
                    <a:pt x="551" y="39"/>
                    <a:pt x="551" y="39"/>
                    <a:pt x="551" y="39"/>
                  </a:cubicBezTo>
                  <a:cubicBezTo>
                    <a:pt x="551" y="39"/>
                    <a:pt x="551" y="38"/>
                    <a:pt x="551" y="38"/>
                  </a:cubicBezTo>
                  <a:close/>
                  <a:moveTo>
                    <a:pt x="654" y="38"/>
                  </a:moveTo>
                  <a:cubicBezTo>
                    <a:pt x="654" y="38"/>
                    <a:pt x="654" y="39"/>
                    <a:pt x="654" y="39"/>
                  </a:cubicBezTo>
                  <a:cubicBezTo>
                    <a:pt x="654" y="39"/>
                    <a:pt x="654" y="38"/>
                    <a:pt x="654" y="38"/>
                  </a:cubicBezTo>
                  <a:close/>
                  <a:moveTo>
                    <a:pt x="569" y="51"/>
                  </a:moveTo>
                  <a:cubicBezTo>
                    <a:pt x="569" y="52"/>
                    <a:pt x="569" y="52"/>
                    <a:pt x="569" y="52"/>
                  </a:cubicBezTo>
                  <a:cubicBezTo>
                    <a:pt x="569" y="51"/>
                    <a:pt x="569" y="51"/>
                    <a:pt x="569" y="51"/>
                  </a:cubicBezTo>
                  <a:close/>
                  <a:moveTo>
                    <a:pt x="599" y="52"/>
                  </a:moveTo>
                  <a:cubicBezTo>
                    <a:pt x="599" y="52"/>
                    <a:pt x="599" y="51"/>
                    <a:pt x="599" y="51"/>
                  </a:cubicBezTo>
                  <a:cubicBezTo>
                    <a:pt x="599" y="52"/>
                    <a:pt x="599" y="52"/>
                    <a:pt x="599" y="52"/>
                  </a:cubicBezTo>
                  <a:close/>
                  <a:moveTo>
                    <a:pt x="649" y="51"/>
                  </a:moveTo>
                  <a:cubicBezTo>
                    <a:pt x="649" y="51"/>
                    <a:pt x="649" y="52"/>
                    <a:pt x="649" y="52"/>
                  </a:cubicBezTo>
                  <a:cubicBezTo>
                    <a:pt x="649" y="52"/>
                    <a:pt x="649" y="52"/>
                    <a:pt x="649" y="51"/>
                  </a:cubicBezTo>
                  <a:close/>
                  <a:moveTo>
                    <a:pt x="1394" y="47"/>
                  </a:moveTo>
                  <a:cubicBezTo>
                    <a:pt x="1394" y="47"/>
                    <a:pt x="1394" y="47"/>
                    <a:pt x="1394" y="48"/>
                  </a:cubicBezTo>
                  <a:cubicBezTo>
                    <a:pt x="1394" y="47"/>
                    <a:pt x="1394" y="47"/>
                    <a:pt x="1394" y="47"/>
                  </a:cubicBezTo>
                  <a:close/>
                  <a:moveTo>
                    <a:pt x="1566" y="48"/>
                  </a:moveTo>
                  <a:cubicBezTo>
                    <a:pt x="1566" y="47"/>
                    <a:pt x="1566" y="47"/>
                    <a:pt x="1566" y="47"/>
                  </a:cubicBezTo>
                  <a:cubicBezTo>
                    <a:pt x="1566" y="47"/>
                    <a:pt x="1566" y="47"/>
                    <a:pt x="1566" y="48"/>
                  </a:cubicBezTo>
                  <a:close/>
                  <a:moveTo>
                    <a:pt x="966" y="38"/>
                  </a:moveTo>
                  <a:cubicBezTo>
                    <a:pt x="965" y="38"/>
                    <a:pt x="965" y="39"/>
                    <a:pt x="965" y="39"/>
                  </a:cubicBezTo>
                  <a:cubicBezTo>
                    <a:pt x="966" y="39"/>
                    <a:pt x="966" y="38"/>
                    <a:pt x="966" y="38"/>
                  </a:cubicBezTo>
                  <a:close/>
                  <a:moveTo>
                    <a:pt x="1042" y="39"/>
                  </a:moveTo>
                  <a:cubicBezTo>
                    <a:pt x="1042" y="39"/>
                    <a:pt x="1043" y="38"/>
                    <a:pt x="1043" y="38"/>
                  </a:cubicBezTo>
                  <a:cubicBezTo>
                    <a:pt x="1043" y="38"/>
                    <a:pt x="1042" y="38"/>
                    <a:pt x="1042" y="39"/>
                  </a:cubicBezTo>
                  <a:close/>
                  <a:moveTo>
                    <a:pt x="1578" y="47"/>
                  </a:moveTo>
                  <a:cubicBezTo>
                    <a:pt x="1578" y="47"/>
                    <a:pt x="1578" y="47"/>
                    <a:pt x="1578" y="48"/>
                  </a:cubicBezTo>
                  <a:cubicBezTo>
                    <a:pt x="1578" y="47"/>
                    <a:pt x="1578" y="47"/>
                    <a:pt x="1578" y="47"/>
                  </a:cubicBezTo>
                  <a:close/>
                  <a:moveTo>
                    <a:pt x="830" y="51"/>
                  </a:moveTo>
                  <a:cubicBezTo>
                    <a:pt x="830" y="51"/>
                    <a:pt x="830" y="52"/>
                    <a:pt x="830" y="52"/>
                  </a:cubicBezTo>
                  <a:cubicBezTo>
                    <a:pt x="830" y="52"/>
                    <a:pt x="831" y="52"/>
                    <a:pt x="830" y="51"/>
                  </a:cubicBezTo>
                  <a:close/>
                  <a:moveTo>
                    <a:pt x="1734" y="48"/>
                  </a:moveTo>
                  <a:cubicBezTo>
                    <a:pt x="1734" y="47"/>
                    <a:pt x="1734" y="47"/>
                    <a:pt x="1734" y="47"/>
                  </a:cubicBezTo>
                  <a:cubicBezTo>
                    <a:pt x="1734" y="47"/>
                    <a:pt x="1734" y="47"/>
                    <a:pt x="1734" y="48"/>
                  </a:cubicBezTo>
                  <a:close/>
                  <a:moveTo>
                    <a:pt x="1746" y="47"/>
                  </a:moveTo>
                  <a:cubicBezTo>
                    <a:pt x="1746" y="47"/>
                    <a:pt x="1746" y="47"/>
                    <a:pt x="1746" y="48"/>
                  </a:cubicBezTo>
                  <a:cubicBezTo>
                    <a:pt x="1746" y="47"/>
                    <a:pt x="1746" y="47"/>
                    <a:pt x="1746" y="47"/>
                  </a:cubicBezTo>
                  <a:close/>
                  <a:moveTo>
                    <a:pt x="643" y="39"/>
                  </a:moveTo>
                  <a:cubicBezTo>
                    <a:pt x="643" y="39"/>
                    <a:pt x="643" y="39"/>
                    <a:pt x="643" y="39"/>
                  </a:cubicBezTo>
                  <a:cubicBezTo>
                    <a:pt x="643" y="39"/>
                    <a:pt x="643" y="39"/>
                    <a:pt x="643" y="39"/>
                  </a:cubicBezTo>
                  <a:close/>
                  <a:moveTo>
                    <a:pt x="561" y="47"/>
                  </a:moveTo>
                  <a:cubicBezTo>
                    <a:pt x="562" y="47"/>
                    <a:pt x="562" y="48"/>
                    <a:pt x="562" y="48"/>
                  </a:cubicBezTo>
                  <a:cubicBezTo>
                    <a:pt x="562" y="47"/>
                    <a:pt x="562" y="47"/>
                    <a:pt x="561" y="47"/>
                  </a:cubicBezTo>
                  <a:close/>
                  <a:moveTo>
                    <a:pt x="1680" y="48"/>
                  </a:moveTo>
                  <a:cubicBezTo>
                    <a:pt x="1679" y="48"/>
                    <a:pt x="1679" y="49"/>
                    <a:pt x="1679" y="49"/>
                  </a:cubicBezTo>
                  <a:cubicBezTo>
                    <a:pt x="1679" y="49"/>
                    <a:pt x="1679" y="49"/>
                    <a:pt x="1680" y="48"/>
                  </a:cubicBezTo>
                  <a:close/>
                  <a:moveTo>
                    <a:pt x="872" y="54"/>
                  </a:moveTo>
                  <a:cubicBezTo>
                    <a:pt x="872" y="54"/>
                    <a:pt x="872" y="55"/>
                    <a:pt x="872" y="55"/>
                  </a:cubicBezTo>
                  <a:cubicBezTo>
                    <a:pt x="872" y="55"/>
                    <a:pt x="872" y="54"/>
                    <a:pt x="872" y="54"/>
                  </a:cubicBezTo>
                  <a:close/>
                  <a:moveTo>
                    <a:pt x="1211" y="49"/>
                  </a:moveTo>
                  <a:cubicBezTo>
                    <a:pt x="1212" y="49"/>
                    <a:pt x="1212" y="49"/>
                    <a:pt x="1212" y="49"/>
                  </a:cubicBezTo>
                  <a:cubicBezTo>
                    <a:pt x="1211" y="49"/>
                    <a:pt x="1211" y="49"/>
                    <a:pt x="1211" y="49"/>
                  </a:cubicBezTo>
                  <a:close/>
                  <a:moveTo>
                    <a:pt x="681" y="63"/>
                  </a:moveTo>
                  <a:cubicBezTo>
                    <a:pt x="682" y="64"/>
                    <a:pt x="682" y="64"/>
                    <a:pt x="682" y="64"/>
                  </a:cubicBezTo>
                  <a:cubicBezTo>
                    <a:pt x="682" y="63"/>
                    <a:pt x="682" y="63"/>
                    <a:pt x="681" y="63"/>
                  </a:cubicBezTo>
                  <a:close/>
                  <a:moveTo>
                    <a:pt x="1379" y="63"/>
                  </a:moveTo>
                  <a:cubicBezTo>
                    <a:pt x="1379" y="63"/>
                    <a:pt x="1379" y="63"/>
                    <a:pt x="1378" y="64"/>
                  </a:cubicBezTo>
                  <a:cubicBezTo>
                    <a:pt x="1379" y="64"/>
                    <a:pt x="1379" y="63"/>
                    <a:pt x="1379" y="63"/>
                  </a:cubicBezTo>
                  <a:close/>
                  <a:moveTo>
                    <a:pt x="610" y="49"/>
                  </a:moveTo>
                  <a:cubicBezTo>
                    <a:pt x="609" y="49"/>
                    <a:pt x="610" y="50"/>
                    <a:pt x="610" y="50"/>
                  </a:cubicBezTo>
                  <a:cubicBezTo>
                    <a:pt x="610" y="49"/>
                    <a:pt x="610" y="49"/>
                    <a:pt x="610" y="49"/>
                  </a:cubicBezTo>
                  <a:close/>
                  <a:moveTo>
                    <a:pt x="644" y="64"/>
                  </a:moveTo>
                  <a:cubicBezTo>
                    <a:pt x="644" y="64"/>
                    <a:pt x="644" y="64"/>
                    <a:pt x="644" y="64"/>
                  </a:cubicBezTo>
                  <a:cubicBezTo>
                    <a:pt x="644" y="64"/>
                    <a:pt x="644" y="64"/>
                    <a:pt x="644" y="64"/>
                  </a:cubicBezTo>
                  <a:close/>
                  <a:moveTo>
                    <a:pt x="682" y="64"/>
                  </a:moveTo>
                  <a:cubicBezTo>
                    <a:pt x="682" y="64"/>
                    <a:pt x="683" y="64"/>
                    <a:pt x="683" y="64"/>
                  </a:cubicBezTo>
                  <a:cubicBezTo>
                    <a:pt x="683" y="64"/>
                    <a:pt x="683" y="64"/>
                    <a:pt x="682" y="64"/>
                  </a:cubicBezTo>
                  <a:close/>
                  <a:moveTo>
                    <a:pt x="1563" y="63"/>
                  </a:moveTo>
                  <a:cubicBezTo>
                    <a:pt x="1563" y="64"/>
                    <a:pt x="1562" y="64"/>
                    <a:pt x="1562" y="64"/>
                  </a:cubicBezTo>
                  <a:cubicBezTo>
                    <a:pt x="1563" y="64"/>
                    <a:pt x="1563" y="64"/>
                    <a:pt x="1563" y="63"/>
                  </a:cubicBezTo>
                  <a:close/>
                  <a:moveTo>
                    <a:pt x="1655" y="64"/>
                  </a:moveTo>
                  <a:cubicBezTo>
                    <a:pt x="1655" y="64"/>
                    <a:pt x="1655" y="64"/>
                    <a:pt x="1655" y="64"/>
                  </a:cubicBezTo>
                  <a:cubicBezTo>
                    <a:pt x="1655" y="64"/>
                    <a:pt x="1655" y="64"/>
                    <a:pt x="1655" y="64"/>
                  </a:cubicBezTo>
                  <a:close/>
                  <a:moveTo>
                    <a:pt x="1731" y="63"/>
                  </a:moveTo>
                  <a:cubicBezTo>
                    <a:pt x="1731" y="64"/>
                    <a:pt x="1730" y="64"/>
                    <a:pt x="1730" y="64"/>
                  </a:cubicBezTo>
                  <a:cubicBezTo>
                    <a:pt x="1731" y="64"/>
                    <a:pt x="1731" y="64"/>
                    <a:pt x="1731" y="63"/>
                  </a:cubicBezTo>
                  <a:close/>
                  <a:moveTo>
                    <a:pt x="1669" y="57"/>
                  </a:moveTo>
                  <a:cubicBezTo>
                    <a:pt x="1669" y="57"/>
                    <a:pt x="1669" y="57"/>
                    <a:pt x="1669" y="57"/>
                  </a:cubicBezTo>
                  <a:cubicBezTo>
                    <a:pt x="1669" y="57"/>
                    <a:pt x="1669" y="57"/>
                    <a:pt x="1669" y="57"/>
                  </a:cubicBezTo>
                  <a:close/>
                  <a:moveTo>
                    <a:pt x="615" y="64"/>
                  </a:moveTo>
                  <a:cubicBezTo>
                    <a:pt x="615" y="64"/>
                    <a:pt x="615" y="64"/>
                    <a:pt x="615" y="65"/>
                  </a:cubicBezTo>
                  <a:cubicBezTo>
                    <a:pt x="615" y="64"/>
                    <a:pt x="615" y="64"/>
                    <a:pt x="615" y="64"/>
                  </a:cubicBezTo>
                  <a:close/>
                  <a:moveTo>
                    <a:pt x="633" y="65"/>
                  </a:moveTo>
                  <a:cubicBezTo>
                    <a:pt x="633" y="65"/>
                    <a:pt x="634" y="64"/>
                    <a:pt x="634" y="64"/>
                  </a:cubicBezTo>
                  <a:cubicBezTo>
                    <a:pt x="633" y="64"/>
                    <a:pt x="633" y="64"/>
                    <a:pt x="633" y="65"/>
                  </a:cubicBezTo>
                  <a:close/>
                  <a:moveTo>
                    <a:pt x="683" y="64"/>
                  </a:moveTo>
                  <a:cubicBezTo>
                    <a:pt x="683" y="64"/>
                    <a:pt x="684" y="64"/>
                    <a:pt x="684" y="64"/>
                  </a:cubicBezTo>
                  <a:cubicBezTo>
                    <a:pt x="684" y="64"/>
                    <a:pt x="683" y="64"/>
                    <a:pt x="683" y="64"/>
                  </a:cubicBezTo>
                  <a:close/>
                  <a:moveTo>
                    <a:pt x="1670" y="64"/>
                  </a:moveTo>
                  <a:cubicBezTo>
                    <a:pt x="1670" y="64"/>
                    <a:pt x="1670" y="65"/>
                    <a:pt x="1670" y="65"/>
                  </a:cubicBezTo>
                  <a:cubicBezTo>
                    <a:pt x="1670" y="64"/>
                    <a:pt x="1670" y="64"/>
                    <a:pt x="1670" y="64"/>
                  </a:cubicBezTo>
                  <a:close/>
                  <a:moveTo>
                    <a:pt x="684" y="64"/>
                  </a:moveTo>
                  <a:cubicBezTo>
                    <a:pt x="684" y="65"/>
                    <a:pt x="684" y="65"/>
                    <a:pt x="685" y="65"/>
                  </a:cubicBezTo>
                  <a:cubicBezTo>
                    <a:pt x="685" y="64"/>
                    <a:pt x="684" y="64"/>
                    <a:pt x="684" y="64"/>
                  </a:cubicBezTo>
                  <a:close/>
                  <a:moveTo>
                    <a:pt x="612" y="57"/>
                  </a:moveTo>
                  <a:cubicBezTo>
                    <a:pt x="612" y="57"/>
                    <a:pt x="612" y="58"/>
                    <a:pt x="613" y="58"/>
                  </a:cubicBezTo>
                  <a:cubicBezTo>
                    <a:pt x="613" y="57"/>
                    <a:pt x="613" y="57"/>
                    <a:pt x="612" y="57"/>
                  </a:cubicBezTo>
                  <a:close/>
                  <a:moveTo>
                    <a:pt x="1362" y="65"/>
                  </a:moveTo>
                  <a:cubicBezTo>
                    <a:pt x="1362" y="65"/>
                    <a:pt x="1362" y="65"/>
                    <a:pt x="1362" y="64"/>
                  </a:cubicBezTo>
                  <a:cubicBezTo>
                    <a:pt x="1362" y="64"/>
                    <a:pt x="1362" y="64"/>
                    <a:pt x="1362" y="65"/>
                  </a:cubicBezTo>
                  <a:close/>
                  <a:moveTo>
                    <a:pt x="1378" y="64"/>
                  </a:moveTo>
                  <a:cubicBezTo>
                    <a:pt x="1377" y="64"/>
                    <a:pt x="1377" y="64"/>
                    <a:pt x="1377" y="65"/>
                  </a:cubicBezTo>
                  <a:cubicBezTo>
                    <a:pt x="1377" y="65"/>
                    <a:pt x="1378" y="65"/>
                    <a:pt x="1378" y="64"/>
                  </a:cubicBezTo>
                  <a:close/>
                  <a:moveTo>
                    <a:pt x="604" y="65"/>
                  </a:moveTo>
                  <a:cubicBezTo>
                    <a:pt x="604" y="65"/>
                    <a:pt x="604" y="65"/>
                    <a:pt x="604" y="65"/>
                  </a:cubicBezTo>
                  <a:cubicBezTo>
                    <a:pt x="604" y="65"/>
                    <a:pt x="604" y="65"/>
                    <a:pt x="604" y="65"/>
                  </a:cubicBezTo>
                  <a:close/>
                  <a:moveTo>
                    <a:pt x="685" y="65"/>
                  </a:moveTo>
                  <a:cubicBezTo>
                    <a:pt x="685" y="65"/>
                    <a:pt x="685" y="65"/>
                    <a:pt x="685" y="65"/>
                  </a:cubicBezTo>
                  <a:cubicBezTo>
                    <a:pt x="685" y="65"/>
                    <a:pt x="685" y="65"/>
                    <a:pt x="685" y="65"/>
                  </a:cubicBezTo>
                  <a:close/>
                  <a:moveTo>
                    <a:pt x="1546" y="65"/>
                  </a:moveTo>
                  <a:cubicBezTo>
                    <a:pt x="1546" y="65"/>
                    <a:pt x="1546" y="65"/>
                    <a:pt x="1546" y="65"/>
                  </a:cubicBezTo>
                  <a:cubicBezTo>
                    <a:pt x="1546" y="65"/>
                    <a:pt x="1546" y="65"/>
                    <a:pt x="1546" y="65"/>
                  </a:cubicBezTo>
                  <a:close/>
                  <a:moveTo>
                    <a:pt x="1561" y="65"/>
                  </a:moveTo>
                  <a:cubicBezTo>
                    <a:pt x="1561" y="65"/>
                    <a:pt x="1561" y="65"/>
                    <a:pt x="1561" y="65"/>
                  </a:cubicBezTo>
                  <a:cubicBezTo>
                    <a:pt x="1561" y="65"/>
                    <a:pt x="1561" y="65"/>
                    <a:pt x="1561" y="65"/>
                  </a:cubicBezTo>
                  <a:close/>
                  <a:moveTo>
                    <a:pt x="1714" y="65"/>
                  </a:moveTo>
                  <a:cubicBezTo>
                    <a:pt x="1714" y="65"/>
                    <a:pt x="1714" y="65"/>
                    <a:pt x="1714" y="65"/>
                  </a:cubicBezTo>
                  <a:cubicBezTo>
                    <a:pt x="1714" y="65"/>
                    <a:pt x="1714" y="65"/>
                    <a:pt x="1714" y="65"/>
                  </a:cubicBezTo>
                  <a:close/>
                  <a:moveTo>
                    <a:pt x="1730" y="65"/>
                  </a:moveTo>
                  <a:cubicBezTo>
                    <a:pt x="1729" y="65"/>
                    <a:pt x="1729" y="65"/>
                    <a:pt x="1729" y="65"/>
                  </a:cubicBezTo>
                  <a:cubicBezTo>
                    <a:pt x="1729" y="65"/>
                    <a:pt x="1730" y="65"/>
                    <a:pt x="1730" y="65"/>
                  </a:cubicBezTo>
                  <a:close/>
                  <a:moveTo>
                    <a:pt x="633" y="66"/>
                  </a:moveTo>
                  <a:cubicBezTo>
                    <a:pt x="633" y="66"/>
                    <a:pt x="633" y="65"/>
                    <a:pt x="633" y="65"/>
                  </a:cubicBezTo>
                  <a:cubicBezTo>
                    <a:pt x="633" y="65"/>
                    <a:pt x="633" y="65"/>
                    <a:pt x="633" y="66"/>
                  </a:cubicBezTo>
                  <a:close/>
                  <a:moveTo>
                    <a:pt x="685" y="65"/>
                  </a:moveTo>
                  <a:cubicBezTo>
                    <a:pt x="685" y="65"/>
                    <a:pt x="686" y="65"/>
                    <a:pt x="686" y="65"/>
                  </a:cubicBezTo>
                  <a:cubicBezTo>
                    <a:pt x="686" y="65"/>
                    <a:pt x="686" y="65"/>
                    <a:pt x="685" y="65"/>
                  </a:cubicBezTo>
                  <a:close/>
                  <a:moveTo>
                    <a:pt x="1683" y="40"/>
                  </a:moveTo>
                  <a:cubicBezTo>
                    <a:pt x="1683" y="41"/>
                    <a:pt x="1683" y="41"/>
                    <a:pt x="1683" y="41"/>
                  </a:cubicBezTo>
                  <a:cubicBezTo>
                    <a:pt x="1683" y="41"/>
                    <a:pt x="1683" y="41"/>
                    <a:pt x="1683" y="40"/>
                  </a:cubicBezTo>
                  <a:close/>
                  <a:moveTo>
                    <a:pt x="1670" y="65"/>
                  </a:moveTo>
                  <a:cubicBezTo>
                    <a:pt x="1670" y="65"/>
                    <a:pt x="1671" y="66"/>
                    <a:pt x="1671" y="66"/>
                  </a:cubicBezTo>
                  <a:cubicBezTo>
                    <a:pt x="1671" y="65"/>
                    <a:pt x="1671" y="65"/>
                    <a:pt x="1670" y="65"/>
                  </a:cubicBezTo>
                  <a:close/>
                  <a:moveTo>
                    <a:pt x="586" y="65"/>
                  </a:moveTo>
                  <a:cubicBezTo>
                    <a:pt x="586" y="66"/>
                    <a:pt x="586" y="66"/>
                    <a:pt x="586" y="66"/>
                  </a:cubicBezTo>
                  <a:cubicBezTo>
                    <a:pt x="586" y="66"/>
                    <a:pt x="586" y="65"/>
                    <a:pt x="586" y="65"/>
                  </a:cubicBezTo>
                  <a:close/>
                  <a:moveTo>
                    <a:pt x="644" y="65"/>
                  </a:moveTo>
                  <a:cubicBezTo>
                    <a:pt x="643" y="65"/>
                    <a:pt x="643" y="66"/>
                    <a:pt x="643" y="66"/>
                  </a:cubicBezTo>
                  <a:cubicBezTo>
                    <a:pt x="644" y="66"/>
                    <a:pt x="644" y="66"/>
                    <a:pt x="644" y="65"/>
                  </a:cubicBezTo>
                  <a:close/>
                  <a:moveTo>
                    <a:pt x="686" y="65"/>
                  </a:moveTo>
                  <a:cubicBezTo>
                    <a:pt x="686" y="66"/>
                    <a:pt x="686" y="66"/>
                    <a:pt x="687" y="66"/>
                  </a:cubicBezTo>
                  <a:cubicBezTo>
                    <a:pt x="687" y="65"/>
                    <a:pt x="686" y="65"/>
                    <a:pt x="686" y="65"/>
                  </a:cubicBezTo>
                  <a:close/>
                  <a:moveTo>
                    <a:pt x="1376" y="65"/>
                  </a:moveTo>
                  <a:cubicBezTo>
                    <a:pt x="1376" y="65"/>
                    <a:pt x="1376" y="65"/>
                    <a:pt x="1376" y="66"/>
                  </a:cubicBezTo>
                  <a:cubicBezTo>
                    <a:pt x="1376" y="66"/>
                    <a:pt x="1376" y="66"/>
                    <a:pt x="1376" y="65"/>
                  </a:cubicBezTo>
                  <a:close/>
                  <a:moveTo>
                    <a:pt x="687" y="66"/>
                  </a:moveTo>
                  <a:cubicBezTo>
                    <a:pt x="687" y="66"/>
                    <a:pt x="687" y="66"/>
                    <a:pt x="687" y="66"/>
                  </a:cubicBezTo>
                  <a:cubicBezTo>
                    <a:pt x="687" y="66"/>
                    <a:pt x="687" y="66"/>
                    <a:pt x="687" y="66"/>
                  </a:cubicBezTo>
                  <a:close/>
                  <a:moveTo>
                    <a:pt x="1560" y="66"/>
                  </a:moveTo>
                  <a:cubicBezTo>
                    <a:pt x="1560" y="66"/>
                    <a:pt x="1560" y="66"/>
                    <a:pt x="1559" y="66"/>
                  </a:cubicBezTo>
                  <a:cubicBezTo>
                    <a:pt x="1560" y="66"/>
                    <a:pt x="1560" y="66"/>
                    <a:pt x="1560" y="66"/>
                  </a:cubicBezTo>
                  <a:close/>
                  <a:moveTo>
                    <a:pt x="1671" y="66"/>
                  </a:moveTo>
                  <a:cubicBezTo>
                    <a:pt x="1671" y="66"/>
                    <a:pt x="1671" y="66"/>
                    <a:pt x="1671" y="66"/>
                  </a:cubicBezTo>
                  <a:cubicBezTo>
                    <a:pt x="1671" y="66"/>
                    <a:pt x="1671" y="66"/>
                    <a:pt x="1671" y="66"/>
                  </a:cubicBezTo>
                  <a:close/>
                  <a:moveTo>
                    <a:pt x="586" y="66"/>
                  </a:moveTo>
                  <a:cubicBezTo>
                    <a:pt x="586" y="66"/>
                    <a:pt x="586" y="67"/>
                    <a:pt x="587" y="67"/>
                  </a:cubicBezTo>
                  <a:cubicBezTo>
                    <a:pt x="587" y="66"/>
                    <a:pt x="586" y="66"/>
                    <a:pt x="586" y="66"/>
                  </a:cubicBezTo>
                  <a:close/>
                  <a:moveTo>
                    <a:pt x="687" y="66"/>
                  </a:moveTo>
                  <a:cubicBezTo>
                    <a:pt x="688" y="66"/>
                    <a:pt x="688" y="66"/>
                    <a:pt x="688" y="66"/>
                  </a:cubicBezTo>
                  <a:cubicBezTo>
                    <a:pt x="688" y="66"/>
                    <a:pt x="688" y="66"/>
                    <a:pt x="687" y="66"/>
                  </a:cubicBezTo>
                  <a:close/>
                  <a:moveTo>
                    <a:pt x="1375" y="66"/>
                  </a:moveTo>
                  <a:cubicBezTo>
                    <a:pt x="1375" y="66"/>
                    <a:pt x="1375" y="66"/>
                    <a:pt x="1375" y="66"/>
                  </a:cubicBezTo>
                  <a:cubicBezTo>
                    <a:pt x="1375" y="66"/>
                    <a:pt x="1375" y="66"/>
                    <a:pt x="1375" y="66"/>
                  </a:cubicBezTo>
                  <a:close/>
                  <a:moveTo>
                    <a:pt x="1544" y="66"/>
                  </a:moveTo>
                  <a:cubicBezTo>
                    <a:pt x="1544" y="66"/>
                    <a:pt x="1544" y="66"/>
                    <a:pt x="1544" y="66"/>
                  </a:cubicBezTo>
                  <a:cubicBezTo>
                    <a:pt x="1544" y="66"/>
                    <a:pt x="1544" y="66"/>
                    <a:pt x="1544" y="66"/>
                  </a:cubicBezTo>
                  <a:close/>
                  <a:moveTo>
                    <a:pt x="605" y="67"/>
                  </a:moveTo>
                  <a:cubicBezTo>
                    <a:pt x="605" y="67"/>
                    <a:pt x="605" y="66"/>
                    <a:pt x="605" y="66"/>
                  </a:cubicBezTo>
                  <a:cubicBezTo>
                    <a:pt x="605" y="67"/>
                    <a:pt x="605" y="67"/>
                    <a:pt x="605" y="67"/>
                  </a:cubicBezTo>
                  <a:close/>
                  <a:moveTo>
                    <a:pt x="665" y="67"/>
                  </a:moveTo>
                  <a:cubicBezTo>
                    <a:pt x="665" y="66"/>
                    <a:pt x="665" y="66"/>
                    <a:pt x="665" y="66"/>
                  </a:cubicBezTo>
                  <a:cubicBezTo>
                    <a:pt x="665" y="67"/>
                    <a:pt x="665" y="67"/>
                    <a:pt x="665" y="67"/>
                  </a:cubicBezTo>
                  <a:close/>
                  <a:moveTo>
                    <a:pt x="688" y="66"/>
                  </a:moveTo>
                  <a:cubicBezTo>
                    <a:pt x="688" y="67"/>
                    <a:pt x="689" y="67"/>
                    <a:pt x="689" y="67"/>
                  </a:cubicBezTo>
                  <a:cubicBezTo>
                    <a:pt x="689" y="66"/>
                    <a:pt x="688" y="66"/>
                    <a:pt x="688" y="66"/>
                  </a:cubicBezTo>
                  <a:close/>
                  <a:moveTo>
                    <a:pt x="1578" y="48"/>
                  </a:moveTo>
                  <a:cubicBezTo>
                    <a:pt x="1577" y="48"/>
                    <a:pt x="1577" y="49"/>
                    <a:pt x="1577" y="49"/>
                  </a:cubicBezTo>
                  <a:cubicBezTo>
                    <a:pt x="1577" y="49"/>
                    <a:pt x="1578" y="49"/>
                    <a:pt x="1578" y="48"/>
                  </a:cubicBezTo>
                  <a:close/>
                  <a:moveTo>
                    <a:pt x="1559" y="66"/>
                  </a:moveTo>
                  <a:cubicBezTo>
                    <a:pt x="1559" y="66"/>
                    <a:pt x="1559" y="66"/>
                    <a:pt x="1558" y="67"/>
                  </a:cubicBezTo>
                  <a:cubicBezTo>
                    <a:pt x="1559" y="67"/>
                    <a:pt x="1559" y="67"/>
                    <a:pt x="1559" y="66"/>
                  </a:cubicBezTo>
                  <a:close/>
                  <a:moveTo>
                    <a:pt x="1727" y="66"/>
                  </a:moveTo>
                  <a:cubicBezTo>
                    <a:pt x="1727" y="66"/>
                    <a:pt x="1727" y="66"/>
                    <a:pt x="1727" y="67"/>
                  </a:cubicBezTo>
                  <a:cubicBezTo>
                    <a:pt x="1727" y="67"/>
                    <a:pt x="1727" y="67"/>
                    <a:pt x="1727" y="66"/>
                  </a:cubicBezTo>
                  <a:close/>
                  <a:moveTo>
                    <a:pt x="636" y="58"/>
                  </a:moveTo>
                  <a:cubicBezTo>
                    <a:pt x="636" y="58"/>
                    <a:pt x="636" y="58"/>
                    <a:pt x="636" y="57"/>
                  </a:cubicBezTo>
                  <a:cubicBezTo>
                    <a:pt x="636" y="58"/>
                    <a:pt x="636" y="58"/>
                    <a:pt x="636" y="58"/>
                  </a:cubicBezTo>
                  <a:close/>
                  <a:moveTo>
                    <a:pt x="1671" y="67"/>
                  </a:moveTo>
                  <a:cubicBezTo>
                    <a:pt x="1671" y="67"/>
                    <a:pt x="1672" y="67"/>
                    <a:pt x="1672" y="67"/>
                  </a:cubicBezTo>
                  <a:cubicBezTo>
                    <a:pt x="1672" y="67"/>
                    <a:pt x="1672" y="67"/>
                    <a:pt x="1671" y="67"/>
                  </a:cubicBezTo>
                  <a:close/>
                  <a:moveTo>
                    <a:pt x="643" y="67"/>
                  </a:moveTo>
                  <a:cubicBezTo>
                    <a:pt x="643" y="67"/>
                    <a:pt x="643" y="67"/>
                    <a:pt x="643" y="68"/>
                  </a:cubicBezTo>
                  <a:cubicBezTo>
                    <a:pt x="643" y="68"/>
                    <a:pt x="643" y="67"/>
                    <a:pt x="643" y="67"/>
                  </a:cubicBezTo>
                  <a:close/>
                  <a:moveTo>
                    <a:pt x="689" y="67"/>
                  </a:moveTo>
                  <a:cubicBezTo>
                    <a:pt x="689" y="67"/>
                    <a:pt x="690" y="67"/>
                    <a:pt x="690" y="67"/>
                  </a:cubicBezTo>
                  <a:cubicBezTo>
                    <a:pt x="690" y="67"/>
                    <a:pt x="690" y="67"/>
                    <a:pt x="689" y="67"/>
                  </a:cubicBezTo>
                  <a:close/>
                  <a:moveTo>
                    <a:pt x="1374" y="67"/>
                  </a:moveTo>
                  <a:cubicBezTo>
                    <a:pt x="1374" y="67"/>
                    <a:pt x="1373" y="67"/>
                    <a:pt x="1373" y="67"/>
                  </a:cubicBezTo>
                  <a:cubicBezTo>
                    <a:pt x="1374" y="67"/>
                    <a:pt x="1374" y="67"/>
                    <a:pt x="1374" y="67"/>
                  </a:cubicBezTo>
                  <a:close/>
                  <a:moveTo>
                    <a:pt x="605" y="68"/>
                  </a:moveTo>
                  <a:cubicBezTo>
                    <a:pt x="605" y="68"/>
                    <a:pt x="605" y="67"/>
                    <a:pt x="605" y="67"/>
                  </a:cubicBezTo>
                  <a:cubicBezTo>
                    <a:pt x="605" y="68"/>
                    <a:pt x="605" y="68"/>
                    <a:pt x="605" y="68"/>
                  </a:cubicBezTo>
                  <a:close/>
                  <a:moveTo>
                    <a:pt x="667" y="68"/>
                  </a:moveTo>
                  <a:cubicBezTo>
                    <a:pt x="666" y="67"/>
                    <a:pt x="666" y="67"/>
                    <a:pt x="666" y="67"/>
                  </a:cubicBezTo>
                  <a:cubicBezTo>
                    <a:pt x="666" y="68"/>
                    <a:pt x="666" y="68"/>
                    <a:pt x="667" y="68"/>
                  </a:cubicBezTo>
                  <a:close/>
                  <a:moveTo>
                    <a:pt x="690" y="67"/>
                  </a:moveTo>
                  <a:cubicBezTo>
                    <a:pt x="690" y="68"/>
                    <a:pt x="690" y="68"/>
                    <a:pt x="691" y="68"/>
                  </a:cubicBezTo>
                  <a:cubicBezTo>
                    <a:pt x="690" y="67"/>
                    <a:pt x="690" y="67"/>
                    <a:pt x="690" y="67"/>
                  </a:cubicBezTo>
                  <a:close/>
                  <a:moveTo>
                    <a:pt x="647" y="57"/>
                  </a:moveTo>
                  <a:cubicBezTo>
                    <a:pt x="646" y="57"/>
                    <a:pt x="646" y="58"/>
                    <a:pt x="646" y="58"/>
                  </a:cubicBezTo>
                  <a:cubicBezTo>
                    <a:pt x="647" y="58"/>
                    <a:pt x="647" y="58"/>
                    <a:pt x="647" y="57"/>
                  </a:cubicBezTo>
                  <a:close/>
                  <a:moveTo>
                    <a:pt x="1558" y="67"/>
                  </a:moveTo>
                  <a:cubicBezTo>
                    <a:pt x="1557" y="67"/>
                    <a:pt x="1557" y="67"/>
                    <a:pt x="1557" y="68"/>
                  </a:cubicBezTo>
                  <a:cubicBezTo>
                    <a:pt x="1557" y="68"/>
                    <a:pt x="1558" y="68"/>
                    <a:pt x="1558" y="67"/>
                  </a:cubicBezTo>
                  <a:close/>
                  <a:moveTo>
                    <a:pt x="1672" y="67"/>
                  </a:moveTo>
                  <a:cubicBezTo>
                    <a:pt x="1672" y="68"/>
                    <a:pt x="1672" y="68"/>
                    <a:pt x="1672" y="68"/>
                  </a:cubicBezTo>
                  <a:cubicBezTo>
                    <a:pt x="1672" y="68"/>
                    <a:pt x="1672" y="68"/>
                    <a:pt x="1672" y="67"/>
                  </a:cubicBezTo>
                  <a:close/>
                  <a:moveTo>
                    <a:pt x="1710" y="68"/>
                  </a:moveTo>
                  <a:cubicBezTo>
                    <a:pt x="1711" y="68"/>
                    <a:pt x="1711" y="68"/>
                    <a:pt x="1711" y="67"/>
                  </a:cubicBezTo>
                  <a:cubicBezTo>
                    <a:pt x="1711" y="67"/>
                    <a:pt x="1710" y="68"/>
                    <a:pt x="1710" y="68"/>
                  </a:cubicBezTo>
                  <a:close/>
                  <a:moveTo>
                    <a:pt x="1726" y="67"/>
                  </a:moveTo>
                  <a:cubicBezTo>
                    <a:pt x="1725" y="67"/>
                    <a:pt x="1725" y="67"/>
                    <a:pt x="1725" y="68"/>
                  </a:cubicBezTo>
                  <a:cubicBezTo>
                    <a:pt x="1725" y="68"/>
                    <a:pt x="1726" y="68"/>
                    <a:pt x="1726" y="67"/>
                  </a:cubicBezTo>
                  <a:close/>
                  <a:moveTo>
                    <a:pt x="616" y="68"/>
                  </a:moveTo>
                  <a:cubicBezTo>
                    <a:pt x="616" y="68"/>
                    <a:pt x="616" y="68"/>
                    <a:pt x="616" y="69"/>
                  </a:cubicBezTo>
                  <a:cubicBezTo>
                    <a:pt x="616" y="68"/>
                    <a:pt x="616" y="68"/>
                    <a:pt x="616" y="68"/>
                  </a:cubicBezTo>
                  <a:close/>
                  <a:moveTo>
                    <a:pt x="632" y="69"/>
                  </a:moveTo>
                  <a:cubicBezTo>
                    <a:pt x="632" y="68"/>
                    <a:pt x="632" y="68"/>
                    <a:pt x="632" y="68"/>
                  </a:cubicBezTo>
                  <a:cubicBezTo>
                    <a:pt x="632" y="68"/>
                    <a:pt x="632" y="68"/>
                    <a:pt x="632" y="69"/>
                  </a:cubicBezTo>
                  <a:close/>
                  <a:moveTo>
                    <a:pt x="1555" y="58"/>
                  </a:moveTo>
                  <a:cubicBezTo>
                    <a:pt x="1556" y="58"/>
                    <a:pt x="1556" y="58"/>
                    <a:pt x="1556" y="57"/>
                  </a:cubicBezTo>
                  <a:cubicBezTo>
                    <a:pt x="1556" y="57"/>
                    <a:pt x="1555" y="57"/>
                    <a:pt x="1555" y="58"/>
                  </a:cubicBezTo>
                  <a:close/>
                  <a:moveTo>
                    <a:pt x="587" y="68"/>
                  </a:moveTo>
                  <a:cubicBezTo>
                    <a:pt x="587" y="68"/>
                    <a:pt x="587" y="69"/>
                    <a:pt x="588" y="69"/>
                  </a:cubicBezTo>
                  <a:cubicBezTo>
                    <a:pt x="588" y="69"/>
                    <a:pt x="587" y="68"/>
                    <a:pt x="587" y="68"/>
                  </a:cubicBezTo>
                  <a:close/>
                  <a:moveTo>
                    <a:pt x="606" y="69"/>
                  </a:moveTo>
                  <a:cubicBezTo>
                    <a:pt x="606" y="68"/>
                    <a:pt x="606" y="68"/>
                    <a:pt x="605" y="68"/>
                  </a:cubicBezTo>
                  <a:cubicBezTo>
                    <a:pt x="605" y="68"/>
                    <a:pt x="605" y="69"/>
                    <a:pt x="606" y="69"/>
                  </a:cubicBezTo>
                  <a:close/>
                  <a:moveTo>
                    <a:pt x="668" y="68"/>
                  </a:moveTo>
                  <a:cubicBezTo>
                    <a:pt x="668" y="68"/>
                    <a:pt x="667" y="68"/>
                    <a:pt x="667" y="68"/>
                  </a:cubicBezTo>
                  <a:cubicBezTo>
                    <a:pt x="667" y="68"/>
                    <a:pt x="667" y="68"/>
                    <a:pt x="668" y="68"/>
                  </a:cubicBezTo>
                  <a:close/>
                  <a:moveTo>
                    <a:pt x="691" y="68"/>
                  </a:moveTo>
                  <a:cubicBezTo>
                    <a:pt x="691" y="68"/>
                    <a:pt x="691" y="68"/>
                    <a:pt x="692" y="69"/>
                  </a:cubicBezTo>
                  <a:cubicBezTo>
                    <a:pt x="692" y="68"/>
                    <a:pt x="691" y="68"/>
                    <a:pt x="691" y="68"/>
                  </a:cubicBezTo>
                  <a:close/>
                  <a:moveTo>
                    <a:pt x="1668" y="57"/>
                  </a:moveTo>
                  <a:cubicBezTo>
                    <a:pt x="1667" y="57"/>
                    <a:pt x="1667" y="57"/>
                    <a:pt x="1667" y="58"/>
                  </a:cubicBezTo>
                  <a:cubicBezTo>
                    <a:pt x="1667" y="58"/>
                    <a:pt x="1667" y="58"/>
                    <a:pt x="1668" y="57"/>
                  </a:cubicBezTo>
                  <a:close/>
                  <a:moveTo>
                    <a:pt x="1672" y="68"/>
                  </a:moveTo>
                  <a:cubicBezTo>
                    <a:pt x="1672" y="68"/>
                    <a:pt x="1672" y="69"/>
                    <a:pt x="1673" y="69"/>
                  </a:cubicBezTo>
                  <a:cubicBezTo>
                    <a:pt x="1673" y="69"/>
                    <a:pt x="1672" y="68"/>
                    <a:pt x="1672" y="68"/>
                  </a:cubicBezTo>
                  <a:close/>
                  <a:moveTo>
                    <a:pt x="1725" y="68"/>
                  </a:moveTo>
                  <a:cubicBezTo>
                    <a:pt x="1724" y="68"/>
                    <a:pt x="1724" y="68"/>
                    <a:pt x="1724" y="68"/>
                  </a:cubicBezTo>
                  <a:cubicBezTo>
                    <a:pt x="1724" y="68"/>
                    <a:pt x="1725" y="68"/>
                    <a:pt x="1725" y="68"/>
                  </a:cubicBezTo>
                  <a:close/>
                  <a:moveTo>
                    <a:pt x="668" y="69"/>
                  </a:moveTo>
                  <a:cubicBezTo>
                    <a:pt x="668" y="69"/>
                    <a:pt x="668" y="68"/>
                    <a:pt x="668" y="68"/>
                  </a:cubicBezTo>
                  <a:cubicBezTo>
                    <a:pt x="668" y="69"/>
                    <a:pt x="668" y="69"/>
                    <a:pt x="668" y="69"/>
                  </a:cubicBezTo>
                  <a:close/>
                  <a:moveTo>
                    <a:pt x="1723" y="58"/>
                  </a:moveTo>
                  <a:cubicBezTo>
                    <a:pt x="1724" y="58"/>
                    <a:pt x="1724" y="58"/>
                    <a:pt x="1724" y="57"/>
                  </a:cubicBezTo>
                  <a:cubicBezTo>
                    <a:pt x="1724" y="57"/>
                    <a:pt x="1723" y="57"/>
                    <a:pt x="1723" y="58"/>
                  </a:cubicBezTo>
                  <a:close/>
                  <a:moveTo>
                    <a:pt x="588" y="69"/>
                  </a:moveTo>
                  <a:cubicBezTo>
                    <a:pt x="588" y="69"/>
                    <a:pt x="588" y="69"/>
                    <a:pt x="588" y="70"/>
                  </a:cubicBezTo>
                  <a:cubicBezTo>
                    <a:pt x="588" y="69"/>
                    <a:pt x="588" y="69"/>
                    <a:pt x="588" y="69"/>
                  </a:cubicBezTo>
                  <a:close/>
                  <a:moveTo>
                    <a:pt x="616" y="69"/>
                  </a:moveTo>
                  <a:cubicBezTo>
                    <a:pt x="616" y="69"/>
                    <a:pt x="616" y="69"/>
                    <a:pt x="617" y="70"/>
                  </a:cubicBezTo>
                  <a:cubicBezTo>
                    <a:pt x="617" y="69"/>
                    <a:pt x="617" y="69"/>
                    <a:pt x="616" y="69"/>
                  </a:cubicBezTo>
                  <a:close/>
                  <a:moveTo>
                    <a:pt x="631" y="70"/>
                  </a:moveTo>
                  <a:cubicBezTo>
                    <a:pt x="632" y="69"/>
                    <a:pt x="632" y="69"/>
                    <a:pt x="632" y="69"/>
                  </a:cubicBezTo>
                  <a:cubicBezTo>
                    <a:pt x="631" y="69"/>
                    <a:pt x="631" y="69"/>
                    <a:pt x="631" y="70"/>
                  </a:cubicBezTo>
                  <a:close/>
                  <a:moveTo>
                    <a:pt x="642" y="69"/>
                  </a:moveTo>
                  <a:cubicBezTo>
                    <a:pt x="642" y="69"/>
                    <a:pt x="642" y="69"/>
                    <a:pt x="642" y="69"/>
                  </a:cubicBezTo>
                  <a:cubicBezTo>
                    <a:pt x="642" y="69"/>
                    <a:pt x="642" y="69"/>
                    <a:pt x="642" y="69"/>
                  </a:cubicBezTo>
                  <a:close/>
                  <a:moveTo>
                    <a:pt x="751" y="50"/>
                  </a:moveTo>
                  <a:cubicBezTo>
                    <a:pt x="751" y="50"/>
                    <a:pt x="752" y="49"/>
                    <a:pt x="752" y="49"/>
                  </a:cubicBezTo>
                  <a:cubicBezTo>
                    <a:pt x="751" y="49"/>
                    <a:pt x="751" y="49"/>
                    <a:pt x="751" y="50"/>
                  </a:cubicBezTo>
                  <a:close/>
                  <a:moveTo>
                    <a:pt x="964" y="69"/>
                  </a:moveTo>
                  <a:cubicBezTo>
                    <a:pt x="964" y="69"/>
                    <a:pt x="964" y="69"/>
                    <a:pt x="964" y="70"/>
                  </a:cubicBezTo>
                  <a:cubicBezTo>
                    <a:pt x="965" y="69"/>
                    <a:pt x="965" y="69"/>
                    <a:pt x="964" y="69"/>
                  </a:cubicBezTo>
                  <a:close/>
                  <a:moveTo>
                    <a:pt x="1371" y="69"/>
                  </a:moveTo>
                  <a:cubicBezTo>
                    <a:pt x="1371" y="69"/>
                    <a:pt x="1371" y="69"/>
                    <a:pt x="1371" y="69"/>
                  </a:cubicBezTo>
                  <a:cubicBezTo>
                    <a:pt x="1371" y="69"/>
                    <a:pt x="1371" y="69"/>
                    <a:pt x="1371" y="69"/>
                  </a:cubicBezTo>
                  <a:close/>
                  <a:moveTo>
                    <a:pt x="1565" y="49"/>
                  </a:moveTo>
                  <a:cubicBezTo>
                    <a:pt x="1565" y="49"/>
                    <a:pt x="1565" y="49"/>
                    <a:pt x="1565" y="48"/>
                  </a:cubicBezTo>
                  <a:cubicBezTo>
                    <a:pt x="1565" y="48"/>
                    <a:pt x="1565" y="49"/>
                    <a:pt x="1565" y="49"/>
                  </a:cubicBezTo>
                  <a:close/>
                  <a:moveTo>
                    <a:pt x="1660" y="69"/>
                  </a:moveTo>
                  <a:cubicBezTo>
                    <a:pt x="1660" y="69"/>
                    <a:pt x="1660" y="69"/>
                    <a:pt x="1660" y="69"/>
                  </a:cubicBezTo>
                  <a:cubicBezTo>
                    <a:pt x="1660" y="69"/>
                    <a:pt x="1660" y="69"/>
                    <a:pt x="1660" y="69"/>
                  </a:cubicBezTo>
                  <a:close/>
                  <a:moveTo>
                    <a:pt x="1673" y="69"/>
                  </a:moveTo>
                  <a:cubicBezTo>
                    <a:pt x="1673" y="69"/>
                    <a:pt x="1673" y="69"/>
                    <a:pt x="1673" y="70"/>
                  </a:cubicBezTo>
                  <a:cubicBezTo>
                    <a:pt x="1673" y="69"/>
                    <a:pt x="1673" y="69"/>
                    <a:pt x="1673" y="69"/>
                  </a:cubicBezTo>
                  <a:close/>
                  <a:moveTo>
                    <a:pt x="606" y="70"/>
                  </a:moveTo>
                  <a:cubicBezTo>
                    <a:pt x="606" y="70"/>
                    <a:pt x="606" y="69"/>
                    <a:pt x="606" y="69"/>
                  </a:cubicBezTo>
                  <a:cubicBezTo>
                    <a:pt x="606" y="69"/>
                    <a:pt x="606" y="70"/>
                    <a:pt x="606" y="70"/>
                  </a:cubicBezTo>
                  <a:close/>
                  <a:moveTo>
                    <a:pt x="669" y="69"/>
                  </a:moveTo>
                  <a:cubicBezTo>
                    <a:pt x="669" y="69"/>
                    <a:pt x="669" y="69"/>
                    <a:pt x="669" y="69"/>
                  </a:cubicBezTo>
                  <a:cubicBezTo>
                    <a:pt x="669" y="69"/>
                    <a:pt x="669" y="69"/>
                    <a:pt x="669" y="69"/>
                  </a:cubicBezTo>
                  <a:close/>
                  <a:moveTo>
                    <a:pt x="1555" y="69"/>
                  </a:moveTo>
                  <a:cubicBezTo>
                    <a:pt x="1555" y="69"/>
                    <a:pt x="1555" y="69"/>
                    <a:pt x="1555" y="70"/>
                  </a:cubicBezTo>
                  <a:cubicBezTo>
                    <a:pt x="1555" y="69"/>
                    <a:pt x="1555" y="69"/>
                    <a:pt x="1555" y="69"/>
                  </a:cubicBezTo>
                  <a:close/>
                  <a:moveTo>
                    <a:pt x="866" y="42"/>
                  </a:moveTo>
                  <a:cubicBezTo>
                    <a:pt x="866" y="42"/>
                    <a:pt x="866" y="42"/>
                    <a:pt x="866" y="42"/>
                  </a:cubicBezTo>
                  <a:cubicBezTo>
                    <a:pt x="866" y="42"/>
                    <a:pt x="866" y="42"/>
                    <a:pt x="866" y="42"/>
                  </a:cubicBezTo>
                  <a:close/>
                  <a:moveTo>
                    <a:pt x="1723" y="69"/>
                  </a:moveTo>
                  <a:cubicBezTo>
                    <a:pt x="1723" y="69"/>
                    <a:pt x="1723" y="69"/>
                    <a:pt x="1723" y="70"/>
                  </a:cubicBezTo>
                  <a:cubicBezTo>
                    <a:pt x="1723" y="69"/>
                    <a:pt x="1723" y="69"/>
                    <a:pt x="1723" y="69"/>
                  </a:cubicBezTo>
                  <a:close/>
                  <a:moveTo>
                    <a:pt x="1112" y="52"/>
                  </a:moveTo>
                  <a:cubicBezTo>
                    <a:pt x="1112" y="53"/>
                    <a:pt x="1112" y="53"/>
                    <a:pt x="1112" y="53"/>
                  </a:cubicBezTo>
                  <a:cubicBezTo>
                    <a:pt x="1112" y="53"/>
                    <a:pt x="1112" y="53"/>
                    <a:pt x="1112" y="52"/>
                  </a:cubicBezTo>
                  <a:close/>
                  <a:moveTo>
                    <a:pt x="1504" y="7"/>
                  </a:moveTo>
                  <a:cubicBezTo>
                    <a:pt x="1504" y="7"/>
                    <a:pt x="1505" y="6"/>
                    <a:pt x="1505" y="6"/>
                  </a:cubicBezTo>
                  <a:cubicBezTo>
                    <a:pt x="1504" y="6"/>
                    <a:pt x="1504" y="6"/>
                    <a:pt x="1504" y="7"/>
                  </a:cubicBezTo>
                  <a:close/>
                  <a:moveTo>
                    <a:pt x="670" y="70"/>
                  </a:moveTo>
                  <a:cubicBezTo>
                    <a:pt x="670" y="70"/>
                    <a:pt x="670" y="69"/>
                    <a:pt x="669" y="69"/>
                  </a:cubicBezTo>
                  <a:cubicBezTo>
                    <a:pt x="669" y="70"/>
                    <a:pt x="670" y="70"/>
                    <a:pt x="670" y="70"/>
                  </a:cubicBezTo>
                  <a:close/>
                  <a:moveTo>
                    <a:pt x="1150" y="41"/>
                  </a:moveTo>
                  <a:cubicBezTo>
                    <a:pt x="1150" y="41"/>
                    <a:pt x="1150" y="41"/>
                    <a:pt x="1150" y="41"/>
                  </a:cubicBezTo>
                  <a:cubicBezTo>
                    <a:pt x="1150" y="41"/>
                    <a:pt x="1150" y="41"/>
                    <a:pt x="1150" y="41"/>
                  </a:cubicBezTo>
                  <a:close/>
                  <a:moveTo>
                    <a:pt x="1085" y="49"/>
                  </a:moveTo>
                  <a:cubicBezTo>
                    <a:pt x="1085" y="49"/>
                    <a:pt x="1085" y="50"/>
                    <a:pt x="1086" y="50"/>
                  </a:cubicBezTo>
                  <a:cubicBezTo>
                    <a:pt x="1086" y="49"/>
                    <a:pt x="1086" y="49"/>
                    <a:pt x="1085" y="49"/>
                  </a:cubicBezTo>
                  <a:close/>
                  <a:moveTo>
                    <a:pt x="749" y="56"/>
                  </a:moveTo>
                  <a:cubicBezTo>
                    <a:pt x="749" y="55"/>
                    <a:pt x="749" y="55"/>
                    <a:pt x="749" y="55"/>
                  </a:cubicBezTo>
                  <a:cubicBezTo>
                    <a:pt x="749" y="55"/>
                    <a:pt x="749" y="55"/>
                    <a:pt x="749" y="56"/>
                  </a:cubicBezTo>
                  <a:close/>
                  <a:moveTo>
                    <a:pt x="1661" y="70"/>
                  </a:moveTo>
                  <a:cubicBezTo>
                    <a:pt x="1661" y="70"/>
                    <a:pt x="1661" y="70"/>
                    <a:pt x="1660" y="69"/>
                  </a:cubicBezTo>
                  <a:cubicBezTo>
                    <a:pt x="1660" y="70"/>
                    <a:pt x="1660" y="70"/>
                    <a:pt x="1661" y="70"/>
                  </a:cubicBezTo>
                  <a:close/>
                  <a:moveTo>
                    <a:pt x="1673" y="69"/>
                  </a:moveTo>
                  <a:cubicBezTo>
                    <a:pt x="1673" y="70"/>
                    <a:pt x="1673" y="70"/>
                    <a:pt x="1673" y="70"/>
                  </a:cubicBezTo>
                  <a:cubicBezTo>
                    <a:pt x="1673" y="70"/>
                    <a:pt x="1673" y="70"/>
                    <a:pt x="1673" y="69"/>
                  </a:cubicBezTo>
                  <a:close/>
                  <a:moveTo>
                    <a:pt x="606" y="71"/>
                  </a:moveTo>
                  <a:cubicBezTo>
                    <a:pt x="606" y="70"/>
                    <a:pt x="606" y="70"/>
                    <a:pt x="606" y="70"/>
                  </a:cubicBezTo>
                  <a:cubicBezTo>
                    <a:pt x="606" y="70"/>
                    <a:pt x="606" y="70"/>
                    <a:pt x="606" y="71"/>
                  </a:cubicBezTo>
                  <a:close/>
                  <a:moveTo>
                    <a:pt x="617" y="70"/>
                  </a:moveTo>
                  <a:cubicBezTo>
                    <a:pt x="617" y="70"/>
                    <a:pt x="617" y="70"/>
                    <a:pt x="617" y="71"/>
                  </a:cubicBezTo>
                  <a:cubicBezTo>
                    <a:pt x="617" y="70"/>
                    <a:pt x="617" y="70"/>
                    <a:pt x="617" y="70"/>
                  </a:cubicBezTo>
                  <a:close/>
                  <a:moveTo>
                    <a:pt x="642" y="70"/>
                  </a:moveTo>
                  <a:cubicBezTo>
                    <a:pt x="642" y="70"/>
                    <a:pt x="641" y="70"/>
                    <a:pt x="641" y="71"/>
                  </a:cubicBezTo>
                  <a:cubicBezTo>
                    <a:pt x="642" y="70"/>
                    <a:pt x="642" y="70"/>
                    <a:pt x="642" y="70"/>
                  </a:cubicBezTo>
                  <a:close/>
                  <a:moveTo>
                    <a:pt x="671" y="70"/>
                  </a:moveTo>
                  <a:cubicBezTo>
                    <a:pt x="671" y="70"/>
                    <a:pt x="670" y="70"/>
                    <a:pt x="670" y="70"/>
                  </a:cubicBezTo>
                  <a:cubicBezTo>
                    <a:pt x="670" y="70"/>
                    <a:pt x="670" y="70"/>
                    <a:pt x="671" y="70"/>
                  </a:cubicBezTo>
                  <a:close/>
                  <a:moveTo>
                    <a:pt x="965" y="70"/>
                  </a:moveTo>
                  <a:cubicBezTo>
                    <a:pt x="965" y="70"/>
                    <a:pt x="965" y="70"/>
                    <a:pt x="965" y="71"/>
                  </a:cubicBezTo>
                  <a:cubicBezTo>
                    <a:pt x="965" y="70"/>
                    <a:pt x="965" y="70"/>
                    <a:pt x="965" y="70"/>
                  </a:cubicBezTo>
                  <a:close/>
                  <a:moveTo>
                    <a:pt x="1370" y="70"/>
                  </a:moveTo>
                  <a:cubicBezTo>
                    <a:pt x="1370" y="70"/>
                    <a:pt x="1370" y="70"/>
                    <a:pt x="1369" y="70"/>
                  </a:cubicBezTo>
                  <a:cubicBezTo>
                    <a:pt x="1370" y="70"/>
                    <a:pt x="1370" y="70"/>
                    <a:pt x="1370" y="70"/>
                  </a:cubicBezTo>
                  <a:close/>
                  <a:moveTo>
                    <a:pt x="671" y="71"/>
                  </a:moveTo>
                  <a:cubicBezTo>
                    <a:pt x="671" y="70"/>
                    <a:pt x="671" y="70"/>
                    <a:pt x="671" y="70"/>
                  </a:cubicBezTo>
                  <a:cubicBezTo>
                    <a:pt x="671" y="70"/>
                    <a:pt x="671" y="71"/>
                    <a:pt x="671" y="71"/>
                  </a:cubicBezTo>
                  <a:close/>
                  <a:moveTo>
                    <a:pt x="1263" y="48"/>
                  </a:moveTo>
                  <a:cubicBezTo>
                    <a:pt x="1263" y="49"/>
                    <a:pt x="1263" y="49"/>
                    <a:pt x="1263" y="49"/>
                  </a:cubicBezTo>
                  <a:cubicBezTo>
                    <a:pt x="1263" y="49"/>
                    <a:pt x="1263" y="48"/>
                    <a:pt x="1263" y="48"/>
                  </a:cubicBezTo>
                  <a:close/>
                  <a:moveTo>
                    <a:pt x="1554" y="70"/>
                  </a:moveTo>
                  <a:cubicBezTo>
                    <a:pt x="1554" y="70"/>
                    <a:pt x="1553" y="70"/>
                    <a:pt x="1553" y="71"/>
                  </a:cubicBezTo>
                  <a:cubicBezTo>
                    <a:pt x="1553" y="71"/>
                    <a:pt x="1554" y="70"/>
                    <a:pt x="1554" y="70"/>
                  </a:cubicBezTo>
                  <a:close/>
                  <a:moveTo>
                    <a:pt x="1673" y="70"/>
                  </a:moveTo>
                  <a:cubicBezTo>
                    <a:pt x="1673" y="70"/>
                    <a:pt x="1673" y="71"/>
                    <a:pt x="1674" y="71"/>
                  </a:cubicBezTo>
                  <a:cubicBezTo>
                    <a:pt x="1674" y="71"/>
                    <a:pt x="1674" y="70"/>
                    <a:pt x="1673" y="70"/>
                  </a:cubicBezTo>
                  <a:close/>
                  <a:moveTo>
                    <a:pt x="1722" y="70"/>
                  </a:moveTo>
                  <a:cubicBezTo>
                    <a:pt x="1722" y="70"/>
                    <a:pt x="1721" y="70"/>
                    <a:pt x="1721" y="71"/>
                  </a:cubicBezTo>
                  <a:cubicBezTo>
                    <a:pt x="1722" y="71"/>
                    <a:pt x="1722" y="70"/>
                    <a:pt x="1722" y="70"/>
                  </a:cubicBezTo>
                  <a:close/>
                  <a:moveTo>
                    <a:pt x="1432" y="7"/>
                  </a:moveTo>
                  <a:cubicBezTo>
                    <a:pt x="1432" y="7"/>
                    <a:pt x="1432" y="7"/>
                    <a:pt x="1433" y="7"/>
                  </a:cubicBezTo>
                  <a:cubicBezTo>
                    <a:pt x="1432" y="7"/>
                    <a:pt x="1432" y="7"/>
                    <a:pt x="1432" y="7"/>
                  </a:cubicBezTo>
                  <a:close/>
                  <a:moveTo>
                    <a:pt x="631" y="71"/>
                  </a:moveTo>
                  <a:cubicBezTo>
                    <a:pt x="631" y="71"/>
                    <a:pt x="631" y="71"/>
                    <a:pt x="631" y="71"/>
                  </a:cubicBezTo>
                  <a:cubicBezTo>
                    <a:pt x="631" y="71"/>
                    <a:pt x="631" y="71"/>
                    <a:pt x="631" y="71"/>
                  </a:cubicBezTo>
                  <a:close/>
                  <a:moveTo>
                    <a:pt x="641" y="70"/>
                  </a:moveTo>
                  <a:cubicBezTo>
                    <a:pt x="641" y="71"/>
                    <a:pt x="641" y="71"/>
                    <a:pt x="641" y="71"/>
                  </a:cubicBezTo>
                  <a:cubicBezTo>
                    <a:pt x="641" y="71"/>
                    <a:pt x="642" y="71"/>
                    <a:pt x="641" y="70"/>
                  </a:cubicBezTo>
                  <a:close/>
                  <a:moveTo>
                    <a:pt x="672" y="71"/>
                  </a:moveTo>
                  <a:cubicBezTo>
                    <a:pt x="672" y="71"/>
                    <a:pt x="672" y="71"/>
                    <a:pt x="671" y="71"/>
                  </a:cubicBezTo>
                  <a:cubicBezTo>
                    <a:pt x="672" y="71"/>
                    <a:pt x="672" y="71"/>
                    <a:pt x="672" y="71"/>
                  </a:cubicBezTo>
                  <a:close/>
                  <a:moveTo>
                    <a:pt x="573" y="54"/>
                  </a:moveTo>
                  <a:cubicBezTo>
                    <a:pt x="573" y="54"/>
                    <a:pt x="574" y="55"/>
                    <a:pt x="574" y="55"/>
                  </a:cubicBezTo>
                  <a:cubicBezTo>
                    <a:pt x="574" y="54"/>
                    <a:pt x="574" y="54"/>
                    <a:pt x="573" y="54"/>
                  </a:cubicBezTo>
                  <a:close/>
                  <a:moveTo>
                    <a:pt x="607" y="72"/>
                  </a:moveTo>
                  <a:cubicBezTo>
                    <a:pt x="607" y="71"/>
                    <a:pt x="607" y="71"/>
                    <a:pt x="606" y="71"/>
                  </a:cubicBezTo>
                  <a:cubicBezTo>
                    <a:pt x="606" y="71"/>
                    <a:pt x="606" y="71"/>
                    <a:pt x="607" y="72"/>
                  </a:cubicBezTo>
                  <a:close/>
                  <a:moveTo>
                    <a:pt x="617" y="71"/>
                  </a:moveTo>
                  <a:cubicBezTo>
                    <a:pt x="617" y="71"/>
                    <a:pt x="617" y="71"/>
                    <a:pt x="617" y="72"/>
                  </a:cubicBezTo>
                  <a:cubicBezTo>
                    <a:pt x="617" y="71"/>
                    <a:pt x="617" y="71"/>
                    <a:pt x="617" y="71"/>
                  </a:cubicBezTo>
                  <a:close/>
                  <a:moveTo>
                    <a:pt x="673" y="71"/>
                  </a:moveTo>
                  <a:cubicBezTo>
                    <a:pt x="673" y="71"/>
                    <a:pt x="672" y="71"/>
                    <a:pt x="672" y="71"/>
                  </a:cubicBezTo>
                  <a:cubicBezTo>
                    <a:pt x="672" y="71"/>
                    <a:pt x="673" y="71"/>
                    <a:pt x="673" y="71"/>
                  </a:cubicBezTo>
                  <a:close/>
                  <a:moveTo>
                    <a:pt x="1450" y="7"/>
                  </a:moveTo>
                  <a:cubicBezTo>
                    <a:pt x="1450" y="7"/>
                    <a:pt x="1450" y="7"/>
                    <a:pt x="1450" y="7"/>
                  </a:cubicBezTo>
                  <a:cubicBezTo>
                    <a:pt x="1450" y="7"/>
                    <a:pt x="1450" y="7"/>
                    <a:pt x="1450" y="7"/>
                  </a:cubicBezTo>
                  <a:close/>
                  <a:moveTo>
                    <a:pt x="965" y="71"/>
                  </a:moveTo>
                  <a:cubicBezTo>
                    <a:pt x="965" y="71"/>
                    <a:pt x="965" y="71"/>
                    <a:pt x="965" y="72"/>
                  </a:cubicBezTo>
                  <a:cubicBezTo>
                    <a:pt x="965" y="71"/>
                    <a:pt x="965" y="71"/>
                    <a:pt x="965" y="71"/>
                  </a:cubicBezTo>
                  <a:close/>
                  <a:moveTo>
                    <a:pt x="1151" y="42"/>
                  </a:moveTo>
                  <a:cubicBezTo>
                    <a:pt x="1151" y="42"/>
                    <a:pt x="1151" y="42"/>
                    <a:pt x="1151" y="42"/>
                  </a:cubicBezTo>
                  <a:cubicBezTo>
                    <a:pt x="1151" y="42"/>
                    <a:pt x="1151" y="42"/>
                    <a:pt x="1151" y="42"/>
                  </a:cubicBezTo>
                  <a:close/>
                  <a:moveTo>
                    <a:pt x="1369" y="71"/>
                  </a:moveTo>
                  <a:cubicBezTo>
                    <a:pt x="1368" y="71"/>
                    <a:pt x="1368" y="71"/>
                    <a:pt x="1368" y="71"/>
                  </a:cubicBezTo>
                  <a:cubicBezTo>
                    <a:pt x="1368" y="71"/>
                    <a:pt x="1369" y="71"/>
                    <a:pt x="1369" y="71"/>
                  </a:cubicBezTo>
                  <a:close/>
                  <a:moveTo>
                    <a:pt x="1154" y="48"/>
                  </a:moveTo>
                  <a:cubicBezTo>
                    <a:pt x="1154" y="49"/>
                    <a:pt x="1154" y="49"/>
                    <a:pt x="1154" y="49"/>
                  </a:cubicBezTo>
                  <a:cubicBezTo>
                    <a:pt x="1154" y="49"/>
                    <a:pt x="1154" y="48"/>
                    <a:pt x="1154" y="48"/>
                  </a:cubicBezTo>
                  <a:close/>
                  <a:moveTo>
                    <a:pt x="1674" y="71"/>
                  </a:moveTo>
                  <a:cubicBezTo>
                    <a:pt x="1674" y="71"/>
                    <a:pt x="1674" y="71"/>
                    <a:pt x="1674" y="72"/>
                  </a:cubicBezTo>
                  <a:cubicBezTo>
                    <a:pt x="1674" y="71"/>
                    <a:pt x="1674" y="71"/>
                    <a:pt x="1674" y="71"/>
                  </a:cubicBezTo>
                  <a:close/>
                  <a:moveTo>
                    <a:pt x="674" y="72"/>
                  </a:moveTo>
                  <a:cubicBezTo>
                    <a:pt x="673" y="71"/>
                    <a:pt x="673" y="71"/>
                    <a:pt x="673" y="71"/>
                  </a:cubicBezTo>
                  <a:cubicBezTo>
                    <a:pt x="673" y="72"/>
                    <a:pt x="673" y="72"/>
                    <a:pt x="674" y="72"/>
                  </a:cubicBezTo>
                  <a:close/>
                  <a:moveTo>
                    <a:pt x="1552" y="71"/>
                  </a:moveTo>
                  <a:cubicBezTo>
                    <a:pt x="1552" y="71"/>
                    <a:pt x="1552" y="71"/>
                    <a:pt x="1552" y="72"/>
                  </a:cubicBezTo>
                  <a:cubicBezTo>
                    <a:pt x="1552" y="72"/>
                    <a:pt x="1552" y="71"/>
                    <a:pt x="1552" y="71"/>
                  </a:cubicBezTo>
                  <a:close/>
                  <a:moveTo>
                    <a:pt x="1662" y="72"/>
                  </a:moveTo>
                  <a:cubicBezTo>
                    <a:pt x="1662" y="72"/>
                    <a:pt x="1662" y="71"/>
                    <a:pt x="1661" y="71"/>
                  </a:cubicBezTo>
                  <a:cubicBezTo>
                    <a:pt x="1661" y="72"/>
                    <a:pt x="1661" y="72"/>
                    <a:pt x="1662" y="72"/>
                  </a:cubicBezTo>
                  <a:close/>
                  <a:moveTo>
                    <a:pt x="1721" y="71"/>
                  </a:moveTo>
                  <a:cubicBezTo>
                    <a:pt x="1720" y="71"/>
                    <a:pt x="1720" y="71"/>
                    <a:pt x="1720" y="72"/>
                  </a:cubicBezTo>
                  <a:cubicBezTo>
                    <a:pt x="1720" y="72"/>
                    <a:pt x="1720" y="71"/>
                    <a:pt x="1721" y="71"/>
                  </a:cubicBezTo>
                  <a:close/>
                  <a:moveTo>
                    <a:pt x="1564" y="7"/>
                  </a:moveTo>
                  <a:cubicBezTo>
                    <a:pt x="1564" y="7"/>
                    <a:pt x="1564" y="7"/>
                    <a:pt x="1565" y="7"/>
                  </a:cubicBezTo>
                  <a:cubicBezTo>
                    <a:pt x="1564" y="7"/>
                    <a:pt x="1564" y="7"/>
                    <a:pt x="1564" y="7"/>
                  </a:cubicBezTo>
                  <a:close/>
                  <a:moveTo>
                    <a:pt x="1732" y="7"/>
                  </a:moveTo>
                  <a:cubicBezTo>
                    <a:pt x="1732" y="7"/>
                    <a:pt x="1732" y="7"/>
                    <a:pt x="1733" y="7"/>
                  </a:cubicBezTo>
                  <a:cubicBezTo>
                    <a:pt x="1733" y="7"/>
                    <a:pt x="1732" y="7"/>
                    <a:pt x="1732" y="7"/>
                  </a:cubicBezTo>
                  <a:close/>
                  <a:moveTo>
                    <a:pt x="630" y="72"/>
                  </a:moveTo>
                  <a:cubicBezTo>
                    <a:pt x="631" y="72"/>
                    <a:pt x="631" y="72"/>
                    <a:pt x="631" y="72"/>
                  </a:cubicBezTo>
                  <a:cubicBezTo>
                    <a:pt x="630" y="72"/>
                    <a:pt x="630" y="72"/>
                    <a:pt x="630" y="72"/>
                  </a:cubicBezTo>
                  <a:close/>
                  <a:moveTo>
                    <a:pt x="641" y="71"/>
                  </a:moveTo>
                  <a:cubicBezTo>
                    <a:pt x="641" y="72"/>
                    <a:pt x="641" y="72"/>
                    <a:pt x="641" y="72"/>
                  </a:cubicBezTo>
                  <a:cubicBezTo>
                    <a:pt x="641" y="72"/>
                    <a:pt x="641" y="72"/>
                    <a:pt x="641" y="71"/>
                  </a:cubicBezTo>
                  <a:close/>
                  <a:moveTo>
                    <a:pt x="674" y="72"/>
                  </a:moveTo>
                  <a:cubicBezTo>
                    <a:pt x="674" y="72"/>
                    <a:pt x="674" y="72"/>
                    <a:pt x="674" y="72"/>
                  </a:cubicBezTo>
                  <a:cubicBezTo>
                    <a:pt x="674" y="72"/>
                    <a:pt x="674" y="72"/>
                    <a:pt x="674" y="72"/>
                  </a:cubicBezTo>
                  <a:close/>
                  <a:moveTo>
                    <a:pt x="1674" y="72"/>
                  </a:moveTo>
                  <a:cubicBezTo>
                    <a:pt x="1674" y="72"/>
                    <a:pt x="1674" y="72"/>
                    <a:pt x="1674" y="72"/>
                  </a:cubicBezTo>
                  <a:cubicBezTo>
                    <a:pt x="1674" y="72"/>
                    <a:pt x="1674" y="72"/>
                    <a:pt x="1674" y="72"/>
                  </a:cubicBezTo>
                  <a:close/>
                  <a:moveTo>
                    <a:pt x="1358" y="7"/>
                  </a:moveTo>
                  <a:cubicBezTo>
                    <a:pt x="1359" y="8"/>
                    <a:pt x="1359" y="7"/>
                    <a:pt x="1359" y="7"/>
                  </a:cubicBezTo>
                  <a:cubicBezTo>
                    <a:pt x="1359" y="7"/>
                    <a:pt x="1358" y="7"/>
                    <a:pt x="1358" y="7"/>
                  </a:cubicBezTo>
                  <a:close/>
                  <a:moveTo>
                    <a:pt x="675" y="72"/>
                  </a:moveTo>
                  <a:cubicBezTo>
                    <a:pt x="675" y="72"/>
                    <a:pt x="675" y="72"/>
                    <a:pt x="675" y="72"/>
                  </a:cubicBezTo>
                  <a:cubicBezTo>
                    <a:pt x="675" y="72"/>
                    <a:pt x="675" y="72"/>
                    <a:pt x="675" y="72"/>
                  </a:cubicBezTo>
                  <a:close/>
                  <a:moveTo>
                    <a:pt x="1381" y="7"/>
                  </a:moveTo>
                  <a:cubicBezTo>
                    <a:pt x="1381" y="8"/>
                    <a:pt x="1381" y="8"/>
                    <a:pt x="1382" y="8"/>
                  </a:cubicBezTo>
                  <a:cubicBezTo>
                    <a:pt x="1381" y="7"/>
                    <a:pt x="1381" y="7"/>
                    <a:pt x="1381" y="7"/>
                  </a:cubicBezTo>
                  <a:close/>
                  <a:moveTo>
                    <a:pt x="965" y="72"/>
                  </a:moveTo>
                  <a:cubicBezTo>
                    <a:pt x="965" y="72"/>
                    <a:pt x="965" y="72"/>
                    <a:pt x="966" y="73"/>
                  </a:cubicBezTo>
                  <a:cubicBezTo>
                    <a:pt x="966" y="72"/>
                    <a:pt x="966" y="72"/>
                    <a:pt x="965" y="72"/>
                  </a:cubicBezTo>
                  <a:close/>
                  <a:moveTo>
                    <a:pt x="908" y="41"/>
                  </a:moveTo>
                  <a:cubicBezTo>
                    <a:pt x="908" y="42"/>
                    <a:pt x="909" y="42"/>
                    <a:pt x="909" y="42"/>
                  </a:cubicBezTo>
                  <a:cubicBezTo>
                    <a:pt x="909" y="42"/>
                    <a:pt x="909" y="41"/>
                    <a:pt x="908" y="41"/>
                  </a:cubicBezTo>
                  <a:close/>
                  <a:moveTo>
                    <a:pt x="865" y="41"/>
                  </a:moveTo>
                  <a:cubicBezTo>
                    <a:pt x="865" y="41"/>
                    <a:pt x="865" y="41"/>
                    <a:pt x="866" y="41"/>
                  </a:cubicBezTo>
                  <a:cubicBezTo>
                    <a:pt x="866" y="41"/>
                    <a:pt x="866" y="41"/>
                    <a:pt x="865" y="41"/>
                  </a:cubicBezTo>
                  <a:close/>
                  <a:moveTo>
                    <a:pt x="1662" y="73"/>
                  </a:moveTo>
                  <a:cubicBezTo>
                    <a:pt x="1662" y="72"/>
                    <a:pt x="1662" y="72"/>
                    <a:pt x="1662" y="72"/>
                  </a:cubicBezTo>
                  <a:cubicBezTo>
                    <a:pt x="1662" y="72"/>
                    <a:pt x="1662" y="72"/>
                    <a:pt x="1662" y="73"/>
                  </a:cubicBezTo>
                  <a:close/>
                  <a:moveTo>
                    <a:pt x="641" y="72"/>
                  </a:moveTo>
                  <a:cubicBezTo>
                    <a:pt x="641" y="72"/>
                    <a:pt x="640" y="73"/>
                    <a:pt x="640" y="73"/>
                  </a:cubicBezTo>
                  <a:cubicBezTo>
                    <a:pt x="641" y="73"/>
                    <a:pt x="641" y="73"/>
                    <a:pt x="641" y="72"/>
                  </a:cubicBezTo>
                  <a:close/>
                  <a:moveTo>
                    <a:pt x="676" y="73"/>
                  </a:moveTo>
                  <a:cubicBezTo>
                    <a:pt x="676" y="72"/>
                    <a:pt x="676" y="72"/>
                    <a:pt x="675" y="72"/>
                  </a:cubicBezTo>
                  <a:cubicBezTo>
                    <a:pt x="675" y="73"/>
                    <a:pt x="676" y="73"/>
                    <a:pt x="676" y="73"/>
                  </a:cubicBezTo>
                  <a:close/>
                  <a:moveTo>
                    <a:pt x="648" y="55"/>
                  </a:moveTo>
                  <a:cubicBezTo>
                    <a:pt x="647" y="55"/>
                    <a:pt x="647" y="55"/>
                    <a:pt x="647" y="56"/>
                  </a:cubicBezTo>
                  <a:cubicBezTo>
                    <a:pt x="648" y="55"/>
                    <a:pt x="648" y="55"/>
                    <a:pt x="648" y="55"/>
                  </a:cubicBezTo>
                  <a:close/>
                  <a:moveTo>
                    <a:pt x="871" y="42"/>
                  </a:moveTo>
                  <a:cubicBezTo>
                    <a:pt x="871" y="42"/>
                    <a:pt x="871" y="42"/>
                    <a:pt x="871" y="41"/>
                  </a:cubicBezTo>
                  <a:cubicBezTo>
                    <a:pt x="871" y="41"/>
                    <a:pt x="871" y="42"/>
                    <a:pt x="871" y="42"/>
                  </a:cubicBezTo>
                  <a:close/>
                  <a:moveTo>
                    <a:pt x="1674" y="72"/>
                  </a:moveTo>
                  <a:cubicBezTo>
                    <a:pt x="1674" y="73"/>
                    <a:pt x="1674" y="73"/>
                    <a:pt x="1675" y="73"/>
                  </a:cubicBezTo>
                  <a:cubicBezTo>
                    <a:pt x="1675" y="73"/>
                    <a:pt x="1675" y="72"/>
                    <a:pt x="1674" y="72"/>
                  </a:cubicBezTo>
                  <a:close/>
                  <a:moveTo>
                    <a:pt x="1032" y="53"/>
                  </a:moveTo>
                  <a:cubicBezTo>
                    <a:pt x="1032" y="53"/>
                    <a:pt x="1032" y="53"/>
                    <a:pt x="1032" y="52"/>
                  </a:cubicBezTo>
                  <a:cubicBezTo>
                    <a:pt x="1032" y="53"/>
                    <a:pt x="1032" y="53"/>
                    <a:pt x="1032" y="53"/>
                  </a:cubicBezTo>
                  <a:close/>
                  <a:moveTo>
                    <a:pt x="607" y="73"/>
                  </a:moveTo>
                  <a:cubicBezTo>
                    <a:pt x="607" y="73"/>
                    <a:pt x="607" y="73"/>
                    <a:pt x="607" y="73"/>
                  </a:cubicBezTo>
                  <a:cubicBezTo>
                    <a:pt x="607" y="73"/>
                    <a:pt x="607" y="73"/>
                    <a:pt x="607" y="73"/>
                  </a:cubicBezTo>
                  <a:close/>
                  <a:moveTo>
                    <a:pt x="1431" y="8"/>
                  </a:moveTo>
                  <a:cubicBezTo>
                    <a:pt x="1431" y="8"/>
                    <a:pt x="1431" y="8"/>
                    <a:pt x="1431" y="7"/>
                  </a:cubicBezTo>
                  <a:cubicBezTo>
                    <a:pt x="1431" y="7"/>
                    <a:pt x="1431" y="7"/>
                    <a:pt x="1431" y="8"/>
                  </a:cubicBezTo>
                  <a:close/>
                  <a:moveTo>
                    <a:pt x="630" y="73"/>
                  </a:moveTo>
                  <a:cubicBezTo>
                    <a:pt x="630" y="73"/>
                    <a:pt x="630" y="73"/>
                    <a:pt x="630" y="73"/>
                  </a:cubicBezTo>
                  <a:cubicBezTo>
                    <a:pt x="630" y="73"/>
                    <a:pt x="630" y="73"/>
                    <a:pt x="630" y="73"/>
                  </a:cubicBezTo>
                  <a:close/>
                  <a:moveTo>
                    <a:pt x="677" y="73"/>
                  </a:moveTo>
                  <a:cubicBezTo>
                    <a:pt x="677" y="73"/>
                    <a:pt x="676" y="73"/>
                    <a:pt x="676" y="73"/>
                  </a:cubicBezTo>
                  <a:cubicBezTo>
                    <a:pt x="676" y="73"/>
                    <a:pt x="676" y="73"/>
                    <a:pt x="677" y="73"/>
                  </a:cubicBezTo>
                  <a:close/>
                  <a:moveTo>
                    <a:pt x="966" y="73"/>
                  </a:moveTo>
                  <a:cubicBezTo>
                    <a:pt x="966" y="73"/>
                    <a:pt x="966" y="73"/>
                    <a:pt x="966" y="73"/>
                  </a:cubicBezTo>
                  <a:cubicBezTo>
                    <a:pt x="966" y="73"/>
                    <a:pt x="966" y="73"/>
                    <a:pt x="966" y="73"/>
                  </a:cubicBezTo>
                  <a:close/>
                  <a:moveTo>
                    <a:pt x="677" y="73"/>
                  </a:moveTo>
                  <a:cubicBezTo>
                    <a:pt x="677" y="73"/>
                    <a:pt x="677" y="73"/>
                    <a:pt x="677" y="73"/>
                  </a:cubicBezTo>
                  <a:cubicBezTo>
                    <a:pt x="677" y="73"/>
                    <a:pt x="677" y="73"/>
                    <a:pt x="677" y="73"/>
                  </a:cubicBezTo>
                  <a:close/>
                  <a:moveTo>
                    <a:pt x="1451" y="7"/>
                  </a:moveTo>
                  <a:cubicBezTo>
                    <a:pt x="1451" y="8"/>
                    <a:pt x="1451" y="8"/>
                    <a:pt x="1452" y="8"/>
                  </a:cubicBezTo>
                  <a:cubicBezTo>
                    <a:pt x="1451" y="7"/>
                    <a:pt x="1451" y="7"/>
                    <a:pt x="1451" y="7"/>
                  </a:cubicBezTo>
                  <a:close/>
                  <a:moveTo>
                    <a:pt x="1663" y="74"/>
                  </a:moveTo>
                  <a:cubicBezTo>
                    <a:pt x="1663" y="73"/>
                    <a:pt x="1662" y="73"/>
                    <a:pt x="1662" y="73"/>
                  </a:cubicBezTo>
                  <a:cubicBezTo>
                    <a:pt x="1662" y="73"/>
                    <a:pt x="1662" y="73"/>
                    <a:pt x="1663" y="74"/>
                  </a:cubicBezTo>
                  <a:close/>
                  <a:moveTo>
                    <a:pt x="1085" y="48"/>
                  </a:moveTo>
                  <a:cubicBezTo>
                    <a:pt x="1085" y="49"/>
                    <a:pt x="1085" y="49"/>
                    <a:pt x="1085" y="49"/>
                  </a:cubicBezTo>
                  <a:cubicBezTo>
                    <a:pt x="1085" y="49"/>
                    <a:pt x="1085" y="48"/>
                    <a:pt x="1085" y="48"/>
                  </a:cubicBezTo>
                  <a:close/>
                  <a:moveTo>
                    <a:pt x="1542" y="8"/>
                  </a:moveTo>
                  <a:cubicBezTo>
                    <a:pt x="1543" y="8"/>
                    <a:pt x="1543" y="8"/>
                    <a:pt x="1543" y="7"/>
                  </a:cubicBezTo>
                  <a:cubicBezTo>
                    <a:pt x="1543" y="7"/>
                    <a:pt x="1543" y="7"/>
                    <a:pt x="1542" y="8"/>
                  </a:cubicBezTo>
                  <a:close/>
                  <a:moveTo>
                    <a:pt x="1565" y="7"/>
                  </a:moveTo>
                  <a:cubicBezTo>
                    <a:pt x="1565" y="7"/>
                    <a:pt x="1565" y="8"/>
                    <a:pt x="1566" y="7"/>
                  </a:cubicBezTo>
                  <a:cubicBezTo>
                    <a:pt x="1565" y="7"/>
                    <a:pt x="1565" y="7"/>
                    <a:pt x="1565" y="7"/>
                  </a:cubicBezTo>
                  <a:close/>
                  <a:moveTo>
                    <a:pt x="640" y="73"/>
                  </a:moveTo>
                  <a:cubicBezTo>
                    <a:pt x="640" y="73"/>
                    <a:pt x="640" y="74"/>
                    <a:pt x="640" y="74"/>
                  </a:cubicBezTo>
                  <a:cubicBezTo>
                    <a:pt x="640" y="74"/>
                    <a:pt x="640" y="74"/>
                    <a:pt x="640" y="73"/>
                  </a:cubicBezTo>
                  <a:close/>
                  <a:moveTo>
                    <a:pt x="678" y="74"/>
                  </a:moveTo>
                  <a:cubicBezTo>
                    <a:pt x="678" y="73"/>
                    <a:pt x="678" y="73"/>
                    <a:pt x="677" y="73"/>
                  </a:cubicBezTo>
                  <a:cubicBezTo>
                    <a:pt x="678" y="74"/>
                    <a:pt x="678" y="74"/>
                    <a:pt x="678" y="74"/>
                  </a:cubicBezTo>
                  <a:close/>
                  <a:moveTo>
                    <a:pt x="697" y="73"/>
                  </a:moveTo>
                  <a:cubicBezTo>
                    <a:pt x="697" y="74"/>
                    <a:pt x="697" y="74"/>
                    <a:pt x="697" y="74"/>
                  </a:cubicBezTo>
                  <a:cubicBezTo>
                    <a:pt x="697" y="74"/>
                    <a:pt x="697" y="73"/>
                    <a:pt x="697" y="73"/>
                  </a:cubicBezTo>
                  <a:close/>
                  <a:moveTo>
                    <a:pt x="953" y="74"/>
                  </a:moveTo>
                  <a:cubicBezTo>
                    <a:pt x="953" y="74"/>
                    <a:pt x="953" y="73"/>
                    <a:pt x="953" y="73"/>
                  </a:cubicBezTo>
                  <a:cubicBezTo>
                    <a:pt x="953" y="74"/>
                    <a:pt x="953" y="74"/>
                    <a:pt x="953" y="74"/>
                  </a:cubicBezTo>
                  <a:close/>
                  <a:moveTo>
                    <a:pt x="966" y="73"/>
                  </a:moveTo>
                  <a:cubicBezTo>
                    <a:pt x="966" y="74"/>
                    <a:pt x="966" y="74"/>
                    <a:pt x="966" y="74"/>
                  </a:cubicBezTo>
                  <a:cubicBezTo>
                    <a:pt x="966" y="74"/>
                    <a:pt x="966" y="74"/>
                    <a:pt x="966" y="73"/>
                  </a:cubicBezTo>
                  <a:close/>
                  <a:moveTo>
                    <a:pt x="662" y="41"/>
                  </a:moveTo>
                  <a:cubicBezTo>
                    <a:pt x="662" y="41"/>
                    <a:pt x="662" y="41"/>
                    <a:pt x="663" y="41"/>
                  </a:cubicBezTo>
                  <a:cubicBezTo>
                    <a:pt x="662" y="41"/>
                    <a:pt x="662" y="41"/>
                    <a:pt x="662" y="41"/>
                  </a:cubicBezTo>
                  <a:close/>
                  <a:moveTo>
                    <a:pt x="1365" y="73"/>
                  </a:moveTo>
                  <a:cubicBezTo>
                    <a:pt x="1365" y="73"/>
                    <a:pt x="1365" y="73"/>
                    <a:pt x="1365" y="74"/>
                  </a:cubicBezTo>
                  <a:cubicBezTo>
                    <a:pt x="1365" y="74"/>
                    <a:pt x="1365" y="74"/>
                    <a:pt x="1365" y="73"/>
                  </a:cubicBezTo>
                  <a:close/>
                  <a:moveTo>
                    <a:pt x="1710" y="8"/>
                  </a:moveTo>
                  <a:cubicBezTo>
                    <a:pt x="1711" y="8"/>
                    <a:pt x="1711" y="8"/>
                    <a:pt x="1711" y="7"/>
                  </a:cubicBezTo>
                  <a:cubicBezTo>
                    <a:pt x="1711" y="7"/>
                    <a:pt x="1711" y="7"/>
                    <a:pt x="1710" y="8"/>
                  </a:cubicBezTo>
                  <a:close/>
                  <a:moveTo>
                    <a:pt x="679" y="74"/>
                  </a:moveTo>
                  <a:cubicBezTo>
                    <a:pt x="679" y="74"/>
                    <a:pt x="678" y="74"/>
                    <a:pt x="678" y="74"/>
                  </a:cubicBezTo>
                  <a:cubicBezTo>
                    <a:pt x="678" y="74"/>
                    <a:pt x="678" y="74"/>
                    <a:pt x="679" y="74"/>
                  </a:cubicBezTo>
                  <a:close/>
                  <a:moveTo>
                    <a:pt x="1733" y="7"/>
                  </a:moveTo>
                  <a:cubicBezTo>
                    <a:pt x="1733" y="7"/>
                    <a:pt x="1734" y="8"/>
                    <a:pt x="1734" y="7"/>
                  </a:cubicBezTo>
                  <a:cubicBezTo>
                    <a:pt x="1734" y="7"/>
                    <a:pt x="1733" y="7"/>
                    <a:pt x="1733" y="7"/>
                  </a:cubicBezTo>
                  <a:close/>
                  <a:moveTo>
                    <a:pt x="1667" y="58"/>
                  </a:moveTo>
                  <a:cubicBezTo>
                    <a:pt x="1666" y="58"/>
                    <a:pt x="1666" y="58"/>
                    <a:pt x="1666" y="58"/>
                  </a:cubicBezTo>
                  <a:cubicBezTo>
                    <a:pt x="1666" y="58"/>
                    <a:pt x="1666" y="58"/>
                    <a:pt x="1667" y="58"/>
                  </a:cubicBezTo>
                  <a:close/>
                  <a:moveTo>
                    <a:pt x="1663" y="74"/>
                  </a:moveTo>
                  <a:cubicBezTo>
                    <a:pt x="1663" y="74"/>
                    <a:pt x="1663" y="74"/>
                    <a:pt x="1662" y="74"/>
                  </a:cubicBezTo>
                  <a:cubicBezTo>
                    <a:pt x="1662" y="74"/>
                    <a:pt x="1663" y="74"/>
                    <a:pt x="1663" y="74"/>
                  </a:cubicBezTo>
                  <a:close/>
                  <a:moveTo>
                    <a:pt x="1717" y="74"/>
                  </a:moveTo>
                  <a:cubicBezTo>
                    <a:pt x="1717" y="74"/>
                    <a:pt x="1717" y="74"/>
                    <a:pt x="1717" y="74"/>
                  </a:cubicBezTo>
                  <a:cubicBezTo>
                    <a:pt x="1717" y="74"/>
                    <a:pt x="1717" y="74"/>
                    <a:pt x="1717" y="74"/>
                  </a:cubicBezTo>
                  <a:close/>
                  <a:moveTo>
                    <a:pt x="640" y="74"/>
                  </a:moveTo>
                  <a:cubicBezTo>
                    <a:pt x="640" y="74"/>
                    <a:pt x="640" y="74"/>
                    <a:pt x="640" y="75"/>
                  </a:cubicBezTo>
                  <a:cubicBezTo>
                    <a:pt x="640" y="75"/>
                    <a:pt x="640" y="74"/>
                    <a:pt x="640" y="74"/>
                  </a:cubicBezTo>
                  <a:close/>
                  <a:moveTo>
                    <a:pt x="679" y="74"/>
                  </a:moveTo>
                  <a:cubicBezTo>
                    <a:pt x="679" y="74"/>
                    <a:pt x="679" y="74"/>
                    <a:pt x="679" y="74"/>
                  </a:cubicBezTo>
                  <a:cubicBezTo>
                    <a:pt x="679" y="74"/>
                    <a:pt x="679" y="74"/>
                    <a:pt x="679" y="74"/>
                  </a:cubicBezTo>
                  <a:close/>
                  <a:moveTo>
                    <a:pt x="697" y="74"/>
                  </a:moveTo>
                  <a:cubicBezTo>
                    <a:pt x="697" y="74"/>
                    <a:pt x="697" y="75"/>
                    <a:pt x="698" y="75"/>
                  </a:cubicBezTo>
                  <a:cubicBezTo>
                    <a:pt x="698" y="74"/>
                    <a:pt x="697" y="74"/>
                    <a:pt x="697" y="74"/>
                  </a:cubicBezTo>
                  <a:close/>
                  <a:moveTo>
                    <a:pt x="582" y="8"/>
                  </a:moveTo>
                  <a:cubicBezTo>
                    <a:pt x="582" y="8"/>
                    <a:pt x="582" y="8"/>
                    <a:pt x="583" y="8"/>
                  </a:cubicBezTo>
                  <a:cubicBezTo>
                    <a:pt x="582" y="8"/>
                    <a:pt x="582" y="8"/>
                    <a:pt x="582" y="8"/>
                  </a:cubicBezTo>
                  <a:close/>
                  <a:moveTo>
                    <a:pt x="1675" y="74"/>
                  </a:moveTo>
                  <a:cubicBezTo>
                    <a:pt x="1675" y="74"/>
                    <a:pt x="1675" y="75"/>
                    <a:pt x="1675" y="75"/>
                  </a:cubicBezTo>
                  <a:cubicBezTo>
                    <a:pt x="1675" y="74"/>
                    <a:pt x="1675" y="74"/>
                    <a:pt x="1675" y="74"/>
                  </a:cubicBezTo>
                  <a:close/>
                  <a:moveTo>
                    <a:pt x="608" y="75"/>
                  </a:moveTo>
                  <a:cubicBezTo>
                    <a:pt x="608" y="75"/>
                    <a:pt x="608" y="74"/>
                    <a:pt x="608" y="74"/>
                  </a:cubicBezTo>
                  <a:cubicBezTo>
                    <a:pt x="608" y="75"/>
                    <a:pt x="608" y="75"/>
                    <a:pt x="608" y="75"/>
                  </a:cubicBezTo>
                  <a:close/>
                  <a:moveTo>
                    <a:pt x="629" y="75"/>
                  </a:moveTo>
                  <a:cubicBezTo>
                    <a:pt x="630" y="75"/>
                    <a:pt x="630" y="75"/>
                    <a:pt x="630" y="74"/>
                  </a:cubicBezTo>
                  <a:cubicBezTo>
                    <a:pt x="629" y="75"/>
                    <a:pt x="629" y="75"/>
                    <a:pt x="629" y="75"/>
                  </a:cubicBezTo>
                  <a:close/>
                  <a:moveTo>
                    <a:pt x="680" y="75"/>
                  </a:moveTo>
                  <a:cubicBezTo>
                    <a:pt x="680" y="74"/>
                    <a:pt x="680" y="74"/>
                    <a:pt x="679" y="74"/>
                  </a:cubicBezTo>
                  <a:cubicBezTo>
                    <a:pt x="680" y="75"/>
                    <a:pt x="680" y="75"/>
                    <a:pt x="680" y="75"/>
                  </a:cubicBezTo>
                  <a:close/>
                  <a:moveTo>
                    <a:pt x="954" y="75"/>
                  </a:moveTo>
                  <a:cubicBezTo>
                    <a:pt x="954" y="75"/>
                    <a:pt x="954" y="74"/>
                    <a:pt x="953" y="74"/>
                  </a:cubicBezTo>
                  <a:cubicBezTo>
                    <a:pt x="953" y="75"/>
                    <a:pt x="953" y="75"/>
                    <a:pt x="954" y="75"/>
                  </a:cubicBezTo>
                  <a:close/>
                  <a:moveTo>
                    <a:pt x="966" y="74"/>
                  </a:moveTo>
                  <a:cubicBezTo>
                    <a:pt x="966" y="75"/>
                    <a:pt x="966" y="75"/>
                    <a:pt x="967" y="75"/>
                  </a:cubicBezTo>
                  <a:cubicBezTo>
                    <a:pt x="967" y="75"/>
                    <a:pt x="967" y="75"/>
                    <a:pt x="966" y="74"/>
                  </a:cubicBezTo>
                  <a:close/>
                  <a:moveTo>
                    <a:pt x="595" y="41"/>
                  </a:moveTo>
                  <a:cubicBezTo>
                    <a:pt x="595" y="41"/>
                    <a:pt x="595" y="41"/>
                    <a:pt x="595" y="41"/>
                  </a:cubicBezTo>
                  <a:cubicBezTo>
                    <a:pt x="595" y="41"/>
                    <a:pt x="595" y="41"/>
                    <a:pt x="595" y="41"/>
                  </a:cubicBezTo>
                  <a:close/>
                  <a:moveTo>
                    <a:pt x="1663" y="75"/>
                  </a:moveTo>
                  <a:cubicBezTo>
                    <a:pt x="1663" y="75"/>
                    <a:pt x="1663" y="75"/>
                    <a:pt x="1663" y="74"/>
                  </a:cubicBezTo>
                  <a:cubicBezTo>
                    <a:pt x="1663" y="75"/>
                    <a:pt x="1663" y="75"/>
                    <a:pt x="1663" y="75"/>
                  </a:cubicBezTo>
                  <a:close/>
                  <a:moveTo>
                    <a:pt x="619" y="75"/>
                  </a:moveTo>
                  <a:cubicBezTo>
                    <a:pt x="619" y="75"/>
                    <a:pt x="619" y="75"/>
                    <a:pt x="619" y="76"/>
                  </a:cubicBezTo>
                  <a:cubicBezTo>
                    <a:pt x="619" y="75"/>
                    <a:pt x="619" y="75"/>
                    <a:pt x="619" y="75"/>
                  </a:cubicBezTo>
                  <a:close/>
                  <a:moveTo>
                    <a:pt x="681" y="75"/>
                  </a:moveTo>
                  <a:cubicBezTo>
                    <a:pt x="681" y="75"/>
                    <a:pt x="680" y="75"/>
                    <a:pt x="680" y="75"/>
                  </a:cubicBezTo>
                  <a:cubicBezTo>
                    <a:pt x="680" y="75"/>
                    <a:pt x="681" y="75"/>
                    <a:pt x="681" y="75"/>
                  </a:cubicBezTo>
                  <a:close/>
                  <a:moveTo>
                    <a:pt x="1357" y="8"/>
                  </a:moveTo>
                  <a:cubicBezTo>
                    <a:pt x="1357" y="8"/>
                    <a:pt x="1358" y="8"/>
                    <a:pt x="1358" y="8"/>
                  </a:cubicBezTo>
                  <a:cubicBezTo>
                    <a:pt x="1358" y="8"/>
                    <a:pt x="1357" y="8"/>
                    <a:pt x="1357" y="8"/>
                  </a:cubicBezTo>
                  <a:close/>
                  <a:moveTo>
                    <a:pt x="799" y="41"/>
                  </a:moveTo>
                  <a:cubicBezTo>
                    <a:pt x="799" y="42"/>
                    <a:pt x="799" y="42"/>
                    <a:pt x="799" y="42"/>
                  </a:cubicBezTo>
                  <a:cubicBezTo>
                    <a:pt x="799" y="42"/>
                    <a:pt x="799" y="41"/>
                    <a:pt x="799" y="41"/>
                  </a:cubicBezTo>
                  <a:close/>
                  <a:moveTo>
                    <a:pt x="1382" y="8"/>
                  </a:moveTo>
                  <a:cubicBezTo>
                    <a:pt x="1382" y="8"/>
                    <a:pt x="1382" y="8"/>
                    <a:pt x="1383" y="8"/>
                  </a:cubicBezTo>
                  <a:cubicBezTo>
                    <a:pt x="1382" y="8"/>
                    <a:pt x="1382" y="8"/>
                    <a:pt x="1382" y="8"/>
                  </a:cubicBezTo>
                  <a:close/>
                  <a:moveTo>
                    <a:pt x="1675" y="75"/>
                  </a:moveTo>
                  <a:cubicBezTo>
                    <a:pt x="1675" y="75"/>
                    <a:pt x="1675" y="75"/>
                    <a:pt x="1676" y="75"/>
                  </a:cubicBezTo>
                  <a:cubicBezTo>
                    <a:pt x="1676" y="75"/>
                    <a:pt x="1676" y="75"/>
                    <a:pt x="1675" y="75"/>
                  </a:cubicBezTo>
                  <a:close/>
                  <a:moveTo>
                    <a:pt x="640" y="75"/>
                  </a:moveTo>
                  <a:cubicBezTo>
                    <a:pt x="639" y="75"/>
                    <a:pt x="639" y="75"/>
                    <a:pt x="639" y="76"/>
                  </a:cubicBezTo>
                  <a:cubicBezTo>
                    <a:pt x="640" y="76"/>
                    <a:pt x="640" y="75"/>
                    <a:pt x="640" y="75"/>
                  </a:cubicBezTo>
                  <a:close/>
                  <a:moveTo>
                    <a:pt x="682" y="75"/>
                  </a:moveTo>
                  <a:cubicBezTo>
                    <a:pt x="681" y="75"/>
                    <a:pt x="681" y="75"/>
                    <a:pt x="681" y="75"/>
                  </a:cubicBezTo>
                  <a:cubicBezTo>
                    <a:pt x="681" y="75"/>
                    <a:pt x="681" y="75"/>
                    <a:pt x="682" y="75"/>
                  </a:cubicBezTo>
                  <a:close/>
                  <a:moveTo>
                    <a:pt x="1502" y="8"/>
                  </a:moveTo>
                  <a:cubicBezTo>
                    <a:pt x="1503" y="8"/>
                    <a:pt x="1503" y="8"/>
                    <a:pt x="1503" y="8"/>
                  </a:cubicBezTo>
                  <a:cubicBezTo>
                    <a:pt x="1503" y="8"/>
                    <a:pt x="1502" y="8"/>
                    <a:pt x="1502" y="8"/>
                  </a:cubicBezTo>
                  <a:close/>
                  <a:moveTo>
                    <a:pt x="967" y="75"/>
                  </a:moveTo>
                  <a:cubicBezTo>
                    <a:pt x="967" y="75"/>
                    <a:pt x="967" y="76"/>
                    <a:pt x="967" y="76"/>
                  </a:cubicBezTo>
                  <a:cubicBezTo>
                    <a:pt x="967" y="75"/>
                    <a:pt x="967" y="75"/>
                    <a:pt x="967" y="75"/>
                  </a:cubicBezTo>
                  <a:close/>
                  <a:moveTo>
                    <a:pt x="1370" y="58"/>
                  </a:moveTo>
                  <a:cubicBezTo>
                    <a:pt x="1370" y="58"/>
                    <a:pt x="1371" y="58"/>
                    <a:pt x="1371" y="58"/>
                  </a:cubicBezTo>
                  <a:cubicBezTo>
                    <a:pt x="1370" y="58"/>
                    <a:pt x="1370" y="58"/>
                    <a:pt x="1370" y="58"/>
                  </a:cubicBezTo>
                  <a:close/>
                  <a:moveTo>
                    <a:pt x="875" y="48"/>
                  </a:moveTo>
                  <a:cubicBezTo>
                    <a:pt x="875" y="48"/>
                    <a:pt x="875" y="49"/>
                    <a:pt x="875" y="49"/>
                  </a:cubicBezTo>
                  <a:cubicBezTo>
                    <a:pt x="875" y="49"/>
                    <a:pt x="875" y="49"/>
                    <a:pt x="875" y="48"/>
                  </a:cubicBezTo>
                  <a:close/>
                  <a:moveTo>
                    <a:pt x="1033" y="49"/>
                  </a:moveTo>
                  <a:cubicBezTo>
                    <a:pt x="1034" y="49"/>
                    <a:pt x="1034" y="49"/>
                    <a:pt x="1034" y="49"/>
                  </a:cubicBezTo>
                  <a:cubicBezTo>
                    <a:pt x="1034" y="49"/>
                    <a:pt x="1033" y="49"/>
                    <a:pt x="1033" y="49"/>
                  </a:cubicBezTo>
                  <a:close/>
                  <a:moveTo>
                    <a:pt x="832" y="48"/>
                  </a:moveTo>
                  <a:cubicBezTo>
                    <a:pt x="832" y="48"/>
                    <a:pt x="832" y="49"/>
                    <a:pt x="832" y="49"/>
                  </a:cubicBezTo>
                  <a:cubicBezTo>
                    <a:pt x="832" y="49"/>
                    <a:pt x="832" y="49"/>
                    <a:pt x="832" y="48"/>
                  </a:cubicBezTo>
                  <a:close/>
                  <a:moveTo>
                    <a:pt x="608" y="76"/>
                  </a:moveTo>
                  <a:cubicBezTo>
                    <a:pt x="608" y="76"/>
                    <a:pt x="608" y="75"/>
                    <a:pt x="608" y="75"/>
                  </a:cubicBezTo>
                  <a:cubicBezTo>
                    <a:pt x="608" y="76"/>
                    <a:pt x="608" y="76"/>
                    <a:pt x="608" y="76"/>
                  </a:cubicBezTo>
                  <a:close/>
                  <a:moveTo>
                    <a:pt x="629" y="76"/>
                  </a:moveTo>
                  <a:cubicBezTo>
                    <a:pt x="629" y="76"/>
                    <a:pt x="629" y="76"/>
                    <a:pt x="629" y="75"/>
                  </a:cubicBezTo>
                  <a:cubicBezTo>
                    <a:pt x="629" y="76"/>
                    <a:pt x="629" y="76"/>
                    <a:pt x="629" y="76"/>
                  </a:cubicBezTo>
                  <a:close/>
                  <a:moveTo>
                    <a:pt x="752" y="49"/>
                  </a:moveTo>
                  <a:cubicBezTo>
                    <a:pt x="752" y="49"/>
                    <a:pt x="752" y="49"/>
                    <a:pt x="752" y="48"/>
                  </a:cubicBezTo>
                  <a:cubicBezTo>
                    <a:pt x="752" y="48"/>
                    <a:pt x="752" y="49"/>
                    <a:pt x="752" y="49"/>
                  </a:cubicBezTo>
                  <a:close/>
                  <a:moveTo>
                    <a:pt x="954" y="76"/>
                  </a:moveTo>
                  <a:cubicBezTo>
                    <a:pt x="954" y="76"/>
                    <a:pt x="954" y="75"/>
                    <a:pt x="954" y="75"/>
                  </a:cubicBezTo>
                  <a:cubicBezTo>
                    <a:pt x="954" y="76"/>
                    <a:pt x="954" y="76"/>
                    <a:pt x="954" y="76"/>
                  </a:cubicBezTo>
                  <a:close/>
                  <a:moveTo>
                    <a:pt x="1664" y="76"/>
                  </a:moveTo>
                  <a:cubicBezTo>
                    <a:pt x="1664" y="76"/>
                    <a:pt x="1664" y="75"/>
                    <a:pt x="1663" y="75"/>
                  </a:cubicBezTo>
                  <a:cubicBezTo>
                    <a:pt x="1663" y="76"/>
                    <a:pt x="1663" y="76"/>
                    <a:pt x="1664" y="76"/>
                  </a:cubicBezTo>
                  <a:close/>
                  <a:moveTo>
                    <a:pt x="1676" y="75"/>
                  </a:moveTo>
                  <a:cubicBezTo>
                    <a:pt x="1676" y="76"/>
                    <a:pt x="1676" y="76"/>
                    <a:pt x="1676" y="76"/>
                  </a:cubicBezTo>
                  <a:cubicBezTo>
                    <a:pt x="1676" y="76"/>
                    <a:pt x="1676" y="76"/>
                    <a:pt x="1676" y="75"/>
                  </a:cubicBezTo>
                  <a:close/>
                  <a:moveTo>
                    <a:pt x="619" y="76"/>
                  </a:moveTo>
                  <a:cubicBezTo>
                    <a:pt x="619" y="76"/>
                    <a:pt x="619" y="76"/>
                    <a:pt x="619" y="77"/>
                  </a:cubicBezTo>
                  <a:cubicBezTo>
                    <a:pt x="619" y="76"/>
                    <a:pt x="619" y="76"/>
                    <a:pt x="619" y="76"/>
                  </a:cubicBezTo>
                  <a:close/>
                  <a:moveTo>
                    <a:pt x="639" y="76"/>
                  </a:moveTo>
                  <a:cubicBezTo>
                    <a:pt x="639" y="76"/>
                    <a:pt x="639" y="76"/>
                    <a:pt x="639" y="76"/>
                  </a:cubicBezTo>
                  <a:cubicBezTo>
                    <a:pt x="639" y="76"/>
                    <a:pt x="639" y="76"/>
                    <a:pt x="639" y="76"/>
                  </a:cubicBezTo>
                  <a:close/>
                  <a:moveTo>
                    <a:pt x="683" y="76"/>
                  </a:moveTo>
                  <a:cubicBezTo>
                    <a:pt x="682" y="76"/>
                    <a:pt x="682" y="76"/>
                    <a:pt x="682" y="76"/>
                  </a:cubicBezTo>
                  <a:cubicBezTo>
                    <a:pt x="682" y="76"/>
                    <a:pt x="682" y="76"/>
                    <a:pt x="683" y="76"/>
                  </a:cubicBezTo>
                  <a:close/>
                  <a:moveTo>
                    <a:pt x="967" y="76"/>
                  </a:moveTo>
                  <a:cubicBezTo>
                    <a:pt x="967" y="76"/>
                    <a:pt x="967" y="76"/>
                    <a:pt x="967" y="76"/>
                  </a:cubicBezTo>
                  <a:cubicBezTo>
                    <a:pt x="967" y="76"/>
                    <a:pt x="967" y="76"/>
                    <a:pt x="967" y="76"/>
                  </a:cubicBezTo>
                  <a:close/>
                  <a:moveTo>
                    <a:pt x="1349" y="76"/>
                  </a:moveTo>
                  <a:cubicBezTo>
                    <a:pt x="1349" y="76"/>
                    <a:pt x="1350" y="76"/>
                    <a:pt x="1350" y="76"/>
                  </a:cubicBezTo>
                  <a:cubicBezTo>
                    <a:pt x="1349" y="76"/>
                    <a:pt x="1349" y="76"/>
                    <a:pt x="1349" y="76"/>
                  </a:cubicBezTo>
                  <a:close/>
                  <a:moveTo>
                    <a:pt x="1541" y="8"/>
                  </a:moveTo>
                  <a:cubicBezTo>
                    <a:pt x="1542" y="8"/>
                    <a:pt x="1542" y="8"/>
                    <a:pt x="1542" y="8"/>
                  </a:cubicBezTo>
                  <a:cubicBezTo>
                    <a:pt x="1542" y="8"/>
                    <a:pt x="1542" y="8"/>
                    <a:pt x="1541" y="8"/>
                  </a:cubicBezTo>
                  <a:close/>
                  <a:moveTo>
                    <a:pt x="609" y="77"/>
                  </a:moveTo>
                  <a:cubicBezTo>
                    <a:pt x="609" y="77"/>
                    <a:pt x="609" y="76"/>
                    <a:pt x="608" y="76"/>
                  </a:cubicBezTo>
                  <a:cubicBezTo>
                    <a:pt x="608" y="76"/>
                    <a:pt x="608" y="77"/>
                    <a:pt x="609" y="77"/>
                  </a:cubicBezTo>
                  <a:close/>
                  <a:moveTo>
                    <a:pt x="1566" y="8"/>
                  </a:moveTo>
                  <a:cubicBezTo>
                    <a:pt x="1566" y="8"/>
                    <a:pt x="1566" y="8"/>
                    <a:pt x="1567" y="8"/>
                  </a:cubicBezTo>
                  <a:cubicBezTo>
                    <a:pt x="1567" y="8"/>
                    <a:pt x="1566" y="8"/>
                    <a:pt x="1566" y="8"/>
                  </a:cubicBezTo>
                  <a:close/>
                  <a:moveTo>
                    <a:pt x="683" y="76"/>
                  </a:moveTo>
                  <a:cubicBezTo>
                    <a:pt x="683" y="76"/>
                    <a:pt x="683" y="76"/>
                    <a:pt x="683" y="76"/>
                  </a:cubicBezTo>
                  <a:cubicBezTo>
                    <a:pt x="683" y="76"/>
                    <a:pt x="683" y="76"/>
                    <a:pt x="683" y="76"/>
                  </a:cubicBezTo>
                  <a:close/>
                  <a:moveTo>
                    <a:pt x="698" y="76"/>
                  </a:moveTo>
                  <a:cubicBezTo>
                    <a:pt x="698" y="76"/>
                    <a:pt x="698" y="77"/>
                    <a:pt x="699" y="77"/>
                  </a:cubicBezTo>
                  <a:cubicBezTo>
                    <a:pt x="699" y="77"/>
                    <a:pt x="699" y="76"/>
                    <a:pt x="698" y="76"/>
                  </a:cubicBezTo>
                  <a:close/>
                  <a:moveTo>
                    <a:pt x="1709" y="8"/>
                  </a:moveTo>
                  <a:cubicBezTo>
                    <a:pt x="1710" y="8"/>
                    <a:pt x="1710" y="8"/>
                    <a:pt x="1710" y="8"/>
                  </a:cubicBezTo>
                  <a:cubicBezTo>
                    <a:pt x="1710" y="8"/>
                    <a:pt x="1710" y="8"/>
                    <a:pt x="1709" y="8"/>
                  </a:cubicBezTo>
                  <a:close/>
                  <a:moveTo>
                    <a:pt x="563" y="48"/>
                  </a:moveTo>
                  <a:cubicBezTo>
                    <a:pt x="563" y="49"/>
                    <a:pt x="564" y="49"/>
                    <a:pt x="564" y="49"/>
                  </a:cubicBezTo>
                  <a:cubicBezTo>
                    <a:pt x="564" y="48"/>
                    <a:pt x="563" y="48"/>
                    <a:pt x="563" y="48"/>
                  </a:cubicBezTo>
                  <a:close/>
                  <a:moveTo>
                    <a:pt x="1734" y="8"/>
                  </a:moveTo>
                  <a:cubicBezTo>
                    <a:pt x="1734" y="8"/>
                    <a:pt x="1735" y="8"/>
                    <a:pt x="1735" y="8"/>
                  </a:cubicBezTo>
                  <a:cubicBezTo>
                    <a:pt x="1735" y="8"/>
                    <a:pt x="1734" y="8"/>
                    <a:pt x="1734" y="8"/>
                  </a:cubicBezTo>
                  <a:close/>
                  <a:moveTo>
                    <a:pt x="1664" y="77"/>
                  </a:moveTo>
                  <a:cubicBezTo>
                    <a:pt x="1664" y="76"/>
                    <a:pt x="1664" y="76"/>
                    <a:pt x="1664" y="76"/>
                  </a:cubicBezTo>
                  <a:cubicBezTo>
                    <a:pt x="1664" y="76"/>
                    <a:pt x="1664" y="77"/>
                    <a:pt x="1664" y="77"/>
                  </a:cubicBezTo>
                  <a:close/>
                  <a:moveTo>
                    <a:pt x="1676" y="76"/>
                  </a:moveTo>
                  <a:cubicBezTo>
                    <a:pt x="1676" y="76"/>
                    <a:pt x="1676" y="77"/>
                    <a:pt x="1676" y="77"/>
                  </a:cubicBezTo>
                  <a:cubicBezTo>
                    <a:pt x="1676" y="77"/>
                    <a:pt x="1676" y="76"/>
                    <a:pt x="1676" y="76"/>
                  </a:cubicBezTo>
                  <a:close/>
                  <a:moveTo>
                    <a:pt x="602" y="59"/>
                  </a:moveTo>
                  <a:cubicBezTo>
                    <a:pt x="602" y="59"/>
                    <a:pt x="602" y="58"/>
                    <a:pt x="602" y="58"/>
                  </a:cubicBezTo>
                  <a:cubicBezTo>
                    <a:pt x="601" y="59"/>
                    <a:pt x="602" y="59"/>
                    <a:pt x="602" y="59"/>
                  </a:cubicBezTo>
                  <a:close/>
                  <a:moveTo>
                    <a:pt x="965" y="40"/>
                  </a:moveTo>
                  <a:cubicBezTo>
                    <a:pt x="965" y="40"/>
                    <a:pt x="965" y="41"/>
                    <a:pt x="965" y="41"/>
                  </a:cubicBezTo>
                  <a:cubicBezTo>
                    <a:pt x="965" y="41"/>
                    <a:pt x="965" y="40"/>
                    <a:pt x="965" y="40"/>
                  </a:cubicBezTo>
                  <a:close/>
                  <a:moveTo>
                    <a:pt x="619" y="77"/>
                  </a:moveTo>
                  <a:cubicBezTo>
                    <a:pt x="619" y="77"/>
                    <a:pt x="619" y="77"/>
                    <a:pt x="620" y="78"/>
                  </a:cubicBezTo>
                  <a:cubicBezTo>
                    <a:pt x="620" y="77"/>
                    <a:pt x="620" y="77"/>
                    <a:pt x="619" y="77"/>
                  </a:cubicBezTo>
                  <a:close/>
                  <a:moveTo>
                    <a:pt x="639" y="77"/>
                  </a:moveTo>
                  <a:cubicBezTo>
                    <a:pt x="639" y="77"/>
                    <a:pt x="639" y="77"/>
                    <a:pt x="639" y="77"/>
                  </a:cubicBezTo>
                  <a:cubicBezTo>
                    <a:pt x="639" y="77"/>
                    <a:pt x="639" y="77"/>
                    <a:pt x="639" y="77"/>
                  </a:cubicBezTo>
                  <a:close/>
                  <a:moveTo>
                    <a:pt x="684" y="77"/>
                  </a:moveTo>
                  <a:cubicBezTo>
                    <a:pt x="684" y="77"/>
                    <a:pt x="684" y="77"/>
                    <a:pt x="684" y="77"/>
                  </a:cubicBezTo>
                  <a:cubicBezTo>
                    <a:pt x="684" y="77"/>
                    <a:pt x="684" y="77"/>
                    <a:pt x="684" y="77"/>
                  </a:cubicBezTo>
                  <a:close/>
                  <a:moveTo>
                    <a:pt x="553" y="8"/>
                  </a:moveTo>
                  <a:cubicBezTo>
                    <a:pt x="553" y="8"/>
                    <a:pt x="553" y="8"/>
                    <a:pt x="553" y="8"/>
                  </a:cubicBezTo>
                  <a:cubicBezTo>
                    <a:pt x="553" y="8"/>
                    <a:pt x="553" y="8"/>
                    <a:pt x="553" y="8"/>
                  </a:cubicBezTo>
                  <a:close/>
                  <a:moveTo>
                    <a:pt x="968" y="77"/>
                  </a:moveTo>
                  <a:cubicBezTo>
                    <a:pt x="968" y="77"/>
                    <a:pt x="968" y="77"/>
                    <a:pt x="968" y="78"/>
                  </a:cubicBezTo>
                  <a:cubicBezTo>
                    <a:pt x="968" y="77"/>
                    <a:pt x="968" y="77"/>
                    <a:pt x="968" y="77"/>
                  </a:cubicBezTo>
                  <a:close/>
                  <a:moveTo>
                    <a:pt x="635" y="59"/>
                  </a:moveTo>
                  <a:cubicBezTo>
                    <a:pt x="636" y="59"/>
                    <a:pt x="636" y="59"/>
                    <a:pt x="636" y="58"/>
                  </a:cubicBezTo>
                  <a:cubicBezTo>
                    <a:pt x="635" y="59"/>
                    <a:pt x="635" y="59"/>
                    <a:pt x="635" y="59"/>
                  </a:cubicBezTo>
                  <a:close/>
                  <a:moveTo>
                    <a:pt x="1533" y="77"/>
                  </a:moveTo>
                  <a:cubicBezTo>
                    <a:pt x="1533" y="77"/>
                    <a:pt x="1533" y="77"/>
                    <a:pt x="1533" y="77"/>
                  </a:cubicBezTo>
                  <a:cubicBezTo>
                    <a:pt x="1533" y="77"/>
                    <a:pt x="1533" y="77"/>
                    <a:pt x="1533" y="77"/>
                  </a:cubicBezTo>
                  <a:close/>
                  <a:moveTo>
                    <a:pt x="1664" y="77"/>
                  </a:moveTo>
                  <a:cubicBezTo>
                    <a:pt x="1664" y="77"/>
                    <a:pt x="1664" y="77"/>
                    <a:pt x="1664" y="77"/>
                  </a:cubicBezTo>
                  <a:cubicBezTo>
                    <a:pt x="1664" y="77"/>
                    <a:pt x="1664" y="77"/>
                    <a:pt x="1664" y="77"/>
                  </a:cubicBezTo>
                  <a:close/>
                  <a:moveTo>
                    <a:pt x="1676" y="77"/>
                  </a:moveTo>
                  <a:cubicBezTo>
                    <a:pt x="1676" y="77"/>
                    <a:pt x="1676" y="77"/>
                    <a:pt x="1677" y="78"/>
                  </a:cubicBezTo>
                  <a:cubicBezTo>
                    <a:pt x="1677" y="77"/>
                    <a:pt x="1677" y="77"/>
                    <a:pt x="1676" y="77"/>
                  </a:cubicBezTo>
                  <a:close/>
                  <a:moveTo>
                    <a:pt x="1701" y="77"/>
                  </a:moveTo>
                  <a:cubicBezTo>
                    <a:pt x="1701" y="77"/>
                    <a:pt x="1701" y="77"/>
                    <a:pt x="1701" y="77"/>
                  </a:cubicBezTo>
                  <a:cubicBezTo>
                    <a:pt x="1701" y="77"/>
                    <a:pt x="1701" y="77"/>
                    <a:pt x="1701" y="77"/>
                  </a:cubicBezTo>
                  <a:close/>
                  <a:moveTo>
                    <a:pt x="609" y="78"/>
                  </a:moveTo>
                  <a:cubicBezTo>
                    <a:pt x="609" y="78"/>
                    <a:pt x="609" y="77"/>
                    <a:pt x="609" y="77"/>
                  </a:cubicBezTo>
                  <a:cubicBezTo>
                    <a:pt x="609" y="77"/>
                    <a:pt x="609" y="78"/>
                    <a:pt x="609" y="78"/>
                  </a:cubicBezTo>
                  <a:close/>
                  <a:moveTo>
                    <a:pt x="628" y="78"/>
                  </a:moveTo>
                  <a:cubicBezTo>
                    <a:pt x="629" y="78"/>
                    <a:pt x="629" y="77"/>
                    <a:pt x="629" y="77"/>
                  </a:cubicBezTo>
                  <a:cubicBezTo>
                    <a:pt x="628" y="77"/>
                    <a:pt x="628" y="78"/>
                    <a:pt x="628" y="78"/>
                  </a:cubicBezTo>
                  <a:close/>
                  <a:moveTo>
                    <a:pt x="955" y="78"/>
                  </a:moveTo>
                  <a:cubicBezTo>
                    <a:pt x="955" y="78"/>
                    <a:pt x="955" y="77"/>
                    <a:pt x="954" y="77"/>
                  </a:cubicBezTo>
                  <a:cubicBezTo>
                    <a:pt x="954" y="77"/>
                    <a:pt x="954" y="78"/>
                    <a:pt x="955" y="78"/>
                  </a:cubicBezTo>
                  <a:close/>
                  <a:moveTo>
                    <a:pt x="1348" y="78"/>
                  </a:moveTo>
                  <a:cubicBezTo>
                    <a:pt x="1348" y="78"/>
                    <a:pt x="1349" y="77"/>
                    <a:pt x="1349" y="77"/>
                  </a:cubicBezTo>
                  <a:cubicBezTo>
                    <a:pt x="1348" y="77"/>
                    <a:pt x="1348" y="78"/>
                    <a:pt x="1348" y="78"/>
                  </a:cubicBezTo>
                  <a:close/>
                  <a:moveTo>
                    <a:pt x="646" y="58"/>
                  </a:moveTo>
                  <a:cubicBezTo>
                    <a:pt x="646" y="58"/>
                    <a:pt x="646" y="59"/>
                    <a:pt x="646" y="59"/>
                  </a:cubicBezTo>
                  <a:cubicBezTo>
                    <a:pt x="646" y="59"/>
                    <a:pt x="646" y="59"/>
                    <a:pt x="646" y="58"/>
                  </a:cubicBezTo>
                  <a:close/>
                  <a:moveTo>
                    <a:pt x="639" y="77"/>
                  </a:moveTo>
                  <a:cubicBezTo>
                    <a:pt x="638" y="78"/>
                    <a:pt x="638" y="78"/>
                    <a:pt x="638" y="78"/>
                  </a:cubicBezTo>
                  <a:cubicBezTo>
                    <a:pt x="639" y="78"/>
                    <a:pt x="639" y="78"/>
                    <a:pt x="639" y="77"/>
                  </a:cubicBezTo>
                  <a:close/>
                  <a:moveTo>
                    <a:pt x="570" y="52"/>
                  </a:moveTo>
                  <a:cubicBezTo>
                    <a:pt x="571" y="53"/>
                    <a:pt x="571" y="53"/>
                    <a:pt x="571" y="53"/>
                  </a:cubicBezTo>
                  <a:cubicBezTo>
                    <a:pt x="571" y="53"/>
                    <a:pt x="571" y="52"/>
                    <a:pt x="570" y="52"/>
                  </a:cubicBezTo>
                  <a:close/>
                  <a:moveTo>
                    <a:pt x="1671" y="55"/>
                  </a:moveTo>
                  <a:cubicBezTo>
                    <a:pt x="1671" y="56"/>
                    <a:pt x="1671" y="56"/>
                    <a:pt x="1671" y="56"/>
                  </a:cubicBezTo>
                  <a:cubicBezTo>
                    <a:pt x="1671" y="56"/>
                    <a:pt x="1671" y="56"/>
                    <a:pt x="1671" y="55"/>
                  </a:cubicBezTo>
                  <a:close/>
                  <a:moveTo>
                    <a:pt x="583" y="8"/>
                  </a:moveTo>
                  <a:cubicBezTo>
                    <a:pt x="583" y="8"/>
                    <a:pt x="583" y="8"/>
                    <a:pt x="584" y="8"/>
                  </a:cubicBezTo>
                  <a:cubicBezTo>
                    <a:pt x="584" y="8"/>
                    <a:pt x="583" y="8"/>
                    <a:pt x="583" y="8"/>
                  </a:cubicBezTo>
                  <a:close/>
                  <a:moveTo>
                    <a:pt x="968" y="78"/>
                  </a:moveTo>
                  <a:cubicBezTo>
                    <a:pt x="968" y="78"/>
                    <a:pt x="968" y="78"/>
                    <a:pt x="968" y="78"/>
                  </a:cubicBezTo>
                  <a:cubicBezTo>
                    <a:pt x="968" y="78"/>
                    <a:pt x="968" y="78"/>
                    <a:pt x="968" y="78"/>
                  </a:cubicBezTo>
                  <a:close/>
                  <a:moveTo>
                    <a:pt x="1016" y="8"/>
                  </a:moveTo>
                  <a:cubicBezTo>
                    <a:pt x="1016" y="8"/>
                    <a:pt x="1017" y="8"/>
                    <a:pt x="1017" y="8"/>
                  </a:cubicBezTo>
                  <a:cubicBezTo>
                    <a:pt x="1017" y="8"/>
                    <a:pt x="1017" y="8"/>
                    <a:pt x="1016" y="8"/>
                  </a:cubicBezTo>
                  <a:close/>
                  <a:moveTo>
                    <a:pt x="1665" y="78"/>
                  </a:moveTo>
                  <a:cubicBezTo>
                    <a:pt x="1665" y="78"/>
                    <a:pt x="1664" y="78"/>
                    <a:pt x="1664" y="77"/>
                  </a:cubicBezTo>
                  <a:cubicBezTo>
                    <a:pt x="1664" y="78"/>
                    <a:pt x="1664" y="78"/>
                    <a:pt x="1665" y="78"/>
                  </a:cubicBezTo>
                  <a:close/>
                  <a:moveTo>
                    <a:pt x="1677" y="78"/>
                  </a:moveTo>
                  <a:cubicBezTo>
                    <a:pt x="1677" y="78"/>
                    <a:pt x="1677" y="78"/>
                    <a:pt x="1677" y="78"/>
                  </a:cubicBezTo>
                  <a:cubicBezTo>
                    <a:pt x="1677" y="78"/>
                    <a:pt x="1677" y="78"/>
                    <a:pt x="1677" y="78"/>
                  </a:cubicBezTo>
                  <a:close/>
                  <a:moveTo>
                    <a:pt x="609" y="79"/>
                  </a:moveTo>
                  <a:cubicBezTo>
                    <a:pt x="609" y="78"/>
                    <a:pt x="609" y="78"/>
                    <a:pt x="609" y="78"/>
                  </a:cubicBezTo>
                  <a:cubicBezTo>
                    <a:pt x="609" y="78"/>
                    <a:pt x="609" y="78"/>
                    <a:pt x="609" y="79"/>
                  </a:cubicBezTo>
                  <a:close/>
                  <a:moveTo>
                    <a:pt x="620" y="78"/>
                  </a:moveTo>
                  <a:cubicBezTo>
                    <a:pt x="620" y="78"/>
                    <a:pt x="620" y="78"/>
                    <a:pt x="620" y="79"/>
                  </a:cubicBezTo>
                  <a:cubicBezTo>
                    <a:pt x="620" y="78"/>
                    <a:pt x="620" y="78"/>
                    <a:pt x="620" y="78"/>
                  </a:cubicBezTo>
                  <a:close/>
                  <a:moveTo>
                    <a:pt x="1356" y="8"/>
                  </a:moveTo>
                  <a:cubicBezTo>
                    <a:pt x="1356" y="8"/>
                    <a:pt x="1357" y="8"/>
                    <a:pt x="1357" y="8"/>
                  </a:cubicBezTo>
                  <a:cubicBezTo>
                    <a:pt x="1357" y="8"/>
                    <a:pt x="1356" y="8"/>
                    <a:pt x="1356" y="8"/>
                  </a:cubicBezTo>
                  <a:close/>
                  <a:moveTo>
                    <a:pt x="955" y="79"/>
                  </a:moveTo>
                  <a:cubicBezTo>
                    <a:pt x="955" y="78"/>
                    <a:pt x="955" y="78"/>
                    <a:pt x="955" y="78"/>
                  </a:cubicBezTo>
                  <a:cubicBezTo>
                    <a:pt x="955" y="78"/>
                    <a:pt x="955" y="78"/>
                    <a:pt x="955" y="79"/>
                  </a:cubicBezTo>
                  <a:close/>
                  <a:moveTo>
                    <a:pt x="1532" y="79"/>
                  </a:moveTo>
                  <a:cubicBezTo>
                    <a:pt x="1532" y="78"/>
                    <a:pt x="1532" y="78"/>
                    <a:pt x="1532" y="78"/>
                  </a:cubicBezTo>
                  <a:cubicBezTo>
                    <a:pt x="1532" y="78"/>
                    <a:pt x="1532" y="78"/>
                    <a:pt x="1532" y="79"/>
                  </a:cubicBezTo>
                  <a:close/>
                  <a:moveTo>
                    <a:pt x="1700" y="79"/>
                  </a:moveTo>
                  <a:cubicBezTo>
                    <a:pt x="1700" y="78"/>
                    <a:pt x="1700" y="78"/>
                    <a:pt x="1700" y="78"/>
                  </a:cubicBezTo>
                  <a:cubicBezTo>
                    <a:pt x="1700" y="78"/>
                    <a:pt x="1700" y="78"/>
                    <a:pt x="1700" y="79"/>
                  </a:cubicBezTo>
                  <a:close/>
                  <a:moveTo>
                    <a:pt x="628" y="79"/>
                  </a:moveTo>
                  <a:cubicBezTo>
                    <a:pt x="628" y="79"/>
                    <a:pt x="628" y="79"/>
                    <a:pt x="628" y="78"/>
                  </a:cubicBezTo>
                  <a:cubicBezTo>
                    <a:pt x="628" y="78"/>
                    <a:pt x="628" y="79"/>
                    <a:pt x="628" y="79"/>
                  </a:cubicBezTo>
                  <a:close/>
                  <a:moveTo>
                    <a:pt x="1554" y="59"/>
                  </a:moveTo>
                  <a:cubicBezTo>
                    <a:pt x="1554" y="59"/>
                    <a:pt x="1554" y="59"/>
                    <a:pt x="1555" y="58"/>
                  </a:cubicBezTo>
                  <a:cubicBezTo>
                    <a:pt x="1554" y="58"/>
                    <a:pt x="1554" y="58"/>
                    <a:pt x="1554" y="59"/>
                  </a:cubicBezTo>
                  <a:close/>
                  <a:moveTo>
                    <a:pt x="1383" y="8"/>
                  </a:moveTo>
                  <a:cubicBezTo>
                    <a:pt x="1383" y="8"/>
                    <a:pt x="1383" y="8"/>
                    <a:pt x="1383" y="8"/>
                  </a:cubicBezTo>
                  <a:cubicBezTo>
                    <a:pt x="1383" y="8"/>
                    <a:pt x="1383" y="8"/>
                    <a:pt x="1383" y="8"/>
                  </a:cubicBezTo>
                  <a:close/>
                  <a:moveTo>
                    <a:pt x="1429" y="8"/>
                  </a:moveTo>
                  <a:cubicBezTo>
                    <a:pt x="1429" y="8"/>
                    <a:pt x="1429" y="8"/>
                    <a:pt x="1430" y="8"/>
                  </a:cubicBezTo>
                  <a:cubicBezTo>
                    <a:pt x="1429" y="8"/>
                    <a:pt x="1429" y="8"/>
                    <a:pt x="1429" y="8"/>
                  </a:cubicBezTo>
                  <a:close/>
                  <a:moveTo>
                    <a:pt x="1347" y="79"/>
                  </a:moveTo>
                  <a:cubicBezTo>
                    <a:pt x="1348" y="79"/>
                    <a:pt x="1348" y="79"/>
                    <a:pt x="1348" y="78"/>
                  </a:cubicBezTo>
                  <a:cubicBezTo>
                    <a:pt x="1348" y="78"/>
                    <a:pt x="1347" y="79"/>
                    <a:pt x="1347" y="79"/>
                  </a:cubicBezTo>
                  <a:close/>
                  <a:moveTo>
                    <a:pt x="1677" y="78"/>
                  </a:moveTo>
                  <a:cubicBezTo>
                    <a:pt x="1677" y="79"/>
                    <a:pt x="1677" y="79"/>
                    <a:pt x="1677" y="79"/>
                  </a:cubicBezTo>
                  <a:cubicBezTo>
                    <a:pt x="1677" y="79"/>
                    <a:pt x="1677" y="78"/>
                    <a:pt x="1677" y="78"/>
                  </a:cubicBezTo>
                  <a:close/>
                  <a:moveTo>
                    <a:pt x="1452" y="8"/>
                  </a:moveTo>
                  <a:cubicBezTo>
                    <a:pt x="1453" y="8"/>
                    <a:pt x="1453" y="8"/>
                    <a:pt x="1453" y="8"/>
                  </a:cubicBezTo>
                  <a:cubicBezTo>
                    <a:pt x="1453" y="8"/>
                    <a:pt x="1453" y="8"/>
                    <a:pt x="1452" y="8"/>
                  </a:cubicBezTo>
                  <a:close/>
                  <a:moveTo>
                    <a:pt x="638" y="78"/>
                  </a:moveTo>
                  <a:cubicBezTo>
                    <a:pt x="638" y="79"/>
                    <a:pt x="638" y="79"/>
                    <a:pt x="638" y="79"/>
                  </a:cubicBezTo>
                  <a:cubicBezTo>
                    <a:pt x="638" y="79"/>
                    <a:pt x="638" y="79"/>
                    <a:pt x="638" y="78"/>
                  </a:cubicBezTo>
                  <a:close/>
                  <a:moveTo>
                    <a:pt x="969" y="79"/>
                  </a:moveTo>
                  <a:cubicBezTo>
                    <a:pt x="969" y="79"/>
                    <a:pt x="969" y="79"/>
                    <a:pt x="969" y="79"/>
                  </a:cubicBezTo>
                  <a:cubicBezTo>
                    <a:pt x="969" y="79"/>
                    <a:pt x="969" y="79"/>
                    <a:pt x="969" y="79"/>
                  </a:cubicBezTo>
                  <a:close/>
                  <a:moveTo>
                    <a:pt x="642" y="42"/>
                  </a:moveTo>
                  <a:cubicBezTo>
                    <a:pt x="642" y="42"/>
                    <a:pt x="642" y="42"/>
                    <a:pt x="642" y="41"/>
                  </a:cubicBezTo>
                  <a:cubicBezTo>
                    <a:pt x="642" y="41"/>
                    <a:pt x="642" y="42"/>
                    <a:pt x="642" y="42"/>
                  </a:cubicBezTo>
                  <a:close/>
                  <a:moveTo>
                    <a:pt x="1541" y="8"/>
                  </a:moveTo>
                  <a:cubicBezTo>
                    <a:pt x="1541" y="8"/>
                    <a:pt x="1541" y="8"/>
                    <a:pt x="1541" y="8"/>
                  </a:cubicBezTo>
                  <a:cubicBezTo>
                    <a:pt x="1541" y="8"/>
                    <a:pt x="1541" y="8"/>
                    <a:pt x="1541" y="8"/>
                  </a:cubicBezTo>
                  <a:close/>
                  <a:moveTo>
                    <a:pt x="1709" y="8"/>
                  </a:moveTo>
                  <a:cubicBezTo>
                    <a:pt x="1709" y="8"/>
                    <a:pt x="1709" y="8"/>
                    <a:pt x="1709" y="8"/>
                  </a:cubicBezTo>
                  <a:cubicBezTo>
                    <a:pt x="1709" y="8"/>
                    <a:pt x="1709" y="8"/>
                    <a:pt x="1709" y="8"/>
                  </a:cubicBezTo>
                  <a:close/>
                  <a:moveTo>
                    <a:pt x="1665" y="79"/>
                  </a:moveTo>
                  <a:cubicBezTo>
                    <a:pt x="1665" y="79"/>
                    <a:pt x="1665" y="79"/>
                    <a:pt x="1665" y="78"/>
                  </a:cubicBezTo>
                  <a:cubicBezTo>
                    <a:pt x="1665" y="79"/>
                    <a:pt x="1665" y="79"/>
                    <a:pt x="1665" y="79"/>
                  </a:cubicBezTo>
                  <a:close/>
                  <a:moveTo>
                    <a:pt x="610" y="80"/>
                  </a:moveTo>
                  <a:cubicBezTo>
                    <a:pt x="610" y="79"/>
                    <a:pt x="610" y="79"/>
                    <a:pt x="610" y="79"/>
                  </a:cubicBezTo>
                  <a:cubicBezTo>
                    <a:pt x="609" y="79"/>
                    <a:pt x="610" y="79"/>
                    <a:pt x="610" y="80"/>
                  </a:cubicBezTo>
                  <a:close/>
                  <a:moveTo>
                    <a:pt x="584" y="8"/>
                  </a:moveTo>
                  <a:cubicBezTo>
                    <a:pt x="584" y="9"/>
                    <a:pt x="584" y="9"/>
                    <a:pt x="584" y="9"/>
                  </a:cubicBezTo>
                  <a:cubicBezTo>
                    <a:pt x="584" y="8"/>
                    <a:pt x="584" y="8"/>
                    <a:pt x="584" y="8"/>
                  </a:cubicBezTo>
                  <a:close/>
                  <a:moveTo>
                    <a:pt x="956" y="80"/>
                  </a:moveTo>
                  <a:cubicBezTo>
                    <a:pt x="956" y="79"/>
                    <a:pt x="955" y="79"/>
                    <a:pt x="955" y="79"/>
                  </a:cubicBezTo>
                  <a:cubicBezTo>
                    <a:pt x="955" y="79"/>
                    <a:pt x="955" y="79"/>
                    <a:pt x="956" y="80"/>
                  </a:cubicBezTo>
                  <a:close/>
                  <a:moveTo>
                    <a:pt x="1531" y="80"/>
                  </a:moveTo>
                  <a:cubicBezTo>
                    <a:pt x="1532" y="79"/>
                    <a:pt x="1532" y="79"/>
                    <a:pt x="1532" y="79"/>
                  </a:cubicBezTo>
                  <a:cubicBezTo>
                    <a:pt x="1531" y="79"/>
                    <a:pt x="1531" y="79"/>
                    <a:pt x="1531" y="80"/>
                  </a:cubicBezTo>
                  <a:close/>
                  <a:moveTo>
                    <a:pt x="1677" y="79"/>
                  </a:moveTo>
                  <a:cubicBezTo>
                    <a:pt x="1677" y="79"/>
                    <a:pt x="1677" y="79"/>
                    <a:pt x="1678" y="80"/>
                  </a:cubicBezTo>
                  <a:cubicBezTo>
                    <a:pt x="1678" y="79"/>
                    <a:pt x="1678" y="79"/>
                    <a:pt x="1677" y="79"/>
                  </a:cubicBezTo>
                  <a:close/>
                  <a:moveTo>
                    <a:pt x="1699" y="80"/>
                  </a:moveTo>
                  <a:cubicBezTo>
                    <a:pt x="1700" y="79"/>
                    <a:pt x="1700" y="79"/>
                    <a:pt x="1700" y="79"/>
                  </a:cubicBezTo>
                  <a:cubicBezTo>
                    <a:pt x="1699" y="79"/>
                    <a:pt x="1699" y="79"/>
                    <a:pt x="1699" y="80"/>
                  </a:cubicBezTo>
                  <a:close/>
                  <a:moveTo>
                    <a:pt x="628" y="80"/>
                  </a:moveTo>
                  <a:cubicBezTo>
                    <a:pt x="628" y="80"/>
                    <a:pt x="628" y="80"/>
                    <a:pt x="628" y="79"/>
                  </a:cubicBezTo>
                  <a:cubicBezTo>
                    <a:pt x="628" y="79"/>
                    <a:pt x="628" y="80"/>
                    <a:pt x="628" y="80"/>
                  </a:cubicBezTo>
                  <a:close/>
                  <a:moveTo>
                    <a:pt x="638" y="79"/>
                  </a:moveTo>
                  <a:cubicBezTo>
                    <a:pt x="638" y="79"/>
                    <a:pt x="638" y="80"/>
                    <a:pt x="638" y="80"/>
                  </a:cubicBezTo>
                  <a:cubicBezTo>
                    <a:pt x="638" y="80"/>
                    <a:pt x="638" y="80"/>
                    <a:pt x="638" y="79"/>
                  </a:cubicBezTo>
                  <a:close/>
                  <a:moveTo>
                    <a:pt x="687" y="80"/>
                  </a:moveTo>
                  <a:cubicBezTo>
                    <a:pt x="687" y="80"/>
                    <a:pt x="687" y="79"/>
                    <a:pt x="687" y="79"/>
                  </a:cubicBezTo>
                  <a:cubicBezTo>
                    <a:pt x="687" y="80"/>
                    <a:pt x="687" y="80"/>
                    <a:pt x="687" y="80"/>
                  </a:cubicBezTo>
                  <a:close/>
                  <a:moveTo>
                    <a:pt x="908" y="40"/>
                  </a:moveTo>
                  <a:cubicBezTo>
                    <a:pt x="908" y="41"/>
                    <a:pt x="908" y="41"/>
                    <a:pt x="908" y="41"/>
                  </a:cubicBezTo>
                  <a:cubicBezTo>
                    <a:pt x="908" y="41"/>
                    <a:pt x="908" y="40"/>
                    <a:pt x="908" y="40"/>
                  </a:cubicBezTo>
                  <a:close/>
                  <a:moveTo>
                    <a:pt x="1355" y="9"/>
                  </a:moveTo>
                  <a:cubicBezTo>
                    <a:pt x="1356" y="9"/>
                    <a:pt x="1356" y="9"/>
                    <a:pt x="1356" y="8"/>
                  </a:cubicBezTo>
                  <a:cubicBezTo>
                    <a:pt x="1356" y="8"/>
                    <a:pt x="1356" y="8"/>
                    <a:pt x="1355" y="9"/>
                  </a:cubicBezTo>
                  <a:close/>
                  <a:moveTo>
                    <a:pt x="1383" y="8"/>
                  </a:moveTo>
                  <a:cubicBezTo>
                    <a:pt x="1383" y="8"/>
                    <a:pt x="1384" y="9"/>
                    <a:pt x="1384" y="9"/>
                  </a:cubicBezTo>
                  <a:cubicBezTo>
                    <a:pt x="1384" y="8"/>
                    <a:pt x="1384" y="8"/>
                    <a:pt x="1383" y="8"/>
                  </a:cubicBezTo>
                  <a:close/>
                  <a:moveTo>
                    <a:pt x="1347" y="80"/>
                  </a:moveTo>
                  <a:cubicBezTo>
                    <a:pt x="1347" y="80"/>
                    <a:pt x="1347" y="80"/>
                    <a:pt x="1347" y="79"/>
                  </a:cubicBezTo>
                  <a:cubicBezTo>
                    <a:pt x="1347" y="79"/>
                    <a:pt x="1347" y="80"/>
                    <a:pt x="1347" y="80"/>
                  </a:cubicBezTo>
                  <a:close/>
                  <a:moveTo>
                    <a:pt x="1722" y="59"/>
                  </a:moveTo>
                  <a:cubicBezTo>
                    <a:pt x="1722" y="59"/>
                    <a:pt x="1723" y="59"/>
                    <a:pt x="1723" y="58"/>
                  </a:cubicBezTo>
                  <a:cubicBezTo>
                    <a:pt x="1722" y="58"/>
                    <a:pt x="1722" y="58"/>
                    <a:pt x="1722" y="59"/>
                  </a:cubicBezTo>
                  <a:close/>
                  <a:moveTo>
                    <a:pt x="1665" y="80"/>
                  </a:moveTo>
                  <a:cubicBezTo>
                    <a:pt x="1665" y="80"/>
                    <a:pt x="1665" y="79"/>
                    <a:pt x="1665" y="79"/>
                  </a:cubicBezTo>
                  <a:cubicBezTo>
                    <a:pt x="1665" y="79"/>
                    <a:pt x="1665" y="80"/>
                    <a:pt x="1665" y="80"/>
                  </a:cubicBezTo>
                  <a:close/>
                  <a:moveTo>
                    <a:pt x="1428" y="9"/>
                  </a:moveTo>
                  <a:cubicBezTo>
                    <a:pt x="1428" y="9"/>
                    <a:pt x="1429" y="9"/>
                    <a:pt x="1429" y="8"/>
                  </a:cubicBezTo>
                  <a:cubicBezTo>
                    <a:pt x="1429" y="8"/>
                    <a:pt x="1428" y="8"/>
                    <a:pt x="1428" y="9"/>
                  </a:cubicBezTo>
                  <a:close/>
                  <a:moveTo>
                    <a:pt x="1453" y="8"/>
                  </a:moveTo>
                  <a:cubicBezTo>
                    <a:pt x="1453" y="9"/>
                    <a:pt x="1454" y="9"/>
                    <a:pt x="1454" y="9"/>
                  </a:cubicBezTo>
                  <a:cubicBezTo>
                    <a:pt x="1454" y="8"/>
                    <a:pt x="1454" y="8"/>
                    <a:pt x="1453" y="8"/>
                  </a:cubicBezTo>
                  <a:close/>
                  <a:moveTo>
                    <a:pt x="1501" y="9"/>
                  </a:moveTo>
                  <a:cubicBezTo>
                    <a:pt x="1502" y="9"/>
                    <a:pt x="1502" y="9"/>
                    <a:pt x="1502" y="8"/>
                  </a:cubicBezTo>
                  <a:cubicBezTo>
                    <a:pt x="1502" y="8"/>
                    <a:pt x="1501" y="8"/>
                    <a:pt x="1501" y="9"/>
                  </a:cubicBezTo>
                  <a:close/>
                  <a:moveTo>
                    <a:pt x="956" y="80"/>
                  </a:moveTo>
                  <a:cubicBezTo>
                    <a:pt x="956" y="80"/>
                    <a:pt x="956" y="80"/>
                    <a:pt x="956" y="80"/>
                  </a:cubicBezTo>
                  <a:cubicBezTo>
                    <a:pt x="956" y="80"/>
                    <a:pt x="956" y="80"/>
                    <a:pt x="956" y="80"/>
                  </a:cubicBezTo>
                  <a:close/>
                  <a:moveTo>
                    <a:pt x="969" y="80"/>
                  </a:moveTo>
                  <a:cubicBezTo>
                    <a:pt x="969" y="80"/>
                    <a:pt x="969" y="80"/>
                    <a:pt x="970" y="80"/>
                  </a:cubicBezTo>
                  <a:cubicBezTo>
                    <a:pt x="970" y="80"/>
                    <a:pt x="970" y="80"/>
                    <a:pt x="969" y="80"/>
                  </a:cubicBezTo>
                  <a:close/>
                  <a:moveTo>
                    <a:pt x="1220" y="80"/>
                  </a:moveTo>
                  <a:cubicBezTo>
                    <a:pt x="1220" y="80"/>
                    <a:pt x="1220" y="80"/>
                    <a:pt x="1220" y="80"/>
                  </a:cubicBezTo>
                  <a:cubicBezTo>
                    <a:pt x="1220" y="80"/>
                    <a:pt x="1220" y="80"/>
                    <a:pt x="1220" y="80"/>
                  </a:cubicBezTo>
                  <a:close/>
                  <a:moveTo>
                    <a:pt x="1678" y="80"/>
                  </a:moveTo>
                  <a:cubicBezTo>
                    <a:pt x="1678" y="80"/>
                    <a:pt x="1678" y="80"/>
                    <a:pt x="1678" y="80"/>
                  </a:cubicBezTo>
                  <a:cubicBezTo>
                    <a:pt x="1678" y="80"/>
                    <a:pt x="1678" y="80"/>
                    <a:pt x="1678" y="80"/>
                  </a:cubicBezTo>
                  <a:close/>
                  <a:moveTo>
                    <a:pt x="1540" y="9"/>
                  </a:moveTo>
                  <a:cubicBezTo>
                    <a:pt x="1540" y="9"/>
                    <a:pt x="1540" y="9"/>
                    <a:pt x="1540" y="8"/>
                  </a:cubicBezTo>
                  <a:cubicBezTo>
                    <a:pt x="1540" y="8"/>
                    <a:pt x="1540" y="8"/>
                    <a:pt x="1540" y="9"/>
                  </a:cubicBezTo>
                  <a:close/>
                  <a:moveTo>
                    <a:pt x="1568" y="8"/>
                  </a:moveTo>
                  <a:cubicBezTo>
                    <a:pt x="1568" y="9"/>
                    <a:pt x="1568" y="9"/>
                    <a:pt x="1568" y="9"/>
                  </a:cubicBezTo>
                  <a:cubicBezTo>
                    <a:pt x="1568" y="8"/>
                    <a:pt x="1568" y="8"/>
                    <a:pt x="1568" y="8"/>
                  </a:cubicBezTo>
                  <a:close/>
                  <a:moveTo>
                    <a:pt x="1708" y="9"/>
                  </a:moveTo>
                  <a:cubicBezTo>
                    <a:pt x="1708" y="9"/>
                    <a:pt x="1708" y="9"/>
                    <a:pt x="1709" y="8"/>
                  </a:cubicBezTo>
                  <a:cubicBezTo>
                    <a:pt x="1708" y="8"/>
                    <a:pt x="1708" y="8"/>
                    <a:pt x="1708" y="9"/>
                  </a:cubicBezTo>
                  <a:close/>
                  <a:moveTo>
                    <a:pt x="1346" y="81"/>
                  </a:moveTo>
                  <a:cubicBezTo>
                    <a:pt x="1347" y="80"/>
                    <a:pt x="1347" y="80"/>
                    <a:pt x="1347" y="80"/>
                  </a:cubicBezTo>
                  <a:cubicBezTo>
                    <a:pt x="1346" y="80"/>
                    <a:pt x="1346" y="80"/>
                    <a:pt x="1346" y="81"/>
                  </a:cubicBezTo>
                  <a:close/>
                  <a:moveTo>
                    <a:pt x="1358" y="80"/>
                  </a:moveTo>
                  <a:cubicBezTo>
                    <a:pt x="1358" y="80"/>
                    <a:pt x="1358" y="80"/>
                    <a:pt x="1358" y="81"/>
                  </a:cubicBezTo>
                  <a:cubicBezTo>
                    <a:pt x="1358" y="81"/>
                    <a:pt x="1358" y="80"/>
                    <a:pt x="1358" y="80"/>
                  </a:cubicBezTo>
                  <a:close/>
                  <a:moveTo>
                    <a:pt x="1736" y="8"/>
                  </a:moveTo>
                  <a:cubicBezTo>
                    <a:pt x="1736" y="9"/>
                    <a:pt x="1736" y="9"/>
                    <a:pt x="1737" y="9"/>
                  </a:cubicBezTo>
                  <a:cubicBezTo>
                    <a:pt x="1736" y="8"/>
                    <a:pt x="1736" y="8"/>
                    <a:pt x="1736" y="8"/>
                  </a:cubicBezTo>
                  <a:close/>
                  <a:moveTo>
                    <a:pt x="1467" y="80"/>
                  </a:moveTo>
                  <a:cubicBezTo>
                    <a:pt x="1467" y="80"/>
                    <a:pt x="1467" y="80"/>
                    <a:pt x="1467" y="81"/>
                  </a:cubicBezTo>
                  <a:cubicBezTo>
                    <a:pt x="1468" y="80"/>
                    <a:pt x="1468" y="80"/>
                    <a:pt x="1467" y="80"/>
                  </a:cubicBezTo>
                  <a:close/>
                  <a:moveTo>
                    <a:pt x="1666" y="81"/>
                  </a:moveTo>
                  <a:cubicBezTo>
                    <a:pt x="1666" y="80"/>
                    <a:pt x="1665" y="80"/>
                    <a:pt x="1665" y="80"/>
                  </a:cubicBezTo>
                  <a:cubicBezTo>
                    <a:pt x="1665" y="80"/>
                    <a:pt x="1665" y="80"/>
                    <a:pt x="1666" y="81"/>
                  </a:cubicBezTo>
                  <a:close/>
                  <a:moveTo>
                    <a:pt x="551" y="9"/>
                  </a:moveTo>
                  <a:cubicBezTo>
                    <a:pt x="551" y="9"/>
                    <a:pt x="552" y="9"/>
                    <a:pt x="552" y="9"/>
                  </a:cubicBezTo>
                  <a:cubicBezTo>
                    <a:pt x="551" y="9"/>
                    <a:pt x="551" y="9"/>
                    <a:pt x="551" y="9"/>
                  </a:cubicBezTo>
                  <a:close/>
                  <a:moveTo>
                    <a:pt x="638" y="80"/>
                  </a:moveTo>
                  <a:cubicBezTo>
                    <a:pt x="637" y="80"/>
                    <a:pt x="637" y="81"/>
                    <a:pt x="637" y="81"/>
                  </a:cubicBezTo>
                  <a:cubicBezTo>
                    <a:pt x="638" y="81"/>
                    <a:pt x="638" y="80"/>
                    <a:pt x="638" y="80"/>
                  </a:cubicBezTo>
                  <a:close/>
                  <a:moveTo>
                    <a:pt x="956" y="81"/>
                  </a:moveTo>
                  <a:cubicBezTo>
                    <a:pt x="956" y="81"/>
                    <a:pt x="956" y="80"/>
                    <a:pt x="956" y="80"/>
                  </a:cubicBezTo>
                  <a:cubicBezTo>
                    <a:pt x="956" y="81"/>
                    <a:pt x="956" y="81"/>
                    <a:pt x="956" y="81"/>
                  </a:cubicBezTo>
                  <a:close/>
                  <a:moveTo>
                    <a:pt x="584" y="9"/>
                  </a:moveTo>
                  <a:cubicBezTo>
                    <a:pt x="585" y="9"/>
                    <a:pt x="585" y="9"/>
                    <a:pt x="585" y="9"/>
                  </a:cubicBezTo>
                  <a:cubicBezTo>
                    <a:pt x="585" y="9"/>
                    <a:pt x="585" y="9"/>
                    <a:pt x="584" y="9"/>
                  </a:cubicBezTo>
                  <a:close/>
                  <a:moveTo>
                    <a:pt x="611" y="81"/>
                  </a:moveTo>
                  <a:cubicBezTo>
                    <a:pt x="611" y="81"/>
                    <a:pt x="611" y="81"/>
                    <a:pt x="610" y="81"/>
                  </a:cubicBezTo>
                  <a:cubicBezTo>
                    <a:pt x="610" y="81"/>
                    <a:pt x="610" y="81"/>
                    <a:pt x="611" y="81"/>
                  </a:cubicBezTo>
                  <a:close/>
                  <a:moveTo>
                    <a:pt x="1018" y="9"/>
                  </a:moveTo>
                  <a:cubicBezTo>
                    <a:pt x="1019" y="9"/>
                    <a:pt x="1019" y="9"/>
                    <a:pt x="1019" y="9"/>
                  </a:cubicBezTo>
                  <a:cubicBezTo>
                    <a:pt x="1019" y="9"/>
                    <a:pt x="1019" y="9"/>
                    <a:pt x="1018" y="9"/>
                  </a:cubicBezTo>
                  <a:close/>
                  <a:moveTo>
                    <a:pt x="1355" y="9"/>
                  </a:moveTo>
                  <a:cubicBezTo>
                    <a:pt x="1355" y="9"/>
                    <a:pt x="1355" y="9"/>
                    <a:pt x="1355" y="9"/>
                  </a:cubicBezTo>
                  <a:cubicBezTo>
                    <a:pt x="1355" y="9"/>
                    <a:pt x="1355" y="9"/>
                    <a:pt x="1355" y="9"/>
                  </a:cubicBezTo>
                  <a:close/>
                  <a:moveTo>
                    <a:pt x="1042" y="81"/>
                  </a:moveTo>
                  <a:cubicBezTo>
                    <a:pt x="1042" y="81"/>
                    <a:pt x="1042" y="81"/>
                    <a:pt x="1042" y="81"/>
                  </a:cubicBezTo>
                  <a:cubicBezTo>
                    <a:pt x="1043" y="81"/>
                    <a:pt x="1042" y="81"/>
                    <a:pt x="1042" y="81"/>
                  </a:cubicBezTo>
                  <a:close/>
                  <a:moveTo>
                    <a:pt x="1220" y="81"/>
                  </a:moveTo>
                  <a:cubicBezTo>
                    <a:pt x="1220" y="81"/>
                    <a:pt x="1220" y="81"/>
                    <a:pt x="1220" y="81"/>
                  </a:cubicBezTo>
                  <a:cubicBezTo>
                    <a:pt x="1220" y="81"/>
                    <a:pt x="1220" y="81"/>
                    <a:pt x="1220" y="81"/>
                  </a:cubicBezTo>
                  <a:close/>
                  <a:moveTo>
                    <a:pt x="1346" y="81"/>
                  </a:moveTo>
                  <a:cubicBezTo>
                    <a:pt x="1346" y="81"/>
                    <a:pt x="1346" y="81"/>
                    <a:pt x="1346" y="81"/>
                  </a:cubicBezTo>
                  <a:cubicBezTo>
                    <a:pt x="1346" y="81"/>
                    <a:pt x="1346" y="81"/>
                    <a:pt x="1346" y="81"/>
                  </a:cubicBezTo>
                  <a:close/>
                  <a:moveTo>
                    <a:pt x="1530" y="81"/>
                  </a:moveTo>
                  <a:cubicBezTo>
                    <a:pt x="1531" y="81"/>
                    <a:pt x="1531" y="81"/>
                    <a:pt x="1531" y="81"/>
                  </a:cubicBezTo>
                  <a:cubicBezTo>
                    <a:pt x="1530" y="81"/>
                    <a:pt x="1530" y="81"/>
                    <a:pt x="1530" y="81"/>
                  </a:cubicBezTo>
                  <a:close/>
                  <a:moveTo>
                    <a:pt x="1698" y="81"/>
                  </a:moveTo>
                  <a:cubicBezTo>
                    <a:pt x="1699" y="81"/>
                    <a:pt x="1699" y="81"/>
                    <a:pt x="1699" y="81"/>
                  </a:cubicBezTo>
                  <a:cubicBezTo>
                    <a:pt x="1698" y="81"/>
                    <a:pt x="1698" y="81"/>
                    <a:pt x="1698" y="81"/>
                  </a:cubicBezTo>
                  <a:close/>
                  <a:moveTo>
                    <a:pt x="627" y="82"/>
                  </a:moveTo>
                  <a:cubicBezTo>
                    <a:pt x="627" y="82"/>
                    <a:pt x="627" y="81"/>
                    <a:pt x="627" y="81"/>
                  </a:cubicBezTo>
                  <a:cubicBezTo>
                    <a:pt x="627" y="81"/>
                    <a:pt x="627" y="81"/>
                    <a:pt x="627" y="82"/>
                  </a:cubicBezTo>
                  <a:close/>
                  <a:moveTo>
                    <a:pt x="1210" y="53"/>
                  </a:moveTo>
                  <a:cubicBezTo>
                    <a:pt x="1210" y="53"/>
                    <a:pt x="1210" y="53"/>
                    <a:pt x="1210" y="52"/>
                  </a:cubicBezTo>
                  <a:cubicBezTo>
                    <a:pt x="1210" y="53"/>
                    <a:pt x="1210" y="53"/>
                    <a:pt x="1210" y="53"/>
                  </a:cubicBezTo>
                  <a:close/>
                  <a:moveTo>
                    <a:pt x="760" y="81"/>
                  </a:moveTo>
                  <a:cubicBezTo>
                    <a:pt x="760" y="81"/>
                    <a:pt x="760" y="82"/>
                    <a:pt x="761" y="82"/>
                  </a:cubicBezTo>
                  <a:cubicBezTo>
                    <a:pt x="761" y="81"/>
                    <a:pt x="761" y="81"/>
                    <a:pt x="760" y="81"/>
                  </a:cubicBezTo>
                  <a:close/>
                  <a:moveTo>
                    <a:pt x="957" y="82"/>
                  </a:moveTo>
                  <a:cubicBezTo>
                    <a:pt x="957" y="81"/>
                    <a:pt x="957" y="81"/>
                    <a:pt x="956" y="81"/>
                  </a:cubicBezTo>
                  <a:cubicBezTo>
                    <a:pt x="956" y="81"/>
                    <a:pt x="956" y="82"/>
                    <a:pt x="957" y="82"/>
                  </a:cubicBezTo>
                  <a:close/>
                  <a:moveTo>
                    <a:pt x="673" y="59"/>
                  </a:moveTo>
                  <a:cubicBezTo>
                    <a:pt x="673" y="59"/>
                    <a:pt x="673" y="59"/>
                    <a:pt x="673" y="59"/>
                  </a:cubicBezTo>
                  <a:cubicBezTo>
                    <a:pt x="673" y="59"/>
                    <a:pt x="673" y="59"/>
                    <a:pt x="673" y="59"/>
                  </a:cubicBezTo>
                  <a:close/>
                  <a:moveTo>
                    <a:pt x="1428" y="9"/>
                  </a:moveTo>
                  <a:cubicBezTo>
                    <a:pt x="1428" y="9"/>
                    <a:pt x="1428" y="9"/>
                    <a:pt x="1428" y="9"/>
                  </a:cubicBezTo>
                  <a:cubicBezTo>
                    <a:pt x="1428" y="9"/>
                    <a:pt x="1428" y="9"/>
                    <a:pt x="1428" y="9"/>
                  </a:cubicBezTo>
                  <a:close/>
                  <a:moveTo>
                    <a:pt x="1467" y="81"/>
                  </a:moveTo>
                  <a:cubicBezTo>
                    <a:pt x="1467" y="81"/>
                    <a:pt x="1467" y="81"/>
                    <a:pt x="1467" y="82"/>
                  </a:cubicBezTo>
                  <a:cubicBezTo>
                    <a:pt x="1467" y="81"/>
                    <a:pt x="1467" y="81"/>
                    <a:pt x="1467" y="81"/>
                  </a:cubicBezTo>
                  <a:close/>
                  <a:moveTo>
                    <a:pt x="1542" y="81"/>
                  </a:moveTo>
                  <a:cubicBezTo>
                    <a:pt x="1541" y="81"/>
                    <a:pt x="1541" y="81"/>
                    <a:pt x="1541" y="82"/>
                  </a:cubicBezTo>
                  <a:cubicBezTo>
                    <a:pt x="1542" y="82"/>
                    <a:pt x="1542" y="81"/>
                    <a:pt x="1542" y="81"/>
                  </a:cubicBezTo>
                  <a:close/>
                  <a:moveTo>
                    <a:pt x="1666" y="82"/>
                  </a:moveTo>
                  <a:cubicBezTo>
                    <a:pt x="1666" y="81"/>
                    <a:pt x="1666" y="81"/>
                    <a:pt x="1666" y="81"/>
                  </a:cubicBezTo>
                  <a:cubicBezTo>
                    <a:pt x="1666" y="81"/>
                    <a:pt x="1666" y="81"/>
                    <a:pt x="1666" y="82"/>
                  </a:cubicBezTo>
                  <a:close/>
                  <a:moveTo>
                    <a:pt x="1710" y="81"/>
                  </a:moveTo>
                  <a:cubicBezTo>
                    <a:pt x="1710" y="81"/>
                    <a:pt x="1709" y="81"/>
                    <a:pt x="1709" y="82"/>
                  </a:cubicBezTo>
                  <a:cubicBezTo>
                    <a:pt x="1710" y="82"/>
                    <a:pt x="1710" y="81"/>
                    <a:pt x="1710" y="81"/>
                  </a:cubicBezTo>
                  <a:close/>
                  <a:moveTo>
                    <a:pt x="1454" y="9"/>
                  </a:moveTo>
                  <a:cubicBezTo>
                    <a:pt x="1454" y="9"/>
                    <a:pt x="1454" y="9"/>
                    <a:pt x="1455" y="9"/>
                  </a:cubicBezTo>
                  <a:cubicBezTo>
                    <a:pt x="1455" y="9"/>
                    <a:pt x="1454" y="9"/>
                    <a:pt x="1454" y="9"/>
                  </a:cubicBezTo>
                  <a:close/>
                  <a:moveTo>
                    <a:pt x="688" y="82"/>
                  </a:moveTo>
                  <a:cubicBezTo>
                    <a:pt x="688" y="82"/>
                    <a:pt x="688" y="81"/>
                    <a:pt x="688" y="81"/>
                  </a:cubicBezTo>
                  <a:cubicBezTo>
                    <a:pt x="688" y="82"/>
                    <a:pt x="688" y="82"/>
                    <a:pt x="688" y="82"/>
                  </a:cubicBezTo>
                  <a:close/>
                  <a:moveTo>
                    <a:pt x="1569" y="42"/>
                  </a:moveTo>
                  <a:cubicBezTo>
                    <a:pt x="1569" y="42"/>
                    <a:pt x="1569" y="42"/>
                    <a:pt x="1569" y="42"/>
                  </a:cubicBezTo>
                  <a:cubicBezTo>
                    <a:pt x="1569" y="42"/>
                    <a:pt x="1568" y="42"/>
                    <a:pt x="1569" y="42"/>
                  </a:cubicBezTo>
                  <a:close/>
                  <a:moveTo>
                    <a:pt x="1042" y="81"/>
                  </a:moveTo>
                  <a:cubicBezTo>
                    <a:pt x="1042" y="82"/>
                    <a:pt x="1043" y="82"/>
                    <a:pt x="1043" y="82"/>
                  </a:cubicBezTo>
                  <a:cubicBezTo>
                    <a:pt x="1043" y="82"/>
                    <a:pt x="1043" y="82"/>
                    <a:pt x="1042" y="81"/>
                  </a:cubicBezTo>
                  <a:close/>
                  <a:moveTo>
                    <a:pt x="1357" y="81"/>
                  </a:moveTo>
                  <a:cubicBezTo>
                    <a:pt x="1357" y="81"/>
                    <a:pt x="1357" y="82"/>
                    <a:pt x="1357" y="82"/>
                  </a:cubicBezTo>
                  <a:cubicBezTo>
                    <a:pt x="1357" y="82"/>
                    <a:pt x="1357" y="82"/>
                    <a:pt x="1357" y="81"/>
                  </a:cubicBezTo>
                  <a:close/>
                  <a:moveTo>
                    <a:pt x="1530" y="82"/>
                  </a:moveTo>
                  <a:cubicBezTo>
                    <a:pt x="1530" y="82"/>
                    <a:pt x="1530" y="82"/>
                    <a:pt x="1530" y="81"/>
                  </a:cubicBezTo>
                  <a:cubicBezTo>
                    <a:pt x="1530" y="81"/>
                    <a:pt x="1530" y="82"/>
                    <a:pt x="1530" y="82"/>
                  </a:cubicBezTo>
                  <a:close/>
                  <a:moveTo>
                    <a:pt x="1679" y="81"/>
                  </a:moveTo>
                  <a:cubicBezTo>
                    <a:pt x="1678" y="82"/>
                    <a:pt x="1679" y="82"/>
                    <a:pt x="1679" y="82"/>
                  </a:cubicBezTo>
                  <a:cubicBezTo>
                    <a:pt x="1679" y="82"/>
                    <a:pt x="1679" y="81"/>
                    <a:pt x="1679" y="81"/>
                  </a:cubicBezTo>
                  <a:close/>
                  <a:moveTo>
                    <a:pt x="1698" y="82"/>
                  </a:moveTo>
                  <a:cubicBezTo>
                    <a:pt x="1698" y="82"/>
                    <a:pt x="1698" y="82"/>
                    <a:pt x="1698" y="81"/>
                  </a:cubicBezTo>
                  <a:cubicBezTo>
                    <a:pt x="1698" y="81"/>
                    <a:pt x="1698" y="82"/>
                    <a:pt x="1698" y="82"/>
                  </a:cubicBezTo>
                  <a:close/>
                  <a:moveTo>
                    <a:pt x="621" y="82"/>
                  </a:moveTo>
                  <a:cubicBezTo>
                    <a:pt x="621" y="82"/>
                    <a:pt x="621" y="82"/>
                    <a:pt x="621" y="83"/>
                  </a:cubicBezTo>
                  <a:cubicBezTo>
                    <a:pt x="621" y="82"/>
                    <a:pt x="621" y="82"/>
                    <a:pt x="621" y="82"/>
                  </a:cubicBezTo>
                  <a:close/>
                  <a:moveTo>
                    <a:pt x="760" y="82"/>
                  </a:moveTo>
                  <a:cubicBezTo>
                    <a:pt x="760" y="82"/>
                    <a:pt x="761" y="82"/>
                    <a:pt x="761" y="83"/>
                  </a:cubicBezTo>
                  <a:cubicBezTo>
                    <a:pt x="761" y="82"/>
                    <a:pt x="761" y="82"/>
                    <a:pt x="760" y="82"/>
                  </a:cubicBezTo>
                  <a:close/>
                  <a:moveTo>
                    <a:pt x="1209" y="82"/>
                  </a:moveTo>
                  <a:cubicBezTo>
                    <a:pt x="1209" y="82"/>
                    <a:pt x="1209" y="82"/>
                    <a:pt x="1209" y="82"/>
                  </a:cubicBezTo>
                  <a:cubicBezTo>
                    <a:pt x="1209" y="82"/>
                    <a:pt x="1209" y="82"/>
                    <a:pt x="1209" y="82"/>
                  </a:cubicBezTo>
                  <a:close/>
                  <a:moveTo>
                    <a:pt x="1220" y="82"/>
                  </a:moveTo>
                  <a:cubicBezTo>
                    <a:pt x="1220" y="82"/>
                    <a:pt x="1220" y="82"/>
                    <a:pt x="1221" y="82"/>
                  </a:cubicBezTo>
                  <a:cubicBezTo>
                    <a:pt x="1221" y="82"/>
                    <a:pt x="1221" y="82"/>
                    <a:pt x="1220" y="82"/>
                  </a:cubicBezTo>
                  <a:close/>
                  <a:moveTo>
                    <a:pt x="1539" y="9"/>
                  </a:moveTo>
                  <a:cubicBezTo>
                    <a:pt x="1539" y="9"/>
                    <a:pt x="1539" y="9"/>
                    <a:pt x="1540" y="9"/>
                  </a:cubicBezTo>
                  <a:cubicBezTo>
                    <a:pt x="1539" y="9"/>
                    <a:pt x="1539" y="9"/>
                    <a:pt x="1539" y="9"/>
                  </a:cubicBezTo>
                  <a:close/>
                  <a:moveTo>
                    <a:pt x="1666" y="82"/>
                  </a:moveTo>
                  <a:cubicBezTo>
                    <a:pt x="1666" y="82"/>
                    <a:pt x="1666" y="82"/>
                    <a:pt x="1666" y="82"/>
                  </a:cubicBezTo>
                  <a:cubicBezTo>
                    <a:pt x="1666" y="82"/>
                    <a:pt x="1666" y="82"/>
                    <a:pt x="1666" y="82"/>
                  </a:cubicBezTo>
                  <a:close/>
                  <a:moveTo>
                    <a:pt x="627" y="83"/>
                  </a:moveTo>
                  <a:cubicBezTo>
                    <a:pt x="627" y="83"/>
                    <a:pt x="627" y="82"/>
                    <a:pt x="627" y="82"/>
                  </a:cubicBezTo>
                  <a:cubicBezTo>
                    <a:pt x="627" y="82"/>
                    <a:pt x="627" y="82"/>
                    <a:pt x="627" y="83"/>
                  </a:cubicBezTo>
                  <a:close/>
                  <a:moveTo>
                    <a:pt x="637" y="82"/>
                  </a:moveTo>
                  <a:cubicBezTo>
                    <a:pt x="637" y="82"/>
                    <a:pt x="637" y="82"/>
                    <a:pt x="637" y="83"/>
                  </a:cubicBezTo>
                  <a:cubicBezTo>
                    <a:pt x="637" y="83"/>
                    <a:pt x="637" y="82"/>
                    <a:pt x="637" y="82"/>
                  </a:cubicBezTo>
                  <a:close/>
                  <a:moveTo>
                    <a:pt x="1568" y="9"/>
                  </a:moveTo>
                  <a:cubicBezTo>
                    <a:pt x="1569" y="9"/>
                    <a:pt x="1569" y="9"/>
                    <a:pt x="1569" y="9"/>
                  </a:cubicBezTo>
                  <a:cubicBezTo>
                    <a:pt x="1569" y="9"/>
                    <a:pt x="1569" y="9"/>
                    <a:pt x="1568" y="9"/>
                  </a:cubicBezTo>
                  <a:close/>
                  <a:moveTo>
                    <a:pt x="1707" y="9"/>
                  </a:moveTo>
                  <a:cubicBezTo>
                    <a:pt x="1707" y="9"/>
                    <a:pt x="1708" y="9"/>
                    <a:pt x="1708" y="9"/>
                  </a:cubicBezTo>
                  <a:cubicBezTo>
                    <a:pt x="1707" y="9"/>
                    <a:pt x="1707" y="9"/>
                    <a:pt x="1707" y="9"/>
                  </a:cubicBezTo>
                  <a:close/>
                  <a:moveTo>
                    <a:pt x="1345" y="83"/>
                  </a:moveTo>
                  <a:cubicBezTo>
                    <a:pt x="1346" y="83"/>
                    <a:pt x="1346" y="82"/>
                    <a:pt x="1346" y="82"/>
                  </a:cubicBezTo>
                  <a:cubicBezTo>
                    <a:pt x="1345" y="82"/>
                    <a:pt x="1345" y="82"/>
                    <a:pt x="1345" y="83"/>
                  </a:cubicBezTo>
                  <a:close/>
                  <a:moveTo>
                    <a:pt x="1737" y="9"/>
                  </a:moveTo>
                  <a:cubicBezTo>
                    <a:pt x="1737" y="9"/>
                    <a:pt x="1737" y="9"/>
                    <a:pt x="1737" y="9"/>
                  </a:cubicBezTo>
                  <a:cubicBezTo>
                    <a:pt x="1737" y="9"/>
                    <a:pt x="1737" y="9"/>
                    <a:pt x="1737" y="9"/>
                  </a:cubicBezTo>
                  <a:close/>
                  <a:moveTo>
                    <a:pt x="1530" y="83"/>
                  </a:moveTo>
                  <a:cubicBezTo>
                    <a:pt x="1530" y="83"/>
                    <a:pt x="1530" y="82"/>
                    <a:pt x="1530" y="82"/>
                  </a:cubicBezTo>
                  <a:cubicBezTo>
                    <a:pt x="1530" y="82"/>
                    <a:pt x="1530" y="83"/>
                    <a:pt x="1530" y="83"/>
                  </a:cubicBezTo>
                  <a:close/>
                  <a:moveTo>
                    <a:pt x="1541" y="82"/>
                  </a:moveTo>
                  <a:cubicBezTo>
                    <a:pt x="1541" y="82"/>
                    <a:pt x="1541" y="82"/>
                    <a:pt x="1541" y="83"/>
                  </a:cubicBezTo>
                  <a:cubicBezTo>
                    <a:pt x="1541" y="83"/>
                    <a:pt x="1541" y="82"/>
                    <a:pt x="1541" y="82"/>
                  </a:cubicBezTo>
                  <a:close/>
                  <a:moveTo>
                    <a:pt x="1679" y="82"/>
                  </a:moveTo>
                  <a:cubicBezTo>
                    <a:pt x="1679" y="82"/>
                    <a:pt x="1679" y="83"/>
                    <a:pt x="1679" y="83"/>
                  </a:cubicBezTo>
                  <a:cubicBezTo>
                    <a:pt x="1679" y="82"/>
                    <a:pt x="1679" y="82"/>
                    <a:pt x="1679" y="82"/>
                  </a:cubicBezTo>
                  <a:close/>
                  <a:moveTo>
                    <a:pt x="1698" y="83"/>
                  </a:moveTo>
                  <a:cubicBezTo>
                    <a:pt x="1698" y="83"/>
                    <a:pt x="1698" y="82"/>
                    <a:pt x="1698" y="82"/>
                  </a:cubicBezTo>
                  <a:cubicBezTo>
                    <a:pt x="1698" y="82"/>
                    <a:pt x="1698" y="82"/>
                    <a:pt x="1698" y="83"/>
                  </a:cubicBezTo>
                  <a:close/>
                  <a:moveTo>
                    <a:pt x="1709" y="82"/>
                  </a:moveTo>
                  <a:cubicBezTo>
                    <a:pt x="1709" y="82"/>
                    <a:pt x="1709" y="82"/>
                    <a:pt x="1709" y="83"/>
                  </a:cubicBezTo>
                  <a:cubicBezTo>
                    <a:pt x="1709" y="83"/>
                    <a:pt x="1709" y="82"/>
                    <a:pt x="1709" y="82"/>
                  </a:cubicBezTo>
                  <a:close/>
                  <a:moveTo>
                    <a:pt x="611" y="83"/>
                  </a:moveTo>
                  <a:cubicBezTo>
                    <a:pt x="611" y="83"/>
                    <a:pt x="611" y="83"/>
                    <a:pt x="611" y="82"/>
                  </a:cubicBezTo>
                  <a:cubicBezTo>
                    <a:pt x="611" y="83"/>
                    <a:pt x="611" y="83"/>
                    <a:pt x="611" y="83"/>
                  </a:cubicBezTo>
                  <a:close/>
                  <a:moveTo>
                    <a:pt x="830" y="52"/>
                  </a:moveTo>
                  <a:cubicBezTo>
                    <a:pt x="830" y="52"/>
                    <a:pt x="830" y="52"/>
                    <a:pt x="830" y="53"/>
                  </a:cubicBezTo>
                  <a:cubicBezTo>
                    <a:pt x="830" y="53"/>
                    <a:pt x="830" y="52"/>
                    <a:pt x="830" y="52"/>
                  </a:cubicBezTo>
                  <a:close/>
                  <a:moveTo>
                    <a:pt x="1043" y="82"/>
                  </a:moveTo>
                  <a:cubicBezTo>
                    <a:pt x="1043" y="83"/>
                    <a:pt x="1043" y="83"/>
                    <a:pt x="1043" y="83"/>
                  </a:cubicBezTo>
                  <a:cubicBezTo>
                    <a:pt x="1043" y="83"/>
                    <a:pt x="1043" y="83"/>
                    <a:pt x="1043" y="82"/>
                  </a:cubicBezTo>
                  <a:close/>
                  <a:moveTo>
                    <a:pt x="1221" y="82"/>
                  </a:moveTo>
                  <a:cubicBezTo>
                    <a:pt x="1221" y="83"/>
                    <a:pt x="1221" y="83"/>
                    <a:pt x="1221" y="83"/>
                  </a:cubicBezTo>
                  <a:cubicBezTo>
                    <a:pt x="1221" y="83"/>
                    <a:pt x="1221" y="83"/>
                    <a:pt x="1221" y="82"/>
                  </a:cubicBezTo>
                  <a:close/>
                  <a:moveTo>
                    <a:pt x="1667" y="83"/>
                  </a:moveTo>
                  <a:cubicBezTo>
                    <a:pt x="1667" y="83"/>
                    <a:pt x="1667" y="83"/>
                    <a:pt x="1666" y="82"/>
                  </a:cubicBezTo>
                  <a:cubicBezTo>
                    <a:pt x="1666" y="83"/>
                    <a:pt x="1666" y="83"/>
                    <a:pt x="1667" y="83"/>
                  </a:cubicBezTo>
                  <a:close/>
                  <a:moveTo>
                    <a:pt x="621" y="83"/>
                  </a:moveTo>
                  <a:cubicBezTo>
                    <a:pt x="621" y="83"/>
                    <a:pt x="621" y="83"/>
                    <a:pt x="622" y="84"/>
                  </a:cubicBezTo>
                  <a:cubicBezTo>
                    <a:pt x="622" y="83"/>
                    <a:pt x="622" y="83"/>
                    <a:pt x="621" y="83"/>
                  </a:cubicBezTo>
                  <a:close/>
                  <a:moveTo>
                    <a:pt x="550" y="9"/>
                  </a:moveTo>
                  <a:cubicBezTo>
                    <a:pt x="551" y="9"/>
                    <a:pt x="551" y="9"/>
                    <a:pt x="551" y="9"/>
                  </a:cubicBezTo>
                  <a:cubicBezTo>
                    <a:pt x="551" y="9"/>
                    <a:pt x="550" y="9"/>
                    <a:pt x="550" y="9"/>
                  </a:cubicBezTo>
                  <a:close/>
                  <a:moveTo>
                    <a:pt x="761" y="83"/>
                  </a:moveTo>
                  <a:cubicBezTo>
                    <a:pt x="761" y="83"/>
                    <a:pt x="761" y="83"/>
                    <a:pt x="761" y="83"/>
                  </a:cubicBezTo>
                  <a:cubicBezTo>
                    <a:pt x="761" y="83"/>
                    <a:pt x="761" y="83"/>
                    <a:pt x="761" y="83"/>
                  </a:cubicBezTo>
                  <a:close/>
                  <a:moveTo>
                    <a:pt x="958" y="83"/>
                  </a:moveTo>
                  <a:cubicBezTo>
                    <a:pt x="958" y="83"/>
                    <a:pt x="957" y="83"/>
                    <a:pt x="957" y="83"/>
                  </a:cubicBezTo>
                  <a:cubicBezTo>
                    <a:pt x="957" y="83"/>
                    <a:pt x="957" y="83"/>
                    <a:pt x="958" y="83"/>
                  </a:cubicBezTo>
                  <a:close/>
                  <a:moveTo>
                    <a:pt x="1031" y="83"/>
                  </a:moveTo>
                  <a:cubicBezTo>
                    <a:pt x="1031" y="83"/>
                    <a:pt x="1031" y="83"/>
                    <a:pt x="1031" y="83"/>
                  </a:cubicBezTo>
                  <a:cubicBezTo>
                    <a:pt x="1031" y="83"/>
                    <a:pt x="1031" y="83"/>
                    <a:pt x="1031" y="83"/>
                  </a:cubicBezTo>
                  <a:close/>
                  <a:moveTo>
                    <a:pt x="980" y="9"/>
                  </a:moveTo>
                  <a:cubicBezTo>
                    <a:pt x="980" y="9"/>
                    <a:pt x="980" y="9"/>
                    <a:pt x="981" y="9"/>
                  </a:cubicBezTo>
                  <a:cubicBezTo>
                    <a:pt x="980" y="9"/>
                    <a:pt x="980" y="9"/>
                    <a:pt x="980" y="9"/>
                  </a:cubicBezTo>
                  <a:close/>
                  <a:moveTo>
                    <a:pt x="1345" y="83"/>
                  </a:moveTo>
                  <a:cubicBezTo>
                    <a:pt x="1345" y="83"/>
                    <a:pt x="1345" y="83"/>
                    <a:pt x="1345" y="83"/>
                  </a:cubicBezTo>
                  <a:cubicBezTo>
                    <a:pt x="1345" y="83"/>
                    <a:pt x="1345" y="83"/>
                    <a:pt x="1345" y="83"/>
                  </a:cubicBezTo>
                  <a:close/>
                  <a:moveTo>
                    <a:pt x="1466" y="83"/>
                  </a:moveTo>
                  <a:cubicBezTo>
                    <a:pt x="1466" y="83"/>
                    <a:pt x="1466" y="83"/>
                    <a:pt x="1466" y="83"/>
                  </a:cubicBezTo>
                  <a:cubicBezTo>
                    <a:pt x="1466" y="83"/>
                    <a:pt x="1466" y="83"/>
                    <a:pt x="1466" y="83"/>
                  </a:cubicBezTo>
                  <a:close/>
                  <a:moveTo>
                    <a:pt x="1541" y="83"/>
                  </a:moveTo>
                  <a:cubicBezTo>
                    <a:pt x="1540" y="83"/>
                    <a:pt x="1540" y="83"/>
                    <a:pt x="1540" y="83"/>
                  </a:cubicBezTo>
                  <a:cubicBezTo>
                    <a:pt x="1541" y="83"/>
                    <a:pt x="1541" y="83"/>
                    <a:pt x="1541" y="83"/>
                  </a:cubicBezTo>
                  <a:close/>
                  <a:moveTo>
                    <a:pt x="1679" y="83"/>
                  </a:moveTo>
                  <a:cubicBezTo>
                    <a:pt x="1679" y="83"/>
                    <a:pt x="1679" y="83"/>
                    <a:pt x="1680" y="83"/>
                  </a:cubicBezTo>
                  <a:cubicBezTo>
                    <a:pt x="1680" y="83"/>
                    <a:pt x="1679" y="83"/>
                    <a:pt x="1679" y="83"/>
                  </a:cubicBezTo>
                  <a:close/>
                  <a:moveTo>
                    <a:pt x="1709" y="83"/>
                  </a:moveTo>
                  <a:cubicBezTo>
                    <a:pt x="1708" y="83"/>
                    <a:pt x="1708" y="83"/>
                    <a:pt x="1708" y="83"/>
                  </a:cubicBezTo>
                  <a:cubicBezTo>
                    <a:pt x="1709" y="83"/>
                    <a:pt x="1709" y="83"/>
                    <a:pt x="1709" y="83"/>
                  </a:cubicBezTo>
                  <a:close/>
                  <a:moveTo>
                    <a:pt x="1019" y="9"/>
                  </a:moveTo>
                  <a:cubicBezTo>
                    <a:pt x="1020" y="9"/>
                    <a:pt x="1020" y="9"/>
                    <a:pt x="1020" y="9"/>
                  </a:cubicBezTo>
                  <a:cubicBezTo>
                    <a:pt x="1020" y="9"/>
                    <a:pt x="1020" y="9"/>
                    <a:pt x="1019" y="9"/>
                  </a:cubicBezTo>
                  <a:close/>
                  <a:moveTo>
                    <a:pt x="626" y="84"/>
                  </a:moveTo>
                  <a:cubicBezTo>
                    <a:pt x="626" y="84"/>
                    <a:pt x="627" y="83"/>
                    <a:pt x="626" y="83"/>
                  </a:cubicBezTo>
                  <a:cubicBezTo>
                    <a:pt x="626" y="83"/>
                    <a:pt x="626" y="84"/>
                    <a:pt x="626" y="84"/>
                  </a:cubicBezTo>
                  <a:close/>
                  <a:moveTo>
                    <a:pt x="750" y="53"/>
                  </a:moveTo>
                  <a:cubicBezTo>
                    <a:pt x="750" y="53"/>
                    <a:pt x="750" y="52"/>
                    <a:pt x="750" y="52"/>
                  </a:cubicBezTo>
                  <a:cubicBezTo>
                    <a:pt x="750" y="52"/>
                    <a:pt x="750" y="53"/>
                    <a:pt x="750" y="53"/>
                  </a:cubicBezTo>
                  <a:close/>
                  <a:moveTo>
                    <a:pt x="1354" y="9"/>
                  </a:moveTo>
                  <a:cubicBezTo>
                    <a:pt x="1354" y="9"/>
                    <a:pt x="1355" y="9"/>
                    <a:pt x="1355" y="9"/>
                  </a:cubicBezTo>
                  <a:cubicBezTo>
                    <a:pt x="1354" y="9"/>
                    <a:pt x="1354" y="9"/>
                    <a:pt x="1354" y="9"/>
                  </a:cubicBezTo>
                  <a:close/>
                  <a:moveTo>
                    <a:pt x="1043" y="83"/>
                  </a:moveTo>
                  <a:cubicBezTo>
                    <a:pt x="1043" y="83"/>
                    <a:pt x="1043" y="84"/>
                    <a:pt x="1044" y="84"/>
                  </a:cubicBezTo>
                  <a:cubicBezTo>
                    <a:pt x="1044" y="83"/>
                    <a:pt x="1043" y="83"/>
                    <a:pt x="1043" y="83"/>
                  </a:cubicBezTo>
                  <a:close/>
                  <a:moveTo>
                    <a:pt x="1221" y="83"/>
                  </a:moveTo>
                  <a:cubicBezTo>
                    <a:pt x="1221" y="83"/>
                    <a:pt x="1221" y="84"/>
                    <a:pt x="1221" y="84"/>
                  </a:cubicBezTo>
                  <a:cubicBezTo>
                    <a:pt x="1221" y="83"/>
                    <a:pt x="1221" y="83"/>
                    <a:pt x="1221" y="83"/>
                  </a:cubicBezTo>
                  <a:close/>
                  <a:moveTo>
                    <a:pt x="1356" y="83"/>
                  </a:moveTo>
                  <a:cubicBezTo>
                    <a:pt x="1356" y="83"/>
                    <a:pt x="1356" y="83"/>
                    <a:pt x="1356" y="84"/>
                  </a:cubicBezTo>
                  <a:cubicBezTo>
                    <a:pt x="1356" y="84"/>
                    <a:pt x="1356" y="83"/>
                    <a:pt x="1356" y="83"/>
                  </a:cubicBezTo>
                  <a:close/>
                  <a:moveTo>
                    <a:pt x="1414" y="84"/>
                  </a:moveTo>
                  <a:cubicBezTo>
                    <a:pt x="1414" y="83"/>
                    <a:pt x="1414" y="83"/>
                    <a:pt x="1413" y="83"/>
                  </a:cubicBezTo>
                  <a:cubicBezTo>
                    <a:pt x="1413" y="83"/>
                    <a:pt x="1413" y="84"/>
                    <a:pt x="1414" y="84"/>
                  </a:cubicBezTo>
                  <a:close/>
                  <a:moveTo>
                    <a:pt x="1529" y="84"/>
                  </a:moveTo>
                  <a:cubicBezTo>
                    <a:pt x="1529" y="84"/>
                    <a:pt x="1529" y="83"/>
                    <a:pt x="1529" y="83"/>
                  </a:cubicBezTo>
                  <a:cubicBezTo>
                    <a:pt x="1529" y="83"/>
                    <a:pt x="1529" y="83"/>
                    <a:pt x="1529" y="84"/>
                  </a:cubicBezTo>
                  <a:close/>
                  <a:moveTo>
                    <a:pt x="1385" y="9"/>
                  </a:moveTo>
                  <a:cubicBezTo>
                    <a:pt x="1385" y="9"/>
                    <a:pt x="1385" y="9"/>
                    <a:pt x="1385" y="9"/>
                  </a:cubicBezTo>
                  <a:cubicBezTo>
                    <a:pt x="1385" y="9"/>
                    <a:pt x="1385" y="9"/>
                    <a:pt x="1385" y="9"/>
                  </a:cubicBezTo>
                  <a:close/>
                  <a:moveTo>
                    <a:pt x="1697" y="84"/>
                  </a:moveTo>
                  <a:cubicBezTo>
                    <a:pt x="1697" y="84"/>
                    <a:pt x="1698" y="83"/>
                    <a:pt x="1698" y="83"/>
                  </a:cubicBezTo>
                  <a:cubicBezTo>
                    <a:pt x="1697" y="83"/>
                    <a:pt x="1697" y="83"/>
                    <a:pt x="1697" y="84"/>
                  </a:cubicBezTo>
                  <a:close/>
                  <a:moveTo>
                    <a:pt x="612" y="84"/>
                  </a:moveTo>
                  <a:cubicBezTo>
                    <a:pt x="612" y="84"/>
                    <a:pt x="612" y="83"/>
                    <a:pt x="611" y="83"/>
                  </a:cubicBezTo>
                  <a:cubicBezTo>
                    <a:pt x="611" y="84"/>
                    <a:pt x="611" y="84"/>
                    <a:pt x="612" y="84"/>
                  </a:cubicBezTo>
                  <a:close/>
                  <a:moveTo>
                    <a:pt x="958" y="84"/>
                  </a:moveTo>
                  <a:cubicBezTo>
                    <a:pt x="958" y="84"/>
                    <a:pt x="958" y="84"/>
                    <a:pt x="958" y="83"/>
                  </a:cubicBezTo>
                  <a:cubicBezTo>
                    <a:pt x="958" y="84"/>
                    <a:pt x="958" y="84"/>
                    <a:pt x="958" y="84"/>
                  </a:cubicBezTo>
                  <a:close/>
                  <a:moveTo>
                    <a:pt x="1345" y="84"/>
                  </a:moveTo>
                  <a:cubicBezTo>
                    <a:pt x="1345" y="84"/>
                    <a:pt x="1345" y="84"/>
                    <a:pt x="1345" y="83"/>
                  </a:cubicBezTo>
                  <a:cubicBezTo>
                    <a:pt x="1345" y="84"/>
                    <a:pt x="1345" y="84"/>
                    <a:pt x="1345" y="84"/>
                  </a:cubicBezTo>
                  <a:close/>
                  <a:moveTo>
                    <a:pt x="1540" y="83"/>
                  </a:moveTo>
                  <a:cubicBezTo>
                    <a:pt x="1540" y="84"/>
                    <a:pt x="1540" y="84"/>
                    <a:pt x="1540" y="84"/>
                  </a:cubicBezTo>
                  <a:cubicBezTo>
                    <a:pt x="1540" y="84"/>
                    <a:pt x="1540" y="84"/>
                    <a:pt x="1540" y="83"/>
                  </a:cubicBezTo>
                  <a:close/>
                  <a:moveTo>
                    <a:pt x="1680" y="83"/>
                  </a:moveTo>
                  <a:cubicBezTo>
                    <a:pt x="1679" y="84"/>
                    <a:pt x="1680" y="84"/>
                    <a:pt x="1680" y="84"/>
                  </a:cubicBezTo>
                  <a:cubicBezTo>
                    <a:pt x="1680" y="84"/>
                    <a:pt x="1680" y="84"/>
                    <a:pt x="1680" y="83"/>
                  </a:cubicBezTo>
                  <a:close/>
                  <a:moveTo>
                    <a:pt x="1708" y="83"/>
                  </a:moveTo>
                  <a:cubicBezTo>
                    <a:pt x="1708" y="84"/>
                    <a:pt x="1708" y="84"/>
                    <a:pt x="1708" y="84"/>
                  </a:cubicBezTo>
                  <a:cubicBezTo>
                    <a:pt x="1708" y="84"/>
                    <a:pt x="1708" y="84"/>
                    <a:pt x="1708" y="83"/>
                  </a:cubicBezTo>
                  <a:close/>
                  <a:moveTo>
                    <a:pt x="622" y="84"/>
                  </a:moveTo>
                  <a:cubicBezTo>
                    <a:pt x="622" y="84"/>
                    <a:pt x="622" y="84"/>
                    <a:pt x="622" y="85"/>
                  </a:cubicBezTo>
                  <a:cubicBezTo>
                    <a:pt x="622" y="84"/>
                    <a:pt x="622" y="84"/>
                    <a:pt x="622" y="84"/>
                  </a:cubicBezTo>
                  <a:close/>
                  <a:moveTo>
                    <a:pt x="1427" y="9"/>
                  </a:moveTo>
                  <a:cubicBezTo>
                    <a:pt x="1427" y="9"/>
                    <a:pt x="1427" y="9"/>
                    <a:pt x="1428" y="9"/>
                  </a:cubicBezTo>
                  <a:cubicBezTo>
                    <a:pt x="1427" y="9"/>
                    <a:pt x="1427" y="9"/>
                    <a:pt x="1427" y="9"/>
                  </a:cubicBezTo>
                  <a:close/>
                  <a:moveTo>
                    <a:pt x="636" y="84"/>
                  </a:moveTo>
                  <a:cubicBezTo>
                    <a:pt x="636" y="84"/>
                    <a:pt x="636" y="84"/>
                    <a:pt x="636" y="84"/>
                  </a:cubicBezTo>
                  <a:cubicBezTo>
                    <a:pt x="636" y="84"/>
                    <a:pt x="636" y="84"/>
                    <a:pt x="636" y="84"/>
                  </a:cubicBezTo>
                  <a:close/>
                  <a:moveTo>
                    <a:pt x="1032" y="84"/>
                  </a:moveTo>
                  <a:cubicBezTo>
                    <a:pt x="1032" y="84"/>
                    <a:pt x="1032" y="84"/>
                    <a:pt x="1031" y="84"/>
                  </a:cubicBezTo>
                  <a:cubicBezTo>
                    <a:pt x="1031" y="84"/>
                    <a:pt x="1031" y="84"/>
                    <a:pt x="1032" y="84"/>
                  </a:cubicBezTo>
                  <a:close/>
                  <a:moveTo>
                    <a:pt x="637" y="55"/>
                  </a:moveTo>
                  <a:cubicBezTo>
                    <a:pt x="637" y="55"/>
                    <a:pt x="637" y="55"/>
                    <a:pt x="637" y="55"/>
                  </a:cubicBezTo>
                  <a:cubicBezTo>
                    <a:pt x="637" y="55"/>
                    <a:pt x="637" y="55"/>
                    <a:pt x="637" y="55"/>
                  </a:cubicBezTo>
                  <a:close/>
                  <a:moveTo>
                    <a:pt x="1210" y="84"/>
                  </a:moveTo>
                  <a:cubicBezTo>
                    <a:pt x="1210" y="84"/>
                    <a:pt x="1210" y="84"/>
                    <a:pt x="1209" y="84"/>
                  </a:cubicBezTo>
                  <a:cubicBezTo>
                    <a:pt x="1209" y="84"/>
                    <a:pt x="1209" y="84"/>
                    <a:pt x="1210" y="84"/>
                  </a:cubicBezTo>
                  <a:close/>
                  <a:moveTo>
                    <a:pt x="1221" y="84"/>
                  </a:moveTo>
                  <a:cubicBezTo>
                    <a:pt x="1221" y="84"/>
                    <a:pt x="1222" y="84"/>
                    <a:pt x="1222" y="84"/>
                  </a:cubicBezTo>
                  <a:cubicBezTo>
                    <a:pt x="1222" y="84"/>
                    <a:pt x="1222" y="84"/>
                    <a:pt x="1221" y="84"/>
                  </a:cubicBezTo>
                  <a:close/>
                  <a:moveTo>
                    <a:pt x="1356" y="84"/>
                  </a:moveTo>
                  <a:cubicBezTo>
                    <a:pt x="1356" y="84"/>
                    <a:pt x="1355" y="84"/>
                    <a:pt x="1355" y="84"/>
                  </a:cubicBezTo>
                  <a:cubicBezTo>
                    <a:pt x="1356" y="84"/>
                    <a:pt x="1356" y="84"/>
                    <a:pt x="1356" y="84"/>
                  </a:cubicBezTo>
                  <a:close/>
                  <a:moveTo>
                    <a:pt x="1466" y="84"/>
                  </a:moveTo>
                  <a:cubicBezTo>
                    <a:pt x="1466" y="84"/>
                    <a:pt x="1466" y="84"/>
                    <a:pt x="1466" y="84"/>
                  </a:cubicBezTo>
                  <a:cubicBezTo>
                    <a:pt x="1466" y="84"/>
                    <a:pt x="1466" y="84"/>
                    <a:pt x="1466" y="84"/>
                  </a:cubicBezTo>
                  <a:close/>
                  <a:moveTo>
                    <a:pt x="1529" y="85"/>
                  </a:moveTo>
                  <a:cubicBezTo>
                    <a:pt x="1529" y="84"/>
                    <a:pt x="1529" y="84"/>
                    <a:pt x="1529" y="84"/>
                  </a:cubicBezTo>
                  <a:cubicBezTo>
                    <a:pt x="1529" y="84"/>
                    <a:pt x="1529" y="84"/>
                    <a:pt x="1529" y="85"/>
                  </a:cubicBezTo>
                  <a:close/>
                  <a:moveTo>
                    <a:pt x="1697" y="85"/>
                  </a:moveTo>
                  <a:cubicBezTo>
                    <a:pt x="1697" y="84"/>
                    <a:pt x="1697" y="84"/>
                    <a:pt x="1697" y="84"/>
                  </a:cubicBezTo>
                  <a:cubicBezTo>
                    <a:pt x="1697" y="84"/>
                    <a:pt x="1697" y="84"/>
                    <a:pt x="1697" y="85"/>
                  </a:cubicBezTo>
                  <a:close/>
                  <a:moveTo>
                    <a:pt x="612" y="85"/>
                  </a:moveTo>
                  <a:cubicBezTo>
                    <a:pt x="612" y="85"/>
                    <a:pt x="612" y="84"/>
                    <a:pt x="612" y="84"/>
                  </a:cubicBezTo>
                  <a:cubicBezTo>
                    <a:pt x="612" y="84"/>
                    <a:pt x="612" y="85"/>
                    <a:pt x="612" y="85"/>
                  </a:cubicBezTo>
                  <a:close/>
                  <a:moveTo>
                    <a:pt x="750" y="85"/>
                  </a:moveTo>
                  <a:cubicBezTo>
                    <a:pt x="750" y="85"/>
                    <a:pt x="750" y="84"/>
                    <a:pt x="749" y="84"/>
                  </a:cubicBezTo>
                  <a:cubicBezTo>
                    <a:pt x="749" y="84"/>
                    <a:pt x="749" y="85"/>
                    <a:pt x="750" y="85"/>
                  </a:cubicBezTo>
                  <a:close/>
                  <a:moveTo>
                    <a:pt x="1044" y="84"/>
                  </a:moveTo>
                  <a:cubicBezTo>
                    <a:pt x="1044" y="84"/>
                    <a:pt x="1044" y="85"/>
                    <a:pt x="1044" y="85"/>
                  </a:cubicBezTo>
                  <a:cubicBezTo>
                    <a:pt x="1044" y="85"/>
                    <a:pt x="1044" y="84"/>
                    <a:pt x="1044" y="84"/>
                  </a:cubicBezTo>
                  <a:close/>
                  <a:moveTo>
                    <a:pt x="1414" y="85"/>
                  </a:moveTo>
                  <a:cubicBezTo>
                    <a:pt x="1414" y="84"/>
                    <a:pt x="1414" y="84"/>
                    <a:pt x="1414" y="84"/>
                  </a:cubicBezTo>
                  <a:cubicBezTo>
                    <a:pt x="1414" y="84"/>
                    <a:pt x="1414" y="85"/>
                    <a:pt x="1414" y="85"/>
                  </a:cubicBezTo>
                  <a:close/>
                  <a:moveTo>
                    <a:pt x="1540" y="84"/>
                  </a:moveTo>
                  <a:cubicBezTo>
                    <a:pt x="1540" y="84"/>
                    <a:pt x="1540" y="85"/>
                    <a:pt x="1540" y="85"/>
                  </a:cubicBezTo>
                  <a:cubicBezTo>
                    <a:pt x="1540" y="85"/>
                    <a:pt x="1540" y="84"/>
                    <a:pt x="1540" y="84"/>
                  </a:cubicBezTo>
                  <a:close/>
                  <a:moveTo>
                    <a:pt x="1667" y="85"/>
                  </a:moveTo>
                  <a:cubicBezTo>
                    <a:pt x="1667" y="84"/>
                    <a:pt x="1667" y="84"/>
                    <a:pt x="1667" y="84"/>
                  </a:cubicBezTo>
                  <a:cubicBezTo>
                    <a:pt x="1667" y="84"/>
                    <a:pt x="1667" y="85"/>
                    <a:pt x="1667" y="85"/>
                  </a:cubicBezTo>
                  <a:close/>
                  <a:moveTo>
                    <a:pt x="1680" y="84"/>
                  </a:moveTo>
                  <a:cubicBezTo>
                    <a:pt x="1680" y="84"/>
                    <a:pt x="1680" y="85"/>
                    <a:pt x="1680" y="85"/>
                  </a:cubicBezTo>
                  <a:cubicBezTo>
                    <a:pt x="1680" y="85"/>
                    <a:pt x="1680" y="84"/>
                    <a:pt x="1680" y="84"/>
                  </a:cubicBezTo>
                  <a:close/>
                  <a:moveTo>
                    <a:pt x="1708" y="84"/>
                  </a:moveTo>
                  <a:cubicBezTo>
                    <a:pt x="1708" y="84"/>
                    <a:pt x="1708" y="85"/>
                    <a:pt x="1708" y="85"/>
                  </a:cubicBezTo>
                  <a:cubicBezTo>
                    <a:pt x="1708" y="85"/>
                    <a:pt x="1708" y="84"/>
                    <a:pt x="1708" y="84"/>
                  </a:cubicBezTo>
                  <a:close/>
                  <a:moveTo>
                    <a:pt x="1683" y="42"/>
                  </a:moveTo>
                  <a:cubicBezTo>
                    <a:pt x="1683" y="42"/>
                    <a:pt x="1683" y="42"/>
                    <a:pt x="1683" y="42"/>
                  </a:cubicBezTo>
                  <a:cubicBezTo>
                    <a:pt x="1683" y="42"/>
                    <a:pt x="1683" y="42"/>
                    <a:pt x="1683" y="42"/>
                  </a:cubicBezTo>
                  <a:close/>
                  <a:moveTo>
                    <a:pt x="1538" y="9"/>
                  </a:moveTo>
                  <a:cubicBezTo>
                    <a:pt x="1539" y="9"/>
                    <a:pt x="1539" y="9"/>
                    <a:pt x="1539" y="9"/>
                  </a:cubicBezTo>
                  <a:cubicBezTo>
                    <a:pt x="1539" y="9"/>
                    <a:pt x="1538" y="9"/>
                    <a:pt x="1538" y="9"/>
                  </a:cubicBezTo>
                  <a:close/>
                  <a:moveTo>
                    <a:pt x="762" y="84"/>
                  </a:moveTo>
                  <a:cubicBezTo>
                    <a:pt x="762" y="85"/>
                    <a:pt x="762" y="85"/>
                    <a:pt x="762" y="85"/>
                  </a:cubicBezTo>
                  <a:cubicBezTo>
                    <a:pt x="762" y="85"/>
                    <a:pt x="762" y="85"/>
                    <a:pt x="762" y="84"/>
                  </a:cubicBezTo>
                  <a:close/>
                  <a:moveTo>
                    <a:pt x="959" y="85"/>
                  </a:moveTo>
                  <a:cubicBezTo>
                    <a:pt x="959" y="85"/>
                    <a:pt x="959" y="85"/>
                    <a:pt x="958" y="84"/>
                  </a:cubicBezTo>
                  <a:cubicBezTo>
                    <a:pt x="958" y="85"/>
                    <a:pt x="958" y="85"/>
                    <a:pt x="959" y="85"/>
                  </a:cubicBezTo>
                  <a:close/>
                  <a:moveTo>
                    <a:pt x="1569" y="9"/>
                  </a:moveTo>
                  <a:cubicBezTo>
                    <a:pt x="1569" y="9"/>
                    <a:pt x="1570" y="9"/>
                    <a:pt x="1570" y="9"/>
                  </a:cubicBezTo>
                  <a:cubicBezTo>
                    <a:pt x="1570" y="9"/>
                    <a:pt x="1569" y="9"/>
                    <a:pt x="1569" y="9"/>
                  </a:cubicBezTo>
                  <a:close/>
                  <a:moveTo>
                    <a:pt x="1344" y="85"/>
                  </a:moveTo>
                  <a:cubicBezTo>
                    <a:pt x="1345" y="85"/>
                    <a:pt x="1345" y="85"/>
                    <a:pt x="1345" y="84"/>
                  </a:cubicBezTo>
                  <a:cubicBezTo>
                    <a:pt x="1344" y="85"/>
                    <a:pt x="1344" y="85"/>
                    <a:pt x="1344" y="85"/>
                  </a:cubicBezTo>
                  <a:close/>
                  <a:moveTo>
                    <a:pt x="1466" y="84"/>
                  </a:moveTo>
                  <a:cubicBezTo>
                    <a:pt x="1465" y="85"/>
                    <a:pt x="1465" y="85"/>
                    <a:pt x="1465" y="85"/>
                  </a:cubicBezTo>
                  <a:cubicBezTo>
                    <a:pt x="1466" y="85"/>
                    <a:pt x="1466" y="85"/>
                    <a:pt x="1466" y="84"/>
                  </a:cubicBezTo>
                  <a:close/>
                  <a:moveTo>
                    <a:pt x="622" y="85"/>
                  </a:moveTo>
                  <a:cubicBezTo>
                    <a:pt x="622" y="85"/>
                    <a:pt x="622" y="85"/>
                    <a:pt x="622" y="86"/>
                  </a:cubicBezTo>
                  <a:cubicBezTo>
                    <a:pt x="622" y="85"/>
                    <a:pt x="622" y="85"/>
                    <a:pt x="622" y="85"/>
                  </a:cubicBezTo>
                  <a:close/>
                  <a:moveTo>
                    <a:pt x="626" y="86"/>
                  </a:moveTo>
                  <a:cubicBezTo>
                    <a:pt x="626" y="85"/>
                    <a:pt x="626" y="85"/>
                    <a:pt x="626" y="85"/>
                  </a:cubicBezTo>
                  <a:cubicBezTo>
                    <a:pt x="626" y="85"/>
                    <a:pt x="626" y="85"/>
                    <a:pt x="626" y="86"/>
                  </a:cubicBezTo>
                  <a:close/>
                  <a:moveTo>
                    <a:pt x="1044" y="85"/>
                  </a:moveTo>
                  <a:cubicBezTo>
                    <a:pt x="1044" y="85"/>
                    <a:pt x="1044" y="85"/>
                    <a:pt x="1045" y="85"/>
                  </a:cubicBezTo>
                  <a:cubicBezTo>
                    <a:pt x="1045" y="85"/>
                    <a:pt x="1045" y="85"/>
                    <a:pt x="1044" y="85"/>
                  </a:cubicBezTo>
                  <a:close/>
                  <a:moveTo>
                    <a:pt x="1210" y="85"/>
                  </a:moveTo>
                  <a:cubicBezTo>
                    <a:pt x="1210" y="85"/>
                    <a:pt x="1210" y="85"/>
                    <a:pt x="1210" y="85"/>
                  </a:cubicBezTo>
                  <a:cubicBezTo>
                    <a:pt x="1210" y="85"/>
                    <a:pt x="1210" y="85"/>
                    <a:pt x="1210" y="85"/>
                  </a:cubicBezTo>
                  <a:close/>
                  <a:moveTo>
                    <a:pt x="1222" y="85"/>
                  </a:moveTo>
                  <a:cubicBezTo>
                    <a:pt x="1222" y="85"/>
                    <a:pt x="1222" y="85"/>
                    <a:pt x="1222" y="86"/>
                  </a:cubicBezTo>
                  <a:cubicBezTo>
                    <a:pt x="1222" y="85"/>
                    <a:pt x="1222" y="85"/>
                    <a:pt x="1222" y="85"/>
                  </a:cubicBezTo>
                  <a:close/>
                  <a:moveTo>
                    <a:pt x="1355" y="85"/>
                  </a:moveTo>
                  <a:cubicBezTo>
                    <a:pt x="1355" y="85"/>
                    <a:pt x="1355" y="85"/>
                    <a:pt x="1355" y="85"/>
                  </a:cubicBezTo>
                  <a:cubicBezTo>
                    <a:pt x="1355" y="85"/>
                    <a:pt x="1355" y="85"/>
                    <a:pt x="1355" y="85"/>
                  </a:cubicBezTo>
                  <a:close/>
                  <a:moveTo>
                    <a:pt x="1414" y="85"/>
                  </a:moveTo>
                  <a:cubicBezTo>
                    <a:pt x="1414" y="85"/>
                    <a:pt x="1414" y="85"/>
                    <a:pt x="1414" y="85"/>
                  </a:cubicBezTo>
                  <a:cubicBezTo>
                    <a:pt x="1414" y="85"/>
                    <a:pt x="1414" y="85"/>
                    <a:pt x="1414" y="85"/>
                  </a:cubicBezTo>
                  <a:close/>
                  <a:moveTo>
                    <a:pt x="1528" y="86"/>
                  </a:moveTo>
                  <a:cubicBezTo>
                    <a:pt x="1529" y="85"/>
                    <a:pt x="1529" y="85"/>
                    <a:pt x="1529" y="85"/>
                  </a:cubicBezTo>
                  <a:cubicBezTo>
                    <a:pt x="1528" y="85"/>
                    <a:pt x="1528" y="85"/>
                    <a:pt x="1528" y="86"/>
                  </a:cubicBezTo>
                  <a:close/>
                  <a:moveTo>
                    <a:pt x="1668" y="86"/>
                  </a:moveTo>
                  <a:cubicBezTo>
                    <a:pt x="1668" y="85"/>
                    <a:pt x="1668" y="85"/>
                    <a:pt x="1667" y="85"/>
                  </a:cubicBezTo>
                  <a:cubicBezTo>
                    <a:pt x="1667" y="85"/>
                    <a:pt x="1667" y="85"/>
                    <a:pt x="1668" y="86"/>
                  </a:cubicBezTo>
                  <a:close/>
                  <a:moveTo>
                    <a:pt x="1680" y="85"/>
                  </a:moveTo>
                  <a:cubicBezTo>
                    <a:pt x="1680" y="85"/>
                    <a:pt x="1680" y="85"/>
                    <a:pt x="1681" y="86"/>
                  </a:cubicBezTo>
                  <a:cubicBezTo>
                    <a:pt x="1681" y="85"/>
                    <a:pt x="1681" y="85"/>
                    <a:pt x="1680" y="85"/>
                  </a:cubicBezTo>
                  <a:close/>
                  <a:moveTo>
                    <a:pt x="1697" y="86"/>
                  </a:moveTo>
                  <a:cubicBezTo>
                    <a:pt x="1697" y="85"/>
                    <a:pt x="1697" y="85"/>
                    <a:pt x="1697" y="85"/>
                  </a:cubicBezTo>
                  <a:cubicBezTo>
                    <a:pt x="1697" y="85"/>
                    <a:pt x="1697" y="85"/>
                    <a:pt x="1697" y="86"/>
                  </a:cubicBezTo>
                  <a:close/>
                  <a:moveTo>
                    <a:pt x="612" y="86"/>
                  </a:moveTo>
                  <a:cubicBezTo>
                    <a:pt x="612" y="86"/>
                    <a:pt x="612" y="85"/>
                    <a:pt x="612" y="85"/>
                  </a:cubicBezTo>
                  <a:cubicBezTo>
                    <a:pt x="612" y="85"/>
                    <a:pt x="612" y="86"/>
                    <a:pt x="612" y="86"/>
                  </a:cubicBezTo>
                  <a:close/>
                  <a:moveTo>
                    <a:pt x="750" y="86"/>
                  </a:moveTo>
                  <a:cubicBezTo>
                    <a:pt x="750" y="86"/>
                    <a:pt x="750" y="85"/>
                    <a:pt x="750" y="85"/>
                  </a:cubicBezTo>
                  <a:cubicBezTo>
                    <a:pt x="750" y="85"/>
                    <a:pt x="750" y="86"/>
                    <a:pt x="750" y="86"/>
                  </a:cubicBezTo>
                  <a:close/>
                  <a:moveTo>
                    <a:pt x="1294" y="48"/>
                  </a:moveTo>
                  <a:cubicBezTo>
                    <a:pt x="1294" y="48"/>
                    <a:pt x="1293" y="48"/>
                    <a:pt x="1293" y="49"/>
                  </a:cubicBezTo>
                  <a:cubicBezTo>
                    <a:pt x="1294" y="48"/>
                    <a:pt x="1294" y="48"/>
                    <a:pt x="1294" y="48"/>
                  </a:cubicBezTo>
                  <a:close/>
                  <a:moveTo>
                    <a:pt x="1465" y="85"/>
                  </a:moveTo>
                  <a:cubicBezTo>
                    <a:pt x="1465" y="85"/>
                    <a:pt x="1465" y="86"/>
                    <a:pt x="1465" y="86"/>
                  </a:cubicBezTo>
                  <a:cubicBezTo>
                    <a:pt x="1465" y="86"/>
                    <a:pt x="1465" y="85"/>
                    <a:pt x="1465" y="85"/>
                  </a:cubicBezTo>
                  <a:close/>
                  <a:moveTo>
                    <a:pt x="1540" y="85"/>
                  </a:moveTo>
                  <a:cubicBezTo>
                    <a:pt x="1539" y="85"/>
                    <a:pt x="1539" y="86"/>
                    <a:pt x="1539" y="86"/>
                  </a:cubicBezTo>
                  <a:cubicBezTo>
                    <a:pt x="1540" y="86"/>
                    <a:pt x="1540" y="85"/>
                    <a:pt x="1540" y="85"/>
                  </a:cubicBezTo>
                  <a:close/>
                  <a:moveTo>
                    <a:pt x="1708" y="85"/>
                  </a:moveTo>
                  <a:cubicBezTo>
                    <a:pt x="1707" y="85"/>
                    <a:pt x="1707" y="86"/>
                    <a:pt x="1707" y="86"/>
                  </a:cubicBezTo>
                  <a:cubicBezTo>
                    <a:pt x="1708" y="86"/>
                    <a:pt x="1708" y="85"/>
                    <a:pt x="1708" y="85"/>
                  </a:cubicBezTo>
                  <a:close/>
                  <a:moveTo>
                    <a:pt x="636" y="85"/>
                  </a:moveTo>
                  <a:cubicBezTo>
                    <a:pt x="635" y="86"/>
                    <a:pt x="635" y="86"/>
                    <a:pt x="635" y="86"/>
                  </a:cubicBezTo>
                  <a:cubicBezTo>
                    <a:pt x="636" y="86"/>
                    <a:pt x="636" y="86"/>
                    <a:pt x="636" y="85"/>
                  </a:cubicBezTo>
                  <a:close/>
                  <a:moveTo>
                    <a:pt x="763" y="86"/>
                  </a:moveTo>
                  <a:cubicBezTo>
                    <a:pt x="763" y="86"/>
                    <a:pt x="763" y="86"/>
                    <a:pt x="763" y="86"/>
                  </a:cubicBezTo>
                  <a:cubicBezTo>
                    <a:pt x="763" y="86"/>
                    <a:pt x="763" y="86"/>
                    <a:pt x="763" y="86"/>
                  </a:cubicBezTo>
                  <a:close/>
                  <a:moveTo>
                    <a:pt x="959" y="86"/>
                  </a:moveTo>
                  <a:cubicBezTo>
                    <a:pt x="959" y="86"/>
                    <a:pt x="959" y="86"/>
                    <a:pt x="959" y="86"/>
                  </a:cubicBezTo>
                  <a:cubicBezTo>
                    <a:pt x="959" y="86"/>
                    <a:pt x="959" y="86"/>
                    <a:pt x="959" y="86"/>
                  </a:cubicBezTo>
                  <a:close/>
                  <a:moveTo>
                    <a:pt x="1668" y="9"/>
                  </a:moveTo>
                  <a:cubicBezTo>
                    <a:pt x="1668" y="9"/>
                    <a:pt x="1668" y="9"/>
                    <a:pt x="1668" y="9"/>
                  </a:cubicBezTo>
                  <a:cubicBezTo>
                    <a:pt x="1668" y="9"/>
                    <a:pt x="1668" y="9"/>
                    <a:pt x="1668" y="9"/>
                  </a:cubicBezTo>
                  <a:close/>
                  <a:moveTo>
                    <a:pt x="1032" y="86"/>
                  </a:moveTo>
                  <a:cubicBezTo>
                    <a:pt x="1032" y="86"/>
                    <a:pt x="1032" y="86"/>
                    <a:pt x="1032" y="85"/>
                  </a:cubicBezTo>
                  <a:cubicBezTo>
                    <a:pt x="1032" y="86"/>
                    <a:pt x="1032" y="86"/>
                    <a:pt x="1032" y="86"/>
                  </a:cubicBezTo>
                  <a:close/>
                  <a:moveTo>
                    <a:pt x="1210" y="86"/>
                  </a:moveTo>
                  <a:cubicBezTo>
                    <a:pt x="1210" y="86"/>
                    <a:pt x="1210" y="86"/>
                    <a:pt x="1210" y="85"/>
                  </a:cubicBezTo>
                  <a:cubicBezTo>
                    <a:pt x="1210" y="86"/>
                    <a:pt x="1210" y="86"/>
                    <a:pt x="1210" y="86"/>
                  </a:cubicBezTo>
                  <a:close/>
                  <a:moveTo>
                    <a:pt x="1706" y="9"/>
                  </a:moveTo>
                  <a:cubicBezTo>
                    <a:pt x="1707" y="9"/>
                    <a:pt x="1707" y="9"/>
                    <a:pt x="1707" y="9"/>
                  </a:cubicBezTo>
                  <a:cubicBezTo>
                    <a:pt x="1707" y="9"/>
                    <a:pt x="1706" y="9"/>
                    <a:pt x="1706" y="9"/>
                  </a:cubicBezTo>
                  <a:close/>
                  <a:moveTo>
                    <a:pt x="1668" y="86"/>
                  </a:moveTo>
                  <a:cubicBezTo>
                    <a:pt x="1668" y="86"/>
                    <a:pt x="1668" y="86"/>
                    <a:pt x="1668" y="85"/>
                  </a:cubicBezTo>
                  <a:cubicBezTo>
                    <a:pt x="1668" y="86"/>
                    <a:pt x="1668" y="86"/>
                    <a:pt x="1668" y="86"/>
                  </a:cubicBezTo>
                  <a:close/>
                  <a:moveTo>
                    <a:pt x="1681" y="86"/>
                  </a:moveTo>
                  <a:cubicBezTo>
                    <a:pt x="1681" y="86"/>
                    <a:pt x="1681" y="86"/>
                    <a:pt x="1681" y="86"/>
                  </a:cubicBezTo>
                  <a:cubicBezTo>
                    <a:pt x="1681" y="86"/>
                    <a:pt x="1681" y="86"/>
                    <a:pt x="1681" y="86"/>
                  </a:cubicBezTo>
                  <a:close/>
                  <a:moveTo>
                    <a:pt x="588" y="86"/>
                  </a:moveTo>
                  <a:cubicBezTo>
                    <a:pt x="588" y="86"/>
                    <a:pt x="588" y="86"/>
                    <a:pt x="588" y="87"/>
                  </a:cubicBezTo>
                  <a:cubicBezTo>
                    <a:pt x="588" y="86"/>
                    <a:pt x="588" y="86"/>
                    <a:pt x="588" y="86"/>
                  </a:cubicBezTo>
                  <a:close/>
                  <a:moveTo>
                    <a:pt x="613" y="87"/>
                  </a:moveTo>
                  <a:cubicBezTo>
                    <a:pt x="613" y="86"/>
                    <a:pt x="613" y="86"/>
                    <a:pt x="612" y="86"/>
                  </a:cubicBezTo>
                  <a:cubicBezTo>
                    <a:pt x="612" y="86"/>
                    <a:pt x="612" y="86"/>
                    <a:pt x="613" y="87"/>
                  </a:cubicBezTo>
                  <a:close/>
                  <a:moveTo>
                    <a:pt x="622" y="86"/>
                  </a:moveTo>
                  <a:cubicBezTo>
                    <a:pt x="622" y="86"/>
                    <a:pt x="622" y="86"/>
                    <a:pt x="623" y="87"/>
                  </a:cubicBezTo>
                  <a:cubicBezTo>
                    <a:pt x="623" y="86"/>
                    <a:pt x="623" y="86"/>
                    <a:pt x="622" y="86"/>
                  </a:cubicBezTo>
                  <a:close/>
                  <a:moveTo>
                    <a:pt x="625" y="87"/>
                  </a:moveTo>
                  <a:cubicBezTo>
                    <a:pt x="625" y="86"/>
                    <a:pt x="625" y="86"/>
                    <a:pt x="625" y="86"/>
                  </a:cubicBezTo>
                  <a:cubicBezTo>
                    <a:pt x="625" y="86"/>
                    <a:pt x="625" y="86"/>
                    <a:pt x="625" y="87"/>
                  </a:cubicBezTo>
                  <a:close/>
                  <a:moveTo>
                    <a:pt x="642" y="41"/>
                  </a:moveTo>
                  <a:cubicBezTo>
                    <a:pt x="642" y="41"/>
                    <a:pt x="642" y="41"/>
                    <a:pt x="642" y="40"/>
                  </a:cubicBezTo>
                  <a:cubicBezTo>
                    <a:pt x="642" y="40"/>
                    <a:pt x="642" y="41"/>
                    <a:pt x="642" y="41"/>
                  </a:cubicBezTo>
                  <a:close/>
                  <a:moveTo>
                    <a:pt x="750" y="87"/>
                  </a:moveTo>
                  <a:cubicBezTo>
                    <a:pt x="750" y="86"/>
                    <a:pt x="750" y="86"/>
                    <a:pt x="750" y="86"/>
                  </a:cubicBezTo>
                  <a:cubicBezTo>
                    <a:pt x="750" y="86"/>
                    <a:pt x="750" y="86"/>
                    <a:pt x="750" y="87"/>
                  </a:cubicBezTo>
                  <a:close/>
                  <a:moveTo>
                    <a:pt x="1737" y="9"/>
                  </a:moveTo>
                  <a:cubicBezTo>
                    <a:pt x="1737" y="9"/>
                    <a:pt x="1738" y="9"/>
                    <a:pt x="1738" y="9"/>
                  </a:cubicBezTo>
                  <a:cubicBezTo>
                    <a:pt x="1738" y="9"/>
                    <a:pt x="1738" y="9"/>
                    <a:pt x="1737" y="9"/>
                  </a:cubicBezTo>
                  <a:close/>
                  <a:moveTo>
                    <a:pt x="550" y="10"/>
                  </a:moveTo>
                  <a:cubicBezTo>
                    <a:pt x="550" y="10"/>
                    <a:pt x="550" y="10"/>
                    <a:pt x="550" y="9"/>
                  </a:cubicBezTo>
                  <a:cubicBezTo>
                    <a:pt x="550" y="9"/>
                    <a:pt x="550" y="9"/>
                    <a:pt x="550" y="10"/>
                  </a:cubicBezTo>
                  <a:close/>
                  <a:moveTo>
                    <a:pt x="1415" y="87"/>
                  </a:moveTo>
                  <a:cubicBezTo>
                    <a:pt x="1415" y="86"/>
                    <a:pt x="1415" y="86"/>
                    <a:pt x="1414" y="86"/>
                  </a:cubicBezTo>
                  <a:cubicBezTo>
                    <a:pt x="1414" y="86"/>
                    <a:pt x="1414" y="86"/>
                    <a:pt x="1415" y="87"/>
                  </a:cubicBezTo>
                  <a:close/>
                  <a:moveTo>
                    <a:pt x="1465" y="86"/>
                  </a:moveTo>
                  <a:cubicBezTo>
                    <a:pt x="1465" y="86"/>
                    <a:pt x="1465" y="86"/>
                    <a:pt x="1465" y="87"/>
                  </a:cubicBezTo>
                  <a:cubicBezTo>
                    <a:pt x="1465" y="86"/>
                    <a:pt x="1465" y="86"/>
                    <a:pt x="1465" y="86"/>
                  </a:cubicBezTo>
                  <a:close/>
                  <a:moveTo>
                    <a:pt x="979" y="10"/>
                  </a:moveTo>
                  <a:cubicBezTo>
                    <a:pt x="979" y="10"/>
                    <a:pt x="980" y="9"/>
                    <a:pt x="980" y="9"/>
                  </a:cubicBezTo>
                  <a:cubicBezTo>
                    <a:pt x="980" y="9"/>
                    <a:pt x="979" y="9"/>
                    <a:pt x="979" y="10"/>
                  </a:cubicBezTo>
                  <a:close/>
                  <a:moveTo>
                    <a:pt x="1020" y="9"/>
                  </a:moveTo>
                  <a:cubicBezTo>
                    <a:pt x="1020" y="10"/>
                    <a:pt x="1021" y="10"/>
                    <a:pt x="1021" y="10"/>
                  </a:cubicBezTo>
                  <a:cubicBezTo>
                    <a:pt x="1021" y="9"/>
                    <a:pt x="1021" y="9"/>
                    <a:pt x="1020" y="9"/>
                  </a:cubicBezTo>
                  <a:close/>
                  <a:moveTo>
                    <a:pt x="1353" y="10"/>
                  </a:moveTo>
                  <a:cubicBezTo>
                    <a:pt x="1354" y="10"/>
                    <a:pt x="1354" y="10"/>
                    <a:pt x="1354" y="9"/>
                  </a:cubicBezTo>
                  <a:cubicBezTo>
                    <a:pt x="1354" y="9"/>
                    <a:pt x="1354" y="9"/>
                    <a:pt x="1353" y="10"/>
                  </a:cubicBezTo>
                  <a:close/>
                  <a:moveTo>
                    <a:pt x="1385" y="9"/>
                  </a:moveTo>
                  <a:cubicBezTo>
                    <a:pt x="1386" y="10"/>
                    <a:pt x="1386" y="10"/>
                    <a:pt x="1386" y="10"/>
                  </a:cubicBezTo>
                  <a:cubicBezTo>
                    <a:pt x="1386" y="9"/>
                    <a:pt x="1386" y="9"/>
                    <a:pt x="1385" y="9"/>
                  </a:cubicBezTo>
                  <a:close/>
                  <a:moveTo>
                    <a:pt x="1292" y="41"/>
                  </a:moveTo>
                  <a:cubicBezTo>
                    <a:pt x="1292" y="40"/>
                    <a:pt x="1292" y="40"/>
                    <a:pt x="1292" y="40"/>
                  </a:cubicBezTo>
                  <a:cubicBezTo>
                    <a:pt x="1292" y="40"/>
                    <a:pt x="1292" y="40"/>
                    <a:pt x="1292" y="41"/>
                  </a:cubicBezTo>
                  <a:close/>
                  <a:moveTo>
                    <a:pt x="1033" y="87"/>
                  </a:moveTo>
                  <a:cubicBezTo>
                    <a:pt x="1033" y="87"/>
                    <a:pt x="1033" y="86"/>
                    <a:pt x="1032" y="86"/>
                  </a:cubicBezTo>
                  <a:cubicBezTo>
                    <a:pt x="1032" y="86"/>
                    <a:pt x="1032" y="87"/>
                    <a:pt x="1033" y="87"/>
                  </a:cubicBezTo>
                  <a:close/>
                  <a:moveTo>
                    <a:pt x="1045" y="86"/>
                  </a:moveTo>
                  <a:cubicBezTo>
                    <a:pt x="1045" y="87"/>
                    <a:pt x="1045" y="87"/>
                    <a:pt x="1046" y="87"/>
                  </a:cubicBezTo>
                  <a:cubicBezTo>
                    <a:pt x="1046" y="87"/>
                    <a:pt x="1046" y="86"/>
                    <a:pt x="1045" y="86"/>
                  </a:cubicBezTo>
                  <a:close/>
                  <a:moveTo>
                    <a:pt x="1737" y="42"/>
                  </a:moveTo>
                  <a:cubicBezTo>
                    <a:pt x="1737" y="42"/>
                    <a:pt x="1737" y="42"/>
                    <a:pt x="1737" y="42"/>
                  </a:cubicBezTo>
                  <a:cubicBezTo>
                    <a:pt x="1737" y="42"/>
                    <a:pt x="1737" y="42"/>
                    <a:pt x="1737" y="42"/>
                  </a:cubicBezTo>
                  <a:close/>
                  <a:moveTo>
                    <a:pt x="1681" y="86"/>
                  </a:moveTo>
                  <a:cubicBezTo>
                    <a:pt x="1681" y="87"/>
                    <a:pt x="1681" y="87"/>
                    <a:pt x="1681" y="87"/>
                  </a:cubicBezTo>
                  <a:cubicBezTo>
                    <a:pt x="1681" y="87"/>
                    <a:pt x="1681" y="86"/>
                    <a:pt x="1681" y="86"/>
                  </a:cubicBezTo>
                  <a:close/>
                  <a:moveTo>
                    <a:pt x="1455" y="9"/>
                  </a:moveTo>
                  <a:cubicBezTo>
                    <a:pt x="1455" y="10"/>
                    <a:pt x="1455" y="10"/>
                    <a:pt x="1456" y="10"/>
                  </a:cubicBezTo>
                  <a:cubicBezTo>
                    <a:pt x="1456" y="9"/>
                    <a:pt x="1455" y="9"/>
                    <a:pt x="1455" y="9"/>
                  </a:cubicBezTo>
                  <a:close/>
                  <a:moveTo>
                    <a:pt x="1500" y="10"/>
                  </a:moveTo>
                  <a:cubicBezTo>
                    <a:pt x="1500" y="10"/>
                    <a:pt x="1500" y="10"/>
                    <a:pt x="1501" y="9"/>
                  </a:cubicBezTo>
                  <a:cubicBezTo>
                    <a:pt x="1500" y="9"/>
                    <a:pt x="1500" y="9"/>
                    <a:pt x="1500" y="10"/>
                  </a:cubicBezTo>
                  <a:close/>
                  <a:moveTo>
                    <a:pt x="1538" y="10"/>
                  </a:moveTo>
                  <a:cubicBezTo>
                    <a:pt x="1538" y="10"/>
                    <a:pt x="1538" y="10"/>
                    <a:pt x="1538" y="9"/>
                  </a:cubicBezTo>
                  <a:cubicBezTo>
                    <a:pt x="1538" y="9"/>
                    <a:pt x="1538" y="9"/>
                    <a:pt x="1538" y="10"/>
                  </a:cubicBezTo>
                  <a:close/>
                  <a:moveTo>
                    <a:pt x="646" y="59"/>
                  </a:moveTo>
                  <a:cubicBezTo>
                    <a:pt x="646" y="59"/>
                    <a:pt x="646" y="59"/>
                    <a:pt x="646" y="60"/>
                  </a:cubicBezTo>
                  <a:cubicBezTo>
                    <a:pt x="646" y="60"/>
                    <a:pt x="646" y="59"/>
                    <a:pt x="646" y="59"/>
                  </a:cubicBezTo>
                  <a:close/>
                  <a:moveTo>
                    <a:pt x="1290" y="54"/>
                  </a:moveTo>
                  <a:cubicBezTo>
                    <a:pt x="1290" y="54"/>
                    <a:pt x="1290" y="54"/>
                    <a:pt x="1290" y="55"/>
                  </a:cubicBezTo>
                  <a:cubicBezTo>
                    <a:pt x="1290" y="54"/>
                    <a:pt x="1290" y="54"/>
                    <a:pt x="1290" y="54"/>
                  </a:cubicBezTo>
                  <a:close/>
                  <a:moveTo>
                    <a:pt x="1669" y="9"/>
                  </a:moveTo>
                  <a:cubicBezTo>
                    <a:pt x="1669" y="10"/>
                    <a:pt x="1669" y="10"/>
                    <a:pt x="1669" y="10"/>
                  </a:cubicBezTo>
                  <a:cubicBezTo>
                    <a:pt x="1669" y="9"/>
                    <a:pt x="1669" y="9"/>
                    <a:pt x="1669" y="9"/>
                  </a:cubicBezTo>
                  <a:close/>
                  <a:moveTo>
                    <a:pt x="660" y="60"/>
                  </a:moveTo>
                  <a:cubicBezTo>
                    <a:pt x="660" y="59"/>
                    <a:pt x="660" y="59"/>
                    <a:pt x="659" y="59"/>
                  </a:cubicBezTo>
                  <a:cubicBezTo>
                    <a:pt x="659" y="59"/>
                    <a:pt x="659" y="60"/>
                    <a:pt x="660" y="60"/>
                  </a:cubicBezTo>
                  <a:close/>
                  <a:moveTo>
                    <a:pt x="1211" y="87"/>
                  </a:moveTo>
                  <a:cubicBezTo>
                    <a:pt x="1211" y="87"/>
                    <a:pt x="1211" y="87"/>
                    <a:pt x="1210" y="86"/>
                  </a:cubicBezTo>
                  <a:cubicBezTo>
                    <a:pt x="1210" y="87"/>
                    <a:pt x="1210" y="87"/>
                    <a:pt x="1211" y="87"/>
                  </a:cubicBezTo>
                  <a:close/>
                  <a:moveTo>
                    <a:pt x="1369" y="59"/>
                  </a:moveTo>
                  <a:cubicBezTo>
                    <a:pt x="1369" y="59"/>
                    <a:pt x="1369" y="59"/>
                    <a:pt x="1369" y="59"/>
                  </a:cubicBezTo>
                  <a:cubicBezTo>
                    <a:pt x="1369" y="59"/>
                    <a:pt x="1369" y="59"/>
                    <a:pt x="1369" y="59"/>
                  </a:cubicBezTo>
                  <a:close/>
                  <a:moveTo>
                    <a:pt x="1415" y="87"/>
                  </a:moveTo>
                  <a:cubicBezTo>
                    <a:pt x="1415" y="87"/>
                    <a:pt x="1415" y="87"/>
                    <a:pt x="1415" y="86"/>
                  </a:cubicBezTo>
                  <a:cubicBezTo>
                    <a:pt x="1415" y="87"/>
                    <a:pt x="1415" y="87"/>
                    <a:pt x="1415" y="87"/>
                  </a:cubicBezTo>
                  <a:close/>
                  <a:moveTo>
                    <a:pt x="1465" y="87"/>
                  </a:moveTo>
                  <a:cubicBezTo>
                    <a:pt x="1464" y="87"/>
                    <a:pt x="1464" y="87"/>
                    <a:pt x="1464" y="87"/>
                  </a:cubicBezTo>
                  <a:cubicBezTo>
                    <a:pt x="1465" y="87"/>
                    <a:pt x="1465" y="87"/>
                    <a:pt x="1465" y="87"/>
                  </a:cubicBezTo>
                  <a:close/>
                  <a:moveTo>
                    <a:pt x="1668" y="87"/>
                  </a:moveTo>
                  <a:cubicBezTo>
                    <a:pt x="1668" y="87"/>
                    <a:pt x="1668" y="87"/>
                    <a:pt x="1668" y="86"/>
                  </a:cubicBezTo>
                  <a:cubicBezTo>
                    <a:pt x="1668" y="87"/>
                    <a:pt x="1668" y="87"/>
                    <a:pt x="1668" y="87"/>
                  </a:cubicBezTo>
                  <a:close/>
                  <a:moveTo>
                    <a:pt x="588" y="87"/>
                  </a:moveTo>
                  <a:cubicBezTo>
                    <a:pt x="588" y="87"/>
                    <a:pt x="588" y="87"/>
                    <a:pt x="588" y="88"/>
                  </a:cubicBezTo>
                  <a:cubicBezTo>
                    <a:pt x="588" y="87"/>
                    <a:pt x="588" y="87"/>
                    <a:pt x="588" y="87"/>
                  </a:cubicBezTo>
                  <a:close/>
                  <a:moveTo>
                    <a:pt x="613" y="88"/>
                  </a:moveTo>
                  <a:cubicBezTo>
                    <a:pt x="613" y="87"/>
                    <a:pt x="613" y="87"/>
                    <a:pt x="613" y="87"/>
                  </a:cubicBezTo>
                  <a:cubicBezTo>
                    <a:pt x="613" y="87"/>
                    <a:pt x="613" y="87"/>
                    <a:pt x="613" y="88"/>
                  </a:cubicBezTo>
                  <a:close/>
                  <a:moveTo>
                    <a:pt x="960" y="88"/>
                  </a:moveTo>
                  <a:cubicBezTo>
                    <a:pt x="960" y="87"/>
                    <a:pt x="960" y="87"/>
                    <a:pt x="960" y="87"/>
                  </a:cubicBezTo>
                  <a:cubicBezTo>
                    <a:pt x="960" y="87"/>
                    <a:pt x="960" y="87"/>
                    <a:pt x="960" y="88"/>
                  </a:cubicBezTo>
                  <a:close/>
                  <a:moveTo>
                    <a:pt x="976" y="87"/>
                  </a:moveTo>
                  <a:cubicBezTo>
                    <a:pt x="977" y="87"/>
                    <a:pt x="977" y="87"/>
                    <a:pt x="977" y="87"/>
                  </a:cubicBezTo>
                  <a:cubicBezTo>
                    <a:pt x="977" y="87"/>
                    <a:pt x="977" y="87"/>
                    <a:pt x="976" y="87"/>
                  </a:cubicBezTo>
                  <a:close/>
                  <a:moveTo>
                    <a:pt x="1020" y="87"/>
                  </a:moveTo>
                  <a:cubicBezTo>
                    <a:pt x="1020" y="87"/>
                    <a:pt x="1020" y="87"/>
                    <a:pt x="1021" y="87"/>
                  </a:cubicBezTo>
                  <a:cubicBezTo>
                    <a:pt x="1020" y="87"/>
                    <a:pt x="1020" y="87"/>
                    <a:pt x="1020" y="87"/>
                  </a:cubicBezTo>
                  <a:close/>
                  <a:moveTo>
                    <a:pt x="1706" y="10"/>
                  </a:moveTo>
                  <a:cubicBezTo>
                    <a:pt x="1706" y="10"/>
                    <a:pt x="1706" y="10"/>
                    <a:pt x="1706" y="9"/>
                  </a:cubicBezTo>
                  <a:cubicBezTo>
                    <a:pt x="1706" y="9"/>
                    <a:pt x="1706" y="9"/>
                    <a:pt x="1706" y="10"/>
                  </a:cubicBezTo>
                  <a:close/>
                  <a:moveTo>
                    <a:pt x="1082" y="87"/>
                  </a:moveTo>
                  <a:cubicBezTo>
                    <a:pt x="1082" y="87"/>
                    <a:pt x="1082" y="87"/>
                    <a:pt x="1083" y="87"/>
                  </a:cubicBezTo>
                  <a:cubicBezTo>
                    <a:pt x="1082" y="87"/>
                    <a:pt x="1082" y="87"/>
                    <a:pt x="1082" y="87"/>
                  </a:cubicBezTo>
                  <a:close/>
                  <a:moveTo>
                    <a:pt x="1212" y="49"/>
                  </a:moveTo>
                  <a:cubicBezTo>
                    <a:pt x="1212" y="48"/>
                    <a:pt x="1212" y="48"/>
                    <a:pt x="1212" y="48"/>
                  </a:cubicBezTo>
                  <a:cubicBezTo>
                    <a:pt x="1212" y="48"/>
                    <a:pt x="1212" y="48"/>
                    <a:pt x="1212" y="49"/>
                  </a:cubicBezTo>
                  <a:close/>
                  <a:moveTo>
                    <a:pt x="749" y="55"/>
                  </a:moveTo>
                  <a:cubicBezTo>
                    <a:pt x="749" y="54"/>
                    <a:pt x="749" y="54"/>
                    <a:pt x="749" y="54"/>
                  </a:cubicBezTo>
                  <a:cubicBezTo>
                    <a:pt x="749" y="54"/>
                    <a:pt x="749" y="54"/>
                    <a:pt x="749" y="55"/>
                  </a:cubicBezTo>
                  <a:close/>
                  <a:moveTo>
                    <a:pt x="1681" y="87"/>
                  </a:moveTo>
                  <a:cubicBezTo>
                    <a:pt x="1681" y="87"/>
                    <a:pt x="1681" y="88"/>
                    <a:pt x="1682" y="88"/>
                  </a:cubicBezTo>
                  <a:cubicBezTo>
                    <a:pt x="1682" y="87"/>
                    <a:pt x="1682" y="87"/>
                    <a:pt x="1681" y="87"/>
                  </a:cubicBezTo>
                  <a:close/>
                  <a:moveTo>
                    <a:pt x="635" y="87"/>
                  </a:moveTo>
                  <a:cubicBezTo>
                    <a:pt x="635" y="87"/>
                    <a:pt x="635" y="88"/>
                    <a:pt x="635" y="88"/>
                  </a:cubicBezTo>
                  <a:cubicBezTo>
                    <a:pt x="635" y="88"/>
                    <a:pt x="635" y="87"/>
                    <a:pt x="635" y="87"/>
                  </a:cubicBezTo>
                  <a:close/>
                  <a:moveTo>
                    <a:pt x="857" y="49"/>
                  </a:moveTo>
                  <a:cubicBezTo>
                    <a:pt x="857" y="49"/>
                    <a:pt x="857" y="49"/>
                    <a:pt x="857" y="49"/>
                  </a:cubicBezTo>
                  <a:cubicBezTo>
                    <a:pt x="857" y="49"/>
                    <a:pt x="857" y="49"/>
                    <a:pt x="857" y="49"/>
                  </a:cubicBezTo>
                  <a:close/>
                  <a:moveTo>
                    <a:pt x="688" y="88"/>
                  </a:moveTo>
                  <a:cubicBezTo>
                    <a:pt x="688" y="88"/>
                    <a:pt x="688" y="88"/>
                    <a:pt x="688" y="87"/>
                  </a:cubicBezTo>
                  <a:cubicBezTo>
                    <a:pt x="688" y="87"/>
                    <a:pt x="688" y="88"/>
                    <a:pt x="688" y="88"/>
                  </a:cubicBezTo>
                  <a:close/>
                  <a:moveTo>
                    <a:pt x="1141" y="49"/>
                  </a:moveTo>
                  <a:cubicBezTo>
                    <a:pt x="1141" y="48"/>
                    <a:pt x="1141" y="48"/>
                    <a:pt x="1141" y="48"/>
                  </a:cubicBezTo>
                  <a:cubicBezTo>
                    <a:pt x="1141" y="48"/>
                    <a:pt x="1141" y="48"/>
                    <a:pt x="1141" y="49"/>
                  </a:cubicBezTo>
                  <a:close/>
                  <a:moveTo>
                    <a:pt x="799" y="88"/>
                  </a:moveTo>
                  <a:cubicBezTo>
                    <a:pt x="800" y="88"/>
                    <a:pt x="800" y="88"/>
                    <a:pt x="800" y="87"/>
                  </a:cubicBezTo>
                  <a:cubicBezTo>
                    <a:pt x="800" y="87"/>
                    <a:pt x="799" y="87"/>
                    <a:pt x="799" y="88"/>
                  </a:cubicBezTo>
                  <a:close/>
                  <a:moveTo>
                    <a:pt x="1019" y="88"/>
                  </a:moveTo>
                  <a:cubicBezTo>
                    <a:pt x="1020" y="88"/>
                    <a:pt x="1020" y="88"/>
                    <a:pt x="1020" y="87"/>
                  </a:cubicBezTo>
                  <a:cubicBezTo>
                    <a:pt x="1020" y="87"/>
                    <a:pt x="1019" y="87"/>
                    <a:pt x="1019" y="88"/>
                  </a:cubicBezTo>
                  <a:close/>
                  <a:moveTo>
                    <a:pt x="1186" y="87"/>
                  </a:moveTo>
                  <a:cubicBezTo>
                    <a:pt x="1186" y="88"/>
                    <a:pt x="1186" y="88"/>
                    <a:pt x="1186" y="88"/>
                  </a:cubicBezTo>
                  <a:cubicBezTo>
                    <a:pt x="1186" y="88"/>
                    <a:pt x="1186" y="87"/>
                    <a:pt x="1186" y="87"/>
                  </a:cubicBezTo>
                  <a:close/>
                  <a:moveTo>
                    <a:pt x="1211" y="88"/>
                  </a:moveTo>
                  <a:cubicBezTo>
                    <a:pt x="1211" y="88"/>
                    <a:pt x="1211" y="87"/>
                    <a:pt x="1211" y="87"/>
                  </a:cubicBezTo>
                  <a:cubicBezTo>
                    <a:pt x="1211" y="87"/>
                    <a:pt x="1211" y="88"/>
                    <a:pt x="1211" y="88"/>
                  </a:cubicBezTo>
                  <a:close/>
                  <a:moveTo>
                    <a:pt x="1664" y="59"/>
                  </a:moveTo>
                  <a:cubicBezTo>
                    <a:pt x="1664" y="59"/>
                    <a:pt x="1665" y="59"/>
                    <a:pt x="1665" y="59"/>
                  </a:cubicBezTo>
                  <a:cubicBezTo>
                    <a:pt x="1665" y="59"/>
                    <a:pt x="1664" y="59"/>
                    <a:pt x="1664" y="59"/>
                  </a:cubicBezTo>
                  <a:close/>
                  <a:moveTo>
                    <a:pt x="1415" y="88"/>
                  </a:moveTo>
                  <a:cubicBezTo>
                    <a:pt x="1415" y="88"/>
                    <a:pt x="1415" y="87"/>
                    <a:pt x="1415" y="87"/>
                  </a:cubicBezTo>
                  <a:cubicBezTo>
                    <a:pt x="1415" y="88"/>
                    <a:pt x="1415" y="88"/>
                    <a:pt x="1415" y="88"/>
                  </a:cubicBezTo>
                  <a:close/>
                  <a:moveTo>
                    <a:pt x="1464" y="87"/>
                  </a:moveTo>
                  <a:cubicBezTo>
                    <a:pt x="1464" y="87"/>
                    <a:pt x="1464" y="88"/>
                    <a:pt x="1464" y="88"/>
                  </a:cubicBezTo>
                  <a:cubicBezTo>
                    <a:pt x="1464" y="88"/>
                    <a:pt x="1464" y="88"/>
                    <a:pt x="1464" y="87"/>
                  </a:cubicBezTo>
                  <a:close/>
                  <a:moveTo>
                    <a:pt x="607" y="42"/>
                  </a:moveTo>
                  <a:cubicBezTo>
                    <a:pt x="607" y="42"/>
                    <a:pt x="607" y="43"/>
                    <a:pt x="607" y="43"/>
                  </a:cubicBezTo>
                  <a:cubicBezTo>
                    <a:pt x="607" y="42"/>
                    <a:pt x="607" y="42"/>
                    <a:pt x="607" y="42"/>
                  </a:cubicBezTo>
                  <a:close/>
                  <a:moveTo>
                    <a:pt x="1669" y="88"/>
                  </a:moveTo>
                  <a:cubicBezTo>
                    <a:pt x="1669" y="88"/>
                    <a:pt x="1669" y="87"/>
                    <a:pt x="1668" y="87"/>
                  </a:cubicBezTo>
                  <a:cubicBezTo>
                    <a:pt x="1668" y="87"/>
                    <a:pt x="1668" y="88"/>
                    <a:pt x="1669" y="88"/>
                  </a:cubicBezTo>
                  <a:close/>
                  <a:moveTo>
                    <a:pt x="978" y="10"/>
                  </a:moveTo>
                  <a:cubicBezTo>
                    <a:pt x="978" y="10"/>
                    <a:pt x="979" y="10"/>
                    <a:pt x="979" y="10"/>
                  </a:cubicBezTo>
                  <a:cubicBezTo>
                    <a:pt x="979" y="10"/>
                    <a:pt x="978" y="10"/>
                    <a:pt x="978" y="10"/>
                  </a:cubicBezTo>
                  <a:close/>
                  <a:moveTo>
                    <a:pt x="1353" y="10"/>
                  </a:moveTo>
                  <a:cubicBezTo>
                    <a:pt x="1353" y="10"/>
                    <a:pt x="1353" y="10"/>
                    <a:pt x="1353" y="10"/>
                  </a:cubicBezTo>
                  <a:cubicBezTo>
                    <a:pt x="1353" y="10"/>
                    <a:pt x="1353" y="10"/>
                    <a:pt x="1353" y="10"/>
                  </a:cubicBezTo>
                  <a:close/>
                  <a:moveTo>
                    <a:pt x="1386" y="10"/>
                  </a:moveTo>
                  <a:cubicBezTo>
                    <a:pt x="1386" y="10"/>
                    <a:pt x="1386" y="10"/>
                    <a:pt x="1387" y="10"/>
                  </a:cubicBezTo>
                  <a:cubicBezTo>
                    <a:pt x="1387" y="10"/>
                    <a:pt x="1386" y="10"/>
                    <a:pt x="1386" y="10"/>
                  </a:cubicBezTo>
                  <a:close/>
                  <a:moveTo>
                    <a:pt x="1426" y="10"/>
                  </a:moveTo>
                  <a:cubicBezTo>
                    <a:pt x="1426" y="10"/>
                    <a:pt x="1426" y="10"/>
                    <a:pt x="1426" y="10"/>
                  </a:cubicBezTo>
                  <a:cubicBezTo>
                    <a:pt x="1426" y="10"/>
                    <a:pt x="1426" y="10"/>
                    <a:pt x="1426" y="10"/>
                  </a:cubicBezTo>
                  <a:close/>
                  <a:moveTo>
                    <a:pt x="625" y="88"/>
                  </a:moveTo>
                  <a:cubicBezTo>
                    <a:pt x="625" y="88"/>
                    <a:pt x="625" y="88"/>
                    <a:pt x="625" y="88"/>
                  </a:cubicBezTo>
                  <a:cubicBezTo>
                    <a:pt x="624" y="88"/>
                    <a:pt x="624" y="88"/>
                    <a:pt x="625" y="88"/>
                  </a:cubicBezTo>
                  <a:close/>
                  <a:moveTo>
                    <a:pt x="661" y="43"/>
                  </a:moveTo>
                  <a:cubicBezTo>
                    <a:pt x="661" y="43"/>
                    <a:pt x="661" y="42"/>
                    <a:pt x="661" y="42"/>
                  </a:cubicBezTo>
                  <a:cubicBezTo>
                    <a:pt x="661" y="42"/>
                    <a:pt x="661" y="42"/>
                    <a:pt x="661" y="43"/>
                  </a:cubicBezTo>
                  <a:close/>
                  <a:moveTo>
                    <a:pt x="977" y="88"/>
                  </a:moveTo>
                  <a:cubicBezTo>
                    <a:pt x="978" y="88"/>
                    <a:pt x="978" y="88"/>
                    <a:pt x="978" y="88"/>
                  </a:cubicBezTo>
                  <a:cubicBezTo>
                    <a:pt x="978" y="88"/>
                    <a:pt x="978" y="88"/>
                    <a:pt x="977" y="88"/>
                  </a:cubicBezTo>
                  <a:close/>
                  <a:moveTo>
                    <a:pt x="1019" y="88"/>
                  </a:moveTo>
                  <a:cubicBezTo>
                    <a:pt x="1019" y="88"/>
                    <a:pt x="1019" y="88"/>
                    <a:pt x="1019" y="88"/>
                  </a:cubicBezTo>
                  <a:cubicBezTo>
                    <a:pt x="1019" y="88"/>
                    <a:pt x="1019" y="88"/>
                    <a:pt x="1019" y="88"/>
                  </a:cubicBezTo>
                  <a:close/>
                  <a:moveTo>
                    <a:pt x="1081" y="88"/>
                  </a:moveTo>
                  <a:cubicBezTo>
                    <a:pt x="1081" y="88"/>
                    <a:pt x="1081" y="88"/>
                    <a:pt x="1082" y="88"/>
                  </a:cubicBezTo>
                  <a:cubicBezTo>
                    <a:pt x="1081" y="88"/>
                    <a:pt x="1081" y="88"/>
                    <a:pt x="1081" y="88"/>
                  </a:cubicBezTo>
                  <a:close/>
                  <a:moveTo>
                    <a:pt x="1259" y="88"/>
                  </a:moveTo>
                  <a:cubicBezTo>
                    <a:pt x="1259" y="88"/>
                    <a:pt x="1259" y="88"/>
                    <a:pt x="1259" y="88"/>
                  </a:cubicBezTo>
                  <a:cubicBezTo>
                    <a:pt x="1259" y="88"/>
                    <a:pt x="1259" y="88"/>
                    <a:pt x="1259" y="88"/>
                  </a:cubicBezTo>
                  <a:close/>
                  <a:moveTo>
                    <a:pt x="649" y="52"/>
                  </a:moveTo>
                  <a:cubicBezTo>
                    <a:pt x="649" y="52"/>
                    <a:pt x="648" y="52"/>
                    <a:pt x="648" y="53"/>
                  </a:cubicBezTo>
                  <a:cubicBezTo>
                    <a:pt x="649" y="53"/>
                    <a:pt x="649" y="52"/>
                    <a:pt x="649" y="52"/>
                  </a:cubicBezTo>
                  <a:close/>
                  <a:moveTo>
                    <a:pt x="1570" y="10"/>
                  </a:moveTo>
                  <a:cubicBezTo>
                    <a:pt x="1570" y="10"/>
                    <a:pt x="1571" y="10"/>
                    <a:pt x="1571" y="10"/>
                  </a:cubicBezTo>
                  <a:cubicBezTo>
                    <a:pt x="1571" y="10"/>
                    <a:pt x="1571" y="10"/>
                    <a:pt x="1570" y="10"/>
                  </a:cubicBezTo>
                  <a:close/>
                  <a:moveTo>
                    <a:pt x="1034" y="49"/>
                  </a:moveTo>
                  <a:cubicBezTo>
                    <a:pt x="1034" y="48"/>
                    <a:pt x="1034" y="48"/>
                    <a:pt x="1034" y="48"/>
                  </a:cubicBezTo>
                  <a:cubicBezTo>
                    <a:pt x="1034" y="48"/>
                    <a:pt x="1034" y="48"/>
                    <a:pt x="1034" y="49"/>
                  </a:cubicBezTo>
                  <a:close/>
                  <a:moveTo>
                    <a:pt x="798" y="88"/>
                  </a:moveTo>
                  <a:cubicBezTo>
                    <a:pt x="798" y="88"/>
                    <a:pt x="799" y="88"/>
                    <a:pt x="799" y="88"/>
                  </a:cubicBezTo>
                  <a:cubicBezTo>
                    <a:pt x="799" y="88"/>
                    <a:pt x="798" y="88"/>
                    <a:pt x="798" y="88"/>
                  </a:cubicBezTo>
                  <a:close/>
                  <a:moveTo>
                    <a:pt x="1211" y="89"/>
                  </a:moveTo>
                  <a:cubicBezTo>
                    <a:pt x="1211" y="88"/>
                    <a:pt x="1211" y="88"/>
                    <a:pt x="1211" y="88"/>
                  </a:cubicBezTo>
                  <a:cubicBezTo>
                    <a:pt x="1211" y="88"/>
                    <a:pt x="1211" y="88"/>
                    <a:pt x="1211" y="89"/>
                  </a:cubicBezTo>
                  <a:close/>
                  <a:moveTo>
                    <a:pt x="1416" y="89"/>
                  </a:moveTo>
                  <a:cubicBezTo>
                    <a:pt x="1416" y="88"/>
                    <a:pt x="1416" y="88"/>
                    <a:pt x="1415" y="88"/>
                  </a:cubicBezTo>
                  <a:cubicBezTo>
                    <a:pt x="1415" y="88"/>
                    <a:pt x="1415" y="88"/>
                    <a:pt x="1416" y="89"/>
                  </a:cubicBezTo>
                  <a:close/>
                  <a:moveTo>
                    <a:pt x="1464" y="88"/>
                  </a:moveTo>
                  <a:cubicBezTo>
                    <a:pt x="1464" y="88"/>
                    <a:pt x="1464" y="88"/>
                    <a:pt x="1464" y="89"/>
                  </a:cubicBezTo>
                  <a:cubicBezTo>
                    <a:pt x="1464" y="88"/>
                    <a:pt x="1464" y="88"/>
                    <a:pt x="1464" y="88"/>
                  </a:cubicBezTo>
                  <a:close/>
                  <a:moveTo>
                    <a:pt x="599" y="53"/>
                  </a:moveTo>
                  <a:cubicBezTo>
                    <a:pt x="599" y="52"/>
                    <a:pt x="599" y="52"/>
                    <a:pt x="599" y="52"/>
                  </a:cubicBezTo>
                  <a:cubicBezTo>
                    <a:pt x="599" y="52"/>
                    <a:pt x="599" y="53"/>
                    <a:pt x="599" y="53"/>
                  </a:cubicBezTo>
                  <a:close/>
                  <a:moveTo>
                    <a:pt x="1669" y="89"/>
                  </a:moveTo>
                  <a:cubicBezTo>
                    <a:pt x="1669" y="88"/>
                    <a:pt x="1669" y="88"/>
                    <a:pt x="1669" y="88"/>
                  </a:cubicBezTo>
                  <a:cubicBezTo>
                    <a:pt x="1669" y="88"/>
                    <a:pt x="1669" y="88"/>
                    <a:pt x="1669" y="89"/>
                  </a:cubicBezTo>
                  <a:close/>
                  <a:moveTo>
                    <a:pt x="648" y="54"/>
                  </a:moveTo>
                  <a:cubicBezTo>
                    <a:pt x="648" y="54"/>
                    <a:pt x="648" y="54"/>
                    <a:pt x="648" y="55"/>
                  </a:cubicBezTo>
                  <a:cubicBezTo>
                    <a:pt x="648" y="54"/>
                    <a:pt x="648" y="54"/>
                    <a:pt x="648" y="54"/>
                  </a:cubicBezTo>
                  <a:close/>
                  <a:moveTo>
                    <a:pt x="634" y="88"/>
                  </a:moveTo>
                  <a:cubicBezTo>
                    <a:pt x="634" y="88"/>
                    <a:pt x="634" y="89"/>
                    <a:pt x="634" y="89"/>
                  </a:cubicBezTo>
                  <a:cubicBezTo>
                    <a:pt x="635" y="89"/>
                    <a:pt x="635" y="88"/>
                    <a:pt x="634" y="88"/>
                  </a:cubicBezTo>
                  <a:close/>
                  <a:moveTo>
                    <a:pt x="612" y="56"/>
                  </a:moveTo>
                  <a:cubicBezTo>
                    <a:pt x="612" y="56"/>
                    <a:pt x="612" y="57"/>
                    <a:pt x="612" y="57"/>
                  </a:cubicBezTo>
                  <a:cubicBezTo>
                    <a:pt x="612" y="56"/>
                    <a:pt x="612" y="56"/>
                    <a:pt x="612" y="56"/>
                  </a:cubicBezTo>
                  <a:close/>
                  <a:moveTo>
                    <a:pt x="687" y="89"/>
                  </a:moveTo>
                  <a:cubicBezTo>
                    <a:pt x="688" y="89"/>
                    <a:pt x="688" y="89"/>
                    <a:pt x="688" y="88"/>
                  </a:cubicBezTo>
                  <a:cubicBezTo>
                    <a:pt x="688" y="88"/>
                    <a:pt x="687" y="89"/>
                    <a:pt x="687" y="89"/>
                  </a:cubicBezTo>
                  <a:close/>
                  <a:moveTo>
                    <a:pt x="1669" y="10"/>
                  </a:moveTo>
                  <a:cubicBezTo>
                    <a:pt x="1670" y="10"/>
                    <a:pt x="1670" y="10"/>
                    <a:pt x="1670" y="10"/>
                  </a:cubicBezTo>
                  <a:cubicBezTo>
                    <a:pt x="1670" y="10"/>
                    <a:pt x="1670" y="10"/>
                    <a:pt x="1669" y="10"/>
                  </a:cubicBezTo>
                  <a:close/>
                  <a:moveTo>
                    <a:pt x="1080" y="89"/>
                  </a:moveTo>
                  <a:cubicBezTo>
                    <a:pt x="1080" y="89"/>
                    <a:pt x="1080" y="89"/>
                    <a:pt x="1080" y="88"/>
                  </a:cubicBezTo>
                  <a:cubicBezTo>
                    <a:pt x="1080" y="88"/>
                    <a:pt x="1080" y="88"/>
                    <a:pt x="1080" y="89"/>
                  </a:cubicBezTo>
                  <a:close/>
                  <a:moveTo>
                    <a:pt x="1186" y="88"/>
                  </a:moveTo>
                  <a:cubicBezTo>
                    <a:pt x="1186" y="89"/>
                    <a:pt x="1186" y="89"/>
                    <a:pt x="1187" y="89"/>
                  </a:cubicBezTo>
                  <a:cubicBezTo>
                    <a:pt x="1187" y="89"/>
                    <a:pt x="1187" y="88"/>
                    <a:pt x="1186" y="88"/>
                  </a:cubicBezTo>
                  <a:close/>
                  <a:moveTo>
                    <a:pt x="1258" y="89"/>
                  </a:moveTo>
                  <a:cubicBezTo>
                    <a:pt x="1258" y="89"/>
                    <a:pt x="1258" y="89"/>
                    <a:pt x="1258" y="88"/>
                  </a:cubicBezTo>
                  <a:cubicBezTo>
                    <a:pt x="1258" y="88"/>
                    <a:pt x="1258" y="88"/>
                    <a:pt x="1258" y="89"/>
                  </a:cubicBezTo>
                  <a:close/>
                  <a:moveTo>
                    <a:pt x="602" y="60"/>
                  </a:moveTo>
                  <a:cubicBezTo>
                    <a:pt x="602" y="60"/>
                    <a:pt x="602" y="59"/>
                    <a:pt x="602" y="59"/>
                  </a:cubicBezTo>
                  <a:cubicBezTo>
                    <a:pt x="602" y="60"/>
                    <a:pt x="602" y="60"/>
                    <a:pt x="602" y="60"/>
                  </a:cubicBezTo>
                  <a:close/>
                  <a:moveTo>
                    <a:pt x="587" y="89"/>
                  </a:moveTo>
                  <a:cubicBezTo>
                    <a:pt x="587" y="89"/>
                    <a:pt x="587" y="89"/>
                    <a:pt x="587" y="89"/>
                  </a:cubicBezTo>
                  <a:cubicBezTo>
                    <a:pt x="587" y="89"/>
                    <a:pt x="587" y="89"/>
                    <a:pt x="587" y="89"/>
                  </a:cubicBezTo>
                  <a:close/>
                  <a:moveTo>
                    <a:pt x="614" y="89"/>
                  </a:moveTo>
                  <a:cubicBezTo>
                    <a:pt x="614" y="89"/>
                    <a:pt x="614" y="89"/>
                    <a:pt x="613" y="89"/>
                  </a:cubicBezTo>
                  <a:cubicBezTo>
                    <a:pt x="613" y="89"/>
                    <a:pt x="613" y="89"/>
                    <a:pt x="614" y="89"/>
                  </a:cubicBezTo>
                  <a:close/>
                  <a:moveTo>
                    <a:pt x="674" y="59"/>
                  </a:moveTo>
                  <a:cubicBezTo>
                    <a:pt x="674" y="60"/>
                    <a:pt x="674" y="60"/>
                    <a:pt x="675" y="60"/>
                  </a:cubicBezTo>
                  <a:cubicBezTo>
                    <a:pt x="674" y="59"/>
                    <a:pt x="674" y="59"/>
                    <a:pt x="674" y="59"/>
                  </a:cubicBezTo>
                  <a:close/>
                  <a:moveTo>
                    <a:pt x="624" y="89"/>
                  </a:moveTo>
                  <a:cubicBezTo>
                    <a:pt x="624" y="89"/>
                    <a:pt x="624" y="89"/>
                    <a:pt x="624" y="89"/>
                  </a:cubicBezTo>
                  <a:cubicBezTo>
                    <a:pt x="624" y="89"/>
                    <a:pt x="624" y="89"/>
                    <a:pt x="624" y="89"/>
                  </a:cubicBezTo>
                  <a:close/>
                  <a:moveTo>
                    <a:pt x="726" y="89"/>
                  </a:moveTo>
                  <a:cubicBezTo>
                    <a:pt x="726" y="89"/>
                    <a:pt x="726" y="89"/>
                    <a:pt x="727" y="89"/>
                  </a:cubicBezTo>
                  <a:cubicBezTo>
                    <a:pt x="727" y="89"/>
                    <a:pt x="727" y="89"/>
                    <a:pt x="726" y="89"/>
                  </a:cubicBezTo>
                  <a:close/>
                  <a:moveTo>
                    <a:pt x="752" y="89"/>
                  </a:moveTo>
                  <a:cubicBezTo>
                    <a:pt x="752" y="89"/>
                    <a:pt x="752" y="89"/>
                    <a:pt x="751" y="89"/>
                  </a:cubicBezTo>
                  <a:cubicBezTo>
                    <a:pt x="752" y="89"/>
                    <a:pt x="752" y="89"/>
                    <a:pt x="752" y="89"/>
                  </a:cubicBezTo>
                  <a:close/>
                  <a:moveTo>
                    <a:pt x="797" y="89"/>
                  </a:moveTo>
                  <a:cubicBezTo>
                    <a:pt x="797" y="89"/>
                    <a:pt x="798" y="89"/>
                    <a:pt x="798" y="89"/>
                  </a:cubicBezTo>
                  <a:cubicBezTo>
                    <a:pt x="798" y="89"/>
                    <a:pt x="797" y="89"/>
                    <a:pt x="797" y="89"/>
                  </a:cubicBezTo>
                  <a:close/>
                  <a:moveTo>
                    <a:pt x="979" y="89"/>
                  </a:moveTo>
                  <a:cubicBezTo>
                    <a:pt x="979" y="89"/>
                    <a:pt x="980" y="89"/>
                    <a:pt x="980" y="89"/>
                  </a:cubicBezTo>
                  <a:cubicBezTo>
                    <a:pt x="980" y="89"/>
                    <a:pt x="979" y="89"/>
                    <a:pt x="979" y="89"/>
                  </a:cubicBezTo>
                  <a:close/>
                  <a:moveTo>
                    <a:pt x="1016" y="89"/>
                  </a:moveTo>
                  <a:cubicBezTo>
                    <a:pt x="1017" y="89"/>
                    <a:pt x="1017" y="89"/>
                    <a:pt x="1017" y="89"/>
                  </a:cubicBezTo>
                  <a:cubicBezTo>
                    <a:pt x="1017" y="89"/>
                    <a:pt x="1017" y="89"/>
                    <a:pt x="1016" y="89"/>
                  </a:cubicBezTo>
                  <a:close/>
                  <a:moveTo>
                    <a:pt x="1212" y="89"/>
                  </a:moveTo>
                  <a:cubicBezTo>
                    <a:pt x="1212" y="89"/>
                    <a:pt x="1212" y="89"/>
                    <a:pt x="1211" y="89"/>
                  </a:cubicBezTo>
                  <a:cubicBezTo>
                    <a:pt x="1211" y="89"/>
                    <a:pt x="1211" y="89"/>
                    <a:pt x="1212" y="89"/>
                  </a:cubicBezTo>
                  <a:close/>
                  <a:moveTo>
                    <a:pt x="1416" y="89"/>
                  </a:moveTo>
                  <a:cubicBezTo>
                    <a:pt x="1416" y="89"/>
                    <a:pt x="1416" y="89"/>
                    <a:pt x="1416" y="89"/>
                  </a:cubicBezTo>
                  <a:cubicBezTo>
                    <a:pt x="1416" y="89"/>
                    <a:pt x="1416" y="89"/>
                    <a:pt x="1416" y="89"/>
                  </a:cubicBezTo>
                  <a:close/>
                  <a:moveTo>
                    <a:pt x="1464" y="89"/>
                  </a:moveTo>
                  <a:cubicBezTo>
                    <a:pt x="1463" y="89"/>
                    <a:pt x="1463" y="89"/>
                    <a:pt x="1463" y="89"/>
                  </a:cubicBezTo>
                  <a:cubicBezTo>
                    <a:pt x="1464" y="89"/>
                    <a:pt x="1464" y="89"/>
                    <a:pt x="1464" y="89"/>
                  </a:cubicBezTo>
                  <a:close/>
                  <a:moveTo>
                    <a:pt x="612" y="55"/>
                  </a:moveTo>
                  <a:cubicBezTo>
                    <a:pt x="612" y="55"/>
                    <a:pt x="612" y="55"/>
                    <a:pt x="612" y="56"/>
                  </a:cubicBezTo>
                  <a:cubicBezTo>
                    <a:pt x="612" y="55"/>
                    <a:pt x="612" y="55"/>
                    <a:pt x="612" y="55"/>
                  </a:cubicBezTo>
                  <a:close/>
                  <a:moveTo>
                    <a:pt x="1682" y="89"/>
                  </a:moveTo>
                  <a:cubicBezTo>
                    <a:pt x="1682" y="89"/>
                    <a:pt x="1682" y="89"/>
                    <a:pt x="1682" y="89"/>
                  </a:cubicBezTo>
                  <a:cubicBezTo>
                    <a:pt x="1682" y="89"/>
                    <a:pt x="1682" y="89"/>
                    <a:pt x="1682" y="89"/>
                  </a:cubicBezTo>
                  <a:close/>
                  <a:moveTo>
                    <a:pt x="857" y="49"/>
                  </a:moveTo>
                  <a:cubicBezTo>
                    <a:pt x="857" y="48"/>
                    <a:pt x="857" y="48"/>
                    <a:pt x="856" y="48"/>
                  </a:cubicBezTo>
                  <a:cubicBezTo>
                    <a:pt x="856" y="48"/>
                    <a:pt x="856" y="48"/>
                    <a:pt x="857" y="49"/>
                  </a:cubicBezTo>
                  <a:close/>
                  <a:moveTo>
                    <a:pt x="634" y="89"/>
                  </a:moveTo>
                  <a:cubicBezTo>
                    <a:pt x="634" y="89"/>
                    <a:pt x="634" y="89"/>
                    <a:pt x="634" y="90"/>
                  </a:cubicBezTo>
                  <a:cubicBezTo>
                    <a:pt x="634" y="90"/>
                    <a:pt x="634" y="89"/>
                    <a:pt x="634" y="89"/>
                  </a:cubicBezTo>
                  <a:close/>
                  <a:moveTo>
                    <a:pt x="980" y="89"/>
                  </a:moveTo>
                  <a:cubicBezTo>
                    <a:pt x="980" y="89"/>
                    <a:pt x="980" y="89"/>
                    <a:pt x="981" y="89"/>
                  </a:cubicBezTo>
                  <a:cubicBezTo>
                    <a:pt x="980" y="89"/>
                    <a:pt x="980" y="89"/>
                    <a:pt x="980" y="89"/>
                  </a:cubicBezTo>
                  <a:close/>
                  <a:moveTo>
                    <a:pt x="1016" y="89"/>
                  </a:moveTo>
                  <a:cubicBezTo>
                    <a:pt x="1016" y="89"/>
                    <a:pt x="1016" y="89"/>
                    <a:pt x="1016" y="89"/>
                  </a:cubicBezTo>
                  <a:cubicBezTo>
                    <a:pt x="1016" y="89"/>
                    <a:pt x="1016" y="89"/>
                    <a:pt x="1016" y="89"/>
                  </a:cubicBezTo>
                  <a:close/>
                  <a:moveTo>
                    <a:pt x="1034" y="90"/>
                  </a:moveTo>
                  <a:cubicBezTo>
                    <a:pt x="1034" y="89"/>
                    <a:pt x="1034" y="89"/>
                    <a:pt x="1034" y="89"/>
                  </a:cubicBezTo>
                  <a:cubicBezTo>
                    <a:pt x="1034" y="89"/>
                    <a:pt x="1034" y="90"/>
                    <a:pt x="1034" y="90"/>
                  </a:cubicBezTo>
                  <a:close/>
                  <a:moveTo>
                    <a:pt x="1079" y="89"/>
                  </a:moveTo>
                  <a:cubicBezTo>
                    <a:pt x="1079" y="89"/>
                    <a:pt x="1079" y="89"/>
                    <a:pt x="1079" y="89"/>
                  </a:cubicBezTo>
                  <a:cubicBezTo>
                    <a:pt x="1079" y="89"/>
                    <a:pt x="1079" y="89"/>
                    <a:pt x="1079" y="89"/>
                  </a:cubicBezTo>
                  <a:close/>
                  <a:moveTo>
                    <a:pt x="1187" y="89"/>
                  </a:moveTo>
                  <a:cubicBezTo>
                    <a:pt x="1187" y="89"/>
                    <a:pt x="1187" y="90"/>
                    <a:pt x="1187" y="90"/>
                  </a:cubicBezTo>
                  <a:cubicBezTo>
                    <a:pt x="1187" y="89"/>
                    <a:pt x="1187" y="89"/>
                    <a:pt x="1187" y="89"/>
                  </a:cubicBezTo>
                  <a:close/>
                  <a:moveTo>
                    <a:pt x="1257" y="89"/>
                  </a:moveTo>
                  <a:cubicBezTo>
                    <a:pt x="1257" y="89"/>
                    <a:pt x="1257" y="89"/>
                    <a:pt x="1257" y="89"/>
                  </a:cubicBezTo>
                  <a:cubicBezTo>
                    <a:pt x="1257" y="89"/>
                    <a:pt x="1257" y="89"/>
                    <a:pt x="1257" y="89"/>
                  </a:cubicBezTo>
                  <a:close/>
                  <a:moveTo>
                    <a:pt x="1669" y="90"/>
                  </a:moveTo>
                  <a:cubicBezTo>
                    <a:pt x="1669" y="89"/>
                    <a:pt x="1669" y="89"/>
                    <a:pt x="1669" y="89"/>
                  </a:cubicBezTo>
                  <a:cubicBezTo>
                    <a:pt x="1669" y="89"/>
                    <a:pt x="1669" y="89"/>
                    <a:pt x="1669" y="90"/>
                  </a:cubicBezTo>
                  <a:close/>
                  <a:moveTo>
                    <a:pt x="587" y="89"/>
                  </a:moveTo>
                  <a:cubicBezTo>
                    <a:pt x="587" y="89"/>
                    <a:pt x="586" y="90"/>
                    <a:pt x="586" y="90"/>
                  </a:cubicBezTo>
                  <a:cubicBezTo>
                    <a:pt x="587" y="90"/>
                    <a:pt x="587" y="90"/>
                    <a:pt x="587" y="89"/>
                  </a:cubicBezTo>
                  <a:close/>
                  <a:moveTo>
                    <a:pt x="1738" y="10"/>
                  </a:moveTo>
                  <a:cubicBezTo>
                    <a:pt x="1738" y="10"/>
                    <a:pt x="1739" y="10"/>
                    <a:pt x="1739" y="10"/>
                  </a:cubicBezTo>
                  <a:cubicBezTo>
                    <a:pt x="1739" y="10"/>
                    <a:pt x="1739" y="10"/>
                    <a:pt x="1738" y="10"/>
                  </a:cubicBezTo>
                  <a:close/>
                  <a:moveTo>
                    <a:pt x="661" y="89"/>
                  </a:moveTo>
                  <a:cubicBezTo>
                    <a:pt x="661" y="90"/>
                    <a:pt x="661" y="90"/>
                    <a:pt x="662" y="90"/>
                  </a:cubicBezTo>
                  <a:cubicBezTo>
                    <a:pt x="662" y="89"/>
                    <a:pt x="661" y="89"/>
                    <a:pt x="661" y="89"/>
                  </a:cubicBezTo>
                  <a:close/>
                  <a:moveTo>
                    <a:pt x="687" y="90"/>
                  </a:moveTo>
                  <a:cubicBezTo>
                    <a:pt x="687" y="90"/>
                    <a:pt x="687" y="90"/>
                    <a:pt x="687" y="89"/>
                  </a:cubicBezTo>
                  <a:cubicBezTo>
                    <a:pt x="687" y="89"/>
                    <a:pt x="687" y="90"/>
                    <a:pt x="687" y="90"/>
                  </a:cubicBezTo>
                  <a:close/>
                  <a:moveTo>
                    <a:pt x="699" y="89"/>
                  </a:moveTo>
                  <a:cubicBezTo>
                    <a:pt x="699" y="89"/>
                    <a:pt x="699" y="90"/>
                    <a:pt x="699" y="90"/>
                  </a:cubicBezTo>
                  <a:cubicBezTo>
                    <a:pt x="699" y="90"/>
                    <a:pt x="699" y="90"/>
                    <a:pt x="699" y="89"/>
                  </a:cubicBezTo>
                  <a:close/>
                  <a:moveTo>
                    <a:pt x="727" y="89"/>
                  </a:moveTo>
                  <a:cubicBezTo>
                    <a:pt x="727" y="90"/>
                    <a:pt x="727" y="90"/>
                    <a:pt x="727" y="90"/>
                  </a:cubicBezTo>
                  <a:cubicBezTo>
                    <a:pt x="727" y="90"/>
                    <a:pt x="727" y="89"/>
                    <a:pt x="727" y="89"/>
                  </a:cubicBezTo>
                  <a:close/>
                  <a:moveTo>
                    <a:pt x="752" y="90"/>
                  </a:moveTo>
                  <a:cubicBezTo>
                    <a:pt x="752" y="90"/>
                    <a:pt x="752" y="89"/>
                    <a:pt x="752" y="89"/>
                  </a:cubicBezTo>
                  <a:cubicBezTo>
                    <a:pt x="752" y="90"/>
                    <a:pt x="752" y="90"/>
                    <a:pt x="752" y="90"/>
                  </a:cubicBezTo>
                  <a:close/>
                  <a:moveTo>
                    <a:pt x="796" y="90"/>
                  </a:moveTo>
                  <a:cubicBezTo>
                    <a:pt x="796" y="90"/>
                    <a:pt x="797" y="90"/>
                    <a:pt x="797" y="89"/>
                  </a:cubicBezTo>
                  <a:cubicBezTo>
                    <a:pt x="796" y="89"/>
                    <a:pt x="796" y="89"/>
                    <a:pt x="796" y="90"/>
                  </a:cubicBezTo>
                  <a:close/>
                  <a:moveTo>
                    <a:pt x="981" y="89"/>
                  </a:moveTo>
                  <a:cubicBezTo>
                    <a:pt x="981" y="90"/>
                    <a:pt x="981" y="90"/>
                    <a:pt x="981" y="90"/>
                  </a:cubicBezTo>
                  <a:cubicBezTo>
                    <a:pt x="981" y="89"/>
                    <a:pt x="981" y="89"/>
                    <a:pt x="981" y="89"/>
                  </a:cubicBezTo>
                  <a:close/>
                  <a:moveTo>
                    <a:pt x="1015" y="90"/>
                  </a:moveTo>
                  <a:cubicBezTo>
                    <a:pt x="1015" y="90"/>
                    <a:pt x="1016" y="90"/>
                    <a:pt x="1016" y="89"/>
                  </a:cubicBezTo>
                  <a:cubicBezTo>
                    <a:pt x="1015" y="89"/>
                    <a:pt x="1015" y="89"/>
                    <a:pt x="1015" y="90"/>
                  </a:cubicBezTo>
                  <a:close/>
                  <a:moveTo>
                    <a:pt x="1048" y="89"/>
                  </a:moveTo>
                  <a:cubicBezTo>
                    <a:pt x="1048" y="90"/>
                    <a:pt x="1048" y="90"/>
                    <a:pt x="1049" y="90"/>
                  </a:cubicBezTo>
                  <a:cubicBezTo>
                    <a:pt x="1049" y="89"/>
                    <a:pt x="1048" y="89"/>
                    <a:pt x="1048" y="89"/>
                  </a:cubicBezTo>
                  <a:close/>
                  <a:moveTo>
                    <a:pt x="1078" y="90"/>
                  </a:moveTo>
                  <a:cubicBezTo>
                    <a:pt x="1078" y="90"/>
                    <a:pt x="1079" y="90"/>
                    <a:pt x="1079" y="89"/>
                  </a:cubicBezTo>
                  <a:cubicBezTo>
                    <a:pt x="1078" y="89"/>
                    <a:pt x="1078" y="89"/>
                    <a:pt x="1078" y="90"/>
                  </a:cubicBezTo>
                  <a:close/>
                  <a:moveTo>
                    <a:pt x="1291" y="42"/>
                  </a:moveTo>
                  <a:cubicBezTo>
                    <a:pt x="1291" y="41"/>
                    <a:pt x="1291" y="41"/>
                    <a:pt x="1291" y="41"/>
                  </a:cubicBezTo>
                  <a:cubicBezTo>
                    <a:pt x="1291" y="41"/>
                    <a:pt x="1291" y="41"/>
                    <a:pt x="1291" y="42"/>
                  </a:cubicBezTo>
                  <a:close/>
                  <a:moveTo>
                    <a:pt x="977" y="10"/>
                  </a:moveTo>
                  <a:cubicBezTo>
                    <a:pt x="978" y="10"/>
                    <a:pt x="978" y="10"/>
                    <a:pt x="978" y="10"/>
                  </a:cubicBezTo>
                  <a:cubicBezTo>
                    <a:pt x="978" y="10"/>
                    <a:pt x="978" y="10"/>
                    <a:pt x="977" y="10"/>
                  </a:cubicBezTo>
                  <a:close/>
                  <a:moveTo>
                    <a:pt x="1256" y="90"/>
                  </a:moveTo>
                  <a:cubicBezTo>
                    <a:pt x="1256" y="90"/>
                    <a:pt x="1256" y="90"/>
                    <a:pt x="1257" y="89"/>
                  </a:cubicBezTo>
                  <a:cubicBezTo>
                    <a:pt x="1256" y="89"/>
                    <a:pt x="1256" y="89"/>
                    <a:pt x="1256" y="90"/>
                  </a:cubicBezTo>
                  <a:close/>
                  <a:moveTo>
                    <a:pt x="1682" y="89"/>
                  </a:moveTo>
                  <a:cubicBezTo>
                    <a:pt x="1682" y="90"/>
                    <a:pt x="1682" y="90"/>
                    <a:pt x="1683" y="90"/>
                  </a:cubicBezTo>
                  <a:cubicBezTo>
                    <a:pt x="1683" y="90"/>
                    <a:pt x="1683" y="89"/>
                    <a:pt x="1682" y="89"/>
                  </a:cubicBezTo>
                  <a:close/>
                  <a:moveTo>
                    <a:pt x="662" y="90"/>
                  </a:moveTo>
                  <a:cubicBezTo>
                    <a:pt x="662" y="90"/>
                    <a:pt x="662" y="90"/>
                    <a:pt x="662" y="90"/>
                  </a:cubicBezTo>
                  <a:cubicBezTo>
                    <a:pt x="662" y="90"/>
                    <a:pt x="662" y="90"/>
                    <a:pt x="662" y="90"/>
                  </a:cubicBezTo>
                  <a:close/>
                  <a:moveTo>
                    <a:pt x="1553" y="60"/>
                  </a:moveTo>
                  <a:cubicBezTo>
                    <a:pt x="1553" y="60"/>
                    <a:pt x="1553" y="60"/>
                    <a:pt x="1553" y="59"/>
                  </a:cubicBezTo>
                  <a:cubicBezTo>
                    <a:pt x="1553" y="59"/>
                    <a:pt x="1553" y="59"/>
                    <a:pt x="1553" y="60"/>
                  </a:cubicBezTo>
                  <a:close/>
                  <a:moveTo>
                    <a:pt x="795" y="90"/>
                  </a:moveTo>
                  <a:cubicBezTo>
                    <a:pt x="796" y="90"/>
                    <a:pt x="796" y="90"/>
                    <a:pt x="796" y="90"/>
                  </a:cubicBezTo>
                  <a:cubicBezTo>
                    <a:pt x="796" y="90"/>
                    <a:pt x="796" y="90"/>
                    <a:pt x="795" y="90"/>
                  </a:cubicBezTo>
                  <a:close/>
                  <a:moveTo>
                    <a:pt x="981" y="90"/>
                  </a:moveTo>
                  <a:cubicBezTo>
                    <a:pt x="981" y="90"/>
                    <a:pt x="982" y="90"/>
                    <a:pt x="982" y="90"/>
                  </a:cubicBezTo>
                  <a:cubicBezTo>
                    <a:pt x="982" y="90"/>
                    <a:pt x="982" y="90"/>
                    <a:pt x="981" y="90"/>
                  </a:cubicBezTo>
                  <a:close/>
                  <a:moveTo>
                    <a:pt x="1291" y="52"/>
                  </a:moveTo>
                  <a:cubicBezTo>
                    <a:pt x="1291" y="53"/>
                    <a:pt x="1291" y="53"/>
                    <a:pt x="1291" y="53"/>
                  </a:cubicBezTo>
                  <a:cubicBezTo>
                    <a:pt x="1291" y="53"/>
                    <a:pt x="1291" y="53"/>
                    <a:pt x="1291" y="52"/>
                  </a:cubicBezTo>
                  <a:close/>
                  <a:moveTo>
                    <a:pt x="1035" y="90"/>
                  </a:moveTo>
                  <a:cubicBezTo>
                    <a:pt x="1035" y="90"/>
                    <a:pt x="1034" y="90"/>
                    <a:pt x="1034" y="90"/>
                  </a:cubicBezTo>
                  <a:cubicBezTo>
                    <a:pt x="1034" y="90"/>
                    <a:pt x="1034" y="90"/>
                    <a:pt x="1035" y="90"/>
                  </a:cubicBezTo>
                  <a:close/>
                  <a:moveTo>
                    <a:pt x="1187" y="90"/>
                  </a:moveTo>
                  <a:cubicBezTo>
                    <a:pt x="1187" y="90"/>
                    <a:pt x="1187" y="90"/>
                    <a:pt x="1187" y="90"/>
                  </a:cubicBezTo>
                  <a:cubicBezTo>
                    <a:pt x="1187" y="90"/>
                    <a:pt x="1187" y="90"/>
                    <a:pt x="1187" y="90"/>
                  </a:cubicBezTo>
                  <a:close/>
                  <a:moveTo>
                    <a:pt x="1212" y="90"/>
                  </a:moveTo>
                  <a:cubicBezTo>
                    <a:pt x="1212" y="90"/>
                    <a:pt x="1212" y="90"/>
                    <a:pt x="1212" y="90"/>
                  </a:cubicBezTo>
                  <a:cubicBezTo>
                    <a:pt x="1212" y="90"/>
                    <a:pt x="1212" y="90"/>
                    <a:pt x="1212" y="90"/>
                  </a:cubicBezTo>
                  <a:close/>
                  <a:moveTo>
                    <a:pt x="1255" y="90"/>
                  </a:moveTo>
                  <a:cubicBezTo>
                    <a:pt x="1256" y="90"/>
                    <a:pt x="1256" y="90"/>
                    <a:pt x="1256" y="90"/>
                  </a:cubicBezTo>
                  <a:cubicBezTo>
                    <a:pt x="1256" y="90"/>
                    <a:pt x="1255" y="90"/>
                    <a:pt x="1255" y="90"/>
                  </a:cubicBezTo>
                  <a:close/>
                  <a:moveTo>
                    <a:pt x="611" y="54"/>
                  </a:moveTo>
                  <a:cubicBezTo>
                    <a:pt x="611" y="54"/>
                    <a:pt x="611" y="54"/>
                    <a:pt x="612" y="55"/>
                  </a:cubicBezTo>
                  <a:cubicBezTo>
                    <a:pt x="612" y="54"/>
                    <a:pt x="612" y="54"/>
                    <a:pt x="611" y="54"/>
                  </a:cubicBezTo>
                  <a:close/>
                  <a:moveTo>
                    <a:pt x="1417" y="90"/>
                  </a:moveTo>
                  <a:cubicBezTo>
                    <a:pt x="1417" y="90"/>
                    <a:pt x="1417" y="90"/>
                    <a:pt x="1416" y="90"/>
                  </a:cubicBezTo>
                  <a:cubicBezTo>
                    <a:pt x="1416" y="90"/>
                    <a:pt x="1416" y="90"/>
                    <a:pt x="1417" y="90"/>
                  </a:cubicBezTo>
                  <a:close/>
                  <a:moveTo>
                    <a:pt x="1463" y="90"/>
                  </a:moveTo>
                  <a:cubicBezTo>
                    <a:pt x="1463" y="90"/>
                    <a:pt x="1463" y="90"/>
                    <a:pt x="1463" y="90"/>
                  </a:cubicBezTo>
                  <a:cubicBezTo>
                    <a:pt x="1463" y="90"/>
                    <a:pt x="1463" y="90"/>
                    <a:pt x="1463" y="90"/>
                  </a:cubicBezTo>
                  <a:close/>
                  <a:moveTo>
                    <a:pt x="1670" y="90"/>
                  </a:moveTo>
                  <a:cubicBezTo>
                    <a:pt x="1670" y="90"/>
                    <a:pt x="1670" y="90"/>
                    <a:pt x="1669" y="90"/>
                  </a:cubicBezTo>
                  <a:cubicBezTo>
                    <a:pt x="1669" y="90"/>
                    <a:pt x="1669" y="90"/>
                    <a:pt x="1670" y="90"/>
                  </a:cubicBezTo>
                  <a:close/>
                  <a:moveTo>
                    <a:pt x="634" y="90"/>
                  </a:moveTo>
                  <a:cubicBezTo>
                    <a:pt x="634" y="90"/>
                    <a:pt x="633" y="90"/>
                    <a:pt x="633" y="91"/>
                  </a:cubicBezTo>
                  <a:cubicBezTo>
                    <a:pt x="634" y="91"/>
                    <a:pt x="634" y="90"/>
                    <a:pt x="634" y="90"/>
                  </a:cubicBezTo>
                  <a:close/>
                  <a:moveTo>
                    <a:pt x="829" y="43"/>
                  </a:moveTo>
                  <a:cubicBezTo>
                    <a:pt x="830" y="43"/>
                    <a:pt x="830" y="42"/>
                    <a:pt x="830" y="42"/>
                  </a:cubicBezTo>
                  <a:cubicBezTo>
                    <a:pt x="830" y="42"/>
                    <a:pt x="829" y="42"/>
                    <a:pt x="829" y="43"/>
                  </a:cubicBezTo>
                  <a:close/>
                  <a:moveTo>
                    <a:pt x="1665" y="59"/>
                  </a:moveTo>
                  <a:cubicBezTo>
                    <a:pt x="1665" y="60"/>
                    <a:pt x="1665" y="60"/>
                    <a:pt x="1666" y="60"/>
                  </a:cubicBezTo>
                  <a:cubicBezTo>
                    <a:pt x="1665" y="59"/>
                    <a:pt x="1665" y="59"/>
                    <a:pt x="1665" y="59"/>
                  </a:cubicBezTo>
                  <a:close/>
                  <a:moveTo>
                    <a:pt x="1721" y="60"/>
                  </a:moveTo>
                  <a:cubicBezTo>
                    <a:pt x="1721" y="60"/>
                    <a:pt x="1721" y="60"/>
                    <a:pt x="1721" y="59"/>
                  </a:cubicBezTo>
                  <a:cubicBezTo>
                    <a:pt x="1721" y="59"/>
                    <a:pt x="1721" y="59"/>
                    <a:pt x="1721" y="60"/>
                  </a:cubicBezTo>
                  <a:close/>
                  <a:moveTo>
                    <a:pt x="795" y="90"/>
                  </a:moveTo>
                  <a:cubicBezTo>
                    <a:pt x="795" y="90"/>
                    <a:pt x="795" y="90"/>
                    <a:pt x="795" y="90"/>
                  </a:cubicBezTo>
                  <a:cubicBezTo>
                    <a:pt x="795" y="90"/>
                    <a:pt x="795" y="90"/>
                    <a:pt x="795" y="90"/>
                  </a:cubicBezTo>
                  <a:close/>
                  <a:moveTo>
                    <a:pt x="982" y="90"/>
                  </a:moveTo>
                  <a:cubicBezTo>
                    <a:pt x="982" y="90"/>
                    <a:pt x="982" y="90"/>
                    <a:pt x="983" y="90"/>
                  </a:cubicBezTo>
                  <a:cubicBezTo>
                    <a:pt x="982" y="90"/>
                    <a:pt x="982" y="90"/>
                    <a:pt x="982" y="90"/>
                  </a:cubicBezTo>
                  <a:close/>
                  <a:moveTo>
                    <a:pt x="1013" y="90"/>
                  </a:moveTo>
                  <a:cubicBezTo>
                    <a:pt x="1014" y="90"/>
                    <a:pt x="1014" y="90"/>
                    <a:pt x="1014" y="90"/>
                  </a:cubicBezTo>
                  <a:cubicBezTo>
                    <a:pt x="1014" y="90"/>
                    <a:pt x="1013" y="90"/>
                    <a:pt x="1013" y="90"/>
                  </a:cubicBezTo>
                  <a:close/>
                  <a:moveTo>
                    <a:pt x="639" y="49"/>
                  </a:moveTo>
                  <a:cubicBezTo>
                    <a:pt x="639" y="48"/>
                    <a:pt x="639" y="48"/>
                    <a:pt x="639" y="48"/>
                  </a:cubicBezTo>
                  <a:cubicBezTo>
                    <a:pt x="639" y="48"/>
                    <a:pt x="639" y="48"/>
                    <a:pt x="639" y="49"/>
                  </a:cubicBezTo>
                  <a:close/>
                  <a:moveTo>
                    <a:pt x="1683" y="90"/>
                  </a:moveTo>
                  <a:cubicBezTo>
                    <a:pt x="1683" y="90"/>
                    <a:pt x="1683" y="91"/>
                    <a:pt x="1683" y="91"/>
                  </a:cubicBezTo>
                  <a:cubicBezTo>
                    <a:pt x="1683" y="90"/>
                    <a:pt x="1683" y="90"/>
                    <a:pt x="1683" y="90"/>
                  </a:cubicBezTo>
                  <a:close/>
                  <a:moveTo>
                    <a:pt x="586" y="90"/>
                  </a:moveTo>
                  <a:cubicBezTo>
                    <a:pt x="586" y="91"/>
                    <a:pt x="586" y="91"/>
                    <a:pt x="586" y="91"/>
                  </a:cubicBezTo>
                  <a:cubicBezTo>
                    <a:pt x="586" y="91"/>
                    <a:pt x="586" y="91"/>
                    <a:pt x="586" y="90"/>
                  </a:cubicBezTo>
                  <a:close/>
                  <a:moveTo>
                    <a:pt x="614" y="91"/>
                  </a:moveTo>
                  <a:cubicBezTo>
                    <a:pt x="614" y="91"/>
                    <a:pt x="614" y="91"/>
                    <a:pt x="614" y="90"/>
                  </a:cubicBezTo>
                  <a:cubicBezTo>
                    <a:pt x="614" y="91"/>
                    <a:pt x="614" y="91"/>
                    <a:pt x="614" y="91"/>
                  </a:cubicBezTo>
                  <a:close/>
                  <a:moveTo>
                    <a:pt x="663" y="90"/>
                  </a:moveTo>
                  <a:cubicBezTo>
                    <a:pt x="663" y="91"/>
                    <a:pt x="663" y="91"/>
                    <a:pt x="663" y="91"/>
                  </a:cubicBezTo>
                  <a:cubicBezTo>
                    <a:pt x="663" y="90"/>
                    <a:pt x="663" y="90"/>
                    <a:pt x="663" y="90"/>
                  </a:cubicBezTo>
                  <a:close/>
                  <a:moveTo>
                    <a:pt x="699" y="90"/>
                  </a:moveTo>
                  <a:cubicBezTo>
                    <a:pt x="698" y="90"/>
                    <a:pt x="698" y="91"/>
                    <a:pt x="698" y="91"/>
                  </a:cubicBezTo>
                  <a:cubicBezTo>
                    <a:pt x="699" y="91"/>
                    <a:pt x="699" y="91"/>
                    <a:pt x="699" y="90"/>
                  </a:cubicBezTo>
                  <a:close/>
                  <a:moveTo>
                    <a:pt x="767" y="90"/>
                  </a:moveTo>
                  <a:cubicBezTo>
                    <a:pt x="768" y="91"/>
                    <a:pt x="768" y="91"/>
                    <a:pt x="768" y="91"/>
                  </a:cubicBezTo>
                  <a:cubicBezTo>
                    <a:pt x="768" y="90"/>
                    <a:pt x="768" y="90"/>
                    <a:pt x="767" y="90"/>
                  </a:cubicBezTo>
                  <a:close/>
                  <a:moveTo>
                    <a:pt x="794" y="91"/>
                  </a:moveTo>
                  <a:cubicBezTo>
                    <a:pt x="794" y="91"/>
                    <a:pt x="795" y="91"/>
                    <a:pt x="795" y="90"/>
                  </a:cubicBezTo>
                  <a:cubicBezTo>
                    <a:pt x="794" y="90"/>
                    <a:pt x="794" y="90"/>
                    <a:pt x="794" y="91"/>
                  </a:cubicBezTo>
                  <a:close/>
                  <a:moveTo>
                    <a:pt x="983" y="90"/>
                  </a:moveTo>
                  <a:cubicBezTo>
                    <a:pt x="983" y="91"/>
                    <a:pt x="983" y="91"/>
                    <a:pt x="984" y="91"/>
                  </a:cubicBezTo>
                  <a:cubicBezTo>
                    <a:pt x="983" y="90"/>
                    <a:pt x="983" y="90"/>
                    <a:pt x="983" y="90"/>
                  </a:cubicBezTo>
                  <a:close/>
                  <a:moveTo>
                    <a:pt x="1012" y="91"/>
                  </a:moveTo>
                  <a:cubicBezTo>
                    <a:pt x="1013" y="91"/>
                    <a:pt x="1013" y="91"/>
                    <a:pt x="1013" y="90"/>
                  </a:cubicBezTo>
                  <a:cubicBezTo>
                    <a:pt x="1013" y="90"/>
                    <a:pt x="1012" y="90"/>
                    <a:pt x="1012" y="91"/>
                  </a:cubicBezTo>
                  <a:close/>
                  <a:moveTo>
                    <a:pt x="1050" y="90"/>
                  </a:moveTo>
                  <a:cubicBezTo>
                    <a:pt x="1050" y="91"/>
                    <a:pt x="1050" y="91"/>
                    <a:pt x="1050" y="91"/>
                  </a:cubicBezTo>
                  <a:cubicBezTo>
                    <a:pt x="1050" y="90"/>
                    <a:pt x="1050" y="90"/>
                    <a:pt x="1050" y="90"/>
                  </a:cubicBezTo>
                  <a:close/>
                  <a:moveTo>
                    <a:pt x="1076" y="91"/>
                  </a:moveTo>
                  <a:cubicBezTo>
                    <a:pt x="1077" y="91"/>
                    <a:pt x="1077" y="91"/>
                    <a:pt x="1077" y="90"/>
                  </a:cubicBezTo>
                  <a:cubicBezTo>
                    <a:pt x="1077" y="90"/>
                    <a:pt x="1076" y="90"/>
                    <a:pt x="1076" y="91"/>
                  </a:cubicBezTo>
                  <a:close/>
                  <a:moveTo>
                    <a:pt x="1425" y="10"/>
                  </a:moveTo>
                  <a:cubicBezTo>
                    <a:pt x="1425" y="10"/>
                    <a:pt x="1426" y="10"/>
                    <a:pt x="1426" y="10"/>
                  </a:cubicBezTo>
                  <a:cubicBezTo>
                    <a:pt x="1425" y="10"/>
                    <a:pt x="1425" y="10"/>
                    <a:pt x="1425" y="10"/>
                  </a:cubicBezTo>
                  <a:close/>
                  <a:moveTo>
                    <a:pt x="1227" y="90"/>
                  </a:moveTo>
                  <a:cubicBezTo>
                    <a:pt x="1227" y="91"/>
                    <a:pt x="1228" y="91"/>
                    <a:pt x="1228" y="91"/>
                  </a:cubicBezTo>
                  <a:cubicBezTo>
                    <a:pt x="1228" y="90"/>
                    <a:pt x="1228" y="90"/>
                    <a:pt x="1227" y="90"/>
                  </a:cubicBezTo>
                  <a:close/>
                  <a:moveTo>
                    <a:pt x="1254" y="91"/>
                  </a:moveTo>
                  <a:cubicBezTo>
                    <a:pt x="1254" y="91"/>
                    <a:pt x="1254" y="91"/>
                    <a:pt x="1255" y="90"/>
                  </a:cubicBezTo>
                  <a:cubicBezTo>
                    <a:pt x="1254" y="90"/>
                    <a:pt x="1254" y="90"/>
                    <a:pt x="1254" y="91"/>
                  </a:cubicBezTo>
                  <a:close/>
                  <a:moveTo>
                    <a:pt x="1417" y="91"/>
                  </a:moveTo>
                  <a:cubicBezTo>
                    <a:pt x="1417" y="91"/>
                    <a:pt x="1417" y="90"/>
                    <a:pt x="1417" y="90"/>
                  </a:cubicBezTo>
                  <a:cubicBezTo>
                    <a:pt x="1417" y="91"/>
                    <a:pt x="1417" y="91"/>
                    <a:pt x="1417" y="91"/>
                  </a:cubicBezTo>
                  <a:close/>
                  <a:moveTo>
                    <a:pt x="660" y="60"/>
                  </a:moveTo>
                  <a:cubicBezTo>
                    <a:pt x="660" y="60"/>
                    <a:pt x="660" y="60"/>
                    <a:pt x="660" y="60"/>
                  </a:cubicBezTo>
                  <a:cubicBezTo>
                    <a:pt x="660" y="60"/>
                    <a:pt x="660" y="60"/>
                    <a:pt x="660" y="60"/>
                  </a:cubicBezTo>
                  <a:close/>
                  <a:moveTo>
                    <a:pt x="1670" y="91"/>
                  </a:moveTo>
                  <a:cubicBezTo>
                    <a:pt x="1670" y="91"/>
                    <a:pt x="1670" y="91"/>
                    <a:pt x="1670" y="90"/>
                  </a:cubicBezTo>
                  <a:cubicBezTo>
                    <a:pt x="1670" y="91"/>
                    <a:pt x="1670" y="91"/>
                    <a:pt x="1670" y="91"/>
                  </a:cubicBezTo>
                  <a:close/>
                  <a:moveTo>
                    <a:pt x="633" y="91"/>
                  </a:moveTo>
                  <a:cubicBezTo>
                    <a:pt x="633" y="91"/>
                    <a:pt x="633" y="91"/>
                    <a:pt x="633" y="91"/>
                  </a:cubicBezTo>
                  <a:cubicBezTo>
                    <a:pt x="633" y="91"/>
                    <a:pt x="633" y="91"/>
                    <a:pt x="633" y="91"/>
                  </a:cubicBezTo>
                  <a:close/>
                  <a:moveTo>
                    <a:pt x="663" y="91"/>
                  </a:moveTo>
                  <a:cubicBezTo>
                    <a:pt x="664" y="91"/>
                    <a:pt x="664" y="91"/>
                    <a:pt x="664" y="91"/>
                  </a:cubicBezTo>
                  <a:cubicBezTo>
                    <a:pt x="664" y="91"/>
                    <a:pt x="664" y="91"/>
                    <a:pt x="663" y="91"/>
                  </a:cubicBezTo>
                  <a:close/>
                  <a:moveTo>
                    <a:pt x="793" y="91"/>
                  </a:moveTo>
                  <a:cubicBezTo>
                    <a:pt x="794" y="91"/>
                    <a:pt x="794" y="91"/>
                    <a:pt x="794" y="91"/>
                  </a:cubicBezTo>
                  <a:cubicBezTo>
                    <a:pt x="794" y="91"/>
                    <a:pt x="793" y="91"/>
                    <a:pt x="793" y="91"/>
                  </a:cubicBezTo>
                  <a:close/>
                  <a:moveTo>
                    <a:pt x="984" y="91"/>
                  </a:moveTo>
                  <a:cubicBezTo>
                    <a:pt x="984" y="91"/>
                    <a:pt x="984" y="91"/>
                    <a:pt x="984" y="91"/>
                  </a:cubicBezTo>
                  <a:cubicBezTo>
                    <a:pt x="984" y="91"/>
                    <a:pt x="984" y="91"/>
                    <a:pt x="984" y="91"/>
                  </a:cubicBezTo>
                  <a:close/>
                  <a:moveTo>
                    <a:pt x="1499" y="10"/>
                  </a:moveTo>
                  <a:cubicBezTo>
                    <a:pt x="1499" y="10"/>
                    <a:pt x="1499" y="10"/>
                    <a:pt x="1500" y="10"/>
                  </a:cubicBezTo>
                  <a:cubicBezTo>
                    <a:pt x="1499" y="10"/>
                    <a:pt x="1499" y="10"/>
                    <a:pt x="1499" y="10"/>
                  </a:cubicBezTo>
                  <a:close/>
                  <a:moveTo>
                    <a:pt x="1035" y="91"/>
                  </a:moveTo>
                  <a:cubicBezTo>
                    <a:pt x="1035" y="91"/>
                    <a:pt x="1035" y="91"/>
                    <a:pt x="1035" y="91"/>
                  </a:cubicBezTo>
                  <a:cubicBezTo>
                    <a:pt x="1035" y="91"/>
                    <a:pt x="1035" y="91"/>
                    <a:pt x="1035" y="91"/>
                  </a:cubicBezTo>
                  <a:close/>
                  <a:moveTo>
                    <a:pt x="1050" y="91"/>
                  </a:moveTo>
                  <a:cubicBezTo>
                    <a:pt x="1050" y="91"/>
                    <a:pt x="1051" y="91"/>
                    <a:pt x="1051" y="91"/>
                  </a:cubicBezTo>
                  <a:cubicBezTo>
                    <a:pt x="1051" y="91"/>
                    <a:pt x="1050" y="91"/>
                    <a:pt x="1050" y="91"/>
                  </a:cubicBezTo>
                  <a:close/>
                  <a:moveTo>
                    <a:pt x="1075" y="91"/>
                  </a:moveTo>
                  <a:cubicBezTo>
                    <a:pt x="1076" y="91"/>
                    <a:pt x="1076" y="91"/>
                    <a:pt x="1076" y="91"/>
                  </a:cubicBezTo>
                  <a:cubicBezTo>
                    <a:pt x="1076" y="91"/>
                    <a:pt x="1075" y="91"/>
                    <a:pt x="1075" y="91"/>
                  </a:cubicBezTo>
                  <a:close/>
                  <a:moveTo>
                    <a:pt x="654" y="40"/>
                  </a:moveTo>
                  <a:cubicBezTo>
                    <a:pt x="653" y="40"/>
                    <a:pt x="653" y="40"/>
                    <a:pt x="653" y="41"/>
                  </a:cubicBezTo>
                  <a:cubicBezTo>
                    <a:pt x="654" y="40"/>
                    <a:pt x="654" y="40"/>
                    <a:pt x="654" y="40"/>
                  </a:cubicBezTo>
                  <a:close/>
                  <a:moveTo>
                    <a:pt x="1228" y="91"/>
                  </a:moveTo>
                  <a:cubicBezTo>
                    <a:pt x="1228" y="91"/>
                    <a:pt x="1228" y="91"/>
                    <a:pt x="1229" y="91"/>
                  </a:cubicBezTo>
                  <a:cubicBezTo>
                    <a:pt x="1229" y="91"/>
                    <a:pt x="1228" y="91"/>
                    <a:pt x="1228" y="91"/>
                  </a:cubicBezTo>
                  <a:close/>
                  <a:moveTo>
                    <a:pt x="1253" y="91"/>
                  </a:moveTo>
                  <a:cubicBezTo>
                    <a:pt x="1253" y="91"/>
                    <a:pt x="1254" y="91"/>
                    <a:pt x="1254" y="91"/>
                  </a:cubicBezTo>
                  <a:cubicBezTo>
                    <a:pt x="1254" y="91"/>
                    <a:pt x="1253" y="91"/>
                    <a:pt x="1253" y="91"/>
                  </a:cubicBezTo>
                  <a:close/>
                  <a:moveTo>
                    <a:pt x="1683" y="91"/>
                  </a:moveTo>
                  <a:cubicBezTo>
                    <a:pt x="1683" y="91"/>
                    <a:pt x="1683" y="91"/>
                    <a:pt x="1683" y="91"/>
                  </a:cubicBezTo>
                  <a:cubicBezTo>
                    <a:pt x="1683" y="91"/>
                    <a:pt x="1683" y="91"/>
                    <a:pt x="1683" y="91"/>
                  </a:cubicBezTo>
                  <a:close/>
                  <a:moveTo>
                    <a:pt x="606" y="40"/>
                  </a:moveTo>
                  <a:cubicBezTo>
                    <a:pt x="606" y="40"/>
                    <a:pt x="606" y="41"/>
                    <a:pt x="607" y="41"/>
                  </a:cubicBezTo>
                  <a:cubicBezTo>
                    <a:pt x="607" y="40"/>
                    <a:pt x="607" y="40"/>
                    <a:pt x="606" y="40"/>
                  </a:cubicBezTo>
                  <a:close/>
                  <a:moveTo>
                    <a:pt x="586" y="91"/>
                  </a:moveTo>
                  <a:cubicBezTo>
                    <a:pt x="586" y="91"/>
                    <a:pt x="585" y="91"/>
                    <a:pt x="585" y="92"/>
                  </a:cubicBezTo>
                  <a:cubicBezTo>
                    <a:pt x="586" y="92"/>
                    <a:pt x="586" y="91"/>
                    <a:pt x="586" y="91"/>
                  </a:cubicBezTo>
                  <a:close/>
                  <a:moveTo>
                    <a:pt x="664" y="91"/>
                  </a:moveTo>
                  <a:cubicBezTo>
                    <a:pt x="664" y="91"/>
                    <a:pt x="665" y="91"/>
                    <a:pt x="665" y="91"/>
                  </a:cubicBezTo>
                  <a:cubicBezTo>
                    <a:pt x="665" y="91"/>
                    <a:pt x="664" y="91"/>
                    <a:pt x="664" y="91"/>
                  </a:cubicBezTo>
                  <a:close/>
                  <a:moveTo>
                    <a:pt x="698" y="91"/>
                  </a:moveTo>
                  <a:cubicBezTo>
                    <a:pt x="698" y="91"/>
                    <a:pt x="698" y="91"/>
                    <a:pt x="698" y="92"/>
                  </a:cubicBezTo>
                  <a:cubicBezTo>
                    <a:pt x="698" y="92"/>
                    <a:pt x="698" y="91"/>
                    <a:pt x="698" y="91"/>
                  </a:cubicBezTo>
                  <a:close/>
                  <a:moveTo>
                    <a:pt x="602" y="61"/>
                  </a:moveTo>
                  <a:cubicBezTo>
                    <a:pt x="603" y="60"/>
                    <a:pt x="602" y="60"/>
                    <a:pt x="602" y="60"/>
                  </a:cubicBezTo>
                  <a:cubicBezTo>
                    <a:pt x="602" y="60"/>
                    <a:pt x="602" y="61"/>
                    <a:pt x="602" y="61"/>
                  </a:cubicBezTo>
                  <a:close/>
                  <a:moveTo>
                    <a:pt x="769" y="91"/>
                  </a:moveTo>
                  <a:cubicBezTo>
                    <a:pt x="769" y="91"/>
                    <a:pt x="769" y="91"/>
                    <a:pt x="769" y="91"/>
                  </a:cubicBezTo>
                  <a:cubicBezTo>
                    <a:pt x="769" y="91"/>
                    <a:pt x="769" y="91"/>
                    <a:pt x="769" y="91"/>
                  </a:cubicBezTo>
                  <a:close/>
                  <a:moveTo>
                    <a:pt x="793" y="91"/>
                  </a:moveTo>
                  <a:cubicBezTo>
                    <a:pt x="793" y="91"/>
                    <a:pt x="793" y="91"/>
                    <a:pt x="793" y="91"/>
                  </a:cubicBezTo>
                  <a:cubicBezTo>
                    <a:pt x="793" y="91"/>
                    <a:pt x="793" y="91"/>
                    <a:pt x="793" y="91"/>
                  </a:cubicBezTo>
                  <a:close/>
                  <a:moveTo>
                    <a:pt x="985" y="91"/>
                  </a:moveTo>
                  <a:cubicBezTo>
                    <a:pt x="985" y="91"/>
                    <a:pt x="985" y="91"/>
                    <a:pt x="985" y="91"/>
                  </a:cubicBezTo>
                  <a:cubicBezTo>
                    <a:pt x="985" y="91"/>
                    <a:pt x="985" y="91"/>
                    <a:pt x="985" y="91"/>
                  </a:cubicBezTo>
                  <a:close/>
                  <a:moveTo>
                    <a:pt x="1536" y="10"/>
                  </a:moveTo>
                  <a:cubicBezTo>
                    <a:pt x="1537" y="10"/>
                    <a:pt x="1537" y="10"/>
                    <a:pt x="1537" y="10"/>
                  </a:cubicBezTo>
                  <a:cubicBezTo>
                    <a:pt x="1537" y="10"/>
                    <a:pt x="1537" y="10"/>
                    <a:pt x="1536" y="10"/>
                  </a:cubicBezTo>
                  <a:close/>
                  <a:moveTo>
                    <a:pt x="1075" y="91"/>
                  </a:moveTo>
                  <a:cubicBezTo>
                    <a:pt x="1075" y="91"/>
                    <a:pt x="1075" y="91"/>
                    <a:pt x="1075" y="91"/>
                  </a:cubicBezTo>
                  <a:cubicBezTo>
                    <a:pt x="1075" y="91"/>
                    <a:pt x="1075" y="91"/>
                    <a:pt x="1075" y="91"/>
                  </a:cubicBezTo>
                  <a:close/>
                  <a:moveTo>
                    <a:pt x="1670" y="10"/>
                  </a:moveTo>
                  <a:cubicBezTo>
                    <a:pt x="1671" y="10"/>
                    <a:pt x="1671" y="10"/>
                    <a:pt x="1671" y="10"/>
                  </a:cubicBezTo>
                  <a:cubicBezTo>
                    <a:pt x="1671" y="10"/>
                    <a:pt x="1671" y="10"/>
                    <a:pt x="1670" y="10"/>
                  </a:cubicBezTo>
                  <a:close/>
                  <a:moveTo>
                    <a:pt x="1252" y="91"/>
                  </a:moveTo>
                  <a:cubicBezTo>
                    <a:pt x="1253" y="91"/>
                    <a:pt x="1253" y="91"/>
                    <a:pt x="1253" y="91"/>
                  </a:cubicBezTo>
                  <a:cubicBezTo>
                    <a:pt x="1253" y="91"/>
                    <a:pt x="1253" y="91"/>
                    <a:pt x="1252" y="91"/>
                  </a:cubicBezTo>
                  <a:close/>
                  <a:moveTo>
                    <a:pt x="1705" y="10"/>
                  </a:moveTo>
                  <a:cubicBezTo>
                    <a:pt x="1705" y="10"/>
                    <a:pt x="1705" y="10"/>
                    <a:pt x="1705" y="10"/>
                  </a:cubicBezTo>
                  <a:cubicBezTo>
                    <a:pt x="1705" y="10"/>
                    <a:pt x="1705" y="10"/>
                    <a:pt x="1705" y="10"/>
                  </a:cubicBezTo>
                  <a:close/>
                  <a:moveTo>
                    <a:pt x="1670" y="92"/>
                  </a:moveTo>
                  <a:cubicBezTo>
                    <a:pt x="1670" y="91"/>
                    <a:pt x="1670" y="91"/>
                    <a:pt x="1670" y="91"/>
                  </a:cubicBezTo>
                  <a:cubicBezTo>
                    <a:pt x="1670" y="91"/>
                    <a:pt x="1670" y="92"/>
                    <a:pt x="1670" y="92"/>
                  </a:cubicBezTo>
                  <a:close/>
                  <a:moveTo>
                    <a:pt x="615" y="92"/>
                  </a:moveTo>
                  <a:cubicBezTo>
                    <a:pt x="615" y="92"/>
                    <a:pt x="615" y="91"/>
                    <a:pt x="614" y="91"/>
                  </a:cubicBezTo>
                  <a:cubicBezTo>
                    <a:pt x="614" y="92"/>
                    <a:pt x="614" y="92"/>
                    <a:pt x="615" y="92"/>
                  </a:cubicBezTo>
                  <a:close/>
                  <a:moveTo>
                    <a:pt x="665" y="91"/>
                  </a:moveTo>
                  <a:cubicBezTo>
                    <a:pt x="665" y="92"/>
                    <a:pt x="665" y="92"/>
                    <a:pt x="666" y="92"/>
                  </a:cubicBezTo>
                  <a:cubicBezTo>
                    <a:pt x="665" y="91"/>
                    <a:pt x="665" y="91"/>
                    <a:pt x="665" y="91"/>
                  </a:cubicBezTo>
                  <a:close/>
                  <a:moveTo>
                    <a:pt x="685" y="92"/>
                  </a:moveTo>
                  <a:cubicBezTo>
                    <a:pt x="685" y="92"/>
                    <a:pt x="685" y="92"/>
                    <a:pt x="685" y="91"/>
                  </a:cubicBezTo>
                  <a:cubicBezTo>
                    <a:pt x="685" y="91"/>
                    <a:pt x="685" y="92"/>
                    <a:pt x="685" y="92"/>
                  </a:cubicBezTo>
                  <a:close/>
                  <a:moveTo>
                    <a:pt x="548" y="11"/>
                  </a:moveTo>
                  <a:cubicBezTo>
                    <a:pt x="548" y="11"/>
                    <a:pt x="548" y="11"/>
                    <a:pt x="549" y="10"/>
                  </a:cubicBezTo>
                  <a:cubicBezTo>
                    <a:pt x="548" y="10"/>
                    <a:pt x="548" y="10"/>
                    <a:pt x="548" y="11"/>
                  </a:cubicBezTo>
                  <a:close/>
                  <a:moveTo>
                    <a:pt x="600" y="55"/>
                  </a:moveTo>
                  <a:cubicBezTo>
                    <a:pt x="600" y="54"/>
                    <a:pt x="600" y="54"/>
                    <a:pt x="600" y="54"/>
                  </a:cubicBezTo>
                  <a:cubicBezTo>
                    <a:pt x="600" y="54"/>
                    <a:pt x="600" y="54"/>
                    <a:pt x="600" y="55"/>
                  </a:cubicBezTo>
                  <a:close/>
                  <a:moveTo>
                    <a:pt x="769" y="91"/>
                  </a:moveTo>
                  <a:cubicBezTo>
                    <a:pt x="769" y="92"/>
                    <a:pt x="770" y="92"/>
                    <a:pt x="770" y="92"/>
                  </a:cubicBezTo>
                  <a:cubicBezTo>
                    <a:pt x="770" y="91"/>
                    <a:pt x="770" y="91"/>
                    <a:pt x="769" y="91"/>
                  </a:cubicBezTo>
                  <a:close/>
                  <a:moveTo>
                    <a:pt x="792" y="92"/>
                  </a:moveTo>
                  <a:cubicBezTo>
                    <a:pt x="792" y="92"/>
                    <a:pt x="792" y="92"/>
                    <a:pt x="792" y="91"/>
                  </a:cubicBezTo>
                  <a:cubicBezTo>
                    <a:pt x="792" y="91"/>
                    <a:pt x="792" y="91"/>
                    <a:pt x="792" y="92"/>
                  </a:cubicBezTo>
                  <a:close/>
                  <a:moveTo>
                    <a:pt x="977" y="11"/>
                  </a:moveTo>
                  <a:cubicBezTo>
                    <a:pt x="977" y="11"/>
                    <a:pt x="977" y="11"/>
                    <a:pt x="977" y="10"/>
                  </a:cubicBezTo>
                  <a:cubicBezTo>
                    <a:pt x="977" y="10"/>
                    <a:pt x="977" y="10"/>
                    <a:pt x="977" y="11"/>
                  </a:cubicBezTo>
                  <a:close/>
                  <a:moveTo>
                    <a:pt x="1352" y="11"/>
                  </a:moveTo>
                  <a:cubicBezTo>
                    <a:pt x="1352" y="11"/>
                    <a:pt x="1352" y="11"/>
                    <a:pt x="1352" y="10"/>
                  </a:cubicBezTo>
                  <a:cubicBezTo>
                    <a:pt x="1352" y="10"/>
                    <a:pt x="1352" y="10"/>
                    <a:pt x="1352" y="11"/>
                  </a:cubicBezTo>
                  <a:close/>
                  <a:moveTo>
                    <a:pt x="1051" y="91"/>
                  </a:moveTo>
                  <a:cubicBezTo>
                    <a:pt x="1052" y="92"/>
                    <a:pt x="1052" y="92"/>
                    <a:pt x="1052" y="92"/>
                  </a:cubicBezTo>
                  <a:cubicBezTo>
                    <a:pt x="1052" y="91"/>
                    <a:pt x="1052" y="91"/>
                    <a:pt x="1051" y="91"/>
                  </a:cubicBezTo>
                  <a:close/>
                  <a:moveTo>
                    <a:pt x="1074" y="92"/>
                  </a:moveTo>
                  <a:cubicBezTo>
                    <a:pt x="1074" y="92"/>
                    <a:pt x="1074" y="92"/>
                    <a:pt x="1075" y="91"/>
                  </a:cubicBezTo>
                  <a:cubicBezTo>
                    <a:pt x="1074" y="91"/>
                    <a:pt x="1074" y="91"/>
                    <a:pt x="1074" y="92"/>
                  </a:cubicBezTo>
                  <a:close/>
                  <a:moveTo>
                    <a:pt x="1202" y="92"/>
                  </a:moveTo>
                  <a:cubicBezTo>
                    <a:pt x="1202" y="92"/>
                    <a:pt x="1202" y="92"/>
                    <a:pt x="1202" y="92"/>
                  </a:cubicBezTo>
                  <a:cubicBezTo>
                    <a:pt x="1202" y="91"/>
                    <a:pt x="1202" y="91"/>
                    <a:pt x="1202" y="92"/>
                  </a:cubicBezTo>
                  <a:close/>
                  <a:moveTo>
                    <a:pt x="1229" y="91"/>
                  </a:moveTo>
                  <a:cubicBezTo>
                    <a:pt x="1229" y="92"/>
                    <a:pt x="1229" y="92"/>
                    <a:pt x="1230" y="92"/>
                  </a:cubicBezTo>
                  <a:cubicBezTo>
                    <a:pt x="1230" y="91"/>
                    <a:pt x="1229" y="91"/>
                    <a:pt x="1229" y="91"/>
                  </a:cubicBezTo>
                  <a:close/>
                  <a:moveTo>
                    <a:pt x="1387" y="10"/>
                  </a:moveTo>
                  <a:cubicBezTo>
                    <a:pt x="1387" y="11"/>
                    <a:pt x="1387" y="11"/>
                    <a:pt x="1388" y="11"/>
                  </a:cubicBezTo>
                  <a:cubicBezTo>
                    <a:pt x="1388" y="10"/>
                    <a:pt x="1387" y="10"/>
                    <a:pt x="1387" y="10"/>
                  </a:cubicBezTo>
                  <a:close/>
                  <a:moveTo>
                    <a:pt x="1418" y="92"/>
                  </a:moveTo>
                  <a:cubicBezTo>
                    <a:pt x="1418" y="92"/>
                    <a:pt x="1418" y="92"/>
                    <a:pt x="1417" y="91"/>
                  </a:cubicBezTo>
                  <a:cubicBezTo>
                    <a:pt x="1417" y="92"/>
                    <a:pt x="1417" y="92"/>
                    <a:pt x="1418" y="92"/>
                  </a:cubicBezTo>
                  <a:close/>
                  <a:moveTo>
                    <a:pt x="1683" y="91"/>
                  </a:moveTo>
                  <a:cubicBezTo>
                    <a:pt x="1683" y="92"/>
                    <a:pt x="1683" y="92"/>
                    <a:pt x="1684" y="92"/>
                  </a:cubicBezTo>
                  <a:cubicBezTo>
                    <a:pt x="1684" y="92"/>
                    <a:pt x="1684" y="92"/>
                    <a:pt x="1683" y="91"/>
                  </a:cubicBezTo>
                  <a:close/>
                  <a:moveTo>
                    <a:pt x="635" y="61"/>
                  </a:moveTo>
                  <a:cubicBezTo>
                    <a:pt x="635" y="61"/>
                    <a:pt x="635" y="60"/>
                    <a:pt x="635" y="60"/>
                  </a:cubicBezTo>
                  <a:cubicBezTo>
                    <a:pt x="635" y="60"/>
                    <a:pt x="635" y="61"/>
                    <a:pt x="635" y="61"/>
                  </a:cubicBezTo>
                  <a:close/>
                  <a:moveTo>
                    <a:pt x="633" y="92"/>
                  </a:moveTo>
                  <a:cubicBezTo>
                    <a:pt x="633" y="92"/>
                    <a:pt x="633" y="92"/>
                    <a:pt x="633" y="92"/>
                  </a:cubicBezTo>
                  <a:cubicBezTo>
                    <a:pt x="633" y="92"/>
                    <a:pt x="633" y="92"/>
                    <a:pt x="633" y="92"/>
                  </a:cubicBezTo>
                  <a:close/>
                  <a:moveTo>
                    <a:pt x="666" y="92"/>
                  </a:moveTo>
                  <a:cubicBezTo>
                    <a:pt x="666" y="92"/>
                    <a:pt x="666" y="92"/>
                    <a:pt x="667" y="92"/>
                  </a:cubicBezTo>
                  <a:cubicBezTo>
                    <a:pt x="666" y="92"/>
                    <a:pt x="666" y="92"/>
                    <a:pt x="666" y="92"/>
                  </a:cubicBezTo>
                  <a:close/>
                  <a:moveTo>
                    <a:pt x="698" y="92"/>
                  </a:moveTo>
                  <a:cubicBezTo>
                    <a:pt x="698" y="92"/>
                    <a:pt x="698" y="92"/>
                    <a:pt x="698" y="92"/>
                  </a:cubicBezTo>
                  <a:cubicBezTo>
                    <a:pt x="698" y="92"/>
                    <a:pt x="698" y="92"/>
                    <a:pt x="698" y="92"/>
                  </a:cubicBezTo>
                  <a:close/>
                  <a:moveTo>
                    <a:pt x="729" y="92"/>
                  </a:moveTo>
                  <a:cubicBezTo>
                    <a:pt x="729" y="92"/>
                    <a:pt x="729" y="92"/>
                    <a:pt x="729" y="92"/>
                  </a:cubicBezTo>
                  <a:cubicBezTo>
                    <a:pt x="729" y="92"/>
                    <a:pt x="729" y="92"/>
                    <a:pt x="729" y="92"/>
                  </a:cubicBezTo>
                  <a:close/>
                  <a:moveTo>
                    <a:pt x="741" y="92"/>
                  </a:moveTo>
                  <a:cubicBezTo>
                    <a:pt x="741" y="92"/>
                    <a:pt x="742" y="92"/>
                    <a:pt x="742" y="92"/>
                  </a:cubicBezTo>
                  <a:cubicBezTo>
                    <a:pt x="741" y="92"/>
                    <a:pt x="741" y="92"/>
                    <a:pt x="741" y="92"/>
                  </a:cubicBezTo>
                  <a:close/>
                  <a:moveTo>
                    <a:pt x="770" y="92"/>
                  </a:moveTo>
                  <a:cubicBezTo>
                    <a:pt x="770" y="92"/>
                    <a:pt x="770" y="92"/>
                    <a:pt x="771" y="92"/>
                  </a:cubicBezTo>
                  <a:cubicBezTo>
                    <a:pt x="770" y="92"/>
                    <a:pt x="770" y="92"/>
                    <a:pt x="770" y="92"/>
                  </a:cubicBezTo>
                  <a:close/>
                  <a:moveTo>
                    <a:pt x="1290" y="55"/>
                  </a:moveTo>
                  <a:cubicBezTo>
                    <a:pt x="1290" y="55"/>
                    <a:pt x="1290" y="55"/>
                    <a:pt x="1290" y="56"/>
                  </a:cubicBezTo>
                  <a:cubicBezTo>
                    <a:pt x="1290" y="55"/>
                    <a:pt x="1290" y="55"/>
                    <a:pt x="1290" y="55"/>
                  </a:cubicBezTo>
                  <a:close/>
                  <a:moveTo>
                    <a:pt x="646" y="60"/>
                  </a:moveTo>
                  <a:cubicBezTo>
                    <a:pt x="645" y="60"/>
                    <a:pt x="645" y="60"/>
                    <a:pt x="645" y="61"/>
                  </a:cubicBezTo>
                  <a:cubicBezTo>
                    <a:pt x="646" y="61"/>
                    <a:pt x="646" y="60"/>
                    <a:pt x="646" y="60"/>
                  </a:cubicBezTo>
                  <a:close/>
                  <a:moveTo>
                    <a:pt x="675" y="60"/>
                  </a:moveTo>
                  <a:cubicBezTo>
                    <a:pt x="675" y="60"/>
                    <a:pt x="675" y="60"/>
                    <a:pt x="676" y="60"/>
                  </a:cubicBezTo>
                  <a:cubicBezTo>
                    <a:pt x="675" y="60"/>
                    <a:pt x="675" y="60"/>
                    <a:pt x="675" y="60"/>
                  </a:cubicBezTo>
                  <a:close/>
                  <a:moveTo>
                    <a:pt x="1036" y="92"/>
                  </a:moveTo>
                  <a:cubicBezTo>
                    <a:pt x="1036" y="92"/>
                    <a:pt x="1036" y="92"/>
                    <a:pt x="1036" y="92"/>
                  </a:cubicBezTo>
                  <a:cubicBezTo>
                    <a:pt x="1036" y="92"/>
                    <a:pt x="1036" y="92"/>
                    <a:pt x="1036" y="92"/>
                  </a:cubicBezTo>
                  <a:close/>
                  <a:moveTo>
                    <a:pt x="1052" y="92"/>
                  </a:moveTo>
                  <a:cubicBezTo>
                    <a:pt x="1052" y="92"/>
                    <a:pt x="1053" y="92"/>
                    <a:pt x="1053" y="92"/>
                  </a:cubicBezTo>
                  <a:cubicBezTo>
                    <a:pt x="1053" y="92"/>
                    <a:pt x="1053" y="92"/>
                    <a:pt x="1052" y="92"/>
                  </a:cubicBezTo>
                  <a:close/>
                  <a:moveTo>
                    <a:pt x="1073" y="92"/>
                  </a:moveTo>
                  <a:cubicBezTo>
                    <a:pt x="1073" y="92"/>
                    <a:pt x="1073" y="92"/>
                    <a:pt x="1074" y="92"/>
                  </a:cubicBezTo>
                  <a:cubicBezTo>
                    <a:pt x="1073" y="92"/>
                    <a:pt x="1073" y="92"/>
                    <a:pt x="1073" y="92"/>
                  </a:cubicBezTo>
                  <a:close/>
                  <a:moveTo>
                    <a:pt x="803" y="49"/>
                  </a:moveTo>
                  <a:cubicBezTo>
                    <a:pt x="803" y="49"/>
                    <a:pt x="803" y="49"/>
                    <a:pt x="803" y="49"/>
                  </a:cubicBezTo>
                  <a:cubicBezTo>
                    <a:pt x="803" y="49"/>
                    <a:pt x="803" y="49"/>
                    <a:pt x="803" y="49"/>
                  </a:cubicBezTo>
                  <a:close/>
                  <a:moveTo>
                    <a:pt x="1214" y="92"/>
                  </a:moveTo>
                  <a:cubicBezTo>
                    <a:pt x="1214" y="92"/>
                    <a:pt x="1214" y="92"/>
                    <a:pt x="1213" y="92"/>
                  </a:cubicBezTo>
                  <a:cubicBezTo>
                    <a:pt x="1213" y="92"/>
                    <a:pt x="1214" y="92"/>
                    <a:pt x="1214" y="92"/>
                  </a:cubicBezTo>
                  <a:close/>
                  <a:moveTo>
                    <a:pt x="1230" y="92"/>
                  </a:moveTo>
                  <a:cubicBezTo>
                    <a:pt x="1230" y="92"/>
                    <a:pt x="1230" y="92"/>
                    <a:pt x="1231" y="92"/>
                  </a:cubicBezTo>
                  <a:cubicBezTo>
                    <a:pt x="1231" y="92"/>
                    <a:pt x="1230" y="92"/>
                    <a:pt x="1230" y="92"/>
                  </a:cubicBezTo>
                  <a:close/>
                  <a:moveTo>
                    <a:pt x="1251" y="92"/>
                  </a:moveTo>
                  <a:cubicBezTo>
                    <a:pt x="1251" y="92"/>
                    <a:pt x="1251" y="92"/>
                    <a:pt x="1251" y="92"/>
                  </a:cubicBezTo>
                  <a:cubicBezTo>
                    <a:pt x="1251" y="92"/>
                    <a:pt x="1251" y="92"/>
                    <a:pt x="1251" y="92"/>
                  </a:cubicBezTo>
                  <a:close/>
                  <a:moveTo>
                    <a:pt x="1462" y="92"/>
                  </a:moveTo>
                  <a:cubicBezTo>
                    <a:pt x="1461" y="92"/>
                    <a:pt x="1461" y="92"/>
                    <a:pt x="1461" y="92"/>
                  </a:cubicBezTo>
                  <a:cubicBezTo>
                    <a:pt x="1462" y="92"/>
                    <a:pt x="1462" y="92"/>
                    <a:pt x="1462" y="92"/>
                  </a:cubicBezTo>
                  <a:close/>
                  <a:moveTo>
                    <a:pt x="637" y="54"/>
                  </a:moveTo>
                  <a:cubicBezTo>
                    <a:pt x="637" y="54"/>
                    <a:pt x="637" y="54"/>
                    <a:pt x="637" y="53"/>
                  </a:cubicBezTo>
                  <a:cubicBezTo>
                    <a:pt x="637" y="54"/>
                    <a:pt x="637" y="54"/>
                    <a:pt x="637" y="54"/>
                  </a:cubicBezTo>
                  <a:close/>
                  <a:moveTo>
                    <a:pt x="572" y="53"/>
                  </a:moveTo>
                  <a:cubicBezTo>
                    <a:pt x="572" y="54"/>
                    <a:pt x="573" y="54"/>
                    <a:pt x="573" y="54"/>
                  </a:cubicBezTo>
                  <a:cubicBezTo>
                    <a:pt x="573" y="54"/>
                    <a:pt x="573" y="53"/>
                    <a:pt x="572" y="53"/>
                  </a:cubicBezTo>
                  <a:close/>
                  <a:moveTo>
                    <a:pt x="615" y="93"/>
                  </a:moveTo>
                  <a:cubicBezTo>
                    <a:pt x="615" y="93"/>
                    <a:pt x="615" y="92"/>
                    <a:pt x="615" y="92"/>
                  </a:cubicBezTo>
                  <a:cubicBezTo>
                    <a:pt x="615" y="92"/>
                    <a:pt x="615" y="93"/>
                    <a:pt x="615" y="93"/>
                  </a:cubicBezTo>
                  <a:close/>
                  <a:moveTo>
                    <a:pt x="1498" y="11"/>
                  </a:moveTo>
                  <a:cubicBezTo>
                    <a:pt x="1499" y="11"/>
                    <a:pt x="1499" y="11"/>
                    <a:pt x="1499" y="10"/>
                  </a:cubicBezTo>
                  <a:cubicBezTo>
                    <a:pt x="1499" y="10"/>
                    <a:pt x="1498" y="10"/>
                    <a:pt x="1498" y="11"/>
                  </a:cubicBezTo>
                  <a:close/>
                  <a:moveTo>
                    <a:pt x="684" y="92"/>
                  </a:moveTo>
                  <a:cubicBezTo>
                    <a:pt x="684" y="92"/>
                    <a:pt x="684" y="92"/>
                    <a:pt x="684" y="92"/>
                  </a:cubicBezTo>
                  <a:cubicBezTo>
                    <a:pt x="684" y="92"/>
                    <a:pt x="684" y="92"/>
                    <a:pt x="684" y="92"/>
                  </a:cubicBezTo>
                  <a:close/>
                  <a:moveTo>
                    <a:pt x="740" y="93"/>
                  </a:moveTo>
                  <a:cubicBezTo>
                    <a:pt x="741" y="93"/>
                    <a:pt x="741" y="92"/>
                    <a:pt x="741" y="92"/>
                  </a:cubicBezTo>
                  <a:cubicBezTo>
                    <a:pt x="741" y="92"/>
                    <a:pt x="741" y="92"/>
                    <a:pt x="740" y="93"/>
                  </a:cubicBezTo>
                  <a:close/>
                  <a:moveTo>
                    <a:pt x="771" y="92"/>
                  </a:moveTo>
                  <a:cubicBezTo>
                    <a:pt x="771" y="92"/>
                    <a:pt x="771" y="92"/>
                    <a:pt x="772" y="92"/>
                  </a:cubicBezTo>
                  <a:cubicBezTo>
                    <a:pt x="771" y="92"/>
                    <a:pt x="771" y="92"/>
                    <a:pt x="771" y="92"/>
                  </a:cubicBezTo>
                  <a:close/>
                  <a:moveTo>
                    <a:pt x="1536" y="11"/>
                  </a:moveTo>
                  <a:cubicBezTo>
                    <a:pt x="1536" y="11"/>
                    <a:pt x="1536" y="11"/>
                    <a:pt x="1536" y="10"/>
                  </a:cubicBezTo>
                  <a:cubicBezTo>
                    <a:pt x="1536" y="10"/>
                    <a:pt x="1536" y="10"/>
                    <a:pt x="1536" y="11"/>
                  </a:cubicBezTo>
                  <a:close/>
                  <a:moveTo>
                    <a:pt x="1367" y="61"/>
                  </a:moveTo>
                  <a:cubicBezTo>
                    <a:pt x="1368" y="60"/>
                    <a:pt x="1368" y="60"/>
                    <a:pt x="1368" y="60"/>
                  </a:cubicBezTo>
                  <a:cubicBezTo>
                    <a:pt x="1368" y="60"/>
                    <a:pt x="1367" y="60"/>
                    <a:pt x="1367" y="61"/>
                  </a:cubicBezTo>
                  <a:close/>
                  <a:moveTo>
                    <a:pt x="1671" y="10"/>
                  </a:moveTo>
                  <a:cubicBezTo>
                    <a:pt x="1671" y="11"/>
                    <a:pt x="1672" y="11"/>
                    <a:pt x="1672" y="11"/>
                  </a:cubicBezTo>
                  <a:cubicBezTo>
                    <a:pt x="1672" y="10"/>
                    <a:pt x="1671" y="10"/>
                    <a:pt x="1671" y="10"/>
                  </a:cubicBezTo>
                  <a:close/>
                  <a:moveTo>
                    <a:pt x="1053" y="92"/>
                  </a:moveTo>
                  <a:cubicBezTo>
                    <a:pt x="1053" y="92"/>
                    <a:pt x="1053" y="92"/>
                    <a:pt x="1054" y="92"/>
                  </a:cubicBezTo>
                  <a:cubicBezTo>
                    <a:pt x="1053" y="92"/>
                    <a:pt x="1053" y="92"/>
                    <a:pt x="1053" y="92"/>
                  </a:cubicBezTo>
                  <a:close/>
                  <a:moveTo>
                    <a:pt x="1072" y="92"/>
                  </a:moveTo>
                  <a:cubicBezTo>
                    <a:pt x="1072" y="92"/>
                    <a:pt x="1072" y="92"/>
                    <a:pt x="1073" y="92"/>
                  </a:cubicBezTo>
                  <a:cubicBezTo>
                    <a:pt x="1072" y="92"/>
                    <a:pt x="1072" y="92"/>
                    <a:pt x="1072" y="92"/>
                  </a:cubicBezTo>
                  <a:close/>
                  <a:moveTo>
                    <a:pt x="1704" y="11"/>
                  </a:moveTo>
                  <a:cubicBezTo>
                    <a:pt x="1704" y="11"/>
                    <a:pt x="1704" y="11"/>
                    <a:pt x="1705" y="10"/>
                  </a:cubicBezTo>
                  <a:cubicBezTo>
                    <a:pt x="1704" y="10"/>
                    <a:pt x="1704" y="10"/>
                    <a:pt x="1704" y="11"/>
                  </a:cubicBezTo>
                  <a:close/>
                  <a:moveTo>
                    <a:pt x="1189" y="92"/>
                  </a:moveTo>
                  <a:cubicBezTo>
                    <a:pt x="1189" y="92"/>
                    <a:pt x="1189" y="93"/>
                    <a:pt x="1190" y="93"/>
                  </a:cubicBezTo>
                  <a:cubicBezTo>
                    <a:pt x="1190" y="92"/>
                    <a:pt x="1189" y="92"/>
                    <a:pt x="1189" y="92"/>
                  </a:cubicBezTo>
                  <a:close/>
                  <a:moveTo>
                    <a:pt x="1201" y="92"/>
                  </a:moveTo>
                  <a:cubicBezTo>
                    <a:pt x="1201" y="92"/>
                    <a:pt x="1201" y="92"/>
                    <a:pt x="1201" y="92"/>
                  </a:cubicBezTo>
                  <a:cubicBezTo>
                    <a:pt x="1201" y="92"/>
                    <a:pt x="1201" y="92"/>
                    <a:pt x="1201" y="92"/>
                  </a:cubicBezTo>
                  <a:close/>
                  <a:moveTo>
                    <a:pt x="1231" y="92"/>
                  </a:moveTo>
                  <a:cubicBezTo>
                    <a:pt x="1231" y="92"/>
                    <a:pt x="1231" y="92"/>
                    <a:pt x="1232" y="92"/>
                  </a:cubicBezTo>
                  <a:cubicBezTo>
                    <a:pt x="1231" y="92"/>
                    <a:pt x="1231" y="92"/>
                    <a:pt x="1231" y="92"/>
                  </a:cubicBezTo>
                  <a:close/>
                  <a:moveTo>
                    <a:pt x="1250" y="92"/>
                  </a:moveTo>
                  <a:cubicBezTo>
                    <a:pt x="1250" y="92"/>
                    <a:pt x="1250" y="92"/>
                    <a:pt x="1250" y="92"/>
                  </a:cubicBezTo>
                  <a:cubicBezTo>
                    <a:pt x="1250" y="92"/>
                    <a:pt x="1250" y="92"/>
                    <a:pt x="1250" y="92"/>
                  </a:cubicBezTo>
                  <a:close/>
                  <a:moveTo>
                    <a:pt x="1671" y="93"/>
                  </a:moveTo>
                  <a:cubicBezTo>
                    <a:pt x="1671" y="92"/>
                    <a:pt x="1671" y="92"/>
                    <a:pt x="1671" y="92"/>
                  </a:cubicBezTo>
                  <a:cubicBezTo>
                    <a:pt x="1670" y="92"/>
                    <a:pt x="1671" y="93"/>
                    <a:pt x="1671" y="93"/>
                  </a:cubicBezTo>
                  <a:close/>
                  <a:moveTo>
                    <a:pt x="1684" y="92"/>
                  </a:moveTo>
                  <a:cubicBezTo>
                    <a:pt x="1684" y="92"/>
                    <a:pt x="1684" y="93"/>
                    <a:pt x="1684" y="93"/>
                  </a:cubicBezTo>
                  <a:cubicBezTo>
                    <a:pt x="1684" y="93"/>
                    <a:pt x="1684" y="92"/>
                    <a:pt x="1684" y="92"/>
                  </a:cubicBezTo>
                  <a:close/>
                  <a:moveTo>
                    <a:pt x="585" y="92"/>
                  </a:moveTo>
                  <a:cubicBezTo>
                    <a:pt x="584" y="93"/>
                    <a:pt x="584" y="93"/>
                    <a:pt x="584" y="93"/>
                  </a:cubicBezTo>
                  <a:cubicBezTo>
                    <a:pt x="585" y="93"/>
                    <a:pt x="585" y="93"/>
                    <a:pt x="585" y="92"/>
                  </a:cubicBezTo>
                  <a:close/>
                  <a:moveTo>
                    <a:pt x="633" y="92"/>
                  </a:moveTo>
                  <a:cubicBezTo>
                    <a:pt x="633" y="93"/>
                    <a:pt x="632" y="93"/>
                    <a:pt x="632" y="93"/>
                  </a:cubicBezTo>
                  <a:cubicBezTo>
                    <a:pt x="633" y="93"/>
                    <a:pt x="633" y="93"/>
                    <a:pt x="633" y="92"/>
                  </a:cubicBezTo>
                  <a:close/>
                  <a:moveTo>
                    <a:pt x="1739" y="10"/>
                  </a:moveTo>
                  <a:cubicBezTo>
                    <a:pt x="1740" y="11"/>
                    <a:pt x="1740" y="11"/>
                    <a:pt x="1740" y="11"/>
                  </a:cubicBezTo>
                  <a:cubicBezTo>
                    <a:pt x="1740" y="10"/>
                    <a:pt x="1740" y="10"/>
                    <a:pt x="1739" y="10"/>
                  </a:cubicBezTo>
                  <a:close/>
                  <a:moveTo>
                    <a:pt x="683" y="93"/>
                  </a:moveTo>
                  <a:cubicBezTo>
                    <a:pt x="683" y="93"/>
                    <a:pt x="683" y="93"/>
                    <a:pt x="683" y="93"/>
                  </a:cubicBezTo>
                  <a:cubicBezTo>
                    <a:pt x="683" y="92"/>
                    <a:pt x="683" y="92"/>
                    <a:pt x="683" y="93"/>
                  </a:cubicBezTo>
                  <a:close/>
                  <a:moveTo>
                    <a:pt x="698" y="92"/>
                  </a:moveTo>
                  <a:cubicBezTo>
                    <a:pt x="697" y="93"/>
                    <a:pt x="697" y="93"/>
                    <a:pt x="697" y="93"/>
                  </a:cubicBezTo>
                  <a:cubicBezTo>
                    <a:pt x="697" y="93"/>
                    <a:pt x="698" y="93"/>
                    <a:pt x="698" y="92"/>
                  </a:cubicBezTo>
                  <a:close/>
                  <a:moveTo>
                    <a:pt x="976" y="11"/>
                  </a:moveTo>
                  <a:cubicBezTo>
                    <a:pt x="976" y="11"/>
                    <a:pt x="977" y="11"/>
                    <a:pt x="977" y="11"/>
                  </a:cubicBezTo>
                  <a:cubicBezTo>
                    <a:pt x="976" y="11"/>
                    <a:pt x="976" y="11"/>
                    <a:pt x="976" y="11"/>
                  </a:cubicBezTo>
                  <a:close/>
                  <a:moveTo>
                    <a:pt x="730" y="92"/>
                  </a:moveTo>
                  <a:cubicBezTo>
                    <a:pt x="730" y="93"/>
                    <a:pt x="730" y="93"/>
                    <a:pt x="730" y="93"/>
                  </a:cubicBezTo>
                  <a:cubicBezTo>
                    <a:pt x="730" y="93"/>
                    <a:pt x="730" y="92"/>
                    <a:pt x="730" y="92"/>
                  </a:cubicBezTo>
                  <a:close/>
                  <a:moveTo>
                    <a:pt x="740" y="93"/>
                  </a:moveTo>
                  <a:cubicBezTo>
                    <a:pt x="740" y="93"/>
                    <a:pt x="740" y="93"/>
                    <a:pt x="740" y="93"/>
                  </a:cubicBezTo>
                  <a:cubicBezTo>
                    <a:pt x="740" y="92"/>
                    <a:pt x="740" y="93"/>
                    <a:pt x="740" y="93"/>
                  </a:cubicBezTo>
                  <a:close/>
                  <a:moveTo>
                    <a:pt x="1290" y="56"/>
                  </a:moveTo>
                  <a:cubicBezTo>
                    <a:pt x="1289" y="56"/>
                    <a:pt x="1289" y="56"/>
                    <a:pt x="1289" y="57"/>
                  </a:cubicBezTo>
                  <a:cubicBezTo>
                    <a:pt x="1290" y="56"/>
                    <a:pt x="1290" y="56"/>
                    <a:pt x="1290" y="56"/>
                  </a:cubicBezTo>
                  <a:close/>
                  <a:moveTo>
                    <a:pt x="909" y="42"/>
                  </a:moveTo>
                  <a:cubicBezTo>
                    <a:pt x="909" y="42"/>
                    <a:pt x="909" y="43"/>
                    <a:pt x="909" y="43"/>
                  </a:cubicBezTo>
                  <a:cubicBezTo>
                    <a:pt x="909" y="42"/>
                    <a:pt x="909" y="42"/>
                    <a:pt x="909" y="42"/>
                  </a:cubicBezTo>
                  <a:close/>
                  <a:moveTo>
                    <a:pt x="1081" y="42"/>
                  </a:moveTo>
                  <a:cubicBezTo>
                    <a:pt x="1081" y="42"/>
                    <a:pt x="1082" y="43"/>
                    <a:pt x="1082" y="43"/>
                  </a:cubicBezTo>
                  <a:cubicBezTo>
                    <a:pt x="1082" y="42"/>
                    <a:pt x="1082" y="42"/>
                    <a:pt x="1081" y="42"/>
                  </a:cubicBezTo>
                  <a:close/>
                  <a:moveTo>
                    <a:pt x="609" y="48"/>
                  </a:moveTo>
                  <a:cubicBezTo>
                    <a:pt x="609" y="48"/>
                    <a:pt x="609" y="49"/>
                    <a:pt x="609" y="49"/>
                  </a:cubicBezTo>
                  <a:cubicBezTo>
                    <a:pt x="609" y="48"/>
                    <a:pt x="609" y="48"/>
                    <a:pt x="609" y="48"/>
                  </a:cubicBezTo>
                  <a:close/>
                  <a:moveTo>
                    <a:pt x="600" y="56"/>
                  </a:moveTo>
                  <a:cubicBezTo>
                    <a:pt x="600" y="55"/>
                    <a:pt x="600" y="55"/>
                    <a:pt x="600" y="55"/>
                  </a:cubicBezTo>
                  <a:cubicBezTo>
                    <a:pt x="600" y="55"/>
                    <a:pt x="600" y="55"/>
                    <a:pt x="600" y="56"/>
                  </a:cubicBezTo>
                  <a:close/>
                  <a:moveTo>
                    <a:pt x="1054" y="93"/>
                  </a:moveTo>
                  <a:cubicBezTo>
                    <a:pt x="1054" y="93"/>
                    <a:pt x="1054" y="93"/>
                    <a:pt x="1055" y="93"/>
                  </a:cubicBezTo>
                  <a:cubicBezTo>
                    <a:pt x="1054" y="92"/>
                    <a:pt x="1054" y="92"/>
                    <a:pt x="1054" y="93"/>
                  </a:cubicBezTo>
                  <a:close/>
                  <a:moveTo>
                    <a:pt x="1672" y="11"/>
                  </a:moveTo>
                  <a:cubicBezTo>
                    <a:pt x="1672" y="11"/>
                    <a:pt x="1672" y="11"/>
                    <a:pt x="1673" y="11"/>
                  </a:cubicBezTo>
                  <a:cubicBezTo>
                    <a:pt x="1672" y="11"/>
                    <a:pt x="1672" y="11"/>
                    <a:pt x="1672" y="11"/>
                  </a:cubicBezTo>
                  <a:close/>
                  <a:moveTo>
                    <a:pt x="1190" y="93"/>
                  </a:moveTo>
                  <a:cubicBezTo>
                    <a:pt x="1190" y="93"/>
                    <a:pt x="1190" y="93"/>
                    <a:pt x="1190" y="93"/>
                  </a:cubicBezTo>
                  <a:cubicBezTo>
                    <a:pt x="1190" y="93"/>
                    <a:pt x="1190" y="92"/>
                    <a:pt x="1190" y="93"/>
                  </a:cubicBezTo>
                  <a:close/>
                  <a:moveTo>
                    <a:pt x="1200" y="93"/>
                  </a:moveTo>
                  <a:cubicBezTo>
                    <a:pt x="1200" y="93"/>
                    <a:pt x="1200" y="93"/>
                    <a:pt x="1201" y="92"/>
                  </a:cubicBezTo>
                  <a:cubicBezTo>
                    <a:pt x="1200" y="92"/>
                    <a:pt x="1200" y="93"/>
                    <a:pt x="1200" y="93"/>
                  </a:cubicBezTo>
                  <a:close/>
                  <a:moveTo>
                    <a:pt x="1232" y="93"/>
                  </a:moveTo>
                  <a:cubicBezTo>
                    <a:pt x="1232" y="93"/>
                    <a:pt x="1232" y="93"/>
                    <a:pt x="1233" y="93"/>
                  </a:cubicBezTo>
                  <a:cubicBezTo>
                    <a:pt x="1232" y="92"/>
                    <a:pt x="1232" y="92"/>
                    <a:pt x="1232" y="93"/>
                  </a:cubicBezTo>
                  <a:close/>
                  <a:moveTo>
                    <a:pt x="547" y="11"/>
                  </a:moveTo>
                  <a:cubicBezTo>
                    <a:pt x="547" y="11"/>
                    <a:pt x="547" y="11"/>
                    <a:pt x="548" y="11"/>
                  </a:cubicBezTo>
                  <a:cubicBezTo>
                    <a:pt x="547" y="11"/>
                    <a:pt x="547" y="11"/>
                    <a:pt x="547" y="11"/>
                  </a:cubicBezTo>
                  <a:close/>
                  <a:moveTo>
                    <a:pt x="1671" y="56"/>
                  </a:moveTo>
                  <a:cubicBezTo>
                    <a:pt x="1671" y="56"/>
                    <a:pt x="1670" y="56"/>
                    <a:pt x="1670" y="56"/>
                  </a:cubicBezTo>
                  <a:cubicBezTo>
                    <a:pt x="1670" y="56"/>
                    <a:pt x="1671" y="56"/>
                    <a:pt x="1671" y="56"/>
                  </a:cubicBezTo>
                  <a:close/>
                  <a:moveTo>
                    <a:pt x="975" y="11"/>
                  </a:moveTo>
                  <a:cubicBezTo>
                    <a:pt x="976" y="11"/>
                    <a:pt x="976" y="11"/>
                    <a:pt x="976" y="11"/>
                  </a:cubicBezTo>
                  <a:cubicBezTo>
                    <a:pt x="976" y="11"/>
                    <a:pt x="975" y="11"/>
                    <a:pt x="975" y="11"/>
                  </a:cubicBezTo>
                  <a:close/>
                  <a:moveTo>
                    <a:pt x="1497" y="11"/>
                  </a:moveTo>
                  <a:cubicBezTo>
                    <a:pt x="1497" y="11"/>
                    <a:pt x="1498" y="11"/>
                    <a:pt x="1498" y="11"/>
                  </a:cubicBezTo>
                  <a:cubicBezTo>
                    <a:pt x="1498" y="11"/>
                    <a:pt x="1497" y="11"/>
                    <a:pt x="1497" y="11"/>
                  </a:cubicBezTo>
                  <a:close/>
                  <a:moveTo>
                    <a:pt x="730" y="93"/>
                  </a:moveTo>
                  <a:cubicBezTo>
                    <a:pt x="731" y="93"/>
                    <a:pt x="731" y="93"/>
                    <a:pt x="731" y="93"/>
                  </a:cubicBezTo>
                  <a:cubicBezTo>
                    <a:pt x="731" y="93"/>
                    <a:pt x="731" y="93"/>
                    <a:pt x="730" y="93"/>
                  </a:cubicBezTo>
                  <a:close/>
                  <a:moveTo>
                    <a:pt x="739" y="93"/>
                  </a:moveTo>
                  <a:cubicBezTo>
                    <a:pt x="739" y="93"/>
                    <a:pt x="740" y="93"/>
                    <a:pt x="740" y="93"/>
                  </a:cubicBezTo>
                  <a:cubicBezTo>
                    <a:pt x="739" y="93"/>
                    <a:pt x="739" y="93"/>
                    <a:pt x="739" y="93"/>
                  </a:cubicBezTo>
                  <a:close/>
                  <a:moveTo>
                    <a:pt x="1535" y="11"/>
                  </a:moveTo>
                  <a:cubicBezTo>
                    <a:pt x="1535" y="11"/>
                    <a:pt x="1535" y="11"/>
                    <a:pt x="1535" y="11"/>
                  </a:cubicBezTo>
                  <a:cubicBezTo>
                    <a:pt x="1535" y="11"/>
                    <a:pt x="1535" y="11"/>
                    <a:pt x="1535" y="11"/>
                  </a:cubicBezTo>
                  <a:close/>
                  <a:moveTo>
                    <a:pt x="676" y="60"/>
                  </a:moveTo>
                  <a:cubicBezTo>
                    <a:pt x="676" y="61"/>
                    <a:pt x="676" y="61"/>
                    <a:pt x="676" y="61"/>
                  </a:cubicBezTo>
                  <a:cubicBezTo>
                    <a:pt x="676" y="61"/>
                    <a:pt x="676" y="60"/>
                    <a:pt x="676" y="60"/>
                  </a:cubicBezTo>
                  <a:close/>
                  <a:moveTo>
                    <a:pt x="650" y="49"/>
                  </a:moveTo>
                  <a:cubicBezTo>
                    <a:pt x="650" y="49"/>
                    <a:pt x="650" y="49"/>
                    <a:pt x="650" y="49"/>
                  </a:cubicBezTo>
                  <a:cubicBezTo>
                    <a:pt x="650" y="49"/>
                    <a:pt x="650" y="49"/>
                    <a:pt x="650" y="49"/>
                  </a:cubicBezTo>
                  <a:close/>
                  <a:moveTo>
                    <a:pt x="1746" y="48"/>
                  </a:moveTo>
                  <a:cubicBezTo>
                    <a:pt x="1746" y="48"/>
                    <a:pt x="1746" y="48"/>
                    <a:pt x="1746" y="48"/>
                  </a:cubicBezTo>
                  <a:cubicBezTo>
                    <a:pt x="1746" y="48"/>
                    <a:pt x="1746" y="48"/>
                    <a:pt x="1746" y="48"/>
                  </a:cubicBezTo>
                  <a:close/>
                  <a:moveTo>
                    <a:pt x="1572" y="11"/>
                  </a:moveTo>
                  <a:cubicBezTo>
                    <a:pt x="1572" y="11"/>
                    <a:pt x="1573" y="11"/>
                    <a:pt x="1573" y="11"/>
                  </a:cubicBezTo>
                  <a:cubicBezTo>
                    <a:pt x="1573" y="11"/>
                    <a:pt x="1573" y="11"/>
                    <a:pt x="1572" y="11"/>
                  </a:cubicBezTo>
                  <a:close/>
                  <a:moveTo>
                    <a:pt x="670" y="56"/>
                  </a:moveTo>
                  <a:cubicBezTo>
                    <a:pt x="670" y="56"/>
                    <a:pt x="670" y="56"/>
                    <a:pt x="671" y="56"/>
                  </a:cubicBezTo>
                  <a:cubicBezTo>
                    <a:pt x="671" y="56"/>
                    <a:pt x="671" y="56"/>
                    <a:pt x="670" y="56"/>
                  </a:cubicBezTo>
                  <a:close/>
                  <a:moveTo>
                    <a:pt x="1190" y="93"/>
                  </a:moveTo>
                  <a:cubicBezTo>
                    <a:pt x="1191" y="93"/>
                    <a:pt x="1191" y="93"/>
                    <a:pt x="1191" y="93"/>
                  </a:cubicBezTo>
                  <a:cubicBezTo>
                    <a:pt x="1191" y="93"/>
                    <a:pt x="1191" y="93"/>
                    <a:pt x="1190" y="93"/>
                  </a:cubicBezTo>
                  <a:close/>
                  <a:moveTo>
                    <a:pt x="1199" y="93"/>
                  </a:moveTo>
                  <a:cubicBezTo>
                    <a:pt x="1199" y="93"/>
                    <a:pt x="1199" y="93"/>
                    <a:pt x="1200" y="93"/>
                  </a:cubicBezTo>
                  <a:cubicBezTo>
                    <a:pt x="1199" y="93"/>
                    <a:pt x="1199" y="93"/>
                    <a:pt x="1199" y="93"/>
                  </a:cubicBezTo>
                  <a:close/>
                  <a:moveTo>
                    <a:pt x="1703" y="11"/>
                  </a:moveTo>
                  <a:cubicBezTo>
                    <a:pt x="1703" y="11"/>
                    <a:pt x="1703" y="11"/>
                    <a:pt x="1704" y="11"/>
                  </a:cubicBezTo>
                  <a:cubicBezTo>
                    <a:pt x="1703" y="11"/>
                    <a:pt x="1703" y="11"/>
                    <a:pt x="1703" y="11"/>
                  </a:cubicBezTo>
                  <a:close/>
                  <a:moveTo>
                    <a:pt x="1290" y="43"/>
                  </a:moveTo>
                  <a:cubicBezTo>
                    <a:pt x="1291" y="43"/>
                    <a:pt x="1291" y="42"/>
                    <a:pt x="1291" y="42"/>
                  </a:cubicBezTo>
                  <a:cubicBezTo>
                    <a:pt x="1290" y="42"/>
                    <a:pt x="1290" y="42"/>
                    <a:pt x="1290" y="43"/>
                  </a:cubicBezTo>
                  <a:close/>
                  <a:moveTo>
                    <a:pt x="1671" y="94"/>
                  </a:moveTo>
                  <a:cubicBezTo>
                    <a:pt x="1671" y="93"/>
                    <a:pt x="1671" y="93"/>
                    <a:pt x="1671" y="93"/>
                  </a:cubicBezTo>
                  <a:cubicBezTo>
                    <a:pt x="1671" y="93"/>
                    <a:pt x="1671" y="93"/>
                    <a:pt x="1671" y="94"/>
                  </a:cubicBezTo>
                  <a:close/>
                  <a:moveTo>
                    <a:pt x="1684" y="93"/>
                  </a:moveTo>
                  <a:cubicBezTo>
                    <a:pt x="1684" y="93"/>
                    <a:pt x="1684" y="93"/>
                    <a:pt x="1684" y="94"/>
                  </a:cubicBezTo>
                  <a:cubicBezTo>
                    <a:pt x="1684" y="93"/>
                    <a:pt x="1684" y="93"/>
                    <a:pt x="1684" y="93"/>
                  </a:cubicBezTo>
                  <a:close/>
                  <a:moveTo>
                    <a:pt x="615" y="94"/>
                  </a:moveTo>
                  <a:cubicBezTo>
                    <a:pt x="615" y="94"/>
                    <a:pt x="615" y="93"/>
                    <a:pt x="615" y="93"/>
                  </a:cubicBezTo>
                  <a:cubicBezTo>
                    <a:pt x="615" y="93"/>
                    <a:pt x="615" y="94"/>
                    <a:pt x="615" y="94"/>
                  </a:cubicBezTo>
                  <a:close/>
                  <a:moveTo>
                    <a:pt x="975" y="12"/>
                  </a:moveTo>
                  <a:cubicBezTo>
                    <a:pt x="975" y="12"/>
                    <a:pt x="975" y="12"/>
                    <a:pt x="975" y="11"/>
                  </a:cubicBezTo>
                  <a:cubicBezTo>
                    <a:pt x="975" y="11"/>
                    <a:pt x="975" y="11"/>
                    <a:pt x="975" y="12"/>
                  </a:cubicBezTo>
                  <a:close/>
                  <a:moveTo>
                    <a:pt x="1551" y="61"/>
                  </a:moveTo>
                  <a:cubicBezTo>
                    <a:pt x="1551" y="61"/>
                    <a:pt x="1552" y="61"/>
                    <a:pt x="1552" y="60"/>
                  </a:cubicBezTo>
                  <a:cubicBezTo>
                    <a:pt x="1551" y="60"/>
                    <a:pt x="1551" y="61"/>
                    <a:pt x="1551" y="61"/>
                  </a:cubicBezTo>
                  <a:close/>
                  <a:moveTo>
                    <a:pt x="596" y="43"/>
                  </a:moveTo>
                  <a:cubicBezTo>
                    <a:pt x="596" y="43"/>
                    <a:pt x="596" y="42"/>
                    <a:pt x="595" y="42"/>
                  </a:cubicBezTo>
                  <a:cubicBezTo>
                    <a:pt x="595" y="43"/>
                    <a:pt x="595" y="43"/>
                    <a:pt x="596" y="43"/>
                  </a:cubicBezTo>
                  <a:close/>
                  <a:moveTo>
                    <a:pt x="614" y="61"/>
                  </a:moveTo>
                  <a:cubicBezTo>
                    <a:pt x="614" y="61"/>
                    <a:pt x="614" y="61"/>
                    <a:pt x="614" y="62"/>
                  </a:cubicBezTo>
                  <a:cubicBezTo>
                    <a:pt x="614" y="61"/>
                    <a:pt x="614" y="61"/>
                    <a:pt x="614" y="61"/>
                  </a:cubicBezTo>
                  <a:close/>
                  <a:moveTo>
                    <a:pt x="1673" y="11"/>
                  </a:moveTo>
                  <a:cubicBezTo>
                    <a:pt x="1673" y="12"/>
                    <a:pt x="1673" y="12"/>
                    <a:pt x="1674" y="12"/>
                  </a:cubicBezTo>
                  <a:cubicBezTo>
                    <a:pt x="1673" y="11"/>
                    <a:pt x="1673" y="11"/>
                    <a:pt x="1673" y="11"/>
                  </a:cubicBezTo>
                  <a:close/>
                  <a:moveTo>
                    <a:pt x="676" y="61"/>
                  </a:moveTo>
                  <a:cubicBezTo>
                    <a:pt x="676" y="61"/>
                    <a:pt x="677" y="61"/>
                    <a:pt x="677" y="61"/>
                  </a:cubicBezTo>
                  <a:cubicBezTo>
                    <a:pt x="677" y="61"/>
                    <a:pt x="677" y="61"/>
                    <a:pt x="676" y="61"/>
                  </a:cubicBezTo>
                  <a:close/>
                  <a:moveTo>
                    <a:pt x="1393" y="49"/>
                  </a:moveTo>
                  <a:cubicBezTo>
                    <a:pt x="1393" y="49"/>
                    <a:pt x="1393" y="49"/>
                    <a:pt x="1393" y="49"/>
                  </a:cubicBezTo>
                  <a:cubicBezTo>
                    <a:pt x="1393" y="49"/>
                    <a:pt x="1393" y="49"/>
                    <a:pt x="1393" y="49"/>
                  </a:cubicBezTo>
                  <a:close/>
                  <a:moveTo>
                    <a:pt x="1291" y="52"/>
                  </a:moveTo>
                  <a:cubicBezTo>
                    <a:pt x="1291" y="52"/>
                    <a:pt x="1291" y="52"/>
                    <a:pt x="1291" y="52"/>
                  </a:cubicBezTo>
                  <a:cubicBezTo>
                    <a:pt x="1291" y="52"/>
                    <a:pt x="1291" y="52"/>
                    <a:pt x="1291" y="52"/>
                  </a:cubicBezTo>
                  <a:close/>
                  <a:moveTo>
                    <a:pt x="1176" y="94"/>
                  </a:moveTo>
                  <a:cubicBezTo>
                    <a:pt x="1176" y="94"/>
                    <a:pt x="1176" y="93"/>
                    <a:pt x="1176" y="93"/>
                  </a:cubicBezTo>
                  <a:cubicBezTo>
                    <a:pt x="1176" y="93"/>
                    <a:pt x="1176" y="94"/>
                    <a:pt x="1176" y="94"/>
                  </a:cubicBezTo>
                  <a:close/>
                  <a:moveTo>
                    <a:pt x="974" y="12"/>
                  </a:moveTo>
                  <a:cubicBezTo>
                    <a:pt x="974" y="12"/>
                    <a:pt x="975" y="12"/>
                    <a:pt x="975" y="12"/>
                  </a:cubicBezTo>
                  <a:cubicBezTo>
                    <a:pt x="974" y="12"/>
                    <a:pt x="974" y="12"/>
                    <a:pt x="974" y="12"/>
                  </a:cubicBezTo>
                  <a:close/>
                  <a:moveTo>
                    <a:pt x="1350" y="12"/>
                  </a:moveTo>
                  <a:cubicBezTo>
                    <a:pt x="1350" y="12"/>
                    <a:pt x="1350" y="12"/>
                    <a:pt x="1350" y="12"/>
                  </a:cubicBezTo>
                  <a:cubicBezTo>
                    <a:pt x="1350" y="12"/>
                    <a:pt x="1350" y="12"/>
                    <a:pt x="1350" y="12"/>
                  </a:cubicBezTo>
                  <a:close/>
                  <a:moveTo>
                    <a:pt x="603" y="62"/>
                  </a:moveTo>
                  <a:cubicBezTo>
                    <a:pt x="603" y="62"/>
                    <a:pt x="603" y="61"/>
                    <a:pt x="603" y="61"/>
                  </a:cubicBezTo>
                  <a:cubicBezTo>
                    <a:pt x="603" y="61"/>
                    <a:pt x="603" y="62"/>
                    <a:pt x="603" y="62"/>
                  </a:cubicBezTo>
                  <a:close/>
                  <a:moveTo>
                    <a:pt x="634" y="62"/>
                  </a:moveTo>
                  <a:cubicBezTo>
                    <a:pt x="635" y="62"/>
                    <a:pt x="635" y="61"/>
                    <a:pt x="635" y="61"/>
                  </a:cubicBezTo>
                  <a:cubicBezTo>
                    <a:pt x="634" y="61"/>
                    <a:pt x="634" y="62"/>
                    <a:pt x="634" y="62"/>
                  </a:cubicBezTo>
                  <a:close/>
                  <a:moveTo>
                    <a:pt x="677" y="61"/>
                  </a:moveTo>
                  <a:cubicBezTo>
                    <a:pt x="677" y="61"/>
                    <a:pt x="677" y="62"/>
                    <a:pt x="678" y="62"/>
                  </a:cubicBezTo>
                  <a:cubicBezTo>
                    <a:pt x="678" y="61"/>
                    <a:pt x="677" y="61"/>
                    <a:pt x="677" y="61"/>
                  </a:cubicBezTo>
                  <a:close/>
                  <a:moveTo>
                    <a:pt x="1461" y="93"/>
                  </a:moveTo>
                  <a:cubicBezTo>
                    <a:pt x="1460" y="93"/>
                    <a:pt x="1460" y="94"/>
                    <a:pt x="1460" y="94"/>
                  </a:cubicBezTo>
                  <a:cubicBezTo>
                    <a:pt x="1460" y="94"/>
                    <a:pt x="1461" y="93"/>
                    <a:pt x="1461" y="93"/>
                  </a:cubicBezTo>
                  <a:close/>
                  <a:moveTo>
                    <a:pt x="632" y="93"/>
                  </a:moveTo>
                  <a:cubicBezTo>
                    <a:pt x="632" y="94"/>
                    <a:pt x="632" y="94"/>
                    <a:pt x="632" y="94"/>
                  </a:cubicBezTo>
                  <a:cubicBezTo>
                    <a:pt x="632" y="94"/>
                    <a:pt x="632" y="94"/>
                    <a:pt x="632" y="93"/>
                  </a:cubicBezTo>
                  <a:close/>
                  <a:moveTo>
                    <a:pt x="1578" y="48"/>
                  </a:moveTo>
                  <a:cubicBezTo>
                    <a:pt x="1578" y="48"/>
                    <a:pt x="1578" y="48"/>
                    <a:pt x="1577" y="48"/>
                  </a:cubicBezTo>
                  <a:cubicBezTo>
                    <a:pt x="1578" y="48"/>
                    <a:pt x="1578" y="48"/>
                    <a:pt x="1578" y="48"/>
                  </a:cubicBezTo>
                  <a:close/>
                  <a:moveTo>
                    <a:pt x="697" y="94"/>
                  </a:moveTo>
                  <a:cubicBezTo>
                    <a:pt x="697" y="94"/>
                    <a:pt x="696" y="94"/>
                    <a:pt x="696" y="94"/>
                  </a:cubicBezTo>
                  <a:cubicBezTo>
                    <a:pt x="697" y="94"/>
                    <a:pt x="697" y="94"/>
                    <a:pt x="697" y="94"/>
                  </a:cubicBezTo>
                  <a:close/>
                  <a:moveTo>
                    <a:pt x="716" y="94"/>
                  </a:moveTo>
                  <a:cubicBezTo>
                    <a:pt x="716" y="94"/>
                    <a:pt x="716" y="94"/>
                    <a:pt x="716" y="93"/>
                  </a:cubicBezTo>
                  <a:cubicBezTo>
                    <a:pt x="716" y="94"/>
                    <a:pt x="716" y="94"/>
                    <a:pt x="716" y="94"/>
                  </a:cubicBezTo>
                  <a:close/>
                  <a:moveTo>
                    <a:pt x="1143" y="52"/>
                  </a:moveTo>
                  <a:cubicBezTo>
                    <a:pt x="1143" y="52"/>
                    <a:pt x="1143" y="52"/>
                    <a:pt x="1142" y="52"/>
                  </a:cubicBezTo>
                  <a:cubicBezTo>
                    <a:pt x="1142" y="52"/>
                    <a:pt x="1142" y="52"/>
                    <a:pt x="1143" y="52"/>
                  </a:cubicBezTo>
                  <a:close/>
                  <a:moveTo>
                    <a:pt x="1113" y="52"/>
                  </a:moveTo>
                  <a:cubicBezTo>
                    <a:pt x="1113" y="52"/>
                    <a:pt x="1112" y="52"/>
                    <a:pt x="1112" y="52"/>
                  </a:cubicBezTo>
                  <a:cubicBezTo>
                    <a:pt x="1113" y="52"/>
                    <a:pt x="1113" y="52"/>
                    <a:pt x="1113" y="52"/>
                  </a:cubicBezTo>
                  <a:close/>
                  <a:moveTo>
                    <a:pt x="598" y="49"/>
                  </a:moveTo>
                  <a:cubicBezTo>
                    <a:pt x="598" y="49"/>
                    <a:pt x="598" y="49"/>
                    <a:pt x="598" y="49"/>
                  </a:cubicBezTo>
                  <a:cubicBezTo>
                    <a:pt x="598" y="49"/>
                    <a:pt x="598" y="49"/>
                    <a:pt x="598" y="49"/>
                  </a:cubicBezTo>
                  <a:close/>
                  <a:moveTo>
                    <a:pt x="1496" y="12"/>
                  </a:moveTo>
                  <a:cubicBezTo>
                    <a:pt x="1496" y="12"/>
                    <a:pt x="1497" y="12"/>
                    <a:pt x="1497" y="12"/>
                  </a:cubicBezTo>
                  <a:cubicBezTo>
                    <a:pt x="1496" y="12"/>
                    <a:pt x="1496" y="12"/>
                    <a:pt x="1496" y="12"/>
                  </a:cubicBezTo>
                  <a:close/>
                  <a:moveTo>
                    <a:pt x="1674" y="12"/>
                  </a:moveTo>
                  <a:cubicBezTo>
                    <a:pt x="1674" y="12"/>
                    <a:pt x="1674" y="12"/>
                    <a:pt x="1674" y="12"/>
                  </a:cubicBezTo>
                  <a:cubicBezTo>
                    <a:pt x="1674" y="12"/>
                    <a:pt x="1674" y="12"/>
                    <a:pt x="1674" y="12"/>
                  </a:cubicBezTo>
                  <a:close/>
                  <a:moveTo>
                    <a:pt x="1209" y="55"/>
                  </a:moveTo>
                  <a:cubicBezTo>
                    <a:pt x="1209" y="55"/>
                    <a:pt x="1209" y="54"/>
                    <a:pt x="1209" y="54"/>
                  </a:cubicBezTo>
                  <a:cubicBezTo>
                    <a:pt x="1209" y="54"/>
                    <a:pt x="1209" y="55"/>
                    <a:pt x="1209" y="55"/>
                  </a:cubicBezTo>
                  <a:close/>
                  <a:moveTo>
                    <a:pt x="1671" y="94"/>
                  </a:moveTo>
                  <a:cubicBezTo>
                    <a:pt x="1672" y="94"/>
                    <a:pt x="1671" y="94"/>
                    <a:pt x="1671" y="94"/>
                  </a:cubicBezTo>
                  <a:cubicBezTo>
                    <a:pt x="1671" y="94"/>
                    <a:pt x="1671" y="94"/>
                    <a:pt x="1671" y="94"/>
                  </a:cubicBezTo>
                  <a:close/>
                  <a:moveTo>
                    <a:pt x="1684" y="94"/>
                  </a:moveTo>
                  <a:cubicBezTo>
                    <a:pt x="1684" y="94"/>
                    <a:pt x="1684" y="94"/>
                    <a:pt x="1685" y="94"/>
                  </a:cubicBezTo>
                  <a:cubicBezTo>
                    <a:pt x="1685" y="94"/>
                    <a:pt x="1685" y="94"/>
                    <a:pt x="1684" y="94"/>
                  </a:cubicBezTo>
                  <a:close/>
                  <a:moveTo>
                    <a:pt x="616" y="95"/>
                  </a:moveTo>
                  <a:cubicBezTo>
                    <a:pt x="616" y="94"/>
                    <a:pt x="616" y="94"/>
                    <a:pt x="615" y="94"/>
                  </a:cubicBezTo>
                  <a:cubicBezTo>
                    <a:pt x="615" y="94"/>
                    <a:pt x="615" y="94"/>
                    <a:pt x="616" y="95"/>
                  </a:cubicBezTo>
                  <a:close/>
                  <a:moveTo>
                    <a:pt x="632" y="94"/>
                  </a:moveTo>
                  <a:cubicBezTo>
                    <a:pt x="632" y="94"/>
                    <a:pt x="632" y="95"/>
                    <a:pt x="632" y="95"/>
                  </a:cubicBezTo>
                  <a:cubicBezTo>
                    <a:pt x="632" y="95"/>
                    <a:pt x="632" y="94"/>
                    <a:pt x="632" y="94"/>
                  </a:cubicBezTo>
                  <a:close/>
                  <a:moveTo>
                    <a:pt x="717" y="95"/>
                  </a:moveTo>
                  <a:cubicBezTo>
                    <a:pt x="717" y="95"/>
                    <a:pt x="717" y="94"/>
                    <a:pt x="716" y="94"/>
                  </a:cubicBezTo>
                  <a:cubicBezTo>
                    <a:pt x="716" y="94"/>
                    <a:pt x="716" y="95"/>
                    <a:pt x="717" y="95"/>
                  </a:cubicBezTo>
                  <a:close/>
                  <a:moveTo>
                    <a:pt x="1177" y="95"/>
                  </a:moveTo>
                  <a:cubicBezTo>
                    <a:pt x="1177" y="95"/>
                    <a:pt x="1177" y="94"/>
                    <a:pt x="1176" y="94"/>
                  </a:cubicBezTo>
                  <a:cubicBezTo>
                    <a:pt x="1176" y="94"/>
                    <a:pt x="1176" y="95"/>
                    <a:pt x="1177" y="95"/>
                  </a:cubicBezTo>
                  <a:close/>
                  <a:moveTo>
                    <a:pt x="866" y="42"/>
                  </a:moveTo>
                  <a:cubicBezTo>
                    <a:pt x="866" y="43"/>
                    <a:pt x="866" y="43"/>
                    <a:pt x="867" y="43"/>
                  </a:cubicBezTo>
                  <a:cubicBezTo>
                    <a:pt x="867" y="43"/>
                    <a:pt x="867" y="42"/>
                    <a:pt x="866" y="42"/>
                  </a:cubicBezTo>
                  <a:close/>
                  <a:moveTo>
                    <a:pt x="1685" y="94"/>
                  </a:moveTo>
                  <a:cubicBezTo>
                    <a:pt x="1685" y="95"/>
                    <a:pt x="1685" y="95"/>
                    <a:pt x="1685" y="95"/>
                  </a:cubicBezTo>
                  <a:cubicBezTo>
                    <a:pt x="1685" y="95"/>
                    <a:pt x="1685" y="94"/>
                    <a:pt x="1685" y="94"/>
                  </a:cubicBezTo>
                  <a:close/>
                  <a:moveTo>
                    <a:pt x="968" y="95"/>
                  </a:moveTo>
                  <a:cubicBezTo>
                    <a:pt x="968" y="95"/>
                    <a:pt x="968" y="95"/>
                    <a:pt x="967" y="94"/>
                  </a:cubicBezTo>
                  <a:cubicBezTo>
                    <a:pt x="967" y="95"/>
                    <a:pt x="968" y="95"/>
                    <a:pt x="968" y="95"/>
                  </a:cubicBezTo>
                  <a:close/>
                  <a:moveTo>
                    <a:pt x="1672" y="95"/>
                  </a:moveTo>
                  <a:cubicBezTo>
                    <a:pt x="1672" y="95"/>
                    <a:pt x="1672" y="95"/>
                    <a:pt x="1672" y="94"/>
                  </a:cubicBezTo>
                  <a:cubicBezTo>
                    <a:pt x="1672" y="95"/>
                    <a:pt x="1672" y="95"/>
                    <a:pt x="1672" y="95"/>
                  </a:cubicBezTo>
                  <a:close/>
                  <a:moveTo>
                    <a:pt x="616" y="96"/>
                  </a:moveTo>
                  <a:cubicBezTo>
                    <a:pt x="616" y="95"/>
                    <a:pt x="616" y="95"/>
                    <a:pt x="616" y="95"/>
                  </a:cubicBezTo>
                  <a:cubicBezTo>
                    <a:pt x="616" y="95"/>
                    <a:pt x="616" y="95"/>
                    <a:pt x="616" y="96"/>
                  </a:cubicBezTo>
                  <a:close/>
                  <a:moveTo>
                    <a:pt x="873" y="52"/>
                  </a:moveTo>
                  <a:cubicBezTo>
                    <a:pt x="872" y="53"/>
                    <a:pt x="872" y="53"/>
                    <a:pt x="872" y="53"/>
                  </a:cubicBezTo>
                  <a:cubicBezTo>
                    <a:pt x="873" y="53"/>
                    <a:pt x="873" y="53"/>
                    <a:pt x="873" y="52"/>
                  </a:cubicBezTo>
                  <a:close/>
                  <a:moveTo>
                    <a:pt x="717" y="96"/>
                  </a:moveTo>
                  <a:cubicBezTo>
                    <a:pt x="717" y="95"/>
                    <a:pt x="717" y="95"/>
                    <a:pt x="717" y="95"/>
                  </a:cubicBezTo>
                  <a:cubicBezTo>
                    <a:pt x="717" y="95"/>
                    <a:pt x="717" y="95"/>
                    <a:pt x="717" y="96"/>
                  </a:cubicBezTo>
                  <a:close/>
                  <a:moveTo>
                    <a:pt x="1177" y="96"/>
                  </a:moveTo>
                  <a:cubicBezTo>
                    <a:pt x="1177" y="95"/>
                    <a:pt x="1177" y="95"/>
                    <a:pt x="1177" y="95"/>
                  </a:cubicBezTo>
                  <a:cubicBezTo>
                    <a:pt x="1177" y="95"/>
                    <a:pt x="1177" y="95"/>
                    <a:pt x="1177" y="96"/>
                  </a:cubicBezTo>
                  <a:close/>
                  <a:moveTo>
                    <a:pt x="632" y="95"/>
                  </a:moveTo>
                  <a:cubicBezTo>
                    <a:pt x="631" y="95"/>
                    <a:pt x="631" y="96"/>
                    <a:pt x="631" y="96"/>
                  </a:cubicBezTo>
                  <a:cubicBezTo>
                    <a:pt x="632" y="96"/>
                    <a:pt x="632" y="95"/>
                    <a:pt x="632" y="95"/>
                  </a:cubicBezTo>
                  <a:close/>
                  <a:moveTo>
                    <a:pt x="883" y="42"/>
                  </a:moveTo>
                  <a:cubicBezTo>
                    <a:pt x="883" y="42"/>
                    <a:pt x="883" y="42"/>
                    <a:pt x="883" y="43"/>
                  </a:cubicBezTo>
                  <a:cubicBezTo>
                    <a:pt x="883" y="43"/>
                    <a:pt x="883" y="43"/>
                    <a:pt x="883" y="42"/>
                  </a:cubicBezTo>
                  <a:close/>
                  <a:moveTo>
                    <a:pt x="1672" y="96"/>
                  </a:moveTo>
                  <a:cubicBezTo>
                    <a:pt x="1672" y="96"/>
                    <a:pt x="1672" y="95"/>
                    <a:pt x="1672" y="95"/>
                  </a:cubicBezTo>
                  <a:cubicBezTo>
                    <a:pt x="1672" y="96"/>
                    <a:pt x="1672" y="96"/>
                    <a:pt x="1672" y="96"/>
                  </a:cubicBezTo>
                  <a:close/>
                  <a:moveTo>
                    <a:pt x="1495" y="12"/>
                  </a:moveTo>
                  <a:cubicBezTo>
                    <a:pt x="1496" y="12"/>
                    <a:pt x="1496" y="12"/>
                    <a:pt x="1496" y="12"/>
                  </a:cubicBezTo>
                  <a:cubicBezTo>
                    <a:pt x="1496" y="12"/>
                    <a:pt x="1496" y="12"/>
                    <a:pt x="1495" y="12"/>
                  </a:cubicBezTo>
                  <a:close/>
                  <a:moveTo>
                    <a:pt x="717" y="96"/>
                  </a:moveTo>
                  <a:cubicBezTo>
                    <a:pt x="717" y="96"/>
                    <a:pt x="717" y="96"/>
                    <a:pt x="717" y="96"/>
                  </a:cubicBezTo>
                  <a:cubicBezTo>
                    <a:pt x="717" y="96"/>
                    <a:pt x="717" y="96"/>
                    <a:pt x="717" y="96"/>
                  </a:cubicBezTo>
                  <a:close/>
                  <a:moveTo>
                    <a:pt x="631" y="96"/>
                  </a:moveTo>
                  <a:cubicBezTo>
                    <a:pt x="631" y="96"/>
                    <a:pt x="631" y="96"/>
                    <a:pt x="631" y="97"/>
                  </a:cubicBezTo>
                  <a:cubicBezTo>
                    <a:pt x="631" y="96"/>
                    <a:pt x="631" y="96"/>
                    <a:pt x="631" y="96"/>
                  </a:cubicBezTo>
                  <a:close/>
                  <a:moveTo>
                    <a:pt x="1533" y="13"/>
                  </a:moveTo>
                  <a:cubicBezTo>
                    <a:pt x="1534" y="12"/>
                    <a:pt x="1534" y="12"/>
                    <a:pt x="1534" y="12"/>
                  </a:cubicBezTo>
                  <a:cubicBezTo>
                    <a:pt x="1534" y="12"/>
                    <a:pt x="1533" y="12"/>
                    <a:pt x="1533" y="13"/>
                  </a:cubicBezTo>
                  <a:close/>
                  <a:moveTo>
                    <a:pt x="1178" y="97"/>
                  </a:moveTo>
                  <a:cubicBezTo>
                    <a:pt x="1178" y="96"/>
                    <a:pt x="1177" y="96"/>
                    <a:pt x="1177" y="96"/>
                  </a:cubicBezTo>
                  <a:cubicBezTo>
                    <a:pt x="1177" y="96"/>
                    <a:pt x="1177" y="97"/>
                    <a:pt x="1178" y="97"/>
                  </a:cubicBezTo>
                  <a:close/>
                  <a:moveTo>
                    <a:pt x="1673" y="97"/>
                  </a:moveTo>
                  <a:cubicBezTo>
                    <a:pt x="1673" y="96"/>
                    <a:pt x="1672" y="96"/>
                    <a:pt x="1672" y="96"/>
                  </a:cubicBezTo>
                  <a:cubicBezTo>
                    <a:pt x="1672" y="96"/>
                    <a:pt x="1672" y="96"/>
                    <a:pt x="1673" y="97"/>
                  </a:cubicBezTo>
                  <a:close/>
                  <a:moveTo>
                    <a:pt x="1685" y="96"/>
                  </a:moveTo>
                  <a:cubicBezTo>
                    <a:pt x="1685" y="96"/>
                    <a:pt x="1686" y="96"/>
                    <a:pt x="1686" y="97"/>
                  </a:cubicBezTo>
                  <a:cubicBezTo>
                    <a:pt x="1686" y="96"/>
                    <a:pt x="1686" y="96"/>
                    <a:pt x="1685" y="96"/>
                  </a:cubicBezTo>
                  <a:close/>
                  <a:moveTo>
                    <a:pt x="581" y="96"/>
                  </a:moveTo>
                  <a:cubicBezTo>
                    <a:pt x="581" y="96"/>
                    <a:pt x="581" y="96"/>
                    <a:pt x="581" y="97"/>
                  </a:cubicBezTo>
                  <a:cubicBezTo>
                    <a:pt x="581" y="97"/>
                    <a:pt x="581" y="97"/>
                    <a:pt x="581" y="96"/>
                  </a:cubicBezTo>
                  <a:close/>
                  <a:moveTo>
                    <a:pt x="765" y="35"/>
                  </a:moveTo>
                  <a:cubicBezTo>
                    <a:pt x="765" y="35"/>
                    <a:pt x="766" y="35"/>
                    <a:pt x="766" y="35"/>
                  </a:cubicBezTo>
                  <a:cubicBezTo>
                    <a:pt x="766" y="35"/>
                    <a:pt x="765" y="35"/>
                    <a:pt x="765" y="35"/>
                  </a:cubicBezTo>
                  <a:close/>
                  <a:moveTo>
                    <a:pt x="678" y="62"/>
                  </a:moveTo>
                  <a:cubicBezTo>
                    <a:pt x="678" y="62"/>
                    <a:pt x="678" y="62"/>
                    <a:pt x="678" y="62"/>
                  </a:cubicBezTo>
                  <a:cubicBezTo>
                    <a:pt x="678" y="62"/>
                    <a:pt x="678" y="61"/>
                    <a:pt x="678" y="62"/>
                  </a:cubicBezTo>
                  <a:close/>
                  <a:moveTo>
                    <a:pt x="617" y="97"/>
                  </a:moveTo>
                  <a:cubicBezTo>
                    <a:pt x="617" y="97"/>
                    <a:pt x="617" y="97"/>
                    <a:pt x="616" y="97"/>
                  </a:cubicBezTo>
                  <a:cubicBezTo>
                    <a:pt x="616" y="97"/>
                    <a:pt x="616" y="97"/>
                    <a:pt x="617" y="97"/>
                  </a:cubicBezTo>
                  <a:close/>
                  <a:moveTo>
                    <a:pt x="1151" y="42"/>
                  </a:moveTo>
                  <a:cubicBezTo>
                    <a:pt x="1151" y="43"/>
                    <a:pt x="1151" y="43"/>
                    <a:pt x="1151" y="43"/>
                  </a:cubicBezTo>
                  <a:cubicBezTo>
                    <a:pt x="1151" y="43"/>
                    <a:pt x="1151" y="42"/>
                    <a:pt x="1151" y="42"/>
                  </a:cubicBezTo>
                  <a:close/>
                  <a:moveTo>
                    <a:pt x="971" y="97"/>
                  </a:moveTo>
                  <a:cubicBezTo>
                    <a:pt x="971" y="97"/>
                    <a:pt x="971" y="97"/>
                    <a:pt x="970" y="97"/>
                  </a:cubicBezTo>
                  <a:cubicBezTo>
                    <a:pt x="971" y="97"/>
                    <a:pt x="971" y="97"/>
                    <a:pt x="971" y="97"/>
                  </a:cubicBezTo>
                  <a:close/>
                  <a:moveTo>
                    <a:pt x="564" y="49"/>
                  </a:moveTo>
                  <a:cubicBezTo>
                    <a:pt x="564" y="49"/>
                    <a:pt x="564" y="49"/>
                    <a:pt x="565" y="49"/>
                  </a:cubicBezTo>
                  <a:cubicBezTo>
                    <a:pt x="564" y="49"/>
                    <a:pt x="564" y="49"/>
                    <a:pt x="564" y="49"/>
                  </a:cubicBezTo>
                  <a:close/>
                  <a:moveTo>
                    <a:pt x="1686" y="97"/>
                  </a:moveTo>
                  <a:cubicBezTo>
                    <a:pt x="1686" y="97"/>
                    <a:pt x="1686" y="97"/>
                    <a:pt x="1686" y="97"/>
                  </a:cubicBezTo>
                  <a:cubicBezTo>
                    <a:pt x="1686" y="97"/>
                    <a:pt x="1686" y="97"/>
                    <a:pt x="1686" y="97"/>
                  </a:cubicBezTo>
                  <a:close/>
                  <a:moveTo>
                    <a:pt x="631" y="97"/>
                  </a:moveTo>
                  <a:cubicBezTo>
                    <a:pt x="631" y="97"/>
                    <a:pt x="631" y="97"/>
                    <a:pt x="631" y="98"/>
                  </a:cubicBezTo>
                  <a:cubicBezTo>
                    <a:pt x="631" y="97"/>
                    <a:pt x="631" y="97"/>
                    <a:pt x="631" y="97"/>
                  </a:cubicBezTo>
                  <a:close/>
                  <a:moveTo>
                    <a:pt x="1112" y="54"/>
                  </a:moveTo>
                  <a:cubicBezTo>
                    <a:pt x="1111" y="54"/>
                    <a:pt x="1111" y="55"/>
                    <a:pt x="1111" y="55"/>
                  </a:cubicBezTo>
                  <a:cubicBezTo>
                    <a:pt x="1112" y="55"/>
                    <a:pt x="1112" y="54"/>
                    <a:pt x="1112" y="54"/>
                  </a:cubicBezTo>
                  <a:close/>
                  <a:moveTo>
                    <a:pt x="1178" y="98"/>
                  </a:moveTo>
                  <a:cubicBezTo>
                    <a:pt x="1178" y="97"/>
                    <a:pt x="1178" y="97"/>
                    <a:pt x="1178" y="97"/>
                  </a:cubicBezTo>
                  <a:cubicBezTo>
                    <a:pt x="1178" y="97"/>
                    <a:pt x="1178" y="98"/>
                    <a:pt x="1178" y="98"/>
                  </a:cubicBezTo>
                  <a:close/>
                  <a:moveTo>
                    <a:pt x="1261" y="97"/>
                  </a:moveTo>
                  <a:cubicBezTo>
                    <a:pt x="1260" y="97"/>
                    <a:pt x="1260" y="97"/>
                    <a:pt x="1260" y="97"/>
                  </a:cubicBezTo>
                  <a:cubicBezTo>
                    <a:pt x="1260" y="97"/>
                    <a:pt x="1261" y="97"/>
                    <a:pt x="1261" y="97"/>
                  </a:cubicBezTo>
                  <a:close/>
                  <a:moveTo>
                    <a:pt x="603" y="63"/>
                  </a:moveTo>
                  <a:cubicBezTo>
                    <a:pt x="603" y="62"/>
                    <a:pt x="603" y="62"/>
                    <a:pt x="603" y="62"/>
                  </a:cubicBezTo>
                  <a:cubicBezTo>
                    <a:pt x="603" y="62"/>
                    <a:pt x="603" y="62"/>
                    <a:pt x="603" y="63"/>
                  </a:cubicBezTo>
                  <a:close/>
                  <a:moveTo>
                    <a:pt x="1673" y="98"/>
                  </a:moveTo>
                  <a:cubicBezTo>
                    <a:pt x="1673" y="97"/>
                    <a:pt x="1673" y="97"/>
                    <a:pt x="1673" y="97"/>
                  </a:cubicBezTo>
                  <a:cubicBezTo>
                    <a:pt x="1673" y="97"/>
                    <a:pt x="1673" y="97"/>
                    <a:pt x="1673" y="98"/>
                  </a:cubicBezTo>
                  <a:close/>
                  <a:moveTo>
                    <a:pt x="580" y="97"/>
                  </a:moveTo>
                  <a:cubicBezTo>
                    <a:pt x="580" y="97"/>
                    <a:pt x="579" y="97"/>
                    <a:pt x="579" y="98"/>
                  </a:cubicBezTo>
                  <a:cubicBezTo>
                    <a:pt x="580" y="98"/>
                    <a:pt x="580" y="98"/>
                    <a:pt x="580" y="97"/>
                  </a:cubicBezTo>
                  <a:close/>
                  <a:moveTo>
                    <a:pt x="1702" y="12"/>
                  </a:moveTo>
                  <a:cubicBezTo>
                    <a:pt x="1702" y="12"/>
                    <a:pt x="1702" y="12"/>
                    <a:pt x="1702" y="12"/>
                  </a:cubicBezTo>
                  <a:cubicBezTo>
                    <a:pt x="1702" y="12"/>
                    <a:pt x="1702" y="12"/>
                    <a:pt x="1702" y="12"/>
                  </a:cubicBezTo>
                  <a:close/>
                  <a:moveTo>
                    <a:pt x="972" y="98"/>
                  </a:moveTo>
                  <a:cubicBezTo>
                    <a:pt x="972" y="97"/>
                    <a:pt x="972" y="97"/>
                    <a:pt x="972" y="97"/>
                  </a:cubicBezTo>
                  <a:cubicBezTo>
                    <a:pt x="972" y="98"/>
                    <a:pt x="972" y="98"/>
                    <a:pt x="972" y="98"/>
                  </a:cubicBezTo>
                  <a:close/>
                  <a:moveTo>
                    <a:pt x="1082" y="97"/>
                  </a:moveTo>
                  <a:cubicBezTo>
                    <a:pt x="1082" y="97"/>
                    <a:pt x="1082" y="97"/>
                    <a:pt x="1082" y="98"/>
                  </a:cubicBezTo>
                  <a:cubicBezTo>
                    <a:pt x="1082" y="98"/>
                    <a:pt x="1082" y="98"/>
                    <a:pt x="1082" y="97"/>
                  </a:cubicBezTo>
                  <a:close/>
                  <a:moveTo>
                    <a:pt x="614" y="62"/>
                  </a:moveTo>
                  <a:cubicBezTo>
                    <a:pt x="614" y="62"/>
                    <a:pt x="614" y="62"/>
                    <a:pt x="614" y="63"/>
                  </a:cubicBezTo>
                  <a:cubicBezTo>
                    <a:pt x="614" y="62"/>
                    <a:pt x="614" y="62"/>
                    <a:pt x="614" y="62"/>
                  </a:cubicBezTo>
                  <a:close/>
                  <a:moveTo>
                    <a:pt x="1686" y="97"/>
                  </a:moveTo>
                  <a:cubicBezTo>
                    <a:pt x="1686" y="98"/>
                    <a:pt x="1686" y="98"/>
                    <a:pt x="1686" y="98"/>
                  </a:cubicBezTo>
                  <a:cubicBezTo>
                    <a:pt x="1686" y="98"/>
                    <a:pt x="1686" y="97"/>
                    <a:pt x="1686" y="97"/>
                  </a:cubicBezTo>
                  <a:close/>
                  <a:moveTo>
                    <a:pt x="631" y="98"/>
                  </a:moveTo>
                  <a:cubicBezTo>
                    <a:pt x="630" y="98"/>
                    <a:pt x="630" y="98"/>
                    <a:pt x="630" y="98"/>
                  </a:cubicBezTo>
                  <a:cubicBezTo>
                    <a:pt x="631" y="98"/>
                    <a:pt x="631" y="98"/>
                    <a:pt x="631" y="98"/>
                  </a:cubicBezTo>
                  <a:close/>
                  <a:moveTo>
                    <a:pt x="800" y="98"/>
                  </a:moveTo>
                  <a:cubicBezTo>
                    <a:pt x="800" y="98"/>
                    <a:pt x="799" y="98"/>
                    <a:pt x="799" y="98"/>
                  </a:cubicBezTo>
                  <a:cubicBezTo>
                    <a:pt x="799" y="98"/>
                    <a:pt x="800" y="98"/>
                    <a:pt x="800" y="98"/>
                  </a:cubicBezTo>
                  <a:close/>
                  <a:moveTo>
                    <a:pt x="973" y="98"/>
                  </a:moveTo>
                  <a:cubicBezTo>
                    <a:pt x="973" y="98"/>
                    <a:pt x="973" y="98"/>
                    <a:pt x="972" y="98"/>
                  </a:cubicBezTo>
                  <a:cubicBezTo>
                    <a:pt x="972" y="98"/>
                    <a:pt x="973" y="98"/>
                    <a:pt x="973" y="98"/>
                  </a:cubicBezTo>
                  <a:close/>
                  <a:moveTo>
                    <a:pt x="1042" y="98"/>
                  </a:moveTo>
                  <a:cubicBezTo>
                    <a:pt x="1042" y="98"/>
                    <a:pt x="1041" y="98"/>
                    <a:pt x="1041" y="98"/>
                  </a:cubicBezTo>
                  <a:cubicBezTo>
                    <a:pt x="1041" y="98"/>
                    <a:pt x="1041" y="98"/>
                    <a:pt x="1042" y="98"/>
                  </a:cubicBezTo>
                  <a:close/>
                  <a:moveTo>
                    <a:pt x="1082" y="98"/>
                  </a:moveTo>
                  <a:cubicBezTo>
                    <a:pt x="1082" y="98"/>
                    <a:pt x="1081" y="98"/>
                    <a:pt x="1081" y="98"/>
                  </a:cubicBezTo>
                  <a:cubicBezTo>
                    <a:pt x="1081" y="98"/>
                    <a:pt x="1082" y="98"/>
                    <a:pt x="1082" y="98"/>
                  </a:cubicBezTo>
                  <a:close/>
                  <a:moveTo>
                    <a:pt x="1260" y="98"/>
                  </a:moveTo>
                  <a:cubicBezTo>
                    <a:pt x="1259" y="98"/>
                    <a:pt x="1259" y="98"/>
                    <a:pt x="1259" y="98"/>
                  </a:cubicBezTo>
                  <a:cubicBezTo>
                    <a:pt x="1259" y="98"/>
                    <a:pt x="1260" y="98"/>
                    <a:pt x="1260" y="98"/>
                  </a:cubicBezTo>
                  <a:close/>
                  <a:moveTo>
                    <a:pt x="1673" y="98"/>
                  </a:moveTo>
                  <a:cubicBezTo>
                    <a:pt x="1673" y="98"/>
                    <a:pt x="1673" y="98"/>
                    <a:pt x="1673" y="98"/>
                  </a:cubicBezTo>
                  <a:cubicBezTo>
                    <a:pt x="1673" y="98"/>
                    <a:pt x="1673" y="98"/>
                    <a:pt x="1673" y="98"/>
                  </a:cubicBezTo>
                  <a:close/>
                  <a:moveTo>
                    <a:pt x="579" y="98"/>
                  </a:moveTo>
                  <a:cubicBezTo>
                    <a:pt x="579" y="98"/>
                    <a:pt x="578" y="98"/>
                    <a:pt x="578" y="98"/>
                  </a:cubicBezTo>
                  <a:cubicBezTo>
                    <a:pt x="578" y="98"/>
                    <a:pt x="579" y="98"/>
                    <a:pt x="579" y="98"/>
                  </a:cubicBezTo>
                  <a:close/>
                  <a:moveTo>
                    <a:pt x="1384" y="43"/>
                  </a:moveTo>
                  <a:cubicBezTo>
                    <a:pt x="1384" y="43"/>
                    <a:pt x="1384" y="43"/>
                    <a:pt x="1384" y="42"/>
                  </a:cubicBezTo>
                  <a:cubicBezTo>
                    <a:pt x="1384" y="43"/>
                    <a:pt x="1384" y="43"/>
                    <a:pt x="1384" y="43"/>
                  </a:cubicBezTo>
                  <a:close/>
                  <a:moveTo>
                    <a:pt x="645" y="62"/>
                  </a:moveTo>
                  <a:cubicBezTo>
                    <a:pt x="645" y="62"/>
                    <a:pt x="645" y="62"/>
                    <a:pt x="645" y="63"/>
                  </a:cubicBezTo>
                  <a:cubicBezTo>
                    <a:pt x="645" y="62"/>
                    <a:pt x="645" y="62"/>
                    <a:pt x="645" y="62"/>
                  </a:cubicBezTo>
                  <a:close/>
                  <a:moveTo>
                    <a:pt x="799" y="98"/>
                  </a:moveTo>
                  <a:cubicBezTo>
                    <a:pt x="799" y="98"/>
                    <a:pt x="799" y="98"/>
                    <a:pt x="799" y="98"/>
                  </a:cubicBezTo>
                  <a:cubicBezTo>
                    <a:pt x="799" y="98"/>
                    <a:pt x="799" y="98"/>
                    <a:pt x="799" y="98"/>
                  </a:cubicBezTo>
                  <a:close/>
                  <a:moveTo>
                    <a:pt x="974" y="98"/>
                  </a:moveTo>
                  <a:cubicBezTo>
                    <a:pt x="973" y="98"/>
                    <a:pt x="973" y="98"/>
                    <a:pt x="973" y="98"/>
                  </a:cubicBezTo>
                  <a:cubicBezTo>
                    <a:pt x="973" y="98"/>
                    <a:pt x="973" y="98"/>
                    <a:pt x="974" y="98"/>
                  </a:cubicBezTo>
                  <a:close/>
                  <a:moveTo>
                    <a:pt x="1220" y="98"/>
                  </a:moveTo>
                  <a:cubicBezTo>
                    <a:pt x="1220" y="98"/>
                    <a:pt x="1220" y="98"/>
                    <a:pt x="1219" y="98"/>
                  </a:cubicBezTo>
                  <a:cubicBezTo>
                    <a:pt x="1219" y="98"/>
                    <a:pt x="1220" y="98"/>
                    <a:pt x="1220" y="98"/>
                  </a:cubicBezTo>
                  <a:close/>
                  <a:moveTo>
                    <a:pt x="1686" y="98"/>
                  </a:moveTo>
                  <a:cubicBezTo>
                    <a:pt x="1686" y="98"/>
                    <a:pt x="1687" y="99"/>
                    <a:pt x="1687" y="99"/>
                  </a:cubicBezTo>
                  <a:cubicBezTo>
                    <a:pt x="1687" y="98"/>
                    <a:pt x="1687" y="98"/>
                    <a:pt x="1686" y="98"/>
                  </a:cubicBezTo>
                  <a:close/>
                  <a:moveTo>
                    <a:pt x="617" y="99"/>
                  </a:moveTo>
                  <a:cubicBezTo>
                    <a:pt x="617" y="99"/>
                    <a:pt x="617" y="99"/>
                    <a:pt x="617" y="98"/>
                  </a:cubicBezTo>
                  <a:cubicBezTo>
                    <a:pt x="617" y="99"/>
                    <a:pt x="617" y="99"/>
                    <a:pt x="617" y="99"/>
                  </a:cubicBezTo>
                  <a:close/>
                  <a:moveTo>
                    <a:pt x="692" y="98"/>
                  </a:moveTo>
                  <a:cubicBezTo>
                    <a:pt x="692" y="98"/>
                    <a:pt x="692" y="98"/>
                    <a:pt x="692" y="99"/>
                  </a:cubicBezTo>
                  <a:cubicBezTo>
                    <a:pt x="692" y="99"/>
                    <a:pt x="692" y="99"/>
                    <a:pt x="692" y="98"/>
                  </a:cubicBezTo>
                  <a:close/>
                  <a:moveTo>
                    <a:pt x="974" y="99"/>
                  </a:moveTo>
                  <a:cubicBezTo>
                    <a:pt x="974" y="98"/>
                    <a:pt x="974" y="98"/>
                    <a:pt x="974" y="98"/>
                  </a:cubicBezTo>
                  <a:cubicBezTo>
                    <a:pt x="974" y="99"/>
                    <a:pt x="974" y="99"/>
                    <a:pt x="974" y="99"/>
                  </a:cubicBezTo>
                  <a:close/>
                  <a:moveTo>
                    <a:pt x="1043" y="99"/>
                  </a:moveTo>
                  <a:cubicBezTo>
                    <a:pt x="1043" y="99"/>
                    <a:pt x="1042" y="98"/>
                    <a:pt x="1042" y="98"/>
                  </a:cubicBezTo>
                  <a:cubicBezTo>
                    <a:pt x="1042" y="99"/>
                    <a:pt x="1043" y="99"/>
                    <a:pt x="1043" y="99"/>
                  </a:cubicBezTo>
                  <a:close/>
                  <a:moveTo>
                    <a:pt x="1081" y="98"/>
                  </a:moveTo>
                  <a:cubicBezTo>
                    <a:pt x="1080" y="98"/>
                    <a:pt x="1080" y="98"/>
                    <a:pt x="1080" y="99"/>
                  </a:cubicBezTo>
                  <a:cubicBezTo>
                    <a:pt x="1080" y="99"/>
                    <a:pt x="1081" y="99"/>
                    <a:pt x="1081" y="98"/>
                  </a:cubicBezTo>
                  <a:close/>
                  <a:moveTo>
                    <a:pt x="1259" y="98"/>
                  </a:moveTo>
                  <a:cubicBezTo>
                    <a:pt x="1258" y="98"/>
                    <a:pt x="1258" y="98"/>
                    <a:pt x="1258" y="99"/>
                  </a:cubicBezTo>
                  <a:cubicBezTo>
                    <a:pt x="1258" y="99"/>
                    <a:pt x="1259" y="99"/>
                    <a:pt x="1259" y="98"/>
                  </a:cubicBezTo>
                  <a:close/>
                  <a:moveTo>
                    <a:pt x="661" y="62"/>
                  </a:moveTo>
                  <a:cubicBezTo>
                    <a:pt x="661" y="62"/>
                    <a:pt x="661" y="62"/>
                    <a:pt x="661" y="62"/>
                  </a:cubicBezTo>
                  <a:cubicBezTo>
                    <a:pt x="661" y="62"/>
                    <a:pt x="661" y="62"/>
                    <a:pt x="661" y="62"/>
                  </a:cubicBezTo>
                  <a:close/>
                  <a:moveTo>
                    <a:pt x="1455" y="98"/>
                  </a:moveTo>
                  <a:cubicBezTo>
                    <a:pt x="1455" y="98"/>
                    <a:pt x="1455" y="98"/>
                    <a:pt x="1455" y="99"/>
                  </a:cubicBezTo>
                  <a:cubicBezTo>
                    <a:pt x="1455" y="99"/>
                    <a:pt x="1455" y="99"/>
                    <a:pt x="1455" y="98"/>
                  </a:cubicBezTo>
                  <a:close/>
                  <a:moveTo>
                    <a:pt x="1674" y="99"/>
                  </a:moveTo>
                  <a:cubicBezTo>
                    <a:pt x="1674" y="99"/>
                    <a:pt x="1674" y="99"/>
                    <a:pt x="1673" y="98"/>
                  </a:cubicBezTo>
                  <a:cubicBezTo>
                    <a:pt x="1673" y="99"/>
                    <a:pt x="1673" y="99"/>
                    <a:pt x="1674" y="99"/>
                  </a:cubicBezTo>
                  <a:close/>
                  <a:moveTo>
                    <a:pt x="578" y="99"/>
                  </a:moveTo>
                  <a:cubicBezTo>
                    <a:pt x="577" y="99"/>
                    <a:pt x="577" y="99"/>
                    <a:pt x="577" y="99"/>
                  </a:cubicBezTo>
                  <a:cubicBezTo>
                    <a:pt x="577" y="99"/>
                    <a:pt x="578" y="99"/>
                    <a:pt x="578" y="99"/>
                  </a:cubicBezTo>
                  <a:close/>
                  <a:moveTo>
                    <a:pt x="630" y="99"/>
                  </a:moveTo>
                  <a:cubicBezTo>
                    <a:pt x="630" y="99"/>
                    <a:pt x="630" y="99"/>
                    <a:pt x="630" y="99"/>
                  </a:cubicBezTo>
                  <a:cubicBezTo>
                    <a:pt x="630" y="99"/>
                    <a:pt x="630" y="99"/>
                    <a:pt x="630" y="99"/>
                  </a:cubicBezTo>
                  <a:close/>
                  <a:moveTo>
                    <a:pt x="761" y="99"/>
                  </a:moveTo>
                  <a:cubicBezTo>
                    <a:pt x="761" y="99"/>
                    <a:pt x="761" y="99"/>
                    <a:pt x="761" y="99"/>
                  </a:cubicBezTo>
                  <a:cubicBezTo>
                    <a:pt x="761" y="99"/>
                    <a:pt x="761" y="99"/>
                    <a:pt x="761" y="99"/>
                  </a:cubicBezTo>
                  <a:close/>
                  <a:moveTo>
                    <a:pt x="798" y="99"/>
                  </a:moveTo>
                  <a:cubicBezTo>
                    <a:pt x="798" y="99"/>
                    <a:pt x="798" y="99"/>
                    <a:pt x="797" y="99"/>
                  </a:cubicBezTo>
                  <a:cubicBezTo>
                    <a:pt x="798" y="99"/>
                    <a:pt x="798" y="99"/>
                    <a:pt x="798" y="99"/>
                  </a:cubicBezTo>
                  <a:close/>
                  <a:moveTo>
                    <a:pt x="975" y="99"/>
                  </a:moveTo>
                  <a:cubicBezTo>
                    <a:pt x="975" y="99"/>
                    <a:pt x="975" y="99"/>
                    <a:pt x="974" y="99"/>
                  </a:cubicBezTo>
                  <a:cubicBezTo>
                    <a:pt x="974" y="99"/>
                    <a:pt x="975" y="99"/>
                    <a:pt x="975" y="99"/>
                  </a:cubicBezTo>
                  <a:close/>
                  <a:moveTo>
                    <a:pt x="1019" y="99"/>
                  </a:moveTo>
                  <a:cubicBezTo>
                    <a:pt x="1019" y="99"/>
                    <a:pt x="1018" y="99"/>
                    <a:pt x="1018" y="99"/>
                  </a:cubicBezTo>
                  <a:cubicBezTo>
                    <a:pt x="1018" y="99"/>
                    <a:pt x="1019" y="99"/>
                    <a:pt x="1019" y="99"/>
                  </a:cubicBezTo>
                  <a:close/>
                  <a:moveTo>
                    <a:pt x="1080" y="99"/>
                  </a:moveTo>
                  <a:cubicBezTo>
                    <a:pt x="1080" y="99"/>
                    <a:pt x="1080" y="99"/>
                    <a:pt x="1079" y="99"/>
                  </a:cubicBezTo>
                  <a:cubicBezTo>
                    <a:pt x="1080" y="99"/>
                    <a:pt x="1080" y="99"/>
                    <a:pt x="1080" y="99"/>
                  </a:cubicBezTo>
                  <a:close/>
                  <a:moveTo>
                    <a:pt x="1221" y="99"/>
                  </a:moveTo>
                  <a:cubicBezTo>
                    <a:pt x="1221" y="99"/>
                    <a:pt x="1221" y="99"/>
                    <a:pt x="1220" y="99"/>
                  </a:cubicBezTo>
                  <a:cubicBezTo>
                    <a:pt x="1221" y="99"/>
                    <a:pt x="1221" y="99"/>
                    <a:pt x="1221" y="99"/>
                  </a:cubicBezTo>
                  <a:close/>
                  <a:moveTo>
                    <a:pt x="1258" y="99"/>
                  </a:moveTo>
                  <a:cubicBezTo>
                    <a:pt x="1258" y="99"/>
                    <a:pt x="1257" y="99"/>
                    <a:pt x="1257" y="99"/>
                  </a:cubicBezTo>
                  <a:cubicBezTo>
                    <a:pt x="1258" y="99"/>
                    <a:pt x="1258" y="99"/>
                    <a:pt x="1258" y="99"/>
                  </a:cubicBezTo>
                  <a:close/>
                  <a:moveTo>
                    <a:pt x="1687" y="99"/>
                  </a:moveTo>
                  <a:cubicBezTo>
                    <a:pt x="1687" y="99"/>
                    <a:pt x="1687" y="99"/>
                    <a:pt x="1687" y="99"/>
                  </a:cubicBezTo>
                  <a:cubicBezTo>
                    <a:pt x="1687" y="99"/>
                    <a:pt x="1687" y="99"/>
                    <a:pt x="1687" y="99"/>
                  </a:cubicBezTo>
                  <a:close/>
                  <a:moveTo>
                    <a:pt x="577" y="99"/>
                  </a:moveTo>
                  <a:cubicBezTo>
                    <a:pt x="577" y="99"/>
                    <a:pt x="577" y="99"/>
                    <a:pt x="576" y="99"/>
                  </a:cubicBezTo>
                  <a:cubicBezTo>
                    <a:pt x="577" y="99"/>
                    <a:pt x="577" y="99"/>
                    <a:pt x="577" y="99"/>
                  </a:cubicBezTo>
                  <a:close/>
                  <a:moveTo>
                    <a:pt x="691" y="99"/>
                  </a:moveTo>
                  <a:cubicBezTo>
                    <a:pt x="691" y="99"/>
                    <a:pt x="691" y="99"/>
                    <a:pt x="691" y="99"/>
                  </a:cubicBezTo>
                  <a:cubicBezTo>
                    <a:pt x="691" y="99"/>
                    <a:pt x="691" y="99"/>
                    <a:pt x="691" y="99"/>
                  </a:cubicBezTo>
                  <a:close/>
                  <a:moveTo>
                    <a:pt x="797" y="99"/>
                  </a:moveTo>
                  <a:cubicBezTo>
                    <a:pt x="797" y="99"/>
                    <a:pt x="797" y="99"/>
                    <a:pt x="797" y="99"/>
                  </a:cubicBezTo>
                  <a:cubicBezTo>
                    <a:pt x="797" y="99"/>
                    <a:pt x="797" y="99"/>
                    <a:pt x="797" y="99"/>
                  </a:cubicBezTo>
                  <a:close/>
                  <a:moveTo>
                    <a:pt x="976" y="99"/>
                  </a:moveTo>
                  <a:cubicBezTo>
                    <a:pt x="976" y="99"/>
                    <a:pt x="975" y="99"/>
                    <a:pt x="975" y="99"/>
                  </a:cubicBezTo>
                  <a:cubicBezTo>
                    <a:pt x="975" y="99"/>
                    <a:pt x="975" y="99"/>
                    <a:pt x="976" y="99"/>
                  </a:cubicBezTo>
                  <a:close/>
                  <a:moveTo>
                    <a:pt x="1018" y="99"/>
                  </a:moveTo>
                  <a:cubicBezTo>
                    <a:pt x="1018" y="99"/>
                    <a:pt x="1018" y="99"/>
                    <a:pt x="1017" y="99"/>
                  </a:cubicBezTo>
                  <a:cubicBezTo>
                    <a:pt x="1018" y="99"/>
                    <a:pt x="1018" y="99"/>
                    <a:pt x="1018" y="99"/>
                  </a:cubicBezTo>
                  <a:close/>
                  <a:moveTo>
                    <a:pt x="1044" y="99"/>
                  </a:moveTo>
                  <a:cubicBezTo>
                    <a:pt x="1044" y="99"/>
                    <a:pt x="1044" y="99"/>
                    <a:pt x="1043" y="99"/>
                  </a:cubicBezTo>
                  <a:cubicBezTo>
                    <a:pt x="1043" y="99"/>
                    <a:pt x="1044" y="99"/>
                    <a:pt x="1044" y="99"/>
                  </a:cubicBezTo>
                  <a:close/>
                  <a:moveTo>
                    <a:pt x="1079" y="99"/>
                  </a:moveTo>
                  <a:cubicBezTo>
                    <a:pt x="1079" y="99"/>
                    <a:pt x="1079" y="99"/>
                    <a:pt x="1079" y="99"/>
                  </a:cubicBezTo>
                  <a:cubicBezTo>
                    <a:pt x="1079" y="99"/>
                    <a:pt x="1079" y="99"/>
                    <a:pt x="1079" y="99"/>
                  </a:cubicBezTo>
                  <a:close/>
                  <a:moveTo>
                    <a:pt x="1222" y="99"/>
                  </a:moveTo>
                  <a:cubicBezTo>
                    <a:pt x="1222" y="99"/>
                    <a:pt x="1221" y="99"/>
                    <a:pt x="1221" y="99"/>
                  </a:cubicBezTo>
                  <a:cubicBezTo>
                    <a:pt x="1221" y="99"/>
                    <a:pt x="1221" y="99"/>
                    <a:pt x="1222" y="99"/>
                  </a:cubicBezTo>
                  <a:close/>
                  <a:moveTo>
                    <a:pt x="1257" y="99"/>
                  </a:moveTo>
                  <a:cubicBezTo>
                    <a:pt x="1257" y="99"/>
                    <a:pt x="1257" y="99"/>
                    <a:pt x="1257" y="99"/>
                  </a:cubicBezTo>
                  <a:cubicBezTo>
                    <a:pt x="1257" y="99"/>
                    <a:pt x="1257" y="99"/>
                    <a:pt x="1257" y="99"/>
                  </a:cubicBezTo>
                  <a:close/>
                  <a:moveTo>
                    <a:pt x="1454" y="99"/>
                  </a:moveTo>
                  <a:cubicBezTo>
                    <a:pt x="1454" y="99"/>
                    <a:pt x="1454" y="99"/>
                    <a:pt x="1454" y="99"/>
                  </a:cubicBezTo>
                  <a:cubicBezTo>
                    <a:pt x="1454" y="99"/>
                    <a:pt x="1454" y="99"/>
                    <a:pt x="1454" y="99"/>
                  </a:cubicBezTo>
                  <a:close/>
                  <a:moveTo>
                    <a:pt x="1674" y="100"/>
                  </a:moveTo>
                  <a:cubicBezTo>
                    <a:pt x="1674" y="99"/>
                    <a:pt x="1674" y="99"/>
                    <a:pt x="1674" y="99"/>
                  </a:cubicBezTo>
                  <a:cubicBezTo>
                    <a:pt x="1674" y="99"/>
                    <a:pt x="1674" y="100"/>
                    <a:pt x="1674" y="100"/>
                  </a:cubicBezTo>
                  <a:close/>
                  <a:moveTo>
                    <a:pt x="576" y="99"/>
                  </a:moveTo>
                  <a:cubicBezTo>
                    <a:pt x="576" y="99"/>
                    <a:pt x="576" y="99"/>
                    <a:pt x="576" y="100"/>
                  </a:cubicBezTo>
                  <a:cubicBezTo>
                    <a:pt x="576" y="100"/>
                    <a:pt x="576" y="100"/>
                    <a:pt x="576" y="99"/>
                  </a:cubicBezTo>
                  <a:close/>
                  <a:moveTo>
                    <a:pt x="618" y="100"/>
                  </a:moveTo>
                  <a:cubicBezTo>
                    <a:pt x="618" y="100"/>
                    <a:pt x="618" y="99"/>
                    <a:pt x="618" y="99"/>
                  </a:cubicBezTo>
                  <a:cubicBezTo>
                    <a:pt x="618" y="100"/>
                    <a:pt x="618" y="100"/>
                    <a:pt x="618" y="100"/>
                  </a:cubicBezTo>
                  <a:close/>
                  <a:moveTo>
                    <a:pt x="630" y="99"/>
                  </a:moveTo>
                  <a:cubicBezTo>
                    <a:pt x="630" y="100"/>
                    <a:pt x="630" y="100"/>
                    <a:pt x="630" y="100"/>
                  </a:cubicBezTo>
                  <a:cubicBezTo>
                    <a:pt x="630" y="100"/>
                    <a:pt x="630" y="100"/>
                    <a:pt x="630" y="99"/>
                  </a:cubicBezTo>
                  <a:close/>
                  <a:moveTo>
                    <a:pt x="659" y="100"/>
                  </a:moveTo>
                  <a:cubicBezTo>
                    <a:pt x="659" y="99"/>
                    <a:pt x="659" y="99"/>
                    <a:pt x="659" y="99"/>
                  </a:cubicBezTo>
                  <a:cubicBezTo>
                    <a:pt x="659" y="100"/>
                    <a:pt x="659" y="100"/>
                    <a:pt x="659" y="100"/>
                  </a:cubicBezTo>
                  <a:close/>
                  <a:moveTo>
                    <a:pt x="762" y="100"/>
                  </a:moveTo>
                  <a:cubicBezTo>
                    <a:pt x="762" y="99"/>
                    <a:pt x="762" y="99"/>
                    <a:pt x="762" y="99"/>
                  </a:cubicBezTo>
                  <a:cubicBezTo>
                    <a:pt x="762" y="100"/>
                    <a:pt x="762" y="100"/>
                    <a:pt x="762" y="100"/>
                  </a:cubicBezTo>
                  <a:close/>
                  <a:moveTo>
                    <a:pt x="797" y="99"/>
                  </a:moveTo>
                  <a:cubicBezTo>
                    <a:pt x="796" y="99"/>
                    <a:pt x="796" y="99"/>
                    <a:pt x="796" y="100"/>
                  </a:cubicBezTo>
                  <a:cubicBezTo>
                    <a:pt x="796" y="100"/>
                    <a:pt x="797" y="100"/>
                    <a:pt x="797" y="99"/>
                  </a:cubicBezTo>
                  <a:close/>
                  <a:moveTo>
                    <a:pt x="977" y="100"/>
                  </a:moveTo>
                  <a:cubicBezTo>
                    <a:pt x="976" y="99"/>
                    <a:pt x="976" y="99"/>
                    <a:pt x="976" y="99"/>
                  </a:cubicBezTo>
                  <a:cubicBezTo>
                    <a:pt x="976" y="100"/>
                    <a:pt x="976" y="100"/>
                    <a:pt x="977" y="100"/>
                  </a:cubicBezTo>
                  <a:close/>
                  <a:moveTo>
                    <a:pt x="973" y="13"/>
                  </a:moveTo>
                  <a:cubicBezTo>
                    <a:pt x="973" y="13"/>
                    <a:pt x="973" y="13"/>
                    <a:pt x="974" y="12"/>
                  </a:cubicBezTo>
                  <a:cubicBezTo>
                    <a:pt x="973" y="12"/>
                    <a:pt x="973" y="12"/>
                    <a:pt x="973" y="13"/>
                  </a:cubicBezTo>
                  <a:close/>
                  <a:moveTo>
                    <a:pt x="1045" y="100"/>
                  </a:moveTo>
                  <a:cubicBezTo>
                    <a:pt x="1044" y="100"/>
                    <a:pt x="1044" y="99"/>
                    <a:pt x="1044" y="99"/>
                  </a:cubicBezTo>
                  <a:cubicBezTo>
                    <a:pt x="1044" y="100"/>
                    <a:pt x="1044" y="100"/>
                    <a:pt x="1045" y="100"/>
                  </a:cubicBezTo>
                  <a:close/>
                  <a:moveTo>
                    <a:pt x="1079" y="99"/>
                  </a:moveTo>
                  <a:cubicBezTo>
                    <a:pt x="1078" y="99"/>
                    <a:pt x="1078" y="99"/>
                    <a:pt x="1078" y="100"/>
                  </a:cubicBezTo>
                  <a:cubicBezTo>
                    <a:pt x="1078" y="100"/>
                    <a:pt x="1079" y="100"/>
                    <a:pt x="1079" y="99"/>
                  </a:cubicBezTo>
                  <a:close/>
                  <a:moveTo>
                    <a:pt x="1257" y="99"/>
                  </a:moveTo>
                  <a:cubicBezTo>
                    <a:pt x="1256" y="99"/>
                    <a:pt x="1256" y="99"/>
                    <a:pt x="1256" y="100"/>
                  </a:cubicBezTo>
                  <a:cubicBezTo>
                    <a:pt x="1256" y="100"/>
                    <a:pt x="1256" y="100"/>
                    <a:pt x="1257" y="99"/>
                  </a:cubicBezTo>
                  <a:close/>
                  <a:moveTo>
                    <a:pt x="1426" y="100"/>
                  </a:moveTo>
                  <a:cubicBezTo>
                    <a:pt x="1426" y="99"/>
                    <a:pt x="1425" y="99"/>
                    <a:pt x="1425" y="99"/>
                  </a:cubicBezTo>
                  <a:cubicBezTo>
                    <a:pt x="1425" y="100"/>
                    <a:pt x="1425" y="100"/>
                    <a:pt x="1426" y="100"/>
                  </a:cubicBezTo>
                  <a:close/>
                  <a:moveTo>
                    <a:pt x="1687" y="99"/>
                  </a:moveTo>
                  <a:cubicBezTo>
                    <a:pt x="1687" y="100"/>
                    <a:pt x="1687" y="100"/>
                    <a:pt x="1687" y="100"/>
                  </a:cubicBezTo>
                  <a:cubicBezTo>
                    <a:pt x="1688" y="100"/>
                    <a:pt x="1687" y="100"/>
                    <a:pt x="1687" y="99"/>
                  </a:cubicBezTo>
                  <a:close/>
                  <a:moveTo>
                    <a:pt x="576" y="100"/>
                  </a:moveTo>
                  <a:cubicBezTo>
                    <a:pt x="575" y="100"/>
                    <a:pt x="575" y="100"/>
                    <a:pt x="575" y="100"/>
                  </a:cubicBezTo>
                  <a:cubicBezTo>
                    <a:pt x="575" y="100"/>
                    <a:pt x="576" y="100"/>
                    <a:pt x="576" y="100"/>
                  </a:cubicBezTo>
                  <a:close/>
                  <a:moveTo>
                    <a:pt x="660" y="100"/>
                  </a:moveTo>
                  <a:cubicBezTo>
                    <a:pt x="660" y="100"/>
                    <a:pt x="660" y="100"/>
                    <a:pt x="659" y="100"/>
                  </a:cubicBezTo>
                  <a:cubicBezTo>
                    <a:pt x="659" y="100"/>
                    <a:pt x="660" y="100"/>
                    <a:pt x="660" y="100"/>
                  </a:cubicBezTo>
                  <a:close/>
                  <a:moveTo>
                    <a:pt x="763" y="100"/>
                  </a:moveTo>
                  <a:cubicBezTo>
                    <a:pt x="763" y="100"/>
                    <a:pt x="763" y="100"/>
                    <a:pt x="762" y="100"/>
                  </a:cubicBezTo>
                  <a:cubicBezTo>
                    <a:pt x="762" y="100"/>
                    <a:pt x="763" y="100"/>
                    <a:pt x="763" y="100"/>
                  </a:cubicBezTo>
                  <a:close/>
                  <a:moveTo>
                    <a:pt x="796" y="100"/>
                  </a:moveTo>
                  <a:cubicBezTo>
                    <a:pt x="796" y="100"/>
                    <a:pt x="795" y="100"/>
                    <a:pt x="795" y="100"/>
                  </a:cubicBezTo>
                  <a:cubicBezTo>
                    <a:pt x="796" y="100"/>
                    <a:pt x="796" y="100"/>
                    <a:pt x="796" y="100"/>
                  </a:cubicBezTo>
                  <a:close/>
                  <a:moveTo>
                    <a:pt x="977" y="100"/>
                  </a:moveTo>
                  <a:cubicBezTo>
                    <a:pt x="977" y="100"/>
                    <a:pt x="977" y="100"/>
                    <a:pt x="977" y="100"/>
                  </a:cubicBezTo>
                  <a:cubicBezTo>
                    <a:pt x="977" y="100"/>
                    <a:pt x="977" y="100"/>
                    <a:pt x="977" y="100"/>
                  </a:cubicBezTo>
                  <a:close/>
                  <a:moveTo>
                    <a:pt x="1016" y="100"/>
                  </a:moveTo>
                  <a:cubicBezTo>
                    <a:pt x="1016" y="100"/>
                    <a:pt x="1016" y="100"/>
                    <a:pt x="1016" y="100"/>
                  </a:cubicBezTo>
                  <a:cubicBezTo>
                    <a:pt x="1016" y="100"/>
                    <a:pt x="1016" y="100"/>
                    <a:pt x="1016" y="100"/>
                  </a:cubicBezTo>
                  <a:close/>
                  <a:moveTo>
                    <a:pt x="1078" y="100"/>
                  </a:moveTo>
                  <a:cubicBezTo>
                    <a:pt x="1078" y="100"/>
                    <a:pt x="1077" y="100"/>
                    <a:pt x="1077" y="100"/>
                  </a:cubicBezTo>
                  <a:cubicBezTo>
                    <a:pt x="1078" y="100"/>
                    <a:pt x="1078" y="100"/>
                    <a:pt x="1078" y="100"/>
                  </a:cubicBezTo>
                  <a:close/>
                  <a:moveTo>
                    <a:pt x="1181" y="100"/>
                  </a:moveTo>
                  <a:cubicBezTo>
                    <a:pt x="1181" y="100"/>
                    <a:pt x="1181" y="100"/>
                    <a:pt x="1180" y="100"/>
                  </a:cubicBezTo>
                  <a:cubicBezTo>
                    <a:pt x="1180" y="100"/>
                    <a:pt x="1181" y="100"/>
                    <a:pt x="1181" y="100"/>
                  </a:cubicBezTo>
                  <a:close/>
                  <a:moveTo>
                    <a:pt x="1256" y="100"/>
                  </a:moveTo>
                  <a:cubicBezTo>
                    <a:pt x="1256" y="100"/>
                    <a:pt x="1255" y="100"/>
                    <a:pt x="1255" y="100"/>
                  </a:cubicBezTo>
                  <a:cubicBezTo>
                    <a:pt x="1255" y="100"/>
                    <a:pt x="1256" y="100"/>
                    <a:pt x="1256" y="100"/>
                  </a:cubicBezTo>
                  <a:close/>
                  <a:moveTo>
                    <a:pt x="1426" y="100"/>
                  </a:moveTo>
                  <a:cubicBezTo>
                    <a:pt x="1426" y="100"/>
                    <a:pt x="1426" y="100"/>
                    <a:pt x="1426" y="100"/>
                  </a:cubicBezTo>
                  <a:cubicBezTo>
                    <a:pt x="1426" y="100"/>
                    <a:pt x="1426" y="100"/>
                    <a:pt x="1426" y="100"/>
                  </a:cubicBezTo>
                  <a:close/>
                  <a:moveTo>
                    <a:pt x="1453" y="100"/>
                  </a:moveTo>
                  <a:cubicBezTo>
                    <a:pt x="1453" y="100"/>
                    <a:pt x="1453" y="100"/>
                    <a:pt x="1453" y="100"/>
                  </a:cubicBezTo>
                  <a:cubicBezTo>
                    <a:pt x="1453" y="100"/>
                    <a:pt x="1453" y="100"/>
                    <a:pt x="1453" y="100"/>
                  </a:cubicBezTo>
                  <a:close/>
                  <a:moveTo>
                    <a:pt x="575" y="100"/>
                  </a:moveTo>
                  <a:cubicBezTo>
                    <a:pt x="575" y="100"/>
                    <a:pt x="574" y="100"/>
                    <a:pt x="574" y="100"/>
                  </a:cubicBezTo>
                  <a:cubicBezTo>
                    <a:pt x="574" y="100"/>
                    <a:pt x="575" y="100"/>
                    <a:pt x="575" y="100"/>
                  </a:cubicBezTo>
                  <a:close/>
                  <a:moveTo>
                    <a:pt x="618" y="101"/>
                  </a:moveTo>
                  <a:cubicBezTo>
                    <a:pt x="618" y="101"/>
                    <a:pt x="618" y="100"/>
                    <a:pt x="618" y="100"/>
                  </a:cubicBezTo>
                  <a:cubicBezTo>
                    <a:pt x="618" y="100"/>
                    <a:pt x="618" y="101"/>
                    <a:pt x="618" y="101"/>
                  </a:cubicBezTo>
                  <a:close/>
                  <a:moveTo>
                    <a:pt x="661" y="100"/>
                  </a:moveTo>
                  <a:cubicBezTo>
                    <a:pt x="661" y="100"/>
                    <a:pt x="660" y="100"/>
                    <a:pt x="660" y="100"/>
                  </a:cubicBezTo>
                  <a:cubicBezTo>
                    <a:pt x="660" y="100"/>
                    <a:pt x="660" y="100"/>
                    <a:pt x="661" y="100"/>
                  </a:cubicBezTo>
                  <a:close/>
                  <a:moveTo>
                    <a:pt x="690" y="100"/>
                  </a:moveTo>
                  <a:cubicBezTo>
                    <a:pt x="689" y="100"/>
                    <a:pt x="689" y="100"/>
                    <a:pt x="689" y="100"/>
                  </a:cubicBezTo>
                  <a:cubicBezTo>
                    <a:pt x="689" y="100"/>
                    <a:pt x="689" y="100"/>
                    <a:pt x="690" y="100"/>
                  </a:cubicBezTo>
                  <a:close/>
                  <a:moveTo>
                    <a:pt x="722" y="100"/>
                  </a:moveTo>
                  <a:cubicBezTo>
                    <a:pt x="721" y="100"/>
                    <a:pt x="721" y="100"/>
                    <a:pt x="721" y="100"/>
                  </a:cubicBezTo>
                  <a:cubicBezTo>
                    <a:pt x="721" y="100"/>
                    <a:pt x="721" y="100"/>
                    <a:pt x="722" y="100"/>
                  </a:cubicBezTo>
                  <a:close/>
                  <a:moveTo>
                    <a:pt x="764" y="100"/>
                  </a:moveTo>
                  <a:cubicBezTo>
                    <a:pt x="764" y="100"/>
                    <a:pt x="763" y="100"/>
                    <a:pt x="763" y="100"/>
                  </a:cubicBezTo>
                  <a:cubicBezTo>
                    <a:pt x="763" y="100"/>
                    <a:pt x="763" y="100"/>
                    <a:pt x="764" y="100"/>
                  </a:cubicBezTo>
                  <a:close/>
                  <a:moveTo>
                    <a:pt x="795" y="100"/>
                  </a:moveTo>
                  <a:cubicBezTo>
                    <a:pt x="795" y="100"/>
                    <a:pt x="794" y="100"/>
                    <a:pt x="794" y="100"/>
                  </a:cubicBezTo>
                  <a:cubicBezTo>
                    <a:pt x="795" y="100"/>
                    <a:pt x="795" y="100"/>
                    <a:pt x="795" y="100"/>
                  </a:cubicBezTo>
                  <a:close/>
                  <a:moveTo>
                    <a:pt x="978" y="100"/>
                  </a:moveTo>
                  <a:cubicBezTo>
                    <a:pt x="978" y="100"/>
                    <a:pt x="978" y="100"/>
                    <a:pt x="977" y="100"/>
                  </a:cubicBezTo>
                  <a:cubicBezTo>
                    <a:pt x="978" y="100"/>
                    <a:pt x="978" y="100"/>
                    <a:pt x="978" y="100"/>
                  </a:cubicBezTo>
                  <a:close/>
                  <a:moveTo>
                    <a:pt x="1015" y="100"/>
                  </a:moveTo>
                  <a:cubicBezTo>
                    <a:pt x="1015" y="100"/>
                    <a:pt x="1015" y="100"/>
                    <a:pt x="1015" y="100"/>
                  </a:cubicBezTo>
                  <a:cubicBezTo>
                    <a:pt x="1015" y="100"/>
                    <a:pt x="1015" y="100"/>
                    <a:pt x="1015" y="100"/>
                  </a:cubicBezTo>
                  <a:close/>
                  <a:moveTo>
                    <a:pt x="1077" y="100"/>
                  </a:moveTo>
                  <a:cubicBezTo>
                    <a:pt x="1077" y="100"/>
                    <a:pt x="1077" y="100"/>
                    <a:pt x="1076" y="100"/>
                  </a:cubicBezTo>
                  <a:cubicBezTo>
                    <a:pt x="1077" y="100"/>
                    <a:pt x="1077" y="100"/>
                    <a:pt x="1077" y="100"/>
                  </a:cubicBezTo>
                  <a:close/>
                  <a:moveTo>
                    <a:pt x="1224" y="100"/>
                  </a:moveTo>
                  <a:cubicBezTo>
                    <a:pt x="1223" y="100"/>
                    <a:pt x="1223" y="100"/>
                    <a:pt x="1223" y="100"/>
                  </a:cubicBezTo>
                  <a:cubicBezTo>
                    <a:pt x="1223" y="100"/>
                    <a:pt x="1223" y="100"/>
                    <a:pt x="1224" y="100"/>
                  </a:cubicBezTo>
                  <a:close/>
                  <a:moveTo>
                    <a:pt x="832" y="49"/>
                  </a:moveTo>
                  <a:cubicBezTo>
                    <a:pt x="831" y="49"/>
                    <a:pt x="831" y="50"/>
                    <a:pt x="831" y="50"/>
                  </a:cubicBezTo>
                  <a:cubicBezTo>
                    <a:pt x="831" y="50"/>
                    <a:pt x="832" y="50"/>
                    <a:pt x="832" y="49"/>
                  </a:cubicBezTo>
                  <a:close/>
                  <a:moveTo>
                    <a:pt x="1427" y="100"/>
                  </a:moveTo>
                  <a:cubicBezTo>
                    <a:pt x="1427" y="100"/>
                    <a:pt x="1427" y="100"/>
                    <a:pt x="1426" y="100"/>
                  </a:cubicBezTo>
                  <a:cubicBezTo>
                    <a:pt x="1427" y="100"/>
                    <a:pt x="1427" y="100"/>
                    <a:pt x="1427" y="100"/>
                  </a:cubicBezTo>
                  <a:close/>
                  <a:moveTo>
                    <a:pt x="1453" y="100"/>
                  </a:moveTo>
                  <a:cubicBezTo>
                    <a:pt x="1452" y="100"/>
                    <a:pt x="1452" y="100"/>
                    <a:pt x="1452" y="100"/>
                  </a:cubicBezTo>
                  <a:cubicBezTo>
                    <a:pt x="1452" y="100"/>
                    <a:pt x="1452" y="100"/>
                    <a:pt x="1453" y="100"/>
                  </a:cubicBezTo>
                  <a:close/>
                  <a:moveTo>
                    <a:pt x="1674" y="101"/>
                  </a:moveTo>
                  <a:cubicBezTo>
                    <a:pt x="1674" y="100"/>
                    <a:pt x="1674" y="100"/>
                    <a:pt x="1674" y="100"/>
                  </a:cubicBezTo>
                  <a:cubicBezTo>
                    <a:pt x="1674" y="100"/>
                    <a:pt x="1674" y="101"/>
                    <a:pt x="1674" y="101"/>
                  </a:cubicBezTo>
                  <a:close/>
                  <a:moveTo>
                    <a:pt x="1687" y="100"/>
                  </a:moveTo>
                  <a:cubicBezTo>
                    <a:pt x="1687" y="100"/>
                    <a:pt x="1688" y="101"/>
                    <a:pt x="1688" y="101"/>
                  </a:cubicBezTo>
                  <a:cubicBezTo>
                    <a:pt x="1688" y="101"/>
                    <a:pt x="1688" y="100"/>
                    <a:pt x="1687" y="100"/>
                  </a:cubicBezTo>
                  <a:close/>
                  <a:moveTo>
                    <a:pt x="574" y="100"/>
                  </a:moveTo>
                  <a:cubicBezTo>
                    <a:pt x="574" y="100"/>
                    <a:pt x="573" y="101"/>
                    <a:pt x="573" y="101"/>
                  </a:cubicBezTo>
                  <a:cubicBezTo>
                    <a:pt x="574" y="101"/>
                    <a:pt x="574" y="101"/>
                    <a:pt x="574" y="100"/>
                  </a:cubicBezTo>
                  <a:close/>
                  <a:moveTo>
                    <a:pt x="630" y="100"/>
                  </a:moveTo>
                  <a:cubicBezTo>
                    <a:pt x="629" y="101"/>
                    <a:pt x="629" y="101"/>
                    <a:pt x="629" y="101"/>
                  </a:cubicBezTo>
                  <a:cubicBezTo>
                    <a:pt x="630" y="101"/>
                    <a:pt x="630" y="101"/>
                    <a:pt x="630" y="100"/>
                  </a:cubicBezTo>
                  <a:close/>
                  <a:moveTo>
                    <a:pt x="662" y="101"/>
                  </a:moveTo>
                  <a:cubicBezTo>
                    <a:pt x="662" y="101"/>
                    <a:pt x="661" y="100"/>
                    <a:pt x="661" y="101"/>
                  </a:cubicBezTo>
                  <a:cubicBezTo>
                    <a:pt x="661" y="101"/>
                    <a:pt x="661" y="101"/>
                    <a:pt x="662" y="101"/>
                  </a:cubicBezTo>
                  <a:close/>
                  <a:moveTo>
                    <a:pt x="689" y="100"/>
                  </a:moveTo>
                  <a:cubicBezTo>
                    <a:pt x="689" y="100"/>
                    <a:pt x="688" y="100"/>
                    <a:pt x="688" y="101"/>
                  </a:cubicBezTo>
                  <a:cubicBezTo>
                    <a:pt x="688" y="101"/>
                    <a:pt x="689" y="101"/>
                    <a:pt x="689" y="100"/>
                  </a:cubicBezTo>
                  <a:close/>
                  <a:moveTo>
                    <a:pt x="764" y="101"/>
                  </a:moveTo>
                  <a:cubicBezTo>
                    <a:pt x="764" y="100"/>
                    <a:pt x="764" y="100"/>
                    <a:pt x="764" y="100"/>
                  </a:cubicBezTo>
                  <a:cubicBezTo>
                    <a:pt x="764" y="101"/>
                    <a:pt x="764" y="101"/>
                    <a:pt x="764" y="101"/>
                  </a:cubicBezTo>
                  <a:close/>
                  <a:moveTo>
                    <a:pt x="857" y="50"/>
                  </a:moveTo>
                  <a:cubicBezTo>
                    <a:pt x="857" y="50"/>
                    <a:pt x="857" y="49"/>
                    <a:pt x="857" y="49"/>
                  </a:cubicBezTo>
                  <a:cubicBezTo>
                    <a:pt x="857" y="50"/>
                    <a:pt x="857" y="50"/>
                    <a:pt x="857" y="50"/>
                  </a:cubicBezTo>
                  <a:close/>
                  <a:moveTo>
                    <a:pt x="979" y="101"/>
                  </a:moveTo>
                  <a:cubicBezTo>
                    <a:pt x="979" y="101"/>
                    <a:pt x="979" y="100"/>
                    <a:pt x="978" y="100"/>
                  </a:cubicBezTo>
                  <a:cubicBezTo>
                    <a:pt x="979" y="101"/>
                    <a:pt x="979" y="101"/>
                    <a:pt x="979" y="101"/>
                  </a:cubicBezTo>
                  <a:close/>
                  <a:moveTo>
                    <a:pt x="1014" y="101"/>
                  </a:moveTo>
                  <a:cubicBezTo>
                    <a:pt x="1014" y="100"/>
                    <a:pt x="1014" y="101"/>
                    <a:pt x="1013" y="101"/>
                  </a:cubicBezTo>
                  <a:cubicBezTo>
                    <a:pt x="1014" y="101"/>
                    <a:pt x="1014" y="101"/>
                    <a:pt x="1014" y="101"/>
                  </a:cubicBezTo>
                  <a:close/>
                  <a:moveTo>
                    <a:pt x="1047" y="101"/>
                  </a:moveTo>
                  <a:cubicBezTo>
                    <a:pt x="1047" y="101"/>
                    <a:pt x="1046" y="100"/>
                    <a:pt x="1046" y="100"/>
                  </a:cubicBezTo>
                  <a:cubicBezTo>
                    <a:pt x="1046" y="101"/>
                    <a:pt x="1046" y="101"/>
                    <a:pt x="1047" y="101"/>
                  </a:cubicBezTo>
                  <a:close/>
                  <a:moveTo>
                    <a:pt x="1076" y="100"/>
                  </a:moveTo>
                  <a:cubicBezTo>
                    <a:pt x="1076" y="100"/>
                    <a:pt x="1076" y="101"/>
                    <a:pt x="1076" y="101"/>
                  </a:cubicBezTo>
                  <a:cubicBezTo>
                    <a:pt x="1076" y="101"/>
                    <a:pt x="1076" y="101"/>
                    <a:pt x="1076" y="100"/>
                  </a:cubicBezTo>
                  <a:close/>
                  <a:moveTo>
                    <a:pt x="1182" y="101"/>
                  </a:moveTo>
                  <a:cubicBezTo>
                    <a:pt x="1182" y="101"/>
                    <a:pt x="1182" y="100"/>
                    <a:pt x="1181" y="100"/>
                  </a:cubicBezTo>
                  <a:cubicBezTo>
                    <a:pt x="1182" y="101"/>
                    <a:pt x="1182" y="101"/>
                    <a:pt x="1182" y="101"/>
                  </a:cubicBezTo>
                  <a:close/>
                  <a:moveTo>
                    <a:pt x="1225" y="101"/>
                  </a:moveTo>
                  <a:cubicBezTo>
                    <a:pt x="1224" y="101"/>
                    <a:pt x="1224" y="100"/>
                    <a:pt x="1224" y="101"/>
                  </a:cubicBezTo>
                  <a:cubicBezTo>
                    <a:pt x="1224" y="101"/>
                    <a:pt x="1224" y="101"/>
                    <a:pt x="1225" y="101"/>
                  </a:cubicBezTo>
                  <a:close/>
                  <a:moveTo>
                    <a:pt x="1254" y="100"/>
                  </a:moveTo>
                  <a:cubicBezTo>
                    <a:pt x="1254" y="100"/>
                    <a:pt x="1254" y="101"/>
                    <a:pt x="1253" y="101"/>
                  </a:cubicBezTo>
                  <a:cubicBezTo>
                    <a:pt x="1254" y="101"/>
                    <a:pt x="1254" y="101"/>
                    <a:pt x="1254" y="100"/>
                  </a:cubicBezTo>
                  <a:close/>
                  <a:moveTo>
                    <a:pt x="1428" y="101"/>
                  </a:moveTo>
                  <a:cubicBezTo>
                    <a:pt x="1428" y="101"/>
                    <a:pt x="1427" y="100"/>
                    <a:pt x="1427" y="100"/>
                  </a:cubicBezTo>
                  <a:cubicBezTo>
                    <a:pt x="1427" y="101"/>
                    <a:pt x="1428" y="101"/>
                    <a:pt x="1428" y="101"/>
                  </a:cubicBezTo>
                  <a:close/>
                  <a:moveTo>
                    <a:pt x="1452" y="100"/>
                  </a:moveTo>
                  <a:cubicBezTo>
                    <a:pt x="1452" y="100"/>
                    <a:pt x="1451" y="100"/>
                    <a:pt x="1451" y="101"/>
                  </a:cubicBezTo>
                  <a:cubicBezTo>
                    <a:pt x="1451" y="101"/>
                    <a:pt x="1452" y="101"/>
                    <a:pt x="1452" y="100"/>
                  </a:cubicBezTo>
                  <a:close/>
                  <a:moveTo>
                    <a:pt x="676" y="43"/>
                  </a:moveTo>
                  <a:cubicBezTo>
                    <a:pt x="676" y="43"/>
                    <a:pt x="676" y="43"/>
                    <a:pt x="676" y="43"/>
                  </a:cubicBezTo>
                  <a:cubicBezTo>
                    <a:pt x="676" y="43"/>
                    <a:pt x="676" y="43"/>
                    <a:pt x="676" y="43"/>
                  </a:cubicBezTo>
                  <a:close/>
                  <a:moveTo>
                    <a:pt x="662" y="101"/>
                  </a:moveTo>
                  <a:cubicBezTo>
                    <a:pt x="662" y="101"/>
                    <a:pt x="662" y="101"/>
                    <a:pt x="662" y="101"/>
                  </a:cubicBezTo>
                  <a:cubicBezTo>
                    <a:pt x="662" y="101"/>
                    <a:pt x="662" y="101"/>
                    <a:pt x="662" y="101"/>
                  </a:cubicBezTo>
                  <a:close/>
                  <a:moveTo>
                    <a:pt x="688" y="101"/>
                  </a:moveTo>
                  <a:cubicBezTo>
                    <a:pt x="688" y="101"/>
                    <a:pt x="687" y="101"/>
                    <a:pt x="687" y="101"/>
                  </a:cubicBezTo>
                  <a:cubicBezTo>
                    <a:pt x="687" y="101"/>
                    <a:pt x="688" y="101"/>
                    <a:pt x="688" y="101"/>
                  </a:cubicBezTo>
                  <a:close/>
                  <a:moveTo>
                    <a:pt x="723" y="101"/>
                  </a:moveTo>
                  <a:cubicBezTo>
                    <a:pt x="723" y="101"/>
                    <a:pt x="722" y="101"/>
                    <a:pt x="722" y="101"/>
                  </a:cubicBezTo>
                  <a:cubicBezTo>
                    <a:pt x="722" y="101"/>
                    <a:pt x="722" y="101"/>
                    <a:pt x="723" y="101"/>
                  </a:cubicBezTo>
                  <a:close/>
                  <a:moveTo>
                    <a:pt x="1495" y="13"/>
                  </a:moveTo>
                  <a:cubicBezTo>
                    <a:pt x="1495" y="13"/>
                    <a:pt x="1495" y="13"/>
                    <a:pt x="1495" y="12"/>
                  </a:cubicBezTo>
                  <a:cubicBezTo>
                    <a:pt x="1495" y="12"/>
                    <a:pt x="1495" y="12"/>
                    <a:pt x="1495" y="13"/>
                  </a:cubicBezTo>
                  <a:close/>
                  <a:moveTo>
                    <a:pt x="793" y="101"/>
                  </a:moveTo>
                  <a:cubicBezTo>
                    <a:pt x="793" y="101"/>
                    <a:pt x="793" y="101"/>
                    <a:pt x="792" y="101"/>
                  </a:cubicBezTo>
                  <a:cubicBezTo>
                    <a:pt x="793" y="101"/>
                    <a:pt x="793" y="101"/>
                    <a:pt x="793" y="101"/>
                  </a:cubicBezTo>
                  <a:close/>
                  <a:moveTo>
                    <a:pt x="980" y="101"/>
                  </a:moveTo>
                  <a:cubicBezTo>
                    <a:pt x="980" y="101"/>
                    <a:pt x="980" y="101"/>
                    <a:pt x="980" y="101"/>
                  </a:cubicBezTo>
                  <a:cubicBezTo>
                    <a:pt x="980" y="101"/>
                    <a:pt x="980" y="101"/>
                    <a:pt x="980" y="101"/>
                  </a:cubicBezTo>
                  <a:close/>
                  <a:moveTo>
                    <a:pt x="874" y="49"/>
                  </a:moveTo>
                  <a:cubicBezTo>
                    <a:pt x="874" y="49"/>
                    <a:pt x="874" y="50"/>
                    <a:pt x="874" y="50"/>
                  </a:cubicBezTo>
                  <a:cubicBezTo>
                    <a:pt x="874" y="50"/>
                    <a:pt x="874" y="50"/>
                    <a:pt x="874" y="49"/>
                  </a:cubicBezTo>
                  <a:close/>
                  <a:moveTo>
                    <a:pt x="1047" y="101"/>
                  </a:moveTo>
                  <a:cubicBezTo>
                    <a:pt x="1047" y="101"/>
                    <a:pt x="1047" y="101"/>
                    <a:pt x="1047" y="101"/>
                  </a:cubicBezTo>
                  <a:cubicBezTo>
                    <a:pt x="1047" y="101"/>
                    <a:pt x="1047" y="101"/>
                    <a:pt x="1047" y="101"/>
                  </a:cubicBezTo>
                  <a:close/>
                  <a:moveTo>
                    <a:pt x="800" y="43"/>
                  </a:moveTo>
                  <a:cubicBezTo>
                    <a:pt x="800" y="43"/>
                    <a:pt x="800" y="43"/>
                    <a:pt x="800" y="43"/>
                  </a:cubicBezTo>
                  <a:cubicBezTo>
                    <a:pt x="800" y="43"/>
                    <a:pt x="800" y="43"/>
                    <a:pt x="800" y="43"/>
                  </a:cubicBezTo>
                  <a:close/>
                  <a:moveTo>
                    <a:pt x="1183" y="101"/>
                  </a:moveTo>
                  <a:cubicBezTo>
                    <a:pt x="1183" y="101"/>
                    <a:pt x="1182" y="101"/>
                    <a:pt x="1182" y="101"/>
                  </a:cubicBezTo>
                  <a:cubicBezTo>
                    <a:pt x="1182" y="101"/>
                    <a:pt x="1182" y="101"/>
                    <a:pt x="1183" y="101"/>
                  </a:cubicBezTo>
                  <a:close/>
                  <a:moveTo>
                    <a:pt x="1225" y="101"/>
                  </a:moveTo>
                  <a:cubicBezTo>
                    <a:pt x="1225" y="101"/>
                    <a:pt x="1225" y="101"/>
                    <a:pt x="1225" y="101"/>
                  </a:cubicBezTo>
                  <a:cubicBezTo>
                    <a:pt x="1225" y="101"/>
                    <a:pt x="1225" y="101"/>
                    <a:pt x="1225" y="101"/>
                  </a:cubicBezTo>
                  <a:close/>
                  <a:moveTo>
                    <a:pt x="1253" y="101"/>
                  </a:moveTo>
                  <a:cubicBezTo>
                    <a:pt x="1253" y="101"/>
                    <a:pt x="1253" y="101"/>
                    <a:pt x="1252" y="101"/>
                  </a:cubicBezTo>
                  <a:cubicBezTo>
                    <a:pt x="1253" y="101"/>
                    <a:pt x="1253" y="101"/>
                    <a:pt x="1253" y="101"/>
                  </a:cubicBezTo>
                  <a:close/>
                  <a:moveTo>
                    <a:pt x="1429" y="101"/>
                  </a:moveTo>
                  <a:cubicBezTo>
                    <a:pt x="1428" y="101"/>
                    <a:pt x="1428" y="101"/>
                    <a:pt x="1428" y="101"/>
                  </a:cubicBezTo>
                  <a:cubicBezTo>
                    <a:pt x="1428" y="101"/>
                    <a:pt x="1428" y="101"/>
                    <a:pt x="1429" y="101"/>
                  </a:cubicBezTo>
                  <a:close/>
                  <a:moveTo>
                    <a:pt x="1451" y="101"/>
                  </a:moveTo>
                  <a:cubicBezTo>
                    <a:pt x="1451" y="101"/>
                    <a:pt x="1451" y="101"/>
                    <a:pt x="1450" y="101"/>
                  </a:cubicBezTo>
                  <a:cubicBezTo>
                    <a:pt x="1451" y="101"/>
                    <a:pt x="1451" y="101"/>
                    <a:pt x="1451" y="101"/>
                  </a:cubicBezTo>
                  <a:close/>
                  <a:moveTo>
                    <a:pt x="1675" y="101"/>
                  </a:moveTo>
                  <a:cubicBezTo>
                    <a:pt x="1675" y="101"/>
                    <a:pt x="1675" y="101"/>
                    <a:pt x="1674" y="101"/>
                  </a:cubicBezTo>
                  <a:cubicBezTo>
                    <a:pt x="1674" y="101"/>
                    <a:pt x="1674" y="101"/>
                    <a:pt x="1675" y="101"/>
                  </a:cubicBezTo>
                  <a:close/>
                  <a:moveTo>
                    <a:pt x="900" y="50"/>
                  </a:moveTo>
                  <a:cubicBezTo>
                    <a:pt x="900" y="50"/>
                    <a:pt x="900" y="49"/>
                    <a:pt x="899" y="49"/>
                  </a:cubicBezTo>
                  <a:cubicBezTo>
                    <a:pt x="899" y="50"/>
                    <a:pt x="899" y="50"/>
                    <a:pt x="900" y="50"/>
                  </a:cubicBezTo>
                  <a:close/>
                  <a:moveTo>
                    <a:pt x="840" y="43"/>
                  </a:moveTo>
                  <a:cubicBezTo>
                    <a:pt x="839" y="43"/>
                    <a:pt x="839" y="43"/>
                    <a:pt x="839" y="43"/>
                  </a:cubicBezTo>
                  <a:cubicBezTo>
                    <a:pt x="839" y="43"/>
                    <a:pt x="839" y="43"/>
                    <a:pt x="840" y="43"/>
                  </a:cubicBezTo>
                  <a:close/>
                  <a:moveTo>
                    <a:pt x="663" y="101"/>
                  </a:moveTo>
                  <a:cubicBezTo>
                    <a:pt x="663" y="101"/>
                    <a:pt x="663" y="101"/>
                    <a:pt x="663" y="101"/>
                  </a:cubicBezTo>
                  <a:cubicBezTo>
                    <a:pt x="663" y="101"/>
                    <a:pt x="663" y="102"/>
                    <a:pt x="663" y="101"/>
                  </a:cubicBezTo>
                  <a:close/>
                  <a:moveTo>
                    <a:pt x="687" y="101"/>
                  </a:moveTo>
                  <a:cubicBezTo>
                    <a:pt x="687" y="101"/>
                    <a:pt x="686" y="101"/>
                    <a:pt x="686" y="101"/>
                  </a:cubicBezTo>
                  <a:cubicBezTo>
                    <a:pt x="687" y="102"/>
                    <a:pt x="687" y="101"/>
                    <a:pt x="687" y="101"/>
                  </a:cubicBezTo>
                  <a:close/>
                  <a:moveTo>
                    <a:pt x="723" y="101"/>
                  </a:moveTo>
                  <a:cubicBezTo>
                    <a:pt x="723" y="101"/>
                    <a:pt x="723" y="101"/>
                    <a:pt x="723" y="101"/>
                  </a:cubicBezTo>
                  <a:cubicBezTo>
                    <a:pt x="723" y="101"/>
                    <a:pt x="723" y="101"/>
                    <a:pt x="723" y="101"/>
                  </a:cubicBezTo>
                  <a:close/>
                  <a:moveTo>
                    <a:pt x="742" y="101"/>
                  </a:moveTo>
                  <a:cubicBezTo>
                    <a:pt x="741" y="101"/>
                    <a:pt x="741" y="101"/>
                    <a:pt x="741" y="102"/>
                  </a:cubicBezTo>
                  <a:cubicBezTo>
                    <a:pt x="741" y="102"/>
                    <a:pt x="742" y="101"/>
                    <a:pt x="742" y="101"/>
                  </a:cubicBezTo>
                  <a:close/>
                  <a:moveTo>
                    <a:pt x="766" y="101"/>
                  </a:moveTo>
                  <a:cubicBezTo>
                    <a:pt x="766" y="101"/>
                    <a:pt x="766" y="101"/>
                    <a:pt x="765" y="101"/>
                  </a:cubicBezTo>
                  <a:cubicBezTo>
                    <a:pt x="766" y="101"/>
                    <a:pt x="766" y="102"/>
                    <a:pt x="766" y="101"/>
                  </a:cubicBezTo>
                  <a:close/>
                  <a:moveTo>
                    <a:pt x="972" y="13"/>
                  </a:moveTo>
                  <a:cubicBezTo>
                    <a:pt x="973" y="13"/>
                    <a:pt x="973" y="13"/>
                    <a:pt x="973" y="13"/>
                  </a:cubicBezTo>
                  <a:cubicBezTo>
                    <a:pt x="973" y="13"/>
                    <a:pt x="972" y="13"/>
                    <a:pt x="972" y="13"/>
                  </a:cubicBezTo>
                  <a:close/>
                  <a:moveTo>
                    <a:pt x="870" y="43"/>
                  </a:moveTo>
                  <a:cubicBezTo>
                    <a:pt x="870" y="43"/>
                    <a:pt x="870" y="43"/>
                    <a:pt x="870" y="43"/>
                  </a:cubicBezTo>
                  <a:cubicBezTo>
                    <a:pt x="870" y="43"/>
                    <a:pt x="870" y="43"/>
                    <a:pt x="870" y="43"/>
                  </a:cubicBezTo>
                  <a:close/>
                  <a:moveTo>
                    <a:pt x="882" y="43"/>
                  </a:moveTo>
                  <a:cubicBezTo>
                    <a:pt x="882" y="43"/>
                    <a:pt x="882" y="43"/>
                    <a:pt x="882" y="43"/>
                  </a:cubicBezTo>
                  <a:cubicBezTo>
                    <a:pt x="882" y="43"/>
                    <a:pt x="882" y="43"/>
                    <a:pt x="882" y="43"/>
                  </a:cubicBezTo>
                  <a:close/>
                  <a:moveTo>
                    <a:pt x="909" y="43"/>
                  </a:moveTo>
                  <a:cubicBezTo>
                    <a:pt x="909" y="43"/>
                    <a:pt x="909" y="43"/>
                    <a:pt x="910" y="43"/>
                  </a:cubicBezTo>
                  <a:cubicBezTo>
                    <a:pt x="910" y="43"/>
                    <a:pt x="909" y="43"/>
                    <a:pt x="909" y="43"/>
                  </a:cubicBezTo>
                  <a:close/>
                  <a:moveTo>
                    <a:pt x="1033" y="50"/>
                  </a:moveTo>
                  <a:cubicBezTo>
                    <a:pt x="1033" y="50"/>
                    <a:pt x="1033" y="50"/>
                    <a:pt x="1033" y="49"/>
                  </a:cubicBezTo>
                  <a:cubicBezTo>
                    <a:pt x="1033" y="49"/>
                    <a:pt x="1033" y="50"/>
                    <a:pt x="1033" y="50"/>
                  </a:cubicBezTo>
                  <a:close/>
                  <a:moveTo>
                    <a:pt x="1183" y="102"/>
                  </a:moveTo>
                  <a:cubicBezTo>
                    <a:pt x="1183" y="101"/>
                    <a:pt x="1183" y="101"/>
                    <a:pt x="1183" y="101"/>
                  </a:cubicBezTo>
                  <a:cubicBezTo>
                    <a:pt x="1183" y="101"/>
                    <a:pt x="1183" y="102"/>
                    <a:pt x="1183" y="102"/>
                  </a:cubicBezTo>
                  <a:close/>
                  <a:moveTo>
                    <a:pt x="1202" y="101"/>
                  </a:moveTo>
                  <a:cubicBezTo>
                    <a:pt x="1202" y="101"/>
                    <a:pt x="1201" y="101"/>
                    <a:pt x="1201" y="101"/>
                  </a:cubicBezTo>
                  <a:cubicBezTo>
                    <a:pt x="1201" y="101"/>
                    <a:pt x="1202" y="101"/>
                    <a:pt x="1202" y="101"/>
                  </a:cubicBezTo>
                  <a:close/>
                  <a:moveTo>
                    <a:pt x="1290" y="43"/>
                  </a:moveTo>
                  <a:cubicBezTo>
                    <a:pt x="1290" y="43"/>
                    <a:pt x="1290" y="43"/>
                    <a:pt x="1290" y="43"/>
                  </a:cubicBezTo>
                  <a:cubicBezTo>
                    <a:pt x="1290" y="43"/>
                    <a:pt x="1290" y="43"/>
                    <a:pt x="1290" y="43"/>
                  </a:cubicBezTo>
                  <a:close/>
                  <a:moveTo>
                    <a:pt x="1252" y="101"/>
                  </a:moveTo>
                  <a:cubicBezTo>
                    <a:pt x="1252" y="101"/>
                    <a:pt x="1251" y="101"/>
                    <a:pt x="1251" y="101"/>
                  </a:cubicBezTo>
                  <a:cubicBezTo>
                    <a:pt x="1252" y="102"/>
                    <a:pt x="1252" y="101"/>
                    <a:pt x="1252" y="101"/>
                  </a:cubicBezTo>
                  <a:close/>
                  <a:moveTo>
                    <a:pt x="1429" y="101"/>
                  </a:moveTo>
                  <a:cubicBezTo>
                    <a:pt x="1429" y="101"/>
                    <a:pt x="1429" y="101"/>
                    <a:pt x="1429" y="101"/>
                  </a:cubicBezTo>
                  <a:cubicBezTo>
                    <a:pt x="1429" y="101"/>
                    <a:pt x="1429" y="102"/>
                    <a:pt x="1429" y="101"/>
                  </a:cubicBezTo>
                  <a:close/>
                  <a:moveTo>
                    <a:pt x="1450" y="101"/>
                  </a:moveTo>
                  <a:cubicBezTo>
                    <a:pt x="1450" y="101"/>
                    <a:pt x="1450" y="101"/>
                    <a:pt x="1449" y="102"/>
                  </a:cubicBezTo>
                  <a:cubicBezTo>
                    <a:pt x="1450" y="102"/>
                    <a:pt x="1450" y="101"/>
                    <a:pt x="1450" y="101"/>
                  </a:cubicBezTo>
                  <a:close/>
                  <a:moveTo>
                    <a:pt x="1396" y="43"/>
                  </a:moveTo>
                  <a:cubicBezTo>
                    <a:pt x="1395" y="43"/>
                    <a:pt x="1395" y="43"/>
                    <a:pt x="1395" y="43"/>
                  </a:cubicBezTo>
                  <a:cubicBezTo>
                    <a:pt x="1396" y="43"/>
                    <a:pt x="1396" y="43"/>
                    <a:pt x="1396" y="43"/>
                  </a:cubicBezTo>
                  <a:close/>
                  <a:moveTo>
                    <a:pt x="1568" y="43"/>
                  </a:moveTo>
                  <a:cubicBezTo>
                    <a:pt x="1568" y="43"/>
                    <a:pt x="1568" y="43"/>
                    <a:pt x="1568" y="43"/>
                  </a:cubicBezTo>
                  <a:cubicBezTo>
                    <a:pt x="1568" y="43"/>
                    <a:pt x="1568" y="43"/>
                    <a:pt x="1568" y="43"/>
                  </a:cubicBezTo>
                  <a:close/>
                  <a:moveTo>
                    <a:pt x="1683" y="43"/>
                  </a:moveTo>
                  <a:cubicBezTo>
                    <a:pt x="1682" y="43"/>
                    <a:pt x="1682" y="43"/>
                    <a:pt x="1682" y="43"/>
                  </a:cubicBezTo>
                  <a:cubicBezTo>
                    <a:pt x="1683" y="43"/>
                    <a:pt x="1683" y="43"/>
                    <a:pt x="1683" y="43"/>
                  </a:cubicBezTo>
                  <a:close/>
                  <a:moveTo>
                    <a:pt x="686" y="102"/>
                  </a:moveTo>
                  <a:cubicBezTo>
                    <a:pt x="686" y="102"/>
                    <a:pt x="685" y="102"/>
                    <a:pt x="685" y="102"/>
                  </a:cubicBezTo>
                  <a:cubicBezTo>
                    <a:pt x="686" y="102"/>
                    <a:pt x="686" y="102"/>
                    <a:pt x="686" y="102"/>
                  </a:cubicBezTo>
                  <a:close/>
                  <a:moveTo>
                    <a:pt x="1494" y="13"/>
                  </a:moveTo>
                  <a:cubicBezTo>
                    <a:pt x="1494" y="13"/>
                    <a:pt x="1494" y="13"/>
                    <a:pt x="1494" y="13"/>
                  </a:cubicBezTo>
                  <a:cubicBezTo>
                    <a:pt x="1494" y="13"/>
                    <a:pt x="1494" y="13"/>
                    <a:pt x="1494" y="13"/>
                  </a:cubicBezTo>
                  <a:close/>
                  <a:moveTo>
                    <a:pt x="741" y="102"/>
                  </a:moveTo>
                  <a:cubicBezTo>
                    <a:pt x="741" y="101"/>
                    <a:pt x="740" y="102"/>
                    <a:pt x="740" y="102"/>
                  </a:cubicBezTo>
                  <a:cubicBezTo>
                    <a:pt x="741" y="102"/>
                    <a:pt x="741" y="102"/>
                    <a:pt x="741" y="102"/>
                  </a:cubicBezTo>
                  <a:close/>
                  <a:moveTo>
                    <a:pt x="767" y="102"/>
                  </a:moveTo>
                  <a:cubicBezTo>
                    <a:pt x="767" y="102"/>
                    <a:pt x="767" y="101"/>
                    <a:pt x="766" y="102"/>
                  </a:cubicBezTo>
                  <a:cubicBezTo>
                    <a:pt x="767" y="102"/>
                    <a:pt x="767" y="102"/>
                    <a:pt x="767" y="102"/>
                  </a:cubicBezTo>
                  <a:close/>
                  <a:moveTo>
                    <a:pt x="1736" y="43"/>
                  </a:moveTo>
                  <a:cubicBezTo>
                    <a:pt x="1736" y="43"/>
                    <a:pt x="1737" y="43"/>
                    <a:pt x="1737" y="43"/>
                  </a:cubicBezTo>
                  <a:cubicBezTo>
                    <a:pt x="1736" y="43"/>
                    <a:pt x="1736" y="43"/>
                    <a:pt x="1736" y="43"/>
                  </a:cubicBezTo>
                  <a:close/>
                  <a:moveTo>
                    <a:pt x="678" y="62"/>
                  </a:moveTo>
                  <a:cubicBezTo>
                    <a:pt x="679" y="62"/>
                    <a:pt x="679" y="62"/>
                    <a:pt x="679" y="62"/>
                  </a:cubicBezTo>
                  <a:cubicBezTo>
                    <a:pt x="679" y="62"/>
                    <a:pt x="679" y="62"/>
                    <a:pt x="678" y="62"/>
                  </a:cubicBezTo>
                  <a:close/>
                  <a:moveTo>
                    <a:pt x="641" y="44"/>
                  </a:moveTo>
                  <a:cubicBezTo>
                    <a:pt x="641" y="44"/>
                    <a:pt x="641" y="43"/>
                    <a:pt x="641" y="43"/>
                  </a:cubicBezTo>
                  <a:cubicBezTo>
                    <a:pt x="641" y="43"/>
                    <a:pt x="641" y="44"/>
                    <a:pt x="641" y="44"/>
                  </a:cubicBezTo>
                  <a:close/>
                  <a:moveTo>
                    <a:pt x="1746" y="48"/>
                  </a:moveTo>
                  <a:cubicBezTo>
                    <a:pt x="1745" y="48"/>
                    <a:pt x="1745" y="49"/>
                    <a:pt x="1745" y="49"/>
                  </a:cubicBezTo>
                  <a:cubicBezTo>
                    <a:pt x="1746" y="49"/>
                    <a:pt x="1746" y="49"/>
                    <a:pt x="1746" y="48"/>
                  </a:cubicBezTo>
                  <a:close/>
                  <a:moveTo>
                    <a:pt x="660" y="44"/>
                  </a:moveTo>
                  <a:cubicBezTo>
                    <a:pt x="661" y="44"/>
                    <a:pt x="661" y="43"/>
                    <a:pt x="661" y="43"/>
                  </a:cubicBezTo>
                  <a:cubicBezTo>
                    <a:pt x="660" y="43"/>
                    <a:pt x="660" y="43"/>
                    <a:pt x="660" y="44"/>
                  </a:cubicBezTo>
                  <a:close/>
                  <a:moveTo>
                    <a:pt x="676" y="43"/>
                  </a:moveTo>
                  <a:cubicBezTo>
                    <a:pt x="675" y="43"/>
                    <a:pt x="675" y="43"/>
                    <a:pt x="675" y="43"/>
                  </a:cubicBezTo>
                  <a:cubicBezTo>
                    <a:pt x="675" y="43"/>
                    <a:pt x="675" y="43"/>
                    <a:pt x="676" y="43"/>
                  </a:cubicBezTo>
                  <a:close/>
                  <a:moveTo>
                    <a:pt x="1184" y="102"/>
                  </a:moveTo>
                  <a:cubicBezTo>
                    <a:pt x="1184" y="102"/>
                    <a:pt x="1184" y="102"/>
                    <a:pt x="1183" y="102"/>
                  </a:cubicBezTo>
                  <a:cubicBezTo>
                    <a:pt x="1184" y="102"/>
                    <a:pt x="1184" y="102"/>
                    <a:pt x="1184" y="102"/>
                  </a:cubicBezTo>
                  <a:close/>
                  <a:moveTo>
                    <a:pt x="1201" y="102"/>
                  </a:moveTo>
                  <a:cubicBezTo>
                    <a:pt x="1201" y="102"/>
                    <a:pt x="1200" y="102"/>
                    <a:pt x="1200" y="102"/>
                  </a:cubicBezTo>
                  <a:cubicBezTo>
                    <a:pt x="1200" y="102"/>
                    <a:pt x="1201" y="102"/>
                    <a:pt x="1201" y="102"/>
                  </a:cubicBezTo>
                  <a:close/>
                  <a:moveTo>
                    <a:pt x="971" y="14"/>
                  </a:moveTo>
                  <a:cubicBezTo>
                    <a:pt x="972" y="14"/>
                    <a:pt x="972" y="14"/>
                    <a:pt x="972" y="13"/>
                  </a:cubicBezTo>
                  <a:cubicBezTo>
                    <a:pt x="972" y="13"/>
                    <a:pt x="971" y="14"/>
                    <a:pt x="971" y="14"/>
                  </a:cubicBezTo>
                  <a:close/>
                  <a:moveTo>
                    <a:pt x="829" y="44"/>
                  </a:moveTo>
                  <a:cubicBezTo>
                    <a:pt x="829" y="44"/>
                    <a:pt x="829" y="43"/>
                    <a:pt x="829" y="43"/>
                  </a:cubicBezTo>
                  <a:cubicBezTo>
                    <a:pt x="829" y="43"/>
                    <a:pt x="829" y="43"/>
                    <a:pt x="829" y="44"/>
                  </a:cubicBezTo>
                  <a:close/>
                  <a:moveTo>
                    <a:pt x="839" y="43"/>
                  </a:moveTo>
                  <a:cubicBezTo>
                    <a:pt x="839" y="43"/>
                    <a:pt x="838" y="43"/>
                    <a:pt x="838" y="43"/>
                  </a:cubicBezTo>
                  <a:cubicBezTo>
                    <a:pt x="838" y="43"/>
                    <a:pt x="839" y="43"/>
                    <a:pt x="839" y="43"/>
                  </a:cubicBezTo>
                  <a:close/>
                  <a:moveTo>
                    <a:pt x="1449" y="101"/>
                  </a:moveTo>
                  <a:cubicBezTo>
                    <a:pt x="1449" y="101"/>
                    <a:pt x="1449" y="102"/>
                    <a:pt x="1449" y="102"/>
                  </a:cubicBezTo>
                  <a:cubicBezTo>
                    <a:pt x="1449" y="102"/>
                    <a:pt x="1449" y="102"/>
                    <a:pt x="1449" y="101"/>
                  </a:cubicBezTo>
                  <a:close/>
                  <a:moveTo>
                    <a:pt x="1291" y="53"/>
                  </a:moveTo>
                  <a:cubicBezTo>
                    <a:pt x="1290" y="53"/>
                    <a:pt x="1290" y="54"/>
                    <a:pt x="1290" y="54"/>
                  </a:cubicBezTo>
                  <a:cubicBezTo>
                    <a:pt x="1291" y="54"/>
                    <a:pt x="1291" y="53"/>
                    <a:pt x="1291" y="53"/>
                  </a:cubicBezTo>
                  <a:close/>
                  <a:moveTo>
                    <a:pt x="1493" y="14"/>
                  </a:moveTo>
                  <a:cubicBezTo>
                    <a:pt x="1493" y="14"/>
                    <a:pt x="1493" y="14"/>
                    <a:pt x="1494" y="13"/>
                  </a:cubicBezTo>
                  <a:cubicBezTo>
                    <a:pt x="1493" y="13"/>
                    <a:pt x="1493" y="14"/>
                    <a:pt x="1493" y="14"/>
                  </a:cubicBezTo>
                  <a:close/>
                  <a:moveTo>
                    <a:pt x="851" y="43"/>
                  </a:moveTo>
                  <a:cubicBezTo>
                    <a:pt x="851" y="43"/>
                    <a:pt x="851" y="43"/>
                    <a:pt x="850" y="43"/>
                  </a:cubicBezTo>
                  <a:cubicBezTo>
                    <a:pt x="851" y="43"/>
                    <a:pt x="851" y="43"/>
                    <a:pt x="851" y="43"/>
                  </a:cubicBezTo>
                  <a:close/>
                  <a:moveTo>
                    <a:pt x="867" y="43"/>
                  </a:moveTo>
                  <a:cubicBezTo>
                    <a:pt x="867" y="43"/>
                    <a:pt x="867" y="44"/>
                    <a:pt x="867" y="44"/>
                  </a:cubicBezTo>
                  <a:cubicBezTo>
                    <a:pt x="867" y="43"/>
                    <a:pt x="867" y="43"/>
                    <a:pt x="867" y="43"/>
                  </a:cubicBezTo>
                  <a:close/>
                  <a:moveTo>
                    <a:pt x="725" y="102"/>
                  </a:moveTo>
                  <a:cubicBezTo>
                    <a:pt x="725" y="102"/>
                    <a:pt x="725" y="102"/>
                    <a:pt x="724" y="102"/>
                  </a:cubicBezTo>
                  <a:cubicBezTo>
                    <a:pt x="725" y="102"/>
                    <a:pt x="725" y="102"/>
                    <a:pt x="725" y="102"/>
                  </a:cubicBezTo>
                  <a:close/>
                  <a:moveTo>
                    <a:pt x="882" y="43"/>
                  </a:moveTo>
                  <a:cubicBezTo>
                    <a:pt x="881" y="43"/>
                    <a:pt x="881" y="43"/>
                    <a:pt x="881" y="43"/>
                  </a:cubicBezTo>
                  <a:cubicBezTo>
                    <a:pt x="881" y="43"/>
                    <a:pt x="882" y="43"/>
                    <a:pt x="882" y="43"/>
                  </a:cubicBezTo>
                  <a:close/>
                  <a:moveTo>
                    <a:pt x="894" y="43"/>
                  </a:moveTo>
                  <a:cubicBezTo>
                    <a:pt x="894" y="43"/>
                    <a:pt x="893" y="43"/>
                    <a:pt x="893" y="43"/>
                  </a:cubicBezTo>
                  <a:cubicBezTo>
                    <a:pt x="893" y="43"/>
                    <a:pt x="894" y="43"/>
                    <a:pt x="894" y="43"/>
                  </a:cubicBezTo>
                  <a:close/>
                  <a:moveTo>
                    <a:pt x="1123" y="43"/>
                  </a:moveTo>
                  <a:cubicBezTo>
                    <a:pt x="1122" y="43"/>
                    <a:pt x="1122" y="43"/>
                    <a:pt x="1122" y="43"/>
                  </a:cubicBezTo>
                  <a:cubicBezTo>
                    <a:pt x="1122" y="43"/>
                    <a:pt x="1122" y="43"/>
                    <a:pt x="1123" y="43"/>
                  </a:cubicBezTo>
                  <a:close/>
                  <a:moveTo>
                    <a:pt x="1670" y="56"/>
                  </a:moveTo>
                  <a:cubicBezTo>
                    <a:pt x="1670" y="56"/>
                    <a:pt x="1670" y="56"/>
                    <a:pt x="1669" y="57"/>
                  </a:cubicBezTo>
                  <a:cubicBezTo>
                    <a:pt x="1670" y="57"/>
                    <a:pt x="1670" y="57"/>
                    <a:pt x="1670" y="56"/>
                  </a:cubicBezTo>
                  <a:close/>
                  <a:moveTo>
                    <a:pt x="1135" y="43"/>
                  </a:moveTo>
                  <a:cubicBezTo>
                    <a:pt x="1135" y="43"/>
                    <a:pt x="1135" y="43"/>
                    <a:pt x="1135" y="43"/>
                  </a:cubicBezTo>
                  <a:cubicBezTo>
                    <a:pt x="1135" y="43"/>
                    <a:pt x="1135" y="43"/>
                    <a:pt x="1135" y="43"/>
                  </a:cubicBezTo>
                  <a:close/>
                  <a:moveTo>
                    <a:pt x="1151" y="43"/>
                  </a:moveTo>
                  <a:cubicBezTo>
                    <a:pt x="1151" y="43"/>
                    <a:pt x="1152" y="44"/>
                    <a:pt x="1152" y="44"/>
                  </a:cubicBezTo>
                  <a:cubicBezTo>
                    <a:pt x="1152" y="43"/>
                    <a:pt x="1152" y="43"/>
                    <a:pt x="1151" y="43"/>
                  </a:cubicBezTo>
                  <a:close/>
                  <a:moveTo>
                    <a:pt x="1492" y="14"/>
                  </a:moveTo>
                  <a:cubicBezTo>
                    <a:pt x="1493" y="14"/>
                    <a:pt x="1493" y="14"/>
                    <a:pt x="1493" y="14"/>
                  </a:cubicBezTo>
                  <a:cubicBezTo>
                    <a:pt x="1493" y="14"/>
                    <a:pt x="1492" y="14"/>
                    <a:pt x="1492" y="14"/>
                  </a:cubicBezTo>
                  <a:close/>
                  <a:moveTo>
                    <a:pt x="1260" y="43"/>
                  </a:moveTo>
                  <a:cubicBezTo>
                    <a:pt x="1260" y="43"/>
                    <a:pt x="1260" y="44"/>
                    <a:pt x="1260" y="44"/>
                  </a:cubicBezTo>
                  <a:cubicBezTo>
                    <a:pt x="1260" y="43"/>
                    <a:pt x="1260" y="43"/>
                    <a:pt x="1260" y="43"/>
                  </a:cubicBezTo>
                  <a:close/>
                  <a:moveTo>
                    <a:pt x="1384" y="44"/>
                  </a:moveTo>
                  <a:cubicBezTo>
                    <a:pt x="1384" y="44"/>
                    <a:pt x="1384" y="43"/>
                    <a:pt x="1384" y="43"/>
                  </a:cubicBezTo>
                  <a:cubicBezTo>
                    <a:pt x="1384" y="43"/>
                    <a:pt x="1384" y="43"/>
                    <a:pt x="1384" y="44"/>
                  </a:cubicBezTo>
                  <a:close/>
                  <a:moveTo>
                    <a:pt x="725" y="14"/>
                  </a:moveTo>
                  <a:cubicBezTo>
                    <a:pt x="725" y="15"/>
                    <a:pt x="725" y="15"/>
                    <a:pt x="725" y="15"/>
                  </a:cubicBezTo>
                  <a:cubicBezTo>
                    <a:pt x="725" y="14"/>
                    <a:pt x="725" y="14"/>
                    <a:pt x="725" y="14"/>
                  </a:cubicBezTo>
                  <a:close/>
                  <a:moveTo>
                    <a:pt x="1580" y="43"/>
                  </a:moveTo>
                  <a:cubicBezTo>
                    <a:pt x="1580" y="43"/>
                    <a:pt x="1580" y="43"/>
                    <a:pt x="1580" y="44"/>
                  </a:cubicBezTo>
                  <a:cubicBezTo>
                    <a:pt x="1580" y="44"/>
                    <a:pt x="1580" y="43"/>
                    <a:pt x="1580" y="43"/>
                  </a:cubicBezTo>
                  <a:close/>
                  <a:moveTo>
                    <a:pt x="596" y="44"/>
                  </a:moveTo>
                  <a:cubicBezTo>
                    <a:pt x="596" y="44"/>
                    <a:pt x="596" y="43"/>
                    <a:pt x="596" y="43"/>
                  </a:cubicBezTo>
                  <a:cubicBezTo>
                    <a:pt x="596" y="44"/>
                    <a:pt x="596" y="44"/>
                    <a:pt x="596" y="44"/>
                  </a:cubicBezTo>
                  <a:close/>
                  <a:moveTo>
                    <a:pt x="1492" y="15"/>
                  </a:moveTo>
                  <a:cubicBezTo>
                    <a:pt x="1492" y="15"/>
                    <a:pt x="1492" y="14"/>
                    <a:pt x="1492" y="14"/>
                  </a:cubicBezTo>
                  <a:cubicBezTo>
                    <a:pt x="1492" y="14"/>
                    <a:pt x="1492" y="14"/>
                    <a:pt x="1492" y="15"/>
                  </a:cubicBezTo>
                  <a:close/>
                  <a:moveTo>
                    <a:pt x="1211" y="50"/>
                  </a:moveTo>
                  <a:cubicBezTo>
                    <a:pt x="1211" y="50"/>
                    <a:pt x="1211" y="50"/>
                    <a:pt x="1211" y="49"/>
                  </a:cubicBezTo>
                  <a:cubicBezTo>
                    <a:pt x="1211" y="49"/>
                    <a:pt x="1211" y="50"/>
                    <a:pt x="1211" y="50"/>
                  </a:cubicBezTo>
                  <a:close/>
                  <a:moveTo>
                    <a:pt x="629" y="102"/>
                  </a:moveTo>
                  <a:cubicBezTo>
                    <a:pt x="629" y="102"/>
                    <a:pt x="629" y="103"/>
                    <a:pt x="629" y="103"/>
                  </a:cubicBezTo>
                  <a:cubicBezTo>
                    <a:pt x="629" y="103"/>
                    <a:pt x="629" y="102"/>
                    <a:pt x="629" y="102"/>
                  </a:cubicBezTo>
                  <a:close/>
                  <a:moveTo>
                    <a:pt x="1293" y="49"/>
                  </a:moveTo>
                  <a:cubicBezTo>
                    <a:pt x="1293" y="49"/>
                    <a:pt x="1292" y="50"/>
                    <a:pt x="1292" y="50"/>
                  </a:cubicBezTo>
                  <a:cubicBezTo>
                    <a:pt x="1293" y="50"/>
                    <a:pt x="1293" y="50"/>
                    <a:pt x="1293" y="49"/>
                  </a:cubicBezTo>
                  <a:close/>
                  <a:moveTo>
                    <a:pt x="577" y="57"/>
                  </a:moveTo>
                  <a:cubicBezTo>
                    <a:pt x="577" y="57"/>
                    <a:pt x="577" y="57"/>
                    <a:pt x="577" y="57"/>
                  </a:cubicBezTo>
                  <a:cubicBezTo>
                    <a:pt x="577" y="57"/>
                    <a:pt x="577" y="57"/>
                    <a:pt x="577" y="57"/>
                  </a:cubicBezTo>
                  <a:close/>
                  <a:moveTo>
                    <a:pt x="724" y="15"/>
                  </a:moveTo>
                  <a:cubicBezTo>
                    <a:pt x="724" y="15"/>
                    <a:pt x="724" y="15"/>
                    <a:pt x="725" y="15"/>
                  </a:cubicBezTo>
                  <a:cubicBezTo>
                    <a:pt x="724" y="15"/>
                    <a:pt x="724" y="15"/>
                    <a:pt x="724" y="15"/>
                  </a:cubicBezTo>
                  <a:close/>
                  <a:moveTo>
                    <a:pt x="970" y="15"/>
                  </a:moveTo>
                  <a:cubicBezTo>
                    <a:pt x="970" y="15"/>
                    <a:pt x="970" y="15"/>
                    <a:pt x="970" y="14"/>
                  </a:cubicBezTo>
                  <a:cubicBezTo>
                    <a:pt x="970" y="15"/>
                    <a:pt x="970" y="15"/>
                    <a:pt x="970" y="15"/>
                  </a:cubicBezTo>
                  <a:close/>
                  <a:moveTo>
                    <a:pt x="1392" y="15"/>
                  </a:moveTo>
                  <a:cubicBezTo>
                    <a:pt x="1392" y="15"/>
                    <a:pt x="1392" y="15"/>
                    <a:pt x="1392" y="15"/>
                  </a:cubicBezTo>
                  <a:cubicBezTo>
                    <a:pt x="1392" y="15"/>
                    <a:pt x="1392" y="15"/>
                    <a:pt x="1392" y="15"/>
                  </a:cubicBezTo>
                  <a:close/>
                  <a:moveTo>
                    <a:pt x="1263" y="48"/>
                  </a:moveTo>
                  <a:cubicBezTo>
                    <a:pt x="1263" y="48"/>
                    <a:pt x="1263" y="48"/>
                    <a:pt x="1263" y="48"/>
                  </a:cubicBezTo>
                  <a:cubicBezTo>
                    <a:pt x="1263" y="48"/>
                    <a:pt x="1263" y="48"/>
                    <a:pt x="1263" y="48"/>
                  </a:cubicBezTo>
                  <a:close/>
                  <a:moveTo>
                    <a:pt x="634" y="63"/>
                  </a:moveTo>
                  <a:cubicBezTo>
                    <a:pt x="634" y="63"/>
                    <a:pt x="634" y="62"/>
                    <a:pt x="634" y="62"/>
                  </a:cubicBezTo>
                  <a:cubicBezTo>
                    <a:pt x="634" y="62"/>
                    <a:pt x="634" y="63"/>
                    <a:pt x="634" y="63"/>
                  </a:cubicBezTo>
                  <a:close/>
                  <a:moveTo>
                    <a:pt x="873" y="52"/>
                  </a:moveTo>
                  <a:cubicBezTo>
                    <a:pt x="873" y="52"/>
                    <a:pt x="873" y="52"/>
                    <a:pt x="873" y="52"/>
                  </a:cubicBezTo>
                  <a:cubicBezTo>
                    <a:pt x="873" y="52"/>
                    <a:pt x="873" y="52"/>
                    <a:pt x="873" y="52"/>
                  </a:cubicBezTo>
                  <a:close/>
                  <a:moveTo>
                    <a:pt x="679" y="62"/>
                  </a:moveTo>
                  <a:cubicBezTo>
                    <a:pt x="679" y="62"/>
                    <a:pt x="679" y="63"/>
                    <a:pt x="680" y="63"/>
                  </a:cubicBezTo>
                  <a:cubicBezTo>
                    <a:pt x="680" y="62"/>
                    <a:pt x="679" y="62"/>
                    <a:pt x="679" y="62"/>
                  </a:cubicBezTo>
                  <a:close/>
                  <a:moveTo>
                    <a:pt x="1380" y="62"/>
                  </a:moveTo>
                  <a:cubicBezTo>
                    <a:pt x="1380" y="62"/>
                    <a:pt x="1380" y="62"/>
                    <a:pt x="1380" y="63"/>
                  </a:cubicBezTo>
                  <a:cubicBezTo>
                    <a:pt x="1380" y="63"/>
                    <a:pt x="1380" y="62"/>
                    <a:pt x="1380" y="62"/>
                  </a:cubicBezTo>
                  <a:close/>
                  <a:moveTo>
                    <a:pt x="611" y="53"/>
                  </a:moveTo>
                  <a:cubicBezTo>
                    <a:pt x="611" y="53"/>
                    <a:pt x="611" y="53"/>
                    <a:pt x="611" y="54"/>
                  </a:cubicBezTo>
                  <a:cubicBezTo>
                    <a:pt x="611" y="53"/>
                    <a:pt x="611" y="53"/>
                    <a:pt x="611" y="53"/>
                  </a:cubicBezTo>
                  <a:close/>
                  <a:moveTo>
                    <a:pt x="1491" y="15"/>
                  </a:moveTo>
                  <a:cubicBezTo>
                    <a:pt x="1491" y="15"/>
                    <a:pt x="1491" y="15"/>
                    <a:pt x="1492" y="15"/>
                  </a:cubicBezTo>
                  <a:cubicBezTo>
                    <a:pt x="1491" y="15"/>
                    <a:pt x="1491" y="15"/>
                    <a:pt x="1491" y="15"/>
                  </a:cubicBezTo>
                  <a:close/>
                  <a:moveTo>
                    <a:pt x="1733" y="49"/>
                  </a:moveTo>
                  <a:cubicBezTo>
                    <a:pt x="1733" y="49"/>
                    <a:pt x="1733" y="49"/>
                    <a:pt x="1733" y="48"/>
                  </a:cubicBezTo>
                  <a:cubicBezTo>
                    <a:pt x="1733" y="48"/>
                    <a:pt x="1733" y="49"/>
                    <a:pt x="1733" y="49"/>
                  </a:cubicBezTo>
                  <a:close/>
                  <a:moveTo>
                    <a:pt x="601" y="57"/>
                  </a:moveTo>
                  <a:cubicBezTo>
                    <a:pt x="601" y="57"/>
                    <a:pt x="601" y="57"/>
                    <a:pt x="601" y="57"/>
                  </a:cubicBezTo>
                  <a:cubicBezTo>
                    <a:pt x="601" y="57"/>
                    <a:pt x="601" y="57"/>
                    <a:pt x="601" y="57"/>
                  </a:cubicBezTo>
                  <a:close/>
                  <a:moveTo>
                    <a:pt x="1653" y="62"/>
                  </a:moveTo>
                  <a:cubicBezTo>
                    <a:pt x="1653" y="62"/>
                    <a:pt x="1652" y="62"/>
                    <a:pt x="1652" y="62"/>
                  </a:cubicBezTo>
                  <a:cubicBezTo>
                    <a:pt x="1652" y="63"/>
                    <a:pt x="1653" y="63"/>
                    <a:pt x="1653" y="62"/>
                  </a:cubicBezTo>
                  <a:close/>
                  <a:moveTo>
                    <a:pt x="647" y="56"/>
                  </a:moveTo>
                  <a:cubicBezTo>
                    <a:pt x="647" y="57"/>
                    <a:pt x="647" y="57"/>
                    <a:pt x="647" y="57"/>
                  </a:cubicBezTo>
                  <a:cubicBezTo>
                    <a:pt x="647" y="57"/>
                    <a:pt x="647" y="57"/>
                    <a:pt x="647" y="56"/>
                  </a:cubicBezTo>
                  <a:close/>
                  <a:moveTo>
                    <a:pt x="965" y="39"/>
                  </a:moveTo>
                  <a:cubicBezTo>
                    <a:pt x="965" y="39"/>
                    <a:pt x="965" y="40"/>
                    <a:pt x="965" y="40"/>
                  </a:cubicBezTo>
                  <a:cubicBezTo>
                    <a:pt x="965" y="40"/>
                    <a:pt x="965" y="39"/>
                    <a:pt x="965" y="39"/>
                  </a:cubicBezTo>
                  <a:close/>
                  <a:moveTo>
                    <a:pt x="618" y="103"/>
                  </a:moveTo>
                  <a:cubicBezTo>
                    <a:pt x="618" y="103"/>
                    <a:pt x="618" y="103"/>
                    <a:pt x="618" y="103"/>
                  </a:cubicBezTo>
                  <a:cubicBezTo>
                    <a:pt x="618" y="103"/>
                    <a:pt x="617" y="103"/>
                    <a:pt x="618" y="103"/>
                  </a:cubicBezTo>
                  <a:close/>
                  <a:moveTo>
                    <a:pt x="852" y="44"/>
                  </a:moveTo>
                  <a:cubicBezTo>
                    <a:pt x="852" y="43"/>
                    <a:pt x="851" y="43"/>
                    <a:pt x="851" y="43"/>
                  </a:cubicBezTo>
                  <a:cubicBezTo>
                    <a:pt x="851" y="44"/>
                    <a:pt x="851" y="44"/>
                    <a:pt x="852" y="44"/>
                  </a:cubicBezTo>
                  <a:close/>
                  <a:moveTo>
                    <a:pt x="671" y="57"/>
                  </a:moveTo>
                  <a:cubicBezTo>
                    <a:pt x="671" y="57"/>
                    <a:pt x="671" y="57"/>
                    <a:pt x="671" y="57"/>
                  </a:cubicBezTo>
                  <a:cubicBezTo>
                    <a:pt x="671" y="57"/>
                    <a:pt x="671" y="57"/>
                    <a:pt x="671" y="57"/>
                  </a:cubicBezTo>
                  <a:close/>
                  <a:moveTo>
                    <a:pt x="749" y="54"/>
                  </a:moveTo>
                  <a:cubicBezTo>
                    <a:pt x="750" y="53"/>
                    <a:pt x="750" y="53"/>
                    <a:pt x="750" y="53"/>
                  </a:cubicBezTo>
                  <a:cubicBezTo>
                    <a:pt x="749" y="53"/>
                    <a:pt x="749" y="53"/>
                    <a:pt x="749" y="54"/>
                  </a:cubicBezTo>
                  <a:close/>
                  <a:moveTo>
                    <a:pt x="680" y="63"/>
                  </a:moveTo>
                  <a:cubicBezTo>
                    <a:pt x="680" y="63"/>
                    <a:pt x="680" y="63"/>
                    <a:pt x="680" y="63"/>
                  </a:cubicBezTo>
                  <a:cubicBezTo>
                    <a:pt x="680" y="63"/>
                    <a:pt x="680" y="63"/>
                    <a:pt x="680" y="63"/>
                  </a:cubicBezTo>
                  <a:close/>
                  <a:moveTo>
                    <a:pt x="638" y="52"/>
                  </a:moveTo>
                  <a:cubicBezTo>
                    <a:pt x="638" y="52"/>
                    <a:pt x="638" y="52"/>
                    <a:pt x="638" y="52"/>
                  </a:cubicBezTo>
                  <a:cubicBezTo>
                    <a:pt x="638" y="52"/>
                    <a:pt x="638" y="52"/>
                    <a:pt x="638" y="52"/>
                  </a:cubicBezTo>
                  <a:close/>
                  <a:moveTo>
                    <a:pt x="1577" y="49"/>
                  </a:moveTo>
                  <a:cubicBezTo>
                    <a:pt x="1577" y="49"/>
                    <a:pt x="1576" y="50"/>
                    <a:pt x="1576" y="50"/>
                  </a:cubicBezTo>
                  <a:cubicBezTo>
                    <a:pt x="1577" y="50"/>
                    <a:pt x="1577" y="50"/>
                    <a:pt x="1577" y="49"/>
                  </a:cubicBezTo>
                  <a:close/>
                  <a:moveTo>
                    <a:pt x="574" y="55"/>
                  </a:moveTo>
                  <a:cubicBezTo>
                    <a:pt x="574" y="55"/>
                    <a:pt x="575" y="55"/>
                    <a:pt x="575" y="55"/>
                  </a:cubicBezTo>
                  <a:cubicBezTo>
                    <a:pt x="575" y="55"/>
                    <a:pt x="575" y="55"/>
                    <a:pt x="574" y="55"/>
                  </a:cubicBezTo>
                  <a:close/>
                  <a:moveTo>
                    <a:pt x="723" y="15"/>
                  </a:moveTo>
                  <a:cubicBezTo>
                    <a:pt x="723" y="15"/>
                    <a:pt x="723" y="15"/>
                    <a:pt x="723" y="15"/>
                  </a:cubicBezTo>
                  <a:cubicBezTo>
                    <a:pt x="723" y="15"/>
                    <a:pt x="723" y="15"/>
                    <a:pt x="723" y="15"/>
                  </a:cubicBezTo>
                  <a:close/>
                  <a:moveTo>
                    <a:pt x="1564" y="62"/>
                  </a:moveTo>
                  <a:cubicBezTo>
                    <a:pt x="1564" y="62"/>
                    <a:pt x="1564" y="63"/>
                    <a:pt x="1564" y="63"/>
                  </a:cubicBezTo>
                  <a:cubicBezTo>
                    <a:pt x="1564" y="63"/>
                    <a:pt x="1564" y="63"/>
                    <a:pt x="1564" y="62"/>
                  </a:cubicBezTo>
                  <a:close/>
                  <a:moveTo>
                    <a:pt x="1744" y="51"/>
                  </a:moveTo>
                  <a:cubicBezTo>
                    <a:pt x="1743" y="51"/>
                    <a:pt x="1743" y="52"/>
                    <a:pt x="1743" y="52"/>
                  </a:cubicBezTo>
                  <a:cubicBezTo>
                    <a:pt x="1743" y="52"/>
                    <a:pt x="1744" y="52"/>
                    <a:pt x="1744" y="51"/>
                  </a:cubicBezTo>
                  <a:close/>
                  <a:moveTo>
                    <a:pt x="895" y="44"/>
                  </a:moveTo>
                  <a:cubicBezTo>
                    <a:pt x="894" y="43"/>
                    <a:pt x="894" y="43"/>
                    <a:pt x="894" y="43"/>
                  </a:cubicBezTo>
                  <a:cubicBezTo>
                    <a:pt x="894" y="44"/>
                    <a:pt x="894" y="44"/>
                    <a:pt x="895" y="44"/>
                  </a:cubicBezTo>
                  <a:close/>
                  <a:moveTo>
                    <a:pt x="752" y="48"/>
                  </a:moveTo>
                  <a:cubicBezTo>
                    <a:pt x="752" y="48"/>
                    <a:pt x="752" y="48"/>
                    <a:pt x="752" y="48"/>
                  </a:cubicBezTo>
                  <a:cubicBezTo>
                    <a:pt x="752" y="48"/>
                    <a:pt x="752" y="48"/>
                    <a:pt x="752" y="48"/>
                  </a:cubicBezTo>
                  <a:close/>
                  <a:moveTo>
                    <a:pt x="1654" y="63"/>
                  </a:moveTo>
                  <a:cubicBezTo>
                    <a:pt x="1654" y="63"/>
                    <a:pt x="1653" y="63"/>
                    <a:pt x="1653" y="63"/>
                  </a:cubicBezTo>
                  <a:cubicBezTo>
                    <a:pt x="1653" y="63"/>
                    <a:pt x="1653" y="63"/>
                    <a:pt x="1654" y="63"/>
                  </a:cubicBezTo>
                  <a:close/>
                  <a:moveTo>
                    <a:pt x="1490" y="15"/>
                  </a:moveTo>
                  <a:cubicBezTo>
                    <a:pt x="1490" y="15"/>
                    <a:pt x="1491" y="15"/>
                    <a:pt x="1491" y="15"/>
                  </a:cubicBezTo>
                  <a:cubicBezTo>
                    <a:pt x="1491" y="15"/>
                    <a:pt x="1490" y="15"/>
                    <a:pt x="1490" y="15"/>
                  </a:cubicBezTo>
                  <a:close/>
                  <a:moveTo>
                    <a:pt x="1732" y="62"/>
                  </a:moveTo>
                  <a:cubicBezTo>
                    <a:pt x="1732" y="62"/>
                    <a:pt x="1732" y="63"/>
                    <a:pt x="1732" y="63"/>
                  </a:cubicBezTo>
                  <a:cubicBezTo>
                    <a:pt x="1732" y="63"/>
                    <a:pt x="1732" y="63"/>
                    <a:pt x="1732" y="62"/>
                  </a:cubicBezTo>
                  <a:close/>
                  <a:moveTo>
                    <a:pt x="604" y="64"/>
                  </a:moveTo>
                  <a:cubicBezTo>
                    <a:pt x="604" y="63"/>
                    <a:pt x="604" y="63"/>
                    <a:pt x="603" y="63"/>
                  </a:cubicBezTo>
                  <a:cubicBezTo>
                    <a:pt x="603" y="63"/>
                    <a:pt x="603" y="63"/>
                    <a:pt x="604" y="64"/>
                  </a:cubicBezTo>
                  <a:close/>
                  <a:moveTo>
                    <a:pt x="910" y="43"/>
                  </a:moveTo>
                  <a:cubicBezTo>
                    <a:pt x="910" y="44"/>
                    <a:pt x="910" y="44"/>
                    <a:pt x="910" y="44"/>
                  </a:cubicBezTo>
                  <a:cubicBezTo>
                    <a:pt x="910" y="44"/>
                    <a:pt x="910" y="44"/>
                    <a:pt x="910" y="43"/>
                  </a:cubicBezTo>
                  <a:close/>
                  <a:moveTo>
                    <a:pt x="722" y="16"/>
                  </a:moveTo>
                  <a:cubicBezTo>
                    <a:pt x="722" y="16"/>
                    <a:pt x="722" y="16"/>
                    <a:pt x="722" y="15"/>
                  </a:cubicBezTo>
                  <a:cubicBezTo>
                    <a:pt x="722" y="15"/>
                    <a:pt x="722" y="15"/>
                    <a:pt x="722" y="16"/>
                  </a:cubicBezTo>
                  <a:close/>
                  <a:moveTo>
                    <a:pt x="1489" y="16"/>
                  </a:moveTo>
                  <a:cubicBezTo>
                    <a:pt x="1490" y="16"/>
                    <a:pt x="1490" y="16"/>
                    <a:pt x="1490" y="15"/>
                  </a:cubicBezTo>
                  <a:cubicBezTo>
                    <a:pt x="1490" y="15"/>
                    <a:pt x="1490" y="15"/>
                    <a:pt x="1489" y="16"/>
                  </a:cubicBezTo>
                  <a:close/>
                  <a:moveTo>
                    <a:pt x="562" y="48"/>
                  </a:moveTo>
                  <a:cubicBezTo>
                    <a:pt x="562" y="48"/>
                    <a:pt x="562" y="48"/>
                    <a:pt x="563" y="48"/>
                  </a:cubicBezTo>
                  <a:cubicBezTo>
                    <a:pt x="563" y="48"/>
                    <a:pt x="562" y="48"/>
                    <a:pt x="562" y="48"/>
                  </a:cubicBezTo>
                  <a:close/>
                  <a:moveTo>
                    <a:pt x="1680" y="47"/>
                  </a:moveTo>
                  <a:cubicBezTo>
                    <a:pt x="1680" y="47"/>
                    <a:pt x="1680" y="48"/>
                    <a:pt x="1680" y="48"/>
                  </a:cubicBezTo>
                  <a:cubicBezTo>
                    <a:pt x="1680" y="48"/>
                    <a:pt x="1680" y="48"/>
                    <a:pt x="1680" y="47"/>
                  </a:cubicBezTo>
                  <a:close/>
                  <a:moveTo>
                    <a:pt x="654" y="39"/>
                  </a:moveTo>
                  <a:cubicBezTo>
                    <a:pt x="654" y="39"/>
                    <a:pt x="654" y="39"/>
                    <a:pt x="654" y="40"/>
                  </a:cubicBezTo>
                  <a:cubicBezTo>
                    <a:pt x="654" y="39"/>
                    <a:pt x="654" y="39"/>
                    <a:pt x="654" y="39"/>
                  </a:cubicBezTo>
                  <a:close/>
                  <a:moveTo>
                    <a:pt x="606" y="39"/>
                  </a:moveTo>
                  <a:cubicBezTo>
                    <a:pt x="606" y="39"/>
                    <a:pt x="606" y="39"/>
                    <a:pt x="606" y="40"/>
                  </a:cubicBezTo>
                  <a:cubicBezTo>
                    <a:pt x="606" y="39"/>
                    <a:pt x="606" y="39"/>
                    <a:pt x="606" y="39"/>
                  </a:cubicBezTo>
                  <a:close/>
                  <a:moveTo>
                    <a:pt x="594" y="40"/>
                  </a:moveTo>
                  <a:cubicBezTo>
                    <a:pt x="594" y="39"/>
                    <a:pt x="594" y="39"/>
                    <a:pt x="594" y="39"/>
                  </a:cubicBezTo>
                  <a:cubicBezTo>
                    <a:pt x="594" y="39"/>
                    <a:pt x="594" y="39"/>
                    <a:pt x="594" y="40"/>
                  </a:cubicBezTo>
                  <a:close/>
                  <a:moveTo>
                    <a:pt x="1381" y="48"/>
                  </a:moveTo>
                  <a:cubicBezTo>
                    <a:pt x="1381" y="48"/>
                    <a:pt x="1382" y="48"/>
                    <a:pt x="1382" y="47"/>
                  </a:cubicBezTo>
                  <a:cubicBezTo>
                    <a:pt x="1381" y="47"/>
                    <a:pt x="1381" y="48"/>
                    <a:pt x="1381" y="48"/>
                  </a:cubicBezTo>
                  <a:close/>
                  <a:moveTo>
                    <a:pt x="1575" y="51"/>
                  </a:moveTo>
                  <a:cubicBezTo>
                    <a:pt x="1575" y="52"/>
                    <a:pt x="1575" y="52"/>
                    <a:pt x="1575" y="52"/>
                  </a:cubicBezTo>
                  <a:cubicBezTo>
                    <a:pt x="1575" y="52"/>
                    <a:pt x="1575" y="52"/>
                    <a:pt x="1575" y="51"/>
                  </a:cubicBezTo>
                  <a:close/>
                  <a:moveTo>
                    <a:pt x="1212" y="48"/>
                  </a:moveTo>
                  <a:cubicBezTo>
                    <a:pt x="1212" y="48"/>
                    <a:pt x="1212" y="48"/>
                    <a:pt x="1212" y="47"/>
                  </a:cubicBezTo>
                  <a:cubicBezTo>
                    <a:pt x="1212" y="47"/>
                    <a:pt x="1212" y="48"/>
                    <a:pt x="1212" y="48"/>
                  </a:cubicBezTo>
                  <a:close/>
                  <a:moveTo>
                    <a:pt x="647" y="56"/>
                  </a:moveTo>
                  <a:cubicBezTo>
                    <a:pt x="647" y="56"/>
                    <a:pt x="647" y="56"/>
                    <a:pt x="647" y="56"/>
                  </a:cubicBezTo>
                  <a:cubicBezTo>
                    <a:pt x="647" y="56"/>
                    <a:pt x="647" y="56"/>
                    <a:pt x="647" y="56"/>
                  </a:cubicBezTo>
                  <a:close/>
                  <a:moveTo>
                    <a:pt x="1085" y="47"/>
                  </a:moveTo>
                  <a:cubicBezTo>
                    <a:pt x="1085" y="48"/>
                    <a:pt x="1085" y="48"/>
                    <a:pt x="1085" y="48"/>
                  </a:cubicBezTo>
                  <a:cubicBezTo>
                    <a:pt x="1085" y="48"/>
                    <a:pt x="1085" y="47"/>
                    <a:pt x="1085" y="47"/>
                  </a:cubicBezTo>
                  <a:close/>
                  <a:moveTo>
                    <a:pt x="1034" y="48"/>
                  </a:moveTo>
                  <a:cubicBezTo>
                    <a:pt x="1034" y="48"/>
                    <a:pt x="1035" y="48"/>
                    <a:pt x="1035" y="47"/>
                  </a:cubicBezTo>
                  <a:cubicBezTo>
                    <a:pt x="1034" y="47"/>
                    <a:pt x="1034" y="48"/>
                    <a:pt x="1034" y="48"/>
                  </a:cubicBezTo>
                  <a:close/>
                  <a:moveTo>
                    <a:pt x="899" y="48"/>
                  </a:moveTo>
                  <a:cubicBezTo>
                    <a:pt x="899" y="48"/>
                    <a:pt x="899" y="47"/>
                    <a:pt x="898" y="47"/>
                  </a:cubicBezTo>
                  <a:cubicBezTo>
                    <a:pt x="898" y="47"/>
                    <a:pt x="898" y="48"/>
                    <a:pt x="899" y="48"/>
                  </a:cubicBezTo>
                  <a:close/>
                  <a:moveTo>
                    <a:pt x="636" y="56"/>
                  </a:moveTo>
                  <a:cubicBezTo>
                    <a:pt x="637" y="56"/>
                    <a:pt x="637" y="56"/>
                    <a:pt x="637" y="56"/>
                  </a:cubicBezTo>
                  <a:cubicBezTo>
                    <a:pt x="636" y="56"/>
                    <a:pt x="636" y="56"/>
                    <a:pt x="636" y="56"/>
                  </a:cubicBezTo>
                  <a:close/>
                  <a:moveTo>
                    <a:pt x="1210" y="52"/>
                  </a:moveTo>
                  <a:cubicBezTo>
                    <a:pt x="1210" y="52"/>
                    <a:pt x="1210" y="52"/>
                    <a:pt x="1210" y="51"/>
                  </a:cubicBezTo>
                  <a:cubicBezTo>
                    <a:pt x="1210" y="52"/>
                    <a:pt x="1210" y="52"/>
                    <a:pt x="1210" y="52"/>
                  </a:cubicBezTo>
                  <a:close/>
                  <a:moveTo>
                    <a:pt x="617" y="104"/>
                  </a:moveTo>
                  <a:cubicBezTo>
                    <a:pt x="617" y="104"/>
                    <a:pt x="618" y="104"/>
                    <a:pt x="618" y="103"/>
                  </a:cubicBezTo>
                  <a:cubicBezTo>
                    <a:pt x="617" y="103"/>
                    <a:pt x="617" y="104"/>
                    <a:pt x="617" y="104"/>
                  </a:cubicBezTo>
                  <a:close/>
                  <a:moveTo>
                    <a:pt x="628" y="104"/>
                  </a:moveTo>
                  <a:cubicBezTo>
                    <a:pt x="628" y="104"/>
                    <a:pt x="628" y="104"/>
                    <a:pt x="628" y="105"/>
                  </a:cubicBezTo>
                  <a:cubicBezTo>
                    <a:pt x="628" y="104"/>
                    <a:pt x="628" y="104"/>
                    <a:pt x="628" y="104"/>
                  </a:cubicBezTo>
                  <a:close/>
                  <a:moveTo>
                    <a:pt x="617" y="105"/>
                  </a:moveTo>
                  <a:cubicBezTo>
                    <a:pt x="617" y="105"/>
                    <a:pt x="617" y="105"/>
                    <a:pt x="617" y="104"/>
                  </a:cubicBezTo>
                  <a:cubicBezTo>
                    <a:pt x="617" y="104"/>
                    <a:pt x="617" y="105"/>
                    <a:pt x="617" y="105"/>
                  </a:cubicBezTo>
                  <a:close/>
                  <a:moveTo>
                    <a:pt x="721" y="16"/>
                  </a:moveTo>
                  <a:cubicBezTo>
                    <a:pt x="721" y="16"/>
                    <a:pt x="721" y="16"/>
                    <a:pt x="721" y="16"/>
                  </a:cubicBezTo>
                  <a:cubicBezTo>
                    <a:pt x="721" y="16"/>
                    <a:pt x="721" y="16"/>
                    <a:pt x="721" y="16"/>
                  </a:cubicBezTo>
                  <a:close/>
                  <a:moveTo>
                    <a:pt x="616" y="106"/>
                  </a:moveTo>
                  <a:cubicBezTo>
                    <a:pt x="617" y="106"/>
                    <a:pt x="617" y="105"/>
                    <a:pt x="617" y="105"/>
                  </a:cubicBezTo>
                  <a:cubicBezTo>
                    <a:pt x="616" y="105"/>
                    <a:pt x="616" y="105"/>
                    <a:pt x="616" y="106"/>
                  </a:cubicBezTo>
                  <a:close/>
                  <a:moveTo>
                    <a:pt x="616" y="107"/>
                  </a:moveTo>
                  <a:cubicBezTo>
                    <a:pt x="616" y="106"/>
                    <a:pt x="616" y="106"/>
                    <a:pt x="617" y="106"/>
                  </a:cubicBezTo>
                  <a:cubicBezTo>
                    <a:pt x="616" y="106"/>
                    <a:pt x="616" y="106"/>
                    <a:pt x="616" y="107"/>
                  </a:cubicBezTo>
                  <a:close/>
                  <a:moveTo>
                    <a:pt x="628" y="106"/>
                  </a:moveTo>
                  <a:cubicBezTo>
                    <a:pt x="627" y="106"/>
                    <a:pt x="627" y="106"/>
                    <a:pt x="627" y="106"/>
                  </a:cubicBezTo>
                  <a:cubicBezTo>
                    <a:pt x="628" y="106"/>
                    <a:pt x="628" y="106"/>
                    <a:pt x="628" y="106"/>
                  </a:cubicBezTo>
                  <a:close/>
                  <a:moveTo>
                    <a:pt x="1745" y="49"/>
                  </a:moveTo>
                  <a:cubicBezTo>
                    <a:pt x="1745" y="49"/>
                    <a:pt x="1745" y="50"/>
                    <a:pt x="1745" y="50"/>
                  </a:cubicBezTo>
                  <a:cubicBezTo>
                    <a:pt x="1745" y="50"/>
                    <a:pt x="1745" y="50"/>
                    <a:pt x="1745" y="49"/>
                  </a:cubicBezTo>
                  <a:close/>
                  <a:moveTo>
                    <a:pt x="616" y="107"/>
                  </a:moveTo>
                  <a:cubicBezTo>
                    <a:pt x="616" y="107"/>
                    <a:pt x="616" y="107"/>
                    <a:pt x="616" y="107"/>
                  </a:cubicBezTo>
                  <a:cubicBezTo>
                    <a:pt x="616" y="107"/>
                    <a:pt x="616" y="107"/>
                    <a:pt x="616" y="107"/>
                  </a:cubicBezTo>
                  <a:close/>
                  <a:moveTo>
                    <a:pt x="615" y="108"/>
                  </a:moveTo>
                  <a:cubicBezTo>
                    <a:pt x="616" y="108"/>
                    <a:pt x="616" y="108"/>
                    <a:pt x="616" y="107"/>
                  </a:cubicBezTo>
                  <a:cubicBezTo>
                    <a:pt x="615" y="108"/>
                    <a:pt x="615" y="108"/>
                    <a:pt x="615" y="108"/>
                  </a:cubicBezTo>
                  <a:close/>
                  <a:moveTo>
                    <a:pt x="627" y="107"/>
                  </a:moveTo>
                  <a:cubicBezTo>
                    <a:pt x="627" y="108"/>
                    <a:pt x="627" y="108"/>
                    <a:pt x="627" y="108"/>
                  </a:cubicBezTo>
                  <a:cubicBezTo>
                    <a:pt x="627" y="108"/>
                    <a:pt x="627" y="108"/>
                    <a:pt x="627" y="107"/>
                  </a:cubicBezTo>
                  <a:close/>
                  <a:moveTo>
                    <a:pt x="615" y="109"/>
                  </a:moveTo>
                  <a:cubicBezTo>
                    <a:pt x="615" y="109"/>
                    <a:pt x="615" y="109"/>
                    <a:pt x="615" y="108"/>
                  </a:cubicBezTo>
                  <a:cubicBezTo>
                    <a:pt x="615" y="109"/>
                    <a:pt x="615" y="109"/>
                    <a:pt x="615" y="109"/>
                  </a:cubicBezTo>
                  <a:close/>
                  <a:moveTo>
                    <a:pt x="626" y="108"/>
                  </a:moveTo>
                  <a:cubicBezTo>
                    <a:pt x="626" y="109"/>
                    <a:pt x="626" y="109"/>
                    <a:pt x="626" y="109"/>
                  </a:cubicBezTo>
                  <a:cubicBezTo>
                    <a:pt x="627" y="109"/>
                    <a:pt x="627" y="109"/>
                    <a:pt x="626" y="108"/>
                  </a:cubicBezTo>
                  <a:close/>
                  <a:moveTo>
                    <a:pt x="615" y="110"/>
                  </a:moveTo>
                  <a:cubicBezTo>
                    <a:pt x="615" y="110"/>
                    <a:pt x="615" y="109"/>
                    <a:pt x="615" y="109"/>
                  </a:cubicBezTo>
                  <a:cubicBezTo>
                    <a:pt x="615" y="109"/>
                    <a:pt x="615" y="110"/>
                    <a:pt x="615" y="110"/>
                  </a:cubicBezTo>
                  <a:close/>
                  <a:moveTo>
                    <a:pt x="626" y="109"/>
                  </a:moveTo>
                  <a:cubicBezTo>
                    <a:pt x="626" y="109"/>
                    <a:pt x="626" y="110"/>
                    <a:pt x="626" y="110"/>
                  </a:cubicBezTo>
                  <a:cubicBezTo>
                    <a:pt x="626" y="110"/>
                    <a:pt x="626" y="109"/>
                    <a:pt x="626" y="109"/>
                  </a:cubicBezTo>
                  <a:close/>
                  <a:moveTo>
                    <a:pt x="614" y="111"/>
                  </a:moveTo>
                  <a:cubicBezTo>
                    <a:pt x="615" y="111"/>
                    <a:pt x="615" y="110"/>
                    <a:pt x="615" y="110"/>
                  </a:cubicBezTo>
                  <a:cubicBezTo>
                    <a:pt x="614" y="110"/>
                    <a:pt x="614" y="110"/>
                    <a:pt x="614" y="111"/>
                  </a:cubicBezTo>
                  <a:close/>
                  <a:moveTo>
                    <a:pt x="626" y="110"/>
                  </a:moveTo>
                  <a:cubicBezTo>
                    <a:pt x="626" y="110"/>
                    <a:pt x="625" y="111"/>
                    <a:pt x="625" y="111"/>
                  </a:cubicBezTo>
                  <a:cubicBezTo>
                    <a:pt x="626" y="111"/>
                    <a:pt x="626" y="110"/>
                    <a:pt x="626" y="110"/>
                  </a:cubicBezTo>
                  <a:close/>
                  <a:moveTo>
                    <a:pt x="614" y="112"/>
                  </a:moveTo>
                  <a:cubicBezTo>
                    <a:pt x="614" y="111"/>
                    <a:pt x="614" y="111"/>
                    <a:pt x="614" y="111"/>
                  </a:cubicBezTo>
                  <a:cubicBezTo>
                    <a:pt x="614" y="111"/>
                    <a:pt x="614" y="111"/>
                    <a:pt x="614" y="112"/>
                  </a:cubicBezTo>
                  <a:close/>
                  <a:moveTo>
                    <a:pt x="625" y="111"/>
                  </a:moveTo>
                  <a:cubicBezTo>
                    <a:pt x="625" y="111"/>
                    <a:pt x="625" y="111"/>
                    <a:pt x="625" y="112"/>
                  </a:cubicBezTo>
                  <a:cubicBezTo>
                    <a:pt x="625" y="111"/>
                    <a:pt x="625" y="111"/>
                    <a:pt x="625" y="111"/>
                  </a:cubicBezTo>
                  <a:close/>
                  <a:moveTo>
                    <a:pt x="614" y="112"/>
                  </a:moveTo>
                  <a:cubicBezTo>
                    <a:pt x="614" y="112"/>
                    <a:pt x="614" y="112"/>
                    <a:pt x="614" y="112"/>
                  </a:cubicBezTo>
                  <a:cubicBezTo>
                    <a:pt x="614" y="112"/>
                    <a:pt x="614" y="112"/>
                    <a:pt x="614" y="112"/>
                  </a:cubicBezTo>
                  <a:close/>
                  <a:moveTo>
                    <a:pt x="625" y="112"/>
                  </a:moveTo>
                  <a:cubicBezTo>
                    <a:pt x="625" y="112"/>
                    <a:pt x="625" y="112"/>
                    <a:pt x="625" y="113"/>
                  </a:cubicBezTo>
                  <a:cubicBezTo>
                    <a:pt x="625" y="112"/>
                    <a:pt x="625" y="112"/>
                    <a:pt x="625" y="112"/>
                  </a:cubicBezTo>
                  <a:close/>
                  <a:moveTo>
                    <a:pt x="613" y="113"/>
                  </a:moveTo>
                  <a:cubicBezTo>
                    <a:pt x="614" y="113"/>
                    <a:pt x="614" y="113"/>
                    <a:pt x="614" y="112"/>
                  </a:cubicBezTo>
                  <a:cubicBezTo>
                    <a:pt x="613" y="113"/>
                    <a:pt x="613" y="113"/>
                    <a:pt x="613" y="113"/>
                  </a:cubicBezTo>
                  <a:close/>
                  <a:moveTo>
                    <a:pt x="625" y="113"/>
                  </a:moveTo>
                  <a:cubicBezTo>
                    <a:pt x="625" y="113"/>
                    <a:pt x="624" y="113"/>
                    <a:pt x="624" y="113"/>
                  </a:cubicBezTo>
                  <a:cubicBezTo>
                    <a:pt x="625" y="113"/>
                    <a:pt x="625" y="113"/>
                    <a:pt x="625" y="113"/>
                  </a:cubicBezTo>
                  <a:close/>
                  <a:moveTo>
                    <a:pt x="613" y="114"/>
                  </a:moveTo>
                  <a:cubicBezTo>
                    <a:pt x="613" y="114"/>
                    <a:pt x="613" y="114"/>
                    <a:pt x="613" y="113"/>
                  </a:cubicBezTo>
                  <a:cubicBezTo>
                    <a:pt x="613" y="114"/>
                    <a:pt x="613" y="114"/>
                    <a:pt x="613" y="114"/>
                  </a:cubicBezTo>
                  <a:close/>
                  <a:moveTo>
                    <a:pt x="624" y="114"/>
                  </a:moveTo>
                  <a:cubicBezTo>
                    <a:pt x="624" y="114"/>
                    <a:pt x="624" y="114"/>
                    <a:pt x="624" y="114"/>
                  </a:cubicBezTo>
                  <a:cubicBezTo>
                    <a:pt x="624" y="114"/>
                    <a:pt x="624" y="114"/>
                    <a:pt x="624" y="114"/>
                  </a:cubicBezTo>
                  <a:close/>
                  <a:moveTo>
                    <a:pt x="613" y="115"/>
                  </a:moveTo>
                  <a:cubicBezTo>
                    <a:pt x="613" y="115"/>
                    <a:pt x="613" y="114"/>
                    <a:pt x="613" y="114"/>
                  </a:cubicBezTo>
                  <a:cubicBezTo>
                    <a:pt x="613" y="114"/>
                    <a:pt x="613" y="114"/>
                    <a:pt x="613" y="115"/>
                  </a:cubicBezTo>
                  <a:close/>
                  <a:moveTo>
                    <a:pt x="624" y="114"/>
                  </a:moveTo>
                  <a:cubicBezTo>
                    <a:pt x="624" y="115"/>
                    <a:pt x="624" y="115"/>
                    <a:pt x="624" y="115"/>
                  </a:cubicBezTo>
                  <a:cubicBezTo>
                    <a:pt x="624" y="115"/>
                    <a:pt x="624" y="115"/>
                    <a:pt x="624" y="114"/>
                  </a:cubicBezTo>
                  <a:close/>
                  <a:moveTo>
                    <a:pt x="612" y="116"/>
                  </a:moveTo>
                  <a:cubicBezTo>
                    <a:pt x="613" y="115"/>
                    <a:pt x="613" y="115"/>
                    <a:pt x="613" y="115"/>
                  </a:cubicBezTo>
                  <a:cubicBezTo>
                    <a:pt x="612" y="115"/>
                    <a:pt x="612" y="115"/>
                    <a:pt x="612" y="116"/>
                  </a:cubicBezTo>
                  <a:close/>
                  <a:moveTo>
                    <a:pt x="624" y="115"/>
                  </a:moveTo>
                  <a:cubicBezTo>
                    <a:pt x="623" y="115"/>
                    <a:pt x="623" y="115"/>
                    <a:pt x="623" y="116"/>
                  </a:cubicBezTo>
                  <a:cubicBezTo>
                    <a:pt x="624" y="116"/>
                    <a:pt x="624" y="115"/>
                    <a:pt x="624" y="115"/>
                  </a:cubicBezTo>
                  <a:close/>
                  <a:moveTo>
                    <a:pt x="612" y="116"/>
                  </a:moveTo>
                  <a:cubicBezTo>
                    <a:pt x="612" y="116"/>
                    <a:pt x="612" y="116"/>
                    <a:pt x="612" y="115"/>
                  </a:cubicBezTo>
                  <a:cubicBezTo>
                    <a:pt x="612" y="116"/>
                    <a:pt x="612" y="116"/>
                    <a:pt x="612" y="116"/>
                  </a:cubicBezTo>
                  <a:close/>
                  <a:moveTo>
                    <a:pt x="623" y="116"/>
                  </a:moveTo>
                  <a:cubicBezTo>
                    <a:pt x="623" y="116"/>
                    <a:pt x="623" y="116"/>
                    <a:pt x="623" y="116"/>
                  </a:cubicBezTo>
                  <a:cubicBezTo>
                    <a:pt x="623" y="116"/>
                    <a:pt x="623" y="116"/>
                    <a:pt x="623" y="116"/>
                  </a:cubicBezTo>
                  <a:close/>
                  <a:moveTo>
                    <a:pt x="612" y="117"/>
                  </a:moveTo>
                  <a:cubicBezTo>
                    <a:pt x="612" y="117"/>
                    <a:pt x="612" y="116"/>
                    <a:pt x="612" y="116"/>
                  </a:cubicBezTo>
                  <a:cubicBezTo>
                    <a:pt x="612" y="116"/>
                    <a:pt x="612" y="117"/>
                    <a:pt x="612" y="117"/>
                  </a:cubicBezTo>
                  <a:close/>
                  <a:moveTo>
                    <a:pt x="623" y="116"/>
                  </a:moveTo>
                  <a:cubicBezTo>
                    <a:pt x="623" y="117"/>
                    <a:pt x="623" y="117"/>
                    <a:pt x="623" y="117"/>
                  </a:cubicBezTo>
                  <a:cubicBezTo>
                    <a:pt x="623" y="117"/>
                    <a:pt x="623" y="117"/>
                    <a:pt x="623" y="116"/>
                  </a:cubicBezTo>
                  <a:close/>
                  <a:moveTo>
                    <a:pt x="611" y="118"/>
                  </a:moveTo>
                  <a:cubicBezTo>
                    <a:pt x="611" y="117"/>
                    <a:pt x="612" y="117"/>
                    <a:pt x="612" y="117"/>
                  </a:cubicBezTo>
                  <a:cubicBezTo>
                    <a:pt x="611" y="117"/>
                    <a:pt x="611" y="117"/>
                    <a:pt x="611" y="118"/>
                  </a:cubicBezTo>
                  <a:close/>
                  <a:moveTo>
                    <a:pt x="623" y="117"/>
                  </a:moveTo>
                  <a:cubicBezTo>
                    <a:pt x="622" y="117"/>
                    <a:pt x="622" y="118"/>
                    <a:pt x="622" y="118"/>
                  </a:cubicBezTo>
                  <a:cubicBezTo>
                    <a:pt x="623" y="118"/>
                    <a:pt x="623" y="117"/>
                    <a:pt x="623" y="117"/>
                  </a:cubicBezTo>
                  <a:close/>
                  <a:moveTo>
                    <a:pt x="611" y="119"/>
                  </a:moveTo>
                  <a:cubicBezTo>
                    <a:pt x="611" y="118"/>
                    <a:pt x="611" y="118"/>
                    <a:pt x="611" y="118"/>
                  </a:cubicBezTo>
                  <a:cubicBezTo>
                    <a:pt x="611" y="118"/>
                    <a:pt x="611" y="118"/>
                    <a:pt x="611" y="119"/>
                  </a:cubicBezTo>
                  <a:close/>
                  <a:moveTo>
                    <a:pt x="622" y="118"/>
                  </a:moveTo>
                  <a:cubicBezTo>
                    <a:pt x="622" y="118"/>
                    <a:pt x="622" y="118"/>
                    <a:pt x="622" y="119"/>
                  </a:cubicBezTo>
                  <a:cubicBezTo>
                    <a:pt x="622" y="118"/>
                    <a:pt x="622" y="118"/>
                    <a:pt x="622" y="118"/>
                  </a:cubicBezTo>
                  <a:close/>
                  <a:moveTo>
                    <a:pt x="622" y="119"/>
                  </a:moveTo>
                  <a:cubicBezTo>
                    <a:pt x="622" y="119"/>
                    <a:pt x="622" y="119"/>
                    <a:pt x="622" y="119"/>
                  </a:cubicBezTo>
                  <a:cubicBezTo>
                    <a:pt x="622" y="119"/>
                    <a:pt x="622" y="119"/>
                    <a:pt x="622" y="119"/>
                  </a:cubicBezTo>
                  <a:close/>
                  <a:moveTo>
                    <a:pt x="622" y="119"/>
                  </a:moveTo>
                  <a:cubicBezTo>
                    <a:pt x="621" y="119"/>
                    <a:pt x="621" y="120"/>
                    <a:pt x="621" y="120"/>
                  </a:cubicBezTo>
                  <a:cubicBezTo>
                    <a:pt x="622" y="120"/>
                    <a:pt x="622" y="120"/>
                    <a:pt x="622" y="119"/>
                  </a:cubicBezTo>
                  <a:close/>
                  <a:moveTo>
                    <a:pt x="621" y="120"/>
                  </a:moveTo>
                  <a:cubicBezTo>
                    <a:pt x="621" y="120"/>
                    <a:pt x="621" y="121"/>
                    <a:pt x="621" y="121"/>
                  </a:cubicBezTo>
                  <a:cubicBezTo>
                    <a:pt x="621" y="121"/>
                    <a:pt x="621" y="121"/>
                    <a:pt x="621" y="120"/>
                  </a:cubicBezTo>
                  <a:close/>
                  <a:moveTo>
                    <a:pt x="621" y="121"/>
                  </a:moveTo>
                  <a:cubicBezTo>
                    <a:pt x="620" y="121"/>
                    <a:pt x="620" y="121"/>
                    <a:pt x="620" y="122"/>
                  </a:cubicBezTo>
                  <a:cubicBezTo>
                    <a:pt x="621" y="122"/>
                    <a:pt x="621" y="121"/>
                    <a:pt x="621" y="121"/>
                  </a:cubicBezTo>
                  <a:close/>
                  <a:moveTo>
                    <a:pt x="614" y="63"/>
                  </a:moveTo>
                  <a:cubicBezTo>
                    <a:pt x="614" y="63"/>
                    <a:pt x="614" y="63"/>
                    <a:pt x="615" y="64"/>
                  </a:cubicBezTo>
                  <a:cubicBezTo>
                    <a:pt x="615" y="63"/>
                    <a:pt x="615" y="63"/>
                    <a:pt x="614" y="63"/>
                  </a:cubicBezTo>
                  <a:close/>
                  <a:moveTo>
                    <a:pt x="606" y="122"/>
                  </a:moveTo>
                  <a:cubicBezTo>
                    <a:pt x="606" y="122"/>
                    <a:pt x="607" y="122"/>
                    <a:pt x="607" y="122"/>
                  </a:cubicBezTo>
                  <a:cubicBezTo>
                    <a:pt x="606" y="122"/>
                    <a:pt x="606" y="122"/>
                    <a:pt x="606" y="122"/>
                  </a:cubicBezTo>
                  <a:close/>
                  <a:moveTo>
                    <a:pt x="620" y="122"/>
                  </a:moveTo>
                  <a:cubicBezTo>
                    <a:pt x="620" y="122"/>
                    <a:pt x="620" y="122"/>
                    <a:pt x="619" y="123"/>
                  </a:cubicBezTo>
                  <a:cubicBezTo>
                    <a:pt x="620" y="123"/>
                    <a:pt x="620" y="122"/>
                    <a:pt x="620" y="122"/>
                  </a:cubicBezTo>
                  <a:close/>
                  <a:moveTo>
                    <a:pt x="1209" y="54"/>
                  </a:moveTo>
                  <a:cubicBezTo>
                    <a:pt x="1210" y="54"/>
                    <a:pt x="1210" y="53"/>
                    <a:pt x="1210" y="53"/>
                  </a:cubicBezTo>
                  <a:cubicBezTo>
                    <a:pt x="1209" y="53"/>
                    <a:pt x="1209" y="54"/>
                    <a:pt x="1209" y="54"/>
                  </a:cubicBezTo>
                  <a:close/>
                  <a:moveTo>
                    <a:pt x="605" y="123"/>
                  </a:moveTo>
                  <a:cubicBezTo>
                    <a:pt x="606" y="123"/>
                    <a:pt x="606" y="123"/>
                    <a:pt x="606" y="122"/>
                  </a:cubicBezTo>
                  <a:cubicBezTo>
                    <a:pt x="606" y="122"/>
                    <a:pt x="605" y="122"/>
                    <a:pt x="605" y="123"/>
                  </a:cubicBezTo>
                  <a:close/>
                  <a:moveTo>
                    <a:pt x="1136" y="44"/>
                  </a:moveTo>
                  <a:cubicBezTo>
                    <a:pt x="1136" y="43"/>
                    <a:pt x="1136" y="43"/>
                    <a:pt x="1135" y="43"/>
                  </a:cubicBezTo>
                  <a:cubicBezTo>
                    <a:pt x="1136" y="44"/>
                    <a:pt x="1136" y="44"/>
                    <a:pt x="1136" y="44"/>
                  </a:cubicBezTo>
                  <a:close/>
                  <a:moveTo>
                    <a:pt x="605" y="123"/>
                  </a:moveTo>
                  <a:cubicBezTo>
                    <a:pt x="605" y="123"/>
                    <a:pt x="605" y="123"/>
                    <a:pt x="605" y="123"/>
                  </a:cubicBezTo>
                  <a:cubicBezTo>
                    <a:pt x="605" y="123"/>
                    <a:pt x="605" y="123"/>
                    <a:pt x="605" y="123"/>
                  </a:cubicBezTo>
                  <a:close/>
                  <a:moveTo>
                    <a:pt x="1489" y="16"/>
                  </a:moveTo>
                  <a:cubicBezTo>
                    <a:pt x="1489" y="16"/>
                    <a:pt x="1489" y="16"/>
                    <a:pt x="1490" y="16"/>
                  </a:cubicBezTo>
                  <a:cubicBezTo>
                    <a:pt x="1489" y="16"/>
                    <a:pt x="1489" y="16"/>
                    <a:pt x="1489" y="16"/>
                  </a:cubicBezTo>
                  <a:close/>
                  <a:moveTo>
                    <a:pt x="566" y="50"/>
                  </a:moveTo>
                  <a:cubicBezTo>
                    <a:pt x="566" y="50"/>
                    <a:pt x="566" y="50"/>
                    <a:pt x="566" y="50"/>
                  </a:cubicBezTo>
                  <a:cubicBezTo>
                    <a:pt x="566" y="50"/>
                    <a:pt x="566" y="50"/>
                    <a:pt x="566" y="50"/>
                  </a:cubicBezTo>
                  <a:close/>
                  <a:moveTo>
                    <a:pt x="662" y="64"/>
                  </a:moveTo>
                  <a:cubicBezTo>
                    <a:pt x="662" y="63"/>
                    <a:pt x="662" y="63"/>
                    <a:pt x="661" y="63"/>
                  </a:cubicBezTo>
                  <a:cubicBezTo>
                    <a:pt x="661" y="63"/>
                    <a:pt x="661" y="63"/>
                    <a:pt x="662" y="64"/>
                  </a:cubicBezTo>
                  <a:close/>
                  <a:moveTo>
                    <a:pt x="719" y="16"/>
                  </a:moveTo>
                  <a:cubicBezTo>
                    <a:pt x="720" y="16"/>
                    <a:pt x="720" y="16"/>
                    <a:pt x="720" y="16"/>
                  </a:cubicBezTo>
                  <a:cubicBezTo>
                    <a:pt x="720" y="16"/>
                    <a:pt x="720" y="16"/>
                    <a:pt x="719" y="16"/>
                  </a:cubicBezTo>
                  <a:close/>
                  <a:moveTo>
                    <a:pt x="681" y="63"/>
                  </a:moveTo>
                  <a:cubicBezTo>
                    <a:pt x="681" y="63"/>
                    <a:pt x="681" y="63"/>
                    <a:pt x="682" y="63"/>
                  </a:cubicBezTo>
                  <a:cubicBezTo>
                    <a:pt x="681" y="63"/>
                    <a:pt x="681" y="63"/>
                    <a:pt x="681" y="63"/>
                  </a:cubicBezTo>
                  <a:close/>
                  <a:moveTo>
                    <a:pt x="607" y="41"/>
                  </a:moveTo>
                  <a:cubicBezTo>
                    <a:pt x="607" y="41"/>
                    <a:pt x="607" y="42"/>
                    <a:pt x="607" y="42"/>
                  </a:cubicBezTo>
                  <a:cubicBezTo>
                    <a:pt x="607" y="41"/>
                    <a:pt x="607" y="41"/>
                    <a:pt x="607" y="41"/>
                  </a:cubicBezTo>
                  <a:close/>
                  <a:moveTo>
                    <a:pt x="613" y="129"/>
                  </a:moveTo>
                  <a:cubicBezTo>
                    <a:pt x="613" y="129"/>
                    <a:pt x="613" y="129"/>
                    <a:pt x="613" y="130"/>
                  </a:cubicBezTo>
                  <a:cubicBezTo>
                    <a:pt x="613" y="130"/>
                    <a:pt x="613" y="130"/>
                    <a:pt x="613" y="129"/>
                  </a:cubicBezTo>
                  <a:close/>
                  <a:moveTo>
                    <a:pt x="612" y="130"/>
                  </a:moveTo>
                  <a:cubicBezTo>
                    <a:pt x="612" y="130"/>
                    <a:pt x="612" y="130"/>
                    <a:pt x="612" y="130"/>
                  </a:cubicBezTo>
                  <a:cubicBezTo>
                    <a:pt x="612" y="130"/>
                    <a:pt x="612" y="130"/>
                    <a:pt x="612" y="130"/>
                  </a:cubicBezTo>
                  <a:close/>
                  <a:moveTo>
                    <a:pt x="610" y="131"/>
                  </a:moveTo>
                  <a:cubicBezTo>
                    <a:pt x="610" y="131"/>
                    <a:pt x="610" y="131"/>
                    <a:pt x="610" y="131"/>
                  </a:cubicBezTo>
                  <a:cubicBezTo>
                    <a:pt x="610" y="131"/>
                    <a:pt x="610" y="131"/>
                    <a:pt x="610" y="131"/>
                  </a:cubicBezTo>
                  <a:close/>
                  <a:moveTo>
                    <a:pt x="609" y="131"/>
                  </a:moveTo>
                  <a:cubicBezTo>
                    <a:pt x="609" y="131"/>
                    <a:pt x="609" y="132"/>
                    <a:pt x="609" y="132"/>
                  </a:cubicBezTo>
                  <a:cubicBezTo>
                    <a:pt x="609" y="132"/>
                    <a:pt x="609" y="132"/>
                    <a:pt x="609" y="131"/>
                  </a:cubicBezTo>
                  <a:close/>
                  <a:moveTo>
                    <a:pt x="609" y="132"/>
                  </a:moveTo>
                  <a:cubicBezTo>
                    <a:pt x="608" y="132"/>
                    <a:pt x="608" y="132"/>
                    <a:pt x="608" y="132"/>
                  </a:cubicBezTo>
                  <a:cubicBezTo>
                    <a:pt x="608" y="132"/>
                    <a:pt x="609" y="132"/>
                    <a:pt x="609" y="132"/>
                  </a:cubicBezTo>
                  <a:close/>
                  <a:moveTo>
                    <a:pt x="1290" y="44"/>
                  </a:moveTo>
                  <a:cubicBezTo>
                    <a:pt x="1290" y="44"/>
                    <a:pt x="1290" y="44"/>
                    <a:pt x="1290" y="43"/>
                  </a:cubicBezTo>
                  <a:cubicBezTo>
                    <a:pt x="1290" y="44"/>
                    <a:pt x="1290" y="44"/>
                    <a:pt x="1290" y="44"/>
                  </a:cubicBezTo>
                  <a:close/>
                  <a:moveTo>
                    <a:pt x="653" y="42"/>
                  </a:moveTo>
                  <a:cubicBezTo>
                    <a:pt x="653" y="42"/>
                    <a:pt x="653" y="42"/>
                    <a:pt x="653" y="42"/>
                  </a:cubicBezTo>
                  <a:cubicBezTo>
                    <a:pt x="653" y="42"/>
                    <a:pt x="653" y="42"/>
                    <a:pt x="653" y="42"/>
                  </a:cubicBezTo>
                  <a:close/>
                  <a:moveTo>
                    <a:pt x="751" y="87"/>
                  </a:moveTo>
                  <a:cubicBezTo>
                    <a:pt x="751" y="87"/>
                    <a:pt x="751" y="87"/>
                    <a:pt x="750" y="87"/>
                  </a:cubicBezTo>
                  <a:cubicBezTo>
                    <a:pt x="750" y="87"/>
                    <a:pt x="751" y="87"/>
                    <a:pt x="751" y="87"/>
                  </a:cubicBezTo>
                  <a:close/>
                  <a:moveTo>
                    <a:pt x="1364" y="74"/>
                  </a:moveTo>
                  <a:cubicBezTo>
                    <a:pt x="1364" y="74"/>
                    <a:pt x="1364" y="74"/>
                    <a:pt x="1364" y="74"/>
                  </a:cubicBezTo>
                  <a:cubicBezTo>
                    <a:pt x="1364" y="74"/>
                    <a:pt x="1364" y="74"/>
                    <a:pt x="1364" y="74"/>
                  </a:cubicBezTo>
                  <a:close/>
                  <a:moveTo>
                    <a:pt x="796" y="39"/>
                  </a:moveTo>
                  <a:cubicBezTo>
                    <a:pt x="796" y="39"/>
                    <a:pt x="796" y="39"/>
                    <a:pt x="796" y="39"/>
                  </a:cubicBezTo>
                  <a:cubicBezTo>
                    <a:pt x="796" y="39"/>
                    <a:pt x="796" y="39"/>
                    <a:pt x="796" y="39"/>
                  </a:cubicBezTo>
                  <a:close/>
                  <a:moveTo>
                    <a:pt x="1535" y="74"/>
                  </a:moveTo>
                  <a:cubicBezTo>
                    <a:pt x="1535" y="74"/>
                    <a:pt x="1535" y="74"/>
                    <a:pt x="1535" y="74"/>
                  </a:cubicBezTo>
                  <a:cubicBezTo>
                    <a:pt x="1535" y="74"/>
                    <a:pt x="1535" y="74"/>
                    <a:pt x="1535" y="74"/>
                  </a:cubicBezTo>
                  <a:close/>
                  <a:moveTo>
                    <a:pt x="833" y="39"/>
                  </a:moveTo>
                  <a:cubicBezTo>
                    <a:pt x="833" y="39"/>
                    <a:pt x="833" y="39"/>
                    <a:pt x="833" y="39"/>
                  </a:cubicBezTo>
                  <a:cubicBezTo>
                    <a:pt x="833" y="39"/>
                    <a:pt x="833" y="39"/>
                    <a:pt x="833" y="39"/>
                  </a:cubicBezTo>
                  <a:close/>
                  <a:moveTo>
                    <a:pt x="1703" y="74"/>
                  </a:moveTo>
                  <a:cubicBezTo>
                    <a:pt x="1703" y="74"/>
                    <a:pt x="1704" y="74"/>
                    <a:pt x="1704" y="74"/>
                  </a:cubicBezTo>
                  <a:cubicBezTo>
                    <a:pt x="1703" y="74"/>
                    <a:pt x="1703" y="74"/>
                    <a:pt x="1703" y="74"/>
                  </a:cubicBezTo>
                  <a:close/>
                  <a:moveTo>
                    <a:pt x="1717" y="74"/>
                  </a:moveTo>
                  <a:cubicBezTo>
                    <a:pt x="1717" y="74"/>
                    <a:pt x="1716" y="74"/>
                    <a:pt x="1716" y="74"/>
                  </a:cubicBezTo>
                  <a:cubicBezTo>
                    <a:pt x="1717" y="74"/>
                    <a:pt x="1717" y="74"/>
                    <a:pt x="1717" y="74"/>
                  </a:cubicBezTo>
                  <a:close/>
                  <a:moveTo>
                    <a:pt x="864" y="39"/>
                  </a:moveTo>
                  <a:cubicBezTo>
                    <a:pt x="864" y="39"/>
                    <a:pt x="864" y="39"/>
                    <a:pt x="864" y="39"/>
                  </a:cubicBezTo>
                  <a:cubicBezTo>
                    <a:pt x="864" y="39"/>
                    <a:pt x="864" y="39"/>
                    <a:pt x="864" y="39"/>
                  </a:cubicBezTo>
                  <a:close/>
                  <a:moveTo>
                    <a:pt x="874" y="39"/>
                  </a:moveTo>
                  <a:cubicBezTo>
                    <a:pt x="874" y="39"/>
                    <a:pt x="874" y="39"/>
                    <a:pt x="874" y="39"/>
                  </a:cubicBezTo>
                  <a:cubicBezTo>
                    <a:pt x="874" y="39"/>
                    <a:pt x="874" y="39"/>
                    <a:pt x="874" y="39"/>
                  </a:cubicBezTo>
                  <a:close/>
                  <a:moveTo>
                    <a:pt x="1042" y="39"/>
                  </a:moveTo>
                  <a:cubicBezTo>
                    <a:pt x="1042" y="39"/>
                    <a:pt x="1042" y="39"/>
                    <a:pt x="1042" y="39"/>
                  </a:cubicBezTo>
                  <a:cubicBezTo>
                    <a:pt x="1042" y="39"/>
                    <a:pt x="1042" y="39"/>
                    <a:pt x="1042" y="39"/>
                  </a:cubicBezTo>
                  <a:close/>
                  <a:moveTo>
                    <a:pt x="1115" y="39"/>
                  </a:moveTo>
                  <a:cubicBezTo>
                    <a:pt x="1116" y="39"/>
                    <a:pt x="1116" y="39"/>
                    <a:pt x="1116" y="39"/>
                  </a:cubicBezTo>
                  <a:cubicBezTo>
                    <a:pt x="1115" y="39"/>
                    <a:pt x="1115" y="39"/>
                    <a:pt x="1115" y="39"/>
                  </a:cubicBezTo>
                  <a:close/>
                  <a:moveTo>
                    <a:pt x="1148" y="39"/>
                  </a:moveTo>
                  <a:cubicBezTo>
                    <a:pt x="1148" y="39"/>
                    <a:pt x="1148" y="39"/>
                    <a:pt x="1149" y="39"/>
                  </a:cubicBezTo>
                  <a:cubicBezTo>
                    <a:pt x="1149" y="39"/>
                    <a:pt x="1148" y="39"/>
                    <a:pt x="1148" y="39"/>
                  </a:cubicBezTo>
                  <a:close/>
                  <a:moveTo>
                    <a:pt x="1220" y="39"/>
                  </a:moveTo>
                  <a:cubicBezTo>
                    <a:pt x="1220" y="39"/>
                    <a:pt x="1220" y="39"/>
                    <a:pt x="1220" y="39"/>
                  </a:cubicBezTo>
                  <a:cubicBezTo>
                    <a:pt x="1220" y="39"/>
                    <a:pt x="1220" y="39"/>
                    <a:pt x="1220" y="39"/>
                  </a:cubicBezTo>
                  <a:close/>
                  <a:moveTo>
                    <a:pt x="1351" y="75"/>
                  </a:moveTo>
                  <a:cubicBezTo>
                    <a:pt x="1351" y="75"/>
                    <a:pt x="1351" y="75"/>
                    <a:pt x="1351" y="74"/>
                  </a:cubicBezTo>
                  <a:cubicBezTo>
                    <a:pt x="1351" y="74"/>
                    <a:pt x="1351" y="75"/>
                    <a:pt x="1351" y="75"/>
                  </a:cubicBezTo>
                  <a:close/>
                  <a:moveTo>
                    <a:pt x="1364" y="74"/>
                  </a:moveTo>
                  <a:cubicBezTo>
                    <a:pt x="1364" y="74"/>
                    <a:pt x="1364" y="74"/>
                    <a:pt x="1364" y="75"/>
                  </a:cubicBezTo>
                  <a:cubicBezTo>
                    <a:pt x="1364" y="75"/>
                    <a:pt x="1364" y="75"/>
                    <a:pt x="1364" y="74"/>
                  </a:cubicBezTo>
                  <a:close/>
                  <a:moveTo>
                    <a:pt x="1535" y="75"/>
                  </a:moveTo>
                  <a:cubicBezTo>
                    <a:pt x="1535" y="75"/>
                    <a:pt x="1535" y="75"/>
                    <a:pt x="1535" y="74"/>
                  </a:cubicBezTo>
                  <a:cubicBezTo>
                    <a:pt x="1535" y="74"/>
                    <a:pt x="1535" y="75"/>
                    <a:pt x="1535" y="75"/>
                  </a:cubicBezTo>
                  <a:close/>
                  <a:moveTo>
                    <a:pt x="1548" y="74"/>
                  </a:moveTo>
                  <a:cubicBezTo>
                    <a:pt x="1548" y="74"/>
                    <a:pt x="1548" y="74"/>
                    <a:pt x="1548" y="75"/>
                  </a:cubicBezTo>
                  <a:cubicBezTo>
                    <a:pt x="1548" y="75"/>
                    <a:pt x="1548" y="74"/>
                    <a:pt x="1548" y="74"/>
                  </a:cubicBezTo>
                  <a:close/>
                  <a:moveTo>
                    <a:pt x="1256" y="39"/>
                  </a:moveTo>
                  <a:cubicBezTo>
                    <a:pt x="1256" y="39"/>
                    <a:pt x="1256" y="39"/>
                    <a:pt x="1256" y="39"/>
                  </a:cubicBezTo>
                  <a:cubicBezTo>
                    <a:pt x="1256" y="39"/>
                    <a:pt x="1256" y="39"/>
                    <a:pt x="1256" y="39"/>
                  </a:cubicBezTo>
                  <a:close/>
                  <a:moveTo>
                    <a:pt x="1703" y="75"/>
                  </a:moveTo>
                  <a:cubicBezTo>
                    <a:pt x="1703" y="75"/>
                    <a:pt x="1703" y="75"/>
                    <a:pt x="1703" y="74"/>
                  </a:cubicBezTo>
                  <a:cubicBezTo>
                    <a:pt x="1703" y="74"/>
                    <a:pt x="1703" y="75"/>
                    <a:pt x="1703" y="75"/>
                  </a:cubicBezTo>
                  <a:close/>
                  <a:moveTo>
                    <a:pt x="1716" y="74"/>
                  </a:moveTo>
                  <a:cubicBezTo>
                    <a:pt x="1716" y="74"/>
                    <a:pt x="1716" y="74"/>
                    <a:pt x="1716" y="75"/>
                  </a:cubicBezTo>
                  <a:cubicBezTo>
                    <a:pt x="1716" y="75"/>
                    <a:pt x="1716" y="74"/>
                    <a:pt x="1716" y="74"/>
                  </a:cubicBezTo>
                  <a:close/>
                  <a:moveTo>
                    <a:pt x="551" y="39"/>
                  </a:moveTo>
                  <a:cubicBezTo>
                    <a:pt x="551" y="39"/>
                    <a:pt x="551" y="39"/>
                    <a:pt x="551" y="39"/>
                  </a:cubicBezTo>
                  <a:cubicBezTo>
                    <a:pt x="551" y="39"/>
                    <a:pt x="551" y="39"/>
                    <a:pt x="551" y="39"/>
                  </a:cubicBezTo>
                  <a:close/>
                  <a:moveTo>
                    <a:pt x="664" y="39"/>
                  </a:moveTo>
                  <a:cubicBezTo>
                    <a:pt x="664" y="39"/>
                    <a:pt x="664" y="39"/>
                    <a:pt x="664" y="39"/>
                  </a:cubicBezTo>
                  <a:cubicBezTo>
                    <a:pt x="664" y="39"/>
                    <a:pt x="664" y="39"/>
                    <a:pt x="664" y="39"/>
                  </a:cubicBezTo>
                  <a:close/>
                  <a:moveTo>
                    <a:pt x="698" y="75"/>
                  </a:moveTo>
                  <a:cubicBezTo>
                    <a:pt x="698" y="75"/>
                    <a:pt x="698" y="75"/>
                    <a:pt x="698" y="75"/>
                  </a:cubicBezTo>
                  <a:cubicBezTo>
                    <a:pt x="698" y="75"/>
                    <a:pt x="698" y="75"/>
                    <a:pt x="698" y="75"/>
                  </a:cubicBezTo>
                  <a:close/>
                  <a:moveTo>
                    <a:pt x="796" y="39"/>
                  </a:moveTo>
                  <a:cubicBezTo>
                    <a:pt x="796" y="39"/>
                    <a:pt x="797" y="39"/>
                    <a:pt x="797" y="39"/>
                  </a:cubicBezTo>
                  <a:cubicBezTo>
                    <a:pt x="797" y="39"/>
                    <a:pt x="797" y="39"/>
                    <a:pt x="796" y="39"/>
                  </a:cubicBezTo>
                  <a:close/>
                  <a:moveTo>
                    <a:pt x="1350" y="75"/>
                  </a:moveTo>
                  <a:cubicBezTo>
                    <a:pt x="1350" y="75"/>
                    <a:pt x="1351" y="75"/>
                    <a:pt x="1351" y="75"/>
                  </a:cubicBezTo>
                  <a:cubicBezTo>
                    <a:pt x="1350" y="75"/>
                    <a:pt x="1350" y="75"/>
                    <a:pt x="1350" y="75"/>
                  </a:cubicBezTo>
                  <a:close/>
                  <a:moveTo>
                    <a:pt x="832" y="39"/>
                  </a:moveTo>
                  <a:cubicBezTo>
                    <a:pt x="832" y="39"/>
                    <a:pt x="833" y="39"/>
                    <a:pt x="833" y="39"/>
                  </a:cubicBezTo>
                  <a:cubicBezTo>
                    <a:pt x="832" y="39"/>
                    <a:pt x="832" y="39"/>
                    <a:pt x="832" y="39"/>
                  </a:cubicBezTo>
                  <a:close/>
                  <a:moveTo>
                    <a:pt x="864" y="39"/>
                  </a:moveTo>
                  <a:cubicBezTo>
                    <a:pt x="864" y="39"/>
                    <a:pt x="864" y="39"/>
                    <a:pt x="864" y="39"/>
                  </a:cubicBezTo>
                  <a:cubicBezTo>
                    <a:pt x="864" y="39"/>
                    <a:pt x="864" y="39"/>
                    <a:pt x="864" y="39"/>
                  </a:cubicBezTo>
                  <a:close/>
                  <a:moveTo>
                    <a:pt x="1534" y="75"/>
                  </a:moveTo>
                  <a:cubicBezTo>
                    <a:pt x="1535" y="75"/>
                    <a:pt x="1535" y="75"/>
                    <a:pt x="1535" y="75"/>
                  </a:cubicBezTo>
                  <a:cubicBezTo>
                    <a:pt x="1535" y="75"/>
                    <a:pt x="1534" y="75"/>
                    <a:pt x="1534" y="75"/>
                  </a:cubicBezTo>
                  <a:close/>
                  <a:moveTo>
                    <a:pt x="1548" y="75"/>
                  </a:moveTo>
                  <a:cubicBezTo>
                    <a:pt x="1548" y="75"/>
                    <a:pt x="1548" y="75"/>
                    <a:pt x="1548" y="75"/>
                  </a:cubicBezTo>
                  <a:cubicBezTo>
                    <a:pt x="1548" y="75"/>
                    <a:pt x="1548" y="75"/>
                    <a:pt x="1548" y="75"/>
                  </a:cubicBezTo>
                  <a:close/>
                  <a:moveTo>
                    <a:pt x="873" y="39"/>
                  </a:moveTo>
                  <a:cubicBezTo>
                    <a:pt x="874" y="39"/>
                    <a:pt x="874" y="39"/>
                    <a:pt x="874" y="39"/>
                  </a:cubicBezTo>
                  <a:cubicBezTo>
                    <a:pt x="874" y="39"/>
                    <a:pt x="873" y="39"/>
                    <a:pt x="873" y="39"/>
                  </a:cubicBezTo>
                  <a:close/>
                  <a:moveTo>
                    <a:pt x="1703" y="75"/>
                  </a:moveTo>
                  <a:cubicBezTo>
                    <a:pt x="1703" y="75"/>
                    <a:pt x="1703" y="75"/>
                    <a:pt x="1703" y="75"/>
                  </a:cubicBezTo>
                  <a:cubicBezTo>
                    <a:pt x="1703" y="75"/>
                    <a:pt x="1703" y="75"/>
                    <a:pt x="1703" y="75"/>
                  </a:cubicBezTo>
                  <a:close/>
                  <a:moveTo>
                    <a:pt x="1716" y="75"/>
                  </a:moveTo>
                  <a:cubicBezTo>
                    <a:pt x="1716" y="75"/>
                    <a:pt x="1716" y="75"/>
                    <a:pt x="1716" y="75"/>
                  </a:cubicBezTo>
                  <a:cubicBezTo>
                    <a:pt x="1716" y="75"/>
                    <a:pt x="1716" y="75"/>
                    <a:pt x="1716" y="75"/>
                  </a:cubicBezTo>
                  <a:close/>
                  <a:moveTo>
                    <a:pt x="1041" y="39"/>
                  </a:moveTo>
                  <a:cubicBezTo>
                    <a:pt x="1042" y="39"/>
                    <a:pt x="1042" y="39"/>
                    <a:pt x="1042" y="39"/>
                  </a:cubicBezTo>
                  <a:cubicBezTo>
                    <a:pt x="1042" y="39"/>
                    <a:pt x="1042" y="39"/>
                    <a:pt x="1041" y="39"/>
                  </a:cubicBezTo>
                  <a:close/>
                  <a:moveTo>
                    <a:pt x="1115" y="39"/>
                  </a:moveTo>
                  <a:cubicBezTo>
                    <a:pt x="1115" y="39"/>
                    <a:pt x="1115" y="39"/>
                    <a:pt x="1115" y="39"/>
                  </a:cubicBezTo>
                  <a:cubicBezTo>
                    <a:pt x="1115" y="39"/>
                    <a:pt x="1115" y="39"/>
                    <a:pt x="1115" y="39"/>
                  </a:cubicBezTo>
                  <a:close/>
                  <a:moveTo>
                    <a:pt x="1219" y="39"/>
                  </a:moveTo>
                  <a:cubicBezTo>
                    <a:pt x="1220" y="39"/>
                    <a:pt x="1220" y="39"/>
                    <a:pt x="1220" y="39"/>
                  </a:cubicBezTo>
                  <a:cubicBezTo>
                    <a:pt x="1220" y="39"/>
                    <a:pt x="1219" y="39"/>
                    <a:pt x="1219" y="39"/>
                  </a:cubicBezTo>
                  <a:close/>
                  <a:moveTo>
                    <a:pt x="1293" y="39"/>
                  </a:moveTo>
                  <a:cubicBezTo>
                    <a:pt x="1293" y="39"/>
                    <a:pt x="1293" y="39"/>
                    <a:pt x="1293" y="39"/>
                  </a:cubicBezTo>
                  <a:cubicBezTo>
                    <a:pt x="1293" y="39"/>
                    <a:pt x="1293" y="39"/>
                    <a:pt x="1293" y="39"/>
                  </a:cubicBezTo>
                  <a:close/>
                  <a:moveTo>
                    <a:pt x="1350" y="75"/>
                  </a:moveTo>
                  <a:cubicBezTo>
                    <a:pt x="1350" y="75"/>
                    <a:pt x="1350" y="75"/>
                    <a:pt x="1350" y="75"/>
                  </a:cubicBezTo>
                  <a:cubicBezTo>
                    <a:pt x="1350" y="75"/>
                    <a:pt x="1350" y="75"/>
                    <a:pt x="1350" y="75"/>
                  </a:cubicBezTo>
                  <a:close/>
                  <a:moveTo>
                    <a:pt x="663" y="40"/>
                  </a:moveTo>
                  <a:cubicBezTo>
                    <a:pt x="664" y="40"/>
                    <a:pt x="664" y="39"/>
                    <a:pt x="664" y="39"/>
                  </a:cubicBezTo>
                  <a:cubicBezTo>
                    <a:pt x="664" y="39"/>
                    <a:pt x="664" y="39"/>
                    <a:pt x="663" y="40"/>
                  </a:cubicBezTo>
                  <a:close/>
                  <a:moveTo>
                    <a:pt x="759" y="40"/>
                  </a:moveTo>
                  <a:cubicBezTo>
                    <a:pt x="759" y="40"/>
                    <a:pt x="759" y="39"/>
                    <a:pt x="759" y="39"/>
                  </a:cubicBezTo>
                  <a:cubicBezTo>
                    <a:pt x="759" y="39"/>
                    <a:pt x="759" y="39"/>
                    <a:pt x="759" y="40"/>
                  </a:cubicBezTo>
                  <a:close/>
                  <a:moveTo>
                    <a:pt x="797" y="39"/>
                  </a:moveTo>
                  <a:cubicBezTo>
                    <a:pt x="797" y="39"/>
                    <a:pt x="797" y="40"/>
                    <a:pt x="797" y="40"/>
                  </a:cubicBezTo>
                  <a:cubicBezTo>
                    <a:pt x="797" y="39"/>
                    <a:pt x="797" y="39"/>
                    <a:pt x="797" y="39"/>
                  </a:cubicBezTo>
                  <a:close/>
                  <a:moveTo>
                    <a:pt x="832" y="40"/>
                  </a:moveTo>
                  <a:cubicBezTo>
                    <a:pt x="832" y="40"/>
                    <a:pt x="832" y="39"/>
                    <a:pt x="832" y="39"/>
                  </a:cubicBezTo>
                  <a:cubicBezTo>
                    <a:pt x="832" y="39"/>
                    <a:pt x="832" y="39"/>
                    <a:pt x="832" y="40"/>
                  </a:cubicBezTo>
                  <a:close/>
                  <a:moveTo>
                    <a:pt x="873" y="40"/>
                  </a:moveTo>
                  <a:cubicBezTo>
                    <a:pt x="873" y="40"/>
                    <a:pt x="873" y="39"/>
                    <a:pt x="873" y="39"/>
                  </a:cubicBezTo>
                  <a:cubicBezTo>
                    <a:pt x="873" y="39"/>
                    <a:pt x="873" y="39"/>
                    <a:pt x="873" y="40"/>
                  </a:cubicBezTo>
                  <a:close/>
                  <a:moveTo>
                    <a:pt x="1115" y="40"/>
                  </a:moveTo>
                  <a:cubicBezTo>
                    <a:pt x="1115" y="40"/>
                    <a:pt x="1115" y="39"/>
                    <a:pt x="1115" y="39"/>
                  </a:cubicBezTo>
                  <a:cubicBezTo>
                    <a:pt x="1115" y="39"/>
                    <a:pt x="1115" y="39"/>
                    <a:pt x="1115" y="40"/>
                  </a:cubicBezTo>
                  <a:close/>
                  <a:moveTo>
                    <a:pt x="682" y="76"/>
                  </a:moveTo>
                  <a:cubicBezTo>
                    <a:pt x="682" y="75"/>
                    <a:pt x="682" y="75"/>
                    <a:pt x="682" y="75"/>
                  </a:cubicBezTo>
                  <a:cubicBezTo>
                    <a:pt x="682" y="76"/>
                    <a:pt x="682" y="76"/>
                    <a:pt x="682" y="76"/>
                  </a:cubicBezTo>
                  <a:close/>
                  <a:moveTo>
                    <a:pt x="698" y="75"/>
                  </a:moveTo>
                  <a:cubicBezTo>
                    <a:pt x="698" y="76"/>
                    <a:pt x="698" y="76"/>
                    <a:pt x="698" y="76"/>
                  </a:cubicBezTo>
                  <a:cubicBezTo>
                    <a:pt x="698" y="76"/>
                    <a:pt x="698" y="76"/>
                    <a:pt x="698" y="75"/>
                  </a:cubicBezTo>
                  <a:close/>
                  <a:moveTo>
                    <a:pt x="1292" y="40"/>
                  </a:moveTo>
                  <a:cubicBezTo>
                    <a:pt x="1293" y="40"/>
                    <a:pt x="1293" y="39"/>
                    <a:pt x="1293" y="39"/>
                  </a:cubicBezTo>
                  <a:cubicBezTo>
                    <a:pt x="1293" y="39"/>
                    <a:pt x="1293" y="39"/>
                    <a:pt x="1292" y="40"/>
                  </a:cubicBezTo>
                  <a:close/>
                  <a:moveTo>
                    <a:pt x="663" y="40"/>
                  </a:moveTo>
                  <a:cubicBezTo>
                    <a:pt x="663" y="40"/>
                    <a:pt x="663" y="40"/>
                    <a:pt x="663" y="40"/>
                  </a:cubicBezTo>
                  <a:cubicBezTo>
                    <a:pt x="663" y="40"/>
                    <a:pt x="663" y="40"/>
                    <a:pt x="663" y="40"/>
                  </a:cubicBezTo>
                  <a:close/>
                  <a:moveTo>
                    <a:pt x="1350" y="76"/>
                  </a:moveTo>
                  <a:cubicBezTo>
                    <a:pt x="1350" y="76"/>
                    <a:pt x="1350" y="76"/>
                    <a:pt x="1350" y="75"/>
                  </a:cubicBezTo>
                  <a:cubicBezTo>
                    <a:pt x="1350" y="76"/>
                    <a:pt x="1350" y="76"/>
                    <a:pt x="1350" y="76"/>
                  </a:cubicBezTo>
                  <a:close/>
                  <a:moveTo>
                    <a:pt x="1363" y="75"/>
                  </a:moveTo>
                  <a:cubicBezTo>
                    <a:pt x="1363" y="75"/>
                    <a:pt x="1362" y="76"/>
                    <a:pt x="1362" y="76"/>
                  </a:cubicBezTo>
                  <a:cubicBezTo>
                    <a:pt x="1363" y="76"/>
                    <a:pt x="1363" y="76"/>
                    <a:pt x="1363" y="75"/>
                  </a:cubicBezTo>
                  <a:close/>
                  <a:moveTo>
                    <a:pt x="758" y="40"/>
                  </a:moveTo>
                  <a:cubicBezTo>
                    <a:pt x="759" y="40"/>
                    <a:pt x="759" y="40"/>
                    <a:pt x="759" y="40"/>
                  </a:cubicBezTo>
                  <a:cubicBezTo>
                    <a:pt x="759" y="40"/>
                    <a:pt x="759" y="40"/>
                    <a:pt x="758" y="40"/>
                  </a:cubicBezTo>
                  <a:close/>
                  <a:moveTo>
                    <a:pt x="797" y="40"/>
                  </a:moveTo>
                  <a:cubicBezTo>
                    <a:pt x="797" y="40"/>
                    <a:pt x="797" y="40"/>
                    <a:pt x="797" y="40"/>
                  </a:cubicBezTo>
                  <a:cubicBezTo>
                    <a:pt x="797" y="40"/>
                    <a:pt x="797" y="40"/>
                    <a:pt x="797" y="40"/>
                  </a:cubicBezTo>
                  <a:close/>
                  <a:moveTo>
                    <a:pt x="832" y="40"/>
                  </a:moveTo>
                  <a:cubicBezTo>
                    <a:pt x="832" y="40"/>
                    <a:pt x="832" y="40"/>
                    <a:pt x="832" y="40"/>
                  </a:cubicBezTo>
                  <a:cubicBezTo>
                    <a:pt x="832" y="40"/>
                    <a:pt x="832" y="40"/>
                    <a:pt x="832" y="40"/>
                  </a:cubicBezTo>
                  <a:close/>
                  <a:moveTo>
                    <a:pt x="873" y="40"/>
                  </a:moveTo>
                  <a:cubicBezTo>
                    <a:pt x="873" y="40"/>
                    <a:pt x="873" y="40"/>
                    <a:pt x="873" y="40"/>
                  </a:cubicBezTo>
                  <a:cubicBezTo>
                    <a:pt x="873" y="40"/>
                    <a:pt x="873" y="40"/>
                    <a:pt x="873" y="40"/>
                  </a:cubicBezTo>
                  <a:close/>
                  <a:moveTo>
                    <a:pt x="907" y="40"/>
                  </a:moveTo>
                  <a:cubicBezTo>
                    <a:pt x="907" y="40"/>
                    <a:pt x="907" y="40"/>
                    <a:pt x="907" y="40"/>
                  </a:cubicBezTo>
                  <a:cubicBezTo>
                    <a:pt x="907" y="40"/>
                    <a:pt x="907" y="40"/>
                    <a:pt x="907" y="40"/>
                  </a:cubicBezTo>
                  <a:close/>
                  <a:moveTo>
                    <a:pt x="1114" y="40"/>
                  </a:moveTo>
                  <a:cubicBezTo>
                    <a:pt x="1114" y="40"/>
                    <a:pt x="1115" y="40"/>
                    <a:pt x="1115" y="40"/>
                  </a:cubicBezTo>
                  <a:cubicBezTo>
                    <a:pt x="1114" y="40"/>
                    <a:pt x="1114" y="40"/>
                    <a:pt x="1114" y="40"/>
                  </a:cubicBezTo>
                  <a:close/>
                  <a:moveTo>
                    <a:pt x="1292" y="40"/>
                  </a:moveTo>
                  <a:cubicBezTo>
                    <a:pt x="1292" y="40"/>
                    <a:pt x="1292" y="40"/>
                    <a:pt x="1292" y="40"/>
                  </a:cubicBezTo>
                  <a:cubicBezTo>
                    <a:pt x="1292" y="40"/>
                    <a:pt x="1292" y="40"/>
                    <a:pt x="1292" y="40"/>
                  </a:cubicBezTo>
                  <a:close/>
                  <a:moveTo>
                    <a:pt x="1362" y="76"/>
                  </a:moveTo>
                  <a:cubicBezTo>
                    <a:pt x="1362" y="76"/>
                    <a:pt x="1362" y="76"/>
                    <a:pt x="1362" y="76"/>
                  </a:cubicBezTo>
                  <a:cubicBezTo>
                    <a:pt x="1362" y="76"/>
                    <a:pt x="1362" y="76"/>
                    <a:pt x="1362" y="76"/>
                  </a:cubicBezTo>
                  <a:close/>
                  <a:moveTo>
                    <a:pt x="663" y="40"/>
                  </a:moveTo>
                  <a:cubicBezTo>
                    <a:pt x="663" y="40"/>
                    <a:pt x="663" y="40"/>
                    <a:pt x="663" y="40"/>
                  </a:cubicBezTo>
                  <a:cubicBezTo>
                    <a:pt x="663" y="40"/>
                    <a:pt x="663" y="40"/>
                    <a:pt x="663" y="40"/>
                  </a:cubicBezTo>
                  <a:close/>
                  <a:moveTo>
                    <a:pt x="758" y="40"/>
                  </a:moveTo>
                  <a:cubicBezTo>
                    <a:pt x="758" y="40"/>
                    <a:pt x="758" y="40"/>
                    <a:pt x="758" y="40"/>
                  </a:cubicBezTo>
                  <a:cubicBezTo>
                    <a:pt x="758" y="40"/>
                    <a:pt x="758" y="40"/>
                    <a:pt x="758" y="40"/>
                  </a:cubicBezTo>
                  <a:close/>
                  <a:moveTo>
                    <a:pt x="797" y="40"/>
                  </a:moveTo>
                  <a:cubicBezTo>
                    <a:pt x="797" y="40"/>
                    <a:pt x="798" y="40"/>
                    <a:pt x="798" y="40"/>
                  </a:cubicBezTo>
                  <a:cubicBezTo>
                    <a:pt x="798" y="40"/>
                    <a:pt x="798" y="40"/>
                    <a:pt x="797" y="40"/>
                  </a:cubicBezTo>
                  <a:close/>
                  <a:moveTo>
                    <a:pt x="831" y="40"/>
                  </a:moveTo>
                  <a:cubicBezTo>
                    <a:pt x="831" y="40"/>
                    <a:pt x="832" y="40"/>
                    <a:pt x="832" y="40"/>
                  </a:cubicBezTo>
                  <a:cubicBezTo>
                    <a:pt x="831" y="40"/>
                    <a:pt x="831" y="40"/>
                    <a:pt x="831" y="40"/>
                  </a:cubicBezTo>
                  <a:close/>
                  <a:moveTo>
                    <a:pt x="872" y="40"/>
                  </a:moveTo>
                  <a:cubicBezTo>
                    <a:pt x="873" y="40"/>
                    <a:pt x="873" y="40"/>
                    <a:pt x="873" y="40"/>
                  </a:cubicBezTo>
                  <a:cubicBezTo>
                    <a:pt x="873" y="40"/>
                    <a:pt x="872" y="40"/>
                    <a:pt x="872" y="40"/>
                  </a:cubicBezTo>
                  <a:close/>
                  <a:moveTo>
                    <a:pt x="907" y="40"/>
                  </a:moveTo>
                  <a:cubicBezTo>
                    <a:pt x="907" y="40"/>
                    <a:pt x="908" y="40"/>
                    <a:pt x="908" y="40"/>
                  </a:cubicBezTo>
                  <a:cubicBezTo>
                    <a:pt x="908" y="40"/>
                    <a:pt x="908" y="40"/>
                    <a:pt x="907" y="40"/>
                  </a:cubicBezTo>
                  <a:close/>
                  <a:moveTo>
                    <a:pt x="1114" y="40"/>
                  </a:moveTo>
                  <a:cubicBezTo>
                    <a:pt x="1114" y="40"/>
                    <a:pt x="1114" y="40"/>
                    <a:pt x="1114" y="40"/>
                  </a:cubicBezTo>
                  <a:cubicBezTo>
                    <a:pt x="1114" y="40"/>
                    <a:pt x="1114" y="40"/>
                    <a:pt x="1114" y="40"/>
                  </a:cubicBezTo>
                  <a:close/>
                  <a:moveTo>
                    <a:pt x="1362" y="76"/>
                  </a:moveTo>
                  <a:cubicBezTo>
                    <a:pt x="1362" y="76"/>
                    <a:pt x="1362" y="76"/>
                    <a:pt x="1362" y="76"/>
                  </a:cubicBezTo>
                  <a:cubicBezTo>
                    <a:pt x="1362" y="76"/>
                    <a:pt x="1362" y="76"/>
                    <a:pt x="1362" y="76"/>
                  </a:cubicBezTo>
                  <a:close/>
                  <a:moveTo>
                    <a:pt x="1149" y="40"/>
                  </a:moveTo>
                  <a:cubicBezTo>
                    <a:pt x="1149" y="40"/>
                    <a:pt x="1149" y="40"/>
                    <a:pt x="1150" y="40"/>
                  </a:cubicBezTo>
                  <a:cubicBezTo>
                    <a:pt x="1150" y="40"/>
                    <a:pt x="1149" y="40"/>
                    <a:pt x="1149" y="40"/>
                  </a:cubicBezTo>
                  <a:close/>
                  <a:moveTo>
                    <a:pt x="1533" y="77"/>
                  </a:moveTo>
                  <a:cubicBezTo>
                    <a:pt x="1534" y="76"/>
                    <a:pt x="1534" y="76"/>
                    <a:pt x="1534" y="76"/>
                  </a:cubicBezTo>
                  <a:cubicBezTo>
                    <a:pt x="1534" y="76"/>
                    <a:pt x="1533" y="76"/>
                    <a:pt x="1533" y="77"/>
                  </a:cubicBezTo>
                  <a:close/>
                  <a:moveTo>
                    <a:pt x="1546" y="76"/>
                  </a:moveTo>
                  <a:cubicBezTo>
                    <a:pt x="1546" y="76"/>
                    <a:pt x="1546" y="76"/>
                    <a:pt x="1546" y="76"/>
                  </a:cubicBezTo>
                  <a:cubicBezTo>
                    <a:pt x="1546" y="76"/>
                    <a:pt x="1546" y="76"/>
                    <a:pt x="1546" y="76"/>
                  </a:cubicBezTo>
                  <a:close/>
                  <a:moveTo>
                    <a:pt x="1218" y="40"/>
                  </a:moveTo>
                  <a:cubicBezTo>
                    <a:pt x="1218" y="40"/>
                    <a:pt x="1218" y="40"/>
                    <a:pt x="1218" y="40"/>
                  </a:cubicBezTo>
                  <a:cubicBezTo>
                    <a:pt x="1218" y="40"/>
                    <a:pt x="1218" y="40"/>
                    <a:pt x="1218" y="40"/>
                  </a:cubicBezTo>
                  <a:close/>
                  <a:moveTo>
                    <a:pt x="662" y="41"/>
                  </a:moveTo>
                  <a:cubicBezTo>
                    <a:pt x="663" y="41"/>
                    <a:pt x="663" y="41"/>
                    <a:pt x="663" y="40"/>
                  </a:cubicBezTo>
                  <a:cubicBezTo>
                    <a:pt x="663" y="40"/>
                    <a:pt x="662" y="40"/>
                    <a:pt x="662" y="41"/>
                  </a:cubicBezTo>
                  <a:close/>
                  <a:moveTo>
                    <a:pt x="1701" y="77"/>
                  </a:moveTo>
                  <a:cubicBezTo>
                    <a:pt x="1702" y="76"/>
                    <a:pt x="1702" y="76"/>
                    <a:pt x="1702" y="76"/>
                  </a:cubicBezTo>
                  <a:cubicBezTo>
                    <a:pt x="1702" y="76"/>
                    <a:pt x="1702" y="76"/>
                    <a:pt x="1701" y="77"/>
                  </a:cubicBezTo>
                  <a:close/>
                  <a:moveTo>
                    <a:pt x="1714" y="76"/>
                  </a:moveTo>
                  <a:cubicBezTo>
                    <a:pt x="1714" y="76"/>
                    <a:pt x="1714" y="76"/>
                    <a:pt x="1714" y="76"/>
                  </a:cubicBezTo>
                  <a:cubicBezTo>
                    <a:pt x="1714" y="76"/>
                    <a:pt x="1714" y="76"/>
                    <a:pt x="1714" y="76"/>
                  </a:cubicBezTo>
                  <a:close/>
                  <a:moveTo>
                    <a:pt x="684" y="77"/>
                  </a:moveTo>
                  <a:cubicBezTo>
                    <a:pt x="684" y="77"/>
                    <a:pt x="683" y="76"/>
                    <a:pt x="683" y="76"/>
                  </a:cubicBezTo>
                  <a:cubicBezTo>
                    <a:pt x="683" y="77"/>
                    <a:pt x="684" y="77"/>
                    <a:pt x="684" y="77"/>
                  </a:cubicBezTo>
                  <a:close/>
                  <a:moveTo>
                    <a:pt x="967" y="76"/>
                  </a:moveTo>
                  <a:cubicBezTo>
                    <a:pt x="967" y="77"/>
                    <a:pt x="967" y="77"/>
                    <a:pt x="968" y="77"/>
                  </a:cubicBezTo>
                  <a:cubicBezTo>
                    <a:pt x="968" y="77"/>
                    <a:pt x="968" y="77"/>
                    <a:pt x="967" y="76"/>
                  </a:cubicBezTo>
                  <a:close/>
                  <a:moveTo>
                    <a:pt x="758" y="41"/>
                  </a:moveTo>
                  <a:cubicBezTo>
                    <a:pt x="758" y="41"/>
                    <a:pt x="758" y="40"/>
                    <a:pt x="758" y="40"/>
                  </a:cubicBezTo>
                  <a:cubicBezTo>
                    <a:pt x="758" y="40"/>
                    <a:pt x="758" y="40"/>
                    <a:pt x="758" y="41"/>
                  </a:cubicBezTo>
                  <a:close/>
                  <a:moveTo>
                    <a:pt x="798" y="40"/>
                  </a:moveTo>
                  <a:cubicBezTo>
                    <a:pt x="798" y="40"/>
                    <a:pt x="798" y="41"/>
                    <a:pt x="798" y="41"/>
                  </a:cubicBezTo>
                  <a:cubicBezTo>
                    <a:pt x="798" y="40"/>
                    <a:pt x="798" y="40"/>
                    <a:pt x="798" y="40"/>
                  </a:cubicBezTo>
                  <a:close/>
                  <a:moveTo>
                    <a:pt x="1349" y="77"/>
                  </a:moveTo>
                  <a:cubicBezTo>
                    <a:pt x="1349" y="77"/>
                    <a:pt x="1349" y="77"/>
                    <a:pt x="1349" y="76"/>
                  </a:cubicBezTo>
                  <a:cubicBezTo>
                    <a:pt x="1349" y="77"/>
                    <a:pt x="1349" y="77"/>
                    <a:pt x="1349" y="77"/>
                  </a:cubicBezTo>
                  <a:close/>
                  <a:moveTo>
                    <a:pt x="1362" y="76"/>
                  </a:moveTo>
                  <a:cubicBezTo>
                    <a:pt x="1361" y="76"/>
                    <a:pt x="1361" y="77"/>
                    <a:pt x="1361" y="77"/>
                  </a:cubicBezTo>
                  <a:cubicBezTo>
                    <a:pt x="1361" y="77"/>
                    <a:pt x="1362" y="77"/>
                    <a:pt x="1362" y="76"/>
                  </a:cubicBezTo>
                  <a:close/>
                  <a:moveTo>
                    <a:pt x="1533" y="77"/>
                  </a:moveTo>
                  <a:cubicBezTo>
                    <a:pt x="1533" y="77"/>
                    <a:pt x="1533" y="77"/>
                    <a:pt x="1533" y="76"/>
                  </a:cubicBezTo>
                  <a:cubicBezTo>
                    <a:pt x="1533" y="77"/>
                    <a:pt x="1533" y="77"/>
                    <a:pt x="1533" y="77"/>
                  </a:cubicBezTo>
                  <a:close/>
                  <a:moveTo>
                    <a:pt x="1546" y="76"/>
                  </a:moveTo>
                  <a:cubicBezTo>
                    <a:pt x="1546" y="76"/>
                    <a:pt x="1546" y="77"/>
                    <a:pt x="1545" y="77"/>
                  </a:cubicBezTo>
                  <a:cubicBezTo>
                    <a:pt x="1546" y="77"/>
                    <a:pt x="1546" y="77"/>
                    <a:pt x="1546" y="76"/>
                  </a:cubicBezTo>
                  <a:close/>
                  <a:moveTo>
                    <a:pt x="1701" y="77"/>
                  </a:moveTo>
                  <a:cubicBezTo>
                    <a:pt x="1701" y="77"/>
                    <a:pt x="1701" y="77"/>
                    <a:pt x="1701" y="76"/>
                  </a:cubicBezTo>
                  <a:cubicBezTo>
                    <a:pt x="1701" y="77"/>
                    <a:pt x="1701" y="77"/>
                    <a:pt x="1701" y="77"/>
                  </a:cubicBezTo>
                  <a:close/>
                  <a:moveTo>
                    <a:pt x="1714" y="76"/>
                  </a:moveTo>
                  <a:cubicBezTo>
                    <a:pt x="1714" y="76"/>
                    <a:pt x="1714" y="77"/>
                    <a:pt x="1714" y="77"/>
                  </a:cubicBezTo>
                  <a:cubicBezTo>
                    <a:pt x="1714" y="77"/>
                    <a:pt x="1714" y="77"/>
                    <a:pt x="1714" y="76"/>
                  </a:cubicBezTo>
                  <a:close/>
                  <a:moveTo>
                    <a:pt x="865" y="40"/>
                  </a:moveTo>
                  <a:cubicBezTo>
                    <a:pt x="865" y="40"/>
                    <a:pt x="865" y="41"/>
                    <a:pt x="865" y="41"/>
                  </a:cubicBezTo>
                  <a:cubicBezTo>
                    <a:pt x="865" y="41"/>
                    <a:pt x="865" y="40"/>
                    <a:pt x="865" y="40"/>
                  </a:cubicBezTo>
                  <a:close/>
                  <a:moveTo>
                    <a:pt x="872" y="41"/>
                  </a:moveTo>
                  <a:cubicBezTo>
                    <a:pt x="872" y="41"/>
                    <a:pt x="872" y="40"/>
                    <a:pt x="872" y="40"/>
                  </a:cubicBezTo>
                  <a:cubicBezTo>
                    <a:pt x="872" y="40"/>
                    <a:pt x="872" y="41"/>
                    <a:pt x="872" y="41"/>
                  </a:cubicBezTo>
                  <a:close/>
                  <a:moveTo>
                    <a:pt x="1040" y="41"/>
                  </a:moveTo>
                  <a:cubicBezTo>
                    <a:pt x="1040" y="41"/>
                    <a:pt x="1040" y="41"/>
                    <a:pt x="1040" y="40"/>
                  </a:cubicBezTo>
                  <a:cubicBezTo>
                    <a:pt x="1040" y="40"/>
                    <a:pt x="1040" y="40"/>
                    <a:pt x="1040" y="41"/>
                  </a:cubicBezTo>
                  <a:close/>
                  <a:moveTo>
                    <a:pt x="1114" y="41"/>
                  </a:moveTo>
                  <a:cubicBezTo>
                    <a:pt x="1114" y="41"/>
                    <a:pt x="1114" y="40"/>
                    <a:pt x="1114" y="40"/>
                  </a:cubicBezTo>
                  <a:cubicBezTo>
                    <a:pt x="1114" y="40"/>
                    <a:pt x="1114" y="40"/>
                    <a:pt x="1114" y="41"/>
                  </a:cubicBezTo>
                  <a:close/>
                  <a:moveTo>
                    <a:pt x="1150" y="40"/>
                  </a:moveTo>
                  <a:cubicBezTo>
                    <a:pt x="1150" y="40"/>
                    <a:pt x="1150" y="41"/>
                    <a:pt x="1150" y="41"/>
                  </a:cubicBezTo>
                  <a:cubicBezTo>
                    <a:pt x="1150" y="40"/>
                    <a:pt x="1150" y="40"/>
                    <a:pt x="1150" y="40"/>
                  </a:cubicBezTo>
                  <a:close/>
                  <a:moveTo>
                    <a:pt x="1218" y="41"/>
                  </a:moveTo>
                  <a:cubicBezTo>
                    <a:pt x="1218" y="41"/>
                    <a:pt x="1218" y="41"/>
                    <a:pt x="1218" y="40"/>
                  </a:cubicBezTo>
                  <a:cubicBezTo>
                    <a:pt x="1218" y="40"/>
                    <a:pt x="1218" y="40"/>
                    <a:pt x="1218" y="41"/>
                  </a:cubicBezTo>
                  <a:close/>
                  <a:moveTo>
                    <a:pt x="1349" y="77"/>
                  </a:moveTo>
                  <a:cubicBezTo>
                    <a:pt x="1349" y="77"/>
                    <a:pt x="1349" y="77"/>
                    <a:pt x="1349" y="77"/>
                  </a:cubicBezTo>
                  <a:cubicBezTo>
                    <a:pt x="1349" y="77"/>
                    <a:pt x="1349" y="77"/>
                    <a:pt x="1349" y="77"/>
                  </a:cubicBezTo>
                  <a:close/>
                  <a:moveTo>
                    <a:pt x="1361" y="77"/>
                  </a:moveTo>
                  <a:cubicBezTo>
                    <a:pt x="1361" y="77"/>
                    <a:pt x="1361" y="77"/>
                    <a:pt x="1361" y="77"/>
                  </a:cubicBezTo>
                  <a:cubicBezTo>
                    <a:pt x="1361" y="77"/>
                    <a:pt x="1361" y="77"/>
                    <a:pt x="1361" y="77"/>
                  </a:cubicBezTo>
                  <a:close/>
                  <a:moveTo>
                    <a:pt x="552" y="41"/>
                  </a:moveTo>
                  <a:cubicBezTo>
                    <a:pt x="552" y="41"/>
                    <a:pt x="553" y="41"/>
                    <a:pt x="553" y="41"/>
                  </a:cubicBezTo>
                  <a:cubicBezTo>
                    <a:pt x="553" y="41"/>
                    <a:pt x="553" y="41"/>
                    <a:pt x="552" y="41"/>
                  </a:cubicBezTo>
                  <a:close/>
                  <a:moveTo>
                    <a:pt x="1545" y="77"/>
                  </a:moveTo>
                  <a:cubicBezTo>
                    <a:pt x="1545" y="77"/>
                    <a:pt x="1545" y="77"/>
                    <a:pt x="1545" y="77"/>
                  </a:cubicBezTo>
                  <a:cubicBezTo>
                    <a:pt x="1545" y="77"/>
                    <a:pt x="1545" y="77"/>
                    <a:pt x="1545" y="77"/>
                  </a:cubicBezTo>
                  <a:close/>
                  <a:moveTo>
                    <a:pt x="757" y="41"/>
                  </a:moveTo>
                  <a:cubicBezTo>
                    <a:pt x="758" y="41"/>
                    <a:pt x="758" y="41"/>
                    <a:pt x="758" y="41"/>
                  </a:cubicBezTo>
                  <a:cubicBezTo>
                    <a:pt x="758" y="41"/>
                    <a:pt x="758" y="41"/>
                    <a:pt x="757" y="41"/>
                  </a:cubicBezTo>
                  <a:close/>
                  <a:moveTo>
                    <a:pt x="798" y="41"/>
                  </a:moveTo>
                  <a:cubicBezTo>
                    <a:pt x="798" y="41"/>
                    <a:pt x="798" y="41"/>
                    <a:pt x="798" y="41"/>
                  </a:cubicBezTo>
                  <a:cubicBezTo>
                    <a:pt x="798" y="41"/>
                    <a:pt x="798" y="41"/>
                    <a:pt x="798" y="41"/>
                  </a:cubicBezTo>
                  <a:close/>
                  <a:moveTo>
                    <a:pt x="872" y="41"/>
                  </a:moveTo>
                  <a:cubicBezTo>
                    <a:pt x="872" y="41"/>
                    <a:pt x="872" y="41"/>
                    <a:pt x="872" y="41"/>
                  </a:cubicBezTo>
                  <a:cubicBezTo>
                    <a:pt x="872" y="41"/>
                    <a:pt x="872" y="41"/>
                    <a:pt x="872" y="41"/>
                  </a:cubicBezTo>
                  <a:close/>
                  <a:moveTo>
                    <a:pt x="1714" y="77"/>
                  </a:moveTo>
                  <a:cubicBezTo>
                    <a:pt x="1713" y="77"/>
                    <a:pt x="1713" y="77"/>
                    <a:pt x="1713" y="77"/>
                  </a:cubicBezTo>
                  <a:cubicBezTo>
                    <a:pt x="1713" y="77"/>
                    <a:pt x="1713" y="77"/>
                    <a:pt x="1714" y="77"/>
                  </a:cubicBezTo>
                  <a:close/>
                  <a:moveTo>
                    <a:pt x="1039" y="41"/>
                  </a:moveTo>
                  <a:cubicBezTo>
                    <a:pt x="1040" y="41"/>
                    <a:pt x="1040" y="41"/>
                    <a:pt x="1040" y="41"/>
                  </a:cubicBezTo>
                  <a:cubicBezTo>
                    <a:pt x="1040" y="41"/>
                    <a:pt x="1039" y="41"/>
                    <a:pt x="1039" y="41"/>
                  </a:cubicBezTo>
                  <a:close/>
                  <a:moveTo>
                    <a:pt x="1113" y="41"/>
                  </a:moveTo>
                  <a:cubicBezTo>
                    <a:pt x="1113" y="41"/>
                    <a:pt x="1114" y="41"/>
                    <a:pt x="1114" y="41"/>
                  </a:cubicBezTo>
                  <a:cubicBezTo>
                    <a:pt x="1113" y="41"/>
                    <a:pt x="1113" y="41"/>
                    <a:pt x="1113" y="41"/>
                  </a:cubicBezTo>
                  <a:close/>
                  <a:moveTo>
                    <a:pt x="685" y="77"/>
                  </a:moveTo>
                  <a:cubicBezTo>
                    <a:pt x="685" y="77"/>
                    <a:pt x="685" y="77"/>
                    <a:pt x="684" y="77"/>
                  </a:cubicBezTo>
                  <a:cubicBezTo>
                    <a:pt x="684" y="77"/>
                    <a:pt x="685" y="77"/>
                    <a:pt x="685" y="77"/>
                  </a:cubicBezTo>
                  <a:close/>
                  <a:moveTo>
                    <a:pt x="1217" y="41"/>
                  </a:moveTo>
                  <a:cubicBezTo>
                    <a:pt x="1217" y="41"/>
                    <a:pt x="1218" y="41"/>
                    <a:pt x="1218" y="41"/>
                  </a:cubicBezTo>
                  <a:cubicBezTo>
                    <a:pt x="1217" y="41"/>
                    <a:pt x="1217" y="41"/>
                    <a:pt x="1217" y="41"/>
                  </a:cubicBezTo>
                  <a:close/>
                  <a:moveTo>
                    <a:pt x="1258" y="41"/>
                  </a:moveTo>
                  <a:cubicBezTo>
                    <a:pt x="1258" y="41"/>
                    <a:pt x="1258" y="41"/>
                    <a:pt x="1258" y="41"/>
                  </a:cubicBezTo>
                  <a:cubicBezTo>
                    <a:pt x="1258" y="41"/>
                    <a:pt x="1258" y="41"/>
                    <a:pt x="1258" y="41"/>
                  </a:cubicBezTo>
                  <a:close/>
                  <a:moveTo>
                    <a:pt x="1361" y="77"/>
                  </a:moveTo>
                  <a:cubicBezTo>
                    <a:pt x="1361" y="77"/>
                    <a:pt x="1361" y="77"/>
                    <a:pt x="1361" y="77"/>
                  </a:cubicBezTo>
                  <a:cubicBezTo>
                    <a:pt x="1361" y="77"/>
                    <a:pt x="1361" y="77"/>
                    <a:pt x="1361" y="77"/>
                  </a:cubicBezTo>
                  <a:close/>
                  <a:moveTo>
                    <a:pt x="1291" y="41"/>
                  </a:moveTo>
                  <a:cubicBezTo>
                    <a:pt x="1292" y="41"/>
                    <a:pt x="1292" y="41"/>
                    <a:pt x="1292" y="41"/>
                  </a:cubicBezTo>
                  <a:cubicBezTo>
                    <a:pt x="1292" y="41"/>
                    <a:pt x="1292" y="41"/>
                    <a:pt x="1291" y="41"/>
                  </a:cubicBezTo>
                  <a:close/>
                  <a:moveTo>
                    <a:pt x="1545" y="77"/>
                  </a:moveTo>
                  <a:cubicBezTo>
                    <a:pt x="1545" y="77"/>
                    <a:pt x="1545" y="77"/>
                    <a:pt x="1545" y="77"/>
                  </a:cubicBezTo>
                  <a:cubicBezTo>
                    <a:pt x="1545" y="77"/>
                    <a:pt x="1545" y="77"/>
                    <a:pt x="1545" y="77"/>
                  </a:cubicBezTo>
                  <a:close/>
                  <a:moveTo>
                    <a:pt x="1713" y="77"/>
                  </a:moveTo>
                  <a:cubicBezTo>
                    <a:pt x="1713" y="77"/>
                    <a:pt x="1713" y="77"/>
                    <a:pt x="1713" y="77"/>
                  </a:cubicBezTo>
                  <a:cubicBezTo>
                    <a:pt x="1713" y="77"/>
                    <a:pt x="1713" y="77"/>
                    <a:pt x="1713" y="77"/>
                  </a:cubicBezTo>
                  <a:close/>
                  <a:moveTo>
                    <a:pt x="553" y="41"/>
                  </a:moveTo>
                  <a:cubicBezTo>
                    <a:pt x="553" y="41"/>
                    <a:pt x="553" y="41"/>
                    <a:pt x="553" y="41"/>
                  </a:cubicBezTo>
                  <a:cubicBezTo>
                    <a:pt x="553" y="41"/>
                    <a:pt x="553" y="41"/>
                    <a:pt x="553" y="41"/>
                  </a:cubicBezTo>
                  <a:close/>
                  <a:moveTo>
                    <a:pt x="757" y="41"/>
                  </a:moveTo>
                  <a:cubicBezTo>
                    <a:pt x="757" y="41"/>
                    <a:pt x="757" y="41"/>
                    <a:pt x="757" y="41"/>
                  </a:cubicBezTo>
                  <a:cubicBezTo>
                    <a:pt x="757" y="41"/>
                    <a:pt x="757" y="41"/>
                    <a:pt x="757" y="41"/>
                  </a:cubicBezTo>
                  <a:close/>
                  <a:moveTo>
                    <a:pt x="798" y="41"/>
                  </a:moveTo>
                  <a:cubicBezTo>
                    <a:pt x="798" y="41"/>
                    <a:pt x="799" y="41"/>
                    <a:pt x="799" y="41"/>
                  </a:cubicBezTo>
                  <a:cubicBezTo>
                    <a:pt x="799" y="41"/>
                    <a:pt x="799" y="41"/>
                    <a:pt x="798" y="41"/>
                  </a:cubicBezTo>
                  <a:close/>
                  <a:moveTo>
                    <a:pt x="871" y="41"/>
                  </a:moveTo>
                  <a:cubicBezTo>
                    <a:pt x="872" y="41"/>
                    <a:pt x="872" y="41"/>
                    <a:pt x="872" y="41"/>
                  </a:cubicBezTo>
                  <a:cubicBezTo>
                    <a:pt x="871" y="41"/>
                    <a:pt x="871" y="41"/>
                    <a:pt x="871" y="41"/>
                  </a:cubicBezTo>
                  <a:close/>
                  <a:moveTo>
                    <a:pt x="908" y="41"/>
                  </a:moveTo>
                  <a:cubicBezTo>
                    <a:pt x="908" y="41"/>
                    <a:pt x="908" y="41"/>
                    <a:pt x="908" y="41"/>
                  </a:cubicBezTo>
                  <a:cubicBezTo>
                    <a:pt x="908" y="41"/>
                    <a:pt x="908" y="41"/>
                    <a:pt x="908" y="41"/>
                  </a:cubicBezTo>
                  <a:close/>
                  <a:moveTo>
                    <a:pt x="1361" y="77"/>
                  </a:moveTo>
                  <a:cubicBezTo>
                    <a:pt x="1360" y="77"/>
                    <a:pt x="1360" y="78"/>
                    <a:pt x="1360" y="78"/>
                  </a:cubicBezTo>
                  <a:cubicBezTo>
                    <a:pt x="1360" y="78"/>
                    <a:pt x="1361" y="78"/>
                    <a:pt x="1361" y="77"/>
                  </a:cubicBezTo>
                  <a:close/>
                  <a:moveTo>
                    <a:pt x="1039" y="41"/>
                  </a:moveTo>
                  <a:cubicBezTo>
                    <a:pt x="1039" y="41"/>
                    <a:pt x="1039" y="41"/>
                    <a:pt x="1039" y="41"/>
                  </a:cubicBezTo>
                  <a:cubicBezTo>
                    <a:pt x="1039" y="41"/>
                    <a:pt x="1039" y="41"/>
                    <a:pt x="1039" y="41"/>
                  </a:cubicBezTo>
                  <a:close/>
                  <a:moveTo>
                    <a:pt x="1532" y="78"/>
                  </a:moveTo>
                  <a:cubicBezTo>
                    <a:pt x="1533" y="78"/>
                    <a:pt x="1533" y="78"/>
                    <a:pt x="1533" y="77"/>
                  </a:cubicBezTo>
                  <a:cubicBezTo>
                    <a:pt x="1532" y="78"/>
                    <a:pt x="1532" y="78"/>
                    <a:pt x="1532" y="78"/>
                  </a:cubicBezTo>
                  <a:close/>
                  <a:moveTo>
                    <a:pt x="1545" y="77"/>
                  </a:moveTo>
                  <a:cubicBezTo>
                    <a:pt x="1545" y="77"/>
                    <a:pt x="1544" y="78"/>
                    <a:pt x="1544" y="78"/>
                  </a:cubicBezTo>
                  <a:cubicBezTo>
                    <a:pt x="1545" y="78"/>
                    <a:pt x="1545" y="78"/>
                    <a:pt x="1545" y="77"/>
                  </a:cubicBezTo>
                  <a:close/>
                  <a:moveTo>
                    <a:pt x="1080" y="41"/>
                  </a:moveTo>
                  <a:cubicBezTo>
                    <a:pt x="1080" y="41"/>
                    <a:pt x="1081" y="41"/>
                    <a:pt x="1081" y="41"/>
                  </a:cubicBezTo>
                  <a:cubicBezTo>
                    <a:pt x="1081" y="41"/>
                    <a:pt x="1081" y="41"/>
                    <a:pt x="1080" y="41"/>
                  </a:cubicBezTo>
                  <a:close/>
                  <a:moveTo>
                    <a:pt x="1217" y="41"/>
                  </a:moveTo>
                  <a:cubicBezTo>
                    <a:pt x="1217" y="41"/>
                    <a:pt x="1217" y="41"/>
                    <a:pt x="1217" y="41"/>
                  </a:cubicBezTo>
                  <a:cubicBezTo>
                    <a:pt x="1217" y="41"/>
                    <a:pt x="1217" y="41"/>
                    <a:pt x="1217" y="41"/>
                  </a:cubicBezTo>
                  <a:close/>
                  <a:moveTo>
                    <a:pt x="1700" y="78"/>
                  </a:moveTo>
                  <a:cubicBezTo>
                    <a:pt x="1701" y="78"/>
                    <a:pt x="1701" y="78"/>
                    <a:pt x="1701" y="77"/>
                  </a:cubicBezTo>
                  <a:cubicBezTo>
                    <a:pt x="1701" y="78"/>
                    <a:pt x="1700" y="78"/>
                    <a:pt x="1700" y="78"/>
                  </a:cubicBezTo>
                  <a:close/>
                  <a:moveTo>
                    <a:pt x="1713" y="77"/>
                  </a:moveTo>
                  <a:cubicBezTo>
                    <a:pt x="1713" y="77"/>
                    <a:pt x="1713" y="78"/>
                    <a:pt x="1713" y="78"/>
                  </a:cubicBezTo>
                  <a:cubicBezTo>
                    <a:pt x="1713" y="78"/>
                    <a:pt x="1713" y="78"/>
                    <a:pt x="1713" y="77"/>
                  </a:cubicBezTo>
                  <a:close/>
                  <a:moveTo>
                    <a:pt x="1258" y="41"/>
                  </a:moveTo>
                  <a:cubicBezTo>
                    <a:pt x="1258" y="41"/>
                    <a:pt x="1258" y="41"/>
                    <a:pt x="1259" y="41"/>
                  </a:cubicBezTo>
                  <a:cubicBezTo>
                    <a:pt x="1259" y="41"/>
                    <a:pt x="1258" y="41"/>
                    <a:pt x="1258" y="41"/>
                  </a:cubicBezTo>
                  <a:close/>
                  <a:moveTo>
                    <a:pt x="553" y="41"/>
                  </a:moveTo>
                  <a:cubicBezTo>
                    <a:pt x="553" y="41"/>
                    <a:pt x="553" y="42"/>
                    <a:pt x="553" y="42"/>
                  </a:cubicBezTo>
                  <a:cubicBezTo>
                    <a:pt x="553" y="42"/>
                    <a:pt x="553" y="41"/>
                    <a:pt x="553" y="41"/>
                  </a:cubicBezTo>
                  <a:close/>
                  <a:moveTo>
                    <a:pt x="662" y="42"/>
                  </a:moveTo>
                  <a:cubicBezTo>
                    <a:pt x="662" y="42"/>
                    <a:pt x="662" y="41"/>
                    <a:pt x="662" y="41"/>
                  </a:cubicBezTo>
                  <a:cubicBezTo>
                    <a:pt x="662" y="41"/>
                    <a:pt x="662" y="42"/>
                    <a:pt x="662" y="42"/>
                  </a:cubicBezTo>
                  <a:close/>
                  <a:moveTo>
                    <a:pt x="757" y="42"/>
                  </a:moveTo>
                  <a:cubicBezTo>
                    <a:pt x="757" y="42"/>
                    <a:pt x="757" y="41"/>
                    <a:pt x="757" y="41"/>
                  </a:cubicBezTo>
                  <a:cubicBezTo>
                    <a:pt x="757" y="41"/>
                    <a:pt x="757" y="42"/>
                    <a:pt x="757" y="42"/>
                  </a:cubicBezTo>
                  <a:close/>
                  <a:moveTo>
                    <a:pt x="1348" y="78"/>
                  </a:moveTo>
                  <a:cubicBezTo>
                    <a:pt x="1348" y="78"/>
                    <a:pt x="1348" y="78"/>
                    <a:pt x="1348" y="78"/>
                  </a:cubicBezTo>
                  <a:cubicBezTo>
                    <a:pt x="1348" y="78"/>
                    <a:pt x="1348" y="78"/>
                    <a:pt x="1348" y="78"/>
                  </a:cubicBezTo>
                  <a:close/>
                  <a:moveTo>
                    <a:pt x="1360" y="78"/>
                  </a:moveTo>
                  <a:cubicBezTo>
                    <a:pt x="1360" y="78"/>
                    <a:pt x="1360" y="78"/>
                    <a:pt x="1360" y="78"/>
                  </a:cubicBezTo>
                  <a:cubicBezTo>
                    <a:pt x="1360" y="78"/>
                    <a:pt x="1360" y="78"/>
                    <a:pt x="1360" y="78"/>
                  </a:cubicBezTo>
                  <a:close/>
                  <a:moveTo>
                    <a:pt x="830" y="42"/>
                  </a:moveTo>
                  <a:cubicBezTo>
                    <a:pt x="830" y="42"/>
                    <a:pt x="830" y="41"/>
                    <a:pt x="831" y="41"/>
                  </a:cubicBezTo>
                  <a:cubicBezTo>
                    <a:pt x="830" y="41"/>
                    <a:pt x="830" y="42"/>
                    <a:pt x="830" y="42"/>
                  </a:cubicBezTo>
                  <a:close/>
                  <a:moveTo>
                    <a:pt x="1544" y="78"/>
                  </a:moveTo>
                  <a:cubicBezTo>
                    <a:pt x="1544" y="78"/>
                    <a:pt x="1544" y="78"/>
                    <a:pt x="1544" y="78"/>
                  </a:cubicBezTo>
                  <a:cubicBezTo>
                    <a:pt x="1544" y="78"/>
                    <a:pt x="1544" y="78"/>
                    <a:pt x="1544" y="78"/>
                  </a:cubicBezTo>
                  <a:close/>
                  <a:moveTo>
                    <a:pt x="866" y="41"/>
                  </a:moveTo>
                  <a:cubicBezTo>
                    <a:pt x="866" y="41"/>
                    <a:pt x="866" y="42"/>
                    <a:pt x="866" y="42"/>
                  </a:cubicBezTo>
                  <a:cubicBezTo>
                    <a:pt x="866" y="42"/>
                    <a:pt x="866" y="41"/>
                    <a:pt x="866" y="41"/>
                  </a:cubicBezTo>
                  <a:close/>
                  <a:moveTo>
                    <a:pt x="1713" y="78"/>
                  </a:moveTo>
                  <a:cubicBezTo>
                    <a:pt x="1712" y="78"/>
                    <a:pt x="1712" y="78"/>
                    <a:pt x="1712" y="78"/>
                  </a:cubicBezTo>
                  <a:cubicBezTo>
                    <a:pt x="1712" y="78"/>
                    <a:pt x="1713" y="78"/>
                    <a:pt x="1713" y="78"/>
                  </a:cubicBezTo>
                  <a:close/>
                  <a:moveTo>
                    <a:pt x="1039" y="42"/>
                  </a:moveTo>
                  <a:cubicBezTo>
                    <a:pt x="1039" y="42"/>
                    <a:pt x="1039" y="42"/>
                    <a:pt x="1039" y="41"/>
                  </a:cubicBezTo>
                  <a:cubicBezTo>
                    <a:pt x="1039" y="41"/>
                    <a:pt x="1039" y="42"/>
                    <a:pt x="1039" y="42"/>
                  </a:cubicBezTo>
                  <a:close/>
                  <a:moveTo>
                    <a:pt x="686" y="79"/>
                  </a:moveTo>
                  <a:cubicBezTo>
                    <a:pt x="686" y="78"/>
                    <a:pt x="686" y="78"/>
                    <a:pt x="686" y="78"/>
                  </a:cubicBezTo>
                  <a:cubicBezTo>
                    <a:pt x="686" y="78"/>
                    <a:pt x="686" y="78"/>
                    <a:pt x="686" y="79"/>
                  </a:cubicBezTo>
                  <a:close/>
                  <a:moveTo>
                    <a:pt x="968" y="78"/>
                  </a:moveTo>
                  <a:cubicBezTo>
                    <a:pt x="968" y="78"/>
                    <a:pt x="968" y="79"/>
                    <a:pt x="969" y="79"/>
                  </a:cubicBezTo>
                  <a:cubicBezTo>
                    <a:pt x="969" y="78"/>
                    <a:pt x="969" y="78"/>
                    <a:pt x="968" y="78"/>
                  </a:cubicBezTo>
                  <a:close/>
                  <a:moveTo>
                    <a:pt x="1081" y="41"/>
                  </a:moveTo>
                  <a:cubicBezTo>
                    <a:pt x="1081" y="42"/>
                    <a:pt x="1081" y="42"/>
                    <a:pt x="1081" y="42"/>
                  </a:cubicBezTo>
                  <a:cubicBezTo>
                    <a:pt x="1081" y="42"/>
                    <a:pt x="1081" y="41"/>
                    <a:pt x="1081" y="41"/>
                  </a:cubicBezTo>
                  <a:close/>
                  <a:moveTo>
                    <a:pt x="1150" y="41"/>
                  </a:moveTo>
                  <a:cubicBezTo>
                    <a:pt x="1150" y="42"/>
                    <a:pt x="1150" y="42"/>
                    <a:pt x="1151" y="42"/>
                  </a:cubicBezTo>
                  <a:cubicBezTo>
                    <a:pt x="1151" y="42"/>
                    <a:pt x="1151" y="41"/>
                    <a:pt x="1150" y="41"/>
                  </a:cubicBezTo>
                  <a:close/>
                  <a:moveTo>
                    <a:pt x="1217" y="42"/>
                  </a:moveTo>
                  <a:cubicBezTo>
                    <a:pt x="1217" y="42"/>
                    <a:pt x="1217" y="42"/>
                    <a:pt x="1217" y="41"/>
                  </a:cubicBezTo>
                  <a:cubicBezTo>
                    <a:pt x="1217" y="41"/>
                    <a:pt x="1217" y="42"/>
                    <a:pt x="1217" y="42"/>
                  </a:cubicBezTo>
                  <a:close/>
                  <a:moveTo>
                    <a:pt x="1259" y="41"/>
                  </a:moveTo>
                  <a:cubicBezTo>
                    <a:pt x="1259" y="42"/>
                    <a:pt x="1259" y="42"/>
                    <a:pt x="1259" y="42"/>
                  </a:cubicBezTo>
                  <a:cubicBezTo>
                    <a:pt x="1259" y="42"/>
                    <a:pt x="1259" y="41"/>
                    <a:pt x="1259" y="41"/>
                  </a:cubicBezTo>
                  <a:close/>
                  <a:moveTo>
                    <a:pt x="1360" y="78"/>
                  </a:moveTo>
                  <a:cubicBezTo>
                    <a:pt x="1360" y="78"/>
                    <a:pt x="1360" y="78"/>
                    <a:pt x="1360" y="78"/>
                  </a:cubicBezTo>
                  <a:cubicBezTo>
                    <a:pt x="1360" y="78"/>
                    <a:pt x="1360" y="78"/>
                    <a:pt x="1360" y="78"/>
                  </a:cubicBezTo>
                  <a:close/>
                  <a:moveTo>
                    <a:pt x="1544" y="78"/>
                  </a:moveTo>
                  <a:cubicBezTo>
                    <a:pt x="1544" y="78"/>
                    <a:pt x="1544" y="78"/>
                    <a:pt x="1544" y="79"/>
                  </a:cubicBezTo>
                  <a:cubicBezTo>
                    <a:pt x="1544" y="78"/>
                    <a:pt x="1544" y="78"/>
                    <a:pt x="1544" y="78"/>
                  </a:cubicBezTo>
                  <a:close/>
                  <a:moveTo>
                    <a:pt x="661" y="42"/>
                  </a:moveTo>
                  <a:cubicBezTo>
                    <a:pt x="662" y="42"/>
                    <a:pt x="662" y="42"/>
                    <a:pt x="662" y="42"/>
                  </a:cubicBezTo>
                  <a:cubicBezTo>
                    <a:pt x="662" y="42"/>
                    <a:pt x="661" y="42"/>
                    <a:pt x="661" y="42"/>
                  </a:cubicBezTo>
                  <a:close/>
                  <a:moveTo>
                    <a:pt x="1712" y="78"/>
                  </a:moveTo>
                  <a:cubicBezTo>
                    <a:pt x="1712" y="78"/>
                    <a:pt x="1712" y="78"/>
                    <a:pt x="1712" y="79"/>
                  </a:cubicBezTo>
                  <a:cubicBezTo>
                    <a:pt x="1712" y="78"/>
                    <a:pt x="1712" y="78"/>
                    <a:pt x="1712" y="78"/>
                  </a:cubicBezTo>
                  <a:close/>
                  <a:moveTo>
                    <a:pt x="756" y="42"/>
                  </a:moveTo>
                  <a:cubicBezTo>
                    <a:pt x="757" y="42"/>
                    <a:pt x="757" y="42"/>
                    <a:pt x="757" y="42"/>
                  </a:cubicBezTo>
                  <a:cubicBezTo>
                    <a:pt x="757" y="42"/>
                    <a:pt x="756" y="42"/>
                    <a:pt x="756" y="42"/>
                  </a:cubicBezTo>
                  <a:close/>
                  <a:moveTo>
                    <a:pt x="830" y="42"/>
                  </a:moveTo>
                  <a:cubicBezTo>
                    <a:pt x="830" y="42"/>
                    <a:pt x="830" y="42"/>
                    <a:pt x="830" y="42"/>
                  </a:cubicBezTo>
                  <a:cubicBezTo>
                    <a:pt x="830" y="42"/>
                    <a:pt x="830" y="42"/>
                    <a:pt x="830" y="42"/>
                  </a:cubicBezTo>
                  <a:close/>
                  <a:moveTo>
                    <a:pt x="686" y="79"/>
                  </a:moveTo>
                  <a:cubicBezTo>
                    <a:pt x="686" y="79"/>
                    <a:pt x="686" y="79"/>
                    <a:pt x="686" y="79"/>
                  </a:cubicBezTo>
                  <a:cubicBezTo>
                    <a:pt x="686" y="79"/>
                    <a:pt x="686" y="79"/>
                    <a:pt x="686" y="79"/>
                  </a:cubicBezTo>
                  <a:close/>
                  <a:moveTo>
                    <a:pt x="1038" y="42"/>
                  </a:moveTo>
                  <a:cubicBezTo>
                    <a:pt x="1039" y="42"/>
                    <a:pt x="1039" y="42"/>
                    <a:pt x="1039" y="42"/>
                  </a:cubicBezTo>
                  <a:cubicBezTo>
                    <a:pt x="1039" y="42"/>
                    <a:pt x="1038" y="42"/>
                    <a:pt x="1038" y="42"/>
                  </a:cubicBezTo>
                  <a:close/>
                  <a:moveTo>
                    <a:pt x="1081" y="42"/>
                  </a:moveTo>
                  <a:cubicBezTo>
                    <a:pt x="1081" y="42"/>
                    <a:pt x="1081" y="42"/>
                    <a:pt x="1081" y="42"/>
                  </a:cubicBezTo>
                  <a:cubicBezTo>
                    <a:pt x="1081" y="42"/>
                    <a:pt x="1081" y="42"/>
                    <a:pt x="1081" y="42"/>
                  </a:cubicBezTo>
                  <a:close/>
                  <a:moveTo>
                    <a:pt x="1360" y="78"/>
                  </a:moveTo>
                  <a:cubicBezTo>
                    <a:pt x="1359" y="78"/>
                    <a:pt x="1359" y="79"/>
                    <a:pt x="1359" y="79"/>
                  </a:cubicBezTo>
                  <a:cubicBezTo>
                    <a:pt x="1359" y="79"/>
                    <a:pt x="1360" y="79"/>
                    <a:pt x="1360" y="78"/>
                  </a:cubicBezTo>
                  <a:close/>
                  <a:moveTo>
                    <a:pt x="1216" y="42"/>
                  </a:moveTo>
                  <a:cubicBezTo>
                    <a:pt x="1216" y="42"/>
                    <a:pt x="1217" y="42"/>
                    <a:pt x="1217" y="42"/>
                  </a:cubicBezTo>
                  <a:cubicBezTo>
                    <a:pt x="1216" y="42"/>
                    <a:pt x="1216" y="42"/>
                    <a:pt x="1216" y="42"/>
                  </a:cubicBezTo>
                  <a:close/>
                  <a:moveTo>
                    <a:pt x="1291" y="42"/>
                  </a:moveTo>
                  <a:cubicBezTo>
                    <a:pt x="1291" y="42"/>
                    <a:pt x="1291" y="42"/>
                    <a:pt x="1291" y="42"/>
                  </a:cubicBezTo>
                  <a:cubicBezTo>
                    <a:pt x="1291" y="42"/>
                    <a:pt x="1291" y="42"/>
                    <a:pt x="1291" y="42"/>
                  </a:cubicBezTo>
                  <a:close/>
                  <a:moveTo>
                    <a:pt x="1532" y="79"/>
                  </a:moveTo>
                  <a:cubicBezTo>
                    <a:pt x="1532" y="79"/>
                    <a:pt x="1532" y="79"/>
                    <a:pt x="1532" y="79"/>
                  </a:cubicBezTo>
                  <a:cubicBezTo>
                    <a:pt x="1532" y="79"/>
                    <a:pt x="1532" y="79"/>
                    <a:pt x="1532" y="79"/>
                  </a:cubicBezTo>
                  <a:close/>
                  <a:moveTo>
                    <a:pt x="1544" y="79"/>
                  </a:moveTo>
                  <a:cubicBezTo>
                    <a:pt x="1544" y="79"/>
                    <a:pt x="1543" y="79"/>
                    <a:pt x="1543" y="79"/>
                  </a:cubicBezTo>
                  <a:cubicBezTo>
                    <a:pt x="1544" y="79"/>
                    <a:pt x="1544" y="79"/>
                    <a:pt x="1544" y="79"/>
                  </a:cubicBezTo>
                  <a:close/>
                  <a:moveTo>
                    <a:pt x="756" y="42"/>
                  </a:moveTo>
                  <a:cubicBezTo>
                    <a:pt x="756" y="42"/>
                    <a:pt x="756" y="42"/>
                    <a:pt x="756" y="42"/>
                  </a:cubicBezTo>
                  <a:cubicBezTo>
                    <a:pt x="756" y="42"/>
                    <a:pt x="756" y="42"/>
                    <a:pt x="756" y="42"/>
                  </a:cubicBezTo>
                  <a:close/>
                  <a:moveTo>
                    <a:pt x="1700" y="79"/>
                  </a:moveTo>
                  <a:cubicBezTo>
                    <a:pt x="1700" y="79"/>
                    <a:pt x="1700" y="79"/>
                    <a:pt x="1700" y="79"/>
                  </a:cubicBezTo>
                  <a:cubicBezTo>
                    <a:pt x="1700" y="79"/>
                    <a:pt x="1700" y="79"/>
                    <a:pt x="1700" y="79"/>
                  </a:cubicBezTo>
                  <a:close/>
                  <a:moveTo>
                    <a:pt x="1712" y="79"/>
                  </a:moveTo>
                  <a:cubicBezTo>
                    <a:pt x="1712" y="79"/>
                    <a:pt x="1712" y="79"/>
                    <a:pt x="1712" y="79"/>
                  </a:cubicBezTo>
                  <a:cubicBezTo>
                    <a:pt x="1712" y="79"/>
                    <a:pt x="1712" y="79"/>
                    <a:pt x="1712" y="79"/>
                  </a:cubicBezTo>
                  <a:close/>
                  <a:moveTo>
                    <a:pt x="799" y="42"/>
                  </a:moveTo>
                  <a:cubicBezTo>
                    <a:pt x="799" y="42"/>
                    <a:pt x="799" y="42"/>
                    <a:pt x="800" y="42"/>
                  </a:cubicBezTo>
                  <a:cubicBezTo>
                    <a:pt x="799" y="42"/>
                    <a:pt x="799" y="42"/>
                    <a:pt x="799" y="42"/>
                  </a:cubicBezTo>
                  <a:close/>
                  <a:moveTo>
                    <a:pt x="687" y="79"/>
                  </a:moveTo>
                  <a:cubicBezTo>
                    <a:pt x="687" y="79"/>
                    <a:pt x="687" y="79"/>
                    <a:pt x="686" y="79"/>
                  </a:cubicBezTo>
                  <a:cubicBezTo>
                    <a:pt x="687" y="79"/>
                    <a:pt x="687" y="79"/>
                    <a:pt x="687" y="79"/>
                  </a:cubicBezTo>
                  <a:close/>
                  <a:moveTo>
                    <a:pt x="871" y="42"/>
                  </a:moveTo>
                  <a:cubicBezTo>
                    <a:pt x="871" y="42"/>
                    <a:pt x="871" y="42"/>
                    <a:pt x="871" y="42"/>
                  </a:cubicBezTo>
                  <a:cubicBezTo>
                    <a:pt x="871" y="42"/>
                    <a:pt x="871" y="42"/>
                    <a:pt x="871" y="42"/>
                  </a:cubicBezTo>
                  <a:close/>
                  <a:moveTo>
                    <a:pt x="1112" y="42"/>
                  </a:moveTo>
                  <a:cubicBezTo>
                    <a:pt x="1112" y="42"/>
                    <a:pt x="1112" y="42"/>
                    <a:pt x="1112" y="42"/>
                  </a:cubicBezTo>
                  <a:cubicBezTo>
                    <a:pt x="1112" y="42"/>
                    <a:pt x="1112" y="42"/>
                    <a:pt x="1112" y="42"/>
                  </a:cubicBezTo>
                  <a:close/>
                  <a:moveTo>
                    <a:pt x="1347" y="79"/>
                  </a:moveTo>
                  <a:cubicBezTo>
                    <a:pt x="1347" y="79"/>
                    <a:pt x="1347" y="79"/>
                    <a:pt x="1347" y="79"/>
                  </a:cubicBezTo>
                  <a:cubicBezTo>
                    <a:pt x="1347" y="79"/>
                    <a:pt x="1347" y="79"/>
                    <a:pt x="1347" y="79"/>
                  </a:cubicBezTo>
                  <a:close/>
                  <a:moveTo>
                    <a:pt x="1359" y="79"/>
                  </a:moveTo>
                  <a:cubicBezTo>
                    <a:pt x="1359" y="79"/>
                    <a:pt x="1359" y="79"/>
                    <a:pt x="1359" y="79"/>
                  </a:cubicBezTo>
                  <a:cubicBezTo>
                    <a:pt x="1359" y="79"/>
                    <a:pt x="1359" y="79"/>
                    <a:pt x="1359" y="79"/>
                  </a:cubicBezTo>
                  <a:close/>
                  <a:moveTo>
                    <a:pt x="1216" y="42"/>
                  </a:moveTo>
                  <a:cubicBezTo>
                    <a:pt x="1216" y="42"/>
                    <a:pt x="1216" y="42"/>
                    <a:pt x="1216" y="42"/>
                  </a:cubicBezTo>
                  <a:cubicBezTo>
                    <a:pt x="1216" y="42"/>
                    <a:pt x="1216" y="42"/>
                    <a:pt x="1216" y="42"/>
                  </a:cubicBezTo>
                  <a:close/>
                  <a:moveTo>
                    <a:pt x="1543" y="79"/>
                  </a:moveTo>
                  <a:cubicBezTo>
                    <a:pt x="1543" y="79"/>
                    <a:pt x="1543" y="79"/>
                    <a:pt x="1543" y="79"/>
                  </a:cubicBezTo>
                  <a:cubicBezTo>
                    <a:pt x="1543" y="79"/>
                    <a:pt x="1543" y="79"/>
                    <a:pt x="1543" y="79"/>
                  </a:cubicBezTo>
                  <a:close/>
                  <a:moveTo>
                    <a:pt x="554" y="42"/>
                  </a:moveTo>
                  <a:cubicBezTo>
                    <a:pt x="554" y="43"/>
                    <a:pt x="555" y="43"/>
                    <a:pt x="555" y="43"/>
                  </a:cubicBezTo>
                  <a:cubicBezTo>
                    <a:pt x="555" y="43"/>
                    <a:pt x="555" y="42"/>
                    <a:pt x="554" y="42"/>
                  </a:cubicBezTo>
                  <a:close/>
                  <a:moveTo>
                    <a:pt x="756" y="43"/>
                  </a:moveTo>
                  <a:cubicBezTo>
                    <a:pt x="756" y="43"/>
                    <a:pt x="756" y="43"/>
                    <a:pt x="756" y="42"/>
                  </a:cubicBezTo>
                  <a:cubicBezTo>
                    <a:pt x="756" y="42"/>
                    <a:pt x="756" y="43"/>
                    <a:pt x="756" y="43"/>
                  </a:cubicBezTo>
                  <a:close/>
                  <a:moveTo>
                    <a:pt x="1712" y="79"/>
                  </a:moveTo>
                  <a:cubicBezTo>
                    <a:pt x="1711" y="79"/>
                    <a:pt x="1711" y="79"/>
                    <a:pt x="1711" y="79"/>
                  </a:cubicBezTo>
                  <a:cubicBezTo>
                    <a:pt x="1711" y="79"/>
                    <a:pt x="1711" y="79"/>
                    <a:pt x="1712" y="79"/>
                  </a:cubicBezTo>
                  <a:close/>
                  <a:moveTo>
                    <a:pt x="800" y="42"/>
                  </a:moveTo>
                  <a:cubicBezTo>
                    <a:pt x="800" y="43"/>
                    <a:pt x="800" y="43"/>
                    <a:pt x="800" y="43"/>
                  </a:cubicBezTo>
                  <a:cubicBezTo>
                    <a:pt x="800" y="43"/>
                    <a:pt x="800" y="42"/>
                    <a:pt x="800" y="42"/>
                  </a:cubicBezTo>
                  <a:close/>
                  <a:moveTo>
                    <a:pt x="870" y="43"/>
                  </a:moveTo>
                  <a:cubicBezTo>
                    <a:pt x="870" y="43"/>
                    <a:pt x="871" y="43"/>
                    <a:pt x="871" y="42"/>
                  </a:cubicBezTo>
                  <a:cubicBezTo>
                    <a:pt x="870" y="42"/>
                    <a:pt x="870" y="43"/>
                    <a:pt x="870" y="43"/>
                  </a:cubicBezTo>
                  <a:close/>
                  <a:moveTo>
                    <a:pt x="555" y="43"/>
                  </a:moveTo>
                  <a:cubicBezTo>
                    <a:pt x="555" y="43"/>
                    <a:pt x="555" y="43"/>
                    <a:pt x="555" y="43"/>
                  </a:cubicBezTo>
                  <a:cubicBezTo>
                    <a:pt x="555" y="43"/>
                    <a:pt x="555" y="43"/>
                    <a:pt x="555" y="43"/>
                  </a:cubicBezTo>
                  <a:close/>
                  <a:moveTo>
                    <a:pt x="661" y="43"/>
                  </a:moveTo>
                  <a:cubicBezTo>
                    <a:pt x="661" y="43"/>
                    <a:pt x="661" y="43"/>
                    <a:pt x="661" y="43"/>
                  </a:cubicBezTo>
                  <a:cubicBezTo>
                    <a:pt x="661" y="43"/>
                    <a:pt x="661" y="43"/>
                    <a:pt x="661" y="43"/>
                  </a:cubicBezTo>
                  <a:close/>
                  <a:moveTo>
                    <a:pt x="755" y="43"/>
                  </a:moveTo>
                  <a:cubicBezTo>
                    <a:pt x="756" y="43"/>
                    <a:pt x="756" y="43"/>
                    <a:pt x="756" y="43"/>
                  </a:cubicBezTo>
                  <a:cubicBezTo>
                    <a:pt x="756" y="43"/>
                    <a:pt x="755" y="43"/>
                    <a:pt x="755" y="43"/>
                  </a:cubicBezTo>
                  <a:close/>
                  <a:moveTo>
                    <a:pt x="969" y="79"/>
                  </a:moveTo>
                  <a:cubicBezTo>
                    <a:pt x="969" y="79"/>
                    <a:pt x="969" y="80"/>
                    <a:pt x="969" y="80"/>
                  </a:cubicBezTo>
                  <a:cubicBezTo>
                    <a:pt x="969" y="79"/>
                    <a:pt x="969" y="79"/>
                    <a:pt x="969" y="79"/>
                  </a:cubicBezTo>
                  <a:close/>
                  <a:moveTo>
                    <a:pt x="829" y="43"/>
                  </a:moveTo>
                  <a:cubicBezTo>
                    <a:pt x="829" y="43"/>
                    <a:pt x="829" y="43"/>
                    <a:pt x="829" y="43"/>
                  </a:cubicBezTo>
                  <a:cubicBezTo>
                    <a:pt x="829" y="43"/>
                    <a:pt x="829" y="43"/>
                    <a:pt x="829" y="43"/>
                  </a:cubicBezTo>
                  <a:close/>
                  <a:moveTo>
                    <a:pt x="1082" y="43"/>
                  </a:moveTo>
                  <a:cubicBezTo>
                    <a:pt x="1082" y="43"/>
                    <a:pt x="1082" y="43"/>
                    <a:pt x="1082" y="43"/>
                  </a:cubicBezTo>
                  <a:cubicBezTo>
                    <a:pt x="1082" y="43"/>
                    <a:pt x="1082" y="43"/>
                    <a:pt x="1082" y="43"/>
                  </a:cubicBezTo>
                  <a:close/>
                  <a:moveTo>
                    <a:pt x="1359" y="79"/>
                  </a:moveTo>
                  <a:cubicBezTo>
                    <a:pt x="1359" y="79"/>
                    <a:pt x="1359" y="79"/>
                    <a:pt x="1359" y="80"/>
                  </a:cubicBezTo>
                  <a:cubicBezTo>
                    <a:pt x="1359" y="80"/>
                    <a:pt x="1359" y="79"/>
                    <a:pt x="1359" y="79"/>
                  </a:cubicBezTo>
                  <a:close/>
                  <a:moveTo>
                    <a:pt x="1260" y="43"/>
                  </a:moveTo>
                  <a:cubicBezTo>
                    <a:pt x="1260" y="43"/>
                    <a:pt x="1260" y="43"/>
                    <a:pt x="1260" y="43"/>
                  </a:cubicBezTo>
                  <a:cubicBezTo>
                    <a:pt x="1260" y="43"/>
                    <a:pt x="1260" y="43"/>
                    <a:pt x="1260" y="43"/>
                  </a:cubicBezTo>
                  <a:close/>
                  <a:moveTo>
                    <a:pt x="1037" y="43"/>
                  </a:moveTo>
                  <a:cubicBezTo>
                    <a:pt x="1037" y="43"/>
                    <a:pt x="1038" y="43"/>
                    <a:pt x="1038" y="43"/>
                  </a:cubicBezTo>
                  <a:cubicBezTo>
                    <a:pt x="1038" y="43"/>
                    <a:pt x="1037" y="43"/>
                    <a:pt x="1037" y="43"/>
                  </a:cubicBezTo>
                  <a:close/>
                  <a:moveTo>
                    <a:pt x="675" y="43"/>
                  </a:moveTo>
                  <a:cubicBezTo>
                    <a:pt x="674" y="43"/>
                    <a:pt x="674" y="43"/>
                    <a:pt x="674" y="44"/>
                  </a:cubicBezTo>
                  <a:cubicBezTo>
                    <a:pt x="674" y="44"/>
                    <a:pt x="674" y="44"/>
                    <a:pt x="675" y="43"/>
                  </a:cubicBezTo>
                  <a:close/>
                  <a:moveTo>
                    <a:pt x="800" y="43"/>
                  </a:moveTo>
                  <a:cubicBezTo>
                    <a:pt x="800" y="44"/>
                    <a:pt x="800" y="44"/>
                    <a:pt x="801" y="44"/>
                  </a:cubicBezTo>
                  <a:cubicBezTo>
                    <a:pt x="801" y="44"/>
                    <a:pt x="800" y="43"/>
                    <a:pt x="800" y="43"/>
                  </a:cubicBezTo>
                  <a:close/>
                  <a:moveTo>
                    <a:pt x="838" y="43"/>
                  </a:moveTo>
                  <a:cubicBezTo>
                    <a:pt x="838" y="43"/>
                    <a:pt x="837" y="43"/>
                    <a:pt x="837" y="44"/>
                  </a:cubicBezTo>
                  <a:cubicBezTo>
                    <a:pt x="838" y="44"/>
                    <a:pt x="838" y="44"/>
                    <a:pt x="838" y="43"/>
                  </a:cubicBezTo>
                  <a:close/>
                  <a:moveTo>
                    <a:pt x="870" y="44"/>
                  </a:moveTo>
                  <a:cubicBezTo>
                    <a:pt x="870" y="44"/>
                    <a:pt x="870" y="44"/>
                    <a:pt x="870" y="43"/>
                  </a:cubicBezTo>
                  <a:cubicBezTo>
                    <a:pt x="870" y="43"/>
                    <a:pt x="870" y="44"/>
                    <a:pt x="870" y="44"/>
                  </a:cubicBezTo>
                  <a:close/>
                  <a:moveTo>
                    <a:pt x="881" y="43"/>
                  </a:moveTo>
                  <a:cubicBezTo>
                    <a:pt x="880" y="43"/>
                    <a:pt x="880" y="43"/>
                    <a:pt x="880" y="44"/>
                  </a:cubicBezTo>
                  <a:cubicBezTo>
                    <a:pt x="880" y="44"/>
                    <a:pt x="881" y="44"/>
                    <a:pt x="881" y="43"/>
                  </a:cubicBezTo>
                  <a:close/>
                  <a:moveTo>
                    <a:pt x="1037" y="44"/>
                  </a:moveTo>
                  <a:cubicBezTo>
                    <a:pt x="1037" y="44"/>
                    <a:pt x="1037" y="44"/>
                    <a:pt x="1037" y="43"/>
                  </a:cubicBezTo>
                  <a:cubicBezTo>
                    <a:pt x="1037" y="43"/>
                    <a:pt x="1037" y="44"/>
                    <a:pt x="1037" y="44"/>
                  </a:cubicBezTo>
                  <a:close/>
                  <a:moveTo>
                    <a:pt x="1359" y="80"/>
                  </a:moveTo>
                  <a:cubicBezTo>
                    <a:pt x="1358" y="80"/>
                    <a:pt x="1358" y="80"/>
                    <a:pt x="1358" y="80"/>
                  </a:cubicBezTo>
                  <a:cubicBezTo>
                    <a:pt x="1358" y="80"/>
                    <a:pt x="1358" y="80"/>
                    <a:pt x="1359" y="80"/>
                  </a:cubicBezTo>
                  <a:close/>
                  <a:moveTo>
                    <a:pt x="1531" y="80"/>
                  </a:moveTo>
                  <a:cubicBezTo>
                    <a:pt x="1531" y="80"/>
                    <a:pt x="1531" y="80"/>
                    <a:pt x="1531" y="80"/>
                  </a:cubicBezTo>
                  <a:cubicBezTo>
                    <a:pt x="1531" y="80"/>
                    <a:pt x="1531" y="80"/>
                    <a:pt x="1531" y="80"/>
                  </a:cubicBezTo>
                  <a:close/>
                  <a:moveTo>
                    <a:pt x="1111" y="44"/>
                  </a:moveTo>
                  <a:cubicBezTo>
                    <a:pt x="1111" y="44"/>
                    <a:pt x="1111" y="44"/>
                    <a:pt x="1111" y="43"/>
                  </a:cubicBezTo>
                  <a:cubicBezTo>
                    <a:pt x="1111" y="43"/>
                    <a:pt x="1111" y="44"/>
                    <a:pt x="1111" y="44"/>
                  </a:cubicBezTo>
                  <a:close/>
                  <a:moveTo>
                    <a:pt x="1699" y="80"/>
                  </a:moveTo>
                  <a:cubicBezTo>
                    <a:pt x="1699" y="80"/>
                    <a:pt x="1699" y="80"/>
                    <a:pt x="1699" y="80"/>
                  </a:cubicBezTo>
                  <a:cubicBezTo>
                    <a:pt x="1699" y="80"/>
                    <a:pt x="1699" y="80"/>
                    <a:pt x="1699" y="80"/>
                  </a:cubicBezTo>
                  <a:close/>
                  <a:moveTo>
                    <a:pt x="1122" y="43"/>
                  </a:moveTo>
                  <a:cubicBezTo>
                    <a:pt x="1121" y="43"/>
                    <a:pt x="1121" y="43"/>
                    <a:pt x="1121" y="44"/>
                  </a:cubicBezTo>
                  <a:cubicBezTo>
                    <a:pt x="1121" y="44"/>
                    <a:pt x="1121" y="44"/>
                    <a:pt x="1122" y="43"/>
                  </a:cubicBezTo>
                  <a:close/>
                  <a:moveTo>
                    <a:pt x="687" y="80"/>
                  </a:moveTo>
                  <a:cubicBezTo>
                    <a:pt x="687" y="80"/>
                    <a:pt x="687" y="80"/>
                    <a:pt x="687" y="80"/>
                  </a:cubicBezTo>
                  <a:cubicBezTo>
                    <a:pt x="687" y="80"/>
                    <a:pt x="687" y="80"/>
                    <a:pt x="687" y="80"/>
                  </a:cubicBezTo>
                  <a:close/>
                  <a:moveTo>
                    <a:pt x="1215" y="44"/>
                  </a:moveTo>
                  <a:cubicBezTo>
                    <a:pt x="1215" y="44"/>
                    <a:pt x="1215" y="44"/>
                    <a:pt x="1215" y="43"/>
                  </a:cubicBezTo>
                  <a:cubicBezTo>
                    <a:pt x="1215" y="44"/>
                    <a:pt x="1215" y="44"/>
                    <a:pt x="1215" y="44"/>
                  </a:cubicBezTo>
                  <a:close/>
                  <a:moveTo>
                    <a:pt x="556" y="44"/>
                  </a:moveTo>
                  <a:cubicBezTo>
                    <a:pt x="556" y="44"/>
                    <a:pt x="556" y="44"/>
                    <a:pt x="557" y="44"/>
                  </a:cubicBezTo>
                  <a:cubicBezTo>
                    <a:pt x="556" y="44"/>
                    <a:pt x="556" y="44"/>
                    <a:pt x="556" y="44"/>
                  </a:cubicBezTo>
                  <a:close/>
                  <a:moveTo>
                    <a:pt x="828" y="44"/>
                  </a:moveTo>
                  <a:cubicBezTo>
                    <a:pt x="829" y="44"/>
                    <a:pt x="829" y="44"/>
                    <a:pt x="829" y="44"/>
                  </a:cubicBezTo>
                  <a:cubicBezTo>
                    <a:pt x="829" y="44"/>
                    <a:pt x="829" y="44"/>
                    <a:pt x="828" y="44"/>
                  </a:cubicBezTo>
                  <a:close/>
                  <a:moveTo>
                    <a:pt x="1121" y="44"/>
                  </a:moveTo>
                  <a:cubicBezTo>
                    <a:pt x="1121" y="44"/>
                    <a:pt x="1120" y="44"/>
                    <a:pt x="1120" y="44"/>
                  </a:cubicBezTo>
                  <a:cubicBezTo>
                    <a:pt x="1121" y="44"/>
                    <a:pt x="1121" y="44"/>
                    <a:pt x="1121" y="44"/>
                  </a:cubicBezTo>
                  <a:close/>
                  <a:moveTo>
                    <a:pt x="1215" y="44"/>
                  </a:moveTo>
                  <a:cubicBezTo>
                    <a:pt x="1215" y="44"/>
                    <a:pt x="1215" y="44"/>
                    <a:pt x="1215" y="44"/>
                  </a:cubicBezTo>
                  <a:cubicBezTo>
                    <a:pt x="1215" y="44"/>
                    <a:pt x="1215" y="44"/>
                    <a:pt x="1215" y="44"/>
                  </a:cubicBezTo>
                  <a:close/>
                  <a:moveTo>
                    <a:pt x="1260" y="44"/>
                  </a:moveTo>
                  <a:cubicBezTo>
                    <a:pt x="1260" y="44"/>
                    <a:pt x="1261" y="44"/>
                    <a:pt x="1261" y="44"/>
                  </a:cubicBezTo>
                  <a:cubicBezTo>
                    <a:pt x="1261" y="44"/>
                    <a:pt x="1261" y="44"/>
                    <a:pt x="1260" y="44"/>
                  </a:cubicBezTo>
                  <a:close/>
                  <a:moveTo>
                    <a:pt x="674" y="44"/>
                  </a:moveTo>
                  <a:cubicBezTo>
                    <a:pt x="673" y="44"/>
                    <a:pt x="673" y="44"/>
                    <a:pt x="673" y="44"/>
                  </a:cubicBezTo>
                  <a:cubicBezTo>
                    <a:pt x="673" y="44"/>
                    <a:pt x="673" y="44"/>
                    <a:pt x="674" y="44"/>
                  </a:cubicBezTo>
                  <a:close/>
                  <a:moveTo>
                    <a:pt x="754" y="44"/>
                  </a:moveTo>
                  <a:cubicBezTo>
                    <a:pt x="755" y="44"/>
                    <a:pt x="755" y="44"/>
                    <a:pt x="755" y="44"/>
                  </a:cubicBezTo>
                  <a:cubicBezTo>
                    <a:pt x="754" y="44"/>
                    <a:pt x="754" y="44"/>
                    <a:pt x="754" y="44"/>
                  </a:cubicBezTo>
                  <a:close/>
                  <a:moveTo>
                    <a:pt x="853" y="44"/>
                  </a:moveTo>
                  <a:cubicBezTo>
                    <a:pt x="853" y="44"/>
                    <a:pt x="853" y="44"/>
                    <a:pt x="852" y="44"/>
                  </a:cubicBezTo>
                  <a:cubicBezTo>
                    <a:pt x="853" y="44"/>
                    <a:pt x="853" y="44"/>
                    <a:pt x="853" y="44"/>
                  </a:cubicBezTo>
                  <a:close/>
                  <a:moveTo>
                    <a:pt x="896" y="44"/>
                  </a:moveTo>
                  <a:cubicBezTo>
                    <a:pt x="896" y="44"/>
                    <a:pt x="895" y="44"/>
                    <a:pt x="895" y="44"/>
                  </a:cubicBezTo>
                  <a:cubicBezTo>
                    <a:pt x="895" y="44"/>
                    <a:pt x="896" y="44"/>
                    <a:pt x="896" y="44"/>
                  </a:cubicBezTo>
                  <a:close/>
                  <a:moveTo>
                    <a:pt x="970" y="80"/>
                  </a:moveTo>
                  <a:cubicBezTo>
                    <a:pt x="970" y="80"/>
                    <a:pt x="970" y="81"/>
                    <a:pt x="970" y="81"/>
                  </a:cubicBezTo>
                  <a:cubicBezTo>
                    <a:pt x="970" y="81"/>
                    <a:pt x="970" y="80"/>
                    <a:pt x="970" y="80"/>
                  </a:cubicBezTo>
                  <a:close/>
                  <a:moveTo>
                    <a:pt x="1120" y="44"/>
                  </a:moveTo>
                  <a:cubicBezTo>
                    <a:pt x="1120" y="44"/>
                    <a:pt x="1120" y="44"/>
                    <a:pt x="1120" y="44"/>
                  </a:cubicBezTo>
                  <a:cubicBezTo>
                    <a:pt x="1120" y="44"/>
                    <a:pt x="1120" y="44"/>
                    <a:pt x="1120" y="44"/>
                  </a:cubicBezTo>
                  <a:close/>
                  <a:moveTo>
                    <a:pt x="1531" y="81"/>
                  </a:moveTo>
                  <a:cubicBezTo>
                    <a:pt x="1531" y="81"/>
                    <a:pt x="1531" y="80"/>
                    <a:pt x="1531" y="80"/>
                  </a:cubicBezTo>
                  <a:cubicBezTo>
                    <a:pt x="1531" y="80"/>
                    <a:pt x="1531" y="81"/>
                    <a:pt x="1531" y="81"/>
                  </a:cubicBezTo>
                  <a:close/>
                  <a:moveTo>
                    <a:pt x="1542" y="80"/>
                  </a:moveTo>
                  <a:cubicBezTo>
                    <a:pt x="1542" y="80"/>
                    <a:pt x="1542" y="80"/>
                    <a:pt x="1542" y="81"/>
                  </a:cubicBezTo>
                  <a:cubicBezTo>
                    <a:pt x="1542" y="81"/>
                    <a:pt x="1542" y="80"/>
                    <a:pt x="1542" y="80"/>
                  </a:cubicBezTo>
                  <a:close/>
                  <a:moveTo>
                    <a:pt x="1699" y="81"/>
                  </a:moveTo>
                  <a:cubicBezTo>
                    <a:pt x="1699" y="81"/>
                    <a:pt x="1699" y="80"/>
                    <a:pt x="1699" y="80"/>
                  </a:cubicBezTo>
                  <a:cubicBezTo>
                    <a:pt x="1699" y="80"/>
                    <a:pt x="1699" y="81"/>
                    <a:pt x="1699" y="81"/>
                  </a:cubicBezTo>
                  <a:close/>
                  <a:moveTo>
                    <a:pt x="1710" y="80"/>
                  </a:moveTo>
                  <a:cubicBezTo>
                    <a:pt x="1710" y="80"/>
                    <a:pt x="1710" y="80"/>
                    <a:pt x="1710" y="81"/>
                  </a:cubicBezTo>
                  <a:cubicBezTo>
                    <a:pt x="1710" y="81"/>
                    <a:pt x="1710" y="80"/>
                    <a:pt x="1710" y="80"/>
                  </a:cubicBezTo>
                  <a:close/>
                  <a:moveTo>
                    <a:pt x="1137" y="44"/>
                  </a:moveTo>
                  <a:cubicBezTo>
                    <a:pt x="1137" y="44"/>
                    <a:pt x="1137" y="44"/>
                    <a:pt x="1137" y="44"/>
                  </a:cubicBezTo>
                  <a:cubicBezTo>
                    <a:pt x="1137" y="44"/>
                    <a:pt x="1137" y="44"/>
                    <a:pt x="1137" y="44"/>
                  </a:cubicBezTo>
                  <a:close/>
                  <a:moveTo>
                    <a:pt x="557" y="44"/>
                  </a:moveTo>
                  <a:cubicBezTo>
                    <a:pt x="557" y="45"/>
                    <a:pt x="557" y="45"/>
                    <a:pt x="558" y="45"/>
                  </a:cubicBezTo>
                  <a:cubicBezTo>
                    <a:pt x="558" y="45"/>
                    <a:pt x="557" y="45"/>
                    <a:pt x="557" y="44"/>
                  </a:cubicBezTo>
                  <a:close/>
                  <a:moveTo>
                    <a:pt x="688" y="81"/>
                  </a:moveTo>
                  <a:cubicBezTo>
                    <a:pt x="688" y="81"/>
                    <a:pt x="688" y="81"/>
                    <a:pt x="688" y="80"/>
                  </a:cubicBezTo>
                  <a:cubicBezTo>
                    <a:pt x="688" y="81"/>
                    <a:pt x="688" y="81"/>
                    <a:pt x="688" y="81"/>
                  </a:cubicBezTo>
                  <a:close/>
                  <a:moveTo>
                    <a:pt x="801" y="44"/>
                  </a:moveTo>
                  <a:cubicBezTo>
                    <a:pt x="801" y="45"/>
                    <a:pt x="801" y="45"/>
                    <a:pt x="801" y="45"/>
                  </a:cubicBezTo>
                  <a:cubicBezTo>
                    <a:pt x="801" y="45"/>
                    <a:pt x="801" y="45"/>
                    <a:pt x="801" y="44"/>
                  </a:cubicBezTo>
                  <a:close/>
                  <a:moveTo>
                    <a:pt x="970" y="81"/>
                  </a:moveTo>
                  <a:cubicBezTo>
                    <a:pt x="970" y="81"/>
                    <a:pt x="970" y="81"/>
                    <a:pt x="970" y="81"/>
                  </a:cubicBezTo>
                  <a:cubicBezTo>
                    <a:pt x="970" y="81"/>
                    <a:pt x="970" y="81"/>
                    <a:pt x="970" y="81"/>
                  </a:cubicBezTo>
                  <a:close/>
                  <a:moveTo>
                    <a:pt x="836" y="44"/>
                  </a:moveTo>
                  <a:cubicBezTo>
                    <a:pt x="836" y="44"/>
                    <a:pt x="836" y="45"/>
                    <a:pt x="836" y="45"/>
                  </a:cubicBezTo>
                  <a:cubicBezTo>
                    <a:pt x="836" y="45"/>
                    <a:pt x="836" y="45"/>
                    <a:pt x="836" y="44"/>
                  </a:cubicBezTo>
                  <a:close/>
                  <a:moveTo>
                    <a:pt x="869" y="45"/>
                  </a:moveTo>
                  <a:cubicBezTo>
                    <a:pt x="869" y="45"/>
                    <a:pt x="869" y="45"/>
                    <a:pt x="869" y="44"/>
                  </a:cubicBezTo>
                  <a:cubicBezTo>
                    <a:pt x="869" y="45"/>
                    <a:pt x="869" y="45"/>
                    <a:pt x="869" y="45"/>
                  </a:cubicBezTo>
                  <a:close/>
                  <a:moveTo>
                    <a:pt x="836" y="45"/>
                  </a:moveTo>
                  <a:cubicBezTo>
                    <a:pt x="836" y="45"/>
                    <a:pt x="835" y="45"/>
                    <a:pt x="835" y="45"/>
                  </a:cubicBezTo>
                  <a:cubicBezTo>
                    <a:pt x="836" y="45"/>
                    <a:pt x="836" y="45"/>
                    <a:pt x="836" y="45"/>
                  </a:cubicBezTo>
                  <a:close/>
                  <a:moveTo>
                    <a:pt x="1358" y="81"/>
                  </a:moveTo>
                  <a:cubicBezTo>
                    <a:pt x="1358" y="81"/>
                    <a:pt x="1357" y="81"/>
                    <a:pt x="1357" y="81"/>
                  </a:cubicBezTo>
                  <a:cubicBezTo>
                    <a:pt x="1358" y="81"/>
                    <a:pt x="1358" y="81"/>
                    <a:pt x="1358" y="81"/>
                  </a:cubicBezTo>
                  <a:close/>
                  <a:moveTo>
                    <a:pt x="854" y="45"/>
                  </a:moveTo>
                  <a:cubicBezTo>
                    <a:pt x="854" y="45"/>
                    <a:pt x="854" y="45"/>
                    <a:pt x="853" y="45"/>
                  </a:cubicBezTo>
                  <a:cubicBezTo>
                    <a:pt x="854" y="45"/>
                    <a:pt x="854" y="45"/>
                    <a:pt x="854" y="45"/>
                  </a:cubicBezTo>
                  <a:close/>
                  <a:moveTo>
                    <a:pt x="1542" y="81"/>
                  </a:moveTo>
                  <a:cubicBezTo>
                    <a:pt x="1542" y="81"/>
                    <a:pt x="1542" y="81"/>
                    <a:pt x="1542" y="81"/>
                  </a:cubicBezTo>
                  <a:cubicBezTo>
                    <a:pt x="1542" y="81"/>
                    <a:pt x="1542" y="81"/>
                    <a:pt x="1542" y="81"/>
                  </a:cubicBezTo>
                  <a:close/>
                  <a:moveTo>
                    <a:pt x="1678" y="81"/>
                  </a:moveTo>
                  <a:cubicBezTo>
                    <a:pt x="1678" y="81"/>
                    <a:pt x="1678" y="81"/>
                    <a:pt x="1678" y="81"/>
                  </a:cubicBezTo>
                  <a:cubicBezTo>
                    <a:pt x="1678" y="81"/>
                    <a:pt x="1678" y="81"/>
                    <a:pt x="1678" y="81"/>
                  </a:cubicBezTo>
                  <a:close/>
                  <a:moveTo>
                    <a:pt x="879" y="45"/>
                  </a:moveTo>
                  <a:cubicBezTo>
                    <a:pt x="878" y="45"/>
                    <a:pt x="878" y="45"/>
                    <a:pt x="878" y="45"/>
                  </a:cubicBezTo>
                  <a:cubicBezTo>
                    <a:pt x="878" y="45"/>
                    <a:pt x="878" y="45"/>
                    <a:pt x="879" y="45"/>
                  </a:cubicBezTo>
                  <a:close/>
                  <a:moveTo>
                    <a:pt x="1710" y="81"/>
                  </a:moveTo>
                  <a:cubicBezTo>
                    <a:pt x="1710" y="81"/>
                    <a:pt x="1710" y="81"/>
                    <a:pt x="1710" y="81"/>
                  </a:cubicBezTo>
                  <a:cubicBezTo>
                    <a:pt x="1710" y="81"/>
                    <a:pt x="1710" y="81"/>
                    <a:pt x="1710" y="81"/>
                  </a:cubicBezTo>
                  <a:close/>
                  <a:moveTo>
                    <a:pt x="897" y="45"/>
                  </a:moveTo>
                  <a:cubicBezTo>
                    <a:pt x="897" y="45"/>
                    <a:pt x="897" y="45"/>
                    <a:pt x="896" y="45"/>
                  </a:cubicBezTo>
                  <a:cubicBezTo>
                    <a:pt x="896" y="45"/>
                    <a:pt x="897" y="45"/>
                    <a:pt x="897" y="45"/>
                  </a:cubicBezTo>
                  <a:close/>
                  <a:moveTo>
                    <a:pt x="1036" y="45"/>
                  </a:moveTo>
                  <a:cubicBezTo>
                    <a:pt x="1036" y="45"/>
                    <a:pt x="1036" y="45"/>
                    <a:pt x="1036" y="45"/>
                  </a:cubicBezTo>
                  <a:cubicBezTo>
                    <a:pt x="1036" y="45"/>
                    <a:pt x="1036" y="45"/>
                    <a:pt x="1036" y="45"/>
                  </a:cubicBezTo>
                  <a:close/>
                  <a:moveTo>
                    <a:pt x="1083" y="45"/>
                  </a:moveTo>
                  <a:cubicBezTo>
                    <a:pt x="1083" y="45"/>
                    <a:pt x="1083" y="45"/>
                    <a:pt x="1084" y="45"/>
                  </a:cubicBezTo>
                  <a:cubicBezTo>
                    <a:pt x="1084" y="45"/>
                    <a:pt x="1083" y="45"/>
                    <a:pt x="1083" y="45"/>
                  </a:cubicBezTo>
                  <a:close/>
                  <a:moveTo>
                    <a:pt x="1119" y="45"/>
                  </a:moveTo>
                  <a:cubicBezTo>
                    <a:pt x="1119" y="45"/>
                    <a:pt x="1119" y="45"/>
                    <a:pt x="1119" y="45"/>
                  </a:cubicBezTo>
                  <a:cubicBezTo>
                    <a:pt x="1119" y="45"/>
                    <a:pt x="1119" y="45"/>
                    <a:pt x="1119" y="45"/>
                  </a:cubicBezTo>
                  <a:close/>
                  <a:moveTo>
                    <a:pt x="1138" y="45"/>
                  </a:moveTo>
                  <a:cubicBezTo>
                    <a:pt x="1138" y="45"/>
                    <a:pt x="1138" y="45"/>
                    <a:pt x="1138" y="45"/>
                  </a:cubicBezTo>
                  <a:cubicBezTo>
                    <a:pt x="1138" y="45"/>
                    <a:pt x="1138" y="45"/>
                    <a:pt x="1138" y="45"/>
                  </a:cubicBezTo>
                  <a:close/>
                  <a:moveTo>
                    <a:pt x="1358" y="81"/>
                  </a:moveTo>
                  <a:cubicBezTo>
                    <a:pt x="1357" y="81"/>
                    <a:pt x="1357" y="81"/>
                    <a:pt x="1357" y="81"/>
                  </a:cubicBezTo>
                  <a:cubicBezTo>
                    <a:pt x="1357" y="81"/>
                    <a:pt x="1357" y="81"/>
                    <a:pt x="1358" y="81"/>
                  </a:cubicBezTo>
                  <a:close/>
                  <a:moveTo>
                    <a:pt x="1214" y="45"/>
                  </a:moveTo>
                  <a:cubicBezTo>
                    <a:pt x="1214" y="45"/>
                    <a:pt x="1214" y="45"/>
                    <a:pt x="1214" y="45"/>
                  </a:cubicBezTo>
                  <a:cubicBezTo>
                    <a:pt x="1214" y="45"/>
                    <a:pt x="1214" y="45"/>
                    <a:pt x="1214" y="45"/>
                  </a:cubicBezTo>
                  <a:close/>
                  <a:moveTo>
                    <a:pt x="1312" y="45"/>
                  </a:moveTo>
                  <a:cubicBezTo>
                    <a:pt x="1312" y="45"/>
                    <a:pt x="1311" y="45"/>
                    <a:pt x="1311" y="45"/>
                  </a:cubicBezTo>
                  <a:cubicBezTo>
                    <a:pt x="1311" y="45"/>
                    <a:pt x="1311" y="45"/>
                    <a:pt x="1312" y="45"/>
                  </a:cubicBezTo>
                  <a:close/>
                  <a:moveTo>
                    <a:pt x="1567" y="45"/>
                  </a:moveTo>
                  <a:cubicBezTo>
                    <a:pt x="1567" y="45"/>
                    <a:pt x="1567" y="45"/>
                    <a:pt x="1567" y="45"/>
                  </a:cubicBezTo>
                  <a:cubicBezTo>
                    <a:pt x="1567" y="45"/>
                    <a:pt x="1567" y="45"/>
                    <a:pt x="1567" y="45"/>
                  </a:cubicBezTo>
                  <a:close/>
                  <a:moveTo>
                    <a:pt x="1735" y="45"/>
                  </a:moveTo>
                  <a:cubicBezTo>
                    <a:pt x="1735" y="45"/>
                    <a:pt x="1736" y="45"/>
                    <a:pt x="1736" y="45"/>
                  </a:cubicBezTo>
                  <a:cubicBezTo>
                    <a:pt x="1735" y="45"/>
                    <a:pt x="1735" y="45"/>
                    <a:pt x="1735" y="45"/>
                  </a:cubicBezTo>
                  <a:close/>
                  <a:moveTo>
                    <a:pt x="558" y="45"/>
                  </a:moveTo>
                  <a:cubicBezTo>
                    <a:pt x="558" y="45"/>
                    <a:pt x="558" y="45"/>
                    <a:pt x="559" y="45"/>
                  </a:cubicBezTo>
                  <a:cubicBezTo>
                    <a:pt x="559" y="45"/>
                    <a:pt x="558" y="45"/>
                    <a:pt x="558" y="45"/>
                  </a:cubicBezTo>
                  <a:close/>
                  <a:moveTo>
                    <a:pt x="801" y="45"/>
                  </a:moveTo>
                  <a:cubicBezTo>
                    <a:pt x="801" y="45"/>
                    <a:pt x="801" y="45"/>
                    <a:pt x="802" y="46"/>
                  </a:cubicBezTo>
                  <a:cubicBezTo>
                    <a:pt x="802" y="45"/>
                    <a:pt x="801" y="45"/>
                    <a:pt x="801" y="45"/>
                  </a:cubicBezTo>
                  <a:close/>
                  <a:moveTo>
                    <a:pt x="835" y="45"/>
                  </a:moveTo>
                  <a:cubicBezTo>
                    <a:pt x="835" y="45"/>
                    <a:pt x="835" y="45"/>
                    <a:pt x="835" y="45"/>
                  </a:cubicBezTo>
                  <a:cubicBezTo>
                    <a:pt x="835" y="45"/>
                    <a:pt x="835" y="45"/>
                    <a:pt x="835" y="45"/>
                  </a:cubicBezTo>
                  <a:close/>
                  <a:moveTo>
                    <a:pt x="854" y="45"/>
                  </a:moveTo>
                  <a:cubicBezTo>
                    <a:pt x="854" y="45"/>
                    <a:pt x="854" y="45"/>
                    <a:pt x="854" y="45"/>
                  </a:cubicBezTo>
                  <a:cubicBezTo>
                    <a:pt x="854" y="45"/>
                    <a:pt x="854" y="45"/>
                    <a:pt x="854" y="45"/>
                  </a:cubicBezTo>
                  <a:close/>
                  <a:moveTo>
                    <a:pt x="878" y="45"/>
                  </a:moveTo>
                  <a:cubicBezTo>
                    <a:pt x="878" y="45"/>
                    <a:pt x="878" y="45"/>
                    <a:pt x="878" y="45"/>
                  </a:cubicBezTo>
                  <a:cubicBezTo>
                    <a:pt x="878" y="45"/>
                    <a:pt x="878" y="45"/>
                    <a:pt x="878" y="45"/>
                  </a:cubicBezTo>
                  <a:close/>
                  <a:moveTo>
                    <a:pt x="1346" y="82"/>
                  </a:moveTo>
                  <a:cubicBezTo>
                    <a:pt x="1346" y="82"/>
                    <a:pt x="1346" y="82"/>
                    <a:pt x="1346" y="81"/>
                  </a:cubicBezTo>
                  <a:cubicBezTo>
                    <a:pt x="1346" y="81"/>
                    <a:pt x="1346" y="82"/>
                    <a:pt x="1346" y="82"/>
                  </a:cubicBezTo>
                  <a:close/>
                  <a:moveTo>
                    <a:pt x="897" y="45"/>
                  </a:moveTo>
                  <a:cubicBezTo>
                    <a:pt x="897" y="45"/>
                    <a:pt x="897" y="45"/>
                    <a:pt x="897" y="45"/>
                  </a:cubicBezTo>
                  <a:cubicBezTo>
                    <a:pt x="897" y="45"/>
                    <a:pt x="897" y="45"/>
                    <a:pt x="897" y="45"/>
                  </a:cubicBezTo>
                  <a:close/>
                  <a:moveTo>
                    <a:pt x="1139" y="45"/>
                  </a:moveTo>
                  <a:cubicBezTo>
                    <a:pt x="1139" y="45"/>
                    <a:pt x="1138" y="45"/>
                    <a:pt x="1138" y="45"/>
                  </a:cubicBezTo>
                  <a:cubicBezTo>
                    <a:pt x="1138" y="45"/>
                    <a:pt x="1138" y="45"/>
                    <a:pt x="1139" y="45"/>
                  </a:cubicBezTo>
                  <a:close/>
                  <a:moveTo>
                    <a:pt x="1297" y="45"/>
                  </a:moveTo>
                  <a:cubicBezTo>
                    <a:pt x="1297" y="45"/>
                    <a:pt x="1297" y="45"/>
                    <a:pt x="1297" y="45"/>
                  </a:cubicBezTo>
                  <a:cubicBezTo>
                    <a:pt x="1297" y="45"/>
                    <a:pt x="1297" y="45"/>
                    <a:pt x="1297" y="45"/>
                  </a:cubicBezTo>
                  <a:close/>
                  <a:moveTo>
                    <a:pt x="753" y="46"/>
                  </a:moveTo>
                  <a:cubicBezTo>
                    <a:pt x="754" y="46"/>
                    <a:pt x="754" y="46"/>
                    <a:pt x="754" y="45"/>
                  </a:cubicBezTo>
                  <a:cubicBezTo>
                    <a:pt x="753" y="46"/>
                    <a:pt x="753" y="46"/>
                    <a:pt x="753" y="46"/>
                  </a:cubicBezTo>
                  <a:close/>
                  <a:moveTo>
                    <a:pt x="855" y="46"/>
                  </a:moveTo>
                  <a:cubicBezTo>
                    <a:pt x="855" y="46"/>
                    <a:pt x="854" y="45"/>
                    <a:pt x="854" y="45"/>
                  </a:cubicBezTo>
                  <a:cubicBezTo>
                    <a:pt x="854" y="46"/>
                    <a:pt x="854" y="46"/>
                    <a:pt x="855" y="46"/>
                  </a:cubicBezTo>
                  <a:close/>
                  <a:moveTo>
                    <a:pt x="897" y="46"/>
                  </a:moveTo>
                  <a:cubicBezTo>
                    <a:pt x="897" y="46"/>
                    <a:pt x="897" y="45"/>
                    <a:pt x="897" y="45"/>
                  </a:cubicBezTo>
                  <a:cubicBezTo>
                    <a:pt x="897" y="46"/>
                    <a:pt x="897" y="46"/>
                    <a:pt x="897" y="46"/>
                  </a:cubicBezTo>
                  <a:close/>
                  <a:moveTo>
                    <a:pt x="957" y="82"/>
                  </a:moveTo>
                  <a:cubicBezTo>
                    <a:pt x="957" y="82"/>
                    <a:pt x="957" y="82"/>
                    <a:pt x="957" y="82"/>
                  </a:cubicBezTo>
                  <a:cubicBezTo>
                    <a:pt x="957" y="82"/>
                    <a:pt x="957" y="82"/>
                    <a:pt x="957" y="82"/>
                  </a:cubicBezTo>
                  <a:close/>
                  <a:moveTo>
                    <a:pt x="1139" y="46"/>
                  </a:moveTo>
                  <a:cubicBezTo>
                    <a:pt x="1139" y="46"/>
                    <a:pt x="1139" y="45"/>
                    <a:pt x="1139" y="45"/>
                  </a:cubicBezTo>
                  <a:cubicBezTo>
                    <a:pt x="1139" y="46"/>
                    <a:pt x="1139" y="46"/>
                    <a:pt x="1139" y="46"/>
                  </a:cubicBezTo>
                  <a:close/>
                  <a:moveTo>
                    <a:pt x="1261" y="45"/>
                  </a:moveTo>
                  <a:cubicBezTo>
                    <a:pt x="1261" y="46"/>
                    <a:pt x="1262" y="46"/>
                    <a:pt x="1262" y="46"/>
                  </a:cubicBezTo>
                  <a:cubicBezTo>
                    <a:pt x="1262" y="46"/>
                    <a:pt x="1262" y="46"/>
                    <a:pt x="1261" y="45"/>
                  </a:cubicBezTo>
                  <a:close/>
                  <a:moveTo>
                    <a:pt x="1297" y="45"/>
                  </a:moveTo>
                  <a:cubicBezTo>
                    <a:pt x="1296" y="45"/>
                    <a:pt x="1296" y="46"/>
                    <a:pt x="1296" y="46"/>
                  </a:cubicBezTo>
                  <a:cubicBezTo>
                    <a:pt x="1296" y="46"/>
                    <a:pt x="1297" y="46"/>
                    <a:pt x="1297" y="45"/>
                  </a:cubicBezTo>
                  <a:close/>
                  <a:moveTo>
                    <a:pt x="1541" y="82"/>
                  </a:moveTo>
                  <a:cubicBezTo>
                    <a:pt x="1541" y="82"/>
                    <a:pt x="1541" y="82"/>
                    <a:pt x="1541" y="82"/>
                  </a:cubicBezTo>
                  <a:cubicBezTo>
                    <a:pt x="1541" y="82"/>
                    <a:pt x="1541" y="82"/>
                    <a:pt x="1541" y="82"/>
                  </a:cubicBezTo>
                  <a:close/>
                  <a:moveTo>
                    <a:pt x="1567" y="46"/>
                  </a:moveTo>
                  <a:cubicBezTo>
                    <a:pt x="1567" y="46"/>
                    <a:pt x="1567" y="46"/>
                    <a:pt x="1567" y="45"/>
                  </a:cubicBezTo>
                  <a:cubicBezTo>
                    <a:pt x="1567" y="46"/>
                    <a:pt x="1567" y="46"/>
                    <a:pt x="1567" y="46"/>
                  </a:cubicBezTo>
                  <a:close/>
                  <a:moveTo>
                    <a:pt x="1709" y="82"/>
                  </a:moveTo>
                  <a:cubicBezTo>
                    <a:pt x="1709" y="82"/>
                    <a:pt x="1709" y="82"/>
                    <a:pt x="1709" y="82"/>
                  </a:cubicBezTo>
                  <a:cubicBezTo>
                    <a:pt x="1709" y="82"/>
                    <a:pt x="1709" y="82"/>
                    <a:pt x="1709" y="82"/>
                  </a:cubicBezTo>
                  <a:close/>
                  <a:moveTo>
                    <a:pt x="1735" y="46"/>
                  </a:moveTo>
                  <a:cubicBezTo>
                    <a:pt x="1735" y="46"/>
                    <a:pt x="1735" y="46"/>
                    <a:pt x="1735" y="45"/>
                  </a:cubicBezTo>
                  <a:cubicBezTo>
                    <a:pt x="1735" y="46"/>
                    <a:pt x="1735" y="46"/>
                    <a:pt x="1735" y="46"/>
                  </a:cubicBezTo>
                  <a:close/>
                  <a:moveTo>
                    <a:pt x="559" y="46"/>
                  </a:moveTo>
                  <a:cubicBezTo>
                    <a:pt x="559" y="46"/>
                    <a:pt x="560" y="46"/>
                    <a:pt x="560" y="46"/>
                  </a:cubicBezTo>
                  <a:cubicBezTo>
                    <a:pt x="560" y="46"/>
                    <a:pt x="559" y="46"/>
                    <a:pt x="559" y="46"/>
                  </a:cubicBezTo>
                  <a:close/>
                  <a:moveTo>
                    <a:pt x="696" y="46"/>
                  </a:moveTo>
                  <a:cubicBezTo>
                    <a:pt x="695" y="46"/>
                    <a:pt x="695" y="46"/>
                    <a:pt x="695" y="46"/>
                  </a:cubicBezTo>
                  <a:cubicBezTo>
                    <a:pt x="695" y="46"/>
                    <a:pt x="695" y="46"/>
                    <a:pt x="696" y="46"/>
                  </a:cubicBezTo>
                  <a:close/>
                  <a:moveTo>
                    <a:pt x="855" y="46"/>
                  </a:moveTo>
                  <a:cubicBezTo>
                    <a:pt x="855" y="46"/>
                    <a:pt x="855" y="46"/>
                    <a:pt x="855" y="46"/>
                  </a:cubicBezTo>
                  <a:cubicBezTo>
                    <a:pt x="855" y="46"/>
                    <a:pt x="855" y="46"/>
                    <a:pt x="855" y="46"/>
                  </a:cubicBezTo>
                  <a:close/>
                  <a:moveTo>
                    <a:pt x="971" y="82"/>
                  </a:moveTo>
                  <a:cubicBezTo>
                    <a:pt x="971" y="82"/>
                    <a:pt x="971" y="82"/>
                    <a:pt x="971" y="82"/>
                  </a:cubicBezTo>
                  <a:cubicBezTo>
                    <a:pt x="971" y="82"/>
                    <a:pt x="971" y="82"/>
                    <a:pt x="971" y="82"/>
                  </a:cubicBezTo>
                  <a:close/>
                  <a:moveTo>
                    <a:pt x="898" y="46"/>
                  </a:moveTo>
                  <a:cubicBezTo>
                    <a:pt x="898" y="46"/>
                    <a:pt x="898" y="46"/>
                    <a:pt x="897" y="46"/>
                  </a:cubicBezTo>
                  <a:cubicBezTo>
                    <a:pt x="897" y="46"/>
                    <a:pt x="898" y="46"/>
                    <a:pt x="898" y="46"/>
                  </a:cubicBezTo>
                  <a:close/>
                  <a:moveTo>
                    <a:pt x="1357" y="82"/>
                  </a:moveTo>
                  <a:cubicBezTo>
                    <a:pt x="1357" y="82"/>
                    <a:pt x="1357" y="82"/>
                    <a:pt x="1357" y="82"/>
                  </a:cubicBezTo>
                  <a:cubicBezTo>
                    <a:pt x="1357" y="82"/>
                    <a:pt x="1357" y="82"/>
                    <a:pt x="1357" y="82"/>
                  </a:cubicBezTo>
                  <a:close/>
                  <a:moveTo>
                    <a:pt x="1035" y="46"/>
                  </a:moveTo>
                  <a:cubicBezTo>
                    <a:pt x="1035" y="46"/>
                    <a:pt x="1036" y="46"/>
                    <a:pt x="1036" y="46"/>
                  </a:cubicBezTo>
                  <a:cubicBezTo>
                    <a:pt x="1035" y="46"/>
                    <a:pt x="1035" y="46"/>
                    <a:pt x="1035" y="46"/>
                  </a:cubicBezTo>
                  <a:close/>
                  <a:moveTo>
                    <a:pt x="1118" y="46"/>
                  </a:moveTo>
                  <a:cubicBezTo>
                    <a:pt x="1117" y="46"/>
                    <a:pt x="1117" y="46"/>
                    <a:pt x="1117" y="46"/>
                  </a:cubicBezTo>
                  <a:cubicBezTo>
                    <a:pt x="1117" y="46"/>
                    <a:pt x="1118" y="46"/>
                    <a:pt x="1118" y="46"/>
                  </a:cubicBezTo>
                  <a:close/>
                  <a:moveTo>
                    <a:pt x="1139" y="46"/>
                  </a:moveTo>
                  <a:cubicBezTo>
                    <a:pt x="1139" y="46"/>
                    <a:pt x="1139" y="46"/>
                    <a:pt x="1139" y="46"/>
                  </a:cubicBezTo>
                  <a:cubicBezTo>
                    <a:pt x="1139" y="46"/>
                    <a:pt x="1139" y="46"/>
                    <a:pt x="1139" y="46"/>
                  </a:cubicBezTo>
                  <a:close/>
                  <a:moveTo>
                    <a:pt x="1382" y="46"/>
                  </a:moveTo>
                  <a:cubicBezTo>
                    <a:pt x="1383" y="46"/>
                    <a:pt x="1383" y="46"/>
                    <a:pt x="1383" y="46"/>
                  </a:cubicBezTo>
                  <a:cubicBezTo>
                    <a:pt x="1382" y="46"/>
                    <a:pt x="1382" y="46"/>
                    <a:pt x="1382" y="46"/>
                  </a:cubicBezTo>
                  <a:close/>
                  <a:moveTo>
                    <a:pt x="671" y="46"/>
                  </a:moveTo>
                  <a:cubicBezTo>
                    <a:pt x="671" y="46"/>
                    <a:pt x="671" y="46"/>
                    <a:pt x="671" y="46"/>
                  </a:cubicBezTo>
                  <a:cubicBezTo>
                    <a:pt x="671" y="46"/>
                    <a:pt x="671" y="46"/>
                    <a:pt x="671" y="46"/>
                  </a:cubicBezTo>
                  <a:close/>
                  <a:moveTo>
                    <a:pt x="855" y="47"/>
                  </a:moveTo>
                  <a:cubicBezTo>
                    <a:pt x="855" y="46"/>
                    <a:pt x="855" y="46"/>
                    <a:pt x="855" y="46"/>
                  </a:cubicBezTo>
                  <a:cubicBezTo>
                    <a:pt x="855" y="46"/>
                    <a:pt x="855" y="46"/>
                    <a:pt x="855" y="47"/>
                  </a:cubicBezTo>
                  <a:close/>
                  <a:moveTo>
                    <a:pt x="1117" y="46"/>
                  </a:moveTo>
                  <a:cubicBezTo>
                    <a:pt x="1117" y="46"/>
                    <a:pt x="1117" y="46"/>
                    <a:pt x="1117" y="46"/>
                  </a:cubicBezTo>
                  <a:cubicBezTo>
                    <a:pt x="1117" y="46"/>
                    <a:pt x="1117" y="46"/>
                    <a:pt x="1117" y="46"/>
                  </a:cubicBezTo>
                  <a:close/>
                  <a:moveTo>
                    <a:pt x="1140" y="47"/>
                  </a:moveTo>
                  <a:cubicBezTo>
                    <a:pt x="1140" y="46"/>
                    <a:pt x="1140" y="46"/>
                    <a:pt x="1139" y="46"/>
                  </a:cubicBezTo>
                  <a:cubicBezTo>
                    <a:pt x="1139" y="46"/>
                    <a:pt x="1139" y="46"/>
                    <a:pt x="1140" y="47"/>
                  </a:cubicBezTo>
                  <a:close/>
                  <a:moveTo>
                    <a:pt x="957" y="83"/>
                  </a:moveTo>
                  <a:cubicBezTo>
                    <a:pt x="957" y="82"/>
                    <a:pt x="957" y="82"/>
                    <a:pt x="957" y="82"/>
                  </a:cubicBezTo>
                  <a:cubicBezTo>
                    <a:pt x="957" y="82"/>
                    <a:pt x="957" y="83"/>
                    <a:pt x="957" y="83"/>
                  </a:cubicBezTo>
                  <a:close/>
                  <a:moveTo>
                    <a:pt x="971" y="82"/>
                  </a:moveTo>
                  <a:cubicBezTo>
                    <a:pt x="971" y="83"/>
                    <a:pt x="972" y="83"/>
                    <a:pt x="972" y="83"/>
                  </a:cubicBezTo>
                  <a:cubicBezTo>
                    <a:pt x="972" y="83"/>
                    <a:pt x="972" y="82"/>
                    <a:pt x="971" y="82"/>
                  </a:cubicBezTo>
                  <a:close/>
                  <a:moveTo>
                    <a:pt x="1262" y="46"/>
                  </a:moveTo>
                  <a:cubicBezTo>
                    <a:pt x="1262" y="46"/>
                    <a:pt x="1262" y="47"/>
                    <a:pt x="1262" y="47"/>
                  </a:cubicBezTo>
                  <a:cubicBezTo>
                    <a:pt x="1262" y="46"/>
                    <a:pt x="1262" y="46"/>
                    <a:pt x="1262" y="46"/>
                  </a:cubicBezTo>
                  <a:close/>
                  <a:moveTo>
                    <a:pt x="1296" y="46"/>
                  </a:moveTo>
                  <a:cubicBezTo>
                    <a:pt x="1295" y="46"/>
                    <a:pt x="1295" y="46"/>
                    <a:pt x="1295" y="47"/>
                  </a:cubicBezTo>
                  <a:cubicBezTo>
                    <a:pt x="1295" y="46"/>
                    <a:pt x="1295" y="46"/>
                    <a:pt x="1296" y="46"/>
                  </a:cubicBezTo>
                  <a:close/>
                  <a:moveTo>
                    <a:pt x="671" y="46"/>
                  </a:moveTo>
                  <a:cubicBezTo>
                    <a:pt x="671" y="47"/>
                    <a:pt x="671" y="47"/>
                    <a:pt x="671" y="47"/>
                  </a:cubicBezTo>
                  <a:cubicBezTo>
                    <a:pt x="671" y="47"/>
                    <a:pt x="671" y="47"/>
                    <a:pt x="671" y="46"/>
                  </a:cubicBezTo>
                  <a:close/>
                  <a:moveTo>
                    <a:pt x="1117" y="46"/>
                  </a:moveTo>
                  <a:cubicBezTo>
                    <a:pt x="1117" y="46"/>
                    <a:pt x="1117" y="47"/>
                    <a:pt x="1117" y="47"/>
                  </a:cubicBezTo>
                  <a:cubicBezTo>
                    <a:pt x="1117" y="47"/>
                    <a:pt x="1117" y="47"/>
                    <a:pt x="1117" y="46"/>
                  </a:cubicBezTo>
                  <a:close/>
                  <a:moveTo>
                    <a:pt x="1140" y="47"/>
                  </a:moveTo>
                  <a:cubicBezTo>
                    <a:pt x="1140" y="47"/>
                    <a:pt x="1140" y="47"/>
                    <a:pt x="1140" y="46"/>
                  </a:cubicBezTo>
                  <a:cubicBezTo>
                    <a:pt x="1140" y="47"/>
                    <a:pt x="1140" y="47"/>
                    <a:pt x="1140" y="47"/>
                  </a:cubicBezTo>
                  <a:close/>
                  <a:moveTo>
                    <a:pt x="1295" y="47"/>
                  </a:moveTo>
                  <a:cubicBezTo>
                    <a:pt x="1295" y="47"/>
                    <a:pt x="1295" y="47"/>
                    <a:pt x="1295" y="47"/>
                  </a:cubicBezTo>
                  <a:cubicBezTo>
                    <a:pt x="1295" y="47"/>
                    <a:pt x="1295" y="47"/>
                    <a:pt x="1295" y="47"/>
                  </a:cubicBezTo>
                  <a:close/>
                  <a:moveTo>
                    <a:pt x="1566" y="47"/>
                  </a:moveTo>
                  <a:cubicBezTo>
                    <a:pt x="1566" y="47"/>
                    <a:pt x="1566" y="47"/>
                    <a:pt x="1566" y="47"/>
                  </a:cubicBezTo>
                  <a:cubicBezTo>
                    <a:pt x="1566" y="47"/>
                    <a:pt x="1566" y="47"/>
                    <a:pt x="1566" y="47"/>
                  </a:cubicBezTo>
                  <a:close/>
                  <a:moveTo>
                    <a:pt x="972" y="83"/>
                  </a:moveTo>
                  <a:cubicBezTo>
                    <a:pt x="972" y="83"/>
                    <a:pt x="972" y="83"/>
                    <a:pt x="972" y="83"/>
                  </a:cubicBezTo>
                  <a:cubicBezTo>
                    <a:pt x="972" y="83"/>
                    <a:pt x="972" y="83"/>
                    <a:pt x="972" y="83"/>
                  </a:cubicBezTo>
                  <a:close/>
                  <a:moveTo>
                    <a:pt x="1734" y="47"/>
                  </a:moveTo>
                  <a:cubicBezTo>
                    <a:pt x="1734" y="47"/>
                    <a:pt x="1735" y="47"/>
                    <a:pt x="1735" y="47"/>
                  </a:cubicBezTo>
                  <a:cubicBezTo>
                    <a:pt x="1734" y="47"/>
                    <a:pt x="1734" y="47"/>
                    <a:pt x="1734" y="47"/>
                  </a:cubicBezTo>
                  <a:close/>
                  <a:moveTo>
                    <a:pt x="561" y="47"/>
                  </a:moveTo>
                  <a:cubicBezTo>
                    <a:pt x="561" y="47"/>
                    <a:pt x="561" y="47"/>
                    <a:pt x="561" y="47"/>
                  </a:cubicBezTo>
                  <a:cubicBezTo>
                    <a:pt x="561" y="47"/>
                    <a:pt x="561" y="47"/>
                    <a:pt x="561" y="47"/>
                  </a:cubicBezTo>
                  <a:close/>
                  <a:moveTo>
                    <a:pt x="898" y="47"/>
                  </a:moveTo>
                  <a:cubicBezTo>
                    <a:pt x="898" y="47"/>
                    <a:pt x="898" y="47"/>
                    <a:pt x="898" y="47"/>
                  </a:cubicBezTo>
                  <a:cubicBezTo>
                    <a:pt x="898" y="47"/>
                    <a:pt x="898" y="47"/>
                    <a:pt x="898" y="47"/>
                  </a:cubicBezTo>
                  <a:close/>
                  <a:moveTo>
                    <a:pt x="1356" y="83"/>
                  </a:moveTo>
                  <a:cubicBezTo>
                    <a:pt x="1356" y="83"/>
                    <a:pt x="1356" y="83"/>
                    <a:pt x="1356" y="83"/>
                  </a:cubicBezTo>
                  <a:cubicBezTo>
                    <a:pt x="1356" y="83"/>
                    <a:pt x="1356" y="83"/>
                    <a:pt x="1356" y="83"/>
                  </a:cubicBezTo>
                  <a:close/>
                  <a:moveTo>
                    <a:pt x="1035" y="47"/>
                  </a:moveTo>
                  <a:cubicBezTo>
                    <a:pt x="1035" y="47"/>
                    <a:pt x="1035" y="47"/>
                    <a:pt x="1035" y="47"/>
                  </a:cubicBezTo>
                  <a:cubicBezTo>
                    <a:pt x="1035" y="47"/>
                    <a:pt x="1035" y="47"/>
                    <a:pt x="1035" y="47"/>
                  </a:cubicBezTo>
                  <a:close/>
                  <a:moveTo>
                    <a:pt x="1117" y="47"/>
                  </a:moveTo>
                  <a:cubicBezTo>
                    <a:pt x="1116" y="47"/>
                    <a:pt x="1116" y="47"/>
                    <a:pt x="1116" y="47"/>
                  </a:cubicBezTo>
                  <a:cubicBezTo>
                    <a:pt x="1116" y="47"/>
                    <a:pt x="1117" y="47"/>
                    <a:pt x="1117" y="47"/>
                  </a:cubicBezTo>
                  <a:close/>
                  <a:moveTo>
                    <a:pt x="1212" y="47"/>
                  </a:moveTo>
                  <a:cubicBezTo>
                    <a:pt x="1213" y="47"/>
                    <a:pt x="1213" y="47"/>
                    <a:pt x="1213" y="47"/>
                  </a:cubicBezTo>
                  <a:cubicBezTo>
                    <a:pt x="1213" y="47"/>
                    <a:pt x="1213" y="47"/>
                    <a:pt x="1212" y="47"/>
                  </a:cubicBezTo>
                  <a:close/>
                  <a:moveTo>
                    <a:pt x="1262" y="47"/>
                  </a:moveTo>
                  <a:cubicBezTo>
                    <a:pt x="1262" y="47"/>
                    <a:pt x="1262" y="47"/>
                    <a:pt x="1262" y="47"/>
                  </a:cubicBezTo>
                  <a:cubicBezTo>
                    <a:pt x="1262" y="47"/>
                    <a:pt x="1262" y="47"/>
                    <a:pt x="1262" y="47"/>
                  </a:cubicBezTo>
                  <a:close/>
                  <a:moveTo>
                    <a:pt x="1295" y="47"/>
                  </a:moveTo>
                  <a:cubicBezTo>
                    <a:pt x="1295" y="47"/>
                    <a:pt x="1295" y="47"/>
                    <a:pt x="1295" y="47"/>
                  </a:cubicBezTo>
                  <a:cubicBezTo>
                    <a:pt x="1295" y="47"/>
                    <a:pt x="1295" y="47"/>
                    <a:pt x="1295" y="47"/>
                  </a:cubicBezTo>
                  <a:close/>
                  <a:moveTo>
                    <a:pt x="1382" y="47"/>
                  </a:moveTo>
                  <a:cubicBezTo>
                    <a:pt x="1382" y="47"/>
                    <a:pt x="1382" y="47"/>
                    <a:pt x="1382" y="47"/>
                  </a:cubicBezTo>
                  <a:cubicBezTo>
                    <a:pt x="1382" y="47"/>
                    <a:pt x="1382" y="47"/>
                    <a:pt x="1382" y="47"/>
                  </a:cubicBezTo>
                  <a:close/>
                  <a:moveTo>
                    <a:pt x="1681" y="47"/>
                  </a:moveTo>
                  <a:cubicBezTo>
                    <a:pt x="1680" y="47"/>
                    <a:pt x="1680" y="47"/>
                    <a:pt x="1680" y="47"/>
                  </a:cubicBezTo>
                  <a:cubicBezTo>
                    <a:pt x="1680" y="47"/>
                    <a:pt x="1680" y="47"/>
                    <a:pt x="1681" y="47"/>
                  </a:cubicBezTo>
                  <a:close/>
                  <a:moveTo>
                    <a:pt x="752" y="48"/>
                  </a:moveTo>
                  <a:cubicBezTo>
                    <a:pt x="752" y="48"/>
                    <a:pt x="753" y="47"/>
                    <a:pt x="753" y="47"/>
                  </a:cubicBezTo>
                  <a:cubicBezTo>
                    <a:pt x="752" y="47"/>
                    <a:pt x="752" y="47"/>
                    <a:pt x="752" y="48"/>
                  </a:cubicBezTo>
                  <a:close/>
                  <a:moveTo>
                    <a:pt x="972" y="83"/>
                  </a:moveTo>
                  <a:cubicBezTo>
                    <a:pt x="972" y="83"/>
                    <a:pt x="972" y="83"/>
                    <a:pt x="972" y="83"/>
                  </a:cubicBezTo>
                  <a:cubicBezTo>
                    <a:pt x="972" y="83"/>
                    <a:pt x="972" y="83"/>
                    <a:pt x="972" y="83"/>
                  </a:cubicBezTo>
                  <a:close/>
                  <a:moveTo>
                    <a:pt x="833" y="47"/>
                  </a:moveTo>
                  <a:cubicBezTo>
                    <a:pt x="833" y="47"/>
                    <a:pt x="833" y="47"/>
                    <a:pt x="833" y="48"/>
                  </a:cubicBezTo>
                  <a:cubicBezTo>
                    <a:pt x="833" y="47"/>
                    <a:pt x="833" y="47"/>
                    <a:pt x="833" y="47"/>
                  </a:cubicBezTo>
                  <a:close/>
                  <a:moveTo>
                    <a:pt x="876" y="47"/>
                  </a:moveTo>
                  <a:cubicBezTo>
                    <a:pt x="876" y="47"/>
                    <a:pt x="876" y="47"/>
                    <a:pt x="876" y="48"/>
                  </a:cubicBezTo>
                  <a:cubicBezTo>
                    <a:pt x="876" y="47"/>
                    <a:pt x="876" y="47"/>
                    <a:pt x="876" y="47"/>
                  </a:cubicBezTo>
                  <a:close/>
                  <a:moveTo>
                    <a:pt x="1116" y="47"/>
                  </a:moveTo>
                  <a:cubicBezTo>
                    <a:pt x="1116" y="47"/>
                    <a:pt x="1116" y="47"/>
                    <a:pt x="1116" y="48"/>
                  </a:cubicBezTo>
                  <a:cubicBezTo>
                    <a:pt x="1116" y="47"/>
                    <a:pt x="1116" y="47"/>
                    <a:pt x="1116" y="47"/>
                  </a:cubicBezTo>
                  <a:close/>
                  <a:moveTo>
                    <a:pt x="1295" y="47"/>
                  </a:moveTo>
                  <a:cubicBezTo>
                    <a:pt x="1294" y="47"/>
                    <a:pt x="1294" y="47"/>
                    <a:pt x="1294" y="48"/>
                  </a:cubicBezTo>
                  <a:cubicBezTo>
                    <a:pt x="1294" y="47"/>
                    <a:pt x="1294" y="47"/>
                    <a:pt x="1295" y="47"/>
                  </a:cubicBezTo>
                  <a:close/>
                  <a:moveTo>
                    <a:pt x="833" y="47"/>
                  </a:moveTo>
                  <a:cubicBezTo>
                    <a:pt x="833" y="48"/>
                    <a:pt x="833" y="48"/>
                    <a:pt x="833" y="48"/>
                  </a:cubicBezTo>
                  <a:cubicBezTo>
                    <a:pt x="833" y="48"/>
                    <a:pt x="833" y="48"/>
                    <a:pt x="833" y="47"/>
                  </a:cubicBezTo>
                  <a:close/>
                  <a:moveTo>
                    <a:pt x="856" y="48"/>
                  </a:moveTo>
                  <a:cubicBezTo>
                    <a:pt x="856" y="48"/>
                    <a:pt x="856" y="48"/>
                    <a:pt x="856" y="47"/>
                  </a:cubicBezTo>
                  <a:cubicBezTo>
                    <a:pt x="856" y="48"/>
                    <a:pt x="856" y="48"/>
                    <a:pt x="856" y="48"/>
                  </a:cubicBezTo>
                  <a:close/>
                  <a:moveTo>
                    <a:pt x="876" y="47"/>
                  </a:moveTo>
                  <a:cubicBezTo>
                    <a:pt x="876" y="48"/>
                    <a:pt x="875" y="48"/>
                    <a:pt x="875" y="48"/>
                  </a:cubicBezTo>
                  <a:cubicBezTo>
                    <a:pt x="876" y="48"/>
                    <a:pt x="876" y="48"/>
                    <a:pt x="876" y="47"/>
                  </a:cubicBezTo>
                  <a:close/>
                  <a:moveTo>
                    <a:pt x="1116" y="47"/>
                  </a:moveTo>
                  <a:cubicBezTo>
                    <a:pt x="1116" y="48"/>
                    <a:pt x="1116" y="48"/>
                    <a:pt x="1116" y="48"/>
                  </a:cubicBezTo>
                  <a:cubicBezTo>
                    <a:pt x="1116" y="48"/>
                    <a:pt x="1116" y="48"/>
                    <a:pt x="1116" y="47"/>
                  </a:cubicBezTo>
                  <a:close/>
                  <a:moveTo>
                    <a:pt x="761" y="83"/>
                  </a:moveTo>
                  <a:cubicBezTo>
                    <a:pt x="761" y="84"/>
                    <a:pt x="761" y="84"/>
                    <a:pt x="762" y="84"/>
                  </a:cubicBezTo>
                  <a:cubicBezTo>
                    <a:pt x="762" y="84"/>
                    <a:pt x="761" y="84"/>
                    <a:pt x="761" y="83"/>
                  </a:cubicBezTo>
                  <a:close/>
                  <a:moveTo>
                    <a:pt x="1141" y="48"/>
                  </a:moveTo>
                  <a:cubicBezTo>
                    <a:pt x="1141" y="48"/>
                    <a:pt x="1141" y="48"/>
                    <a:pt x="1140" y="47"/>
                  </a:cubicBezTo>
                  <a:cubicBezTo>
                    <a:pt x="1140" y="48"/>
                    <a:pt x="1141" y="48"/>
                    <a:pt x="1141" y="48"/>
                  </a:cubicBezTo>
                  <a:close/>
                  <a:moveTo>
                    <a:pt x="972" y="83"/>
                  </a:moveTo>
                  <a:cubicBezTo>
                    <a:pt x="972" y="84"/>
                    <a:pt x="973" y="84"/>
                    <a:pt x="973" y="84"/>
                  </a:cubicBezTo>
                  <a:cubicBezTo>
                    <a:pt x="973" y="84"/>
                    <a:pt x="973" y="84"/>
                    <a:pt x="972" y="83"/>
                  </a:cubicBezTo>
                  <a:close/>
                  <a:moveTo>
                    <a:pt x="1294" y="48"/>
                  </a:moveTo>
                  <a:cubicBezTo>
                    <a:pt x="1294" y="48"/>
                    <a:pt x="1294" y="48"/>
                    <a:pt x="1294" y="48"/>
                  </a:cubicBezTo>
                  <a:cubicBezTo>
                    <a:pt x="1294" y="48"/>
                    <a:pt x="1294" y="48"/>
                    <a:pt x="1294" y="48"/>
                  </a:cubicBezTo>
                  <a:close/>
                  <a:moveTo>
                    <a:pt x="1394" y="47"/>
                  </a:moveTo>
                  <a:cubicBezTo>
                    <a:pt x="1393" y="48"/>
                    <a:pt x="1393" y="48"/>
                    <a:pt x="1393" y="48"/>
                  </a:cubicBezTo>
                  <a:cubicBezTo>
                    <a:pt x="1394" y="48"/>
                    <a:pt x="1394" y="48"/>
                    <a:pt x="1394" y="47"/>
                  </a:cubicBezTo>
                  <a:close/>
                  <a:moveTo>
                    <a:pt x="1565" y="48"/>
                  </a:moveTo>
                  <a:cubicBezTo>
                    <a:pt x="1566" y="48"/>
                    <a:pt x="1566" y="48"/>
                    <a:pt x="1566" y="48"/>
                  </a:cubicBezTo>
                  <a:cubicBezTo>
                    <a:pt x="1566" y="48"/>
                    <a:pt x="1565" y="48"/>
                    <a:pt x="1565" y="48"/>
                  </a:cubicBezTo>
                  <a:close/>
                  <a:moveTo>
                    <a:pt x="1734" y="48"/>
                  </a:moveTo>
                  <a:cubicBezTo>
                    <a:pt x="1734" y="48"/>
                    <a:pt x="1734" y="48"/>
                    <a:pt x="1734" y="48"/>
                  </a:cubicBezTo>
                  <a:cubicBezTo>
                    <a:pt x="1734" y="48"/>
                    <a:pt x="1734" y="48"/>
                    <a:pt x="1734" y="48"/>
                  </a:cubicBezTo>
                  <a:close/>
                  <a:moveTo>
                    <a:pt x="563" y="48"/>
                  </a:moveTo>
                  <a:cubicBezTo>
                    <a:pt x="563" y="48"/>
                    <a:pt x="563" y="48"/>
                    <a:pt x="563" y="48"/>
                  </a:cubicBezTo>
                  <a:cubicBezTo>
                    <a:pt x="563" y="48"/>
                    <a:pt x="563" y="48"/>
                    <a:pt x="563" y="48"/>
                  </a:cubicBezTo>
                  <a:close/>
                  <a:moveTo>
                    <a:pt x="833" y="48"/>
                  </a:moveTo>
                  <a:cubicBezTo>
                    <a:pt x="832" y="48"/>
                    <a:pt x="832" y="48"/>
                    <a:pt x="832" y="48"/>
                  </a:cubicBezTo>
                  <a:cubicBezTo>
                    <a:pt x="832" y="48"/>
                    <a:pt x="832" y="48"/>
                    <a:pt x="833" y="48"/>
                  </a:cubicBezTo>
                  <a:close/>
                  <a:moveTo>
                    <a:pt x="875" y="48"/>
                  </a:moveTo>
                  <a:cubicBezTo>
                    <a:pt x="875" y="48"/>
                    <a:pt x="875" y="48"/>
                    <a:pt x="875" y="48"/>
                  </a:cubicBezTo>
                  <a:cubicBezTo>
                    <a:pt x="875" y="48"/>
                    <a:pt x="875" y="48"/>
                    <a:pt x="875" y="48"/>
                  </a:cubicBezTo>
                  <a:close/>
                  <a:moveTo>
                    <a:pt x="973" y="84"/>
                  </a:moveTo>
                  <a:cubicBezTo>
                    <a:pt x="973" y="84"/>
                    <a:pt x="973" y="84"/>
                    <a:pt x="973" y="84"/>
                  </a:cubicBezTo>
                  <a:cubicBezTo>
                    <a:pt x="973" y="84"/>
                    <a:pt x="973" y="84"/>
                    <a:pt x="973" y="84"/>
                  </a:cubicBezTo>
                  <a:close/>
                  <a:moveTo>
                    <a:pt x="899" y="48"/>
                  </a:moveTo>
                  <a:cubicBezTo>
                    <a:pt x="899" y="48"/>
                    <a:pt x="899" y="48"/>
                    <a:pt x="899" y="48"/>
                  </a:cubicBezTo>
                  <a:cubicBezTo>
                    <a:pt x="899" y="48"/>
                    <a:pt x="899" y="48"/>
                    <a:pt x="899" y="48"/>
                  </a:cubicBezTo>
                  <a:close/>
                  <a:moveTo>
                    <a:pt x="1116" y="48"/>
                  </a:moveTo>
                  <a:cubicBezTo>
                    <a:pt x="1115" y="48"/>
                    <a:pt x="1115" y="48"/>
                    <a:pt x="1115" y="48"/>
                  </a:cubicBezTo>
                  <a:cubicBezTo>
                    <a:pt x="1115" y="48"/>
                    <a:pt x="1116" y="48"/>
                    <a:pt x="1116" y="48"/>
                  </a:cubicBezTo>
                  <a:close/>
                  <a:moveTo>
                    <a:pt x="1381" y="48"/>
                  </a:moveTo>
                  <a:cubicBezTo>
                    <a:pt x="1381" y="48"/>
                    <a:pt x="1381" y="48"/>
                    <a:pt x="1381" y="48"/>
                  </a:cubicBezTo>
                  <a:cubicBezTo>
                    <a:pt x="1381" y="48"/>
                    <a:pt x="1381" y="48"/>
                    <a:pt x="1381" y="48"/>
                  </a:cubicBezTo>
                  <a:close/>
                  <a:moveTo>
                    <a:pt x="1565" y="48"/>
                  </a:moveTo>
                  <a:cubicBezTo>
                    <a:pt x="1565" y="48"/>
                    <a:pt x="1565" y="48"/>
                    <a:pt x="1565" y="48"/>
                  </a:cubicBezTo>
                  <a:cubicBezTo>
                    <a:pt x="1565" y="48"/>
                    <a:pt x="1565" y="48"/>
                    <a:pt x="1565" y="48"/>
                  </a:cubicBezTo>
                  <a:close/>
                  <a:moveTo>
                    <a:pt x="1680" y="48"/>
                  </a:moveTo>
                  <a:cubicBezTo>
                    <a:pt x="1680" y="48"/>
                    <a:pt x="1680" y="48"/>
                    <a:pt x="1680" y="48"/>
                  </a:cubicBezTo>
                  <a:cubicBezTo>
                    <a:pt x="1680" y="48"/>
                    <a:pt x="1680" y="48"/>
                    <a:pt x="1680" y="48"/>
                  </a:cubicBezTo>
                  <a:close/>
                  <a:moveTo>
                    <a:pt x="1733" y="48"/>
                  </a:moveTo>
                  <a:cubicBezTo>
                    <a:pt x="1733" y="48"/>
                    <a:pt x="1734" y="48"/>
                    <a:pt x="1734" y="48"/>
                  </a:cubicBezTo>
                  <a:cubicBezTo>
                    <a:pt x="1733" y="48"/>
                    <a:pt x="1733" y="48"/>
                    <a:pt x="1733" y="48"/>
                  </a:cubicBezTo>
                  <a:close/>
                  <a:moveTo>
                    <a:pt x="1115" y="48"/>
                  </a:moveTo>
                  <a:cubicBezTo>
                    <a:pt x="1115" y="48"/>
                    <a:pt x="1115" y="48"/>
                    <a:pt x="1115" y="49"/>
                  </a:cubicBezTo>
                  <a:cubicBezTo>
                    <a:pt x="1115" y="48"/>
                    <a:pt x="1115" y="48"/>
                    <a:pt x="1115" y="48"/>
                  </a:cubicBezTo>
                  <a:close/>
                  <a:moveTo>
                    <a:pt x="1381" y="49"/>
                  </a:moveTo>
                  <a:cubicBezTo>
                    <a:pt x="1381" y="49"/>
                    <a:pt x="1381" y="48"/>
                    <a:pt x="1381" y="48"/>
                  </a:cubicBezTo>
                  <a:cubicBezTo>
                    <a:pt x="1381" y="48"/>
                    <a:pt x="1381" y="48"/>
                    <a:pt x="1381" y="49"/>
                  </a:cubicBezTo>
                  <a:close/>
                  <a:moveTo>
                    <a:pt x="1393" y="48"/>
                  </a:moveTo>
                  <a:cubicBezTo>
                    <a:pt x="1393" y="48"/>
                    <a:pt x="1393" y="48"/>
                    <a:pt x="1393" y="49"/>
                  </a:cubicBezTo>
                  <a:cubicBezTo>
                    <a:pt x="1393" y="48"/>
                    <a:pt x="1393" y="48"/>
                    <a:pt x="1393" y="48"/>
                  </a:cubicBezTo>
                  <a:close/>
                  <a:moveTo>
                    <a:pt x="899" y="49"/>
                  </a:moveTo>
                  <a:cubicBezTo>
                    <a:pt x="899" y="49"/>
                    <a:pt x="899" y="49"/>
                    <a:pt x="899" y="48"/>
                  </a:cubicBezTo>
                  <a:cubicBezTo>
                    <a:pt x="899" y="49"/>
                    <a:pt x="899" y="49"/>
                    <a:pt x="899" y="49"/>
                  </a:cubicBezTo>
                  <a:close/>
                  <a:moveTo>
                    <a:pt x="762" y="84"/>
                  </a:moveTo>
                  <a:cubicBezTo>
                    <a:pt x="762" y="84"/>
                    <a:pt x="762" y="84"/>
                    <a:pt x="762" y="85"/>
                  </a:cubicBezTo>
                  <a:cubicBezTo>
                    <a:pt x="762" y="84"/>
                    <a:pt x="762" y="84"/>
                    <a:pt x="762" y="84"/>
                  </a:cubicBezTo>
                  <a:close/>
                  <a:moveTo>
                    <a:pt x="958" y="84"/>
                  </a:moveTo>
                  <a:cubicBezTo>
                    <a:pt x="958" y="84"/>
                    <a:pt x="958" y="84"/>
                    <a:pt x="958" y="84"/>
                  </a:cubicBezTo>
                  <a:cubicBezTo>
                    <a:pt x="958" y="84"/>
                    <a:pt x="958" y="84"/>
                    <a:pt x="958" y="84"/>
                  </a:cubicBezTo>
                  <a:close/>
                  <a:moveTo>
                    <a:pt x="973" y="84"/>
                  </a:moveTo>
                  <a:cubicBezTo>
                    <a:pt x="973" y="84"/>
                    <a:pt x="973" y="84"/>
                    <a:pt x="974" y="85"/>
                  </a:cubicBezTo>
                  <a:cubicBezTo>
                    <a:pt x="973" y="84"/>
                    <a:pt x="973" y="84"/>
                    <a:pt x="973" y="84"/>
                  </a:cubicBezTo>
                  <a:close/>
                  <a:moveTo>
                    <a:pt x="1141" y="49"/>
                  </a:moveTo>
                  <a:cubicBezTo>
                    <a:pt x="1141" y="49"/>
                    <a:pt x="1141" y="49"/>
                    <a:pt x="1141" y="49"/>
                  </a:cubicBezTo>
                  <a:cubicBezTo>
                    <a:pt x="1141" y="49"/>
                    <a:pt x="1141" y="49"/>
                    <a:pt x="1141" y="49"/>
                  </a:cubicBezTo>
                  <a:close/>
                  <a:moveTo>
                    <a:pt x="1293" y="48"/>
                  </a:moveTo>
                  <a:cubicBezTo>
                    <a:pt x="1293" y="49"/>
                    <a:pt x="1293" y="49"/>
                    <a:pt x="1293" y="49"/>
                  </a:cubicBezTo>
                  <a:cubicBezTo>
                    <a:pt x="1293" y="49"/>
                    <a:pt x="1293" y="49"/>
                    <a:pt x="1293" y="48"/>
                  </a:cubicBezTo>
                  <a:close/>
                  <a:moveTo>
                    <a:pt x="565" y="49"/>
                  </a:moveTo>
                  <a:cubicBezTo>
                    <a:pt x="565" y="49"/>
                    <a:pt x="565" y="49"/>
                    <a:pt x="565" y="49"/>
                  </a:cubicBezTo>
                  <a:cubicBezTo>
                    <a:pt x="565" y="49"/>
                    <a:pt x="565" y="49"/>
                    <a:pt x="565" y="49"/>
                  </a:cubicBezTo>
                  <a:close/>
                  <a:moveTo>
                    <a:pt x="832" y="49"/>
                  </a:moveTo>
                  <a:cubicBezTo>
                    <a:pt x="832" y="49"/>
                    <a:pt x="832" y="49"/>
                    <a:pt x="832" y="49"/>
                  </a:cubicBezTo>
                  <a:cubicBezTo>
                    <a:pt x="832" y="49"/>
                    <a:pt x="832" y="49"/>
                    <a:pt x="832" y="49"/>
                  </a:cubicBezTo>
                  <a:close/>
                  <a:moveTo>
                    <a:pt x="875" y="49"/>
                  </a:moveTo>
                  <a:cubicBezTo>
                    <a:pt x="874" y="49"/>
                    <a:pt x="874" y="49"/>
                    <a:pt x="874" y="49"/>
                  </a:cubicBezTo>
                  <a:cubicBezTo>
                    <a:pt x="875" y="49"/>
                    <a:pt x="875" y="49"/>
                    <a:pt x="875" y="49"/>
                  </a:cubicBezTo>
                  <a:close/>
                  <a:moveTo>
                    <a:pt x="1293" y="49"/>
                  </a:moveTo>
                  <a:cubicBezTo>
                    <a:pt x="1293" y="49"/>
                    <a:pt x="1293" y="49"/>
                    <a:pt x="1293" y="49"/>
                  </a:cubicBezTo>
                  <a:cubicBezTo>
                    <a:pt x="1293" y="49"/>
                    <a:pt x="1293" y="49"/>
                    <a:pt x="1293" y="49"/>
                  </a:cubicBezTo>
                  <a:close/>
                  <a:moveTo>
                    <a:pt x="1564" y="49"/>
                  </a:moveTo>
                  <a:cubicBezTo>
                    <a:pt x="1565" y="49"/>
                    <a:pt x="1565" y="49"/>
                    <a:pt x="1565" y="49"/>
                  </a:cubicBezTo>
                  <a:cubicBezTo>
                    <a:pt x="1565" y="49"/>
                    <a:pt x="1564" y="49"/>
                    <a:pt x="1564" y="49"/>
                  </a:cubicBezTo>
                  <a:close/>
                  <a:moveTo>
                    <a:pt x="1577" y="49"/>
                  </a:moveTo>
                  <a:cubicBezTo>
                    <a:pt x="1577" y="49"/>
                    <a:pt x="1577" y="49"/>
                    <a:pt x="1577" y="49"/>
                  </a:cubicBezTo>
                  <a:cubicBezTo>
                    <a:pt x="1577" y="49"/>
                    <a:pt x="1577" y="49"/>
                    <a:pt x="1577" y="49"/>
                  </a:cubicBezTo>
                  <a:close/>
                  <a:moveTo>
                    <a:pt x="1679" y="49"/>
                  </a:moveTo>
                  <a:cubicBezTo>
                    <a:pt x="1679" y="49"/>
                    <a:pt x="1679" y="49"/>
                    <a:pt x="1679" y="49"/>
                  </a:cubicBezTo>
                  <a:cubicBezTo>
                    <a:pt x="1679" y="49"/>
                    <a:pt x="1679" y="49"/>
                    <a:pt x="1679" y="49"/>
                  </a:cubicBezTo>
                  <a:close/>
                  <a:moveTo>
                    <a:pt x="1732" y="49"/>
                  </a:moveTo>
                  <a:cubicBezTo>
                    <a:pt x="1733" y="49"/>
                    <a:pt x="1733" y="49"/>
                    <a:pt x="1733" y="49"/>
                  </a:cubicBezTo>
                  <a:cubicBezTo>
                    <a:pt x="1733" y="49"/>
                    <a:pt x="1733" y="49"/>
                    <a:pt x="1732" y="49"/>
                  </a:cubicBezTo>
                  <a:close/>
                  <a:moveTo>
                    <a:pt x="974" y="84"/>
                  </a:moveTo>
                  <a:cubicBezTo>
                    <a:pt x="974" y="85"/>
                    <a:pt x="974" y="85"/>
                    <a:pt x="974" y="85"/>
                  </a:cubicBezTo>
                  <a:cubicBezTo>
                    <a:pt x="974" y="85"/>
                    <a:pt x="974" y="85"/>
                    <a:pt x="974" y="84"/>
                  </a:cubicBezTo>
                  <a:close/>
                  <a:moveTo>
                    <a:pt x="1745" y="49"/>
                  </a:moveTo>
                  <a:cubicBezTo>
                    <a:pt x="1745" y="49"/>
                    <a:pt x="1745" y="49"/>
                    <a:pt x="1745" y="49"/>
                  </a:cubicBezTo>
                  <a:cubicBezTo>
                    <a:pt x="1745" y="49"/>
                    <a:pt x="1745" y="49"/>
                    <a:pt x="1745" y="49"/>
                  </a:cubicBezTo>
                  <a:close/>
                  <a:moveTo>
                    <a:pt x="1222" y="84"/>
                  </a:moveTo>
                  <a:cubicBezTo>
                    <a:pt x="1222" y="85"/>
                    <a:pt x="1222" y="85"/>
                    <a:pt x="1222" y="85"/>
                  </a:cubicBezTo>
                  <a:cubicBezTo>
                    <a:pt x="1222" y="85"/>
                    <a:pt x="1222" y="85"/>
                    <a:pt x="1222" y="84"/>
                  </a:cubicBezTo>
                  <a:close/>
                  <a:moveTo>
                    <a:pt x="565" y="49"/>
                  </a:moveTo>
                  <a:cubicBezTo>
                    <a:pt x="565" y="50"/>
                    <a:pt x="565" y="50"/>
                    <a:pt x="566" y="50"/>
                  </a:cubicBezTo>
                  <a:cubicBezTo>
                    <a:pt x="566" y="49"/>
                    <a:pt x="565" y="49"/>
                    <a:pt x="565" y="49"/>
                  </a:cubicBezTo>
                  <a:close/>
                  <a:moveTo>
                    <a:pt x="1142" y="50"/>
                  </a:moveTo>
                  <a:cubicBezTo>
                    <a:pt x="1142" y="49"/>
                    <a:pt x="1142" y="49"/>
                    <a:pt x="1141" y="49"/>
                  </a:cubicBezTo>
                  <a:cubicBezTo>
                    <a:pt x="1141" y="49"/>
                    <a:pt x="1142" y="50"/>
                    <a:pt x="1142" y="50"/>
                  </a:cubicBezTo>
                  <a:close/>
                  <a:moveTo>
                    <a:pt x="1393" y="49"/>
                  </a:moveTo>
                  <a:cubicBezTo>
                    <a:pt x="1392" y="49"/>
                    <a:pt x="1392" y="49"/>
                    <a:pt x="1392" y="50"/>
                  </a:cubicBezTo>
                  <a:cubicBezTo>
                    <a:pt x="1392" y="50"/>
                    <a:pt x="1393" y="49"/>
                    <a:pt x="1393" y="49"/>
                  </a:cubicBezTo>
                  <a:close/>
                  <a:moveTo>
                    <a:pt x="1564" y="50"/>
                  </a:moveTo>
                  <a:cubicBezTo>
                    <a:pt x="1564" y="50"/>
                    <a:pt x="1564" y="50"/>
                    <a:pt x="1564" y="49"/>
                  </a:cubicBezTo>
                  <a:cubicBezTo>
                    <a:pt x="1564" y="49"/>
                    <a:pt x="1564" y="50"/>
                    <a:pt x="1564" y="50"/>
                  </a:cubicBezTo>
                  <a:close/>
                  <a:moveTo>
                    <a:pt x="974" y="85"/>
                  </a:moveTo>
                  <a:cubicBezTo>
                    <a:pt x="974" y="85"/>
                    <a:pt x="974" y="85"/>
                    <a:pt x="974" y="85"/>
                  </a:cubicBezTo>
                  <a:cubicBezTo>
                    <a:pt x="974" y="85"/>
                    <a:pt x="974" y="85"/>
                    <a:pt x="974" y="85"/>
                  </a:cubicBezTo>
                  <a:close/>
                  <a:moveTo>
                    <a:pt x="1679" y="49"/>
                  </a:moveTo>
                  <a:cubicBezTo>
                    <a:pt x="1679" y="49"/>
                    <a:pt x="1678" y="49"/>
                    <a:pt x="1678" y="50"/>
                  </a:cubicBezTo>
                  <a:cubicBezTo>
                    <a:pt x="1679" y="50"/>
                    <a:pt x="1679" y="49"/>
                    <a:pt x="1679" y="49"/>
                  </a:cubicBezTo>
                  <a:close/>
                  <a:moveTo>
                    <a:pt x="1732" y="50"/>
                  </a:moveTo>
                  <a:cubicBezTo>
                    <a:pt x="1732" y="50"/>
                    <a:pt x="1732" y="50"/>
                    <a:pt x="1732" y="49"/>
                  </a:cubicBezTo>
                  <a:cubicBezTo>
                    <a:pt x="1732" y="49"/>
                    <a:pt x="1732" y="50"/>
                    <a:pt x="1732" y="50"/>
                  </a:cubicBezTo>
                  <a:close/>
                  <a:moveTo>
                    <a:pt x="1114" y="50"/>
                  </a:moveTo>
                  <a:cubicBezTo>
                    <a:pt x="1114" y="50"/>
                    <a:pt x="1114" y="50"/>
                    <a:pt x="1114" y="50"/>
                  </a:cubicBezTo>
                  <a:cubicBezTo>
                    <a:pt x="1114" y="50"/>
                    <a:pt x="1114" y="50"/>
                    <a:pt x="1114" y="50"/>
                  </a:cubicBezTo>
                  <a:close/>
                  <a:moveTo>
                    <a:pt x="1379" y="50"/>
                  </a:moveTo>
                  <a:cubicBezTo>
                    <a:pt x="1380" y="50"/>
                    <a:pt x="1380" y="50"/>
                    <a:pt x="1380" y="50"/>
                  </a:cubicBezTo>
                  <a:cubicBezTo>
                    <a:pt x="1380" y="50"/>
                    <a:pt x="1380" y="50"/>
                    <a:pt x="1379" y="50"/>
                  </a:cubicBezTo>
                  <a:close/>
                  <a:moveTo>
                    <a:pt x="1564" y="50"/>
                  </a:moveTo>
                  <a:cubicBezTo>
                    <a:pt x="1564" y="50"/>
                    <a:pt x="1564" y="50"/>
                    <a:pt x="1564" y="50"/>
                  </a:cubicBezTo>
                  <a:cubicBezTo>
                    <a:pt x="1564" y="50"/>
                    <a:pt x="1564" y="50"/>
                    <a:pt x="1564" y="50"/>
                  </a:cubicBezTo>
                  <a:close/>
                  <a:moveTo>
                    <a:pt x="1678" y="50"/>
                  </a:moveTo>
                  <a:cubicBezTo>
                    <a:pt x="1678" y="50"/>
                    <a:pt x="1678" y="50"/>
                    <a:pt x="1678" y="50"/>
                  </a:cubicBezTo>
                  <a:cubicBezTo>
                    <a:pt x="1678" y="50"/>
                    <a:pt x="1678" y="50"/>
                    <a:pt x="1678" y="50"/>
                  </a:cubicBezTo>
                  <a:close/>
                  <a:moveTo>
                    <a:pt x="1732" y="50"/>
                  </a:moveTo>
                  <a:cubicBezTo>
                    <a:pt x="1732" y="50"/>
                    <a:pt x="1732" y="50"/>
                    <a:pt x="1732" y="50"/>
                  </a:cubicBezTo>
                  <a:cubicBezTo>
                    <a:pt x="1732" y="50"/>
                    <a:pt x="1732" y="50"/>
                    <a:pt x="1732" y="50"/>
                  </a:cubicBezTo>
                  <a:close/>
                  <a:moveTo>
                    <a:pt x="874" y="50"/>
                  </a:moveTo>
                  <a:cubicBezTo>
                    <a:pt x="874" y="50"/>
                    <a:pt x="874" y="50"/>
                    <a:pt x="874" y="50"/>
                  </a:cubicBezTo>
                  <a:cubicBezTo>
                    <a:pt x="874" y="50"/>
                    <a:pt x="874" y="50"/>
                    <a:pt x="874" y="50"/>
                  </a:cubicBezTo>
                  <a:close/>
                  <a:moveTo>
                    <a:pt x="1292" y="50"/>
                  </a:moveTo>
                  <a:cubicBezTo>
                    <a:pt x="1292" y="50"/>
                    <a:pt x="1292" y="50"/>
                    <a:pt x="1292" y="50"/>
                  </a:cubicBezTo>
                  <a:cubicBezTo>
                    <a:pt x="1292" y="50"/>
                    <a:pt x="1292" y="50"/>
                    <a:pt x="1292" y="50"/>
                  </a:cubicBezTo>
                  <a:close/>
                  <a:moveTo>
                    <a:pt x="1379" y="50"/>
                  </a:moveTo>
                  <a:cubicBezTo>
                    <a:pt x="1379" y="50"/>
                    <a:pt x="1379" y="50"/>
                    <a:pt x="1379" y="50"/>
                  </a:cubicBezTo>
                  <a:cubicBezTo>
                    <a:pt x="1379" y="50"/>
                    <a:pt x="1379" y="50"/>
                    <a:pt x="1379" y="50"/>
                  </a:cubicBezTo>
                  <a:close/>
                  <a:moveTo>
                    <a:pt x="1563" y="50"/>
                  </a:moveTo>
                  <a:cubicBezTo>
                    <a:pt x="1564" y="50"/>
                    <a:pt x="1564" y="50"/>
                    <a:pt x="1564" y="50"/>
                  </a:cubicBezTo>
                  <a:cubicBezTo>
                    <a:pt x="1563" y="50"/>
                    <a:pt x="1563" y="50"/>
                    <a:pt x="1563" y="50"/>
                  </a:cubicBezTo>
                  <a:close/>
                  <a:moveTo>
                    <a:pt x="762" y="85"/>
                  </a:moveTo>
                  <a:cubicBezTo>
                    <a:pt x="762" y="85"/>
                    <a:pt x="762" y="86"/>
                    <a:pt x="763" y="86"/>
                  </a:cubicBezTo>
                  <a:cubicBezTo>
                    <a:pt x="763" y="85"/>
                    <a:pt x="762" y="85"/>
                    <a:pt x="762" y="85"/>
                  </a:cubicBezTo>
                  <a:close/>
                  <a:moveTo>
                    <a:pt x="959" y="86"/>
                  </a:moveTo>
                  <a:cubicBezTo>
                    <a:pt x="959" y="85"/>
                    <a:pt x="959" y="85"/>
                    <a:pt x="959" y="85"/>
                  </a:cubicBezTo>
                  <a:cubicBezTo>
                    <a:pt x="959" y="85"/>
                    <a:pt x="959" y="85"/>
                    <a:pt x="959" y="86"/>
                  </a:cubicBezTo>
                  <a:close/>
                  <a:moveTo>
                    <a:pt x="974" y="85"/>
                  </a:moveTo>
                  <a:cubicBezTo>
                    <a:pt x="974" y="85"/>
                    <a:pt x="974" y="85"/>
                    <a:pt x="975" y="85"/>
                  </a:cubicBezTo>
                  <a:cubicBezTo>
                    <a:pt x="975" y="85"/>
                    <a:pt x="974" y="85"/>
                    <a:pt x="974" y="85"/>
                  </a:cubicBezTo>
                  <a:close/>
                  <a:moveTo>
                    <a:pt x="1576" y="50"/>
                  </a:moveTo>
                  <a:cubicBezTo>
                    <a:pt x="1576" y="50"/>
                    <a:pt x="1576" y="50"/>
                    <a:pt x="1576" y="50"/>
                  </a:cubicBezTo>
                  <a:cubicBezTo>
                    <a:pt x="1576" y="50"/>
                    <a:pt x="1576" y="50"/>
                    <a:pt x="1576" y="50"/>
                  </a:cubicBezTo>
                  <a:close/>
                  <a:moveTo>
                    <a:pt x="1731" y="50"/>
                  </a:moveTo>
                  <a:cubicBezTo>
                    <a:pt x="1732" y="50"/>
                    <a:pt x="1732" y="50"/>
                    <a:pt x="1732" y="50"/>
                  </a:cubicBezTo>
                  <a:cubicBezTo>
                    <a:pt x="1732" y="50"/>
                    <a:pt x="1731" y="50"/>
                    <a:pt x="1731" y="50"/>
                  </a:cubicBezTo>
                  <a:close/>
                  <a:moveTo>
                    <a:pt x="1745" y="50"/>
                  </a:moveTo>
                  <a:cubicBezTo>
                    <a:pt x="1744" y="50"/>
                    <a:pt x="1744" y="50"/>
                    <a:pt x="1744" y="50"/>
                  </a:cubicBezTo>
                  <a:cubicBezTo>
                    <a:pt x="1744" y="50"/>
                    <a:pt x="1744" y="50"/>
                    <a:pt x="1745" y="50"/>
                  </a:cubicBezTo>
                  <a:close/>
                  <a:moveTo>
                    <a:pt x="1379" y="51"/>
                  </a:moveTo>
                  <a:cubicBezTo>
                    <a:pt x="1379" y="51"/>
                    <a:pt x="1379" y="51"/>
                    <a:pt x="1379" y="50"/>
                  </a:cubicBezTo>
                  <a:cubicBezTo>
                    <a:pt x="1379" y="50"/>
                    <a:pt x="1379" y="51"/>
                    <a:pt x="1379" y="51"/>
                  </a:cubicBezTo>
                  <a:close/>
                  <a:moveTo>
                    <a:pt x="1392" y="50"/>
                  </a:moveTo>
                  <a:cubicBezTo>
                    <a:pt x="1392" y="50"/>
                    <a:pt x="1392" y="50"/>
                    <a:pt x="1392" y="51"/>
                  </a:cubicBezTo>
                  <a:cubicBezTo>
                    <a:pt x="1392" y="51"/>
                    <a:pt x="1392" y="50"/>
                    <a:pt x="1392" y="50"/>
                  </a:cubicBezTo>
                  <a:close/>
                  <a:moveTo>
                    <a:pt x="568" y="51"/>
                  </a:moveTo>
                  <a:cubicBezTo>
                    <a:pt x="568" y="51"/>
                    <a:pt x="568" y="51"/>
                    <a:pt x="568" y="51"/>
                  </a:cubicBezTo>
                  <a:cubicBezTo>
                    <a:pt x="568" y="51"/>
                    <a:pt x="568" y="51"/>
                    <a:pt x="568" y="51"/>
                  </a:cubicBezTo>
                  <a:close/>
                  <a:moveTo>
                    <a:pt x="1113" y="51"/>
                  </a:moveTo>
                  <a:cubicBezTo>
                    <a:pt x="1113" y="51"/>
                    <a:pt x="1113" y="51"/>
                    <a:pt x="1113" y="51"/>
                  </a:cubicBezTo>
                  <a:cubicBezTo>
                    <a:pt x="1113" y="51"/>
                    <a:pt x="1113" y="51"/>
                    <a:pt x="1113" y="51"/>
                  </a:cubicBezTo>
                  <a:close/>
                  <a:moveTo>
                    <a:pt x="1378" y="51"/>
                  </a:moveTo>
                  <a:cubicBezTo>
                    <a:pt x="1379" y="51"/>
                    <a:pt x="1379" y="51"/>
                    <a:pt x="1379" y="51"/>
                  </a:cubicBezTo>
                  <a:cubicBezTo>
                    <a:pt x="1379" y="51"/>
                    <a:pt x="1379" y="51"/>
                    <a:pt x="1378" y="51"/>
                  </a:cubicBezTo>
                  <a:close/>
                  <a:moveTo>
                    <a:pt x="1378" y="51"/>
                  </a:moveTo>
                  <a:cubicBezTo>
                    <a:pt x="1378" y="51"/>
                    <a:pt x="1378" y="51"/>
                    <a:pt x="1379" y="51"/>
                  </a:cubicBezTo>
                  <a:cubicBezTo>
                    <a:pt x="1378" y="51"/>
                    <a:pt x="1378" y="51"/>
                    <a:pt x="1378" y="51"/>
                  </a:cubicBezTo>
                  <a:close/>
                  <a:moveTo>
                    <a:pt x="1045" y="85"/>
                  </a:moveTo>
                  <a:cubicBezTo>
                    <a:pt x="1045" y="86"/>
                    <a:pt x="1045" y="86"/>
                    <a:pt x="1045" y="86"/>
                  </a:cubicBezTo>
                  <a:cubicBezTo>
                    <a:pt x="1045" y="86"/>
                    <a:pt x="1045" y="86"/>
                    <a:pt x="1045" y="85"/>
                  </a:cubicBezTo>
                  <a:close/>
                  <a:moveTo>
                    <a:pt x="1576" y="51"/>
                  </a:moveTo>
                  <a:cubicBezTo>
                    <a:pt x="1576" y="51"/>
                    <a:pt x="1575" y="51"/>
                    <a:pt x="1575" y="51"/>
                  </a:cubicBezTo>
                  <a:cubicBezTo>
                    <a:pt x="1576" y="51"/>
                    <a:pt x="1576" y="51"/>
                    <a:pt x="1576" y="51"/>
                  </a:cubicBezTo>
                  <a:close/>
                  <a:moveTo>
                    <a:pt x="1222" y="86"/>
                  </a:moveTo>
                  <a:cubicBezTo>
                    <a:pt x="1222" y="86"/>
                    <a:pt x="1223" y="86"/>
                    <a:pt x="1223" y="86"/>
                  </a:cubicBezTo>
                  <a:cubicBezTo>
                    <a:pt x="1223" y="86"/>
                    <a:pt x="1223" y="86"/>
                    <a:pt x="1222" y="86"/>
                  </a:cubicBezTo>
                  <a:close/>
                  <a:moveTo>
                    <a:pt x="1744" y="51"/>
                  </a:moveTo>
                  <a:cubicBezTo>
                    <a:pt x="1744" y="51"/>
                    <a:pt x="1744" y="51"/>
                    <a:pt x="1744" y="51"/>
                  </a:cubicBezTo>
                  <a:cubicBezTo>
                    <a:pt x="1744" y="51"/>
                    <a:pt x="1744" y="51"/>
                    <a:pt x="1744" y="51"/>
                  </a:cubicBezTo>
                  <a:close/>
                  <a:moveTo>
                    <a:pt x="1378" y="52"/>
                  </a:moveTo>
                  <a:cubicBezTo>
                    <a:pt x="1378" y="52"/>
                    <a:pt x="1378" y="52"/>
                    <a:pt x="1378" y="51"/>
                  </a:cubicBezTo>
                  <a:cubicBezTo>
                    <a:pt x="1378" y="51"/>
                    <a:pt x="1378" y="52"/>
                    <a:pt x="1378" y="52"/>
                  </a:cubicBezTo>
                  <a:close/>
                  <a:moveTo>
                    <a:pt x="1391" y="51"/>
                  </a:moveTo>
                  <a:cubicBezTo>
                    <a:pt x="1391" y="51"/>
                    <a:pt x="1391" y="52"/>
                    <a:pt x="1391" y="52"/>
                  </a:cubicBezTo>
                  <a:cubicBezTo>
                    <a:pt x="1391" y="52"/>
                    <a:pt x="1391" y="52"/>
                    <a:pt x="1391" y="51"/>
                  </a:cubicBezTo>
                  <a:close/>
                  <a:moveTo>
                    <a:pt x="569" y="52"/>
                  </a:moveTo>
                  <a:cubicBezTo>
                    <a:pt x="569" y="52"/>
                    <a:pt x="570" y="52"/>
                    <a:pt x="570" y="52"/>
                  </a:cubicBezTo>
                  <a:cubicBezTo>
                    <a:pt x="570" y="52"/>
                    <a:pt x="570" y="52"/>
                    <a:pt x="569" y="52"/>
                  </a:cubicBezTo>
                  <a:close/>
                  <a:moveTo>
                    <a:pt x="1377" y="52"/>
                  </a:moveTo>
                  <a:cubicBezTo>
                    <a:pt x="1378" y="52"/>
                    <a:pt x="1378" y="52"/>
                    <a:pt x="1378" y="52"/>
                  </a:cubicBezTo>
                  <a:cubicBezTo>
                    <a:pt x="1378" y="52"/>
                    <a:pt x="1377" y="52"/>
                    <a:pt x="1377" y="52"/>
                  </a:cubicBezTo>
                  <a:close/>
                  <a:moveTo>
                    <a:pt x="570" y="52"/>
                  </a:moveTo>
                  <a:cubicBezTo>
                    <a:pt x="570" y="52"/>
                    <a:pt x="570" y="52"/>
                    <a:pt x="570" y="52"/>
                  </a:cubicBezTo>
                  <a:cubicBezTo>
                    <a:pt x="570" y="52"/>
                    <a:pt x="570" y="52"/>
                    <a:pt x="570" y="52"/>
                  </a:cubicBezTo>
                  <a:close/>
                  <a:moveTo>
                    <a:pt x="1377" y="53"/>
                  </a:moveTo>
                  <a:cubicBezTo>
                    <a:pt x="1377" y="52"/>
                    <a:pt x="1377" y="52"/>
                    <a:pt x="1377" y="52"/>
                  </a:cubicBezTo>
                  <a:cubicBezTo>
                    <a:pt x="1377" y="52"/>
                    <a:pt x="1377" y="52"/>
                    <a:pt x="1377" y="53"/>
                  </a:cubicBezTo>
                  <a:close/>
                  <a:moveTo>
                    <a:pt x="1575" y="52"/>
                  </a:moveTo>
                  <a:cubicBezTo>
                    <a:pt x="1575" y="52"/>
                    <a:pt x="1575" y="52"/>
                    <a:pt x="1575" y="52"/>
                  </a:cubicBezTo>
                  <a:cubicBezTo>
                    <a:pt x="1575" y="52"/>
                    <a:pt x="1575" y="52"/>
                    <a:pt x="1575" y="52"/>
                  </a:cubicBezTo>
                  <a:close/>
                  <a:moveTo>
                    <a:pt x="1743" y="52"/>
                  </a:moveTo>
                  <a:cubicBezTo>
                    <a:pt x="1743" y="52"/>
                    <a:pt x="1743" y="52"/>
                    <a:pt x="1743" y="52"/>
                  </a:cubicBezTo>
                  <a:cubicBezTo>
                    <a:pt x="1743" y="52"/>
                    <a:pt x="1743" y="52"/>
                    <a:pt x="1743" y="52"/>
                  </a:cubicBezTo>
                  <a:close/>
                  <a:moveTo>
                    <a:pt x="1045" y="86"/>
                  </a:moveTo>
                  <a:cubicBezTo>
                    <a:pt x="1045" y="86"/>
                    <a:pt x="1045" y="86"/>
                    <a:pt x="1045" y="86"/>
                  </a:cubicBezTo>
                  <a:cubicBezTo>
                    <a:pt x="1045" y="86"/>
                    <a:pt x="1045" y="86"/>
                    <a:pt x="1045" y="86"/>
                  </a:cubicBezTo>
                  <a:close/>
                  <a:moveTo>
                    <a:pt x="1377" y="53"/>
                  </a:moveTo>
                  <a:cubicBezTo>
                    <a:pt x="1377" y="53"/>
                    <a:pt x="1377" y="53"/>
                    <a:pt x="1377" y="53"/>
                  </a:cubicBezTo>
                  <a:cubicBezTo>
                    <a:pt x="1377" y="53"/>
                    <a:pt x="1377" y="53"/>
                    <a:pt x="1377" y="53"/>
                  </a:cubicBezTo>
                  <a:close/>
                  <a:moveTo>
                    <a:pt x="1575" y="52"/>
                  </a:moveTo>
                  <a:cubicBezTo>
                    <a:pt x="1574" y="52"/>
                    <a:pt x="1574" y="53"/>
                    <a:pt x="1574" y="53"/>
                  </a:cubicBezTo>
                  <a:cubicBezTo>
                    <a:pt x="1575" y="53"/>
                    <a:pt x="1575" y="53"/>
                    <a:pt x="1575" y="52"/>
                  </a:cubicBezTo>
                  <a:close/>
                  <a:moveTo>
                    <a:pt x="1676" y="52"/>
                  </a:moveTo>
                  <a:cubicBezTo>
                    <a:pt x="1675" y="52"/>
                    <a:pt x="1675" y="53"/>
                    <a:pt x="1675" y="53"/>
                  </a:cubicBezTo>
                  <a:cubicBezTo>
                    <a:pt x="1675" y="53"/>
                    <a:pt x="1676" y="53"/>
                    <a:pt x="1676" y="52"/>
                  </a:cubicBezTo>
                  <a:close/>
                  <a:moveTo>
                    <a:pt x="1743" y="52"/>
                  </a:moveTo>
                  <a:cubicBezTo>
                    <a:pt x="1743" y="52"/>
                    <a:pt x="1743" y="53"/>
                    <a:pt x="1742" y="53"/>
                  </a:cubicBezTo>
                  <a:cubicBezTo>
                    <a:pt x="1743" y="53"/>
                    <a:pt x="1743" y="53"/>
                    <a:pt x="1743" y="52"/>
                  </a:cubicBezTo>
                  <a:close/>
                  <a:moveTo>
                    <a:pt x="571" y="53"/>
                  </a:moveTo>
                  <a:cubicBezTo>
                    <a:pt x="571" y="53"/>
                    <a:pt x="571" y="53"/>
                    <a:pt x="572" y="53"/>
                  </a:cubicBezTo>
                  <a:cubicBezTo>
                    <a:pt x="571" y="53"/>
                    <a:pt x="571" y="53"/>
                    <a:pt x="571" y="53"/>
                  </a:cubicBezTo>
                  <a:close/>
                  <a:moveTo>
                    <a:pt x="1376" y="53"/>
                  </a:moveTo>
                  <a:cubicBezTo>
                    <a:pt x="1377" y="53"/>
                    <a:pt x="1377" y="53"/>
                    <a:pt x="1377" y="53"/>
                  </a:cubicBezTo>
                  <a:cubicBezTo>
                    <a:pt x="1377" y="53"/>
                    <a:pt x="1376" y="53"/>
                    <a:pt x="1376" y="53"/>
                  </a:cubicBezTo>
                  <a:close/>
                  <a:moveTo>
                    <a:pt x="1390" y="53"/>
                  </a:moveTo>
                  <a:cubicBezTo>
                    <a:pt x="1390" y="53"/>
                    <a:pt x="1390" y="53"/>
                    <a:pt x="1390" y="53"/>
                  </a:cubicBezTo>
                  <a:cubicBezTo>
                    <a:pt x="1390" y="53"/>
                    <a:pt x="1390" y="53"/>
                    <a:pt x="1390" y="53"/>
                  </a:cubicBezTo>
                  <a:close/>
                  <a:moveTo>
                    <a:pt x="1574" y="53"/>
                  </a:moveTo>
                  <a:cubicBezTo>
                    <a:pt x="1574" y="53"/>
                    <a:pt x="1574" y="53"/>
                    <a:pt x="1574" y="53"/>
                  </a:cubicBezTo>
                  <a:cubicBezTo>
                    <a:pt x="1574" y="53"/>
                    <a:pt x="1574" y="53"/>
                    <a:pt x="1574" y="53"/>
                  </a:cubicBezTo>
                  <a:close/>
                  <a:moveTo>
                    <a:pt x="763" y="86"/>
                  </a:moveTo>
                  <a:cubicBezTo>
                    <a:pt x="763" y="86"/>
                    <a:pt x="763" y="87"/>
                    <a:pt x="763" y="87"/>
                  </a:cubicBezTo>
                  <a:cubicBezTo>
                    <a:pt x="763" y="86"/>
                    <a:pt x="763" y="86"/>
                    <a:pt x="763" y="86"/>
                  </a:cubicBezTo>
                  <a:close/>
                  <a:moveTo>
                    <a:pt x="1675" y="53"/>
                  </a:moveTo>
                  <a:cubicBezTo>
                    <a:pt x="1675" y="53"/>
                    <a:pt x="1675" y="53"/>
                    <a:pt x="1675" y="53"/>
                  </a:cubicBezTo>
                  <a:cubicBezTo>
                    <a:pt x="1675" y="53"/>
                    <a:pt x="1675" y="53"/>
                    <a:pt x="1675" y="53"/>
                  </a:cubicBezTo>
                  <a:close/>
                  <a:moveTo>
                    <a:pt x="960" y="87"/>
                  </a:moveTo>
                  <a:cubicBezTo>
                    <a:pt x="960" y="86"/>
                    <a:pt x="960" y="86"/>
                    <a:pt x="959" y="86"/>
                  </a:cubicBezTo>
                  <a:cubicBezTo>
                    <a:pt x="959" y="86"/>
                    <a:pt x="959" y="86"/>
                    <a:pt x="960" y="87"/>
                  </a:cubicBezTo>
                  <a:close/>
                  <a:moveTo>
                    <a:pt x="976" y="86"/>
                  </a:moveTo>
                  <a:cubicBezTo>
                    <a:pt x="976" y="86"/>
                    <a:pt x="976" y="87"/>
                    <a:pt x="976" y="87"/>
                  </a:cubicBezTo>
                  <a:cubicBezTo>
                    <a:pt x="976" y="86"/>
                    <a:pt x="976" y="86"/>
                    <a:pt x="976" y="86"/>
                  </a:cubicBezTo>
                  <a:close/>
                  <a:moveTo>
                    <a:pt x="1743" y="53"/>
                  </a:moveTo>
                  <a:cubicBezTo>
                    <a:pt x="1742" y="53"/>
                    <a:pt x="1742" y="53"/>
                    <a:pt x="1742" y="53"/>
                  </a:cubicBezTo>
                  <a:cubicBezTo>
                    <a:pt x="1742" y="53"/>
                    <a:pt x="1742" y="53"/>
                    <a:pt x="1743" y="53"/>
                  </a:cubicBezTo>
                  <a:close/>
                  <a:moveTo>
                    <a:pt x="1741" y="54"/>
                  </a:moveTo>
                  <a:cubicBezTo>
                    <a:pt x="1741" y="54"/>
                    <a:pt x="1741" y="54"/>
                    <a:pt x="1741" y="54"/>
                  </a:cubicBezTo>
                  <a:cubicBezTo>
                    <a:pt x="1741" y="54"/>
                    <a:pt x="1741" y="54"/>
                    <a:pt x="1741" y="54"/>
                  </a:cubicBezTo>
                  <a:close/>
                  <a:moveTo>
                    <a:pt x="1083" y="86"/>
                  </a:moveTo>
                  <a:cubicBezTo>
                    <a:pt x="1083" y="87"/>
                    <a:pt x="1083" y="87"/>
                    <a:pt x="1083" y="87"/>
                  </a:cubicBezTo>
                  <a:cubicBezTo>
                    <a:pt x="1083" y="87"/>
                    <a:pt x="1083" y="87"/>
                    <a:pt x="1083" y="87"/>
                  </a:cubicBezTo>
                  <a:cubicBezTo>
                    <a:pt x="1083" y="87"/>
                    <a:pt x="1083" y="87"/>
                    <a:pt x="1083" y="86"/>
                  </a:cubicBezTo>
                  <a:close/>
                  <a:moveTo>
                    <a:pt x="1375" y="54"/>
                  </a:moveTo>
                  <a:cubicBezTo>
                    <a:pt x="1376" y="54"/>
                    <a:pt x="1376" y="54"/>
                    <a:pt x="1376" y="54"/>
                  </a:cubicBezTo>
                  <a:cubicBezTo>
                    <a:pt x="1375" y="54"/>
                    <a:pt x="1375" y="54"/>
                    <a:pt x="1375" y="54"/>
                  </a:cubicBezTo>
                  <a:close/>
                  <a:moveTo>
                    <a:pt x="1375" y="55"/>
                  </a:moveTo>
                  <a:cubicBezTo>
                    <a:pt x="1375" y="55"/>
                    <a:pt x="1375" y="55"/>
                    <a:pt x="1375" y="55"/>
                  </a:cubicBezTo>
                  <a:cubicBezTo>
                    <a:pt x="1375" y="55"/>
                    <a:pt x="1375" y="55"/>
                    <a:pt x="1375" y="55"/>
                  </a:cubicBezTo>
                  <a:close/>
                  <a:moveTo>
                    <a:pt x="1559" y="55"/>
                  </a:moveTo>
                  <a:cubicBezTo>
                    <a:pt x="1559" y="55"/>
                    <a:pt x="1559" y="55"/>
                    <a:pt x="1559" y="55"/>
                  </a:cubicBezTo>
                  <a:cubicBezTo>
                    <a:pt x="1559" y="55"/>
                    <a:pt x="1559" y="55"/>
                    <a:pt x="1559" y="55"/>
                  </a:cubicBezTo>
                  <a:close/>
                  <a:moveTo>
                    <a:pt x="1573" y="54"/>
                  </a:moveTo>
                  <a:cubicBezTo>
                    <a:pt x="1573" y="54"/>
                    <a:pt x="1573" y="55"/>
                    <a:pt x="1573" y="55"/>
                  </a:cubicBezTo>
                  <a:cubicBezTo>
                    <a:pt x="1573" y="55"/>
                    <a:pt x="1573" y="55"/>
                    <a:pt x="1573" y="54"/>
                  </a:cubicBezTo>
                  <a:close/>
                  <a:moveTo>
                    <a:pt x="1727" y="55"/>
                  </a:moveTo>
                  <a:cubicBezTo>
                    <a:pt x="1727" y="55"/>
                    <a:pt x="1727" y="55"/>
                    <a:pt x="1727" y="55"/>
                  </a:cubicBezTo>
                  <a:cubicBezTo>
                    <a:pt x="1727" y="55"/>
                    <a:pt x="1727" y="55"/>
                    <a:pt x="1727" y="55"/>
                  </a:cubicBezTo>
                  <a:close/>
                  <a:moveTo>
                    <a:pt x="1741" y="54"/>
                  </a:moveTo>
                  <a:cubicBezTo>
                    <a:pt x="1741" y="54"/>
                    <a:pt x="1741" y="55"/>
                    <a:pt x="1741" y="55"/>
                  </a:cubicBezTo>
                  <a:cubicBezTo>
                    <a:pt x="1741" y="55"/>
                    <a:pt x="1741" y="55"/>
                    <a:pt x="1741" y="54"/>
                  </a:cubicBezTo>
                  <a:close/>
                  <a:moveTo>
                    <a:pt x="1558" y="55"/>
                  </a:moveTo>
                  <a:cubicBezTo>
                    <a:pt x="1559" y="55"/>
                    <a:pt x="1559" y="55"/>
                    <a:pt x="1559" y="55"/>
                  </a:cubicBezTo>
                  <a:cubicBezTo>
                    <a:pt x="1559" y="55"/>
                    <a:pt x="1558" y="55"/>
                    <a:pt x="1558" y="55"/>
                  </a:cubicBezTo>
                  <a:close/>
                  <a:moveTo>
                    <a:pt x="763" y="87"/>
                  </a:moveTo>
                  <a:cubicBezTo>
                    <a:pt x="763" y="87"/>
                    <a:pt x="763" y="87"/>
                    <a:pt x="764" y="87"/>
                  </a:cubicBezTo>
                  <a:cubicBezTo>
                    <a:pt x="764" y="87"/>
                    <a:pt x="763" y="87"/>
                    <a:pt x="763" y="87"/>
                  </a:cubicBezTo>
                  <a:close/>
                  <a:moveTo>
                    <a:pt x="800" y="87"/>
                  </a:moveTo>
                  <a:cubicBezTo>
                    <a:pt x="800" y="87"/>
                    <a:pt x="801" y="87"/>
                    <a:pt x="801" y="87"/>
                  </a:cubicBezTo>
                  <a:cubicBezTo>
                    <a:pt x="800" y="87"/>
                    <a:pt x="800" y="87"/>
                    <a:pt x="800" y="87"/>
                  </a:cubicBezTo>
                  <a:close/>
                  <a:moveTo>
                    <a:pt x="1573" y="55"/>
                  </a:moveTo>
                  <a:cubicBezTo>
                    <a:pt x="1572" y="55"/>
                    <a:pt x="1572" y="55"/>
                    <a:pt x="1572" y="55"/>
                  </a:cubicBezTo>
                  <a:cubicBezTo>
                    <a:pt x="1572" y="55"/>
                    <a:pt x="1573" y="55"/>
                    <a:pt x="1573" y="55"/>
                  </a:cubicBezTo>
                  <a:close/>
                  <a:moveTo>
                    <a:pt x="960" y="87"/>
                  </a:moveTo>
                  <a:cubicBezTo>
                    <a:pt x="960" y="87"/>
                    <a:pt x="960" y="87"/>
                    <a:pt x="960" y="87"/>
                  </a:cubicBezTo>
                  <a:cubicBezTo>
                    <a:pt x="960" y="87"/>
                    <a:pt x="960" y="87"/>
                    <a:pt x="960" y="87"/>
                  </a:cubicBezTo>
                  <a:close/>
                  <a:moveTo>
                    <a:pt x="976" y="87"/>
                  </a:moveTo>
                  <a:cubicBezTo>
                    <a:pt x="976" y="87"/>
                    <a:pt x="976" y="87"/>
                    <a:pt x="976" y="87"/>
                  </a:cubicBezTo>
                  <a:cubicBezTo>
                    <a:pt x="976" y="87"/>
                    <a:pt x="976" y="87"/>
                    <a:pt x="976" y="87"/>
                  </a:cubicBezTo>
                  <a:close/>
                  <a:moveTo>
                    <a:pt x="1673" y="55"/>
                  </a:moveTo>
                  <a:cubicBezTo>
                    <a:pt x="1672" y="55"/>
                    <a:pt x="1672" y="55"/>
                    <a:pt x="1672" y="55"/>
                  </a:cubicBezTo>
                  <a:cubicBezTo>
                    <a:pt x="1672" y="55"/>
                    <a:pt x="1672" y="55"/>
                    <a:pt x="1673" y="55"/>
                  </a:cubicBezTo>
                  <a:close/>
                  <a:moveTo>
                    <a:pt x="1083" y="87"/>
                  </a:moveTo>
                  <a:cubicBezTo>
                    <a:pt x="1083" y="87"/>
                    <a:pt x="1083" y="87"/>
                    <a:pt x="1083" y="87"/>
                  </a:cubicBezTo>
                  <a:cubicBezTo>
                    <a:pt x="1083" y="87"/>
                    <a:pt x="1083" y="87"/>
                    <a:pt x="1083" y="87"/>
                  </a:cubicBezTo>
                  <a:close/>
                  <a:moveTo>
                    <a:pt x="1727" y="55"/>
                  </a:moveTo>
                  <a:cubicBezTo>
                    <a:pt x="1727" y="55"/>
                    <a:pt x="1727" y="55"/>
                    <a:pt x="1727" y="55"/>
                  </a:cubicBezTo>
                  <a:cubicBezTo>
                    <a:pt x="1727" y="55"/>
                    <a:pt x="1727" y="55"/>
                    <a:pt x="1727" y="55"/>
                  </a:cubicBezTo>
                  <a:close/>
                  <a:moveTo>
                    <a:pt x="1741" y="55"/>
                  </a:moveTo>
                  <a:cubicBezTo>
                    <a:pt x="1741" y="55"/>
                    <a:pt x="1740" y="55"/>
                    <a:pt x="1740" y="55"/>
                  </a:cubicBezTo>
                  <a:cubicBezTo>
                    <a:pt x="1741" y="55"/>
                    <a:pt x="1741" y="55"/>
                    <a:pt x="1741" y="55"/>
                  </a:cubicBezTo>
                  <a:close/>
                  <a:moveTo>
                    <a:pt x="575" y="55"/>
                  </a:moveTo>
                  <a:cubicBezTo>
                    <a:pt x="575" y="55"/>
                    <a:pt x="575" y="56"/>
                    <a:pt x="575" y="56"/>
                  </a:cubicBezTo>
                  <a:cubicBezTo>
                    <a:pt x="575" y="55"/>
                    <a:pt x="575" y="55"/>
                    <a:pt x="575" y="55"/>
                  </a:cubicBezTo>
                  <a:close/>
                  <a:moveTo>
                    <a:pt x="1388" y="55"/>
                  </a:moveTo>
                  <a:cubicBezTo>
                    <a:pt x="1388" y="55"/>
                    <a:pt x="1388" y="55"/>
                    <a:pt x="1388" y="55"/>
                  </a:cubicBezTo>
                  <a:cubicBezTo>
                    <a:pt x="1388" y="55"/>
                    <a:pt x="1388" y="55"/>
                    <a:pt x="1388" y="55"/>
                  </a:cubicBezTo>
                  <a:close/>
                  <a:moveTo>
                    <a:pt x="1558" y="56"/>
                  </a:moveTo>
                  <a:cubicBezTo>
                    <a:pt x="1558" y="56"/>
                    <a:pt x="1558" y="55"/>
                    <a:pt x="1558" y="55"/>
                  </a:cubicBezTo>
                  <a:cubicBezTo>
                    <a:pt x="1558" y="55"/>
                    <a:pt x="1558" y="55"/>
                    <a:pt x="1558" y="56"/>
                  </a:cubicBezTo>
                  <a:close/>
                  <a:moveTo>
                    <a:pt x="1572" y="55"/>
                  </a:moveTo>
                  <a:cubicBezTo>
                    <a:pt x="1572" y="55"/>
                    <a:pt x="1572" y="55"/>
                    <a:pt x="1572" y="56"/>
                  </a:cubicBezTo>
                  <a:cubicBezTo>
                    <a:pt x="1572" y="55"/>
                    <a:pt x="1572" y="55"/>
                    <a:pt x="1572" y="55"/>
                  </a:cubicBezTo>
                  <a:close/>
                  <a:moveTo>
                    <a:pt x="1672" y="55"/>
                  </a:moveTo>
                  <a:cubicBezTo>
                    <a:pt x="1672" y="55"/>
                    <a:pt x="1672" y="55"/>
                    <a:pt x="1671" y="56"/>
                  </a:cubicBezTo>
                  <a:cubicBezTo>
                    <a:pt x="1672" y="56"/>
                    <a:pt x="1672" y="55"/>
                    <a:pt x="1672" y="55"/>
                  </a:cubicBezTo>
                  <a:close/>
                  <a:moveTo>
                    <a:pt x="1726" y="56"/>
                  </a:moveTo>
                  <a:cubicBezTo>
                    <a:pt x="1726" y="56"/>
                    <a:pt x="1726" y="55"/>
                    <a:pt x="1727" y="55"/>
                  </a:cubicBezTo>
                  <a:cubicBezTo>
                    <a:pt x="1726" y="55"/>
                    <a:pt x="1726" y="55"/>
                    <a:pt x="1726" y="56"/>
                  </a:cubicBezTo>
                  <a:close/>
                  <a:moveTo>
                    <a:pt x="764" y="87"/>
                  </a:moveTo>
                  <a:cubicBezTo>
                    <a:pt x="764" y="87"/>
                    <a:pt x="764" y="87"/>
                    <a:pt x="764" y="87"/>
                  </a:cubicBezTo>
                  <a:cubicBezTo>
                    <a:pt x="764" y="87"/>
                    <a:pt x="764" y="87"/>
                    <a:pt x="764" y="87"/>
                  </a:cubicBezTo>
                  <a:close/>
                  <a:moveTo>
                    <a:pt x="800" y="87"/>
                  </a:moveTo>
                  <a:cubicBezTo>
                    <a:pt x="800" y="87"/>
                    <a:pt x="800" y="87"/>
                    <a:pt x="800" y="87"/>
                  </a:cubicBezTo>
                  <a:cubicBezTo>
                    <a:pt x="800" y="87"/>
                    <a:pt x="800" y="87"/>
                    <a:pt x="800" y="87"/>
                  </a:cubicBezTo>
                  <a:close/>
                  <a:moveTo>
                    <a:pt x="1740" y="55"/>
                  </a:moveTo>
                  <a:cubicBezTo>
                    <a:pt x="1740" y="55"/>
                    <a:pt x="1740" y="55"/>
                    <a:pt x="1740" y="56"/>
                  </a:cubicBezTo>
                  <a:cubicBezTo>
                    <a:pt x="1740" y="55"/>
                    <a:pt x="1740" y="55"/>
                    <a:pt x="1740" y="55"/>
                  </a:cubicBezTo>
                  <a:close/>
                  <a:moveTo>
                    <a:pt x="1388" y="55"/>
                  </a:moveTo>
                  <a:cubicBezTo>
                    <a:pt x="1388" y="56"/>
                    <a:pt x="1387" y="56"/>
                    <a:pt x="1387" y="56"/>
                  </a:cubicBezTo>
                  <a:cubicBezTo>
                    <a:pt x="1388" y="56"/>
                    <a:pt x="1388" y="56"/>
                    <a:pt x="1388" y="55"/>
                  </a:cubicBezTo>
                  <a:close/>
                  <a:moveTo>
                    <a:pt x="1572" y="56"/>
                  </a:moveTo>
                  <a:cubicBezTo>
                    <a:pt x="1572" y="56"/>
                    <a:pt x="1572" y="56"/>
                    <a:pt x="1572" y="56"/>
                  </a:cubicBezTo>
                  <a:cubicBezTo>
                    <a:pt x="1572" y="56"/>
                    <a:pt x="1572" y="56"/>
                    <a:pt x="1572" y="56"/>
                  </a:cubicBezTo>
                  <a:close/>
                  <a:moveTo>
                    <a:pt x="1505" y="6"/>
                  </a:moveTo>
                  <a:cubicBezTo>
                    <a:pt x="1505" y="6"/>
                    <a:pt x="1505" y="6"/>
                    <a:pt x="1506" y="5"/>
                  </a:cubicBezTo>
                  <a:cubicBezTo>
                    <a:pt x="1505" y="6"/>
                    <a:pt x="1505" y="6"/>
                    <a:pt x="1505" y="6"/>
                  </a:cubicBezTo>
                  <a:close/>
                  <a:moveTo>
                    <a:pt x="1046" y="87"/>
                  </a:moveTo>
                  <a:cubicBezTo>
                    <a:pt x="1046" y="87"/>
                    <a:pt x="1046" y="87"/>
                    <a:pt x="1046" y="87"/>
                  </a:cubicBezTo>
                  <a:cubicBezTo>
                    <a:pt x="1046" y="87"/>
                    <a:pt x="1046" y="87"/>
                    <a:pt x="1046" y="87"/>
                  </a:cubicBezTo>
                  <a:close/>
                  <a:moveTo>
                    <a:pt x="1505" y="6"/>
                  </a:moveTo>
                  <a:cubicBezTo>
                    <a:pt x="1505" y="6"/>
                    <a:pt x="1505" y="6"/>
                    <a:pt x="1505" y="6"/>
                  </a:cubicBezTo>
                  <a:cubicBezTo>
                    <a:pt x="1505" y="6"/>
                    <a:pt x="1505" y="6"/>
                    <a:pt x="1505" y="6"/>
                  </a:cubicBezTo>
                  <a:close/>
                  <a:moveTo>
                    <a:pt x="1740" y="56"/>
                  </a:moveTo>
                  <a:cubicBezTo>
                    <a:pt x="1740" y="56"/>
                    <a:pt x="1740" y="56"/>
                    <a:pt x="1740" y="56"/>
                  </a:cubicBezTo>
                  <a:cubicBezTo>
                    <a:pt x="1740" y="56"/>
                    <a:pt x="1740" y="56"/>
                    <a:pt x="1740" y="56"/>
                  </a:cubicBezTo>
                  <a:close/>
                  <a:moveTo>
                    <a:pt x="1224" y="87"/>
                  </a:moveTo>
                  <a:cubicBezTo>
                    <a:pt x="1224" y="87"/>
                    <a:pt x="1224" y="87"/>
                    <a:pt x="1224" y="87"/>
                  </a:cubicBezTo>
                  <a:cubicBezTo>
                    <a:pt x="1224" y="87"/>
                    <a:pt x="1224" y="87"/>
                    <a:pt x="1224" y="87"/>
                  </a:cubicBezTo>
                  <a:close/>
                  <a:moveTo>
                    <a:pt x="1504" y="7"/>
                  </a:moveTo>
                  <a:cubicBezTo>
                    <a:pt x="1504" y="7"/>
                    <a:pt x="1504" y="7"/>
                    <a:pt x="1504" y="7"/>
                  </a:cubicBezTo>
                  <a:cubicBezTo>
                    <a:pt x="1504" y="7"/>
                    <a:pt x="1504" y="7"/>
                    <a:pt x="1504" y="7"/>
                  </a:cubicBezTo>
                  <a:close/>
                  <a:moveTo>
                    <a:pt x="1503" y="7"/>
                  </a:moveTo>
                  <a:cubicBezTo>
                    <a:pt x="1504" y="7"/>
                    <a:pt x="1504" y="7"/>
                    <a:pt x="1504" y="7"/>
                  </a:cubicBezTo>
                  <a:cubicBezTo>
                    <a:pt x="1504" y="7"/>
                    <a:pt x="1503" y="7"/>
                    <a:pt x="1503" y="7"/>
                  </a:cubicBezTo>
                  <a:close/>
                  <a:moveTo>
                    <a:pt x="1503" y="7"/>
                  </a:moveTo>
                  <a:cubicBezTo>
                    <a:pt x="1503" y="7"/>
                    <a:pt x="1503" y="7"/>
                    <a:pt x="1503" y="7"/>
                  </a:cubicBezTo>
                  <a:cubicBezTo>
                    <a:pt x="1503" y="7"/>
                    <a:pt x="1503" y="7"/>
                    <a:pt x="1503" y="7"/>
                  </a:cubicBezTo>
                  <a:close/>
                  <a:moveTo>
                    <a:pt x="1727" y="55"/>
                  </a:moveTo>
                  <a:cubicBezTo>
                    <a:pt x="1727" y="55"/>
                    <a:pt x="1728" y="54"/>
                    <a:pt x="1728" y="54"/>
                  </a:cubicBezTo>
                  <a:cubicBezTo>
                    <a:pt x="1727" y="54"/>
                    <a:pt x="1727" y="54"/>
                    <a:pt x="1727" y="55"/>
                  </a:cubicBezTo>
                  <a:close/>
                  <a:moveTo>
                    <a:pt x="1502" y="8"/>
                  </a:moveTo>
                  <a:cubicBezTo>
                    <a:pt x="1502" y="8"/>
                    <a:pt x="1502" y="8"/>
                    <a:pt x="1502" y="8"/>
                  </a:cubicBezTo>
                  <a:cubicBezTo>
                    <a:pt x="1502" y="8"/>
                    <a:pt x="1502" y="8"/>
                    <a:pt x="1502" y="8"/>
                  </a:cubicBezTo>
                  <a:close/>
                  <a:moveTo>
                    <a:pt x="1373" y="56"/>
                  </a:moveTo>
                  <a:cubicBezTo>
                    <a:pt x="1373" y="56"/>
                    <a:pt x="1373" y="56"/>
                    <a:pt x="1373" y="56"/>
                  </a:cubicBezTo>
                  <a:cubicBezTo>
                    <a:pt x="1373" y="56"/>
                    <a:pt x="1373" y="56"/>
                    <a:pt x="1373" y="56"/>
                  </a:cubicBezTo>
                  <a:close/>
                  <a:moveTo>
                    <a:pt x="1387" y="56"/>
                  </a:moveTo>
                  <a:cubicBezTo>
                    <a:pt x="1387" y="56"/>
                    <a:pt x="1387" y="56"/>
                    <a:pt x="1387" y="56"/>
                  </a:cubicBezTo>
                  <a:cubicBezTo>
                    <a:pt x="1387" y="56"/>
                    <a:pt x="1387" y="56"/>
                    <a:pt x="1387" y="56"/>
                  </a:cubicBezTo>
                  <a:close/>
                  <a:moveTo>
                    <a:pt x="977" y="87"/>
                  </a:moveTo>
                  <a:cubicBezTo>
                    <a:pt x="977" y="87"/>
                    <a:pt x="977" y="88"/>
                    <a:pt x="977" y="88"/>
                  </a:cubicBezTo>
                  <a:cubicBezTo>
                    <a:pt x="977" y="87"/>
                    <a:pt x="977" y="87"/>
                    <a:pt x="977" y="87"/>
                  </a:cubicBezTo>
                  <a:close/>
                  <a:moveTo>
                    <a:pt x="1572" y="56"/>
                  </a:moveTo>
                  <a:cubicBezTo>
                    <a:pt x="1571" y="56"/>
                    <a:pt x="1571" y="56"/>
                    <a:pt x="1571" y="56"/>
                  </a:cubicBezTo>
                  <a:cubicBezTo>
                    <a:pt x="1571" y="56"/>
                    <a:pt x="1571" y="56"/>
                    <a:pt x="1572" y="56"/>
                  </a:cubicBezTo>
                  <a:close/>
                  <a:moveTo>
                    <a:pt x="1033" y="88"/>
                  </a:moveTo>
                  <a:cubicBezTo>
                    <a:pt x="1033" y="87"/>
                    <a:pt x="1033" y="87"/>
                    <a:pt x="1033" y="87"/>
                  </a:cubicBezTo>
                  <a:cubicBezTo>
                    <a:pt x="1033" y="87"/>
                    <a:pt x="1033" y="87"/>
                    <a:pt x="1033" y="88"/>
                  </a:cubicBezTo>
                  <a:close/>
                  <a:moveTo>
                    <a:pt x="1046" y="87"/>
                  </a:moveTo>
                  <a:cubicBezTo>
                    <a:pt x="1046" y="87"/>
                    <a:pt x="1046" y="88"/>
                    <a:pt x="1046" y="88"/>
                  </a:cubicBezTo>
                  <a:cubicBezTo>
                    <a:pt x="1046" y="87"/>
                    <a:pt x="1046" y="87"/>
                    <a:pt x="1046" y="87"/>
                  </a:cubicBezTo>
                  <a:close/>
                  <a:moveTo>
                    <a:pt x="1082" y="88"/>
                  </a:moveTo>
                  <a:cubicBezTo>
                    <a:pt x="1082" y="88"/>
                    <a:pt x="1082" y="88"/>
                    <a:pt x="1082" y="87"/>
                  </a:cubicBezTo>
                  <a:cubicBezTo>
                    <a:pt x="1082" y="87"/>
                    <a:pt x="1082" y="87"/>
                    <a:pt x="1082" y="88"/>
                  </a:cubicBezTo>
                  <a:close/>
                  <a:moveTo>
                    <a:pt x="1384" y="9"/>
                  </a:moveTo>
                  <a:cubicBezTo>
                    <a:pt x="1384" y="9"/>
                    <a:pt x="1384" y="9"/>
                    <a:pt x="1385" y="9"/>
                  </a:cubicBezTo>
                  <a:cubicBezTo>
                    <a:pt x="1385" y="9"/>
                    <a:pt x="1384" y="9"/>
                    <a:pt x="1384" y="9"/>
                  </a:cubicBezTo>
                  <a:close/>
                  <a:moveTo>
                    <a:pt x="1740" y="56"/>
                  </a:moveTo>
                  <a:cubicBezTo>
                    <a:pt x="1740" y="56"/>
                    <a:pt x="1739" y="56"/>
                    <a:pt x="1739" y="56"/>
                  </a:cubicBezTo>
                  <a:cubicBezTo>
                    <a:pt x="1739" y="56"/>
                    <a:pt x="1740" y="56"/>
                    <a:pt x="1740" y="56"/>
                  </a:cubicBezTo>
                  <a:close/>
                  <a:moveTo>
                    <a:pt x="1224" y="87"/>
                  </a:moveTo>
                  <a:cubicBezTo>
                    <a:pt x="1224" y="87"/>
                    <a:pt x="1224" y="88"/>
                    <a:pt x="1224" y="88"/>
                  </a:cubicBezTo>
                  <a:cubicBezTo>
                    <a:pt x="1224" y="87"/>
                    <a:pt x="1224" y="87"/>
                    <a:pt x="1224" y="87"/>
                  </a:cubicBezTo>
                  <a:close/>
                  <a:moveTo>
                    <a:pt x="1259" y="88"/>
                  </a:moveTo>
                  <a:cubicBezTo>
                    <a:pt x="1260" y="88"/>
                    <a:pt x="1260" y="87"/>
                    <a:pt x="1260" y="87"/>
                  </a:cubicBezTo>
                  <a:cubicBezTo>
                    <a:pt x="1260" y="87"/>
                    <a:pt x="1260" y="87"/>
                    <a:pt x="1259" y="88"/>
                  </a:cubicBezTo>
                  <a:close/>
                  <a:moveTo>
                    <a:pt x="576" y="56"/>
                  </a:moveTo>
                  <a:cubicBezTo>
                    <a:pt x="576" y="57"/>
                    <a:pt x="577" y="57"/>
                    <a:pt x="577" y="57"/>
                  </a:cubicBezTo>
                  <a:cubicBezTo>
                    <a:pt x="577" y="56"/>
                    <a:pt x="576" y="56"/>
                    <a:pt x="576" y="56"/>
                  </a:cubicBezTo>
                  <a:close/>
                  <a:moveTo>
                    <a:pt x="1501" y="9"/>
                  </a:moveTo>
                  <a:cubicBezTo>
                    <a:pt x="1501" y="9"/>
                    <a:pt x="1501" y="9"/>
                    <a:pt x="1501" y="9"/>
                  </a:cubicBezTo>
                  <a:cubicBezTo>
                    <a:pt x="1501" y="9"/>
                    <a:pt x="1501" y="9"/>
                    <a:pt x="1501" y="9"/>
                  </a:cubicBezTo>
                  <a:close/>
                  <a:moveTo>
                    <a:pt x="671" y="56"/>
                  </a:moveTo>
                  <a:cubicBezTo>
                    <a:pt x="671" y="56"/>
                    <a:pt x="671" y="57"/>
                    <a:pt x="671" y="57"/>
                  </a:cubicBezTo>
                  <a:cubicBezTo>
                    <a:pt x="671" y="57"/>
                    <a:pt x="671" y="56"/>
                    <a:pt x="671" y="56"/>
                  </a:cubicBezTo>
                  <a:close/>
                  <a:moveTo>
                    <a:pt x="1455" y="9"/>
                  </a:moveTo>
                  <a:cubicBezTo>
                    <a:pt x="1455" y="9"/>
                    <a:pt x="1455" y="9"/>
                    <a:pt x="1455" y="9"/>
                  </a:cubicBezTo>
                  <a:cubicBezTo>
                    <a:pt x="1455" y="9"/>
                    <a:pt x="1455" y="9"/>
                    <a:pt x="1455" y="9"/>
                  </a:cubicBezTo>
                  <a:close/>
                  <a:moveTo>
                    <a:pt x="1501" y="9"/>
                  </a:moveTo>
                  <a:cubicBezTo>
                    <a:pt x="1501" y="9"/>
                    <a:pt x="1501" y="9"/>
                    <a:pt x="1501" y="9"/>
                  </a:cubicBezTo>
                  <a:cubicBezTo>
                    <a:pt x="1501" y="9"/>
                    <a:pt x="1501" y="9"/>
                    <a:pt x="1501" y="9"/>
                  </a:cubicBezTo>
                  <a:close/>
                  <a:moveTo>
                    <a:pt x="1426" y="10"/>
                  </a:moveTo>
                  <a:cubicBezTo>
                    <a:pt x="1427" y="10"/>
                    <a:pt x="1427" y="10"/>
                    <a:pt x="1427" y="9"/>
                  </a:cubicBezTo>
                  <a:cubicBezTo>
                    <a:pt x="1427" y="9"/>
                    <a:pt x="1427" y="9"/>
                    <a:pt x="1426" y="10"/>
                  </a:cubicBezTo>
                  <a:close/>
                  <a:moveTo>
                    <a:pt x="1570" y="9"/>
                  </a:moveTo>
                  <a:cubicBezTo>
                    <a:pt x="1570" y="10"/>
                    <a:pt x="1570" y="10"/>
                    <a:pt x="1570" y="10"/>
                  </a:cubicBezTo>
                  <a:cubicBezTo>
                    <a:pt x="1570" y="9"/>
                    <a:pt x="1570" y="9"/>
                    <a:pt x="1570" y="9"/>
                  </a:cubicBezTo>
                  <a:close/>
                  <a:moveTo>
                    <a:pt x="1738" y="9"/>
                  </a:moveTo>
                  <a:cubicBezTo>
                    <a:pt x="1738" y="10"/>
                    <a:pt x="1738" y="10"/>
                    <a:pt x="1738" y="10"/>
                  </a:cubicBezTo>
                  <a:cubicBezTo>
                    <a:pt x="1738" y="9"/>
                    <a:pt x="1738" y="9"/>
                    <a:pt x="1738" y="9"/>
                  </a:cubicBezTo>
                  <a:close/>
                  <a:moveTo>
                    <a:pt x="1373" y="57"/>
                  </a:moveTo>
                  <a:cubicBezTo>
                    <a:pt x="1373" y="57"/>
                    <a:pt x="1373" y="56"/>
                    <a:pt x="1373" y="56"/>
                  </a:cubicBezTo>
                  <a:cubicBezTo>
                    <a:pt x="1373" y="56"/>
                    <a:pt x="1373" y="57"/>
                    <a:pt x="1373" y="57"/>
                  </a:cubicBezTo>
                  <a:close/>
                  <a:moveTo>
                    <a:pt x="1387" y="56"/>
                  </a:moveTo>
                  <a:cubicBezTo>
                    <a:pt x="1387" y="56"/>
                    <a:pt x="1387" y="56"/>
                    <a:pt x="1387" y="57"/>
                  </a:cubicBezTo>
                  <a:cubicBezTo>
                    <a:pt x="1387" y="57"/>
                    <a:pt x="1387" y="56"/>
                    <a:pt x="1387" y="56"/>
                  </a:cubicBezTo>
                  <a:close/>
                  <a:moveTo>
                    <a:pt x="1557" y="57"/>
                  </a:moveTo>
                  <a:cubicBezTo>
                    <a:pt x="1557" y="57"/>
                    <a:pt x="1557" y="57"/>
                    <a:pt x="1557" y="56"/>
                  </a:cubicBezTo>
                  <a:cubicBezTo>
                    <a:pt x="1557" y="56"/>
                    <a:pt x="1557" y="56"/>
                    <a:pt x="1557" y="57"/>
                  </a:cubicBezTo>
                  <a:close/>
                  <a:moveTo>
                    <a:pt x="751" y="88"/>
                  </a:moveTo>
                  <a:cubicBezTo>
                    <a:pt x="751" y="88"/>
                    <a:pt x="751" y="88"/>
                    <a:pt x="751" y="87"/>
                  </a:cubicBezTo>
                  <a:cubicBezTo>
                    <a:pt x="751" y="88"/>
                    <a:pt x="751" y="88"/>
                    <a:pt x="751" y="88"/>
                  </a:cubicBezTo>
                  <a:close/>
                  <a:moveTo>
                    <a:pt x="799" y="88"/>
                  </a:moveTo>
                  <a:cubicBezTo>
                    <a:pt x="799" y="88"/>
                    <a:pt x="799" y="88"/>
                    <a:pt x="799" y="88"/>
                  </a:cubicBezTo>
                  <a:cubicBezTo>
                    <a:pt x="799" y="88"/>
                    <a:pt x="799" y="88"/>
                    <a:pt x="799" y="88"/>
                  </a:cubicBezTo>
                  <a:close/>
                  <a:moveTo>
                    <a:pt x="961" y="88"/>
                  </a:moveTo>
                  <a:cubicBezTo>
                    <a:pt x="961" y="88"/>
                    <a:pt x="961" y="88"/>
                    <a:pt x="960" y="87"/>
                  </a:cubicBezTo>
                  <a:cubicBezTo>
                    <a:pt x="960" y="88"/>
                    <a:pt x="961" y="88"/>
                    <a:pt x="961" y="88"/>
                  </a:cubicBezTo>
                  <a:close/>
                  <a:moveTo>
                    <a:pt x="1571" y="56"/>
                  </a:moveTo>
                  <a:cubicBezTo>
                    <a:pt x="1571" y="56"/>
                    <a:pt x="1571" y="56"/>
                    <a:pt x="1571" y="57"/>
                  </a:cubicBezTo>
                  <a:cubicBezTo>
                    <a:pt x="1571" y="56"/>
                    <a:pt x="1571" y="56"/>
                    <a:pt x="1571" y="56"/>
                  </a:cubicBezTo>
                  <a:close/>
                  <a:moveTo>
                    <a:pt x="549" y="10"/>
                  </a:moveTo>
                  <a:cubicBezTo>
                    <a:pt x="549" y="10"/>
                    <a:pt x="550" y="10"/>
                    <a:pt x="550" y="10"/>
                  </a:cubicBezTo>
                  <a:cubicBezTo>
                    <a:pt x="549" y="10"/>
                    <a:pt x="549" y="10"/>
                    <a:pt x="549" y="10"/>
                  </a:cubicBezTo>
                  <a:close/>
                  <a:moveTo>
                    <a:pt x="1046" y="88"/>
                  </a:moveTo>
                  <a:cubicBezTo>
                    <a:pt x="1046" y="88"/>
                    <a:pt x="1046" y="88"/>
                    <a:pt x="1047" y="88"/>
                  </a:cubicBezTo>
                  <a:cubicBezTo>
                    <a:pt x="1047" y="88"/>
                    <a:pt x="1046" y="88"/>
                    <a:pt x="1046" y="88"/>
                  </a:cubicBezTo>
                  <a:close/>
                  <a:moveTo>
                    <a:pt x="1725" y="57"/>
                  </a:moveTo>
                  <a:cubicBezTo>
                    <a:pt x="1725" y="57"/>
                    <a:pt x="1725" y="57"/>
                    <a:pt x="1725" y="56"/>
                  </a:cubicBezTo>
                  <a:cubicBezTo>
                    <a:pt x="1725" y="56"/>
                    <a:pt x="1725" y="56"/>
                    <a:pt x="1725" y="57"/>
                  </a:cubicBezTo>
                  <a:close/>
                  <a:moveTo>
                    <a:pt x="1224" y="88"/>
                  </a:moveTo>
                  <a:cubicBezTo>
                    <a:pt x="1224" y="88"/>
                    <a:pt x="1224" y="88"/>
                    <a:pt x="1225" y="88"/>
                  </a:cubicBezTo>
                  <a:cubicBezTo>
                    <a:pt x="1224" y="88"/>
                    <a:pt x="1224" y="88"/>
                    <a:pt x="1224" y="88"/>
                  </a:cubicBezTo>
                  <a:close/>
                  <a:moveTo>
                    <a:pt x="1739" y="56"/>
                  </a:moveTo>
                  <a:cubicBezTo>
                    <a:pt x="1739" y="56"/>
                    <a:pt x="1739" y="56"/>
                    <a:pt x="1739" y="57"/>
                  </a:cubicBezTo>
                  <a:cubicBezTo>
                    <a:pt x="1739" y="56"/>
                    <a:pt x="1739" y="56"/>
                    <a:pt x="1739" y="56"/>
                  </a:cubicBezTo>
                  <a:close/>
                  <a:moveTo>
                    <a:pt x="1500" y="10"/>
                  </a:moveTo>
                  <a:cubicBezTo>
                    <a:pt x="1500" y="10"/>
                    <a:pt x="1500" y="10"/>
                    <a:pt x="1500" y="10"/>
                  </a:cubicBezTo>
                  <a:cubicBezTo>
                    <a:pt x="1500" y="10"/>
                    <a:pt x="1500" y="10"/>
                    <a:pt x="1500" y="10"/>
                  </a:cubicBezTo>
                  <a:close/>
                  <a:moveTo>
                    <a:pt x="659" y="88"/>
                  </a:moveTo>
                  <a:cubicBezTo>
                    <a:pt x="659" y="88"/>
                    <a:pt x="659" y="88"/>
                    <a:pt x="660" y="88"/>
                  </a:cubicBezTo>
                  <a:cubicBezTo>
                    <a:pt x="660" y="88"/>
                    <a:pt x="659" y="88"/>
                    <a:pt x="659" y="88"/>
                  </a:cubicBezTo>
                  <a:close/>
                  <a:moveTo>
                    <a:pt x="1537" y="10"/>
                  </a:moveTo>
                  <a:cubicBezTo>
                    <a:pt x="1537" y="10"/>
                    <a:pt x="1538" y="10"/>
                    <a:pt x="1538" y="10"/>
                  </a:cubicBezTo>
                  <a:cubicBezTo>
                    <a:pt x="1537" y="10"/>
                    <a:pt x="1537" y="10"/>
                    <a:pt x="1537" y="10"/>
                  </a:cubicBezTo>
                  <a:close/>
                  <a:moveTo>
                    <a:pt x="1705" y="10"/>
                  </a:moveTo>
                  <a:cubicBezTo>
                    <a:pt x="1705" y="10"/>
                    <a:pt x="1706" y="10"/>
                    <a:pt x="1706" y="10"/>
                  </a:cubicBezTo>
                  <a:cubicBezTo>
                    <a:pt x="1706" y="10"/>
                    <a:pt x="1705" y="10"/>
                    <a:pt x="1705" y="10"/>
                  </a:cubicBezTo>
                  <a:close/>
                  <a:moveTo>
                    <a:pt x="549" y="10"/>
                  </a:moveTo>
                  <a:cubicBezTo>
                    <a:pt x="549" y="10"/>
                    <a:pt x="549" y="10"/>
                    <a:pt x="549" y="10"/>
                  </a:cubicBezTo>
                  <a:cubicBezTo>
                    <a:pt x="549" y="10"/>
                    <a:pt x="549" y="10"/>
                    <a:pt x="549" y="10"/>
                  </a:cubicBezTo>
                  <a:close/>
                  <a:moveTo>
                    <a:pt x="961" y="88"/>
                  </a:moveTo>
                  <a:cubicBezTo>
                    <a:pt x="961" y="88"/>
                    <a:pt x="961" y="88"/>
                    <a:pt x="961" y="88"/>
                  </a:cubicBezTo>
                  <a:cubicBezTo>
                    <a:pt x="961" y="88"/>
                    <a:pt x="961" y="88"/>
                    <a:pt x="961" y="88"/>
                  </a:cubicBezTo>
                  <a:close/>
                  <a:moveTo>
                    <a:pt x="978" y="88"/>
                  </a:moveTo>
                  <a:cubicBezTo>
                    <a:pt x="978" y="88"/>
                    <a:pt x="978" y="88"/>
                    <a:pt x="978" y="88"/>
                  </a:cubicBezTo>
                  <a:cubicBezTo>
                    <a:pt x="978" y="88"/>
                    <a:pt x="978" y="88"/>
                    <a:pt x="978" y="88"/>
                  </a:cubicBezTo>
                  <a:close/>
                  <a:moveTo>
                    <a:pt x="1018" y="88"/>
                  </a:moveTo>
                  <a:cubicBezTo>
                    <a:pt x="1018" y="88"/>
                    <a:pt x="1019" y="88"/>
                    <a:pt x="1019" y="88"/>
                  </a:cubicBezTo>
                  <a:cubicBezTo>
                    <a:pt x="1018" y="88"/>
                    <a:pt x="1018" y="88"/>
                    <a:pt x="1018" y="88"/>
                  </a:cubicBezTo>
                  <a:close/>
                  <a:moveTo>
                    <a:pt x="1033" y="88"/>
                  </a:moveTo>
                  <a:cubicBezTo>
                    <a:pt x="1033" y="88"/>
                    <a:pt x="1033" y="88"/>
                    <a:pt x="1033" y="88"/>
                  </a:cubicBezTo>
                  <a:cubicBezTo>
                    <a:pt x="1033" y="88"/>
                    <a:pt x="1033" y="88"/>
                    <a:pt x="1033" y="88"/>
                  </a:cubicBezTo>
                  <a:close/>
                  <a:moveTo>
                    <a:pt x="1047" y="88"/>
                  </a:moveTo>
                  <a:cubicBezTo>
                    <a:pt x="1047" y="88"/>
                    <a:pt x="1047" y="88"/>
                    <a:pt x="1047" y="88"/>
                  </a:cubicBezTo>
                  <a:cubicBezTo>
                    <a:pt x="1047" y="88"/>
                    <a:pt x="1047" y="88"/>
                    <a:pt x="1047" y="88"/>
                  </a:cubicBezTo>
                  <a:close/>
                  <a:moveTo>
                    <a:pt x="1080" y="88"/>
                  </a:moveTo>
                  <a:cubicBezTo>
                    <a:pt x="1081" y="88"/>
                    <a:pt x="1081" y="88"/>
                    <a:pt x="1081" y="88"/>
                  </a:cubicBezTo>
                  <a:cubicBezTo>
                    <a:pt x="1081" y="88"/>
                    <a:pt x="1081" y="88"/>
                    <a:pt x="1080" y="88"/>
                  </a:cubicBezTo>
                  <a:close/>
                  <a:moveTo>
                    <a:pt x="1352" y="10"/>
                  </a:moveTo>
                  <a:cubicBezTo>
                    <a:pt x="1353" y="10"/>
                    <a:pt x="1353" y="10"/>
                    <a:pt x="1353" y="10"/>
                  </a:cubicBezTo>
                  <a:cubicBezTo>
                    <a:pt x="1353" y="10"/>
                    <a:pt x="1352" y="10"/>
                    <a:pt x="1352" y="10"/>
                  </a:cubicBezTo>
                  <a:close/>
                  <a:moveTo>
                    <a:pt x="1224" y="88"/>
                  </a:moveTo>
                  <a:cubicBezTo>
                    <a:pt x="1225" y="88"/>
                    <a:pt x="1225" y="88"/>
                    <a:pt x="1225" y="88"/>
                  </a:cubicBezTo>
                  <a:cubicBezTo>
                    <a:pt x="1225" y="88"/>
                    <a:pt x="1225" y="88"/>
                    <a:pt x="1224" y="88"/>
                  </a:cubicBezTo>
                  <a:close/>
                  <a:moveTo>
                    <a:pt x="1258" y="88"/>
                  </a:moveTo>
                  <a:cubicBezTo>
                    <a:pt x="1259" y="88"/>
                    <a:pt x="1259" y="88"/>
                    <a:pt x="1259" y="88"/>
                  </a:cubicBezTo>
                  <a:cubicBezTo>
                    <a:pt x="1259" y="88"/>
                    <a:pt x="1258" y="88"/>
                    <a:pt x="1258" y="88"/>
                  </a:cubicBezTo>
                  <a:close/>
                  <a:moveTo>
                    <a:pt x="1387" y="10"/>
                  </a:moveTo>
                  <a:cubicBezTo>
                    <a:pt x="1387" y="10"/>
                    <a:pt x="1387" y="10"/>
                    <a:pt x="1387" y="10"/>
                  </a:cubicBezTo>
                  <a:cubicBezTo>
                    <a:pt x="1387" y="10"/>
                    <a:pt x="1387" y="10"/>
                    <a:pt x="1387" y="10"/>
                  </a:cubicBezTo>
                  <a:close/>
                  <a:moveTo>
                    <a:pt x="1739" y="10"/>
                  </a:moveTo>
                  <a:cubicBezTo>
                    <a:pt x="1739" y="10"/>
                    <a:pt x="1739" y="10"/>
                    <a:pt x="1739" y="10"/>
                  </a:cubicBezTo>
                  <a:cubicBezTo>
                    <a:pt x="1739" y="10"/>
                    <a:pt x="1739" y="10"/>
                    <a:pt x="1739" y="10"/>
                  </a:cubicBezTo>
                  <a:close/>
                  <a:moveTo>
                    <a:pt x="1425" y="11"/>
                  </a:moveTo>
                  <a:cubicBezTo>
                    <a:pt x="1425" y="11"/>
                    <a:pt x="1425" y="11"/>
                    <a:pt x="1425" y="10"/>
                  </a:cubicBezTo>
                  <a:cubicBezTo>
                    <a:pt x="1425" y="10"/>
                    <a:pt x="1425" y="11"/>
                    <a:pt x="1425" y="11"/>
                  </a:cubicBezTo>
                  <a:close/>
                  <a:moveTo>
                    <a:pt x="1387" y="57"/>
                  </a:moveTo>
                  <a:cubicBezTo>
                    <a:pt x="1387" y="57"/>
                    <a:pt x="1386" y="57"/>
                    <a:pt x="1386" y="57"/>
                  </a:cubicBezTo>
                  <a:cubicBezTo>
                    <a:pt x="1387" y="57"/>
                    <a:pt x="1387" y="57"/>
                    <a:pt x="1387" y="57"/>
                  </a:cubicBezTo>
                  <a:close/>
                  <a:moveTo>
                    <a:pt x="1682" y="88"/>
                  </a:moveTo>
                  <a:cubicBezTo>
                    <a:pt x="1682" y="88"/>
                    <a:pt x="1682" y="88"/>
                    <a:pt x="1682" y="88"/>
                  </a:cubicBezTo>
                  <a:cubicBezTo>
                    <a:pt x="1682" y="88"/>
                    <a:pt x="1682" y="88"/>
                    <a:pt x="1682" y="88"/>
                  </a:cubicBezTo>
                  <a:close/>
                  <a:moveTo>
                    <a:pt x="1556" y="57"/>
                  </a:moveTo>
                  <a:cubicBezTo>
                    <a:pt x="1557" y="57"/>
                    <a:pt x="1557" y="57"/>
                    <a:pt x="1557" y="57"/>
                  </a:cubicBezTo>
                  <a:cubicBezTo>
                    <a:pt x="1557" y="57"/>
                    <a:pt x="1556" y="57"/>
                    <a:pt x="1556" y="57"/>
                  </a:cubicBezTo>
                  <a:close/>
                  <a:moveTo>
                    <a:pt x="1571" y="57"/>
                  </a:moveTo>
                  <a:cubicBezTo>
                    <a:pt x="1571" y="57"/>
                    <a:pt x="1571" y="57"/>
                    <a:pt x="1571" y="57"/>
                  </a:cubicBezTo>
                  <a:cubicBezTo>
                    <a:pt x="1571" y="57"/>
                    <a:pt x="1571" y="57"/>
                    <a:pt x="1571" y="57"/>
                  </a:cubicBezTo>
                  <a:close/>
                  <a:moveTo>
                    <a:pt x="1457" y="10"/>
                  </a:moveTo>
                  <a:cubicBezTo>
                    <a:pt x="1457" y="11"/>
                    <a:pt x="1457" y="11"/>
                    <a:pt x="1457" y="11"/>
                  </a:cubicBezTo>
                  <a:cubicBezTo>
                    <a:pt x="1457" y="11"/>
                    <a:pt x="1457" y="10"/>
                    <a:pt x="1457" y="10"/>
                  </a:cubicBezTo>
                  <a:close/>
                  <a:moveTo>
                    <a:pt x="1724" y="57"/>
                  </a:moveTo>
                  <a:cubicBezTo>
                    <a:pt x="1725" y="57"/>
                    <a:pt x="1725" y="57"/>
                    <a:pt x="1725" y="57"/>
                  </a:cubicBezTo>
                  <a:cubicBezTo>
                    <a:pt x="1725" y="57"/>
                    <a:pt x="1725" y="57"/>
                    <a:pt x="1724" y="57"/>
                  </a:cubicBezTo>
                  <a:close/>
                  <a:moveTo>
                    <a:pt x="751" y="89"/>
                  </a:moveTo>
                  <a:cubicBezTo>
                    <a:pt x="752" y="88"/>
                    <a:pt x="751" y="88"/>
                    <a:pt x="751" y="88"/>
                  </a:cubicBezTo>
                  <a:cubicBezTo>
                    <a:pt x="751" y="88"/>
                    <a:pt x="751" y="89"/>
                    <a:pt x="751" y="89"/>
                  </a:cubicBezTo>
                  <a:close/>
                  <a:moveTo>
                    <a:pt x="798" y="89"/>
                  </a:moveTo>
                  <a:cubicBezTo>
                    <a:pt x="798" y="89"/>
                    <a:pt x="798" y="89"/>
                    <a:pt x="798" y="88"/>
                  </a:cubicBezTo>
                  <a:cubicBezTo>
                    <a:pt x="798" y="88"/>
                    <a:pt x="798" y="88"/>
                    <a:pt x="798" y="89"/>
                  </a:cubicBezTo>
                  <a:close/>
                  <a:moveTo>
                    <a:pt x="1739" y="57"/>
                  </a:moveTo>
                  <a:cubicBezTo>
                    <a:pt x="1739" y="57"/>
                    <a:pt x="1739" y="57"/>
                    <a:pt x="1739" y="57"/>
                  </a:cubicBezTo>
                  <a:cubicBezTo>
                    <a:pt x="1739" y="57"/>
                    <a:pt x="1739" y="57"/>
                    <a:pt x="1739" y="57"/>
                  </a:cubicBezTo>
                  <a:close/>
                  <a:moveTo>
                    <a:pt x="979" y="88"/>
                  </a:moveTo>
                  <a:cubicBezTo>
                    <a:pt x="979" y="89"/>
                    <a:pt x="979" y="89"/>
                    <a:pt x="979" y="89"/>
                  </a:cubicBezTo>
                  <a:cubicBezTo>
                    <a:pt x="979" y="88"/>
                    <a:pt x="979" y="88"/>
                    <a:pt x="979" y="88"/>
                  </a:cubicBezTo>
                  <a:close/>
                  <a:moveTo>
                    <a:pt x="1017" y="89"/>
                  </a:moveTo>
                  <a:cubicBezTo>
                    <a:pt x="1018" y="89"/>
                    <a:pt x="1018" y="89"/>
                    <a:pt x="1018" y="88"/>
                  </a:cubicBezTo>
                  <a:cubicBezTo>
                    <a:pt x="1018" y="88"/>
                    <a:pt x="1018" y="88"/>
                    <a:pt x="1017" y="89"/>
                  </a:cubicBezTo>
                  <a:close/>
                  <a:moveTo>
                    <a:pt x="1047" y="88"/>
                  </a:moveTo>
                  <a:cubicBezTo>
                    <a:pt x="1047" y="89"/>
                    <a:pt x="1047" y="89"/>
                    <a:pt x="1047" y="89"/>
                  </a:cubicBezTo>
                  <a:cubicBezTo>
                    <a:pt x="1047" y="89"/>
                    <a:pt x="1047" y="88"/>
                    <a:pt x="1047" y="88"/>
                  </a:cubicBezTo>
                  <a:close/>
                  <a:moveTo>
                    <a:pt x="577" y="57"/>
                  </a:moveTo>
                  <a:cubicBezTo>
                    <a:pt x="577" y="57"/>
                    <a:pt x="578" y="57"/>
                    <a:pt x="578" y="57"/>
                  </a:cubicBezTo>
                  <a:cubicBezTo>
                    <a:pt x="578" y="57"/>
                    <a:pt x="578" y="57"/>
                    <a:pt x="577" y="57"/>
                  </a:cubicBezTo>
                  <a:close/>
                  <a:moveTo>
                    <a:pt x="548" y="11"/>
                  </a:moveTo>
                  <a:cubicBezTo>
                    <a:pt x="548" y="11"/>
                    <a:pt x="548" y="11"/>
                    <a:pt x="548" y="11"/>
                  </a:cubicBezTo>
                  <a:cubicBezTo>
                    <a:pt x="548" y="11"/>
                    <a:pt x="548" y="11"/>
                    <a:pt x="548" y="11"/>
                  </a:cubicBezTo>
                  <a:close/>
                  <a:moveTo>
                    <a:pt x="1225" y="88"/>
                  </a:moveTo>
                  <a:cubicBezTo>
                    <a:pt x="1225" y="89"/>
                    <a:pt x="1225" y="89"/>
                    <a:pt x="1225" y="89"/>
                  </a:cubicBezTo>
                  <a:cubicBezTo>
                    <a:pt x="1225" y="88"/>
                    <a:pt x="1225" y="88"/>
                    <a:pt x="1225" y="88"/>
                  </a:cubicBezTo>
                  <a:close/>
                  <a:moveTo>
                    <a:pt x="1388" y="11"/>
                  </a:moveTo>
                  <a:cubicBezTo>
                    <a:pt x="1388" y="11"/>
                    <a:pt x="1388" y="11"/>
                    <a:pt x="1388" y="11"/>
                  </a:cubicBezTo>
                  <a:cubicBezTo>
                    <a:pt x="1388" y="11"/>
                    <a:pt x="1388" y="11"/>
                    <a:pt x="1388" y="11"/>
                  </a:cubicBezTo>
                  <a:close/>
                  <a:moveTo>
                    <a:pt x="1386" y="57"/>
                  </a:moveTo>
                  <a:cubicBezTo>
                    <a:pt x="1386" y="57"/>
                    <a:pt x="1386" y="57"/>
                    <a:pt x="1386" y="57"/>
                  </a:cubicBezTo>
                  <a:cubicBezTo>
                    <a:pt x="1386" y="57"/>
                    <a:pt x="1386" y="57"/>
                    <a:pt x="1386" y="57"/>
                  </a:cubicBezTo>
                  <a:close/>
                  <a:moveTo>
                    <a:pt x="1556" y="57"/>
                  </a:moveTo>
                  <a:cubicBezTo>
                    <a:pt x="1556" y="57"/>
                    <a:pt x="1556" y="57"/>
                    <a:pt x="1556" y="57"/>
                  </a:cubicBezTo>
                  <a:cubicBezTo>
                    <a:pt x="1556" y="57"/>
                    <a:pt x="1556" y="57"/>
                    <a:pt x="1556" y="57"/>
                  </a:cubicBezTo>
                  <a:close/>
                  <a:moveTo>
                    <a:pt x="1571" y="57"/>
                  </a:moveTo>
                  <a:cubicBezTo>
                    <a:pt x="1570" y="57"/>
                    <a:pt x="1570" y="57"/>
                    <a:pt x="1570" y="57"/>
                  </a:cubicBezTo>
                  <a:cubicBezTo>
                    <a:pt x="1570" y="57"/>
                    <a:pt x="1570" y="57"/>
                    <a:pt x="1571" y="57"/>
                  </a:cubicBezTo>
                  <a:close/>
                  <a:moveTo>
                    <a:pt x="1424" y="11"/>
                  </a:moveTo>
                  <a:cubicBezTo>
                    <a:pt x="1425" y="11"/>
                    <a:pt x="1425" y="11"/>
                    <a:pt x="1425" y="11"/>
                  </a:cubicBezTo>
                  <a:cubicBezTo>
                    <a:pt x="1425" y="11"/>
                    <a:pt x="1424" y="11"/>
                    <a:pt x="1424" y="11"/>
                  </a:cubicBezTo>
                  <a:close/>
                  <a:moveTo>
                    <a:pt x="1724" y="57"/>
                  </a:moveTo>
                  <a:cubicBezTo>
                    <a:pt x="1724" y="57"/>
                    <a:pt x="1724" y="57"/>
                    <a:pt x="1724" y="57"/>
                  </a:cubicBezTo>
                  <a:cubicBezTo>
                    <a:pt x="1724" y="57"/>
                    <a:pt x="1724" y="57"/>
                    <a:pt x="1724" y="57"/>
                  </a:cubicBezTo>
                  <a:close/>
                  <a:moveTo>
                    <a:pt x="1739" y="57"/>
                  </a:moveTo>
                  <a:cubicBezTo>
                    <a:pt x="1738" y="57"/>
                    <a:pt x="1738" y="57"/>
                    <a:pt x="1738" y="57"/>
                  </a:cubicBezTo>
                  <a:cubicBezTo>
                    <a:pt x="1738" y="57"/>
                    <a:pt x="1739" y="57"/>
                    <a:pt x="1739" y="57"/>
                  </a:cubicBezTo>
                  <a:close/>
                  <a:moveTo>
                    <a:pt x="578" y="57"/>
                  </a:moveTo>
                  <a:cubicBezTo>
                    <a:pt x="578" y="58"/>
                    <a:pt x="578" y="58"/>
                    <a:pt x="578" y="58"/>
                  </a:cubicBezTo>
                  <a:cubicBezTo>
                    <a:pt x="578" y="58"/>
                    <a:pt x="578" y="57"/>
                    <a:pt x="578" y="57"/>
                  </a:cubicBezTo>
                  <a:close/>
                  <a:moveTo>
                    <a:pt x="1498" y="11"/>
                  </a:moveTo>
                  <a:cubicBezTo>
                    <a:pt x="1498" y="11"/>
                    <a:pt x="1498" y="11"/>
                    <a:pt x="1498" y="11"/>
                  </a:cubicBezTo>
                  <a:cubicBezTo>
                    <a:pt x="1498" y="11"/>
                    <a:pt x="1498" y="11"/>
                    <a:pt x="1498" y="11"/>
                  </a:cubicBezTo>
                  <a:close/>
                  <a:moveTo>
                    <a:pt x="1535" y="11"/>
                  </a:moveTo>
                  <a:cubicBezTo>
                    <a:pt x="1536" y="11"/>
                    <a:pt x="1536" y="11"/>
                    <a:pt x="1536" y="11"/>
                  </a:cubicBezTo>
                  <a:cubicBezTo>
                    <a:pt x="1536" y="11"/>
                    <a:pt x="1535" y="11"/>
                    <a:pt x="1535" y="11"/>
                  </a:cubicBezTo>
                  <a:close/>
                  <a:moveTo>
                    <a:pt x="1572" y="11"/>
                  </a:moveTo>
                  <a:cubicBezTo>
                    <a:pt x="1572" y="11"/>
                    <a:pt x="1572" y="11"/>
                    <a:pt x="1572" y="11"/>
                  </a:cubicBezTo>
                  <a:cubicBezTo>
                    <a:pt x="1572" y="11"/>
                    <a:pt x="1572" y="11"/>
                    <a:pt x="1572" y="11"/>
                  </a:cubicBezTo>
                  <a:close/>
                  <a:moveTo>
                    <a:pt x="1034" y="89"/>
                  </a:moveTo>
                  <a:cubicBezTo>
                    <a:pt x="1034" y="89"/>
                    <a:pt x="1034" y="89"/>
                    <a:pt x="1034" y="88"/>
                  </a:cubicBezTo>
                  <a:cubicBezTo>
                    <a:pt x="1034" y="89"/>
                    <a:pt x="1034" y="89"/>
                    <a:pt x="1034" y="89"/>
                  </a:cubicBezTo>
                  <a:close/>
                  <a:moveTo>
                    <a:pt x="1047" y="89"/>
                  </a:moveTo>
                  <a:cubicBezTo>
                    <a:pt x="1047" y="89"/>
                    <a:pt x="1048" y="89"/>
                    <a:pt x="1048" y="89"/>
                  </a:cubicBezTo>
                  <a:cubicBezTo>
                    <a:pt x="1048" y="89"/>
                    <a:pt x="1047" y="89"/>
                    <a:pt x="1047" y="89"/>
                  </a:cubicBezTo>
                  <a:close/>
                  <a:moveTo>
                    <a:pt x="1079" y="89"/>
                  </a:moveTo>
                  <a:cubicBezTo>
                    <a:pt x="1080" y="89"/>
                    <a:pt x="1080" y="89"/>
                    <a:pt x="1080" y="89"/>
                  </a:cubicBezTo>
                  <a:cubicBezTo>
                    <a:pt x="1080" y="89"/>
                    <a:pt x="1080" y="89"/>
                    <a:pt x="1079" y="89"/>
                  </a:cubicBezTo>
                  <a:close/>
                  <a:moveTo>
                    <a:pt x="671" y="57"/>
                  </a:moveTo>
                  <a:cubicBezTo>
                    <a:pt x="671" y="58"/>
                    <a:pt x="672" y="58"/>
                    <a:pt x="672" y="58"/>
                  </a:cubicBezTo>
                  <a:cubicBezTo>
                    <a:pt x="672" y="58"/>
                    <a:pt x="672" y="57"/>
                    <a:pt x="671" y="57"/>
                  </a:cubicBezTo>
                  <a:close/>
                  <a:moveTo>
                    <a:pt x="1225" y="89"/>
                  </a:moveTo>
                  <a:cubicBezTo>
                    <a:pt x="1225" y="89"/>
                    <a:pt x="1225" y="89"/>
                    <a:pt x="1226" y="89"/>
                  </a:cubicBezTo>
                  <a:cubicBezTo>
                    <a:pt x="1226" y="89"/>
                    <a:pt x="1225" y="89"/>
                    <a:pt x="1225" y="89"/>
                  </a:cubicBezTo>
                  <a:close/>
                  <a:moveTo>
                    <a:pt x="1257" y="89"/>
                  </a:moveTo>
                  <a:cubicBezTo>
                    <a:pt x="1257" y="89"/>
                    <a:pt x="1258" y="89"/>
                    <a:pt x="1258" y="89"/>
                  </a:cubicBezTo>
                  <a:cubicBezTo>
                    <a:pt x="1258" y="89"/>
                    <a:pt x="1257" y="89"/>
                    <a:pt x="1257" y="89"/>
                  </a:cubicBezTo>
                  <a:close/>
                  <a:moveTo>
                    <a:pt x="1704" y="11"/>
                  </a:moveTo>
                  <a:cubicBezTo>
                    <a:pt x="1704" y="11"/>
                    <a:pt x="1704" y="11"/>
                    <a:pt x="1704" y="11"/>
                  </a:cubicBezTo>
                  <a:cubicBezTo>
                    <a:pt x="1704" y="11"/>
                    <a:pt x="1704" y="11"/>
                    <a:pt x="1704" y="11"/>
                  </a:cubicBezTo>
                  <a:close/>
                  <a:moveTo>
                    <a:pt x="1740" y="11"/>
                  </a:moveTo>
                  <a:cubicBezTo>
                    <a:pt x="1740" y="11"/>
                    <a:pt x="1740" y="11"/>
                    <a:pt x="1740" y="11"/>
                  </a:cubicBezTo>
                  <a:cubicBezTo>
                    <a:pt x="1740" y="11"/>
                    <a:pt x="1740" y="11"/>
                    <a:pt x="1740" y="11"/>
                  </a:cubicBezTo>
                  <a:close/>
                  <a:moveTo>
                    <a:pt x="1371" y="58"/>
                  </a:moveTo>
                  <a:cubicBezTo>
                    <a:pt x="1371" y="58"/>
                    <a:pt x="1371" y="58"/>
                    <a:pt x="1372" y="57"/>
                  </a:cubicBezTo>
                  <a:cubicBezTo>
                    <a:pt x="1371" y="57"/>
                    <a:pt x="1371" y="58"/>
                    <a:pt x="1371" y="58"/>
                  </a:cubicBezTo>
                  <a:close/>
                  <a:moveTo>
                    <a:pt x="1386" y="57"/>
                  </a:moveTo>
                  <a:cubicBezTo>
                    <a:pt x="1386" y="57"/>
                    <a:pt x="1386" y="57"/>
                    <a:pt x="1386" y="58"/>
                  </a:cubicBezTo>
                  <a:cubicBezTo>
                    <a:pt x="1386" y="58"/>
                    <a:pt x="1386" y="57"/>
                    <a:pt x="1386" y="57"/>
                  </a:cubicBezTo>
                  <a:close/>
                  <a:moveTo>
                    <a:pt x="1388" y="11"/>
                  </a:moveTo>
                  <a:cubicBezTo>
                    <a:pt x="1388" y="11"/>
                    <a:pt x="1388" y="11"/>
                    <a:pt x="1389" y="11"/>
                  </a:cubicBezTo>
                  <a:cubicBezTo>
                    <a:pt x="1388" y="11"/>
                    <a:pt x="1388" y="11"/>
                    <a:pt x="1388" y="11"/>
                  </a:cubicBezTo>
                  <a:close/>
                  <a:moveTo>
                    <a:pt x="1570" y="57"/>
                  </a:moveTo>
                  <a:cubicBezTo>
                    <a:pt x="1570" y="57"/>
                    <a:pt x="1570" y="57"/>
                    <a:pt x="1570" y="58"/>
                  </a:cubicBezTo>
                  <a:cubicBezTo>
                    <a:pt x="1570" y="58"/>
                    <a:pt x="1570" y="57"/>
                    <a:pt x="1570" y="57"/>
                  </a:cubicBezTo>
                  <a:close/>
                  <a:moveTo>
                    <a:pt x="661" y="89"/>
                  </a:moveTo>
                  <a:cubicBezTo>
                    <a:pt x="661" y="89"/>
                    <a:pt x="661" y="89"/>
                    <a:pt x="661" y="89"/>
                  </a:cubicBezTo>
                  <a:cubicBezTo>
                    <a:pt x="661" y="89"/>
                    <a:pt x="661" y="89"/>
                    <a:pt x="661" y="89"/>
                  </a:cubicBezTo>
                  <a:close/>
                  <a:moveTo>
                    <a:pt x="687" y="89"/>
                  </a:moveTo>
                  <a:cubicBezTo>
                    <a:pt x="687" y="89"/>
                    <a:pt x="687" y="89"/>
                    <a:pt x="687" y="89"/>
                  </a:cubicBezTo>
                  <a:cubicBezTo>
                    <a:pt x="687" y="89"/>
                    <a:pt x="687" y="89"/>
                    <a:pt x="687" y="89"/>
                  </a:cubicBezTo>
                  <a:close/>
                  <a:moveTo>
                    <a:pt x="766" y="89"/>
                  </a:moveTo>
                  <a:cubicBezTo>
                    <a:pt x="766" y="89"/>
                    <a:pt x="766" y="89"/>
                    <a:pt x="766" y="89"/>
                  </a:cubicBezTo>
                  <a:cubicBezTo>
                    <a:pt x="766" y="89"/>
                    <a:pt x="766" y="89"/>
                    <a:pt x="766" y="89"/>
                  </a:cubicBezTo>
                  <a:close/>
                  <a:moveTo>
                    <a:pt x="797" y="89"/>
                  </a:moveTo>
                  <a:cubicBezTo>
                    <a:pt x="797" y="89"/>
                    <a:pt x="797" y="89"/>
                    <a:pt x="797" y="89"/>
                  </a:cubicBezTo>
                  <a:cubicBezTo>
                    <a:pt x="797" y="89"/>
                    <a:pt x="797" y="89"/>
                    <a:pt x="797" y="89"/>
                  </a:cubicBezTo>
                  <a:close/>
                  <a:moveTo>
                    <a:pt x="1672" y="11"/>
                  </a:moveTo>
                  <a:cubicBezTo>
                    <a:pt x="1673" y="11"/>
                    <a:pt x="1673" y="11"/>
                    <a:pt x="1673" y="11"/>
                  </a:cubicBezTo>
                  <a:cubicBezTo>
                    <a:pt x="1673" y="11"/>
                    <a:pt x="1673" y="11"/>
                    <a:pt x="1672" y="11"/>
                  </a:cubicBezTo>
                  <a:close/>
                  <a:moveTo>
                    <a:pt x="546" y="12"/>
                  </a:moveTo>
                  <a:cubicBezTo>
                    <a:pt x="547" y="12"/>
                    <a:pt x="547" y="12"/>
                    <a:pt x="547" y="11"/>
                  </a:cubicBezTo>
                  <a:cubicBezTo>
                    <a:pt x="547" y="11"/>
                    <a:pt x="547" y="12"/>
                    <a:pt x="546" y="12"/>
                  </a:cubicBezTo>
                  <a:close/>
                  <a:moveTo>
                    <a:pt x="1738" y="57"/>
                  </a:moveTo>
                  <a:cubicBezTo>
                    <a:pt x="1738" y="57"/>
                    <a:pt x="1738" y="57"/>
                    <a:pt x="1738" y="58"/>
                  </a:cubicBezTo>
                  <a:cubicBezTo>
                    <a:pt x="1738" y="58"/>
                    <a:pt x="1738" y="57"/>
                    <a:pt x="1738" y="57"/>
                  </a:cubicBezTo>
                  <a:close/>
                  <a:moveTo>
                    <a:pt x="1048" y="89"/>
                  </a:moveTo>
                  <a:cubicBezTo>
                    <a:pt x="1048" y="89"/>
                    <a:pt x="1048" y="89"/>
                    <a:pt x="1048" y="89"/>
                  </a:cubicBezTo>
                  <a:cubicBezTo>
                    <a:pt x="1048" y="89"/>
                    <a:pt x="1048" y="89"/>
                    <a:pt x="1048" y="89"/>
                  </a:cubicBezTo>
                  <a:close/>
                  <a:moveTo>
                    <a:pt x="1350" y="12"/>
                  </a:moveTo>
                  <a:cubicBezTo>
                    <a:pt x="1350" y="12"/>
                    <a:pt x="1351" y="12"/>
                    <a:pt x="1351" y="11"/>
                  </a:cubicBezTo>
                  <a:cubicBezTo>
                    <a:pt x="1350" y="11"/>
                    <a:pt x="1350" y="12"/>
                    <a:pt x="1350" y="12"/>
                  </a:cubicBezTo>
                  <a:close/>
                  <a:moveTo>
                    <a:pt x="1458" y="11"/>
                  </a:moveTo>
                  <a:cubicBezTo>
                    <a:pt x="1458" y="12"/>
                    <a:pt x="1458" y="12"/>
                    <a:pt x="1458" y="12"/>
                  </a:cubicBezTo>
                  <a:cubicBezTo>
                    <a:pt x="1458" y="12"/>
                    <a:pt x="1458" y="11"/>
                    <a:pt x="1458" y="11"/>
                  </a:cubicBezTo>
                  <a:close/>
                  <a:moveTo>
                    <a:pt x="1226" y="89"/>
                  </a:moveTo>
                  <a:cubicBezTo>
                    <a:pt x="1226" y="89"/>
                    <a:pt x="1226" y="89"/>
                    <a:pt x="1226" y="89"/>
                  </a:cubicBezTo>
                  <a:cubicBezTo>
                    <a:pt x="1226" y="89"/>
                    <a:pt x="1226" y="89"/>
                    <a:pt x="1226" y="89"/>
                  </a:cubicBezTo>
                  <a:close/>
                  <a:moveTo>
                    <a:pt x="1497" y="12"/>
                  </a:moveTo>
                  <a:cubicBezTo>
                    <a:pt x="1497" y="12"/>
                    <a:pt x="1497" y="12"/>
                    <a:pt x="1497" y="11"/>
                  </a:cubicBezTo>
                  <a:cubicBezTo>
                    <a:pt x="1497" y="11"/>
                    <a:pt x="1497" y="12"/>
                    <a:pt x="1497" y="12"/>
                  </a:cubicBezTo>
                  <a:close/>
                  <a:moveTo>
                    <a:pt x="672" y="58"/>
                  </a:moveTo>
                  <a:cubicBezTo>
                    <a:pt x="672" y="58"/>
                    <a:pt x="672" y="58"/>
                    <a:pt x="672" y="58"/>
                  </a:cubicBezTo>
                  <a:cubicBezTo>
                    <a:pt x="672" y="58"/>
                    <a:pt x="672" y="58"/>
                    <a:pt x="672" y="58"/>
                  </a:cubicBezTo>
                  <a:close/>
                  <a:moveTo>
                    <a:pt x="1674" y="54"/>
                  </a:moveTo>
                  <a:cubicBezTo>
                    <a:pt x="1673" y="54"/>
                    <a:pt x="1673" y="54"/>
                    <a:pt x="1673" y="54"/>
                  </a:cubicBezTo>
                  <a:cubicBezTo>
                    <a:pt x="1673" y="54"/>
                    <a:pt x="1674" y="54"/>
                    <a:pt x="1674" y="54"/>
                  </a:cubicBezTo>
                  <a:close/>
                  <a:moveTo>
                    <a:pt x="1534" y="12"/>
                  </a:moveTo>
                  <a:cubicBezTo>
                    <a:pt x="1535" y="12"/>
                    <a:pt x="1535" y="12"/>
                    <a:pt x="1535" y="11"/>
                  </a:cubicBezTo>
                  <a:cubicBezTo>
                    <a:pt x="1535" y="11"/>
                    <a:pt x="1534" y="12"/>
                    <a:pt x="1534" y="12"/>
                  </a:cubicBezTo>
                  <a:close/>
                  <a:moveTo>
                    <a:pt x="1573" y="11"/>
                  </a:moveTo>
                  <a:cubicBezTo>
                    <a:pt x="1573" y="12"/>
                    <a:pt x="1573" y="12"/>
                    <a:pt x="1573" y="12"/>
                  </a:cubicBezTo>
                  <a:cubicBezTo>
                    <a:pt x="1573" y="12"/>
                    <a:pt x="1573" y="11"/>
                    <a:pt x="1573" y="11"/>
                  </a:cubicBezTo>
                  <a:close/>
                  <a:moveTo>
                    <a:pt x="1703" y="12"/>
                  </a:moveTo>
                  <a:cubicBezTo>
                    <a:pt x="1703" y="12"/>
                    <a:pt x="1703" y="12"/>
                    <a:pt x="1703" y="11"/>
                  </a:cubicBezTo>
                  <a:cubicBezTo>
                    <a:pt x="1703" y="11"/>
                    <a:pt x="1703" y="12"/>
                    <a:pt x="1703" y="12"/>
                  </a:cubicBezTo>
                  <a:close/>
                  <a:moveTo>
                    <a:pt x="1423" y="12"/>
                  </a:moveTo>
                  <a:cubicBezTo>
                    <a:pt x="1423" y="12"/>
                    <a:pt x="1423" y="12"/>
                    <a:pt x="1423" y="12"/>
                  </a:cubicBezTo>
                  <a:cubicBezTo>
                    <a:pt x="1423" y="12"/>
                    <a:pt x="1423" y="12"/>
                    <a:pt x="1423" y="12"/>
                  </a:cubicBezTo>
                  <a:close/>
                  <a:moveTo>
                    <a:pt x="1371" y="58"/>
                  </a:moveTo>
                  <a:cubicBezTo>
                    <a:pt x="1371" y="58"/>
                    <a:pt x="1371" y="58"/>
                    <a:pt x="1371" y="58"/>
                  </a:cubicBezTo>
                  <a:cubicBezTo>
                    <a:pt x="1371" y="58"/>
                    <a:pt x="1371" y="58"/>
                    <a:pt x="1371" y="58"/>
                  </a:cubicBezTo>
                  <a:close/>
                  <a:moveTo>
                    <a:pt x="1386" y="58"/>
                  </a:moveTo>
                  <a:cubicBezTo>
                    <a:pt x="1385" y="58"/>
                    <a:pt x="1385" y="58"/>
                    <a:pt x="1385" y="58"/>
                  </a:cubicBezTo>
                  <a:cubicBezTo>
                    <a:pt x="1385" y="58"/>
                    <a:pt x="1386" y="58"/>
                    <a:pt x="1386" y="58"/>
                  </a:cubicBezTo>
                  <a:close/>
                  <a:moveTo>
                    <a:pt x="766" y="89"/>
                  </a:moveTo>
                  <a:cubicBezTo>
                    <a:pt x="766" y="90"/>
                    <a:pt x="766" y="90"/>
                    <a:pt x="766" y="90"/>
                  </a:cubicBezTo>
                  <a:cubicBezTo>
                    <a:pt x="766" y="90"/>
                    <a:pt x="766" y="89"/>
                    <a:pt x="766" y="89"/>
                  </a:cubicBezTo>
                  <a:close/>
                  <a:moveTo>
                    <a:pt x="1555" y="58"/>
                  </a:moveTo>
                  <a:cubicBezTo>
                    <a:pt x="1555" y="58"/>
                    <a:pt x="1555" y="58"/>
                    <a:pt x="1555" y="58"/>
                  </a:cubicBezTo>
                  <a:cubicBezTo>
                    <a:pt x="1555" y="58"/>
                    <a:pt x="1555" y="58"/>
                    <a:pt x="1555" y="58"/>
                  </a:cubicBezTo>
                  <a:close/>
                  <a:moveTo>
                    <a:pt x="962" y="90"/>
                  </a:moveTo>
                  <a:cubicBezTo>
                    <a:pt x="962" y="89"/>
                    <a:pt x="962" y="89"/>
                    <a:pt x="962" y="89"/>
                  </a:cubicBezTo>
                  <a:cubicBezTo>
                    <a:pt x="962" y="89"/>
                    <a:pt x="962" y="90"/>
                    <a:pt x="962" y="90"/>
                  </a:cubicBezTo>
                  <a:close/>
                  <a:moveTo>
                    <a:pt x="1570" y="58"/>
                  </a:moveTo>
                  <a:cubicBezTo>
                    <a:pt x="1570" y="58"/>
                    <a:pt x="1570" y="58"/>
                    <a:pt x="1569" y="58"/>
                  </a:cubicBezTo>
                  <a:cubicBezTo>
                    <a:pt x="1570" y="58"/>
                    <a:pt x="1570" y="58"/>
                    <a:pt x="1570" y="58"/>
                  </a:cubicBezTo>
                  <a:close/>
                  <a:moveTo>
                    <a:pt x="1458" y="12"/>
                  </a:moveTo>
                  <a:cubicBezTo>
                    <a:pt x="1458" y="12"/>
                    <a:pt x="1459" y="12"/>
                    <a:pt x="1459" y="12"/>
                  </a:cubicBezTo>
                  <a:cubicBezTo>
                    <a:pt x="1459" y="12"/>
                    <a:pt x="1459" y="12"/>
                    <a:pt x="1458" y="12"/>
                  </a:cubicBezTo>
                  <a:close/>
                  <a:moveTo>
                    <a:pt x="1723" y="58"/>
                  </a:moveTo>
                  <a:cubicBezTo>
                    <a:pt x="1723" y="58"/>
                    <a:pt x="1723" y="58"/>
                    <a:pt x="1723" y="58"/>
                  </a:cubicBezTo>
                  <a:cubicBezTo>
                    <a:pt x="1723" y="58"/>
                    <a:pt x="1723" y="58"/>
                    <a:pt x="1723" y="58"/>
                  </a:cubicBezTo>
                  <a:close/>
                  <a:moveTo>
                    <a:pt x="1738" y="58"/>
                  </a:moveTo>
                  <a:cubicBezTo>
                    <a:pt x="1738" y="58"/>
                    <a:pt x="1738" y="58"/>
                    <a:pt x="1738" y="58"/>
                  </a:cubicBezTo>
                  <a:cubicBezTo>
                    <a:pt x="1738" y="58"/>
                    <a:pt x="1738" y="58"/>
                    <a:pt x="1738" y="58"/>
                  </a:cubicBezTo>
                  <a:close/>
                  <a:moveTo>
                    <a:pt x="672" y="58"/>
                  </a:moveTo>
                  <a:cubicBezTo>
                    <a:pt x="672" y="58"/>
                    <a:pt x="672" y="58"/>
                    <a:pt x="672" y="58"/>
                  </a:cubicBezTo>
                  <a:cubicBezTo>
                    <a:pt x="672" y="58"/>
                    <a:pt x="672" y="58"/>
                    <a:pt x="672" y="58"/>
                  </a:cubicBezTo>
                  <a:close/>
                  <a:moveTo>
                    <a:pt x="1212" y="90"/>
                  </a:moveTo>
                  <a:cubicBezTo>
                    <a:pt x="1212" y="89"/>
                    <a:pt x="1212" y="89"/>
                    <a:pt x="1212" y="89"/>
                  </a:cubicBezTo>
                  <a:cubicBezTo>
                    <a:pt x="1212" y="89"/>
                    <a:pt x="1212" y="90"/>
                    <a:pt x="1212" y="90"/>
                  </a:cubicBezTo>
                  <a:close/>
                  <a:moveTo>
                    <a:pt x="1534" y="12"/>
                  </a:moveTo>
                  <a:cubicBezTo>
                    <a:pt x="1534" y="12"/>
                    <a:pt x="1534" y="12"/>
                    <a:pt x="1534" y="12"/>
                  </a:cubicBezTo>
                  <a:cubicBezTo>
                    <a:pt x="1534" y="12"/>
                    <a:pt x="1534" y="12"/>
                    <a:pt x="1534" y="12"/>
                  </a:cubicBezTo>
                  <a:close/>
                  <a:moveTo>
                    <a:pt x="1573" y="12"/>
                  </a:moveTo>
                  <a:cubicBezTo>
                    <a:pt x="1573" y="12"/>
                    <a:pt x="1573" y="12"/>
                    <a:pt x="1574" y="12"/>
                  </a:cubicBezTo>
                  <a:cubicBezTo>
                    <a:pt x="1574" y="12"/>
                    <a:pt x="1573" y="12"/>
                    <a:pt x="1573" y="12"/>
                  </a:cubicBezTo>
                  <a:close/>
                  <a:moveTo>
                    <a:pt x="1416" y="90"/>
                  </a:moveTo>
                  <a:cubicBezTo>
                    <a:pt x="1416" y="89"/>
                    <a:pt x="1416" y="89"/>
                    <a:pt x="1416" y="89"/>
                  </a:cubicBezTo>
                  <a:cubicBezTo>
                    <a:pt x="1416" y="89"/>
                    <a:pt x="1416" y="90"/>
                    <a:pt x="1416" y="90"/>
                  </a:cubicBezTo>
                  <a:close/>
                  <a:moveTo>
                    <a:pt x="1463" y="89"/>
                  </a:moveTo>
                  <a:cubicBezTo>
                    <a:pt x="1463" y="89"/>
                    <a:pt x="1463" y="89"/>
                    <a:pt x="1463" y="90"/>
                  </a:cubicBezTo>
                  <a:cubicBezTo>
                    <a:pt x="1463" y="90"/>
                    <a:pt x="1463" y="89"/>
                    <a:pt x="1463" y="89"/>
                  </a:cubicBezTo>
                  <a:close/>
                  <a:moveTo>
                    <a:pt x="1702" y="12"/>
                  </a:moveTo>
                  <a:cubicBezTo>
                    <a:pt x="1702" y="12"/>
                    <a:pt x="1702" y="12"/>
                    <a:pt x="1703" y="12"/>
                  </a:cubicBezTo>
                  <a:cubicBezTo>
                    <a:pt x="1702" y="12"/>
                    <a:pt x="1702" y="12"/>
                    <a:pt x="1702" y="12"/>
                  </a:cubicBezTo>
                  <a:close/>
                  <a:moveTo>
                    <a:pt x="1741" y="12"/>
                  </a:moveTo>
                  <a:cubicBezTo>
                    <a:pt x="1741" y="12"/>
                    <a:pt x="1742" y="12"/>
                    <a:pt x="1742" y="12"/>
                  </a:cubicBezTo>
                  <a:cubicBezTo>
                    <a:pt x="1742" y="12"/>
                    <a:pt x="1742" y="12"/>
                    <a:pt x="1741" y="12"/>
                  </a:cubicBezTo>
                  <a:close/>
                  <a:moveTo>
                    <a:pt x="1555" y="58"/>
                  </a:moveTo>
                  <a:cubicBezTo>
                    <a:pt x="1555" y="58"/>
                    <a:pt x="1555" y="58"/>
                    <a:pt x="1555" y="58"/>
                  </a:cubicBezTo>
                  <a:cubicBezTo>
                    <a:pt x="1555" y="58"/>
                    <a:pt x="1555" y="58"/>
                    <a:pt x="1555" y="58"/>
                  </a:cubicBezTo>
                  <a:close/>
                  <a:moveTo>
                    <a:pt x="1569" y="58"/>
                  </a:moveTo>
                  <a:cubicBezTo>
                    <a:pt x="1569" y="58"/>
                    <a:pt x="1569" y="58"/>
                    <a:pt x="1569" y="58"/>
                  </a:cubicBezTo>
                  <a:cubicBezTo>
                    <a:pt x="1569" y="58"/>
                    <a:pt x="1569" y="58"/>
                    <a:pt x="1569" y="58"/>
                  </a:cubicBezTo>
                  <a:close/>
                  <a:moveTo>
                    <a:pt x="963" y="90"/>
                  </a:moveTo>
                  <a:cubicBezTo>
                    <a:pt x="962" y="90"/>
                    <a:pt x="962" y="90"/>
                    <a:pt x="962" y="90"/>
                  </a:cubicBezTo>
                  <a:cubicBezTo>
                    <a:pt x="962" y="90"/>
                    <a:pt x="962" y="90"/>
                    <a:pt x="963" y="90"/>
                  </a:cubicBezTo>
                  <a:close/>
                  <a:moveTo>
                    <a:pt x="974" y="12"/>
                  </a:moveTo>
                  <a:cubicBezTo>
                    <a:pt x="974" y="12"/>
                    <a:pt x="974" y="12"/>
                    <a:pt x="974" y="12"/>
                  </a:cubicBezTo>
                  <a:cubicBezTo>
                    <a:pt x="974" y="12"/>
                    <a:pt x="974" y="12"/>
                    <a:pt x="974" y="12"/>
                  </a:cubicBezTo>
                  <a:close/>
                  <a:moveTo>
                    <a:pt x="1723" y="58"/>
                  </a:moveTo>
                  <a:cubicBezTo>
                    <a:pt x="1723" y="58"/>
                    <a:pt x="1723" y="58"/>
                    <a:pt x="1723" y="58"/>
                  </a:cubicBezTo>
                  <a:cubicBezTo>
                    <a:pt x="1723" y="58"/>
                    <a:pt x="1723" y="58"/>
                    <a:pt x="1723" y="58"/>
                  </a:cubicBezTo>
                  <a:close/>
                  <a:moveTo>
                    <a:pt x="1738" y="58"/>
                  </a:moveTo>
                  <a:cubicBezTo>
                    <a:pt x="1737" y="58"/>
                    <a:pt x="1737" y="58"/>
                    <a:pt x="1737" y="58"/>
                  </a:cubicBezTo>
                  <a:cubicBezTo>
                    <a:pt x="1737" y="58"/>
                    <a:pt x="1738" y="58"/>
                    <a:pt x="1738" y="58"/>
                  </a:cubicBezTo>
                  <a:close/>
                  <a:moveTo>
                    <a:pt x="1049" y="90"/>
                  </a:moveTo>
                  <a:cubicBezTo>
                    <a:pt x="1049" y="90"/>
                    <a:pt x="1049" y="90"/>
                    <a:pt x="1049" y="90"/>
                  </a:cubicBezTo>
                  <a:cubicBezTo>
                    <a:pt x="1049" y="90"/>
                    <a:pt x="1049" y="90"/>
                    <a:pt x="1049" y="90"/>
                  </a:cubicBezTo>
                  <a:close/>
                  <a:moveTo>
                    <a:pt x="1078" y="90"/>
                  </a:moveTo>
                  <a:cubicBezTo>
                    <a:pt x="1078" y="90"/>
                    <a:pt x="1078" y="90"/>
                    <a:pt x="1078" y="90"/>
                  </a:cubicBezTo>
                  <a:cubicBezTo>
                    <a:pt x="1078" y="90"/>
                    <a:pt x="1078" y="90"/>
                    <a:pt x="1078" y="90"/>
                  </a:cubicBezTo>
                  <a:close/>
                  <a:moveTo>
                    <a:pt x="579" y="58"/>
                  </a:moveTo>
                  <a:cubicBezTo>
                    <a:pt x="579" y="59"/>
                    <a:pt x="579" y="59"/>
                    <a:pt x="580" y="59"/>
                  </a:cubicBezTo>
                  <a:cubicBezTo>
                    <a:pt x="579" y="59"/>
                    <a:pt x="579" y="58"/>
                    <a:pt x="579" y="58"/>
                  </a:cubicBezTo>
                  <a:close/>
                  <a:moveTo>
                    <a:pt x="1349" y="12"/>
                  </a:moveTo>
                  <a:cubicBezTo>
                    <a:pt x="1349" y="12"/>
                    <a:pt x="1350" y="12"/>
                    <a:pt x="1350" y="12"/>
                  </a:cubicBezTo>
                  <a:cubicBezTo>
                    <a:pt x="1349" y="12"/>
                    <a:pt x="1349" y="12"/>
                    <a:pt x="1349" y="12"/>
                  </a:cubicBezTo>
                  <a:close/>
                  <a:moveTo>
                    <a:pt x="1389" y="12"/>
                  </a:moveTo>
                  <a:cubicBezTo>
                    <a:pt x="1390" y="12"/>
                    <a:pt x="1390" y="12"/>
                    <a:pt x="1390" y="12"/>
                  </a:cubicBezTo>
                  <a:cubicBezTo>
                    <a:pt x="1390" y="12"/>
                    <a:pt x="1390" y="12"/>
                    <a:pt x="1389" y="12"/>
                  </a:cubicBezTo>
                  <a:close/>
                  <a:moveTo>
                    <a:pt x="1423" y="12"/>
                  </a:moveTo>
                  <a:cubicBezTo>
                    <a:pt x="1423" y="12"/>
                    <a:pt x="1423" y="12"/>
                    <a:pt x="1423" y="12"/>
                  </a:cubicBezTo>
                  <a:cubicBezTo>
                    <a:pt x="1423" y="12"/>
                    <a:pt x="1423" y="12"/>
                    <a:pt x="1423" y="12"/>
                  </a:cubicBezTo>
                  <a:close/>
                  <a:moveTo>
                    <a:pt x="672" y="58"/>
                  </a:moveTo>
                  <a:cubicBezTo>
                    <a:pt x="673" y="59"/>
                    <a:pt x="673" y="59"/>
                    <a:pt x="673" y="59"/>
                  </a:cubicBezTo>
                  <a:cubicBezTo>
                    <a:pt x="673" y="59"/>
                    <a:pt x="673" y="58"/>
                    <a:pt x="672" y="58"/>
                  </a:cubicBezTo>
                  <a:close/>
                  <a:moveTo>
                    <a:pt x="1459" y="12"/>
                  </a:moveTo>
                  <a:cubicBezTo>
                    <a:pt x="1459" y="12"/>
                    <a:pt x="1459" y="12"/>
                    <a:pt x="1459" y="12"/>
                  </a:cubicBezTo>
                  <a:cubicBezTo>
                    <a:pt x="1459" y="12"/>
                    <a:pt x="1459" y="12"/>
                    <a:pt x="1459" y="12"/>
                  </a:cubicBezTo>
                  <a:close/>
                  <a:moveTo>
                    <a:pt x="1574" y="12"/>
                  </a:moveTo>
                  <a:cubicBezTo>
                    <a:pt x="1574" y="12"/>
                    <a:pt x="1574" y="12"/>
                    <a:pt x="1574" y="12"/>
                  </a:cubicBezTo>
                  <a:cubicBezTo>
                    <a:pt x="1574" y="12"/>
                    <a:pt x="1574" y="12"/>
                    <a:pt x="1574" y="12"/>
                  </a:cubicBezTo>
                  <a:close/>
                  <a:moveTo>
                    <a:pt x="586" y="90"/>
                  </a:moveTo>
                  <a:cubicBezTo>
                    <a:pt x="586" y="90"/>
                    <a:pt x="586" y="90"/>
                    <a:pt x="586" y="90"/>
                  </a:cubicBezTo>
                  <a:cubicBezTo>
                    <a:pt x="586" y="90"/>
                    <a:pt x="586" y="90"/>
                    <a:pt x="586" y="90"/>
                  </a:cubicBezTo>
                  <a:close/>
                  <a:moveTo>
                    <a:pt x="1370" y="59"/>
                  </a:moveTo>
                  <a:cubicBezTo>
                    <a:pt x="1370" y="59"/>
                    <a:pt x="1370" y="59"/>
                    <a:pt x="1370" y="58"/>
                  </a:cubicBezTo>
                  <a:cubicBezTo>
                    <a:pt x="1370" y="58"/>
                    <a:pt x="1370" y="59"/>
                    <a:pt x="1370" y="59"/>
                  </a:cubicBezTo>
                  <a:close/>
                  <a:moveTo>
                    <a:pt x="662" y="90"/>
                  </a:moveTo>
                  <a:cubicBezTo>
                    <a:pt x="662" y="90"/>
                    <a:pt x="663" y="90"/>
                    <a:pt x="663" y="90"/>
                  </a:cubicBezTo>
                  <a:cubicBezTo>
                    <a:pt x="663" y="90"/>
                    <a:pt x="663" y="90"/>
                    <a:pt x="662" y="90"/>
                  </a:cubicBezTo>
                  <a:close/>
                  <a:moveTo>
                    <a:pt x="686" y="90"/>
                  </a:moveTo>
                  <a:cubicBezTo>
                    <a:pt x="687" y="90"/>
                    <a:pt x="687" y="90"/>
                    <a:pt x="687" y="90"/>
                  </a:cubicBezTo>
                  <a:cubicBezTo>
                    <a:pt x="687" y="90"/>
                    <a:pt x="686" y="90"/>
                    <a:pt x="686" y="90"/>
                  </a:cubicBezTo>
                  <a:close/>
                  <a:moveTo>
                    <a:pt x="1674" y="12"/>
                  </a:moveTo>
                  <a:cubicBezTo>
                    <a:pt x="1674" y="12"/>
                    <a:pt x="1674" y="12"/>
                    <a:pt x="1675" y="12"/>
                  </a:cubicBezTo>
                  <a:cubicBezTo>
                    <a:pt x="1675" y="12"/>
                    <a:pt x="1674" y="12"/>
                    <a:pt x="1674" y="12"/>
                  </a:cubicBezTo>
                  <a:close/>
                  <a:moveTo>
                    <a:pt x="1569" y="58"/>
                  </a:moveTo>
                  <a:cubicBezTo>
                    <a:pt x="1569" y="58"/>
                    <a:pt x="1569" y="58"/>
                    <a:pt x="1569" y="59"/>
                  </a:cubicBezTo>
                  <a:cubicBezTo>
                    <a:pt x="1569" y="59"/>
                    <a:pt x="1569" y="58"/>
                    <a:pt x="1569" y="58"/>
                  </a:cubicBezTo>
                  <a:close/>
                  <a:moveTo>
                    <a:pt x="1742" y="12"/>
                  </a:moveTo>
                  <a:cubicBezTo>
                    <a:pt x="1742" y="12"/>
                    <a:pt x="1742" y="12"/>
                    <a:pt x="1742" y="12"/>
                  </a:cubicBezTo>
                  <a:cubicBezTo>
                    <a:pt x="1742" y="12"/>
                    <a:pt x="1742" y="12"/>
                    <a:pt x="1742" y="12"/>
                  </a:cubicBezTo>
                  <a:close/>
                  <a:moveTo>
                    <a:pt x="545" y="13"/>
                  </a:moveTo>
                  <a:cubicBezTo>
                    <a:pt x="545" y="13"/>
                    <a:pt x="545" y="13"/>
                    <a:pt x="546" y="12"/>
                  </a:cubicBezTo>
                  <a:cubicBezTo>
                    <a:pt x="545" y="12"/>
                    <a:pt x="545" y="13"/>
                    <a:pt x="545" y="13"/>
                  </a:cubicBezTo>
                  <a:close/>
                  <a:moveTo>
                    <a:pt x="963" y="90"/>
                  </a:moveTo>
                  <a:cubicBezTo>
                    <a:pt x="963" y="90"/>
                    <a:pt x="963" y="90"/>
                    <a:pt x="962" y="90"/>
                  </a:cubicBezTo>
                  <a:cubicBezTo>
                    <a:pt x="963" y="90"/>
                    <a:pt x="963" y="90"/>
                    <a:pt x="963" y="90"/>
                  </a:cubicBezTo>
                  <a:close/>
                  <a:moveTo>
                    <a:pt x="1737" y="58"/>
                  </a:moveTo>
                  <a:cubicBezTo>
                    <a:pt x="1737" y="58"/>
                    <a:pt x="1737" y="58"/>
                    <a:pt x="1737" y="59"/>
                  </a:cubicBezTo>
                  <a:cubicBezTo>
                    <a:pt x="1737" y="59"/>
                    <a:pt x="1737" y="58"/>
                    <a:pt x="1737" y="58"/>
                  </a:cubicBezTo>
                  <a:close/>
                  <a:moveTo>
                    <a:pt x="580" y="59"/>
                  </a:moveTo>
                  <a:cubicBezTo>
                    <a:pt x="580" y="59"/>
                    <a:pt x="580" y="59"/>
                    <a:pt x="580" y="59"/>
                  </a:cubicBezTo>
                  <a:cubicBezTo>
                    <a:pt x="580" y="59"/>
                    <a:pt x="580" y="59"/>
                    <a:pt x="580" y="59"/>
                  </a:cubicBezTo>
                  <a:close/>
                  <a:moveTo>
                    <a:pt x="1049" y="90"/>
                  </a:moveTo>
                  <a:cubicBezTo>
                    <a:pt x="1049" y="90"/>
                    <a:pt x="1049" y="90"/>
                    <a:pt x="1049" y="90"/>
                  </a:cubicBezTo>
                  <a:cubicBezTo>
                    <a:pt x="1049" y="90"/>
                    <a:pt x="1049" y="90"/>
                    <a:pt x="1049" y="90"/>
                  </a:cubicBezTo>
                  <a:close/>
                  <a:moveTo>
                    <a:pt x="1077" y="90"/>
                  </a:moveTo>
                  <a:cubicBezTo>
                    <a:pt x="1077" y="90"/>
                    <a:pt x="1077" y="90"/>
                    <a:pt x="1077" y="90"/>
                  </a:cubicBezTo>
                  <a:cubicBezTo>
                    <a:pt x="1077" y="90"/>
                    <a:pt x="1077" y="90"/>
                    <a:pt x="1077" y="90"/>
                  </a:cubicBezTo>
                  <a:close/>
                  <a:moveTo>
                    <a:pt x="1227" y="90"/>
                  </a:moveTo>
                  <a:cubicBezTo>
                    <a:pt x="1227" y="90"/>
                    <a:pt x="1227" y="90"/>
                    <a:pt x="1227" y="90"/>
                  </a:cubicBezTo>
                  <a:cubicBezTo>
                    <a:pt x="1227" y="90"/>
                    <a:pt x="1227" y="90"/>
                    <a:pt x="1227" y="90"/>
                  </a:cubicBezTo>
                  <a:close/>
                  <a:moveTo>
                    <a:pt x="1255" y="90"/>
                  </a:moveTo>
                  <a:cubicBezTo>
                    <a:pt x="1255" y="90"/>
                    <a:pt x="1255" y="90"/>
                    <a:pt x="1255" y="90"/>
                  </a:cubicBezTo>
                  <a:cubicBezTo>
                    <a:pt x="1255" y="90"/>
                    <a:pt x="1255" y="90"/>
                    <a:pt x="1255" y="90"/>
                  </a:cubicBezTo>
                  <a:close/>
                  <a:moveTo>
                    <a:pt x="1349" y="13"/>
                  </a:moveTo>
                  <a:cubicBezTo>
                    <a:pt x="1349" y="13"/>
                    <a:pt x="1349" y="13"/>
                    <a:pt x="1349" y="12"/>
                  </a:cubicBezTo>
                  <a:cubicBezTo>
                    <a:pt x="1349" y="13"/>
                    <a:pt x="1349" y="13"/>
                    <a:pt x="1349" y="13"/>
                  </a:cubicBezTo>
                  <a:close/>
                  <a:moveTo>
                    <a:pt x="1390" y="12"/>
                  </a:moveTo>
                  <a:cubicBezTo>
                    <a:pt x="1390" y="13"/>
                    <a:pt x="1390" y="13"/>
                    <a:pt x="1390" y="13"/>
                  </a:cubicBezTo>
                  <a:cubicBezTo>
                    <a:pt x="1390" y="13"/>
                    <a:pt x="1390" y="12"/>
                    <a:pt x="1390" y="12"/>
                  </a:cubicBezTo>
                  <a:close/>
                  <a:moveTo>
                    <a:pt x="1422" y="13"/>
                  </a:moveTo>
                  <a:cubicBezTo>
                    <a:pt x="1422" y="13"/>
                    <a:pt x="1423" y="13"/>
                    <a:pt x="1423" y="12"/>
                  </a:cubicBezTo>
                  <a:cubicBezTo>
                    <a:pt x="1423" y="13"/>
                    <a:pt x="1422" y="13"/>
                    <a:pt x="1422" y="13"/>
                  </a:cubicBezTo>
                  <a:close/>
                  <a:moveTo>
                    <a:pt x="1459" y="12"/>
                  </a:moveTo>
                  <a:cubicBezTo>
                    <a:pt x="1459" y="13"/>
                    <a:pt x="1459" y="13"/>
                    <a:pt x="1460" y="13"/>
                  </a:cubicBezTo>
                  <a:cubicBezTo>
                    <a:pt x="1459" y="13"/>
                    <a:pt x="1459" y="13"/>
                    <a:pt x="1459" y="12"/>
                  </a:cubicBezTo>
                  <a:close/>
                  <a:moveTo>
                    <a:pt x="1369" y="59"/>
                  </a:moveTo>
                  <a:cubicBezTo>
                    <a:pt x="1370" y="59"/>
                    <a:pt x="1370" y="59"/>
                    <a:pt x="1370" y="59"/>
                  </a:cubicBezTo>
                  <a:cubicBezTo>
                    <a:pt x="1370" y="59"/>
                    <a:pt x="1369" y="59"/>
                    <a:pt x="1369" y="59"/>
                  </a:cubicBezTo>
                  <a:close/>
                  <a:moveTo>
                    <a:pt x="686" y="91"/>
                  </a:moveTo>
                  <a:cubicBezTo>
                    <a:pt x="686" y="91"/>
                    <a:pt x="686" y="91"/>
                    <a:pt x="686" y="90"/>
                  </a:cubicBezTo>
                  <a:cubicBezTo>
                    <a:pt x="686" y="90"/>
                    <a:pt x="686" y="91"/>
                    <a:pt x="686" y="91"/>
                  </a:cubicBezTo>
                  <a:close/>
                  <a:moveTo>
                    <a:pt x="1554" y="59"/>
                  </a:moveTo>
                  <a:cubicBezTo>
                    <a:pt x="1554" y="59"/>
                    <a:pt x="1554" y="59"/>
                    <a:pt x="1554" y="59"/>
                  </a:cubicBezTo>
                  <a:cubicBezTo>
                    <a:pt x="1554" y="59"/>
                    <a:pt x="1554" y="59"/>
                    <a:pt x="1554" y="59"/>
                  </a:cubicBezTo>
                  <a:close/>
                  <a:moveTo>
                    <a:pt x="1569" y="59"/>
                  </a:moveTo>
                  <a:cubicBezTo>
                    <a:pt x="1569" y="59"/>
                    <a:pt x="1568" y="59"/>
                    <a:pt x="1568" y="59"/>
                  </a:cubicBezTo>
                  <a:cubicBezTo>
                    <a:pt x="1569" y="59"/>
                    <a:pt x="1569" y="59"/>
                    <a:pt x="1569" y="59"/>
                  </a:cubicBezTo>
                  <a:close/>
                  <a:moveTo>
                    <a:pt x="1722" y="59"/>
                  </a:moveTo>
                  <a:cubicBezTo>
                    <a:pt x="1722" y="59"/>
                    <a:pt x="1722" y="59"/>
                    <a:pt x="1722" y="59"/>
                  </a:cubicBezTo>
                  <a:cubicBezTo>
                    <a:pt x="1722" y="59"/>
                    <a:pt x="1722" y="59"/>
                    <a:pt x="1722" y="59"/>
                  </a:cubicBezTo>
                  <a:close/>
                  <a:moveTo>
                    <a:pt x="963" y="91"/>
                  </a:moveTo>
                  <a:cubicBezTo>
                    <a:pt x="963" y="90"/>
                    <a:pt x="963" y="90"/>
                    <a:pt x="963" y="90"/>
                  </a:cubicBezTo>
                  <a:cubicBezTo>
                    <a:pt x="963" y="91"/>
                    <a:pt x="963" y="91"/>
                    <a:pt x="963" y="91"/>
                  </a:cubicBezTo>
                  <a:close/>
                  <a:moveTo>
                    <a:pt x="1737" y="59"/>
                  </a:moveTo>
                  <a:cubicBezTo>
                    <a:pt x="1737" y="59"/>
                    <a:pt x="1737" y="59"/>
                    <a:pt x="1736" y="59"/>
                  </a:cubicBezTo>
                  <a:cubicBezTo>
                    <a:pt x="1737" y="59"/>
                    <a:pt x="1737" y="59"/>
                    <a:pt x="1737" y="59"/>
                  </a:cubicBezTo>
                  <a:close/>
                  <a:moveTo>
                    <a:pt x="580" y="59"/>
                  </a:moveTo>
                  <a:cubicBezTo>
                    <a:pt x="580" y="59"/>
                    <a:pt x="580" y="59"/>
                    <a:pt x="580" y="59"/>
                  </a:cubicBezTo>
                  <a:cubicBezTo>
                    <a:pt x="580" y="59"/>
                    <a:pt x="580" y="59"/>
                    <a:pt x="580" y="59"/>
                  </a:cubicBezTo>
                  <a:close/>
                  <a:moveTo>
                    <a:pt x="1035" y="91"/>
                  </a:moveTo>
                  <a:cubicBezTo>
                    <a:pt x="1035" y="91"/>
                    <a:pt x="1035" y="90"/>
                    <a:pt x="1035" y="90"/>
                  </a:cubicBezTo>
                  <a:cubicBezTo>
                    <a:pt x="1035" y="90"/>
                    <a:pt x="1035" y="91"/>
                    <a:pt x="1035" y="91"/>
                  </a:cubicBezTo>
                  <a:close/>
                  <a:moveTo>
                    <a:pt x="1533" y="13"/>
                  </a:moveTo>
                  <a:cubicBezTo>
                    <a:pt x="1533" y="13"/>
                    <a:pt x="1533" y="13"/>
                    <a:pt x="1533" y="12"/>
                  </a:cubicBezTo>
                  <a:cubicBezTo>
                    <a:pt x="1533" y="12"/>
                    <a:pt x="1533" y="13"/>
                    <a:pt x="1533" y="13"/>
                  </a:cubicBezTo>
                  <a:close/>
                  <a:moveTo>
                    <a:pt x="1574" y="12"/>
                  </a:moveTo>
                  <a:cubicBezTo>
                    <a:pt x="1574" y="13"/>
                    <a:pt x="1574" y="13"/>
                    <a:pt x="1574" y="13"/>
                  </a:cubicBezTo>
                  <a:cubicBezTo>
                    <a:pt x="1574" y="13"/>
                    <a:pt x="1574" y="13"/>
                    <a:pt x="1574" y="12"/>
                  </a:cubicBezTo>
                  <a:close/>
                  <a:moveTo>
                    <a:pt x="1187" y="90"/>
                  </a:moveTo>
                  <a:cubicBezTo>
                    <a:pt x="1187" y="91"/>
                    <a:pt x="1187" y="91"/>
                    <a:pt x="1188" y="91"/>
                  </a:cubicBezTo>
                  <a:cubicBezTo>
                    <a:pt x="1188" y="91"/>
                    <a:pt x="1187" y="90"/>
                    <a:pt x="1187" y="90"/>
                  </a:cubicBezTo>
                  <a:close/>
                  <a:moveTo>
                    <a:pt x="1701" y="13"/>
                  </a:moveTo>
                  <a:cubicBezTo>
                    <a:pt x="1701" y="13"/>
                    <a:pt x="1701" y="13"/>
                    <a:pt x="1702" y="12"/>
                  </a:cubicBezTo>
                  <a:cubicBezTo>
                    <a:pt x="1701" y="12"/>
                    <a:pt x="1701" y="13"/>
                    <a:pt x="1701" y="13"/>
                  </a:cubicBezTo>
                  <a:close/>
                  <a:moveTo>
                    <a:pt x="673" y="59"/>
                  </a:moveTo>
                  <a:cubicBezTo>
                    <a:pt x="674" y="59"/>
                    <a:pt x="674" y="59"/>
                    <a:pt x="674" y="59"/>
                  </a:cubicBezTo>
                  <a:cubicBezTo>
                    <a:pt x="674" y="59"/>
                    <a:pt x="674" y="59"/>
                    <a:pt x="673" y="59"/>
                  </a:cubicBezTo>
                  <a:close/>
                  <a:moveTo>
                    <a:pt x="1742" y="12"/>
                  </a:moveTo>
                  <a:cubicBezTo>
                    <a:pt x="1742" y="13"/>
                    <a:pt x="1742" y="13"/>
                    <a:pt x="1743" y="13"/>
                  </a:cubicBezTo>
                  <a:cubicBezTo>
                    <a:pt x="1742" y="13"/>
                    <a:pt x="1742" y="13"/>
                    <a:pt x="1742" y="12"/>
                  </a:cubicBezTo>
                  <a:close/>
                  <a:moveTo>
                    <a:pt x="1384" y="59"/>
                  </a:moveTo>
                  <a:cubicBezTo>
                    <a:pt x="1384" y="59"/>
                    <a:pt x="1384" y="59"/>
                    <a:pt x="1384" y="59"/>
                  </a:cubicBezTo>
                  <a:cubicBezTo>
                    <a:pt x="1384" y="59"/>
                    <a:pt x="1384" y="59"/>
                    <a:pt x="1384" y="59"/>
                  </a:cubicBezTo>
                  <a:close/>
                  <a:moveTo>
                    <a:pt x="1553" y="59"/>
                  </a:moveTo>
                  <a:cubicBezTo>
                    <a:pt x="1553" y="59"/>
                    <a:pt x="1554" y="59"/>
                    <a:pt x="1554" y="59"/>
                  </a:cubicBezTo>
                  <a:cubicBezTo>
                    <a:pt x="1553" y="59"/>
                    <a:pt x="1553" y="59"/>
                    <a:pt x="1553" y="59"/>
                  </a:cubicBezTo>
                  <a:close/>
                  <a:moveTo>
                    <a:pt x="545" y="13"/>
                  </a:moveTo>
                  <a:cubicBezTo>
                    <a:pt x="545" y="13"/>
                    <a:pt x="545" y="13"/>
                    <a:pt x="545" y="13"/>
                  </a:cubicBezTo>
                  <a:cubicBezTo>
                    <a:pt x="545" y="13"/>
                    <a:pt x="545" y="13"/>
                    <a:pt x="545" y="13"/>
                  </a:cubicBezTo>
                  <a:close/>
                  <a:moveTo>
                    <a:pt x="1390" y="13"/>
                  </a:moveTo>
                  <a:cubicBezTo>
                    <a:pt x="1390" y="13"/>
                    <a:pt x="1390" y="13"/>
                    <a:pt x="1391" y="13"/>
                  </a:cubicBezTo>
                  <a:cubicBezTo>
                    <a:pt x="1391" y="13"/>
                    <a:pt x="1390" y="13"/>
                    <a:pt x="1390" y="13"/>
                  </a:cubicBezTo>
                  <a:close/>
                  <a:moveTo>
                    <a:pt x="1721" y="59"/>
                  </a:moveTo>
                  <a:cubicBezTo>
                    <a:pt x="1721" y="59"/>
                    <a:pt x="1722" y="59"/>
                    <a:pt x="1722" y="59"/>
                  </a:cubicBezTo>
                  <a:cubicBezTo>
                    <a:pt x="1722" y="59"/>
                    <a:pt x="1721" y="59"/>
                    <a:pt x="1721" y="59"/>
                  </a:cubicBezTo>
                  <a:close/>
                  <a:moveTo>
                    <a:pt x="686" y="91"/>
                  </a:moveTo>
                  <a:cubicBezTo>
                    <a:pt x="686" y="91"/>
                    <a:pt x="686" y="91"/>
                    <a:pt x="686" y="91"/>
                  </a:cubicBezTo>
                  <a:cubicBezTo>
                    <a:pt x="686" y="91"/>
                    <a:pt x="686" y="91"/>
                    <a:pt x="686" y="91"/>
                  </a:cubicBezTo>
                  <a:close/>
                  <a:moveTo>
                    <a:pt x="768" y="91"/>
                  </a:moveTo>
                  <a:cubicBezTo>
                    <a:pt x="768" y="91"/>
                    <a:pt x="768" y="91"/>
                    <a:pt x="769" y="91"/>
                  </a:cubicBezTo>
                  <a:cubicBezTo>
                    <a:pt x="768" y="91"/>
                    <a:pt x="768" y="91"/>
                    <a:pt x="768" y="91"/>
                  </a:cubicBezTo>
                  <a:close/>
                  <a:moveTo>
                    <a:pt x="1422" y="13"/>
                  </a:moveTo>
                  <a:cubicBezTo>
                    <a:pt x="1422" y="13"/>
                    <a:pt x="1422" y="13"/>
                    <a:pt x="1422" y="13"/>
                  </a:cubicBezTo>
                  <a:cubicBezTo>
                    <a:pt x="1422" y="13"/>
                    <a:pt x="1422" y="13"/>
                    <a:pt x="1422" y="13"/>
                  </a:cubicBezTo>
                  <a:close/>
                  <a:moveTo>
                    <a:pt x="964" y="91"/>
                  </a:moveTo>
                  <a:cubicBezTo>
                    <a:pt x="963" y="91"/>
                    <a:pt x="963" y="91"/>
                    <a:pt x="963" y="91"/>
                  </a:cubicBezTo>
                  <a:cubicBezTo>
                    <a:pt x="963" y="91"/>
                    <a:pt x="963" y="91"/>
                    <a:pt x="964" y="91"/>
                  </a:cubicBezTo>
                  <a:close/>
                  <a:moveTo>
                    <a:pt x="1459" y="13"/>
                  </a:moveTo>
                  <a:cubicBezTo>
                    <a:pt x="1460" y="13"/>
                    <a:pt x="1460" y="13"/>
                    <a:pt x="1460" y="13"/>
                  </a:cubicBezTo>
                  <a:cubicBezTo>
                    <a:pt x="1460" y="13"/>
                    <a:pt x="1460" y="13"/>
                    <a:pt x="1459" y="13"/>
                  </a:cubicBezTo>
                  <a:close/>
                  <a:moveTo>
                    <a:pt x="1494" y="13"/>
                  </a:moveTo>
                  <a:cubicBezTo>
                    <a:pt x="1495" y="13"/>
                    <a:pt x="1495" y="13"/>
                    <a:pt x="1495" y="13"/>
                  </a:cubicBezTo>
                  <a:cubicBezTo>
                    <a:pt x="1495" y="13"/>
                    <a:pt x="1494" y="13"/>
                    <a:pt x="1494" y="13"/>
                  </a:cubicBezTo>
                  <a:close/>
                  <a:moveTo>
                    <a:pt x="1533" y="13"/>
                  </a:moveTo>
                  <a:cubicBezTo>
                    <a:pt x="1533" y="13"/>
                    <a:pt x="1533" y="13"/>
                    <a:pt x="1533" y="13"/>
                  </a:cubicBezTo>
                  <a:cubicBezTo>
                    <a:pt x="1533" y="13"/>
                    <a:pt x="1533" y="13"/>
                    <a:pt x="1533" y="13"/>
                  </a:cubicBezTo>
                  <a:close/>
                  <a:moveTo>
                    <a:pt x="1574" y="13"/>
                  </a:moveTo>
                  <a:cubicBezTo>
                    <a:pt x="1574" y="13"/>
                    <a:pt x="1575" y="13"/>
                    <a:pt x="1575" y="13"/>
                  </a:cubicBezTo>
                  <a:cubicBezTo>
                    <a:pt x="1575" y="13"/>
                    <a:pt x="1575" y="13"/>
                    <a:pt x="1574" y="13"/>
                  </a:cubicBezTo>
                  <a:close/>
                  <a:moveTo>
                    <a:pt x="1701" y="13"/>
                  </a:moveTo>
                  <a:cubicBezTo>
                    <a:pt x="1701" y="13"/>
                    <a:pt x="1701" y="13"/>
                    <a:pt x="1701" y="13"/>
                  </a:cubicBezTo>
                  <a:cubicBezTo>
                    <a:pt x="1701" y="13"/>
                    <a:pt x="1701" y="13"/>
                    <a:pt x="1701" y="13"/>
                  </a:cubicBezTo>
                  <a:close/>
                  <a:moveTo>
                    <a:pt x="1368" y="60"/>
                  </a:moveTo>
                  <a:cubicBezTo>
                    <a:pt x="1369" y="60"/>
                    <a:pt x="1369" y="60"/>
                    <a:pt x="1369" y="59"/>
                  </a:cubicBezTo>
                  <a:cubicBezTo>
                    <a:pt x="1369" y="59"/>
                    <a:pt x="1368" y="60"/>
                    <a:pt x="1368" y="60"/>
                  </a:cubicBezTo>
                  <a:close/>
                  <a:moveTo>
                    <a:pt x="1384" y="59"/>
                  </a:moveTo>
                  <a:cubicBezTo>
                    <a:pt x="1383" y="59"/>
                    <a:pt x="1383" y="60"/>
                    <a:pt x="1383" y="60"/>
                  </a:cubicBezTo>
                  <a:cubicBezTo>
                    <a:pt x="1383" y="60"/>
                    <a:pt x="1384" y="60"/>
                    <a:pt x="1384" y="59"/>
                  </a:cubicBezTo>
                  <a:close/>
                  <a:moveTo>
                    <a:pt x="1743" y="13"/>
                  </a:moveTo>
                  <a:cubicBezTo>
                    <a:pt x="1743" y="13"/>
                    <a:pt x="1743" y="13"/>
                    <a:pt x="1743" y="13"/>
                  </a:cubicBezTo>
                  <a:cubicBezTo>
                    <a:pt x="1743" y="13"/>
                    <a:pt x="1743" y="13"/>
                    <a:pt x="1743" y="13"/>
                  </a:cubicBezTo>
                  <a:close/>
                  <a:moveTo>
                    <a:pt x="544" y="13"/>
                  </a:moveTo>
                  <a:cubicBezTo>
                    <a:pt x="545" y="13"/>
                    <a:pt x="545" y="13"/>
                    <a:pt x="545" y="13"/>
                  </a:cubicBezTo>
                  <a:cubicBezTo>
                    <a:pt x="545" y="13"/>
                    <a:pt x="545" y="13"/>
                    <a:pt x="544" y="13"/>
                  </a:cubicBezTo>
                  <a:close/>
                  <a:moveTo>
                    <a:pt x="972" y="13"/>
                  </a:moveTo>
                  <a:cubicBezTo>
                    <a:pt x="972" y="13"/>
                    <a:pt x="972" y="13"/>
                    <a:pt x="972" y="13"/>
                  </a:cubicBezTo>
                  <a:cubicBezTo>
                    <a:pt x="972" y="13"/>
                    <a:pt x="972" y="13"/>
                    <a:pt x="972" y="13"/>
                  </a:cubicBezTo>
                  <a:close/>
                  <a:moveTo>
                    <a:pt x="1391" y="13"/>
                  </a:moveTo>
                  <a:cubicBezTo>
                    <a:pt x="1391" y="13"/>
                    <a:pt x="1391" y="13"/>
                    <a:pt x="1391" y="14"/>
                  </a:cubicBezTo>
                  <a:cubicBezTo>
                    <a:pt x="1391" y="13"/>
                    <a:pt x="1391" y="13"/>
                    <a:pt x="1391" y="13"/>
                  </a:cubicBezTo>
                  <a:close/>
                  <a:moveTo>
                    <a:pt x="1422" y="13"/>
                  </a:moveTo>
                  <a:cubicBezTo>
                    <a:pt x="1422" y="13"/>
                    <a:pt x="1422" y="13"/>
                    <a:pt x="1422" y="13"/>
                  </a:cubicBezTo>
                  <a:cubicBezTo>
                    <a:pt x="1422" y="13"/>
                    <a:pt x="1422" y="13"/>
                    <a:pt x="1422" y="13"/>
                  </a:cubicBezTo>
                  <a:close/>
                  <a:moveTo>
                    <a:pt x="685" y="91"/>
                  </a:moveTo>
                  <a:cubicBezTo>
                    <a:pt x="686" y="91"/>
                    <a:pt x="686" y="91"/>
                    <a:pt x="686" y="91"/>
                  </a:cubicBezTo>
                  <a:cubicBezTo>
                    <a:pt x="686" y="91"/>
                    <a:pt x="685" y="91"/>
                    <a:pt x="685" y="91"/>
                  </a:cubicBezTo>
                  <a:close/>
                  <a:moveTo>
                    <a:pt x="675" y="60"/>
                  </a:moveTo>
                  <a:cubicBezTo>
                    <a:pt x="675" y="60"/>
                    <a:pt x="675" y="60"/>
                    <a:pt x="675" y="60"/>
                  </a:cubicBezTo>
                  <a:cubicBezTo>
                    <a:pt x="675" y="60"/>
                    <a:pt x="675" y="60"/>
                    <a:pt x="675" y="60"/>
                  </a:cubicBezTo>
                  <a:close/>
                  <a:moveTo>
                    <a:pt x="728" y="91"/>
                  </a:moveTo>
                  <a:cubicBezTo>
                    <a:pt x="728" y="91"/>
                    <a:pt x="728" y="91"/>
                    <a:pt x="728" y="91"/>
                  </a:cubicBezTo>
                  <a:cubicBezTo>
                    <a:pt x="728" y="91"/>
                    <a:pt x="728" y="91"/>
                    <a:pt x="728" y="91"/>
                  </a:cubicBezTo>
                  <a:close/>
                  <a:moveTo>
                    <a:pt x="1368" y="60"/>
                  </a:moveTo>
                  <a:cubicBezTo>
                    <a:pt x="1368" y="60"/>
                    <a:pt x="1368" y="60"/>
                    <a:pt x="1368" y="60"/>
                  </a:cubicBezTo>
                  <a:cubicBezTo>
                    <a:pt x="1368" y="60"/>
                    <a:pt x="1368" y="60"/>
                    <a:pt x="1368" y="60"/>
                  </a:cubicBezTo>
                  <a:close/>
                  <a:moveTo>
                    <a:pt x="1383" y="60"/>
                  </a:moveTo>
                  <a:cubicBezTo>
                    <a:pt x="1383" y="60"/>
                    <a:pt x="1383" y="60"/>
                    <a:pt x="1383" y="60"/>
                  </a:cubicBezTo>
                  <a:cubicBezTo>
                    <a:pt x="1383" y="60"/>
                    <a:pt x="1383" y="60"/>
                    <a:pt x="1383" y="60"/>
                  </a:cubicBezTo>
                  <a:close/>
                  <a:moveTo>
                    <a:pt x="1552" y="60"/>
                  </a:moveTo>
                  <a:cubicBezTo>
                    <a:pt x="1552" y="60"/>
                    <a:pt x="1552" y="60"/>
                    <a:pt x="1553" y="60"/>
                  </a:cubicBezTo>
                  <a:cubicBezTo>
                    <a:pt x="1552" y="60"/>
                    <a:pt x="1552" y="60"/>
                    <a:pt x="1552" y="60"/>
                  </a:cubicBezTo>
                  <a:close/>
                  <a:moveTo>
                    <a:pt x="964" y="91"/>
                  </a:moveTo>
                  <a:cubicBezTo>
                    <a:pt x="964" y="91"/>
                    <a:pt x="964" y="91"/>
                    <a:pt x="964" y="91"/>
                  </a:cubicBezTo>
                  <a:cubicBezTo>
                    <a:pt x="964" y="91"/>
                    <a:pt x="964" y="91"/>
                    <a:pt x="964" y="91"/>
                  </a:cubicBezTo>
                  <a:close/>
                  <a:moveTo>
                    <a:pt x="1666" y="60"/>
                  </a:moveTo>
                  <a:cubicBezTo>
                    <a:pt x="1666" y="60"/>
                    <a:pt x="1666" y="60"/>
                    <a:pt x="1666" y="60"/>
                  </a:cubicBezTo>
                  <a:cubicBezTo>
                    <a:pt x="1666" y="60"/>
                    <a:pt x="1666" y="60"/>
                    <a:pt x="1666" y="60"/>
                  </a:cubicBezTo>
                  <a:close/>
                  <a:moveTo>
                    <a:pt x="1720" y="60"/>
                  </a:moveTo>
                  <a:cubicBezTo>
                    <a:pt x="1720" y="60"/>
                    <a:pt x="1721" y="60"/>
                    <a:pt x="1721" y="60"/>
                  </a:cubicBezTo>
                  <a:cubicBezTo>
                    <a:pt x="1720" y="60"/>
                    <a:pt x="1720" y="60"/>
                    <a:pt x="1720" y="60"/>
                  </a:cubicBezTo>
                  <a:close/>
                  <a:moveTo>
                    <a:pt x="1051" y="91"/>
                  </a:moveTo>
                  <a:cubicBezTo>
                    <a:pt x="1051" y="91"/>
                    <a:pt x="1051" y="91"/>
                    <a:pt x="1051" y="91"/>
                  </a:cubicBezTo>
                  <a:cubicBezTo>
                    <a:pt x="1051" y="91"/>
                    <a:pt x="1051" y="91"/>
                    <a:pt x="1051" y="91"/>
                  </a:cubicBezTo>
                  <a:close/>
                  <a:moveTo>
                    <a:pt x="1736" y="60"/>
                  </a:moveTo>
                  <a:cubicBezTo>
                    <a:pt x="1735" y="60"/>
                    <a:pt x="1735" y="60"/>
                    <a:pt x="1735" y="60"/>
                  </a:cubicBezTo>
                  <a:cubicBezTo>
                    <a:pt x="1735" y="60"/>
                    <a:pt x="1735" y="60"/>
                    <a:pt x="1736" y="60"/>
                  </a:cubicBezTo>
                  <a:close/>
                  <a:moveTo>
                    <a:pt x="581" y="60"/>
                  </a:moveTo>
                  <a:cubicBezTo>
                    <a:pt x="581" y="60"/>
                    <a:pt x="581" y="61"/>
                    <a:pt x="582" y="61"/>
                  </a:cubicBezTo>
                  <a:cubicBezTo>
                    <a:pt x="582" y="60"/>
                    <a:pt x="581" y="60"/>
                    <a:pt x="581" y="60"/>
                  </a:cubicBezTo>
                  <a:close/>
                  <a:moveTo>
                    <a:pt x="1229" y="91"/>
                  </a:moveTo>
                  <a:cubicBezTo>
                    <a:pt x="1229" y="91"/>
                    <a:pt x="1229" y="91"/>
                    <a:pt x="1229" y="91"/>
                  </a:cubicBezTo>
                  <a:cubicBezTo>
                    <a:pt x="1229" y="91"/>
                    <a:pt x="1229" y="91"/>
                    <a:pt x="1229" y="91"/>
                  </a:cubicBezTo>
                  <a:close/>
                  <a:moveTo>
                    <a:pt x="1460" y="13"/>
                  </a:moveTo>
                  <a:cubicBezTo>
                    <a:pt x="1460" y="13"/>
                    <a:pt x="1460" y="13"/>
                    <a:pt x="1460" y="13"/>
                  </a:cubicBezTo>
                  <a:cubicBezTo>
                    <a:pt x="1460" y="13"/>
                    <a:pt x="1460" y="13"/>
                    <a:pt x="1460" y="13"/>
                  </a:cubicBezTo>
                  <a:close/>
                  <a:moveTo>
                    <a:pt x="1417" y="91"/>
                  </a:moveTo>
                  <a:cubicBezTo>
                    <a:pt x="1417" y="91"/>
                    <a:pt x="1417" y="91"/>
                    <a:pt x="1417" y="91"/>
                  </a:cubicBezTo>
                  <a:cubicBezTo>
                    <a:pt x="1417" y="91"/>
                    <a:pt x="1417" y="91"/>
                    <a:pt x="1417" y="91"/>
                  </a:cubicBezTo>
                  <a:close/>
                  <a:moveTo>
                    <a:pt x="1532" y="13"/>
                  </a:moveTo>
                  <a:cubicBezTo>
                    <a:pt x="1532" y="13"/>
                    <a:pt x="1533" y="13"/>
                    <a:pt x="1533" y="13"/>
                  </a:cubicBezTo>
                  <a:cubicBezTo>
                    <a:pt x="1533" y="13"/>
                    <a:pt x="1532" y="13"/>
                    <a:pt x="1532" y="13"/>
                  </a:cubicBezTo>
                  <a:close/>
                  <a:moveTo>
                    <a:pt x="1575" y="13"/>
                  </a:moveTo>
                  <a:cubicBezTo>
                    <a:pt x="1575" y="13"/>
                    <a:pt x="1575" y="13"/>
                    <a:pt x="1575" y="13"/>
                  </a:cubicBezTo>
                  <a:cubicBezTo>
                    <a:pt x="1575" y="13"/>
                    <a:pt x="1575" y="13"/>
                    <a:pt x="1575" y="13"/>
                  </a:cubicBezTo>
                  <a:close/>
                  <a:moveTo>
                    <a:pt x="1676" y="13"/>
                  </a:moveTo>
                  <a:cubicBezTo>
                    <a:pt x="1676" y="13"/>
                    <a:pt x="1676" y="13"/>
                    <a:pt x="1676" y="13"/>
                  </a:cubicBezTo>
                  <a:cubicBezTo>
                    <a:pt x="1676" y="13"/>
                    <a:pt x="1676" y="13"/>
                    <a:pt x="1676" y="13"/>
                  </a:cubicBezTo>
                  <a:close/>
                  <a:moveTo>
                    <a:pt x="1573" y="54"/>
                  </a:moveTo>
                  <a:cubicBezTo>
                    <a:pt x="1573" y="54"/>
                    <a:pt x="1573" y="54"/>
                    <a:pt x="1573" y="54"/>
                  </a:cubicBezTo>
                  <a:cubicBezTo>
                    <a:pt x="1573" y="54"/>
                    <a:pt x="1573" y="54"/>
                    <a:pt x="1573" y="54"/>
                  </a:cubicBezTo>
                  <a:close/>
                  <a:moveTo>
                    <a:pt x="1559" y="55"/>
                  </a:moveTo>
                  <a:cubicBezTo>
                    <a:pt x="1559" y="55"/>
                    <a:pt x="1559" y="54"/>
                    <a:pt x="1560" y="54"/>
                  </a:cubicBezTo>
                  <a:cubicBezTo>
                    <a:pt x="1559" y="54"/>
                    <a:pt x="1559" y="54"/>
                    <a:pt x="1559" y="55"/>
                  </a:cubicBezTo>
                  <a:close/>
                  <a:moveTo>
                    <a:pt x="1700" y="13"/>
                  </a:moveTo>
                  <a:cubicBezTo>
                    <a:pt x="1701" y="13"/>
                    <a:pt x="1701" y="13"/>
                    <a:pt x="1701" y="13"/>
                  </a:cubicBezTo>
                  <a:cubicBezTo>
                    <a:pt x="1701" y="13"/>
                    <a:pt x="1701" y="13"/>
                    <a:pt x="1700" y="13"/>
                  </a:cubicBezTo>
                  <a:close/>
                  <a:moveTo>
                    <a:pt x="728" y="91"/>
                  </a:moveTo>
                  <a:cubicBezTo>
                    <a:pt x="728" y="92"/>
                    <a:pt x="728" y="92"/>
                    <a:pt x="729" y="92"/>
                  </a:cubicBezTo>
                  <a:cubicBezTo>
                    <a:pt x="728" y="92"/>
                    <a:pt x="728" y="92"/>
                    <a:pt x="728" y="91"/>
                  </a:cubicBezTo>
                  <a:close/>
                  <a:moveTo>
                    <a:pt x="1743" y="13"/>
                  </a:moveTo>
                  <a:cubicBezTo>
                    <a:pt x="1743" y="13"/>
                    <a:pt x="1743" y="13"/>
                    <a:pt x="1743" y="13"/>
                  </a:cubicBezTo>
                  <a:cubicBezTo>
                    <a:pt x="1743" y="13"/>
                    <a:pt x="1743" y="13"/>
                    <a:pt x="1743" y="13"/>
                  </a:cubicBezTo>
                  <a:close/>
                  <a:moveTo>
                    <a:pt x="1383" y="60"/>
                  </a:moveTo>
                  <a:cubicBezTo>
                    <a:pt x="1383" y="60"/>
                    <a:pt x="1383" y="60"/>
                    <a:pt x="1383" y="60"/>
                  </a:cubicBezTo>
                  <a:cubicBezTo>
                    <a:pt x="1383" y="60"/>
                    <a:pt x="1383" y="60"/>
                    <a:pt x="1383" y="60"/>
                  </a:cubicBezTo>
                  <a:close/>
                  <a:moveTo>
                    <a:pt x="1552" y="60"/>
                  </a:moveTo>
                  <a:cubicBezTo>
                    <a:pt x="1552" y="60"/>
                    <a:pt x="1552" y="60"/>
                    <a:pt x="1552" y="60"/>
                  </a:cubicBezTo>
                  <a:cubicBezTo>
                    <a:pt x="1552" y="60"/>
                    <a:pt x="1552" y="60"/>
                    <a:pt x="1552" y="60"/>
                  </a:cubicBezTo>
                  <a:close/>
                  <a:moveTo>
                    <a:pt x="964" y="92"/>
                  </a:moveTo>
                  <a:cubicBezTo>
                    <a:pt x="964" y="92"/>
                    <a:pt x="964" y="91"/>
                    <a:pt x="964" y="91"/>
                  </a:cubicBezTo>
                  <a:cubicBezTo>
                    <a:pt x="964" y="92"/>
                    <a:pt x="964" y="92"/>
                    <a:pt x="964" y="92"/>
                  </a:cubicBezTo>
                  <a:close/>
                  <a:moveTo>
                    <a:pt x="1567" y="60"/>
                  </a:moveTo>
                  <a:cubicBezTo>
                    <a:pt x="1567" y="60"/>
                    <a:pt x="1567" y="60"/>
                    <a:pt x="1567" y="60"/>
                  </a:cubicBezTo>
                  <a:cubicBezTo>
                    <a:pt x="1567" y="60"/>
                    <a:pt x="1567" y="60"/>
                    <a:pt x="1567" y="60"/>
                  </a:cubicBezTo>
                  <a:close/>
                  <a:moveTo>
                    <a:pt x="544" y="14"/>
                  </a:moveTo>
                  <a:cubicBezTo>
                    <a:pt x="544" y="14"/>
                    <a:pt x="544" y="14"/>
                    <a:pt x="544" y="13"/>
                  </a:cubicBezTo>
                  <a:cubicBezTo>
                    <a:pt x="544" y="14"/>
                    <a:pt x="544" y="14"/>
                    <a:pt x="544" y="14"/>
                  </a:cubicBezTo>
                  <a:close/>
                  <a:moveTo>
                    <a:pt x="1036" y="92"/>
                  </a:moveTo>
                  <a:cubicBezTo>
                    <a:pt x="1036" y="92"/>
                    <a:pt x="1035" y="91"/>
                    <a:pt x="1035" y="91"/>
                  </a:cubicBezTo>
                  <a:cubicBezTo>
                    <a:pt x="1035" y="92"/>
                    <a:pt x="1035" y="92"/>
                    <a:pt x="1036" y="92"/>
                  </a:cubicBezTo>
                  <a:close/>
                  <a:moveTo>
                    <a:pt x="1347" y="14"/>
                  </a:moveTo>
                  <a:cubicBezTo>
                    <a:pt x="1348" y="14"/>
                    <a:pt x="1348" y="14"/>
                    <a:pt x="1348" y="14"/>
                  </a:cubicBezTo>
                  <a:cubicBezTo>
                    <a:pt x="1348" y="14"/>
                    <a:pt x="1348" y="14"/>
                    <a:pt x="1347" y="14"/>
                  </a:cubicBezTo>
                  <a:close/>
                  <a:moveTo>
                    <a:pt x="1735" y="60"/>
                  </a:moveTo>
                  <a:cubicBezTo>
                    <a:pt x="1735" y="60"/>
                    <a:pt x="1735" y="60"/>
                    <a:pt x="1735" y="60"/>
                  </a:cubicBezTo>
                  <a:cubicBezTo>
                    <a:pt x="1735" y="60"/>
                    <a:pt x="1735" y="60"/>
                    <a:pt x="1735" y="60"/>
                  </a:cubicBezTo>
                  <a:close/>
                  <a:moveTo>
                    <a:pt x="582" y="61"/>
                  </a:moveTo>
                  <a:cubicBezTo>
                    <a:pt x="582" y="61"/>
                    <a:pt x="582" y="61"/>
                    <a:pt x="582" y="61"/>
                  </a:cubicBezTo>
                  <a:cubicBezTo>
                    <a:pt x="582" y="61"/>
                    <a:pt x="582" y="61"/>
                    <a:pt x="582" y="61"/>
                  </a:cubicBezTo>
                  <a:close/>
                  <a:moveTo>
                    <a:pt x="1213" y="92"/>
                  </a:moveTo>
                  <a:cubicBezTo>
                    <a:pt x="1213" y="92"/>
                    <a:pt x="1213" y="91"/>
                    <a:pt x="1213" y="91"/>
                  </a:cubicBezTo>
                  <a:cubicBezTo>
                    <a:pt x="1213" y="92"/>
                    <a:pt x="1213" y="92"/>
                    <a:pt x="1213" y="92"/>
                  </a:cubicBezTo>
                  <a:close/>
                  <a:moveTo>
                    <a:pt x="1391" y="13"/>
                  </a:moveTo>
                  <a:cubicBezTo>
                    <a:pt x="1391" y="14"/>
                    <a:pt x="1391" y="14"/>
                    <a:pt x="1391" y="14"/>
                  </a:cubicBezTo>
                  <a:cubicBezTo>
                    <a:pt x="1391" y="14"/>
                    <a:pt x="1391" y="14"/>
                    <a:pt x="1391" y="13"/>
                  </a:cubicBezTo>
                  <a:close/>
                  <a:moveTo>
                    <a:pt x="1421" y="14"/>
                  </a:moveTo>
                  <a:cubicBezTo>
                    <a:pt x="1421" y="14"/>
                    <a:pt x="1422" y="14"/>
                    <a:pt x="1422" y="13"/>
                  </a:cubicBezTo>
                  <a:cubicBezTo>
                    <a:pt x="1421" y="14"/>
                    <a:pt x="1421" y="14"/>
                    <a:pt x="1421" y="14"/>
                  </a:cubicBezTo>
                  <a:close/>
                  <a:moveTo>
                    <a:pt x="1375" y="55"/>
                  </a:moveTo>
                  <a:cubicBezTo>
                    <a:pt x="1375" y="55"/>
                    <a:pt x="1375" y="54"/>
                    <a:pt x="1375" y="54"/>
                  </a:cubicBezTo>
                  <a:cubicBezTo>
                    <a:pt x="1375" y="54"/>
                    <a:pt x="1375" y="54"/>
                    <a:pt x="1375" y="55"/>
                  </a:cubicBezTo>
                  <a:close/>
                  <a:moveTo>
                    <a:pt x="1462" y="91"/>
                  </a:moveTo>
                  <a:cubicBezTo>
                    <a:pt x="1462" y="91"/>
                    <a:pt x="1462" y="92"/>
                    <a:pt x="1462" y="92"/>
                  </a:cubicBezTo>
                  <a:cubicBezTo>
                    <a:pt x="1462" y="92"/>
                    <a:pt x="1462" y="92"/>
                    <a:pt x="1462" y="91"/>
                  </a:cubicBezTo>
                  <a:close/>
                  <a:moveTo>
                    <a:pt x="573" y="54"/>
                  </a:moveTo>
                  <a:cubicBezTo>
                    <a:pt x="573" y="54"/>
                    <a:pt x="573" y="54"/>
                    <a:pt x="573" y="54"/>
                  </a:cubicBezTo>
                  <a:cubicBezTo>
                    <a:pt x="573" y="54"/>
                    <a:pt x="573" y="54"/>
                    <a:pt x="573" y="54"/>
                  </a:cubicBezTo>
                  <a:close/>
                  <a:moveTo>
                    <a:pt x="1367" y="61"/>
                  </a:moveTo>
                  <a:cubicBezTo>
                    <a:pt x="1367" y="61"/>
                    <a:pt x="1367" y="61"/>
                    <a:pt x="1367" y="60"/>
                  </a:cubicBezTo>
                  <a:cubicBezTo>
                    <a:pt x="1367" y="61"/>
                    <a:pt x="1367" y="61"/>
                    <a:pt x="1367" y="61"/>
                  </a:cubicBezTo>
                  <a:close/>
                  <a:moveTo>
                    <a:pt x="1460" y="13"/>
                  </a:moveTo>
                  <a:cubicBezTo>
                    <a:pt x="1460" y="14"/>
                    <a:pt x="1460" y="14"/>
                    <a:pt x="1461" y="14"/>
                  </a:cubicBezTo>
                  <a:cubicBezTo>
                    <a:pt x="1460" y="14"/>
                    <a:pt x="1460" y="14"/>
                    <a:pt x="1460" y="13"/>
                  </a:cubicBezTo>
                  <a:close/>
                  <a:moveTo>
                    <a:pt x="1390" y="53"/>
                  </a:moveTo>
                  <a:cubicBezTo>
                    <a:pt x="1389" y="54"/>
                    <a:pt x="1389" y="54"/>
                    <a:pt x="1389" y="54"/>
                  </a:cubicBezTo>
                  <a:cubicBezTo>
                    <a:pt x="1389" y="54"/>
                    <a:pt x="1389" y="54"/>
                    <a:pt x="1390" y="53"/>
                  </a:cubicBezTo>
                  <a:close/>
                  <a:moveTo>
                    <a:pt x="585" y="92"/>
                  </a:moveTo>
                  <a:cubicBezTo>
                    <a:pt x="585" y="92"/>
                    <a:pt x="585" y="92"/>
                    <a:pt x="585" y="92"/>
                  </a:cubicBezTo>
                  <a:cubicBezTo>
                    <a:pt x="585" y="92"/>
                    <a:pt x="585" y="92"/>
                    <a:pt x="585" y="92"/>
                  </a:cubicBezTo>
                  <a:close/>
                  <a:moveTo>
                    <a:pt x="1575" y="13"/>
                  </a:moveTo>
                  <a:cubicBezTo>
                    <a:pt x="1575" y="14"/>
                    <a:pt x="1575" y="14"/>
                    <a:pt x="1575" y="14"/>
                  </a:cubicBezTo>
                  <a:cubicBezTo>
                    <a:pt x="1575" y="14"/>
                    <a:pt x="1575" y="14"/>
                    <a:pt x="1575" y="13"/>
                  </a:cubicBezTo>
                  <a:close/>
                  <a:moveTo>
                    <a:pt x="1567" y="60"/>
                  </a:moveTo>
                  <a:cubicBezTo>
                    <a:pt x="1567" y="60"/>
                    <a:pt x="1566" y="61"/>
                    <a:pt x="1566" y="61"/>
                  </a:cubicBezTo>
                  <a:cubicBezTo>
                    <a:pt x="1567" y="61"/>
                    <a:pt x="1567" y="61"/>
                    <a:pt x="1567" y="60"/>
                  </a:cubicBezTo>
                  <a:close/>
                  <a:moveTo>
                    <a:pt x="684" y="92"/>
                  </a:moveTo>
                  <a:cubicBezTo>
                    <a:pt x="685" y="92"/>
                    <a:pt x="685" y="92"/>
                    <a:pt x="685" y="92"/>
                  </a:cubicBezTo>
                  <a:cubicBezTo>
                    <a:pt x="685" y="92"/>
                    <a:pt x="684" y="92"/>
                    <a:pt x="684" y="92"/>
                  </a:cubicBezTo>
                  <a:close/>
                  <a:moveTo>
                    <a:pt x="1735" y="60"/>
                  </a:moveTo>
                  <a:cubicBezTo>
                    <a:pt x="1735" y="60"/>
                    <a:pt x="1734" y="61"/>
                    <a:pt x="1734" y="61"/>
                  </a:cubicBezTo>
                  <a:cubicBezTo>
                    <a:pt x="1735" y="61"/>
                    <a:pt x="1735" y="61"/>
                    <a:pt x="1735" y="60"/>
                  </a:cubicBezTo>
                  <a:close/>
                  <a:moveTo>
                    <a:pt x="582" y="61"/>
                  </a:moveTo>
                  <a:cubicBezTo>
                    <a:pt x="582" y="61"/>
                    <a:pt x="582" y="61"/>
                    <a:pt x="582" y="61"/>
                  </a:cubicBezTo>
                  <a:cubicBezTo>
                    <a:pt x="582" y="61"/>
                    <a:pt x="582" y="61"/>
                    <a:pt x="582" y="61"/>
                  </a:cubicBezTo>
                  <a:close/>
                  <a:moveTo>
                    <a:pt x="1676" y="13"/>
                  </a:moveTo>
                  <a:cubicBezTo>
                    <a:pt x="1676" y="14"/>
                    <a:pt x="1676" y="14"/>
                    <a:pt x="1676" y="14"/>
                  </a:cubicBezTo>
                  <a:cubicBezTo>
                    <a:pt x="1676" y="14"/>
                    <a:pt x="1676" y="14"/>
                    <a:pt x="1676" y="13"/>
                  </a:cubicBezTo>
                  <a:close/>
                  <a:moveTo>
                    <a:pt x="1376" y="54"/>
                  </a:moveTo>
                  <a:cubicBezTo>
                    <a:pt x="1376" y="54"/>
                    <a:pt x="1376" y="54"/>
                    <a:pt x="1376" y="54"/>
                  </a:cubicBezTo>
                  <a:cubicBezTo>
                    <a:pt x="1376" y="54"/>
                    <a:pt x="1376" y="54"/>
                    <a:pt x="1376" y="54"/>
                  </a:cubicBezTo>
                  <a:close/>
                  <a:moveTo>
                    <a:pt x="1743" y="13"/>
                  </a:moveTo>
                  <a:cubicBezTo>
                    <a:pt x="1743" y="14"/>
                    <a:pt x="1743" y="14"/>
                    <a:pt x="1744" y="14"/>
                  </a:cubicBezTo>
                  <a:cubicBezTo>
                    <a:pt x="1743" y="14"/>
                    <a:pt x="1743" y="14"/>
                    <a:pt x="1743" y="13"/>
                  </a:cubicBezTo>
                  <a:close/>
                  <a:moveTo>
                    <a:pt x="660" y="61"/>
                  </a:moveTo>
                  <a:cubicBezTo>
                    <a:pt x="660" y="61"/>
                    <a:pt x="660" y="61"/>
                    <a:pt x="660" y="61"/>
                  </a:cubicBezTo>
                  <a:cubicBezTo>
                    <a:pt x="660" y="61"/>
                    <a:pt x="660" y="61"/>
                    <a:pt x="660" y="61"/>
                  </a:cubicBezTo>
                  <a:close/>
                  <a:moveTo>
                    <a:pt x="965" y="92"/>
                  </a:moveTo>
                  <a:cubicBezTo>
                    <a:pt x="965" y="92"/>
                    <a:pt x="964" y="92"/>
                    <a:pt x="964" y="92"/>
                  </a:cubicBezTo>
                  <a:cubicBezTo>
                    <a:pt x="964" y="92"/>
                    <a:pt x="964" y="92"/>
                    <a:pt x="965" y="92"/>
                  </a:cubicBezTo>
                  <a:close/>
                  <a:moveTo>
                    <a:pt x="544" y="14"/>
                  </a:moveTo>
                  <a:cubicBezTo>
                    <a:pt x="544" y="14"/>
                    <a:pt x="544" y="14"/>
                    <a:pt x="544" y="14"/>
                  </a:cubicBezTo>
                  <a:cubicBezTo>
                    <a:pt x="544" y="14"/>
                    <a:pt x="544" y="14"/>
                    <a:pt x="544" y="14"/>
                  </a:cubicBezTo>
                  <a:close/>
                  <a:moveTo>
                    <a:pt x="971" y="14"/>
                  </a:moveTo>
                  <a:cubicBezTo>
                    <a:pt x="971" y="14"/>
                    <a:pt x="971" y="14"/>
                    <a:pt x="971" y="14"/>
                  </a:cubicBezTo>
                  <a:cubicBezTo>
                    <a:pt x="971" y="14"/>
                    <a:pt x="971" y="14"/>
                    <a:pt x="971" y="14"/>
                  </a:cubicBezTo>
                  <a:close/>
                  <a:moveTo>
                    <a:pt x="1347" y="14"/>
                  </a:moveTo>
                  <a:cubicBezTo>
                    <a:pt x="1347" y="14"/>
                    <a:pt x="1347" y="14"/>
                    <a:pt x="1348" y="14"/>
                  </a:cubicBezTo>
                  <a:cubicBezTo>
                    <a:pt x="1347" y="14"/>
                    <a:pt x="1347" y="14"/>
                    <a:pt x="1347" y="14"/>
                  </a:cubicBezTo>
                  <a:close/>
                  <a:moveTo>
                    <a:pt x="1551" y="61"/>
                  </a:moveTo>
                  <a:cubicBezTo>
                    <a:pt x="1551" y="61"/>
                    <a:pt x="1551" y="61"/>
                    <a:pt x="1551" y="61"/>
                  </a:cubicBezTo>
                  <a:cubicBezTo>
                    <a:pt x="1551" y="61"/>
                    <a:pt x="1551" y="61"/>
                    <a:pt x="1551" y="61"/>
                  </a:cubicBezTo>
                  <a:close/>
                  <a:moveTo>
                    <a:pt x="1566" y="61"/>
                  </a:moveTo>
                  <a:cubicBezTo>
                    <a:pt x="1566" y="61"/>
                    <a:pt x="1566" y="61"/>
                    <a:pt x="1566" y="61"/>
                  </a:cubicBezTo>
                  <a:cubicBezTo>
                    <a:pt x="1566" y="61"/>
                    <a:pt x="1566" y="61"/>
                    <a:pt x="1566" y="61"/>
                  </a:cubicBezTo>
                  <a:close/>
                  <a:moveTo>
                    <a:pt x="1189" y="92"/>
                  </a:moveTo>
                  <a:cubicBezTo>
                    <a:pt x="1189" y="92"/>
                    <a:pt x="1189" y="92"/>
                    <a:pt x="1189" y="92"/>
                  </a:cubicBezTo>
                  <a:cubicBezTo>
                    <a:pt x="1189" y="92"/>
                    <a:pt x="1189" y="92"/>
                    <a:pt x="1189" y="92"/>
                  </a:cubicBezTo>
                  <a:close/>
                  <a:moveTo>
                    <a:pt x="1201" y="92"/>
                  </a:moveTo>
                  <a:cubicBezTo>
                    <a:pt x="1201" y="92"/>
                    <a:pt x="1202" y="92"/>
                    <a:pt x="1202" y="92"/>
                  </a:cubicBezTo>
                  <a:cubicBezTo>
                    <a:pt x="1202" y="92"/>
                    <a:pt x="1201" y="92"/>
                    <a:pt x="1201" y="92"/>
                  </a:cubicBezTo>
                  <a:close/>
                  <a:moveTo>
                    <a:pt x="1667" y="61"/>
                  </a:moveTo>
                  <a:cubicBezTo>
                    <a:pt x="1667" y="61"/>
                    <a:pt x="1667" y="61"/>
                    <a:pt x="1667" y="61"/>
                  </a:cubicBezTo>
                  <a:cubicBezTo>
                    <a:pt x="1667" y="61"/>
                    <a:pt x="1667" y="61"/>
                    <a:pt x="1667" y="61"/>
                  </a:cubicBezTo>
                  <a:close/>
                  <a:moveTo>
                    <a:pt x="1719" y="61"/>
                  </a:moveTo>
                  <a:cubicBezTo>
                    <a:pt x="1719" y="61"/>
                    <a:pt x="1719" y="61"/>
                    <a:pt x="1719" y="61"/>
                  </a:cubicBezTo>
                  <a:cubicBezTo>
                    <a:pt x="1719" y="61"/>
                    <a:pt x="1719" y="61"/>
                    <a:pt x="1719" y="61"/>
                  </a:cubicBezTo>
                  <a:close/>
                  <a:moveTo>
                    <a:pt x="1734" y="61"/>
                  </a:moveTo>
                  <a:cubicBezTo>
                    <a:pt x="1734" y="61"/>
                    <a:pt x="1734" y="61"/>
                    <a:pt x="1734" y="61"/>
                  </a:cubicBezTo>
                  <a:cubicBezTo>
                    <a:pt x="1734" y="61"/>
                    <a:pt x="1734" y="61"/>
                    <a:pt x="1734" y="61"/>
                  </a:cubicBezTo>
                  <a:close/>
                  <a:moveTo>
                    <a:pt x="582" y="61"/>
                  </a:moveTo>
                  <a:cubicBezTo>
                    <a:pt x="582" y="61"/>
                    <a:pt x="582" y="62"/>
                    <a:pt x="583" y="62"/>
                  </a:cubicBezTo>
                  <a:cubicBezTo>
                    <a:pt x="583" y="61"/>
                    <a:pt x="582" y="61"/>
                    <a:pt x="582" y="61"/>
                  </a:cubicBezTo>
                  <a:close/>
                  <a:moveTo>
                    <a:pt x="1391" y="14"/>
                  </a:moveTo>
                  <a:cubicBezTo>
                    <a:pt x="1391" y="14"/>
                    <a:pt x="1391" y="14"/>
                    <a:pt x="1392" y="14"/>
                  </a:cubicBezTo>
                  <a:cubicBezTo>
                    <a:pt x="1392" y="14"/>
                    <a:pt x="1391" y="14"/>
                    <a:pt x="1391" y="14"/>
                  </a:cubicBezTo>
                  <a:close/>
                  <a:moveTo>
                    <a:pt x="1421" y="14"/>
                  </a:moveTo>
                  <a:cubicBezTo>
                    <a:pt x="1421" y="14"/>
                    <a:pt x="1421" y="14"/>
                    <a:pt x="1421" y="14"/>
                  </a:cubicBezTo>
                  <a:cubicBezTo>
                    <a:pt x="1421" y="14"/>
                    <a:pt x="1421" y="14"/>
                    <a:pt x="1421" y="14"/>
                  </a:cubicBezTo>
                  <a:close/>
                  <a:moveTo>
                    <a:pt x="1461" y="14"/>
                  </a:moveTo>
                  <a:cubicBezTo>
                    <a:pt x="1461" y="14"/>
                    <a:pt x="1461" y="14"/>
                    <a:pt x="1461" y="14"/>
                  </a:cubicBezTo>
                  <a:cubicBezTo>
                    <a:pt x="1461" y="14"/>
                    <a:pt x="1461" y="14"/>
                    <a:pt x="1461" y="14"/>
                  </a:cubicBezTo>
                  <a:close/>
                  <a:moveTo>
                    <a:pt x="585" y="92"/>
                  </a:moveTo>
                  <a:cubicBezTo>
                    <a:pt x="585" y="92"/>
                    <a:pt x="585" y="92"/>
                    <a:pt x="585" y="92"/>
                  </a:cubicBezTo>
                  <a:cubicBezTo>
                    <a:pt x="585" y="92"/>
                    <a:pt x="585" y="92"/>
                    <a:pt x="585" y="92"/>
                  </a:cubicBezTo>
                  <a:close/>
                  <a:moveTo>
                    <a:pt x="1575" y="14"/>
                  </a:moveTo>
                  <a:cubicBezTo>
                    <a:pt x="1575" y="14"/>
                    <a:pt x="1576" y="14"/>
                    <a:pt x="1576" y="14"/>
                  </a:cubicBezTo>
                  <a:cubicBezTo>
                    <a:pt x="1576" y="14"/>
                    <a:pt x="1576" y="14"/>
                    <a:pt x="1575" y="14"/>
                  </a:cubicBezTo>
                  <a:close/>
                  <a:moveTo>
                    <a:pt x="1744" y="14"/>
                  </a:moveTo>
                  <a:cubicBezTo>
                    <a:pt x="1744" y="14"/>
                    <a:pt x="1744" y="14"/>
                    <a:pt x="1744" y="14"/>
                  </a:cubicBezTo>
                  <a:cubicBezTo>
                    <a:pt x="1744" y="14"/>
                    <a:pt x="1744" y="14"/>
                    <a:pt x="1744" y="14"/>
                  </a:cubicBezTo>
                  <a:close/>
                  <a:moveTo>
                    <a:pt x="1382" y="61"/>
                  </a:moveTo>
                  <a:cubicBezTo>
                    <a:pt x="1381" y="61"/>
                    <a:pt x="1381" y="61"/>
                    <a:pt x="1381" y="61"/>
                  </a:cubicBezTo>
                  <a:cubicBezTo>
                    <a:pt x="1381" y="61"/>
                    <a:pt x="1381" y="61"/>
                    <a:pt x="1382" y="61"/>
                  </a:cubicBezTo>
                  <a:close/>
                  <a:moveTo>
                    <a:pt x="729" y="92"/>
                  </a:moveTo>
                  <a:cubicBezTo>
                    <a:pt x="729" y="92"/>
                    <a:pt x="729" y="92"/>
                    <a:pt x="730" y="92"/>
                  </a:cubicBezTo>
                  <a:cubicBezTo>
                    <a:pt x="729" y="92"/>
                    <a:pt x="729" y="92"/>
                    <a:pt x="729" y="92"/>
                  </a:cubicBezTo>
                  <a:close/>
                  <a:moveTo>
                    <a:pt x="543" y="14"/>
                  </a:moveTo>
                  <a:cubicBezTo>
                    <a:pt x="544" y="14"/>
                    <a:pt x="544" y="14"/>
                    <a:pt x="544" y="14"/>
                  </a:cubicBezTo>
                  <a:cubicBezTo>
                    <a:pt x="544" y="14"/>
                    <a:pt x="543" y="14"/>
                    <a:pt x="543" y="14"/>
                  </a:cubicBezTo>
                  <a:close/>
                  <a:moveTo>
                    <a:pt x="754" y="92"/>
                  </a:moveTo>
                  <a:cubicBezTo>
                    <a:pt x="754" y="92"/>
                    <a:pt x="754" y="92"/>
                    <a:pt x="754" y="92"/>
                  </a:cubicBezTo>
                  <a:cubicBezTo>
                    <a:pt x="754" y="92"/>
                    <a:pt x="754" y="92"/>
                    <a:pt x="754" y="92"/>
                  </a:cubicBezTo>
                  <a:close/>
                  <a:moveTo>
                    <a:pt x="970" y="14"/>
                  </a:moveTo>
                  <a:cubicBezTo>
                    <a:pt x="971" y="14"/>
                    <a:pt x="971" y="14"/>
                    <a:pt x="971" y="14"/>
                  </a:cubicBezTo>
                  <a:cubicBezTo>
                    <a:pt x="971" y="14"/>
                    <a:pt x="971" y="14"/>
                    <a:pt x="970" y="14"/>
                  </a:cubicBezTo>
                  <a:close/>
                  <a:moveTo>
                    <a:pt x="1667" y="61"/>
                  </a:moveTo>
                  <a:cubicBezTo>
                    <a:pt x="1667" y="61"/>
                    <a:pt x="1667" y="62"/>
                    <a:pt x="1668" y="62"/>
                  </a:cubicBezTo>
                  <a:cubicBezTo>
                    <a:pt x="1668" y="61"/>
                    <a:pt x="1667" y="61"/>
                    <a:pt x="1667" y="61"/>
                  </a:cubicBezTo>
                  <a:close/>
                  <a:moveTo>
                    <a:pt x="965" y="92"/>
                  </a:moveTo>
                  <a:cubicBezTo>
                    <a:pt x="965" y="92"/>
                    <a:pt x="965" y="92"/>
                    <a:pt x="965" y="92"/>
                  </a:cubicBezTo>
                  <a:cubicBezTo>
                    <a:pt x="965" y="92"/>
                    <a:pt x="965" y="92"/>
                    <a:pt x="965" y="92"/>
                  </a:cubicBezTo>
                  <a:close/>
                  <a:moveTo>
                    <a:pt x="1347" y="15"/>
                  </a:moveTo>
                  <a:cubicBezTo>
                    <a:pt x="1347" y="15"/>
                    <a:pt x="1347" y="14"/>
                    <a:pt x="1347" y="14"/>
                  </a:cubicBezTo>
                  <a:cubicBezTo>
                    <a:pt x="1347" y="14"/>
                    <a:pt x="1347" y="14"/>
                    <a:pt x="1347" y="15"/>
                  </a:cubicBezTo>
                  <a:close/>
                  <a:moveTo>
                    <a:pt x="1392" y="14"/>
                  </a:moveTo>
                  <a:cubicBezTo>
                    <a:pt x="1392" y="14"/>
                    <a:pt x="1392" y="15"/>
                    <a:pt x="1392" y="15"/>
                  </a:cubicBezTo>
                  <a:cubicBezTo>
                    <a:pt x="1392" y="14"/>
                    <a:pt x="1392" y="14"/>
                    <a:pt x="1392" y="14"/>
                  </a:cubicBezTo>
                  <a:close/>
                  <a:moveTo>
                    <a:pt x="583" y="62"/>
                  </a:moveTo>
                  <a:cubicBezTo>
                    <a:pt x="583" y="62"/>
                    <a:pt x="583" y="62"/>
                    <a:pt x="583" y="62"/>
                  </a:cubicBezTo>
                  <a:cubicBezTo>
                    <a:pt x="583" y="62"/>
                    <a:pt x="583" y="62"/>
                    <a:pt x="583" y="62"/>
                  </a:cubicBezTo>
                  <a:close/>
                  <a:moveTo>
                    <a:pt x="661" y="62"/>
                  </a:moveTo>
                  <a:cubicBezTo>
                    <a:pt x="661" y="62"/>
                    <a:pt x="661" y="61"/>
                    <a:pt x="660" y="61"/>
                  </a:cubicBezTo>
                  <a:cubicBezTo>
                    <a:pt x="660" y="62"/>
                    <a:pt x="660" y="62"/>
                    <a:pt x="661" y="62"/>
                  </a:cubicBezTo>
                  <a:close/>
                  <a:moveTo>
                    <a:pt x="1421" y="15"/>
                  </a:moveTo>
                  <a:cubicBezTo>
                    <a:pt x="1421" y="15"/>
                    <a:pt x="1421" y="14"/>
                    <a:pt x="1421" y="14"/>
                  </a:cubicBezTo>
                  <a:cubicBezTo>
                    <a:pt x="1421" y="14"/>
                    <a:pt x="1421" y="14"/>
                    <a:pt x="1421" y="15"/>
                  </a:cubicBezTo>
                  <a:close/>
                  <a:moveTo>
                    <a:pt x="1576" y="14"/>
                  </a:moveTo>
                  <a:cubicBezTo>
                    <a:pt x="1576" y="14"/>
                    <a:pt x="1576" y="14"/>
                    <a:pt x="1576" y="15"/>
                  </a:cubicBezTo>
                  <a:cubicBezTo>
                    <a:pt x="1576" y="14"/>
                    <a:pt x="1576" y="14"/>
                    <a:pt x="1576" y="14"/>
                  </a:cubicBezTo>
                  <a:close/>
                  <a:moveTo>
                    <a:pt x="1366" y="62"/>
                  </a:moveTo>
                  <a:cubicBezTo>
                    <a:pt x="1366" y="62"/>
                    <a:pt x="1366" y="62"/>
                    <a:pt x="1366" y="62"/>
                  </a:cubicBezTo>
                  <a:cubicBezTo>
                    <a:pt x="1366" y="62"/>
                    <a:pt x="1366" y="62"/>
                    <a:pt x="1366" y="62"/>
                  </a:cubicBezTo>
                  <a:close/>
                  <a:moveTo>
                    <a:pt x="1381" y="61"/>
                  </a:moveTo>
                  <a:cubicBezTo>
                    <a:pt x="1381" y="61"/>
                    <a:pt x="1381" y="62"/>
                    <a:pt x="1381" y="62"/>
                  </a:cubicBezTo>
                  <a:cubicBezTo>
                    <a:pt x="1381" y="62"/>
                    <a:pt x="1381" y="62"/>
                    <a:pt x="1381" y="61"/>
                  </a:cubicBezTo>
                  <a:close/>
                  <a:moveTo>
                    <a:pt x="1744" y="14"/>
                  </a:moveTo>
                  <a:cubicBezTo>
                    <a:pt x="1744" y="14"/>
                    <a:pt x="1744" y="14"/>
                    <a:pt x="1744" y="15"/>
                  </a:cubicBezTo>
                  <a:cubicBezTo>
                    <a:pt x="1744" y="14"/>
                    <a:pt x="1744" y="14"/>
                    <a:pt x="1744" y="14"/>
                  </a:cubicBezTo>
                  <a:close/>
                  <a:moveTo>
                    <a:pt x="1418" y="92"/>
                  </a:moveTo>
                  <a:cubicBezTo>
                    <a:pt x="1418" y="92"/>
                    <a:pt x="1418" y="92"/>
                    <a:pt x="1418" y="92"/>
                  </a:cubicBezTo>
                  <a:cubicBezTo>
                    <a:pt x="1418" y="92"/>
                    <a:pt x="1418" y="92"/>
                    <a:pt x="1418" y="92"/>
                  </a:cubicBezTo>
                  <a:close/>
                  <a:moveTo>
                    <a:pt x="1668" y="62"/>
                  </a:moveTo>
                  <a:cubicBezTo>
                    <a:pt x="1668" y="62"/>
                    <a:pt x="1668" y="62"/>
                    <a:pt x="1668" y="62"/>
                  </a:cubicBezTo>
                  <a:cubicBezTo>
                    <a:pt x="1668" y="62"/>
                    <a:pt x="1668" y="62"/>
                    <a:pt x="1668" y="62"/>
                  </a:cubicBezTo>
                  <a:close/>
                  <a:moveTo>
                    <a:pt x="583" y="62"/>
                  </a:moveTo>
                  <a:cubicBezTo>
                    <a:pt x="583" y="62"/>
                    <a:pt x="583" y="62"/>
                    <a:pt x="583" y="62"/>
                  </a:cubicBezTo>
                  <a:cubicBezTo>
                    <a:pt x="583" y="62"/>
                    <a:pt x="583" y="62"/>
                    <a:pt x="583" y="62"/>
                  </a:cubicBezTo>
                  <a:close/>
                  <a:moveTo>
                    <a:pt x="543" y="15"/>
                  </a:moveTo>
                  <a:cubicBezTo>
                    <a:pt x="543" y="15"/>
                    <a:pt x="543" y="15"/>
                    <a:pt x="543" y="14"/>
                  </a:cubicBezTo>
                  <a:cubicBezTo>
                    <a:pt x="543" y="15"/>
                    <a:pt x="543" y="15"/>
                    <a:pt x="543" y="15"/>
                  </a:cubicBezTo>
                  <a:close/>
                  <a:moveTo>
                    <a:pt x="1420" y="15"/>
                  </a:moveTo>
                  <a:cubicBezTo>
                    <a:pt x="1420" y="15"/>
                    <a:pt x="1421" y="15"/>
                    <a:pt x="1421" y="15"/>
                  </a:cubicBezTo>
                  <a:cubicBezTo>
                    <a:pt x="1420" y="15"/>
                    <a:pt x="1420" y="15"/>
                    <a:pt x="1420" y="15"/>
                  </a:cubicBezTo>
                  <a:close/>
                  <a:moveTo>
                    <a:pt x="1576" y="15"/>
                  </a:moveTo>
                  <a:cubicBezTo>
                    <a:pt x="1576" y="15"/>
                    <a:pt x="1576" y="15"/>
                    <a:pt x="1576" y="15"/>
                  </a:cubicBezTo>
                  <a:cubicBezTo>
                    <a:pt x="1576" y="15"/>
                    <a:pt x="1576" y="15"/>
                    <a:pt x="1576" y="15"/>
                  </a:cubicBezTo>
                  <a:close/>
                  <a:moveTo>
                    <a:pt x="1744" y="15"/>
                  </a:moveTo>
                  <a:cubicBezTo>
                    <a:pt x="1744" y="15"/>
                    <a:pt x="1744" y="15"/>
                    <a:pt x="1745" y="15"/>
                  </a:cubicBezTo>
                  <a:cubicBezTo>
                    <a:pt x="1745" y="15"/>
                    <a:pt x="1744" y="15"/>
                    <a:pt x="1744" y="15"/>
                  </a:cubicBezTo>
                  <a:close/>
                  <a:moveTo>
                    <a:pt x="543" y="15"/>
                  </a:moveTo>
                  <a:cubicBezTo>
                    <a:pt x="543" y="15"/>
                    <a:pt x="543" y="15"/>
                    <a:pt x="543" y="15"/>
                  </a:cubicBezTo>
                  <a:cubicBezTo>
                    <a:pt x="543" y="15"/>
                    <a:pt x="543" y="15"/>
                    <a:pt x="543" y="15"/>
                  </a:cubicBezTo>
                  <a:close/>
                  <a:moveTo>
                    <a:pt x="969" y="15"/>
                  </a:moveTo>
                  <a:cubicBezTo>
                    <a:pt x="970" y="15"/>
                    <a:pt x="970" y="15"/>
                    <a:pt x="970" y="15"/>
                  </a:cubicBezTo>
                  <a:cubicBezTo>
                    <a:pt x="970" y="15"/>
                    <a:pt x="969" y="15"/>
                    <a:pt x="969" y="15"/>
                  </a:cubicBezTo>
                  <a:close/>
                  <a:moveTo>
                    <a:pt x="542" y="16"/>
                  </a:moveTo>
                  <a:cubicBezTo>
                    <a:pt x="543" y="16"/>
                    <a:pt x="543" y="15"/>
                    <a:pt x="543" y="15"/>
                  </a:cubicBezTo>
                  <a:cubicBezTo>
                    <a:pt x="543" y="15"/>
                    <a:pt x="542" y="15"/>
                    <a:pt x="542" y="16"/>
                  </a:cubicBezTo>
                  <a:close/>
                  <a:moveTo>
                    <a:pt x="1381" y="62"/>
                  </a:moveTo>
                  <a:cubicBezTo>
                    <a:pt x="1381" y="62"/>
                    <a:pt x="1380" y="62"/>
                    <a:pt x="1380" y="62"/>
                  </a:cubicBezTo>
                  <a:cubicBezTo>
                    <a:pt x="1381" y="62"/>
                    <a:pt x="1381" y="62"/>
                    <a:pt x="1381" y="62"/>
                  </a:cubicBezTo>
                  <a:close/>
                  <a:moveTo>
                    <a:pt x="1549" y="62"/>
                  </a:moveTo>
                  <a:cubicBezTo>
                    <a:pt x="1550" y="62"/>
                    <a:pt x="1550" y="62"/>
                    <a:pt x="1550" y="62"/>
                  </a:cubicBezTo>
                  <a:cubicBezTo>
                    <a:pt x="1550" y="62"/>
                    <a:pt x="1549" y="62"/>
                    <a:pt x="1549" y="62"/>
                  </a:cubicBezTo>
                  <a:close/>
                  <a:moveTo>
                    <a:pt x="1565" y="62"/>
                  </a:moveTo>
                  <a:cubicBezTo>
                    <a:pt x="1565" y="62"/>
                    <a:pt x="1565" y="62"/>
                    <a:pt x="1565" y="62"/>
                  </a:cubicBezTo>
                  <a:cubicBezTo>
                    <a:pt x="1565" y="62"/>
                    <a:pt x="1565" y="62"/>
                    <a:pt x="1565" y="62"/>
                  </a:cubicBezTo>
                  <a:close/>
                  <a:moveTo>
                    <a:pt x="1392" y="15"/>
                  </a:moveTo>
                  <a:cubicBezTo>
                    <a:pt x="1392" y="15"/>
                    <a:pt x="1392" y="16"/>
                    <a:pt x="1393" y="16"/>
                  </a:cubicBezTo>
                  <a:cubicBezTo>
                    <a:pt x="1393" y="15"/>
                    <a:pt x="1392" y="15"/>
                    <a:pt x="1392" y="15"/>
                  </a:cubicBezTo>
                  <a:close/>
                  <a:moveTo>
                    <a:pt x="965" y="93"/>
                  </a:moveTo>
                  <a:cubicBezTo>
                    <a:pt x="965" y="93"/>
                    <a:pt x="965" y="92"/>
                    <a:pt x="965" y="92"/>
                  </a:cubicBezTo>
                  <a:cubicBezTo>
                    <a:pt x="965" y="93"/>
                    <a:pt x="965" y="93"/>
                    <a:pt x="965" y="93"/>
                  </a:cubicBezTo>
                  <a:close/>
                  <a:moveTo>
                    <a:pt x="1462" y="15"/>
                  </a:moveTo>
                  <a:cubicBezTo>
                    <a:pt x="1462" y="15"/>
                    <a:pt x="1462" y="16"/>
                    <a:pt x="1462" y="16"/>
                  </a:cubicBezTo>
                  <a:cubicBezTo>
                    <a:pt x="1462" y="15"/>
                    <a:pt x="1462" y="15"/>
                    <a:pt x="1462" y="15"/>
                  </a:cubicBezTo>
                  <a:close/>
                  <a:moveTo>
                    <a:pt x="1668" y="62"/>
                  </a:moveTo>
                  <a:cubicBezTo>
                    <a:pt x="1668" y="62"/>
                    <a:pt x="1668" y="62"/>
                    <a:pt x="1668" y="62"/>
                  </a:cubicBezTo>
                  <a:cubicBezTo>
                    <a:pt x="1668" y="62"/>
                    <a:pt x="1668" y="62"/>
                    <a:pt x="1668" y="62"/>
                  </a:cubicBezTo>
                  <a:close/>
                  <a:moveTo>
                    <a:pt x="1036" y="93"/>
                  </a:moveTo>
                  <a:cubicBezTo>
                    <a:pt x="1036" y="93"/>
                    <a:pt x="1036" y="92"/>
                    <a:pt x="1036" y="92"/>
                  </a:cubicBezTo>
                  <a:cubicBezTo>
                    <a:pt x="1036" y="93"/>
                    <a:pt x="1036" y="93"/>
                    <a:pt x="1036" y="93"/>
                  </a:cubicBezTo>
                  <a:close/>
                  <a:moveTo>
                    <a:pt x="1717" y="62"/>
                  </a:moveTo>
                  <a:cubicBezTo>
                    <a:pt x="1718" y="62"/>
                    <a:pt x="1718" y="62"/>
                    <a:pt x="1718" y="62"/>
                  </a:cubicBezTo>
                  <a:cubicBezTo>
                    <a:pt x="1718" y="62"/>
                    <a:pt x="1718" y="62"/>
                    <a:pt x="1717" y="62"/>
                  </a:cubicBezTo>
                  <a:close/>
                  <a:moveTo>
                    <a:pt x="1733" y="62"/>
                  </a:moveTo>
                  <a:cubicBezTo>
                    <a:pt x="1733" y="62"/>
                    <a:pt x="1733" y="62"/>
                    <a:pt x="1733" y="62"/>
                  </a:cubicBezTo>
                  <a:cubicBezTo>
                    <a:pt x="1733" y="62"/>
                    <a:pt x="1733" y="62"/>
                    <a:pt x="1733" y="62"/>
                  </a:cubicBezTo>
                  <a:close/>
                  <a:moveTo>
                    <a:pt x="542" y="16"/>
                  </a:moveTo>
                  <a:cubicBezTo>
                    <a:pt x="542" y="16"/>
                    <a:pt x="542" y="16"/>
                    <a:pt x="542" y="16"/>
                  </a:cubicBezTo>
                  <a:cubicBezTo>
                    <a:pt x="542" y="16"/>
                    <a:pt x="542" y="16"/>
                    <a:pt x="542" y="16"/>
                  </a:cubicBezTo>
                  <a:close/>
                  <a:moveTo>
                    <a:pt x="1393" y="16"/>
                  </a:moveTo>
                  <a:cubicBezTo>
                    <a:pt x="1393" y="16"/>
                    <a:pt x="1393" y="16"/>
                    <a:pt x="1393" y="16"/>
                  </a:cubicBezTo>
                  <a:cubicBezTo>
                    <a:pt x="1393" y="16"/>
                    <a:pt x="1393" y="16"/>
                    <a:pt x="1393" y="16"/>
                  </a:cubicBezTo>
                  <a:close/>
                  <a:moveTo>
                    <a:pt x="1214" y="93"/>
                  </a:moveTo>
                  <a:cubicBezTo>
                    <a:pt x="1214" y="93"/>
                    <a:pt x="1214" y="92"/>
                    <a:pt x="1214" y="92"/>
                  </a:cubicBezTo>
                  <a:cubicBezTo>
                    <a:pt x="1214" y="93"/>
                    <a:pt x="1214" y="93"/>
                    <a:pt x="1214" y="93"/>
                  </a:cubicBezTo>
                  <a:close/>
                  <a:moveTo>
                    <a:pt x="1462" y="16"/>
                  </a:moveTo>
                  <a:cubicBezTo>
                    <a:pt x="1462" y="16"/>
                    <a:pt x="1462" y="16"/>
                    <a:pt x="1462" y="16"/>
                  </a:cubicBezTo>
                  <a:cubicBezTo>
                    <a:pt x="1462" y="16"/>
                    <a:pt x="1462" y="16"/>
                    <a:pt x="1462" y="16"/>
                  </a:cubicBezTo>
                  <a:close/>
                  <a:moveTo>
                    <a:pt x="542" y="16"/>
                  </a:moveTo>
                  <a:cubicBezTo>
                    <a:pt x="542" y="16"/>
                    <a:pt x="542" y="16"/>
                    <a:pt x="542" y="16"/>
                  </a:cubicBezTo>
                  <a:cubicBezTo>
                    <a:pt x="542" y="16"/>
                    <a:pt x="542" y="16"/>
                    <a:pt x="542" y="16"/>
                  </a:cubicBezTo>
                  <a:close/>
                  <a:moveTo>
                    <a:pt x="968" y="16"/>
                  </a:moveTo>
                  <a:cubicBezTo>
                    <a:pt x="968" y="16"/>
                    <a:pt x="968" y="16"/>
                    <a:pt x="968" y="16"/>
                  </a:cubicBezTo>
                  <a:cubicBezTo>
                    <a:pt x="968" y="16"/>
                    <a:pt x="968" y="16"/>
                    <a:pt x="968" y="16"/>
                  </a:cubicBezTo>
                  <a:close/>
                  <a:moveTo>
                    <a:pt x="1461" y="92"/>
                  </a:moveTo>
                  <a:cubicBezTo>
                    <a:pt x="1461" y="92"/>
                    <a:pt x="1461" y="93"/>
                    <a:pt x="1461" y="93"/>
                  </a:cubicBezTo>
                  <a:cubicBezTo>
                    <a:pt x="1461" y="93"/>
                    <a:pt x="1461" y="93"/>
                    <a:pt x="1461" y="92"/>
                  </a:cubicBezTo>
                  <a:close/>
                  <a:moveTo>
                    <a:pt x="1419" y="16"/>
                  </a:moveTo>
                  <a:cubicBezTo>
                    <a:pt x="1419" y="16"/>
                    <a:pt x="1419" y="16"/>
                    <a:pt x="1419" y="16"/>
                  </a:cubicBezTo>
                  <a:cubicBezTo>
                    <a:pt x="1419" y="16"/>
                    <a:pt x="1419" y="16"/>
                    <a:pt x="1419" y="16"/>
                  </a:cubicBezTo>
                  <a:close/>
                  <a:moveTo>
                    <a:pt x="1565" y="62"/>
                  </a:moveTo>
                  <a:cubicBezTo>
                    <a:pt x="1564" y="62"/>
                    <a:pt x="1564" y="62"/>
                    <a:pt x="1564" y="62"/>
                  </a:cubicBezTo>
                  <a:cubicBezTo>
                    <a:pt x="1564" y="62"/>
                    <a:pt x="1565" y="62"/>
                    <a:pt x="1565" y="62"/>
                  </a:cubicBezTo>
                  <a:close/>
                  <a:moveTo>
                    <a:pt x="1577" y="16"/>
                  </a:moveTo>
                  <a:cubicBezTo>
                    <a:pt x="1577" y="16"/>
                    <a:pt x="1577" y="16"/>
                    <a:pt x="1577" y="16"/>
                  </a:cubicBezTo>
                  <a:cubicBezTo>
                    <a:pt x="1577" y="16"/>
                    <a:pt x="1577" y="16"/>
                    <a:pt x="1577" y="16"/>
                  </a:cubicBezTo>
                  <a:close/>
                  <a:moveTo>
                    <a:pt x="1745" y="16"/>
                  </a:moveTo>
                  <a:cubicBezTo>
                    <a:pt x="1745" y="16"/>
                    <a:pt x="1745" y="16"/>
                    <a:pt x="1746" y="16"/>
                  </a:cubicBezTo>
                  <a:cubicBezTo>
                    <a:pt x="1746" y="16"/>
                    <a:pt x="1745" y="16"/>
                    <a:pt x="1745" y="16"/>
                  </a:cubicBezTo>
                  <a:close/>
                  <a:moveTo>
                    <a:pt x="968" y="17"/>
                  </a:moveTo>
                  <a:cubicBezTo>
                    <a:pt x="968" y="17"/>
                    <a:pt x="968" y="16"/>
                    <a:pt x="968" y="16"/>
                  </a:cubicBezTo>
                  <a:cubicBezTo>
                    <a:pt x="968" y="16"/>
                    <a:pt x="968" y="16"/>
                    <a:pt x="968" y="17"/>
                  </a:cubicBezTo>
                  <a:close/>
                  <a:moveTo>
                    <a:pt x="1733" y="62"/>
                  </a:moveTo>
                  <a:cubicBezTo>
                    <a:pt x="1733" y="62"/>
                    <a:pt x="1732" y="62"/>
                    <a:pt x="1732" y="62"/>
                  </a:cubicBezTo>
                  <a:cubicBezTo>
                    <a:pt x="1733" y="62"/>
                    <a:pt x="1733" y="62"/>
                    <a:pt x="1733" y="62"/>
                  </a:cubicBezTo>
                  <a:close/>
                  <a:moveTo>
                    <a:pt x="1419" y="17"/>
                  </a:moveTo>
                  <a:cubicBezTo>
                    <a:pt x="1419" y="17"/>
                    <a:pt x="1419" y="16"/>
                    <a:pt x="1419" y="16"/>
                  </a:cubicBezTo>
                  <a:cubicBezTo>
                    <a:pt x="1419" y="16"/>
                    <a:pt x="1419" y="16"/>
                    <a:pt x="1419" y="17"/>
                  </a:cubicBezTo>
                  <a:close/>
                  <a:moveTo>
                    <a:pt x="661" y="63"/>
                  </a:moveTo>
                  <a:cubicBezTo>
                    <a:pt x="661" y="63"/>
                    <a:pt x="661" y="63"/>
                    <a:pt x="661" y="62"/>
                  </a:cubicBezTo>
                  <a:cubicBezTo>
                    <a:pt x="661" y="63"/>
                    <a:pt x="661" y="63"/>
                    <a:pt x="661" y="63"/>
                  </a:cubicBezTo>
                  <a:close/>
                  <a:moveTo>
                    <a:pt x="1037" y="93"/>
                  </a:moveTo>
                  <a:cubicBezTo>
                    <a:pt x="1037" y="93"/>
                    <a:pt x="1036" y="93"/>
                    <a:pt x="1036" y="93"/>
                  </a:cubicBezTo>
                  <a:cubicBezTo>
                    <a:pt x="1036" y="93"/>
                    <a:pt x="1036" y="93"/>
                    <a:pt x="1037" y="93"/>
                  </a:cubicBezTo>
                  <a:close/>
                  <a:moveTo>
                    <a:pt x="1679" y="16"/>
                  </a:moveTo>
                  <a:cubicBezTo>
                    <a:pt x="1679" y="16"/>
                    <a:pt x="1679" y="17"/>
                    <a:pt x="1679" y="17"/>
                  </a:cubicBezTo>
                  <a:cubicBezTo>
                    <a:pt x="1679" y="16"/>
                    <a:pt x="1679" y="16"/>
                    <a:pt x="1679" y="16"/>
                  </a:cubicBezTo>
                  <a:close/>
                  <a:moveTo>
                    <a:pt x="1364" y="63"/>
                  </a:moveTo>
                  <a:cubicBezTo>
                    <a:pt x="1364" y="63"/>
                    <a:pt x="1365" y="63"/>
                    <a:pt x="1365" y="63"/>
                  </a:cubicBezTo>
                  <a:cubicBezTo>
                    <a:pt x="1364" y="63"/>
                    <a:pt x="1364" y="63"/>
                    <a:pt x="1364" y="63"/>
                  </a:cubicBezTo>
                  <a:close/>
                  <a:moveTo>
                    <a:pt x="1380" y="63"/>
                  </a:moveTo>
                  <a:cubicBezTo>
                    <a:pt x="1380" y="63"/>
                    <a:pt x="1379" y="63"/>
                    <a:pt x="1379" y="63"/>
                  </a:cubicBezTo>
                  <a:cubicBezTo>
                    <a:pt x="1380" y="63"/>
                    <a:pt x="1380" y="63"/>
                    <a:pt x="1380" y="63"/>
                  </a:cubicBezTo>
                  <a:close/>
                  <a:moveTo>
                    <a:pt x="967" y="17"/>
                  </a:moveTo>
                  <a:cubicBezTo>
                    <a:pt x="968" y="17"/>
                    <a:pt x="968" y="17"/>
                    <a:pt x="968" y="17"/>
                  </a:cubicBezTo>
                  <a:cubicBezTo>
                    <a:pt x="968" y="17"/>
                    <a:pt x="967" y="17"/>
                    <a:pt x="967" y="17"/>
                  </a:cubicBezTo>
                  <a:close/>
                  <a:moveTo>
                    <a:pt x="1214" y="93"/>
                  </a:moveTo>
                  <a:cubicBezTo>
                    <a:pt x="1214" y="93"/>
                    <a:pt x="1214" y="93"/>
                    <a:pt x="1214" y="93"/>
                  </a:cubicBezTo>
                  <a:cubicBezTo>
                    <a:pt x="1214" y="93"/>
                    <a:pt x="1214" y="93"/>
                    <a:pt x="1214" y="93"/>
                  </a:cubicBezTo>
                  <a:close/>
                  <a:moveTo>
                    <a:pt x="1393" y="17"/>
                  </a:moveTo>
                  <a:cubicBezTo>
                    <a:pt x="1393" y="17"/>
                    <a:pt x="1393" y="17"/>
                    <a:pt x="1394" y="17"/>
                  </a:cubicBezTo>
                  <a:cubicBezTo>
                    <a:pt x="1394" y="17"/>
                    <a:pt x="1393" y="17"/>
                    <a:pt x="1393" y="17"/>
                  </a:cubicBezTo>
                  <a:close/>
                  <a:moveTo>
                    <a:pt x="1463" y="17"/>
                  </a:moveTo>
                  <a:cubicBezTo>
                    <a:pt x="1463" y="17"/>
                    <a:pt x="1463" y="17"/>
                    <a:pt x="1463" y="17"/>
                  </a:cubicBezTo>
                  <a:cubicBezTo>
                    <a:pt x="1463" y="17"/>
                    <a:pt x="1463" y="17"/>
                    <a:pt x="1463" y="17"/>
                  </a:cubicBezTo>
                  <a:close/>
                  <a:moveTo>
                    <a:pt x="1461" y="93"/>
                  </a:moveTo>
                  <a:cubicBezTo>
                    <a:pt x="1461" y="93"/>
                    <a:pt x="1461" y="93"/>
                    <a:pt x="1461" y="93"/>
                  </a:cubicBezTo>
                  <a:cubicBezTo>
                    <a:pt x="1461" y="93"/>
                    <a:pt x="1461" y="93"/>
                    <a:pt x="1461" y="93"/>
                  </a:cubicBezTo>
                  <a:close/>
                  <a:moveTo>
                    <a:pt x="1679" y="17"/>
                  </a:moveTo>
                  <a:cubicBezTo>
                    <a:pt x="1679" y="17"/>
                    <a:pt x="1679" y="17"/>
                    <a:pt x="1679" y="17"/>
                  </a:cubicBezTo>
                  <a:cubicBezTo>
                    <a:pt x="1679" y="17"/>
                    <a:pt x="1679" y="17"/>
                    <a:pt x="1679" y="17"/>
                  </a:cubicBezTo>
                  <a:close/>
                  <a:moveTo>
                    <a:pt x="541" y="17"/>
                  </a:moveTo>
                  <a:cubicBezTo>
                    <a:pt x="541" y="17"/>
                    <a:pt x="541" y="17"/>
                    <a:pt x="541" y="17"/>
                  </a:cubicBezTo>
                  <a:cubicBezTo>
                    <a:pt x="541" y="17"/>
                    <a:pt x="541" y="17"/>
                    <a:pt x="541" y="17"/>
                  </a:cubicBezTo>
                  <a:close/>
                  <a:moveTo>
                    <a:pt x="584" y="93"/>
                  </a:moveTo>
                  <a:cubicBezTo>
                    <a:pt x="584" y="93"/>
                    <a:pt x="584" y="93"/>
                    <a:pt x="584" y="93"/>
                  </a:cubicBezTo>
                  <a:cubicBezTo>
                    <a:pt x="584" y="93"/>
                    <a:pt x="584" y="93"/>
                    <a:pt x="584" y="93"/>
                  </a:cubicBezTo>
                  <a:close/>
                  <a:moveTo>
                    <a:pt x="1578" y="17"/>
                  </a:moveTo>
                  <a:cubicBezTo>
                    <a:pt x="1578" y="17"/>
                    <a:pt x="1578" y="17"/>
                    <a:pt x="1578" y="17"/>
                  </a:cubicBezTo>
                  <a:cubicBezTo>
                    <a:pt x="1578" y="17"/>
                    <a:pt x="1578" y="17"/>
                    <a:pt x="1578" y="17"/>
                  </a:cubicBezTo>
                  <a:close/>
                  <a:moveTo>
                    <a:pt x="1679" y="17"/>
                  </a:moveTo>
                  <a:cubicBezTo>
                    <a:pt x="1679" y="17"/>
                    <a:pt x="1680" y="17"/>
                    <a:pt x="1680" y="17"/>
                  </a:cubicBezTo>
                  <a:cubicBezTo>
                    <a:pt x="1680" y="17"/>
                    <a:pt x="1680" y="17"/>
                    <a:pt x="1679" y="17"/>
                  </a:cubicBezTo>
                  <a:close/>
                  <a:moveTo>
                    <a:pt x="1746" y="17"/>
                  </a:moveTo>
                  <a:cubicBezTo>
                    <a:pt x="1746" y="17"/>
                    <a:pt x="1746" y="17"/>
                    <a:pt x="1746" y="17"/>
                  </a:cubicBezTo>
                  <a:cubicBezTo>
                    <a:pt x="1746" y="17"/>
                    <a:pt x="1746" y="17"/>
                    <a:pt x="1746" y="17"/>
                  </a:cubicBezTo>
                  <a:close/>
                  <a:moveTo>
                    <a:pt x="697" y="93"/>
                  </a:moveTo>
                  <a:cubicBezTo>
                    <a:pt x="697" y="93"/>
                    <a:pt x="697" y="93"/>
                    <a:pt x="697" y="94"/>
                  </a:cubicBezTo>
                  <a:cubicBezTo>
                    <a:pt x="697" y="93"/>
                    <a:pt x="697" y="93"/>
                    <a:pt x="697" y="93"/>
                  </a:cubicBezTo>
                  <a:close/>
                  <a:moveTo>
                    <a:pt x="541" y="18"/>
                  </a:moveTo>
                  <a:cubicBezTo>
                    <a:pt x="541" y="18"/>
                    <a:pt x="541" y="17"/>
                    <a:pt x="541" y="17"/>
                  </a:cubicBezTo>
                  <a:cubicBezTo>
                    <a:pt x="541" y="17"/>
                    <a:pt x="541" y="18"/>
                    <a:pt x="541" y="18"/>
                  </a:cubicBezTo>
                  <a:close/>
                  <a:moveTo>
                    <a:pt x="1418" y="18"/>
                  </a:moveTo>
                  <a:cubicBezTo>
                    <a:pt x="1418" y="18"/>
                    <a:pt x="1418" y="17"/>
                    <a:pt x="1418" y="17"/>
                  </a:cubicBezTo>
                  <a:cubicBezTo>
                    <a:pt x="1418" y="17"/>
                    <a:pt x="1418" y="18"/>
                    <a:pt x="1418" y="18"/>
                  </a:cubicBezTo>
                  <a:close/>
                  <a:moveTo>
                    <a:pt x="966" y="18"/>
                  </a:moveTo>
                  <a:cubicBezTo>
                    <a:pt x="966" y="18"/>
                    <a:pt x="966" y="18"/>
                    <a:pt x="966" y="18"/>
                  </a:cubicBezTo>
                  <a:cubicBezTo>
                    <a:pt x="966" y="18"/>
                    <a:pt x="966" y="18"/>
                    <a:pt x="966" y="18"/>
                  </a:cubicBezTo>
                  <a:close/>
                  <a:moveTo>
                    <a:pt x="1380" y="18"/>
                  </a:moveTo>
                  <a:cubicBezTo>
                    <a:pt x="1379" y="18"/>
                    <a:pt x="1379" y="18"/>
                    <a:pt x="1379" y="18"/>
                  </a:cubicBezTo>
                  <a:cubicBezTo>
                    <a:pt x="1379" y="18"/>
                    <a:pt x="1379" y="18"/>
                    <a:pt x="1380" y="18"/>
                  </a:cubicBezTo>
                  <a:close/>
                  <a:moveTo>
                    <a:pt x="1037" y="94"/>
                  </a:moveTo>
                  <a:cubicBezTo>
                    <a:pt x="1037" y="93"/>
                    <a:pt x="1037" y="93"/>
                    <a:pt x="1037" y="93"/>
                  </a:cubicBezTo>
                  <a:cubicBezTo>
                    <a:pt x="1037" y="93"/>
                    <a:pt x="1037" y="93"/>
                    <a:pt x="1037" y="94"/>
                  </a:cubicBezTo>
                  <a:close/>
                  <a:moveTo>
                    <a:pt x="1564" y="18"/>
                  </a:moveTo>
                  <a:cubicBezTo>
                    <a:pt x="1564" y="18"/>
                    <a:pt x="1563" y="18"/>
                    <a:pt x="1563" y="18"/>
                  </a:cubicBezTo>
                  <a:cubicBezTo>
                    <a:pt x="1563" y="18"/>
                    <a:pt x="1563" y="18"/>
                    <a:pt x="1564" y="18"/>
                  </a:cubicBezTo>
                  <a:close/>
                  <a:moveTo>
                    <a:pt x="1379" y="63"/>
                  </a:moveTo>
                  <a:cubicBezTo>
                    <a:pt x="1379" y="63"/>
                    <a:pt x="1379" y="63"/>
                    <a:pt x="1379" y="63"/>
                  </a:cubicBezTo>
                  <a:cubicBezTo>
                    <a:pt x="1379" y="63"/>
                    <a:pt x="1379" y="63"/>
                    <a:pt x="1379" y="63"/>
                  </a:cubicBezTo>
                  <a:close/>
                  <a:moveTo>
                    <a:pt x="1548" y="63"/>
                  </a:moveTo>
                  <a:cubicBezTo>
                    <a:pt x="1548" y="63"/>
                    <a:pt x="1548" y="63"/>
                    <a:pt x="1548" y="63"/>
                  </a:cubicBezTo>
                  <a:cubicBezTo>
                    <a:pt x="1548" y="63"/>
                    <a:pt x="1548" y="63"/>
                    <a:pt x="1548" y="63"/>
                  </a:cubicBezTo>
                  <a:close/>
                  <a:moveTo>
                    <a:pt x="1564" y="63"/>
                  </a:moveTo>
                  <a:cubicBezTo>
                    <a:pt x="1563" y="63"/>
                    <a:pt x="1563" y="63"/>
                    <a:pt x="1563" y="63"/>
                  </a:cubicBezTo>
                  <a:cubicBezTo>
                    <a:pt x="1563" y="63"/>
                    <a:pt x="1563" y="63"/>
                    <a:pt x="1564" y="63"/>
                  </a:cubicBezTo>
                  <a:close/>
                  <a:moveTo>
                    <a:pt x="1654" y="63"/>
                  </a:moveTo>
                  <a:cubicBezTo>
                    <a:pt x="1654" y="63"/>
                    <a:pt x="1654" y="63"/>
                    <a:pt x="1654" y="63"/>
                  </a:cubicBezTo>
                  <a:cubicBezTo>
                    <a:pt x="1654" y="63"/>
                    <a:pt x="1654" y="63"/>
                    <a:pt x="1654" y="63"/>
                  </a:cubicBezTo>
                  <a:close/>
                  <a:moveTo>
                    <a:pt x="1716" y="63"/>
                  </a:moveTo>
                  <a:cubicBezTo>
                    <a:pt x="1716" y="63"/>
                    <a:pt x="1716" y="63"/>
                    <a:pt x="1716" y="63"/>
                  </a:cubicBezTo>
                  <a:cubicBezTo>
                    <a:pt x="1716" y="63"/>
                    <a:pt x="1716" y="63"/>
                    <a:pt x="1716" y="63"/>
                  </a:cubicBezTo>
                  <a:close/>
                  <a:moveTo>
                    <a:pt x="1732" y="63"/>
                  </a:moveTo>
                  <a:cubicBezTo>
                    <a:pt x="1732" y="63"/>
                    <a:pt x="1731" y="63"/>
                    <a:pt x="1731" y="63"/>
                  </a:cubicBezTo>
                  <a:cubicBezTo>
                    <a:pt x="1731" y="63"/>
                    <a:pt x="1732" y="63"/>
                    <a:pt x="1732" y="63"/>
                  </a:cubicBezTo>
                  <a:close/>
                  <a:moveTo>
                    <a:pt x="584" y="63"/>
                  </a:moveTo>
                  <a:cubicBezTo>
                    <a:pt x="584" y="63"/>
                    <a:pt x="584" y="64"/>
                    <a:pt x="584" y="64"/>
                  </a:cubicBezTo>
                  <a:cubicBezTo>
                    <a:pt x="584" y="63"/>
                    <a:pt x="584" y="63"/>
                    <a:pt x="584" y="63"/>
                  </a:cubicBezTo>
                  <a:close/>
                  <a:moveTo>
                    <a:pt x="1732" y="18"/>
                  </a:moveTo>
                  <a:cubicBezTo>
                    <a:pt x="1732" y="18"/>
                    <a:pt x="1732" y="18"/>
                    <a:pt x="1731" y="18"/>
                  </a:cubicBezTo>
                  <a:cubicBezTo>
                    <a:pt x="1731" y="18"/>
                    <a:pt x="1732" y="18"/>
                    <a:pt x="1732" y="18"/>
                  </a:cubicBezTo>
                  <a:close/>
                  <a:moveTo>
                    <a:pt x="584" y="93"/>
                  </a:moveTo>
                  <a:cubicBezTo>
                    <a:pt x="584" y="93"/>
                    <a:pt x="584" y="94"/>
                    <a:pt x="584" y="94"/>
                  </a:cubicBezTo>
                  <a:cubicBezTo>
                    <a:pt x="584" y="94"/>
                    <a:pt x="584" y="94"/>
                    <a:pt x="584" y="93"/>
                  </a:cubicBezTo>
                  <a:close/>
                  <a:moveTo>
                    <a:pt x="966" y="18"/>
                  </a:moveTo>
                  <a:cubicBezTo>
                    <a:pt x="966" y="18"/>
                    <a:pt x="966" y="18"/>
                    <a:pt x="966" y="18"/>
                  </a:cubicBezTo>
                  <a:cubicBezTo>
                    <a:pt x="966" y="18"/>
                    <a:pt x="966" y="18"/>
                    <a:pt x="966" y="18"/>
                  </a:cubicBezTo>
                  <a:close/>
                  <a:moveTo>
                    <a:pt x="1680" y="18"/>
                  </a:moveTo>
                  <a:cubicBezTo>
                    <a:pt x="1680" y="18"/>
                    <a:pt x="1680" y="18"/>
                    <a:pt x="1681" y="18"/>
                  </a:cubicBezTo>
                  <a:cubicBezTo>
                    <a:pt x="1680" y="18"/>
                    <a:pt x="1680" y="18"/>
                    <a:pt x="1680" y="18"/>
                  </a:cubicBezTo>
                  <a:close/>
                  <a:moveTo>
                    <a:pt x="1563" y="63"/>
                  </a:moveTo>
                  <a:cubicBezTo>
                    <a:pt x="1563" y="63"/>
                    <a:pt x="1563" y="63"/>
                    <a:pt x="1563" y="64"/>
                  </a:cubicBezTo>
                  <a:cubicBezTo>
                    <a:pt x="1563" y="63"/>
                    <a:pt x="1563" y="63"/>
                    <a:pt x="1563" y="63"/>
                  </a:cubicBezTo>
                  <a:close/>
                  <a:moveTo>
                    <a:pt x="1655" y="64"/>
                  </a:moveTo>
                  <a:cubicBezTo>
                    <a:pt x="1655" y="63"/>
                    <a:pt x="1655" y="63"/>
                    <a:pt x="1654" y="63"/>
                  </a:cubicBezTo>
                  <a:cubicBezTo>
                    <a:pt x="1655" y="63"/>
                    <a:pt x="1655" y="64"/>
                    <a:pt x="1655" y="64"/>
                  </a:cubicBezTo>
                  <a:close/>
                  <a:moveTo>
                    <a:pt x="1669" y="63"/>
                  </a:moveTo>
                  <a:cubicBezTo>
                    <a:pt x="1669" y="63"/>
                    <a:pt x="1669" y="64"/>
                    <a:pt x="1669" y="64"/>
                  </a:cubicBezTo>
                  <a:cubicBezTo>
                    <a:pt x="1669" y="63"/>
                    <a:pt x="1669" y="63"/>
                    <a:pt x="1669" y="63"/>
                  </a:cubicBezTo>
                  <a:close/>
                  <a:moveTo>
                    <a:pt x="755" y="94"/>
                  </a:moveTo>
                  <a:cubicBezTo>
                    <a:pt x="755" y="94"/>
                    <a:pt x="755" y="93"/>
                    <a:pt x="755" y="93"/>
                  </a:cubicBezTo>
                  <a:cubicBezTo>
                    <a:pt x="755" y="94"/>
                    <a:pt x="755" y="94"/>
                    <a:pt x="755" y="94"/>
                  </a:cubicBezTo>
                  <a:close/>
                  <a:moveTo>
                    <a:pt x="965" y="19"/>
                  </a:moveTo>
                  <a:cubicBezTo>
                    <a:pt x="965" y="19"/>
                    <a:pt x="966" y="19"/>
                    <a:pt x="966" y="18"/>
                  </a:cubicBezTo>
                  <a:cubicBezTo>
                    <a:pt x="965" y="18"/>
                    <a:pt x="965" y="19"/>
                    <a:pt x="965" y="19"/>
                  </a:cubicBezTo>
                  <a:close/>
                  <a:moveTo>
                    <a:pt x="967" y="94"/>
                  </a:moveTo>
                  <a:cubicBezTo>
                    <a:pt x="967" y="94"/>
                    <a:pt x="966" y="94"/>
                    <a:pt x="966" y="94"/>
                  </a:cubicBezTo>
                  <a:cubicBezTo>
                    <a:pt x="966" y="94"/>
                    <a:pt x="967" y="94"/>
                    <a:pt x="967" y="94"/>
                  </a:cubicBezTo>
                  <a:close/>
                  <a:moveTo>
                    <a:pt x="1731" y="63"/>
                  </a:moveTo>
                  <a:cubicBezTo>
                    <a:pt x="1731" y="63"/>
                    <a:pt x="1731" y="63"/>
                    <a:pt x="1731" y="64"/>
                  </a:cubicBezTo>
                  <a:cubicBezTo>
                    <a:pt x="1731" y="63"/>
                    <a:pt x="1731" y="63"/>
                    <a:pt x="1731" y="63"/>
                  </a:cubicBezTo>
                  <a:close/>
                  <a:moveTo>
                    <a:pt x="574" y="55"/>
                  </a:moveTo>
                  <a:cubicBezTo>
                    <a:pt x="574" y="55"/>
                    <a:pt x="574" y="55"/>
                    <a:pt x="574" y="55"/>
                  </a:cubicBezTo>
                  <a:cubicBezTo>
                    <a:pt x="574" y="55"/>
                    <a:pt x="574" y="55"/>
                    <a:pt x="574" y="55"/>
                  </a:cubicBezTo>
                  <a:close/>
                  <a:moveTo>
                    <a:pt x="584" y="64"/>
                  </a:moveTo>
                  <a:cubicBezTo>
                    <a:pt x="584" y="64"/>
                    <a:pt x="585" y="64"/>
                    <a:pt x="585" y="64"/>
                  </a:cubicBezTo>
                  <a:cubicBezTo>
                    <a:pt x="585" y="64"/>
                    <a:pt x="585" y="64"/>
                    <a:pt x="584" y="64"/>
                  </a:cubicBezTo>
                  <a:close/>
                  <a:moveTo>
                    <a:pt x="1394" y="18"/>
                  </a:moveTo>
                  <a:cubicBezTo>
                    <a:pt x="1394" y="19"/>
                    <a:pt x="1395" y="19"/>
                    <a:pt x="1395" y="19"/>
                  </a:cubicBezTo>
                  <a:cubicBezTo>
                    <a:pt x="1395" y="19"/>
                    <a:pt x="1395" y="18"/>
                    <a:pt x="1394" y="18"/>
                  </a:cubicBezTo>
                  <a:close/>
                  <a:moveTo>
                    <a:pt x="1417" y="19"/>
                  </a:moveTo>
                  <a:cubicBezTo>
                    <a:pt x="1418" y="19"/>
                    <a:pt x="1418" y="19"/>
                    <a:pt x="1418" y="18"/>
                  </a:cubicBezTo>
                  <a:cubicBezTo>
                    <a:pt x="1418" y="18"/>
                    <a:pt x="1417" y="19"/>
                    <a:pt x="1417" y="19"/>
                  </a:cubicBezTo>
                  <a:close/>
                  <a:moveTo>
                    <a:pt x="1419" y="94"/>
                  </a:moveTo>
                  <a:cubicBezTo>
                    <a:pt x="1419" y="94"/>
                    <a:pt x="1419" y="93"/>
                    <a:pt x="1419" y="93"/>
                  </a:cubicBezTo>
                  <a:cubicBezTo>
                    <a:pt x="1419" y="94"/>
                    <a:pt x="1419" y="94"/>
                    <a:pt x="1419" y="94"/>
                  </a:cubicBezTo>
                  <a:close/>
                  <a:moveTo>
                    <a:pt x="662" y="64"/>
                  </a:moveTo>
                  <a:cubicBezTo>
                    <a:pt x="662" y="64"/>
                    <a:pt x="662" y="64"/>
                    <a:pt x="662" y="63"/>
                  </a:cubicBezTo>
                  <a:cubicBezTo>
                    <a:pt x="662" y="64"/>
                    <a:pt x="662" y="64"/>
                    <a:pt x="662" y="64"/>
                  </a:cubicBezTo>
                  <a:close/>
                  <a:moveTo>
                    <a:pt x="1464" y="18"/>
                  </a:moveTo>
                  <a:cubicBezTo>
                    <a:pt x="1464" y="19"/>
                    <a:pt x="1464" y="19"/>
                    <a:pt x="1464" y="19"/>
                  </a:cubicBezTo>
                  <a:cubicBezTo>
                    <a:pt x="1464" y="19"/>
                    <a:pt x="1464" y="18"/>
                    <a:pt x="1464" y="18"/>
                  </a:cubicBezTo>
                  <a:close/>
                  <a:moveTo>
                    <a:pt x="584" y="94"/>
                  </a:moveTo>
                  <a:cubicBezTo>
                    <a:pt x="583" y="94"/>
                    <a:pt x="583" y="94"/>
                    <a:pt x="583" y="94"/>
                  </a:cubicBezTo>
                  <a:cubicBezTo>
                    <a:pt x="584" y="94"/>
                    <a:pt x="584" y="94"/>
                    <a:pt x="584" y="94"/>
                  </a:cubicBezTo>
                  <a:close/>
                  <a:moveTo>
                    <a:pt x="1363" y="64"/>
                  </a:moveTo>
                  <a:cubicBezTo>
                    <a:pt x="1363" y="64"/>
                    <a:pt x="1363" y="64"/>
                    <a:pt x="1363" y="64"/>
                  </a:cubicBezTo>
                  <a:cubicBezTo>
                    <a:pt x="1363" y="64"/>
                    <a:pt x="1363" y="64"/>
                    <a:pt x="1363" y="64"/>
                  </a:cubicBezTo>
                  <a:close/>
                  <a:moveTo>
                    <a:pt x="755" y="94"/>
                  </a:moveTo>
                  <a:cubicBezTo>
                    <a:pt x="755" y="94"/>
                    <a:pt x="755" y="94"/>
                    <a:pt x="755" y="94"/>
                  </a:cubicBezTo>
                  <a:cubicBezTo>
                    <a:pt x="755" y="94"/>
                    <a:pt x="755" y="94"/>
                    <a:pt x="755" y="94"/>
                  </a:cubicBezTo>
                  <a:close/>
                  <a:moveTo>
                    <a:pt x="967" y="94"/>
                  </a:moveTo>
                  <a:cubicBezTo>
                    <a:pt x="967" y="94"/>
                    <a:pt x="967" y="94"/>
                    <a:pt x="967" y="94"/>
                  </a:cubicBezTo>
                  <a:cubicBezTo>
                    <a:pt x="967" y="94"/>
                    <a:pt x="967" y="94"/>
                    <a:pt x="967" y="94"/>
                  </a:cubicBezTo>
                  <a:close/>
                  <a:moveTo>
                    <a:pt x="1419" y="94"/>
                  </a:moveTo>
                  <a:cubicBezTo>
                    <a:pt x="1419" y="94"/>
                    <a:pt x="1419" y="94"/>
                    <a:pt x="1419" y="94"/>
                  </a:cubicBezTo>
                  <a:cubicBezTo>
                    <a:pt x="1419" y="94"/>
                    <a:pt x="1419" y="94"/>
                    <a:pt x="1419" y="94"/>
                  </a:cubicBezTo>
                  <a:close/>
                  <a:moveTo>
                    <a:pt x="1460" y="94"/>
                  </a:moveTo>
                  <a:cubicBezTo>
                    <a:pt x="1460" y="94"/>
                    <a:pt x="1460" y="94"/>
                    <a:pt x="1460" y="94"/>
                  </a:cubicBezTo>
                  <a:cubicBezTo>
                    <a:pt x="1460" y="94"/>
                    <a:pt x="1460" y="94"/>
                    <a:pt x="1460" y="94"/>
                  </a:cubicBezTo>
                  <a:close/>
                  <a:moveTo>
                    <a:pt x="583" y="94"/>
                  </a:moveTo>
                  <a:cubicBezTo>
                    <a:pt x="583" y="94"/>
                    <a:pt x="583" y="94"/>
                    <a:pt x="583" y="95"/>
                  </a:cubicBezTo>
                  <a:cubicBezTo>
                    <a:pt x="583" y="94"/>
                    <a:pt x="583" y="94"/>
                    <a:pt x="583" y="94"/>
                  </a:cubicBezTo>
                  <a:close/>
                  <a:moveTo>
                    <a:pt x="1378" y="64"/>
                  </a:moveTo>
                  <a:cubicBezTo>
                    <a:pt x="1378" y="64"/>
                    <a:pt x="1378" y="64"/>
                    <a:pt x="1378" y="64"/>
                  </a:cubicBezTo>
                  <a:cubicBezTo>
                    <a:pt x="1378" y="64"/>
                    <a:pt x="1378" y="64"/>
                    <a:pt x="1378" y="64"/>
                  </a:cubicBezTo>
                  <a:close/>
                  <a:moveTo>
                    <a:pt x="696" y="94"/>
                  </a:moveTo>
                  <a:cubicBezTo>
                    <a:pt x="696" y="94"/>
                    <a:pt x="696" y="94"/>
                    <a:pt x="696" y="95"/>
                  </a:cubicBezTo>
                  <a:cubicBezTo>
                    <a:pt x="696" y="94"/>
                    <a:pt x="696" y="94"/>
                    <a:pt x="696" y="94"/>
                  </a:cubicBezTo>
                  <a:close/>
                  <a:moveTo>
                    <a:pt x="1565" y="19"/>
                  </a:moveTo>
                  <a:cubicBezTo>
                    <a:pt x="1565" y="18"/>
                    <a:pt x="1565" y="18"/>
                    <a:pt x="1564" y="18"/>
                  </a:cubicBezTo>
                  <a:cubicBezTo>
                    <a:pt x="1564" y="18"/>
                    <a:pt x="1565" y="19"/>
                    <a:pt x="1565" y="19"/>
                  </a:cubicBezTo>
                  <a:close/>
                  <a:moveTo>
                    <a:pt x="756" y="95"/>
                  </a:moveTo>
                  <a:cubicBezTo>
                    <a:pt x="756" y="94"/>
                    <a:pt x="756" y="94"/>
                    <a:pt x="755" y="94"/>
                  </a:cubicBezTo>
                  <a:cubicBezTo>
                    <a:pt x="755" y="94"/>
                    <a:pt x="756" y="94"/>
                    <a:pt x="756" y="95"/>
                  </a:cubicBezTo>
                  <a:close/>
                  <a:moveTo>
                    <a:pt x="967" y="94"/>
                  </a:moveTo>
                  <a:cubicBezTo>
                    <a:pt x="967" y="94"/>
                    <a:pt x="967" y="94"/>
                    <a:pt x="967" y="94"/>
                  </a:cubicBezTo>
                  <a:cubicBezTo>
                    <a:pt x="967" y="94"/>
                    <a:pt x="967" y="94"/>
                    <a:pt x="967" y="94"/>
                  </a:cubicBezTo>
                  <a:close/>
                  <a:moveTo>
                    <a:pt x="1733" y="19"/>
                  </a:moveTo>
                  <a:cubicBezTo>
                    <a:pt x="1733" y="18"/>
                    <a:pt x="1733" y="18"/>
                    <a:pt x="1732" y="18"/>
                  </a:cubicBezTo>
                  <a:cubicBezTo>
                    <a:pt x="1733" y="18"/>
                    <a:pt x="1733" y="19"/>
                    <a:pt x="1733" y="19"/>
                  </a:cubicBezTo>
                  <a:close/>
                  <a:moveTo>
                    <a:pt x="1216" y="94"/>
                  </a:moveTo>
                  <a:cubicBezTo>
                    <a:pt x="1216" y="94"/>
                    <a:pt x="1215" y="94"/>
                    <a:pt x="1215" y="94"/>
                  </a:cubicBezTo>
                  <a:cubicBezTo>
                    <a:pt x="1215" y="94"/>
                    <a:pt x="1215" y="94"/>
                    <a:pt x="1216" y="94"/>
                  </a:cubicBezTo>
                  <a:close/>
                  <a:moveTo>
                    <a:pt x="1669" y="64"/>
                  </a:moveTo>
                  <a:cubicBezTo>
                    <a:pt x="1669" y="64"/>
                    <a:pt x="1669" y="64"/>
                    <a:pt x="1670" y="64"/>
                  </a:cubicBezTo>
                  <a:cubicBezTo>
                    <a:pt x="1670" y="64"/>
                    <a:pt x="1670" y="64"/>
                    <a:pt x="1669" y="64"/>
                  </a:cubicBezTo>
                  <a:close/>
                  <a:moveTo>
                    <a:pt x="1460" y="94"/>
                  </a:moveTo>
                  <a:cubicBezTo>
                    <a:pt x="1460" y="94"/>
                    <a:pt x="1459" y="94"/>
                    <a:pt x="1459" y="95"/>
                  </a:cubicBezTo>
                  <a:cubicBezTo>
                    <a:pt x="1460" y="94"/>
                    <a:pt x="1460" y="94"/>
                    <a:pt x="1460" y="94"/>
                  </a:cubicBezTo>
                  <a:close/>
                  <a:moveTo>
                    <a:pt x="965" y="19"/>
                  </a:moveTo>
                  <a:cubicBezTo>
                    <a:pt x="965" y="19"/>
                    <a:pt x="965" y="19"/>
                    <a:pt x="965" y="19"/>
                  </a:cubicBezTo>
                  <a:cubicBezTo>
                    <a:pt x="965" y="19"/>
                    <a:pt x="965" y="19"/>
                    <a:pt x="965" y="19"/>
                  </a:cubicBezTo>
                  <a:close/>
                  <a:moveTo>
                    <a:pt x="583" y="95"/>
                  </a:moveTo>
                  <a:cubicBezTo>
                    <a:pt x="583" y="95"/>
                    <a:pt x="583" y="95"/>
                    <a:pt x="583" y="95"/>
                  </a:cubicBezTo>
                  <a:cubicBezTo>
                    <a:pt x="583" y="95"/>
                    <a:pt x="583" y="95"/>
                    <a:pt x="583" y="95"/>
                  </a:cubicBezTo>
                  <a:close/>
                  <a:moveTo>
                    <a:pt x="696" y="95"/>
                  </a:moveTo>
                  <a:cubicBezTo>
                    <a:pt x="696" y="95"/>
                    <a:pt x="696" y="95"/>
                    <a:pt x="696" y="95"/>
                  </a:cubicBezTo>
                  <a:cubicBezTo>
                    <a:pt x="696" y="95"/>
                    <a:pt x="696" y="95"/>
                    <a:pt x="696" y="95"/>
                  </a:cubicBezTo>
                  <a:close/>
                  <a:moveTo>
                    <a:pt x="756" y="95"/>
                  </a:moveTo>
                  <a:cubicBezTo>
                    <a:pt x="756" y="95"/>
                    <a:pt x="756" y="95"/>
                    <a:pt x="756" y="95"/>
                  </a:cubicBezTo>
                  <a:cubicBezTo>
                    <a:pt x="756" y="95"/>
                    <a:pt x="756" y="95"/>
                    <a:pt x="756" y="95"/>
                  </a:cubicBezTo>
                  <a:close/>
                  <a:moveTo>
                    <a:pt x="1381" y="19"/>
                  </a:moveTo>
                  <a:cubicBezTo>
                    <a:pt x="1381" y="19"/>
                    <a:pt x="1381" y="19"/>
                    <a:pt x="1381" y="19"/>
                  </a:cubicBezTo>
                  <a:cubicBezTo>
                    <a:pt x="1381" y="19"/>
                    <a:pt x="1381" y="19"/>
                    <a:pt x="1381" y="19"/>
                  </a:cubicBezTo>
                  <a:close/>
                  <a:moveTo>
                    <a:pt x="1038" y="95"/>
                  </a:moveTo>
                  <a:cubicBezTo>
                    <a:pt x="1038" y="95"/>
                    <a:pt x="1038" y="94"/>
                    <a:pt x="1038" y="94"/>
                  </a:cubicBezTo>
                  <a:cubicBezTo>
                    <a:pt x="1038" y="95"/>
                    <a:pt x="1038" y="95"/>
                    <a:pt x="1038" y="95"/>
                  </a:cubicBezTo>
                  <a:close/>
                  <a:moveTo>
                    <a:pt x="1216" y="95"/>
                  </a:moveTo>
                  <a:cubicBezTo>
                    <a:pt x="1216" y="95"/>
                    <a:pt x="1216" y="95"/>
                    <a:pt x="1216" y="94"/>
                  </a:cubicBezTo>
                  <a:cubicBezTo>
                    <a:pt x="1216" y="95"/>
                    <a:pt x="1216" y="95"/>
                    <a:pt x="1216" y="95"/>
                  </a:cubicBezTo>
                  <a:close/>
                  <a:moveTo>
                    <a:pt x="1459" y="94"/>
                  </a:moveTo>
                  <a:cubicBezTo>
                    <a:pt x="1459" y="95"/>
                    <a:pt x="1459" y="95"/>
                    <a:pt x="1459" y="95"/>
                  </a:cubicBezTo>
                  <a:cubicBezTo>
                    <a:pt x="1459" y="95"/>
                    <a:pt x="1459" y="95"/>
                    <a:pt x="1459" y="94"/>
                  </a:cubicBezTo>
                  <a:close/>
                  <a:moveTo>
                    <a:pt x="1541" y="19"/>
                  </a:moveTo>
                  <a:cubicBezTo>
                    <a:pt x="1540" y="19"/>
                    <a:pt x="1540" y="19"/>
                    <a:pt x="1540" y="19"/>
                  </a:cubicBezTo>
                  <a:cubicBezTo>
                    <a:pt x="1540" y="19"/>
                    <a:pt x="1541" y="19"/>
                    <a:pt x="1541" y="19"/>
                  </a:cubicBezTo>
                  <a:close/>
                  <a:moveTo>
                    <a:pt x="583" y="95"/>
                  </a:moveTo>
                  <a:cubicBezTo>
                    <a:pt x="582" y="95"/>
                    <a:pt x="582" y="95"/>
                    <a:pt x="582" y="95"/>
                  </a:cubicBezTo>
                  <a:cubicBezTo>
                    <a:pt x="582" y="95"/>
                    <a:pt x="583" y="95"/>
                    <a:pt x="583" y="95"/>
                  </a:cubicBezTo>
                  <a:close/>
                  <a:moveTo>
                    <a:pt x="1565" y="19"/>
                  </a:moveTo>
                  <a:cubicBezTo>
                    <a:pt x="1565" y="19"/>
                    <a:pt x="1565" y="19"/>
                    <a:pt x="1565" y="19"/>
                  </a:cubicBezTo>
                  <a:cubicBezTo>
                    <a:pt x="1565" y="19"/>
                    <a:pt x="1565" y="19"/>
                    <a:pt x="1565" y="19"/>
                  </a:cubicBezTo>
                  <a:close/>
                  <a:moveTo>
                    <a:pt x="662" y="64"/>
                  </a:moveTo>
                  <a:cubicBezTo>
                    <a:pt x="662" y="64"/>
                    <a:pt x="662" y="64"/>
                    <a:pt x="662" y="64"/>
                  </a:cubicBezTo>
                  <a:cubicBezTo>
                    <a:pt x="662" y="64"/>
                    <a:pt x="662" y="64"/>
                    <a:pt x="662" y="64"/>
                  </a:cubicBezTo>
                  <a:close/>
                  <a:moveTo>
                    <a:pt x="1709" y="19"/>
                  </a:moveTo>
                  <a:cubicBezTo>
                    <a:pt x="1709" y="19"/>
                    <a:pt x="1708" y="19"/>
                    <a:pt x="1708" y="19"/>
                  </a:cubicBezTo>
                  <a:cubicBezTo>
                    <a:pt x="1709" y="19"/>
                    <a:pt x="1709" y="19"/>
                    <a:pt x="1709" y="19"/>
                  </a:cubicBezTo>
                  <a:close/>
                  <a:moveTo>
                    <a:pt x="756" y="95"/>
                  </a:moveTo>
                  <a:cubicBezTo>
                    <a:pt x="756" y="95"/>
                    <a:pt x="756" y="95"/>
                    <a:pt x="756" y="95"/>
                  </a:cubicBezTo>
                  <a:cubicBezTo>
                    <a:pt x="756" y="95"/>
                    <a:pt x="756" y="95"/>
                    <a:pt x="756" y="95"/>
                  </a:cubicBezTo>
                  <a:close/>
                  <a:moveTo>
                    <a:pt x="968" y="95"/>
                  </a:moveTo>
                  <a:cubicBezTo>
                    <a:pt x="968" y="95"/>
                    <a:pt x="968" y="95"/>
                    <a:pt x="968" y="95"/>
                  </a:cubicBezTo>
                  <a:cubicBezTo>
                    <a:pt x="968" y="95"/>
                    <a:pt x="968" y="95"/>
                    <a:pt x="968" y="95"/>
                  </a:cubicBezTo>
                  <a:close/>
                  <a:moveTo>
                    <a:pt x="1038" y="95"/>
                  </a:moveTo>
                  <a:cubicBezTo>
                    <a:pt x="1038" y="95"/>
                    <a:pt x="1038" y="95"/>
                    <a:pt x="1038" y="95"/>
                  </a:cubicBezTo>
                  <a:cubicBezTo>
                    <a:pt x="1038" y="95"/>
                    <a:pt x="1038" y="95"/>
                    <a:pt x="1038" y="95"/>
                  </a:cubicBezTo>
                  <a:close/>
                  <a:moveTo>
                    <a:pt x="1733" y="19"/>
                  </a:moveTo>
                  <a:cubicBezTo>
                    <a:pt x="1733" y="19"/>
                    <a:pt x="1733" y="19"/>
                    <a:pt x="1733" y="19"/>
                  </a:cubicBezTo>
                  <a:cubicBezTo>
                    <a:pt x="1733" y="19"/>
                    <a:pt x="1733" y="19"/>
                    <a:pt x="1733" y="19"/>
                  </a:cubicBezTo>
                  <a:close/>
                  <a:moveTo>
                    <a:pt x="1216" y="95"/>
                  </a:moveTo>
                  <a:cubicBezTo>
                    <a:pt x="1216" y="95"/>
                    <a:pt x="1216" y="95"/>
                    <a:pt x="1216" y="95"/>
                  </a:cubicBezTo>
                  <a:cubicBezTo>
                    <a:pt x="1216" y="95"/>
                    <a:pt x="1216" y="95"/>
                    <a:pt x="1216" y="95"/>
                  </a:cubicBezTo>
                  <a:close/>
                  <a:moveTo>
                    <a:pt x="1459" y="95"/>
                  </a:moveTo>
                  <a:cubicBezTo>
                    <a:pt x="1459" y="95"/>
                    <a:pt x="1459" y="95"/>
                    <a:pt x="1459" y="95"/>
                  </a:cubicBezTo>
                  <a:cubicBezTo>
                    <a:pt x="1459" y="95"/>
                    <a:pt x="1459" y="95"/>
                    <a:pt x="1459" y="95"/>
                  </a:cubicBezTo>
                  <a:close/>
                  <a:moveTo>
                    <a:pt x="582" y="95"/>
                  </a:moveTo>
                  <a:cubicBezTo>
                    <a:pt x="582" y="95"/>
                    <a:pt x="582" y="95"/>
                    <a:pt x="582" y="96"/>
                  </a:cubicBezTo>
                  <a:cubicBezTo>
                    <a:pt x="582" y="96"/>
                    <a:pt x="582" y="95"/>
                    <a:pt x="582" y="95"/>
                  </a:cubicBezTo>
                  <a:close/>
                  <a:moveTo>
                    <a:pt x="1362" y="64"/>
                  </a:moveTo>
                  <a:cubicBezTo>
                    <a:pt x="1363" y="64"/>
                    <a:pt x="1363" y="64"/>
                    <a:pt x="1363" y="64"/>
                  </a:cubicBezTo>
                  <a:cubicBezTo>
                    <a:pt x="1363" y="64"/>
                    <a:pt x="1363" y="64"/>
                    <a:pt x="1362" y="64"/>
                  </a:cubicBezTo>
                  <a:close/>
                  <a:moveTo>
                    <a:pt x="757" y="96"/>
                  </a:moveTo>
                  <a:cubicBezTo>
                    <a:pt x="757" y="95"/>
                    <a:pt x="757" y="95"/>
                    <a:pt x="756" y="95"/>
                  </a:cubicBezTo>
                  <a:cubicBezTo>
                    <a:pt x="756" y="95"/>
                    <a:pt x="757" y="95"/>
                    <a:pt x="757" y="96"/>
                  </a:cubicBezTo>
                  <a:close/>
                  <a:moveTo>
                    <a:pt x="1378" y="64"/>
                  </a:moveTo>
                  <a:cubicBezTo>
                    <a:pt x="1378" y="64"/>
                    <a:pt x="1378" y="64"/>
                    <a:pt x="1378" y="64"/>
                  </a:cubicBezTo>
                  <a:cubicBezTo>
                    <a:pt x="1378" y="64"/>
                    <a:pt x="1378" y="64"/>
                    <a:pt x="1378" y="64"/>
                  </a:cubicBezTo>
                  <a:close/>
                  <a:moveTo>
                    <a:pt x="1039" y="96"/>
                  </a:moveTo>
                  <a:cubicBezTo>
                    <a:pt x="1039" y="95"/>
                    <a:pt x="1039" y="95"/>
                    <a:pt x="1038" y="95"/>
                  </a:cubicBezTo>
                  <a:cubicBezTo>
                    <a:pt x="1038" y="95"/>
                    <a:pt x="1039" y="96"/>
                    <a:pt x="1039" y="96"/>
                  </a:cubicBezTo>
                  <a:close/>
                  <a:moveTo>
                    <a:pt x="1217" y="96"/>
                  </a:moveTo>
                  <a:cubicBezTo>
                    <a:pt x="1217" y="95"/>
                    <a:pt x="1216" y="95"/>
                    <a:pt x="1216" y="95"/>
                  </a:cubicBezTo>
                  <a:cubicBezTo>
                    <a:pt x="1216" y="95"/>
                    <a:pt x="1216" y="96"/>
                    <a:pt x="1217" y="96"/>
                  </a:cubicBezTo>
                  <a:close/>
                  <a:moveTo>
                    <a:pt x="1421" y="96"/>
                  </a:moveTo>
                  <a:cubicBezTo>
                    <a:pt x="1421" y="95"/>
                    <a:pt x="1420" y="95"/>
                    <a:pt x="1420" y="95"/>
                  </a:cubicBezTo>
                  <a:cubicBezTo>
                    <a:pt x="1420" y="95"/>
                    <a:pt x="1420" y="95"/>
                    <a:pt x="1421" y="96"/>
                  </a:cubicBezTo>
                  <a:close/>
                  <a:moveTo>
                    <a:pt x="1459" y="95"/>
                  </a:moveTo>
                  <a:cubicBezTo>
                    <a:pt x="1459" y="95"/>
                    <a:pt x="1458" y="95"/>
                    <a:pt x="1458" y="96"/>
                  </a:cubicBezTo>
                  <a:cubicBezTo>
                    <a:pt x="1459" y="95"/>
                    <a:pt x="1459" y="95"/>
                    <a:pt x="1459" y="95"/>
                  </a:cubicBezTo>
                  <a:close/>
                  <a:moveTo>
                    <a:pt x="1547" y="64"/>
                  </a:moveTo>
                  <a:cubicBezTo>
                    <a:pt x="1547" y="64"/>
                    <a:pt x="1547" y="64"/>
                    <a:pt x="1547" y="64"/>
                  </a:cubicBezTo>
                  <a:cubicBezTo>
                    <a:pt x="1547" y="64"/>
                    <a:pt x="1547" y="64"/>
                    <a:pt x="1547" y="64"/>
                  </a:cubicBezTo>
                  <a:close/>
                  <a:moveTo>
                    <a:pt x="1685" y="95"/>
                  </a:moveTo>
                  <a:cubicBezTo>
                    <a:pt x="1685" y="95"/>
                    <a:pt x="1685" y="96"/>
                    <a:pt x="1685" y="96"/>
                  </a:cubicBezTo>
                  <a:cubicBezTo>
                    <a:pt x="1685" y="96"/>
                    <a:pt x="1685" y="95"/>
                    <a:pt x="1685" y="95"/>
                  </a:cubicBezTo>
                  <a:close/>
                  <a:moveTo>
                    <a:pt x="582" y="96"/>
                  </a:moveTo>
                  <a:cubicBezTo>
                    <a:pt x="582" y="96"/>
                    <a:pt x="582" y="96"/>
                    <a:pt x="582" y="96"/>
                  </a:cubicBezTo>
                  <a:cubicBezTo>
                    <a:pt x="582" y="96"/>
                    <a:pt x="582" y="96"/>
                    <a:pt x="582" y="96"/>
                  </a:cubicBezTo>
                  <a:close/>
                  <a:moveTo>
                    <a:pt x="1562" y="64"/>
                  </a:moveTo>
                  <a:cubicBezTo>
                    <a:pt x="1562" y="64"/>
                    <a:pt x="1562" y="64"/>
                    <a:pt x="1562" y="64"/>
                  </a:cubicBezTo>
                  <a:cubicBezTo>
                    <a:pt x="1562" y="64"/>
                    <a:pt x="1562" y="64"/>
                    <a:pt x="1562" y="64"/>
                  </a:cubicBezTo>
                  <a:close/>
                  <a:moveTo>
                    <a:pt x="1656" y="64"/>
                  </a:moveTo>
                  <a:cubicBezTo>
                    <a:pt x="1656" y="64"/>
                    <a:pt x="1656" y="64"/>
                    <a:pt x="1655" y="64"/>
                  </a:cubicBezTo>
                  <a:cubicBezTo>
                    <a:pt x="1656" y="64"/>
                    <a:pt x="1656" y="64"/>
                    <a:pt x="1656" y="64"/>
                  </a:cubicBezTo>
                  <a:close/>
                  <a:moveTo>
                    <a:pt x="757" y="96"/>
                  </a:moveTo>
                  <a:cubicBezTo>
                    <a:pt x="757" y="96"/>
                    <a:pt x="757" y="96"/>
                    <a:pt x="757" y="96"/>
                  </a:cubicBezTo>
                  <a:cubicBezTo>
                    <a:pt x="757" y="96"/>
                    <a:pt x="757" y="96"/>
                    <a:pt x="757" y="96"/>
                  </a:cubicBezTo>
                  <a:close/>
                  <a:moveTo>
                    <a:pt x="1039" y="96"/>
                  </a:moveTo>
                  <a:cubicBezTo>
                    <a:pt x="1039" y="96"/>
                    <a:pt x="1039" y="96"/>
                    <a:pt x="1039" y="96"/>
                  </a:cubicBezTo>
                  <a:cubicBezTo>
                    <a:pt x="1039" y="96"/>
                    <a:pt x="1039" y="96"/>
                    <a:pt x="1039" y="96"/>
                  </a:cubicBezTo>
                  <a:close/>
                  <a:moveTo>
                    <a:pt x="1177" y="96"/>
                  </a:moveTo>
                  <a:cubicBezTo>
                    <a:pt x="1177" y="96"/>
                    <a:pt x="1177" y="96"/>
                    <a:pt x="1177" y="96"/>
                  </a:cubicBezTo>
                  <a:cubicBezTo>
                    <a:pt x="1177" y="96"/>
                    <a:pt x="1177" y="96"/>
                    <a:pt x="1177" y="96"/>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82" y="96"/>
                  </a:moveTo>
                  <a:cubicBezTo>
                    <a:pt x="581" y="96"/>
                    <a:pt x="581" y="96"/>
                    <a:pt x="581" y="96"/>
                  </a:cubicBezTo>
                  <a:cubicBezTo>
                    <a:pt x="581" y="96"/>
                    <a:pt x="582" y="96"/>
                    <a:pt x="582" y="96"/>
                  </a:cubicBezTo>
                  <a:close/>
                  <a:moveTo>
                    <a:pt x="540" y="19"/>
                  </a:moveTo>
                  <a:cubicBezTo>
                    <a:pt x="540" y="19"/>
                    <a:pt x="540" y="19"/>
                    <a:pt x="540" y="19"/>
                  </a:cubicBezTo>
                  <a:cubicBezTo>
                    <a:pt x="540" y="19"/>
                    <a:pt x="540" y="19"/>
                    <a:pt x="540" y="19"/>
                  </a:cubicBezTo>
                  <a:close/>
                  <a:moveTo>
                    <a:pt x="695" y="96"/>
                  </a:moveTo>
                  <a:cubicBezTo>
                    <a:pt x="695" y="96"/>
                    <a:pt x="695" y="96"/>
                    <a:pt x="695" y="96"/>
                  </a:cubicBezTo>
                  <a:cubicBezTo>
                    <a:pt x="695" y="96"/>
                    <a:pt x="695" y="96"/>
                    <a:pt x="695" y="96"/>
                  </a:cubicBezTo>
                  <a:close/>
                  <a:moveTo>
                    <a:pt x="757" y="96"/>
                  </a:moveTo>
                  <a:cubicBezTo>
                    <a:pt x="757" y="96"/>
                    <a:pt x="757" y="96"/>
                    <a:pt x="757" y="96"/>
                  </a:cubicBezTo>
                  <a:cubicBezTo>
                    <a:pt x="757" y="96"/>
                    <a:pt x="757" y="96"/>
                    <a:pt x="757" y="96"/>
                  </a:cubicBezTo>
                  <a:close/>
                  <a:moveTo>
                    <a:pt x="1715" y="64"/>
                  </a:moveTo>
                  <a:cubicBezTo>
                    <a:pt x="1715" y="64"/>
                    <a:pt x="1715" y="64"/>
                    <a:pt x="1715" y="64"/>
                  </a:cubicBezTo>
                  <a:cubicBezTo>
                    <a:pt x="1715" y="64"/>
                    <a:pt x="1715" y="64"/>
                    <a:pt x="1715" y="64"/>
                  </a:cubicBezTo>
                  <a:close/>
                  <a:moveTo>
                    <a:pt x="1039" y="96"/>
                  </a:moveTo>
                  <a:cubicBezTo>
                    <a:pt x="1039" y="96"/>
                    <a:pt x="1039" y="96"/>
                    <a:pt x="1039" y="96"/>
                  </a:cubicBezTo>
                  <a:cubicBezTo>
                    <a:pt x="1039" y="96"/>
                    <a:pt x="1039" y="96"/>
                    <a:pt x="1039" y="96"/>
                  </a:cubicBezTo>
                  <a:close/>
                  <a:moveTo>
                    <a:pt x="1730" y="64"/>
                  </a:moveTo>
                  <a:cubicBezTo>
                    <a:pt x="1730" y="64"/>
                    <a:pt x="1730" y="64"/>
                    <a:pt x="1730" y="64"/>
                  </a:cubicBezTo>
                  <a:cubicBezTo>
                    <a:pt x="1730" y="64"/>
                    <a:pt x="1730" y="64"/>
                    <a:pt x="1730" y="64"/>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54" y="19"/>
                  </a:moveTo>
                  <a:cubicBezTo>
                    <a:pt x="554" y="19"/>
                    <a:pt x="554" y="19"/>
                    <a:pt x="554" y="19"/>
                  </a:cubicBezTo>
                  <a:cubicBezTo>
                    <a:pt x="554" y="19"/>
                    <a:pt x="554" y="19"/>
                    <a:pt x="554" y="19"/>
                  </a:cubicBezTo>
                  <a:close/>
                  <a:moveTo>
                    <a:pt x="663" y="65"/>
                  </a:moveTo>
                  <a:cubicBezTo>
                    <a:pt x="663" y="64"/>
                    <a:pt x="663" y="64"/>
                    <a:pt x="662" y="64"/>
                  </a:cubicBezTo>
                  <a:cubicBezTo>
                    <a:pt x="663" y="64"/>
                    <a:pt x="663" y="64"/>
                    <a:pt x="663" y="65"/>
                  </a:cubicBezTo>
                  <a:close/>
                  <a:moveTo>
                    <a:pt x="965" y="19"/>
                  </a:moveTo>
                  <a:cubicBezTo>
                    <a:pt x="965" y="19"/>
                    <a:pt x="965" y="19"/>
                    <a:pt x="965" y="19"/>
                  </a:cubicBezTo>
                  <a:cubicBezTo>
                    <a:pt x="965" y="19"/>
                    <a:pt x="965" y="19"/>
                    <a:pt x="965" y="19"/>
                  </a:cubicBezTo>
                  <a:close/>
                  <a:moveTo>
                    <a:pt x="695" y="96"/>
                  </a:moveTo>
                  <a:cubicBezTo>
                    <a:pt x="694" y="96"/>
                    <a:pt x="694" y="96"/>
                    <a:pt x="694" y="97"/>
                  </a:cubicBezTo>
                  <a:cubicBezTo>
                    <a:pt x="695" y="97"/>
                    <a:pt x="695" y="96"/>
                    <a:pt x="695" y="96"/>
                  </a:cubicBezTo>
                  <a:close/>
                  <a:moveTo>
                    <a:pt x="1356" y="19"/>
                  </a:moveTo>
                  <a:cubicBezTo>
                    <a:pt x="1356" y="19"/>
                    <a:pt x="1355" y="19"/>
                    <a:pt x="1355" y="19"/>
                  </a:cubicBezTo>
                  <a:cubicBezTo>
                    <a:pt x="1356" y="19"/>
                    <a:pt x="1356" y="19"/>
                    <a:pt x="1356" y="19"/>
                  </a:cubicBezTo>
                  <a:close/>
                  <a:moveTo>
                    <a:pt x="758" y="97"/>
                  </a:moveTo>
                  <a:cubicBezTo>
                    <a:pt x="758" y="96"/>
                    <a:pt x="758" y="96"/>
                    <a:pt x="757" y="96"/>
                  </a:cubicBezTo>
                  <a:cubicBezTo>
                    <a:pt x="758" y="96"/>
                    <a:pt x="758" y="96"/>
                    <a:pt x="758" y="97"/>
                  </a:cubicBezTo>
                  <a:close/>
                  <a:moveTo>
                    <a:pt x="1381" y="19"/>
                  </a:moveTo>
                  <a:cubicBezTo>
                    <a:pt x="1381" y="19"/>
                    <a:pt x="1381" y="19"/>
                    <a:pt x="1381" y="19"/>
                  </a:cubicBezTo>
                  <a:cubicBezTo>
                    <a:pt x="1381" y="19"/>
                    <a:pt x="1381" y="19"/>
                    <a:pt x="1381" y="19"/>
                  </a:cubicBezTo>
                  <a:close/>
                  <a:moveTo>
                    <a:pt x="1218" y="97"/>
                  </a:moveTo>
                  <a:cubicBezTo>
                    <a:pt x="1218" y="96"/>
                    <a:pt x="1218" y="96"/>
                    <a:pt x="1217" y="96"/>
                  </a:cubicBezTo>
                  <a:cubicBezTo>
                    <a:pt x="1217" y="96"/>
                    <a:pt x="1217" y="97"/>
                    <a:pt x="1218" y="97"/>
                  </a:cubicBezTo>
                  <a:close/>
                  <a:moveTo>
                    <a:pt x="1422" y="97"/>
                  </a:moveTo>
                  <a:cubicBezTo>
                    <a:pt x="1422" y="96"/>
                    <a:pt x="1421" y="96"/>
                    <a:pt x="1421" y="96"/>
                  </a:cubicBezTo>
                  <a:cubicBezTo>
                    <a:pt x="1421" y="96"/>
                    <a:pt x="1421" y="97"/>
                    <a:pt x="1422" y="97"/>
                  </a:cubicBezTo>
                  <a:close/>
                  <a:moveTo>
                    <a:pt x="1458" y="96"/>
                  </a:moveTo>
                  <a:cubicBezTo>
                    <a:pt x="1458" y="96"/>
                    <a:pt x="1457" y="96"/>
                    <a:pt x="1457" y="97"/>
                  </a:cubicBezTo>
                  <a:cubicBezTo>
                    <a:pt x="1458" y="97"/>
                    <a:pt x="1458" y="96"/>
                    <a:pt x="1458" y="96"/>
                  </a:cubicBezTo>
                  <a:close/>
                  <a:moveTo>
                    <a:pt x="581" y="97"/>
                  </a:moveTo>
                  <a:cubicBezTo>
                    <a:pt x="580" y="97"/>
                    <a:pt x="580" y="97"/>
                    <a:pt x="580" y="97"/>
                  </a:cubicBezTo>
                  <a:cubicBezTo>
                    <a:pt x="580" y="97"/>
                    <a:pt x="580" y="97"/>
                    <a:pt x="581" y="97"/>
                  </a:cubicBezTo>
                  <a:close/>
                  <a:moveTo>
                    <a:pt x="1395" y="19"/>
                  </a:moveTo>
                  <a:cubicBezTo>
                    <a:pt x="1395" y="19"/>
                    <a:pt x="1395" y="19"/>
                    <a:pt x="1395" y="20"/>
                  </a:cubicBezTo>
                  <a:cubicBezTo>
                    <a:pt x="1395" y="19"/>
                    <a:pt x="1395" y="19"/>
                    <a:pt x="1395" y="19"/>
                  </a:cubicBezTo>
                  <a:close/>
                  <a:moveTo>
                    <a:pt x="1546" y="65"/>
                  </a:moveTo>
                  <a:cubicBezTo>
                    <a:pt x="1546" y="65"/>
                    <a:pt x="1547" y="64"/>
                    <a:pt x="1547" y="64"/>
                  </a:cubicBezTo>
                  <a:cubicBezTo>
                    <a:pt x="1546" y="64"/>
                    <a:pt x="1546" y="64"/>
                    <a:pt x="1546" y="65"/>
                  </a:cubicBezTo>
                  <a:close/>
                  <a:moveTo>
                    <a:pt x="758" y="97"/>
                  </a:moveTo>
                  <a:cubicBezTo>
                    <a:pt x="758" y="97"/>
                    <a:pt x="758" y="97"/>
                    <a:pt x="758" y="97"/>
                  </a:cubicBezTo>
                  <a:cubicBezTo>
                    <a:pt x="758" y="97"/>
                    <a:pt x="758" y="97"/>
                    <a:pt x="758" y="97"/>
                  </a:cubicBezTo>
                  <a:close/>
                  <a:moveTo>
                    <a:pt x="1562" y="64"/>
                  </a:moveTo>
                  <a:cubicBezTo>
                    <a:pt x="1562" y="64"/>
                    <a:pt x="1561" y="64"/>
                    <a:pt x="1561" y="65"/>
                  </a:cubicBezTo>
                  <a:cubicBezTo>
                    <a:pt x="1562" y="65"/>
                    <a:pt x="1562" y="64"/>
                    <a:pt x="1562" y="64"/>
                  </a:cubicBezTo>
                  <a:close/>
                  <a:moveTo>
                    <a:pt x="1083" y="97"/>
                  </a:moveTo>
                  <a:cubicBezTo>
                    <a:pt x="1083" y="97"/>
                    <a:pt x="1083" y="97"/>
                    <a:pt x="1083" y="97"/>
                  </a:cubicBezTo>
                  <a:cubicBezTo>
                    <a:pt x="1083" y="97"/>
                    <a:pt x="1083" y="97"/>
                    <a:pt x="1083" y="97"/>
                  </a:cubicBezTo>
                  <a:close/>
                  <a:moveTo>
                    <a:pt x="1178" y="97"/>
                  </a:moveTo>
                  <a:cubicBezTo>
                    <a:pt x="1178" y="97"/>
                    <a:pt x="1178" y="97"/>
                    <a:pt x="1178" y="97"/>
                  </a:cubicBezTo>
                  <a:cubicBezTo>
                    <a:pt x="1178" y="97"/>
                    <a:pt x="1178" y="97"/>
                    <a:pt x="1178" y="97"/>
                  </a:cubicBezTo>
                  <a:close/>
                  <a:moveTo>
                    <a:pt x="1656" y="65"/>
                  </a:moveTo>
                  <a:cubicBezTo>
                    <a:pt x="1656" y="64"/>
                    <a:pt x="1656" y="64"/>
                    <a:pt x="1656" y="64"/>
                  </a:cubicBezTo>
                  <a:cubicBezTo>
                    <a:pt x="1656" y="64"/>
                    <a:pt x="1656" y="65"/>
                    <a:pt x="1656" y="65"/>
                  </a:cubicBezTo>
                  <a:close/>
                  <a:moveTo>
                    <a:pt x="1422" y="97"/>
                  </a:moveTo>
                  <a:cubicBezTo>
                    <a:pt x="1422" y="97"/>
                    <a:pt x="1422" y="97"/>
                    <a:pt x="1422" y="97"/>
                  </a:cubicBezTo>
                  <a:cubicBezTo>
                    <a:pt x="1422" y="97"/>
                    <a:pt x="1422" y="97"/>
                    <a:pt x="1422" y="97"/>
                  </a:cubicBezTo>
                  <a:close/>
                  <a:moveTo>
                    <a:pt x="1457" y="97"/>
                  </a:moveTo>
                  <a:cubicBezTo>
                    <a:pt x="1457" y="97"/>
                    <a:pt x="1457" y="97"/>
                    <a:pt x="1457" y="97"/>
                  </a:cubicBezTo>
                  <a:cubicBezTo>
                    <a:pt x="1457" y="97"/>
                    <a:pt x="1457" y="97"/>
                    <a:pt x="1457" y="97"/>
                  </a:cubicBezTo>
                  <a:close/>
                  <a:moveTo>
                    <a:pt x="1714" y="65"/>
                  </a:moveTo>
                  <a:cubicBezTo>
                    <a:pt x="1715" y="65"/>
                    <a:pt x="1715" y="64"/>
                    <a:pt x="1715" y="64"/>
                  </a:cubicBezTo>
                  <a:cubicBezTo>
                    <a:pt x="1715" y="64"/>
                    <a:pt x="1714" y="64"/>
                    <a:pt x="1714" y="65"/>
                  </a:cubicBezTo>
                  <a:close/>
                  <a:moveTo>
                    <a:pt x="580" y="97"/>
                  </a:moveTo>
                  <a:cubicBezTo>
                    <a:pt x="580" y="97"/>
                    <a:pt x="580" y="97"/>
                    <a:pt x="580" y="97"/>
                  </a:cubicBezTo>
                  <a:cubicBezTo>
                    <a:pt x="580" y="97"/>
                    <a:pt x="580" y="97"/>
                    <a:pt x="580" y="97"/>
                  </a:cubicBezTo>
                  <a:close/>
                  <a:moveTo>
                    <a:pt x="1730" y="64"/>
                  </a:moveTo>
                  <a:cubicBezTo>
                    <a:pt x="1730" y="64"/>
                    <a:pt x="1730" y="64"/>
                    <a:pt x="1730" y="65"/>
                  </a:cubicBezTo>
                  <a:cubicBezTo>
                    <a:pt x="1730" y="65"/>
                    <a:pt x="1730" y="64"/>
                    <a:pt x="1730" y="64"/>
                  </a:cubicBezTo>
                  <a:close/>
                  <a:moveTo>
                    <a:pt x="554" y="19"/>
                  </a:moveTo>
                  <a:cubicBezTo>
                    <a:pt x="554" y="19"/>
                    <a:pt x="554" y="19"/>
                    <a:pt x="554" y="20"/>
                  </a:cubicBezTo>
                  <a:cubicBezTo>
                    <a:pt x="554" y="20"/>
                    <a:pt x="554" y="20"/>
                    <a:pt x="554" y="19"/>
                  </a:cubicBezTo>
                  <a:close/>
                  <a:moveTo>
                    <a:pt x="972" y="97"/>
                  </a:moveTo>
                  <a:cubicBezTo>
                    <a:pt x="972" y="97"/>
                    <a:pt x="971" y="97"/>
                    <a:pt x="971" y="97"/>
                  </a:cubicBezTo>
                  <a:cubicBezTo>
                    <a:pt x="971" y="97"/>
                    <a:pt x="971" y="97"/>
                    <a:pt x="972" y="97"/>
                  </a:cubicBezTo>
                  <a:close/>
                  <a:moveTo>
                    <a:pt x="1041" y="97"/>
                  </a:moveTo>
                  <a:cubicBezTo>
                    <a:pt x="1041" y="97"/>
                    <a:pt x="1041" y="97"/>
                    <a:pt x="1040" y="97"/>
                  </a:cubicBezTo>
                  <a:cubicBezTo>
                    <a:pt x="1041" y="97"/>
                    <a:pt x="1041" y="97"/>
                    <a:pt x="1041" y="97"/>
                  </a:cubicBezTo>
                  <a:close/>
                  <a:moveTo>
                    <a:pt x="1083" y="97"/>
                  </a:moveTo>
                  <a:cubicBezTo>
                    <a:pt x="1083" y="97"/>
                    <a:pt x="1083" y="97"/>
                    <a:pt x="1082" y="97"/>
                  </a:cubicBezTo>
                  <a:cubicBezTo>
                    <a:pt x="1083" y="97"/>
                    <a:pt x="1083" y="97"/>
                    <a:pt x="1083" y="97"/>
                  </a:cubicBezTo>
                  <a:close/>
                  <a:moveTo>
                    <a:pt x="964" y="20"/>
                  </a:moveTo>
                  <a:cubicBezTo>
                    <a:pt x="964" y="20"/>
                    <a:pt x="965" y="20"/>
                    <a:pt x="965" y="19"/>
                  </a:cubicBezTo>
                  <a:cubicBezTo>
                    <a:pt x="964" y="19"/>
                    <a:pt x="964" y="20"/>
                    <a:pt x="964" y="20"/>
                  </a:cubicBezTo>
                  <a:close/>
                  <a:moveTo>
                    <a:pt x="663" y="65"/>
                  </a:moveTo>
                  <a:cubicBezTo>
                    <a:pt x="663" y="65"/>
                    <a:pt x="663" y="65"/>
                    <a:pt x="663" y="65"/>
                  </a:cubicBezTo>
                  <a:cubicBezTo>
                    <a:pt x="663" y="65"/>
                    <a:pt x="663" y="65"/>
                    <a:pt x="663" y="65"/>
                  </a:cubicBezTo>
                  <a:close/>
                  <a:moveTo>
                    <a:pt x="1382" y="20"/>
                  </a:moveTo>
                  <a:cubicBezTo>
                    <a:pt x="1382" y="19"/>
                    <a:pt x="1381" y="19"/>
                    <a:pt x="1381" y="19"/>
                  </a:cubicBezTo>
                  <a:cubicBezTo>
                    <a:pt x="1381" y="20"/>
                    <a:pt x="1381" y="20"/>
                    <a:pt x="1382" y="20"/>
                  </a:cubicBezTo>
                  <a:close/>
                  <a:moveTo>
                    <a:pt x="1457" y="97"/>
                  </a:moveTo>
                  <a:cubicBezTo>
                    <a:pt x="1457" y="97"/>
                    <a:pt x="1457" y="97"/>
                    <a:pt x="1457" y="97"/>
                  </a:cubicBezTo>
                  <a:cubicBezTo>
                    <a:pt x="1457" y="97"/>
                    <a:pt x="1457" y="97"/>
                    <a:pt x="1457" y="97"/>
                  </a:cubicBezTo>
                  <a:close/>
                  <a:moveTo>
                    <a:pt x="1361" y="65"/>
                  </a:moveTo>
                  <a:cubicBezTo>
                    <a:pt x="1362" y="65"/>
                    <a:pt x="1362" y="65"/>
                    <a:pt x="1362" y="65"/>
                  </a:cubicBezTo>
                  <a:cubicBezTo>
                    <a:pt x="1362" y="65"/>
                    <a:pt x="1361" y="65"/>
                    <a:pt x="1361" y="65"/>
                  </a:cubicBezTo>
                  <a:close/>
                  <a:moveTo>
                    <a:pt x="1377" y="65"/>
                  </a:moveTo>
                  <a:cubicBezTo>
                    <a:pt x="1377" y="65"/>
                    <a:pt x="1377" y="65"/>
                    <a:pt x="1377" y="65"/>
                  </a:cubicBezTo>
                  <a:cubicBezTo>
                    <a:pt x="1377" y="65"/>
                    <a:pt x="1377" y="65"/>
                    <a:pt x="1377" y="65"/>
                  </a:cubicBezTo>
                  <a:close/>
                  <a:moveTo>
                    <a:pt x="583" y="20"/>
                  </a:moveTo>
                  <a:cubicBezTo>
                    <a:pt x="583" y="20"/>
                    <a:pt x="583" y="20"/>
                    <a:pt x="582" y="20"/>
                  </a:cubicBezTo>
                  <a:cubicBezTo>
                    <a:pt x="582" y="20"/>
                    <a:pt x="583" y="20"/>
                    <a:pt x="583" y="20"/>
                  </a:cubicBezTo>
                  <a:close/>
                  <a:moveTo>
                    <a:pt x="718" y="98"/>
                  </a:moveTo>
                  <a:cubicBezTo>
                    <a:pt x="718" y="97"/>
                    <a:pt x="718" y="97"/>
                    <a:pt x="718" y="97"/>
                  </a:cubicBezTo>
                  <a:cubicBezTo>
                    <a:pt x="718" y="97"/>
                    <a:pt x="718" y="98"/>
                    <a:pt x="718" y="98"/>
                  </a:cubicBezTo>
                  <a:close/>
                  <a:moveTo>
                    <a:pt x="800" y="97"/>
                  </a:moveTo>
                  <a:cubicBezTo>
                    <a:pt x="800" y="97"/>
                    <a:pt x="800" y="97"/>
                    <a:pt x="800" y="98"/>
                  </a:cubicBezTo>
                  <a:cubicBezTo>
                    <a:pt x="800" y="98"/>
                    <a:pt x="800" y="98"/>
                    <a:pt x="800" y="97"/>
                  </a:cubicBezTo>
                  <a:close/>
                  <a:moveTo>
                    <a:pt x="964" y="20"/>
                  </a:moveTo>
                  <a:cubicBezTo>
                    <a:pt x="964" y="20"/>
                    <a:pt x="964" y="20"/>
                    <a:pt x="964" y="20"/>
                  </a:cubicBezTo>
                  <a:cubicBezTo>
                    <a:pt x="964" y="20"/>
                    <a:pt x="964" y="20"/>
                    <a:pt x="964" y="20"/>
                  </a:cubicBezTo>
                  <a:close/>
                  <a:moveTo>
                    <a:pt x="1041" y="98"/>
                  </a:moveTo>
                  <a:cubicBezTo>
                    <a:pt x="1041" y="97"/>
                    <a:pt x="1041" y="97"/>
                    <a:pt x="1041" y="97"/>
                  </a:cubicBezTo>
                  <a:cubicBezTo>
                    <a:pt x="1041" y="97"/>
                    <a:pt x="1041" y="98"/>
                    <a:pt x="1041" y="98"/>
                  </a:cubicBezTo>
                  <a:close/>
                  <a:moveTo>
                    <a:pt x="1382" y="20"/>
                  </a:moveTo>
                  <a:cubicBezTo>
                    <a:pt x="1382" y="20"/>
                    <a:pt x="1382" y="20"/>
                    <a:pt x="1382" y="20"/>
                  </a:cubicBezTo>
                  <a:cubicBezTo>
                    <a:pt x="1382" y="20"/>
                    <a:pt x="1382" y="20"/>
                    <a:pt x="1382" y="20"/>
                  </a:cubicBezTo>
                  <a:close/>
                  <a:moveTo>
                    <a:pt x="1219" y="98"/>
                  </a:moveTo>
                  <a:cubicBezTo>
                    <a:pt x="1219" y="97"/>
                    <a:pt x="1219" y="97"/>
                    <a:pt x="1219" y="97"/>
                  </a:cubicBezTo>
                  <a:cubicBezTo>
                    <a:pt x="1219" y="97"/>
                    <a:pt x="1219" y="98"/>
                    <a:pt x="1219" y="98"/>
                  </a:cubicBezTo>
                  <a:close/>
                  <a:moveTo>
                    <a:pt x="1260" y="97"/>
                  </a:moveTo>
                  <a:cubicBezTo>
                    <a:pt x="1260" y="97"/>
                    <a:pt x="1260" y="97"/>
                    <a:pt x="1260" y="98"/>
                  </a:cubicBezTo>
                  <a:cubicBezTo>
                    <a:pt x="1260" y="98"/>
                    <a:pt x="1260" y="97"/>
                    <a:pt x="1260" y="97"/>
                  </a:cubicBezTo>
                  <a:close/>
                  <a:moveTo>
                    <a:pt x="1670" y="65"/>
                  </a:moveTo>
                  <a:cubicBezTo>
                    <a:pt x="1670" y="65"/>
                    <a:pt x="1670" y="65"/>
                    <a:pt x="1670" y="65"/>
                  </a:cubicBezTo>
                  <a:cubicBezTo>
                    <a:pt x="1670" y="65"/>
                    <a:pt x="1670" y="65"/>
                    <a:pt x="1670" y="65"/>
                  </a:cubicBezTo>
                  <a:close/>
                  <a:moveTo>
                    <a:pt x="1539" y="20"/>
                  </a:moveTo>
                  <a:cubicBezTo>
                    <a:pt x="1539" y="20"/>
                    <a:pt x="1539" y="20"/>
                    <a:pt x="1538" y="20"/>
                  </a:cubicBezTo>
                  <a:cubicBezTo>
                    <a:pt x="1539" y="20"/>
                    <a:pt x="1539" y="20"/>
                    <a:pt x="1539" y="20"/>
                  </a:cubicBezTo>
                  <a:close/>
                  <a:moveTo>
                    <a:pt x="579" y="98"/>
                  </a:moveTo>
                  <a:cubicBezTo>
                    <a:pt x="579" y="98"/>
                    <a:pt x="579" y="98"/>
                    <a:pt x="579" y="98"/>
                  </a:cubicBezTo>
                  <a:cubicBezTo>
                    <a:pt x="579" y="98"/>
                    <a:pt x="579" y="98"/>
                    <a:pt x="579" y="98"/>
                  </a:cubicBezTo>
                  <a:close/>
                  <a:moveTo>
                    <a:pt x="1681" y="20"/>
                  </a:moveTo>
                  <a:cubicBezTo>
                    <a:pt x="1681" y="20"/>
                    <a:pt x="1681" y="20"/>
                    <a:pt x="1682" y="20"/>
                  </a:cubicBezTo>
                  <a:cubicBezTo>
                    <a:pt x="1681" y="20"/>
                    <a:pt x="1681" y="20"/>
                    <a:pt x="1681" y="20"/>
                  </a:cubicBezTo>
                  <a:close/>
                  <a:moveTo>
                    <a:pt x="693" y="98"/>
                  </a:moveTo>
                  <a:cubicBezTo>
                    <a:pt x="693" y="98"/>
                    <a:pt x="693" y="98"/>
                    <a:pt x="693" y="98"/>
                  </a:cubicBezTo>
                  <a:cubicBezTo>
                    <a:pt x="693" y="98"/>
                    <a:pt x="693" y="98"/>
                    <a:pt x="693" y="98"/>
                  </a:cubicBezTo>
                  <a:close/>
                  <a:moveTo>
                    <a:pt x="719" y="98"/>
                  </a:moveTo>
                  <a:cubicBezTo>
                    <a:pt x="719" y="98"/>
                    <a:pt x="719" y="98"/>
                    <a:pt x="718" y="98"/>
                  </a:cubicBezTo>
                  <a:cubicBezTo>
                    <a:pt x="719" y="98"/>
                    <a:pt x="719" y="98"/>
                    <a:pt x="719" y="98"/>
                  </a:cubicBezTo>
                  <a:close/>
                  <a:moveTo>
                    <a:pt x="760" y="98"/>
                  </a:moveTo>
                  <a:cubicBezTo>
                    <a:pt x="760" y="98"/>
                    <a:pt x="759" y="98"/>
                    <a:pt x="759" y="98"/>
                  </a:cubicBezTo>
                  <a:cubicBezTo>
                    <a:pt x="759" y="98"/>
                    <a:pt x="759" y="98"/>
                    <a:pt x="760" y="98"/>
                  </a:cubicBezTo>
                  <a:close/>
                  <a:moveTo>
                    <a:pt x="585" y="65"/>
                  </a:moveTo>
                  <a:cubicBezTo>
                    <a:pt x="585" y="65"/>
                    <a:pt x="586" y="65"/>
                    <a:pt x="586" y="65"/>
                  </a:cubicBezTo>
                  <a:cubicBezTo>
                    <a:pt x="586" y="65"/>
                    <a:pt x="586" y="65"/>
                    <a:pt x="585" y="65"/>
                  </a:cubicBezTo>
                  <a:close/>
                  <a:moveTo>
                    <a:pt x="1707" y="20"/>
                  </a:moveTo>
                  <a:cubicBezTo>
                    <a:pt x="1707" y="20"/>
                    <a:pt x="1707" y="20"/>
                    <a:pt x="1707" y="20"/>
                  </a:cubicBezTo>
                  <a:cubicBezTo>
                    <a:pt x="1707" y="20"/>
                    <a:pt x="1707" y="20"/>
                    <a:pt x="1707" y="20"/>
                  </a:cubicBezTo>
                  <a:close/>
                  <a:moveTo>
                    <a:pt x="1021" y="98"/>
                  </a:moveTo>
                  <a:cubicBezTo>
                    <a:pt x="1021" y="98"/>
                    <a:pt x="1021" y="98"/>
                    <a:pt x="1020" y="98"/>
                  </a:cubicBezTo>
                  <a:cubicBezTo>
                    <a:pt x="1021" y="98"/>
                    <a:pt x="1021" y="98"/>
                    <a:pt x="1021" y="98"/>
                  </a:cubicBezTo>
                  <a:close/>
                  <a:moveTo>
                    <a:pt x="663" y="65"/>
                  </a:moveTo>
                  <a:cubicBezTo>
                    <a:pt x="663" y="65"/>
                    <a:pt x="663" y="65"/>
                    <a:pt x="663" y="65"/>
                  </a:cubicBezTo>
                  <a:cubicBezTo>
                    <a:pt x="663" y="65"/>
                    <a:pt x="663" y="65"/>
                    <a:pt x="663" y="65"/>
                  </a:cubicBezTo>
                  <a:close/>
                  <a:moveTo>
                    <a:pt x="964" y="21"/>
                  </a:moveTo>
                  <a:cubicBezTo>
                    <a:pt x="964" y="20"/>
                    <a:pt x="964" y="20"/>
                    <a:pt x="964" y="20"/>
                  </a:cubicBezTo>
                  <a:cubicBezTo>
                    <a:pt x="964" y="20"/>
                    <a:pt x="964" y="20"/>
                    <a:pt x="964" y="21"/>
                  </a:cubicBezTo>
                  <a:close/>
                  <a:moveTo>
                    <a:pt x="1179" y="98"/>
                  </a:moveTo>
                  <a:cubicBezTo>
                    <a:pt x="1179" y="98"/>
                    <a:pt x="1179" y="98"/>
                    <a:pt x="1178" y="98"/>
                  </a:cubicBezTo>
                  <a:cubicBezTo>
                    <a:pt x="1178" y="98"/>
                    <a:pt x="1178" y="98"/>
                    <a:pt x="1179" y="98"/>
                  </a:cubicBezTo>
                  <a:close/>
                  <a:moveTo>
                    <a:pt x="1219" y="98"/>
                  </a:moveTo>
                  <a:cubicBezTo>
                    <a:pt x="1219" y="98"/>
                    <a:pt x="1219" y="98"/>
                    <a:pt x="1219" y="98"/>
                  </a:cubicBezTo>
                  <a:cubicBezTo>
                    <a:pt x="1219" y="98"/>
                    <a:pt x="1219" y="98"/>
                    <a:pt x="1219" y="98"/>
                  </a:cubicBezTo>
                  <a:close/>
                  <a:moveTo>
                    <a:pt x="1382" y="20"/>
                  </a:moveTo>
                  <a:cubicBezTo>
                    <a:pt x="1382" y="20"/>
                    <a:pt x="1382" y="20"/>
                    <a:pt x="1382" y="20"/>
                  </a:cubicBezTo>
                  <a:cubicBezTo>
                    <a:pt x="1382" y="20"/>
                    <a:pt x="1382" y="20"/>
                    <a:pt x="1382" y="20"/>
                  </a:cubicBezTo>
                  <a:close/>
                  <a:moveTo>
                    <a:pt x="1423" y="98"/>
                  </a:moveTo>
                  <a:cubicBezTo>
                    <a:pt x="1423" y="98"/>
                    <a:pt x="1423" y="98"/>
                    <a:pt x="1423" y="98"/>
                  </a:cubicBezTo>
                  <a:cubicBezTo>
                    <a:pt x="1423" y="98"/>
                    <a:pt x="1423" y="98"/>
                    <a:pt x="1423" y="98"/>
                  </a:cubicBezTo>
                  <a:close/>
                  <a:moveTo>
                    <a:pt x="1361" y="65"/>
                  </a:moveTo>
                  <a:cubicBezTo>
                    <a:pt x="1361" y="65"/>
                    <a:pt x="1361" y="65"/>
                    <a:pt x="1361" y="65"/>
                  </a:cubicBezTo>
                  <a:cubicBezTo>
                    <a:pt x="1361" y="65"/>
                    <a:pt x="1361" y="65"/>
                    <a:pt x="1361" y="65"/>
                  </a:cubicBezTo>
                  <a:close/>
                  <a:moveTo>
                    <a:pt x="1377" y="65"/>
                  </a:moveTo>
                  <a:cubicBezTo>
                    <a:pt x="1376" y="65"/>
                    <a:pt x="1376" y="65"/>
                    <a:pt x="1376" y="65"/>
                  </a:cubicBezTo>
                  <a:cubicBezTo>
                    <a:pt x="1376" y="65"/>
                    <a:pt x="1377" y="65"/>
                    <a:pt x="1377" y="65"/>
                  </a:cubicBezTo>
                  <a:close/>
                  <a:moveTo>
                    <a:pt x="693" y="98"/>
                  </a:moveTo>
                  <a:cubicBezTo>
                    <a:pt x="692" y="98"/>
                    <a:pt x="692" y="98"/>
                    <a:pt x="692" y="98"/>
                  </a:cubicBezTo>
                  <a:cubicBezTo>
                    <a:pt x="692" y="98"/>
                    <a:pt x="693" y="98"/>
                    <a:pt x="693" y="98"/>
                  </a:cubicBezTo>
                  <a:close/>
                  <a:moveTo>
                    <a:pt x="1545" y="65"/>
                  </a:moveTo>
                  <a:cubicBezTo>
                    <a:pt x="1545" y="65"/>
                    <a:pt x="1546" y="65"/>
                    <a:pt x="1546" y="65"/>
                  </a:cubicBezTo>
                  <a:cubicBezTo>
                    <a:pt x="1545" y="65"/>
                    <a:pt x="1545" y="65"/>
                    <a:pt x="1545" y="65"/>
                  </a:cubicBezTo>
                  <a:close/>
                  <a:moveTo>
                    <a:pt x="1561" y="65"/>
                  </a:moveTo>
                  <a:cubicBezTo>
                    <a:pt x="1561" y="65"/>
                    <a:pt x="1560" y="65"/>
                    <a:pt x="1560" y="65"/>
                  </a:cubicBezTo>
                  <a:cubicBezTo>
                    <a:pt x="1561" y="65"/>
                    <a:pt x="1561" y="65"/>
                    <a:pt x="1561" y="65"/>
                  </a:cubicBezTo>
                  <a:close/>
                  <a:moveTo>
                    <a:pt x="1416" y="21"/>
                  </a:moveTo>
                  <a:cubicBezTo>
                    <a:pt x="1417" y="20"/>
                    <a:pt x="1417" y="20"/>
                    <a:pt x="1417" y="20"/>
                  </a:cubicBezTo>
                  <a:cubicBezTo>
                    <a:pt x="1417" y="20"/>
                    <a:pt x="1416" y="20"/>
                    <a:pt x="1416" y="21"/>
                  </a:cubicBezTo>
                  <a:close/>
                  <a:moveTo>
                    <a:pt x="1713" y="65"/>
                  </a:moveTo>
                  <a:cubicBezTo>
                    <a:pt x="1714" y="65"/>
                    <a:pt x="1714" y="65"/>
                    <a:pt x="1714" y="65"/>
                  </a:cubicBezTo>
                  <a:cubicBezTo>
                    <a:pt x="1714" y="65"/>
                    <a:pt x="1713" y="65"/>
                    <a:pt x="1713" y="65"/>
                  </a:cubicBezTo>
                  <a:close/>
                  <a:moveTo>
                    <a:pt x="1020" y="98"/>
                  </a:moveTo>
                  <a:cubicBezTo>
                    <a:pt x="1020" y="98"/>
                    <a:pt x="1020" y="98"/>
                    <a:pt x="1020" y="98"/>
                  </a:cubicBezTo>
                  <a:cubicBezTo>
                    <a:pt x="1020" y="98"/>
                    <a:pt x="1020" y="98"/>
                    <a:pt x="1020" y="98"/>
                  </a:cubicBezTo>
                  <a:close/>
                  <a:moveTo>
                    <a:pt x="1042" y="98"/>
                  </a:moveTo>
                  <a:cubicBezTo>
                    <a:pt x="1042" y="98"/>
                    <a:pt x="1042" y="98"/>
                    <a:pt x="1042" y="98"/>
                  </a:cubicBezTo>
                  <a:cubicBezTo>
                    <a:pt x="1042" y="98"/>
                    <a:pt x="1042" y="98"/>
                    <a:pt x="1042" y="98"/>
                  </a:cubicBezTo>
                  <a:close/>
                  <a:moveTo>
                    <a:pt x="1081" y="98"/>
                  </a:moveTo>
                  <a:cubicBezTo>
                    <a:pt x="1081" y="98"/>
                    <a:pt x="1081" y="98"/>
                    <a:pt x="1081" y="98"/>
                  </a:cubicBezTo>
                  <a:cubicBezTo>
                    <a:pt x="1081" y="98"/>
                    <a:pt x="1081" y="98"/>
                    <a:pt x="1081" y="98"/>
                  </a:cubicBezTo>
                  <a:close/>
                  <a:moveTo>
                    <a:pt x="1179" y="98"/>
                  </a:moveTo>
                  <a:cubicBezTo>
                    <a:pt x="1179" y="98"/>
                    <a:pt x="1179" y="98"/>
                    <a:pt x="1179" y="98"/>
                  </a:cubicBezTo>
                  <a:cubicBezTo>
                    <a:pt x="1179" y="98"/>
                    <a:pt x="1179" y="98"/>
                    <a:pt x="1179" y="98"/>
                  </a:cubicBezTo>
                  <a:close/>
                  <a:moveTo>
                    <a:pt x="1729" y="65"/>
                  </a:moveTo>
                  <a:cubicBezTo>
                    <a:pt x="1729" y="65"/>
                    <a:pt x="1729" y="65"/>
                    <a:pt x="1729" y="65"/>
                  </a:cubicBezTo>
                  <a:cubicBezTo>
                    <a:pt x="1729" y="65"/>
                    <a:pt x="1729" y="65"/>
                    <a:pt x="1729" y="65"/>
                  </a:cubicBezTo>
                  <a:close/>
                  <a:moveTo>
                    <a:pt x="1259" y="98"/>
                  </a:moveTo>
                  <a:cubicBezTo>
                    <a:pt x="1259" y="98"/>
                    <a:pt x="1259" y="98"/>
                    <a:pt x="1259" y="98"/>
                  </a:cubicBezTo>
                  <a:cubicBezTo>
                    <a:pt x="1259" y="98"/>
                    <a:pt x="1259" y="98"/>
                    <a:pt x="1259" y="98"/>
                  </a:cubicBezTo>
                  <a:close/>
                  <a:moveTo>
                    <a:pt x="1424" y="98"/>
                  </a:moveTo>
                  <a:cubicBezTo>
                    <a:pt x="1424" y="98"/>
                    <a:pt x="1424" y="98"/>
                    <a:pt x="1423" y="98"/>
                  </a:cubicBezTo>
                  <a:cubicBezTo>
                    <a:pt x="1423" y="98"/>
                    <a:pt x="1424" y="98"/>
                    <a:pt x="1424" y="98"/>
                  </a:cubicBezTo>
                  <a:close/>
                  <a:moveTo>
                    <a:pt x="1456" y="98"/>
                  </a:moveTo>
                  <a:cubicBezTo>
                    <a:pt x="1455" y="98"/>
                    <a:pt x="1455" y="98"/>
                    <a:pt x="1455" y="98"/>
                  </a:cubicBezTo>
                  <a:cubicBezTo>
                    <a:pt x="1455" y="98"/>
                    <a:pt x="1456" y="98"/>
                    <a:pt x="1456" y="98"/>
                  </a:cubicBezTo>
                  <a:close/>
                  <a:moveTo>
                    <a:pt x="553" y="20"/>
                  </a:moveTo>
                  <a:cubicBezTo>
                    <a:pt x="553" y="20"/>
                    <a:pt x="552" y="21"/>
                    <a:pt x="552" y="21"/>
                  </a:cubicBezTo>
                  <a:cubicBezTo>
                    <a:pt x="553" y="21"/>
                    <a:pt x="553" y="21"/>
                    <a:pt x="553" y="20"/>
                  </a:cubicBezTo>
                  <a:close/>
                  <a:moveTo>
                    <a:pt x="578" y="98"/>
                  </a:moveTo>
                  <a:cubicBezTo>
                    <a:pt x="578" y="98"/>
                    <a:pt x="578" y="98"/>
                    <a:pt x="578" y="99"/>
                  </a:cubicBezTo>
                  <a:cubicBezTo>
                    <a:pt x="578" y="99"/>
                    <a:pt x="578" y="99"/>
                    <a:pt x="578" y="98"/>
                  </a:cubicBezTo>
                  <a:close/>
                  <a:moveTo>
                    <a:pt x="1354" y="20"/>
                  </a:moveTo>
                  <a:cubicBezTo>
                    <a:pt x="1353" y="20"/>
                    <a:pt x="1353" y="20"/>
                    <a:pt x="1353" y="21"/>
                  </a:cubicBezTo>
                  <a:cubicBezTo>
                    <a:pt x="1353" y="21"/>
                    <a:pt x="1354" y="21"/>
                    <a:pt x="1354" y="20"/>
                  </a:cubicBezTo>
                  <a:close/>
                  <a:moveTo>
                    <a:pt x="1383" y="21"/>
                  </a:moveTo>
                  <a:cubicBezTo>
                    <a:pt x="1383" y="21"/>
                    <a:pt x="1382" y="20"/>
                    <a:pt x="1382" y="20"/>
                  </a:cubicBezTo>
                  <a:cubicBezTo>
                    <a:pt x="1382" y="21"/>
                    <a:pt x="1382" y="21"/>
                    <a:pt x="1383" y="21"/>
                  </a:cubicBezTo>
                  <a:close/>
                  <a:moveTo>
                    <a:pt x="798" y="98"/>
                  </a:moveTo>
                  <a:cubicBezTo>
                    <a:pt x="798" y="98"/>
                    <a:pt x="798" y="98"/>
                    <a:pt x="798" y="99"/>
                  </a:cubicBezTo>
                  <a:cubicBezTo>
                    <a:pt x="798" y="99"/>
                    <a:pt x="798" y="99"/>
                    <a:pt x="798" y="98"/>
                  </a:cubicBezTo>
                  <a:close/>
                  <a:moveTo>
                    <a:pt x="664" y="66"/>
                  </a:moveTo>
                  <a:cubicBezTo>
                    <a:pt x="664" y="65"/>
                    <a:pt x="664" y="65"/>
                    <a:pt x="663" y="65"/>
                  </a:cubicBezTo>
                  <a:cubicBezTo>
                    <a:pt x="664" y="65"/>
                    <a:pt x="664" y="66"/>
                    <a:pt x="664" y="66"/>
                  </a:cubicBezTo>
                  <a:close/>
                  <a:moveTo>
                    <a:pt x="1020" y="98"/>
                  </a:moveTo>
                  <a:cubicBezTo>
                    <a:pt x="1019" y="98"/>
                    <a:pt x="1019" y="98"/>
                    <a:pt x="1019" y="99"/>
                  </a:cubicBezTo>
                  <a:cubicBezTo>
                    <a:pt x="1019" y="99"/>
                    <a:pt x="1019" y="99"/>
                    <a:pt x="1020" y="98"/>
                  </a:cubicBezTo>
                  <a:close/>
                  <a:moveTo>
                    <a:pt x="1538" y="20"/>
                  </a:moveTo>
                  <a:cubicBezTo>
                    <a:pt x="1538" y="20"/>
                    <a:pt x="1537" y="21"/>
                    <a:pt x="1537" y="21"/>
                  </a:cubicBezTo>
                  <a:cubicBezTo>
                    <a:pt x="1538" y="21"/>
                    <a:pt x="1538" y="21"/>
                    <a:pt x="1538" y="20"/>
                  </a:cubicBezTo>
                  <a:close/>
                  <a:moveTo>
                    <a:pt x="1706" y="20"/>
                  </a:moveTo>
                  <a:cubicBezTo>
                    <a:pt x="1706" y="20"/>
                    <a:pt x="1706" y="21"/>
                    <a:pt x="1706" y="21"/>
                  </a:cubicBezTo>
                  <a:cubicBezTo>
                    <a:pt x="1706" y="21"/>
                    <a:pt x="1706" y="21"/>
                    <a:pt x="1706" y="20"/>
                  </a:cubicBezTo>
                  <a:close/>
                  <a:moveTo>
                    <a:pt x="1179" y="99"/>
                  </a:moveTo>
                  <a:cubicBezTo>
                    <a:pt x="1179" y="99"/>
                    <a:pt x="1179" y="98"/>
                    <a:pt x="1179" y="98"/>
                  </a:cubicBezTo>
                  <a:cubicBezTo>
                    <a:pt x="1179" y="99"/>
                    <a:pt x="1179" y="99"/>
                    <a:pt x="1179" y="99"/>
                  </a:cubicBezTo>
                  <a:close/>
                  <a:moveTo>
                    <a:pt x="1220" y="99"/>
                  </a:moveTo>
                  <a:cubicBezTo>
                    <a:pt x="1220" y="98"/>
                    <a:pt x="1220" y="98"/>
                    <a:pt x="1220" y="98"/>
                  </a:cubicBezTo>
                  <a:cubicBezTo>
                    <a:pt x="1220" y="99"/>
                    <a:pt x="1220" y="99"/>
                    <a:pt x="1220" y="99"/>
                  </a:cubicBezTo>
                  <a:close/>
                  <a:moveTo>
                    <a:pt x="552" y="21"/>
                  </a:moveTo>
                  <a:cubicBezTo>
                    <a:pt x="552" y="21"/>
                    <a:pt x="552" y="21"/>
                    <a:pt x="552" y="21"/>
                  </a:cubicBezTo>
                  <a:cubicBezTo>
                    <a:pt x="552" y="21"/>
                    <a:pt x="552" y="21"/>
                    <a:pt x="552" y="21"/>
                  </a:cubicBezTo>
                  <a:close/>
                  <a:moveTo>
                    <a:pt x="1545" y="66"/>
                  </a:moveTo>
                  <a:cubicBezTo>
                    <a:pt x="1545" y="66"/>
                    <a:pt x="1545" y="66"/>
                    <a:pt x="1545" y="65"/>
                  </a:cubicBezTo>
                  <a:cubicBezTo>
                    <a:pt x="1545" y="65"/>
                    <a:pt x="1545" y="65"/>
                    <a:pt x="1545" y="66"/>
                  </a:cubicBezTo>
                  <a:close/>
                  <a:moveTo>
                    <a:pt x="1560" y="65"/>
                  </a:moveTo>
                  <a:cubicBezTo>
                    <a:pt x="1560" y="65"/>
                    <a:pt x="1560" y="65"/>
                    <a:pt x="1560" y="66"/>
                  </a:cubicBezTo>
                  <a:cubicBezTo>
                    <a:pt x="1560" y="66"/>
                    <a:pt x="1560" y="65"/>
                    <a:pt x="1560" y="65"/>
                  </a:cubicBezTo>
                  <a:close/>
                  <a:moveTo>
                    <a:pt x="1713" y="66"/>
                  </a:moveTo>
                  <a:cubicBezTo>
                    <a:pt x="1713" y="66"/>
                    <a:pt x="1713" y="66"/>
                    <a:pt x="1713" y="65"/>
                  </a:cubicBezTo>
                  <a:cubicBezTo>
                    <a:pt x="1713" y="65"/>
                    <a:pt x="1713" y="65"/>
                    <a:pt x="1713" y="66"/>
                  </a:cubicBezTo>
                  <a:close/>
                  <a:moveTo>
                    <a:pt x="584" y="21"/>
                  </a:moveTo>
                  <a:cubicBezTo>
                    <a:pt x="584" y="21"/>
                    <a:pt x="584" y="21"/>
                    <a:pt x="584" y="21"/>
                  </a:cubicBezTo>
                  <a:cubicBezTo>
                    <a:pt x="584" y="21"/>
                    <a:pt x="584" y="21"/>
                    <a:pt x="584" y="21"/>
                  </a:cubicBezTo>
                  <a:close/>
                  <a:moveTo>
                    <a:pt x="980" y="21"/>
                  </a:moveTo>
                  <a:cubicBezTo>
                    <a:pt x="980" y="21"/>
                    <a:pt x="979" y="21"/>
                    <a:pt x="979" y="21"/>
                  </a:cubicBezTo>
                  <a:cubicBezTo>
                    <a:pt x="980" y="21"/>
                    <a:pt x="980" y="21"/>
                    <a:pt x="980" y="21"/>
                  </a:cubicBezTo>
                  <a:close/>
                  <a:moveTo>
                    <a:pt x="692" y="99"/>
                  </a:moveTo>
                  <a:cubicBezTo>
                    <a:pt x="691" y="99"/>
                    <a:pt x="691" y="99"/>
                    <a:pt x="691" y="99"/>
                  </a:cubicBezTo>
                  <a:cubicBezTo>
                    <a:pt x="691" y="99"/>
                    <a:pt x="691" y="99"/>
                    <a:pt x="692" y="99"/>
                  </a:cubicBezTo>
                  <a:close/>
                  <a:moveTo>
                    <a:pt x="1383" y="21"/>
                  </a:moveTo>
                  <a:cubicBezTo>
                    <a:pt x="1383" y="21"/>
                    <a:pt x="1383" y="21"/>
                    <a:pt x="1383" y="21"/>
                  </a:cubicBezTo>
                  <a:cubicBezTo>
                    <a:pt x="1383" y="21"/>
                    <a:pt x="1383" y="21"/>
                    <a:pt x="1383" y="21"/>
                  </a:cubicBezTo>
                  <a:close/>
                  <a:moveTo>
                    <a:pt x="664" y="66"/>
                  </a:moveTo>
                  <a:cubicBezTo>
                    <a:pt x="664" y="66"/>
                    <a:pt x="664" y="66"/>
                    <a:pt x="664" y="66"/>
                  </a:cubicBezTo>
                  <a:cubicBezTo>
                    <a:pt x="664" y="66"/>
                    <a:pt x="664" y="66"/>
                    <a:pt x="664" y="66"/>
                  </a:cubicBezTo>
                  <a:close/>
                  <a:moveTo>
                    <a:pt x="1416" y="21"/>
                  </a:moveTo>
                  <a:cubicBezTo>
                    <a:pt x="1416" y="21"/>
                    <a:pt x="1416" y="21"/>
                    <a:pt x="1416" y="21"/>
                  </a:cubicBezTo>
                  <a:cubicBezTo>
                    <a:pt x="1416" y="21"/>
                    <a:pt x="1416" y="21"/>
                    <a:pt x="1416" y="21"/>
                  </a:cubicBezTo>
                  <a:close/>
                  <a:moveTo>
                    <a:pt x="1567" y="21"/>
                  </a:moveTo>
                  <a:cubicBezTo>
                    <a:pt x="1567" y="21"/>
                    <a:pt x="1567" y="21"/>
                    <a:pt x="1567" y="21"/>
                  </a:cubicBezTo>
                  <a:cubicBezTo>
                    <a:pt x="1567" y="21"/>
                    <a:pt x="1567" y="21"/>
                    <a:pt x="1567" y="21"/>
                  </a:cubicBezTo>
                  <a:close/>
                  <a:moveTo>
                    <a:pt x="1043" y="99"/>
                  </a:moveTo>
                  <a:cubicBezTo>
                    <a:pt x="1043" y="99"/>
                    <a:pt x="1043" y="99"/>
                    <a:pt x="1043" y="99"/>
                  </a:cubicBezTo>
                  <a:cubicBezTo>
                    <a:pt x="1043" y="99"/>
                    <a:pt x="1043" y="99"/>
                    <a:pt x="1043" y="99"/>
                  </a:cubicBezTo>
                  <a:close/>
                  <a:moveTo>
                    <a:pt x="1376" y="66"/>
                  </a:moveTo>
                  <a:cubicBezTo>
                    <a:pt x="1375" y="66"/>
                    <a:pt x="1375" y="66"/>
                    <a:pt x="1375" y="66"/>
                  </a:cubicBezTo>
                  <a:cubicBezTo>
                    <a:pt x="1375" y="66"/>
                    <a:pt x="1376" y="66"/>
                    <a:pt x="1376" y="66"/>
                  </a:cubicBezTo>
                  <a:close/>
                  <a:moveTo>
                    <a:pt x="1180" y="99"/>
                  </a:moveTo>
                  <a:cubicBezTo>
                    <a:pt x="1180" y="99"/>
                    <a:pt x="1180" y="99"/>
                    <a:pt x="1179" y="99"/>
                  </a:cubicBezTo>
                  <a:cubicBezTo>
                    <a:pt x="1179" y="99"/>
                    <a:pt x="1180" y="99"/>
                    <a:pt x="1180" y="99"/>
                  </a:cubicBezTo>
                  <a:close/>
                  <a:moveTo>
                    <a:pt x="1544" y="66"/>
                  </a:moveTo>
                  <a:cubicBezTo>
                    <a:pt x="1545" y="66"/>
                    <a:pt x="1545" y="66"/>
                    <a:pt x="1545" y="66"/>
                  </a:cubicBezTo>
                  <a:cubicBezTo>
                    <a:pt x="1545" y="66"/>
                    <a:pt x="1545" y="66"/>
                    <a:pt x="1544" y="66"/>
                  </a:cubicBezTo>
                  <a:close/>
                  <a:moveTo>
                    <a:pt x="1735" y="21"/>
                  </a:moveTo>
                  <a:cubicBezTo>
                    <a:pt x="1735" y="21"/>
                    <a:pt x="1735" y="21"/>
                    <a:pt x="1735" y="21"/>
                  </a:cubicBezTo>
                  <a:cubicBezTo>
                    <a:pt x="1735" y="21"/>
                    <a:pt x="1735" y="21"/>
                    <a:pt x="1735" y="21"/>
                  </a:cubicBezTo>
                  <a:close/>
                  <a:moveTo>
                    <a:pt x="1455" y="99"/>
                  </a:moveTo>
                  <a:cubicBezTo>
                    <a:pt x="1454" y="99"/>
                    <a:pt x="1454" y="99"/>
                    <a:pt x="1454" y="99"/>
                  </a:cubicBezTo>
                  <a:cubicBezTo>
                    <a:pt x="1454" y="99"/>
                    <a:pt x="1455" y="99"/>
                    <a:pt x="1455" y="99"/>
                  </a:cubicBezTo>
                  <a:close/>
                  <a:moveTo>
                    <a:pt x="552" y="21"/>
                  </a:moveTo>
                  <a:cubicBezTo>
                    <a:pt x="552" y="21"/>
                    <a:pt x="552" y="21"/>
                    <a:pt x="552" y="21"/>
                  </a:cubicBezTo>
                  <a:cubicBezTo>
                    <a:pt x="552" y="21"/>
                    <a:pt x="552" y="21"/>
                    <a:pt x="552" y="21"/>
                  </a:cubicBezTo>
                  <a:close/>
                  <a:moveTo>
                    <a:pt x="585" y="21"/>
                  </a:moveTo>
                  <a:cubicBezTo>
                    <a:pt x="585" y="21"/>
                    <a:pt x="585" y="21"/>
                    <a:pt x="584" y="21"/>
                  </a:cubicBezTo>
                  <a:cubicBezTo>
                    <a:pt x="585" y="21"/>
                    <a:pt x="585" y="21"/>
                    <a:pt x="585" y="21"/>
                  </a:cubicBezTo>
                  <a:close/>
                  <a:moveTo>
                    <a:pt x="659" y="99"/>
                  </a:moveTo>
                  <a:cubicBezTo>
                    <a:pt x="659" y="99"/>
                    <a:pt x="658" y="99"/>
                    <a:pt x="658" y="99"/>
                  </a:cubicBezTo>
                  <a:cubicBezTo>
                    <a:pt x="658" y="99"/>
                    <a:pt x="658" y="99"/>
                    <a:pt x="659" y="99"/>
                  </a:cubicBezTo>
                  <a:close/>
                  <a:moveTo>
                    <a:pt x="1353" y="21"/>
                  </a:moveTo>
                  <a:cubicBezTo>
                    <a:pt x="1352" y="21"/>
                    <a:pt x="1352" y="21"/>
                    <a:pt x="1352" y="21"/>
                  </a:cubicBezTo>
                  <a:cubicBezTo>
                    <a:pt x="1352" y="21"/>
                    <a:pt x="1353" y="21"/>
                    <a:pt x="1353" y="21"/>
                  </a:cubicBezTo>
                  <a:close/>
                  <a:moveTo>
                    <a:pt x="762" y="99"/>
                  </a:moveTo>
                  <a:cubicBezTo>
                    <a:pt x="762" y="99"/>
                    <a:pt x="761" y="99"/>
                    <a:pt x="761" y="99"/>
                  </a:cubicBezTo>
                  <a:cubicBezTo>
                    <a:pt x="761" y="99"/>
                    <a:pt x="762" y="99"/>
                    <a:pt x="762" y="99"/>
                  </a:cubicBezTo>
                  <a:close/>
                  <a:moveTo>
                    <a:pt x="1498" y="21"/>
                  </a:moveTo>
                  <a:cubicBezTo>
                    <a:pt x="1498" y="21"/>
                    <a:pt x="1498" y="21"/>
                    <a:pt x="1498" y="21"/>
                  </a:cubicBezTo>
                  <a:cubicBezTo>
                    <a:pt x="1498" y="21"/>
                    <a:pt x="1498" y="21"/>
                    <a:pt x="1498" y="21"/>
                  </a:cubicBezTo>
                  <a:close/>
                  <a:moveTo>
                    <a:pt x="665" y="66"/>
                  </a:moveTo>
                  <a:cubicBezTo>
                    <a:pt x="665" y="66"/>
                    <a:pt x="664" y="66"/>
                    <a:pt x="664" y="66"/>
                  </a:cubicBezTo>
                  <a:cubicBezTo>
                    <a:pt x="664" y="66"/>
                    <a:pt x="664" y="66"/>
                    <a:pt x="665" y="66"/>
                  </a:cubicBezTo>
                  <a:close/>
                  <a:moveTo>
                    <a:pt x="1567" y="21"/>
                  </a:moveTo>
                  <a:cubicBezTo>
                    <a:pt x="1567" y="21"/>
                    <a:pt x="1567" y="21"/>
                    <a:pt x="1567" y="21"/>
                  </a:cubicBezTo>
                  <a:cubicBezTo>
                    <a:pt x="1567" y="21"/>
                    <a:pt x="1567" y="21"/>
                    <a:pt x="1567" y="21"/>
                  </a:cubicBezTo>
                  <a:close/>
                  <a:moveTo>
                    <a:pt x="1736" y="21"/>
                  </a:moveTo>
                  <a:cubicBezTo>
                    <a:pt x="1736" y="21"/>
                    <a:pt x="1735" y="21"/>
                    <a:pt x="1735" y="21"/>
                  </a:cubicBezTo>
                  <a:cubicBezTo>
                    <a:pt x="1735" y="21"/>
                    <a:pt x="1735" y="21"/>
                    <a:pt x="1736" y="21"/>
                  </a:cubicBezTo>
                  <a:close/>
                  <a:moveTo>
                    <a:pt x="1360" y="66"/>
                  </a:moveTo>
                  <a:cubicBezTo>
                    <a:pt x="1360" y="66"/>
                    <a:pt x="1360" y="66"/>
                    <a:pt x="1360" y="66"/>
                  </a:cubicBezTo>
                  <a:cubicBezTo>
                    <a:pt x="1360" y="66"/>
                    <a:pt x="1360" y="66"/>
                    <a:pt x="1360" y="66"/>
                  </a:cubicBezTo>
                  <a:close/>
                  <a:moveTo>
                    <a:pt x="1180" y="99"/>
                  </a:moveTo>
                  <a:cubicBezTo>
                    <a:pt x="1180" y="99"/>
                    <a:pt x="1180" y="99"/>
                    <a:pt x="1180" y="99"/>
                  </a:cubicBezTo>
                  <a:cubicBezTo>
                    <a:pt x="1180" y="99"/>
                    <a:pt x="1180" y="99"/>
                    <a:pt x="1180" y="99"/>
                  </a:cubicBezTo>
                  <a:close/>
                  <a:moveTo>
                    <a:pt x="962" y="22"/>
                  </a:moveTo>
                  <a:cubicBezTo>
                    <a:pt x="963" y="22"/>
                    <a:pt x="963" y="22"/>
                    <a:pt x="963" y="21"/>
                  </a:cubicBezTo>
                  <a:cubicBezTo>
                    <a:pt x="963" y="22"/>
                    <a:pt x="963" y="22"/>
                    <a:pt x="962" y="22"/>
                  </a:cubicBezTo>
                  <a:close/>
                  <a:moveTo>
                    <a:pt x="1021" y="22"/>
                  </a:moveTo>
                  <a:cubicBezTo>
                    <a:pt x="1021" y="22"/>
                    <a:pt x="1021" y="21"/>
                    <a:pt x="1021" y="21"/>
                  </a:cubicBezTo>
                  <a:cubicBezTo>
                    <a:pt x="1021" y="21"/>
                    <a:pt x="1021" y="21"/>
                    <a:pt x="1021" y="21"/>
                  </a:cubicBezTo>
                  <a:cubicBezTo>
                    <a:pt x="1021" y="21"/>
                    <a:pt x="1021" y="22"/>
                    <a:pt x="1021" y="22"/>
                  </a:cubicBezTo>
                  <a:close/>
                  <a:moveTo>
                    <a:pt x="1425" y="99"/>
                  </a:moveTo>
                  <a:cubicBezTo>
                    <a:pt x="1425" y="99"/>
                    <a:pt x="1425" y="99"/>
                    <a:pt x="1425" y="99"/>
                  </a:cubicBezTo>
                  <a:cubicBezTo>
                    <a:pt x="1425" y="99"/>
                    <a:pt x="1425" y="99"/>
                    <a:pt x="1425" y="99"/>
                  </a:cubicBezTo>
                  <a:close/>
                  <a:moveTo>
                    <a:pt x="1352" y="21"/>
                  </a:moveTo>
                  <a:cubicBezTo>
                    <a:pt x="1352" y="21"/>
                    <a:pt x="1352" y="21"/>
                    <a:pt x="1352" y="22"/>
                  </a:cubicBezTo>
                  <a:cubicBezTo>
                    <a:pt x="1352" y="22"/>
                    <a:pt x="1352" y="22"/>
                    <a:pt x="1352" y="21"/>
                  </a:cubicBezTo>
                  <a:close/>
                  <a:moveTo>
                    <a:pt x="1559" y="66"/>
                  </a:moveTo>
                  <a:cubicBezTo>
                    <a:pt x="1559" y="66"/>
                    <a:pt x="1559" y="66"/>
                    <a:pt x="1559" y="66"/>
                  </a:cubicBezTo>
                  <a:cubicBezTo>
                    <a:pt x="1559" y="66"/>
                    <a:pt x="1559" y="66"/>
                    <a:pt x="1559" y="66"/>
                  </a:cubicBezTo>
                  <a:close/>
                  <a:moveTo>
                    <a:pt x="1728" y="66"/>
                  </a:moveTo>
                  <a:cubicBezTo>
                    <a:pt x="1727" y="66"/>
                    <a:pt x="1727" y="66"/>
                    <a:pt x="1727" y="66"/>
                  </a:cubicBezTo>
                  <a:cubicBezTo>
                    <a:pt x="1727" y="66"/>
                    <a:pt x="1727" y="66"/>
                    <a:pt x="1728" y="66"/>
                  </a:cubicBezTo>
                  <a:close/>
                  <a:moveTo>
                    <a:pt x="1536" y="21"/>
                  </a:moveTo>
                  <a:cubicBezTo>
                    <a:pt x="1536" y="21"/>
                    <a:pt x="1536" y="22"/>
                    <a:pt x="1536" y="22"/>
                  </a:cubicBezTo>
                  <a:cubicBezTo>
                    <a:pt x="1536" y="22"/>
                    <a:pt x="1536" y="22"/>
                    <a:pt x="1536" y="21"/>
                  </a:cubicBezTo>
                  <a:close/>
                  <a:moveTo>
                    <a:pt x="1705" y="21"/>
                  </a:moveTo>
                  <a:cubicBezTo>
                    <a:pt x="1704" y="21"/>
                    <a:pt x="1704" y="22"/>
                    <a:pt x="1704" y="22"/>
                  </a:cubicBezTo>
                  <a:cubicBezTo>
                    <a:pt x="1704" y="22"/>
                    <a:pt x="1704" y="22"/>
                    <a:pt x="1705" y="21"/>
                  </a:cubicBezTo>
                  <a:close/>
                  <a:moveTo>
                    <a:pt x="962" y="22"/>
                  </a:moveTo>
                  <a:cubicBezTo>
                    <a:pt x="962" y="22"/>
                    <a:pt x="962" y="22"/>
                    <a:pt x="962" y="22"/>
                  </a:cubicBezTo>
                  <a:cubicBezTo>
                    <a:pt x="962" y="22"/>
                    <a:pt x="962" y="22"/>
                    <a:pt x="962" y="22"/>
                  </a:cubicBezTo>
                  <a:close/>
                  <a:moveTo>
                    <a:pt x="691" y="99"/>
                  </a:moveTo>
                  <a:cubicBezTo>
                    <a:pt x="690" y="99"/>
                    <a:pt x="690" y="100"/>
                    <a:pt x="690" y="100"/>
                  </a:cubicBezTo>
                  <a:cubicBezTo>
                    <a:pt x="690" y="100"/>
                    <a:pt x="690" y="100"/>
                    <a:pt x="691" y="99"/>
                  </a:cubicBezTo>
                  <a:close/>
                  <a:moveTo>
                    <a:pt x="721" y="100"/>
                  </a:moveTo>
                  <a:cubicBezTo>
                    <a:pt x="721" y="100"/>
                    <a:pt x="720" y="99"/>
                    <a:pt x="720" y="99"/>
                  </a:cubicBezTo>
                  <a:cubicBezTo>
                    <a:pt x="720" y="100"/>
                    <a:pt x="720" y="100"/>
                    <a:pt x="721" y="100"/>
                  </a:cubicBezTo>
                  <a:close/>
                  <a:moveTo>
                    <a:pt x="1359" y="67"/>
                  </a:moveTo>
                  <a:cubicBezTo>
                    <a:pt x="1359" y="67"/>
                    <a:pt x="1360" y="67"/>
                    <a:pt x="1360" y="66"/>
                  </a:cubicBezTo>
                  <a:cubicBezTo>
                    <a:pt x="1360" y="66"/>
                    <a:pt x="1359" y="67"/>
                    <a:pt x="1359" y="67"/>
                  </a:cubicBezTo>
                  <a:close/>
                  <a:moveTo>
                    <a:pt x="1375" y="66"/>
                  </a:moveTo>
                  <a:cubicBezTo>
                    <a:pt x="1374" y="66"/>
                    <a:pt x="1374" y="66"/>
                    <a:pt x="1374" y="67"/>
                  </a:cubicBezTo>
                  <a:cubicBezTo>
                    <a:pt x="1374" y="67"/>
                    <a:pt x="1374" y="66"/>
                    <a:pt x="1375" y="66"/>
                  </a:cubicBezTo>
                  <a:close/>
                  <a:moveTo>
                    <a:pt x="1384" y="22"/>
                  </a:moveTo>
                  <a:cubicBezTo>
                    <a:pt x="1384" y="22"/>
                    <a:pt x="1384" y="22"/>
                    <a:pt x="1383" y="22"/>
                  </a:cubicBezTo>
                  <a:cubicBezTo>
                    <a:pt x="1383" y="22"/>
                    <a:pt x="1383" y="22"/>
                    <a:pt x="1384" y="22"/>
                  </a:cubicBezTo>
                  <a:close/>
                  <a:moveTo>
                    <a:pt x="1543" y="67"/>
                  </a:moveTo>
                  <a:cubicBezTo>
                    <a:pt x="1544" y="67"/>
                    <a:pt x="1544" y="67"/>
                    <a:pt x="1544" y="66"/>
                  </a:cubicBezTo>
                  <a:cubicBezTo>
                    <a:pt x="1544" y="66"/>
                    <a:pt x="1544" y="67"/>
                    <a:pt x="1543" y="67"/>
                  </a:cubicBezTo>
                  <a:close/>
                  <a:moveTo>
                    <a:pt x="1536" y="22"/>
                  </a:moveTo>
                  <a:cubicBezTo>
                    <a:pt x="1536" y="22"/>
                    <a:pt x="1536" y="22"/>
                    <a:pt x="1536" y="22"/>
                  </a:cubicBezTo>
                  <a:cubicBezTo>
                    <a:pt x="1536" y="22"/>
                    <a:pt x="1536" y="22"/>
                    <a:pt x="1536" y="22"/>
                  </a:cubicBezTo>
                  <a:close/>
                  <a:moveTo>
                    <a:pt x="1671" y="66"/>
                  </a:moveTo>
                  <a:cubicBezTo>
                    <a:pt x="1671" y="67"/>
                    <a:pt x="1671" y="67"/>
                    <a:pt x="1671" y="67"/>
                  </a:cubicBezTo>
                  <a:cubicBezTo>
                    <a:pt x="1671" y="67"/>
                    <a:pt x="1671" y="66"/>
                    <a:pt x="1671" y="66"/>
                  </a:cubicBezTo>
                  <a:close/>
                  <a:moveTo>
                    <a:pt x="1180" y="100"/>
                  </a:moveTo>
                  <a:cubicBezTo>
                    <a:pt x="1180" y="99"/>
                    <a:pt x="1180" y="99"/>
                    <a:pt x="1180" y="99"/>
                  </a:cubicBezTo>
                  <a:cubicBezTo>
                    <a:pt x="1180" y="100"/>
                    <a:pt x="1180" y="100"/>
                    <a:pt x="1180" y="100"/>
                  </a:cubicBezTo>
                  <a:close/>
                  <a:moveTo>
                    <a:pt x="1222" y="100"/>
                  </a:moveTo>
                  <a:cubicBezTo>
                    <a:pt x="1222" y="100"/>
                    <a:pt x="1222" y="99"/>
                    <a:pt x="1222" y="99"/>
                  </a:cubicBezTo>
                  <a:cubicBezTo>
                    <a:pt x="1222" y="100"/>
                    <a:pt x="1222" y="100"/>
                    <a:pt x="1222" y="100"/>
                  </a:cubicBezTo>
                  <a:close/>
                  <a:moveTo>
                    <a:pt x="1712" y="67"/>
                  </a:moveTo>
                  <a:cubicBezTo>
                    <a:pt x="1712" y="67"/>
                    <a:pt x="1712" y="67"/>
                    <a:pt x="1712" y="66"/>
                  </a:cubicBezTo>
                  <a:cubicBezTo>
                    <a:pt x="1712" y="66"/>
                    <a:pt x="1712" y="67"/>
                    <a:pt x="1712" y="67"/>
                  </a:cubicBezTo>
                  <a:close/>
                  <a:moveTo>
                    <a:pt x="1704" y="22"/>
                  </a:moveTo>
                  <a:cubicBezTo>
                    <a:pt x="1704" y="22"/>
                    <a:pt x="1704" y="22"/>
                    <a:pt x="1704" y="22"/>
                  </a:cubicBezTo>
                  <a:cubicBezTo>
                    <a:pt x="1704" y="22"/>
                    <a:pt x="1704" y="22"/>
                    <a:pt x="1704" y="22"/>
                  </a:cubicBezTo>
                  <a:close/>
                  <a:moveTo>
                    <a:pt x="1454" y="99"/>
                  </a:moveTo>
                  <a:cubicBezTo>
                    <a:pt x="1453" y="99"/>
                    <a:pt x="1453" y="100"/>
                    <a:pt x="1453" y="100"/>
                  </a:cubicBezTo>
                  <a:cubicBezTo>
                    <a:pt x="1453" y="100"/>
                    <a:pt x="1454" y="100"/>
                    <a:pt x="1454" y="99"/>
                  </a:cubicBezTo>
                  <a:close/>
                  <a:moveTo>
                    <a:pt x="587" y="67"/>
                  </a:moveTo>
                  <a:cubicBezTo>
                    <a:pt x="587" y="67"/>
                    <a:pt x="587" y="67"/>
                    <a:pt x="587" y="67"/>
                  </a:cubicBezTo>
                  <a:cubicBezTo>
                    <a:pt x="587" y="67"/>
                    <a:pt x="587" y="67"/>
                    <a:pt x="587" y="67"/>
                  </a:cubicBezTo>
                  <a:close/>
                  <a:moveTo>
                    <a:pt x="962" y="23"/>
                  </a:moveTo>
                  <a:cubicBezTo>
                    <a:pt x="962" y="23"/>
                    <a:pt x="962" y="22"/>
                    <a:pt x="962" y="22"/>
                  </a:cubicBezTo>
                  <a:cubicBezTo>
                    <a:pt x="962" y="22"/>
                    <a:pt x="962" y="22"/>
                    <a:pt x="962" y="23"/>
                  </a:cubicBezTo>
                  <a:close/>
                  <a:moveTo>
                    <a:pt x="978" y="22"/>
                  </a:moveTo>
                  <a:cubicBezTo>
                    <a:pt x="978" y="22"/>
                    <a:pt x="977" y="22"/>
                    <a:pt x="977" y="22"/>
                  </a:cubicBezTo>
                  <a:cubicBezTo>
                    <a:pt x="978" y="22"/>
                    <a:pt x="978" y="22"/>
                    <a:pt x="978" y="22"/>
                  </a:cubicBezTo>
                  <a:close/>
                  <a:moveTo>
                    <a:pt x="690" y="100"/>
                  </a:moveTo>
                  <a:cubicBezTo>
                    <a:pt x="690" y="100"/>
                    <a:pt x="690" y="100"/>
                    <a:pt x="689" y="100"/>
                  </a:cubicBezTo>
                  <a:cubicBezTo>
                    <a:pt x="690" y="100"/>
                    <a:pt x="690" y="100"/>
                    <a:pt x="690" y="100"/>
                  </a:cubicBezTo>
                  <a:close/>
                  <a:moveTo>
                    <a:pt x="721" y="100"/>
                  </a:moveTo>
                  <a:cubicBezTo>
                    <a:pt x="721" y="100"/>
                    <a:pt x="721" y="100"/>
                    <a:pt x="721" y="100"/>
                  </a:cubicBezTo>
                  <a:cubicBezTo>
                    <a:pt x="721" y="100"/>
                    <a:pt x="721" y="100"/>
                    <a:pt x="721" y="100"/>
                  </a:cubicBezTo>
                  <a:close/>
                  <a:moveTo>
                    <a:pt x="666" y="67"/>
                  </a:moveTo>
                  <a:cubicBezTo>
                    <a:pt x="666" y="67"/>
                    <a:pt x="665" y="67"/>
                    <a:pt x="665" y="67"/>
                  </a:cubicBezTo>
                  <a:cubicBezTo>
                    <a:pt x="665" y="67"/>
                    <a:pt x="665" y="67"/>
                    <a:pt x="666" y="67"/>
                  </a:cubicBezTo>
                  <a:close/>
                  <a:moveTo>
                    <a:pt x="689" y="67"/>
                  </a:moveTo>
                  <a:cubicBezTo>
                    <a:pt x="689" y="67"/>
                    <a:pt x="689" y="67"/>
                    <a:pt x="689" y="67"/>
                  </a:cubicBezTo>
                  <a:cubicBezTo>
                    <a:pt x="689" y="67"/>
                    <a:pt x="689" y="67"/>
                    <a:pt x="689" y="67"/>
                  </a:cubicBezTo>
                  <a:close/>
                  <a:moveTo>
                    <a:pt x="1351" y="22"/>
                  </a:moveTo>
                  <a:cubicBezTo>
                    <a:pt x="1351" y="22"/>
                    <a:pt x="1351" y="22"/>
                    <a:pt x="1351" y="22"/>
                  </a:cubicBezTo>
                  <a:cubicBezTo>
                    <a:pt x="1351" y="22"/>
                    <a:pt x="1351" y="22"/>
                    <a:pt x="1351" y="22"/>
                  </a:cubicBezTo>
                  <a:close/>
                  <a:moveTo>
                    <a:pt x="1374" y="67"/>
                  </a:moveTo>
                  <a:cubicBezTo>
                    <a:pt x="1374" y="67"/>
                    <a:pt x="1374" y="67"/>
                    <a:pt x="1374" y="67"/>
                  </a:cubicBezTo>
                  <a:cubicBezTo>
                    <a:pt x="1374" y="67"/>
                    <a:pt x="1374" y="67"/>
                    <a:pt x="1374" y="67"/>
                  </a:cubicBezTo>
                  <a:close/>
                  <a:moveTo>
                    <a:pt x="1045" y="100"/>
                  </a:moveTo>
                  <a:cubicBezTo>
                    <a:pt x="1045" y="100"/>
                    <a:pt x="1045" y="100"/>
                    <a:pt x="1045" y="100"/>
                  </a:cubicBezTo>
                  <a:cubicBezTo>
                    <a:pt x="1045" y="100"/>
                    <a:pt x="1045" y="100"/>
                    <a:pt x="1045" y="100"/>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223" y="100"/>
                  </a:moveTo>
                  <a:cubicBezTo>
                    <a:pt x="1223" y="100"/>
                    <a:pt x="1223" y="100"/>
                    <a:pt x="1222" y="100"/>
                  </a:cubicBezTo>
                  <a:cubicBezTo>
                    <a:pt x="1223" y="100"/>
                    <a:pt x="1223" y="100"/>
                    <a:pt x="1223" y="100"/>
                  </a:cubicBezTo>
                  <a:close/>
                  <a:moveTo>
                    <a:pt x="1659" y="67"/>
                  </a:moveTo>
                  <a:cubicBezTo>
                    <a:pt x="1659" y="67"/>
                    <a:pt x="1659" y="67"/>
                    <a:pt x="1658" y="67"/>
                  </a:cubicBezTo>
                  <a:cubicBezTo>
                    <a:pt x="1658" y="67"/>
                    <a:pt x="1658" y="67"/>
                    <a:pt x="1659" y="67"/>
                  </a:cubicBezTo>
                  <a:close/>
                  <a:moveTo>
                    <a:pt x="1497" y="22"/>
                  </a:moveTo>
                  <a:cubicBezTo>
                    <a:pt x="1497" y="22"/>
                    <a:pt x="1497" y="22"/>
                    <a:pt x="1497" y="22"/>
                  </a:cubicBezTo>
                  <a:cubicBezTo>
                    <a:pt x="1497" y="22"/>
                    <a:pt x="1497" y="22"/>
                    <a:pt x="1497" y="22"/>
                  </a:cubicBezTo>
                  <a:close/>
                  <a:moveTo>
                    <a:pt x="1711" y="67"/>
                  </a:moveTo>
                  <a:cubicBezTo>
                    <a:pt x="1711" y="67"/>
                    <a:pt x="1712" y="67"/>
                    <a:pt x="1712" y="67"/>
                  </a:cubicBezTo>
                  <a:cubicBezTo>
                    <a:pt x="1711" y="67"/>
                    <a:pt x="1711" y="67"/>
                    <a:pt x="1711" y="67"/>
                  </a:cubicBezTo>
                  <a:close/>
                  <a:moveTo>
                    <a:pt x="1727" y="67"/>
                  </a:moveTo>
                  <a:cubicBezTo>
                    <a:pt x="1726" y="67"/>
                    <a:pt x="1726" y="67"/>
                    <a:pt x="1726" y="67"/>
                  </a:cubicBezTo>
                  <a:cubicBezTo>
                    <a:pt x="1726" y="67"/>
                    <a:pt x="1726" y="67"/>
                    <a:pt x="1727" y="67"/>
                  </a:cubicBezTo>
                  <a:close/>
                  <a:moveTo>
                    <a:pt x="1568" y="23"/>
                  </a:moveTo>
                  <a:cubicBezTo>
                    <a:pt x="1568" y="22"/>
                    <a:pt x="1568" y="22"/>
                    <a:pt x="1568" y="22"/>
                  </a:cubicBezTo>
                  <a:cubicBezTo>
                    <a:pt x="1568" y="22"/>
                    <a:pt x="1568" y="22"/>
                    <a:pt x="1568" y="23"/>
                  </a:cubicBezTo>
                  <a:close/>
                  <a:moveTo>
                    <a:pt x="666" y="67"/>
                  </a:moveTo>
                  <a:cubicBezTo>
                    <a:pt x="666" y="67"/>
                    <a:pt x="666" y="67"/>
                    <a:pt x="666" y="67"/>
                  </a:cubicBezTo>
                  <a:cubicBezTo>
                    <a:pt x="666" y="67"/>
                    <a:pt x="666" y="67"/>
                    <a:pt x="666" y="67"/>
                  </a:cubicBezTo>
                  <a:close/>
                  <a:moveTo>
                    <a:pt x="1736" y="23"/>
                  </a:moveTo>
                  <a:cubicBezTo>
                    <a:pt x="1736" y="22"/>
                    <a:pt x="1736" y="22"/>
                    <a:pt x="1736" y="22"/>
                  </a:cubicBezTo>
                  <a:cubicBezTo>
                    <a:pt x="1736" y="22"/>
                    <a:pt x="1736" y="22"/>
                    <a:pt x="1736" y="23"/>
                  </a:cubicBezTo>
                  <a:close/>
                  <a:moveTo>
                    <a:pt x="551" y="22"/>
                  </a:moveTo>
                  <a:cubicBezTo>
                    <a:pt x="551" y="22"/>
                    <a:pt x="551" y="23"/>
                    <a:pt x="551" y="23"/>
                  </a:cubicBezTo>
                  <a:cubicBezTo>
                    <a:pt x="551" y="23"/>
                    <a:pt x="551" y="23"/>
                    <a:pt x="551" y="22"/>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659" y="67"/>
                  </a:moveTo>
                  <a:cubicBezTo>
                    <a:pt x="1659" y="67"/>
                    <a:pt x="1659" y="67"/>
                    <a:pt x="1659" y="67"/>
                  </a:cubicBezTo>
                  <a:cubicBezTo>
                    <a:pt x="1659" y="67"/>
                    <a:pt x="1659" y="67"/>
                    <a:pt x="1659" y="67"/>
                  </a:cubicBezTo>
                  <a:close/>
                  <a:moveTo>
                    <a:pt x="1711" y="67"/>
                  </a:moveTo>
                  <a:cubicBezTo>
                    <a:pt x="1711" y="67"/>
                    <a:pt x="1711" y="67"/>
                    <a:pt x="1711" y="67"/>
                  </a:cubicBezTo>
                  <a:cubicBezTo>
                    <a:pt x="1711" y="67"/>
                    <a:pt x="1711" y="67"/>
                    <a:pt x="1711" y="67"/>
                  </a:cubicBezTo>
                  <a:close/>
                  <a:moveTo>
                    <a:pt x="1046" y="100"/>
                  </a:moveTo>
                  <a:cubicBezTo>
                    <a:pt x="1046" y="100"/>
                    <a:pt x="1046" y="100"/>
                    <a:pt x="1045" y="100"/>
                  </a:cubicBezTo>
                  <a:cubicBezTo>
                    <a:pt x="1045" y="100"/>
                    <a:pt x="1046" y="100"/>
                    <a:pt x="1046" y="100"/>
                  </a:cubicBezTo>
                  <a:close/>
                  <a:moveTo>
                    <a:pt x="1726" y="67"/>
                  </a:moveTo>
                  <a:cubicBezTo>
                    <a:pt x="1726" y="67"/>
                    <a:pt x="1726" y="67"/>
                    <a:pt x="1726" y="67"/>
                  </a:cubicBezTo>
                  <a:cubicBezTo>
                    <a:pt x="1726" y="67"/>
                    <a:pt x="1726" y="67"/>
                    <a:pt x="1726" y="67"/>
                  </a:cubicBezTo>
                  <a:close/>
                  <a:moveTo>
                    <a:pt x="1181" y="100"/>
                  </a:moveTo>
                  <a:cubicBezTo>
                    <a:pt x="1181" y="100"/>
                    <a:pt x="1181" y="100"/>
                    <a:pt x="1181" y="100"/>
                  </a:cubicBezTo>
                  <a:cubicBezTo>
                    <a:pt x="1181" y="100"/>
                    <a:pt x="1181" y="100"/>
                    <a:pt x="1181" y="100"/>
                  </a:cubicBezTo>
                  <a:close/>
                  <a:moveTo>
                    <a:pt x="587" y="67"/>
                  </a:moveTo>
                  <a:cubicBezTo>
                    <a:pt x="587" y="68"/>
                    <a:pt x="587" y="68"/>
                    <a:pt x="587" y="68"/>
                  </a:cubicBezTo>
                  <a:cubicBezTo>
                    <a:pt x="587" y="68"/>
                    <a:pt x="587" y="68"/>
                    <a:pt x="587" y="67"/>
                  </a:cubicBezTo>
                  <a:close/>
                  <a:moveTo>
                    <a:pt x="1351" y="22"/>
                  </a:moveTo>
                  <a:cubicBezTo>
                    <a:pt x="1351" y="22"/>
                    <a:pt x="1351" y="23"/>
                    <a:pt x="1351" y="23"/>
                  </a:cubicBezTo>
                  <a:cubicBezTo>
                    <a:pt x="1351" y="23"/>
                    <a:pt x="1351" y="23"/>
                    <a:pt x="1351" y="22"/>
                  </a:cubicBezTo>
                  <a:close/>
                  <a:moveTo>
                    <a:pt x="1535" y="23"/>
                  </a:moveTo>
                  <a:cubicBezTo>
                    <a:pt x="1535" y="23"/>
                    <a:pt x="1535" y="23"/>
                    <a:pt x="1535" y="23"/>
                  </a:cubicBezTo>
                  <a:cubicBezTo>
                    <a:pt x="1535" y="23"/>
                    <a:pt x="1535" y="23"/>
                    <a:pt x="1535" y="23"/>
                  </a:cubicBezTo>
                  <a:close/>
                  <a:moveTo>
                    <a:pt x="1703" y="23"/>
                  </a:moveTo>
                  <a:cubicBezTo>
                    <a:pt x="1703" y="23"/>
                    <a:pt x="1703" y="23"/>
                    <a:pt x="1703" y="23"/>
                  </a:cubicBezTo>
                  <a:cubicBezTo>
                    <a:pt x="1703" y="23"/>
                    <a:pt x="1703" y="23"/>
                    <a:pt x="1703" y="23"/>
                  </a:cubicBezTo>
                  <a:close/>
                  <a:moveTo>
                    <a:pt x="977" y="23"/>
                  </a:moveTo>
                  <a:cubicBezTo>
                    <a:pt x="977" y="23"/>
                    <a:pt x="976" y="23"/>
                    <a:pt x="976" y="23"/>
                  </a:cubicBezTo>
                  <a:cubicBezTo>
                    <a:pt x="976" y="23"/>
                    <a:pt x="977" y="23"/>
                    <a:pt x="977" y="23"/>
                  </a:cubicBezTo>
                  <a:close/>
                  <a:moveTo>
                    <a:pt x="1358" y="68"/>
                  </a:moveTo>
                  <a:cubicBezTo>
                    <a:pt x="1358" y="68"/>
                    <a:pt x="1358" y="68"/>
                    <a:pt x="1358" y="67"/>
                  </a:cubicBezTo>
                  <a:cubicBezTo>
                    <a:pt x="1358" y="67"/>
                    <a:pt x="1358" y="68"/>
                    <a:pt x="1358" y="68"/>
                  </a:cubicBezTo>
                  <a:close/>
                  <a:moveTo>
                    <a:pt x="1373" y="67"/>
                  </a:moveTo>
                  <a:cubicBezTo>
                    <a:pt x="1373" y="67"/>
                    <a:pt x="1373" y="68"/>
                    <a:pt x="1373" y="68"/>
                  </a:cubicBezTo>
                  <a:cubicBezTo>
                    <a:pt x="1373" y="68"/>
                    <a:pt x="1373" y="68"/>
                    <a:pt x="1373" y="67"/>
                  </a:cubicBezTo>
                  <a:close/>
                  <a:moveTo>
                    <a:pt x="1351" y="23"/>
                  </a:moveTo>
                  <a:cubicBezTo>
                    <a:pt x="1350" y="23"/>
                    <a:pt x="1350" y="23"/>
                    <a:pt x="1350" y="23"/>
                  </a:cubicBezTo>
                  <a:cubicBezTo>
                    <a:pt x="1350" y="23"/>
                    <a:pt x="1350" y="23"/>
                    <a:pt x="1351" y="23"/>
                  </a:cubicBezTo>
                  <a:close/>
                  <a:moveTo>
                    <a:pt x="1496" y="23"/>
                  </a:moveTo>
                  <a:cubicBezTo>
                    <a:pt x="1496" y="23"/>
                    <a:pt x="1496" y="23"/>
                    <a:pt x="1496" y="23"/>
                  </a:cubicBezTo>
                  <a:cubicBezTo>
                    <a:pt x="1496" y="23"/>
                    <a:pt x="1496" y="23"/>
                    <a:pt x="1496" y="23"/>
                  </a:cubicBezTo>
                  <a:close/>
                  <a:moveTo>
                    <a:pt x="1535" y="23"/>
                  </a:moveTo>
                  <a:cubicBezTo>
                    <a:pt x="1534" y="23"/>
                    <a:pt x="1534" y="23"/>
                    <a:pt x="1534" y="23"/>
                  </a:cubicBezTo>
                  <a:cubicBezTo>
                    <a:pt x="1534" y="23"/>
                    <a:pt x="1535" y="23"/>
                    <a:pt x="1535" y="23"/>
                  </a:cubicBezTo>
                  <a:close/>
                  <a:moveTo>
                    <a:pt x="722" y="101"/>
                  </a:moveTo>
                  <a:cubicBezTo>
                    <a:pt x="722" y="101"/>
                    <a:pt x="722" y="100"/>
                    <a:pt x="722" y="100"/>
                  </a:cubicBezTo>
                  <a:cubicBezTo>
                    <a:pt x="722" y="101"/>
                    <a:pt x="722" y="101"/>
                    <a:pt x="722" y="101"/>
                  </a:cubicBezTo>
                  <a:close/>
                  <a:moveTo>
                    <a:pt x="1703" y="23"/>
                  </a:moveTo>
                  <a:cubicBezTo>
                    <a:pt x="1703" y="23"/>
                    <a:pt x="1702" y="23"/>
                    <a:pt x="1702" y="23"/>
                  </a:cubicBezTo>
                  <a:cubicBezTo>
                    <a:pt x="1703" y="23"/>
                    <a:pt x="1703" y="23"/>
                    <a:pt x="1703" y="23"/>
                  </a:cubicBezTo>
                  <a:close/>
                  <a:moveTo>
                    <a:pt x="976" y="23"/>
                  </a:moveTo>
                  <a:cubicBezTo>
                    <a:pt x="976" y="23"/>
                    <a:pt x="976" y="23"/>
                    <a:pt x="976" y="23"/>
                  </a:cubicBezTo>
                  <a:cubicBezTo>
                    <a:pt x="976" y="23"/>
                    <a:pt x="976" y="23"/>
                    <a:pt x="976" y="23"/>
                  </a:cubicBezTo>
                  <a:close/>
                  <a:moveTo>
                    <a:pt x="1350" y="23"/>
                  </a:moveTo>
                  <a:cubicBezTo>
                    <a:pt x="1350" y="23"/>
                    <a:pt x="1350" y="23"/>
                    <a:pt x="1350" y="23"/>
                  </a:cubicBezTo>
                  <a:cubicBezTo>
                    <a:pt x="1350" y="23"/>
                    <a:pt x="1350" y="23"/>
                    <a:pt x="1350" y="23"/>
                  </a:cubicBezTo>
                  <a:close/>
                  <a:moveTo>
                    <a:pt x="1534" y="23"/>
                  </a:moveTo>
                  <a:cubicBezTo>
                    <a:pt x="1534" y="23"/>
                    <a:pt x="1534" y="23"/>
                    <a:pt x="1534" y="24"/>
                  </a:cubicBezTo>
                  <a:cubicBezTo>
                    <a:pt x="1534" y="23"/>
                    <a:pt x="1534" y="23"/>
                    <a:pt x="1534" y="23"/>
                  </a:cubicBezTo>
                  <a:close/>
                  <a:moveTo>
                    <a:pt x="1702" y="23"/>
                  </a:moveTo>
                  <a:cubicBezTo>
                    <a:pt x="1702" y="23"/>
                    <a:pt x="1702" y="23"/>
                    <a:pt x="1702" y="24"/>
                  </a:cubicBezTo>
                  <a:cubicBezTo>
                    <a:pt x="1702" y="23"/>
                    <a:pt x="1702" y="23"/>
                    <a:pt x="1702" y="23"/>
                  </a:cubicBezTo>
                  <a:close/>
                  <a:moveTo>
                    <a:pt x="961" y="24"/>
                  </a:moveTo>
                  <a:cubicBezTo>
                    <a:pt x="961" y="24"/>
                    <a:pt x="961" y="24"/>
                    <a:pt x="961" y="24"/>
                  </a:cubicBezTo>
                  <a:cubicBezTo>
                    <a:pt x="961" y="24"/>
                    <a:pt x="961" y="24"/>
                    <a:pt x="961" y="24"/>
                  </a:cubicBezTo>
                  <a:close/>
                  <a:moveTo>
                    <a:pt x="667" y="68"/>
                  </a:moveTo>
                  <a:cubicBezTo>
                    <a:pt x="667" y="68"/>
                    <a:pt x="667" y="68"/>
                    <a:pt x="667" y="68"/>
                  </a:cubicBezTo>
                  <a:cubicBezTo>
                    <a:pt x="667" y="68"/>
                    <a:pt x="667" y="68"/>
                    <a:pt x="667" y="68"/>
                  </a:cubicBezTo>
                  <a:close/>
                  <a:moveTo>
                    <a:pt x="690" y="68"/>
                  </a:moveTo>
                  <a:cubicBezTo>
                    <a:pt x="691" y="68"/>
                    <a:pt x="691" y="68"/>
                    <a:pt x="691" y="68"/>
                  </a:cubicBezTo>
                  <a:cubicBezTo>
                    <a:pt x="691" y="68"/>
                    <a:pt x="691" y="68"/>
                    <a:pt x="690" y="68"/>
                  </a:cubicBezTo>
                  <a:close/>
                  <a:moveTo>
                    <a:pt x="1495" y="24"/>
                  </a:moveTo>
                  <a:cubicBezTo>
                    <a:pt x="1495" y="24"/>
                    <a:pt x="1495" y="24"/>
                    <a:pt x="1495" y="24"/>
                  </a:cubicBezTo>
                  <a:cubicBezTo>
                    <a:pt x="1495" y="24"/>
                    <a:pt x="1495" y="24"/>
                    <a:pt x="1495" y="24"/>
                  </a:cubicBezTo>
                  <a:close/>
                  <a:moveTo>
                    <a:pt x="1358" y="68"/>
                  </a:moveTo>
                  <a:cubicBezTo>
                    <a:pt x="1358" y="68"/>
                    <a:pt x="1358" y="68"/>
                    <a:pt x="1358" y="68"/>
                  </a:cubicBezTo>
                  <a:cubicBezTo>
                    <a:pt x="1358" y="68"/>
                    <a:pt x="1358" y="68"/>
                    <a:pt x="1358" y="68"/>
                  </a:cubicBezTo>
                  <a:close/>
                  <a:moveTo>
                    <a:pt x="1534" y="23"/>
                  </a:moveTo>
                  <a:cubicBezTo>
                    <a:pt x="1534" y="24"/>
                    <a:pt x="1534" y="24"/>
                    <a:pt x="1534" y="24"/>
                  </a:cubicBezTo>
                  <a:cubicBezTo>
                    <a:pt x="1534" y="24"/>
                    <a:pt x="1534" y="24"/>
                    <a:pt x="1534" y="23"/>
                  </a:cubicBezTo>
                  <a:close/>
                  <a:moveTo>
                    <a:pt x="1557" y="68"/>
                  </a:moveTo>
                  <a:cubicBezTo>
                    <a:pt x="1557" y="68"/>
                    <a:pt x="1557" y="68"/>
                    <a:pt x="1557" y="68"/>
                  </a:cubicBezTo>
                  <a:cubicBezTo>
                    <a:pt x="1557" y="68"/>
                    <a:pt x="1557" y="68"/>
                    <a:pt x="1557" y="68"/>
                  </a:cubicBezTo>
                  <a:close/>
                  <a:moveTo>
                    <a:pt x="1710" y="68"/>
                  </a:moveTo>
                  <a:cubicBezTo>
                    <a:pt x="1710" y="68"/>
                    <a:pt x="1710" y="68"/>
                    <a:pt x="1710" y="68"/>
                  </a:cubicBezTo>
                  <a:cubicBezTo>
                    <a:pt x="1710" y="68"/>
                    <a:pt x="1710" y="68"/>
                    <a:pt x="1710" y="68"/>
                  </a:cubicBezTo>
                  <a:close/>
                  <a:moveTo>
                    <a:pt x="1725" y="68"/>
                  </a:moveTo>
                  <a:cubicBezTo>
                    <a:pt x="1725" y="68"/>
                    <a:pt x="1725" y="68"/>
                    <a:pt x="1725" y="68"/>
                  </a:cubicBezTo>
                  <a:cubicBezTo>
                    <a:pt x="1725" y="68"/>
                    <a:pt x="1725" y="68"/>
                    <a:pt x="1725" y="68"/>
                  </a:cubicBezTo>
                  <a:close/>
                  <a:moveTo>
                    <a:pt x="1702" y="23"/>
                  </a:moveTo>
                  <a:cubicBezTo>
                    <a:pt x="1702" y="24"/>
                    <a:pt x="1702" y="24"/>
                    <a:pt x="1702" y="24"/>
                  </a:cubicBezTo>
                  <a:cubicBezTo>
                    <a:pt x="1702" y="24"/>
                    <a:pt x="1702" y="24"/>
                    <a:pt x="1702" y="23"/>
                  </a:cubicBezTo>
                  <a:close/>
                  <a:moveTo>
                    <a:pt x="960" y="24"/>
                  </a:moveTo>
                  <a:cubicBezTo>
                    <a:pt x="961" y="24"/>
                    <a:pt x="961" y="24"/>
                    <a:pt x="961" y="24"/>
                  </a:cubicBezTo>
                  <a:cubicBezTo>
                    <a:pt x="961" y="24"/>
                    <a:pt x="960" y="24"/>
                    <a:pt x="960" y="24"/>
                  </a:cubicBezTo>
                  <a:close/>
                  <a:moveTo>
                    <a:pt x="1534" y="24"/>
                  </a:moveTo>
                  <a:cubicBezTo>
                    <a:pt x="1533" y="24"/>
                    <a:pt x="1533" y="24"/>
                    <a:pt x="1533" y="24"/>
                  </a:cubicBezTo>
                  <a:cubicBezTo>
                    <a:pt x="1533" y="24"/>
                    <a:pt x="1534" y="24"/>
                    <a:pt x="1534" y="24"/>
                  </a:cubicBezTo>
                  <a:close/>
                  <a:moveTo>
                    <a:pt x="1702" y="24"/>
                  </a:moveTo>
                  <a:cubicBezTo>
                    <a:pt x="1702" y="24"/>
                    <a:pt x="1701" y="24"/>
                    <a:pt x="1701" y="24"/>
                  </a:cubicBezTo>
                  <a:cubicBezTo>
                    <a:pt x="1702" y="24"/>
                    <a:pt x="1702" y="24"/>
                    <a:pt x="1702" y="24"/>
                  </a:cubicBezTo>
                  <a:close/>
                  <a:moveTo>
                    <a:pt x="1357" y="68"/>
                  </a:moveTo>
                  <a:cubicBezTo>
                    <a:pt x="1357" y="68"/>
                    <a:pt x="1358" y="68"/>
                    <a:pt x="1358" y="68"/>
                  </a:cubicBezTo>
                  <a:cubicBezTo>
                    <a:pt x="1357" y="68"/>
                    <a:pt x="1357" y="68"/>
                    <a:pt x="1357" y="68"/>
                  </a:cubicBezTo>
                  <a:close/>
                  <a:moveTo>
                    <a:pt x="1541" y="68"/>
                  </a:moveTo>
                  <a:cubicBezTo>
                    <a:pt x="1542" y="68"/>
                    <a:pt x="1542" y="68"/>
                    <a:pt x="1542" y="68"/>
                  </a:cubicBezTo>
                  <a:cubicBezTo>
                    <a:pt x="1542" y="68"/>
                    <a:pt x="1541" y="68"/>
                    <a:pt x="1541" y="68"/>
                  </a:cubicBezTo>
                  <a:close/>
                  <a:moveTo>
                    <a:pt x="975" y="24"/>
                  </a:moveTo>
                  <a:cubicBezTo>
                    <a:pt x="975" y="24"/>
                    <a:pt x="975" y="24"/>
                    <a:pt x="975" y="25"/>
                  </a:cubicBezTo>
                  <a:cubicBezTo>
                    <a:pt x="975" y="24"/>
                    <a:pt x="975" y="24"/>
                    <a:pt x="975" y="24"/>
                  </a:cubicBezTo>
                  <a:close/>
                  <a:moveTo>
                    <a:pt x="1494" y="24"/>
                  </a:moveTo>
                  <a:cubicBezTo>
                    <a:pt x="1494" y="24"/>
                    <a:pt x="1494" y="24"/>
                    <a:pt x="1494" y="25"/>
                  </a:cubicBezTo>
                  <a:cubicBezTo>
                    <a:pt x="1494" y="25"/>
                    <a:pt x="1494" y="24"/>
                    <a:pt x="1494" y="24"/>
                  </a:cubicBezTo>
                  <a:close/>
                  <a:moveTo>
                    <a:pt x="1202" y="101"/>
                  </a:moveTo>
                  <a:cubicBezTo>
                    <a:pt x="1202" y="101"/>
                    <a:pt x="1202" y="101"/>
                    <a:pt x="1202" y="101"/>
                  </a:cubicBezTo>
                  <a:cubicBezTo>
                    <a:pt x="1202" y="101"/>
                    <a:pt x="1202" y="101"/>
                    <a:pt x="1202" y="101"/>
                  </a:cubicBezTo>
                  <a:close/>
                  <a:moveTo>
                    <a:pt x="1709" y="68"/>
                  </a:moveTo>
                  <a:cubicBezTo>
                    <a:pt x="1710" y="68"/>
                    <a:pt x="1710" y="68"/>
                    <a:pt x="1710" y="68"/>
                  </a:cubicBezTo>
                  <a:cubicBezTo>
                    <a:pt x="1710" y="68"/>
                    <a:pt x="1710" y="68"/>
                    <a:pt x="1709" y="68"/>
                  </a:cubicBezTo>
                  <a:close/>
                  <a:moveTo>
                    <a:pt x="1533" y="24"/>
                  </a:moveTo>
                  <a:cubicBezTo>
                    <a:pt x="1533" y="24"/>
                    <a:pt x="1533" y="24"/>
                    <a:pt x="1533" y="25"/>
                  </a:cubicBezTo>
                  <a:cubicBezTo>
                    <a:pt x="1533" y="24"/>
                    <a:pt x="1533" y="24"/>
                    <a:pt x="1533" y="24"/>
                  </a:cubicBezTo>
                  <a:close/>
                  <a:moveTo>
                    <a:pt x="1701" y="24"/>
                  </a:moveTo>
                  <a:cubicBezTo>
                    <a:pt x="1701" y="24"/>
                    <a:pt x="1701" y="24"/>
                    <a:pt x="1701" y="25"/>
                  </a:cubicBezTo>
                  <a:cubicBezTo>
                    <a:pt x="1701" y="24"/>
                    <a:pt x="1701" y="24"/>
                    <a:pt x="1701" y="24"/>
                  </a:cubicBezTo>
                  <a:close/>
                  <a:moveTo>
                    <a:pt x="692" y="69"/>
                  </a:moveTo>
                  <a:cubicBezTo>
                    <a:pt x="692" y="69"/>
                    <a:pt x="692" y="69"/>
                    <a:pt x="692" y="69"/>
                  </a:cubicBezTo>
                  <a:cubicBezTo>
                    <a:pt x="692" y="69"/>
                    <a:pt x="692" y="69"/>
                    <a:pt x="692" y="69"/>
                  </a:cubicBezTo>
                  <a:close/>
                  <a:moveTo>
                    <a:pt x="975" y="25"/>
                  </a:moveTo>
                  <a:cubicBezTo>
                    <a:pt x="974" y="25"/>
                    <a:pt x="974" y="25"/>
                    <a:pt x="974" y="25"/>
                  </a:cubicBezTo>
                  <a:cubicBezTo>
                    <a:pt x="974" y="25"/>
                    <a:pt x="975" y="25"/>
                    <a:pt x="975" y="25"/>
                  </a:cubicBezTo>
                  <a:close/>
                  <a:moveTo>
                    <a:pt x="1675" y="53"/>
                  </a:moveTo>
                  <a:cubicBezTo>
                    <a:pt x="1675" y="53"/>
                    <a:pt x="1675" y="53"/>
                    <a:pt x="1675" y="53"/>
                  </a:cubicBezTo>
                  <a:cubicBezTo>
                    <a:pt x="1675" y="53"/>
                    <a:pt x="1675" y="53"/>
                    <a:pt x="1675" y="53"/>
                  </a:cubicBezTo>
                  <a:close/>
                  <a:moveTo>
                    <a:pt x="1372" y="68"/>
                  </a:moveTo>
                  <a:cubicBezTo>
                    <a:pt x="1372" y="68"/>
                    <a:pt x="1371" y="69"/>
                    <a:pt x="1371" y="69"/>
                  </a:cubicBezTo>
                  <a:cubicBezTo>
                    <a:pt x="1372" y="69"/>
                    <a:pt x="1372" y="69"/>
                    <a:pt x="1372" y="68"/>
                  </a:cubicBezTo>
                  <a:close/>
                  <a:moveTo>
                    <a:pt x="1541" y="69"/>
                  </a:moveTo>
                  <a:cubicBezTo>
                    <a:pt x="1541" y="69"/>
                    <a:pt x="1541" y="69"/>
                    <a:pt x="1541" y="68"/>
                  </a:cubicBezTo>
                  <a:cubicBezTo>
                    <a:pt x="1541" y="69"/>
                    <a:pt x="1541" y="69"/>
                    <a:pt x="1541" y="69"/>
                  </a:cubicBezTo>
                  <a:close/>
                  <a:moveTo>
                    <a:pt x="1660" y="69"/>
                  </a:moveTo>
                  <a:cubicBezTo>
                    <a:pt x="1660" y="69"/>
                    <a:pt x="1660" y="68"/>
                    <a:pt x="1660" y="68"/>
                  </a:cubicBezTo>
                  <a:cubicBezTo>
                    <a:pt x="1660" y="69"/>
                    <a:pt x="1660" y="69"/>
                    <a:pt x="1660" y="69"/>
                  </a:cubicBezTo>
                  <a:close/>
                  <a:moveTo>
                    <a:pt x="1709" y="69"/>
                  </a:moveTo>
                  <a:cubicBezTo>
                    <a:pt x="1709" y="69"/>
                    <a:pt x="1709" y="69"/>
                    <a:pt x="1710" y="68"/>
                  </a:cubicBezTo>
                  <a:cubicBezTo>
                    <a:pt x="1709" y="69"/>
                    <a:pt x="1709" y="69"/>
                    <a:pt x="1709" y="69"/>
                  </a:cubicBezTo>
                  <a:close/>
                  <a:moveTo>
                    <a:pt x="1724" y="68"/>
                  </a:moveTo>
                  <a:cubicBezTo>
                    <a:pt x="1724" y="68"/>
                    <a:pt x="1724" y="69"/>
                    <a:pt x="1724" y="69"/>
                  </a:cubicBezTo>
                  <a:cubicBezTo>
                    <a:pt x="1724" y="69"/>
                    <a:pt x="1724" y="69"/>
                    <a:pt x="1724" y="68"/>
                  </a:cubicBezTo>
                  <a:close/>
                  <a:moveTo>
                    <a:pt x="1533" y="24"/>
                  </a:moveTo>
                  <a:cubicBezTo>
                    <a:pt x="1533" y="25"/>
                    <a:pt x="1533" y="25"/>
                    <a:pt x="1533" y="25"/>
                  </a:cubicBezTo>
                  <a:cubicBezTo>
                    <a:pt x="1533" y="25"/>
                    <a:pt x="1533" y="25"/>
                    <a:pt x="1533" y="24"/>
                  </a:cubicBezTo>
                  <a:close/>
                  <a:moveTo>
                    <a:pt x="1701" y="24"/>
                  </a:moveTo>
                  <a:cubicBezTo>
                    <a:pt x="1701" y="25"/>
                    <a:pt x="1701" y="25"/>
                    <a:pt x="1701" y="25"/>
                  </a:cubicBezTo>
                  <a:cubicBezTo>
                    <a:pt x="1701" y="25"/>
                    <a:pt x="1701" y="25"/>
                    <a:pt x="1701" y="24"/>
                  </a:cubicBezTo>
                  <a:close/>
                  <a:moveTo>
                    <a:pt x="960" y="25"/>
                  </a:moveTo>
                  <a:cubicBezTo>
                    <a:pt x="960" y="25"/>
                    <a:pt x="960" y="25"/>
                    <a:pt x="960" y="25"/>
                  </a:cubicBezTo>
                  <a:cubicBezTo>
                    <a:pt x="960" y="25"/>
                    <a:pt x="960" y="25"/>
                    <a:pt x="960" y="25"/>
                  </a:cubicBezTo>
                  <a:close/>
                  <a:moveTo>
                    <a:pt x="974" y="25"/>
                  </a:moveTo>
                  <a:cubicBezTo>
                    <a:pt x="974" y="25"/>
                    <a:pt x="974" y="25"/>
                    <a:pt x="974" y="25"/>
                  </a:cubicBezTo>
                  <a:cubicBezTo>
                    <a:pt x="974" y="25"/>
                    <a:pt x="974" y="25"/>
                    <a:pt x="974" y="25"/>
                  </a:cubicBezTo>
                  <a:close/>
                  <a:moveTo>
                    <a:pt x="669" y="69"/>
                  </a:moveTo>
                  <a:cubicBezTo>
                    <a:pt x="669" y="69"/>
                    <a:pt x="669" y="69"/>
                    <a:pt x="668" y="69"/>
                  </a:cubicBezTo>
                  <a:cubicBezTo>
                    <a:pt x="668" y="69"/>
                    <a:pt x="669" y="69"/>
                    <a:pt x="669" y="69"/>
                  </a:cubicBezTo>
                  <a:close/>
                  <a:moveTo>
                    <a:pt x="1533" y="25"/>
                  </a:moveTo>
                  <a:cubicBezTo>
                    <a:pt x="1532" y="25"/>
                    <a:pt x="1532" y="25"/>
                    <a:pt x="1532" y="25"/>
                  </a:cubicBezTo>
                  <a:cubicBezTo>
                    <a:pt x="1532" y="25"/>
                    <a:pt x="1533" y="25"/>
                    <a:pt x="1533" y="25"/>
                  </a:cubicBezTo>
                  <a:close/>
                  <a:moveTo>
                    <a:pt x="1701" y="25"/>
                  </a:moveTo>
                  <a:cubicBezTo>
                    <a:pt x="1700" y="25"/>
                    <a:pt x="1700" y="25"/>
                    <a:pt x="1700" y="25"/>
                  </a:cubicBezTo>
                  <a:cubicBezTo>
                    <a:pt x="1701" y="25"/>
                    <a:pt x="1701" y="25"/>
                    <a:pt x="1701" y="25"/>
                  </a:cubicBezTo>
                  <a:close/>
                  <a:moveTo>
                    <a:pt x="974" y="25"/>
                  </a:moveTo>
                  <a:cubicBezTo>
                    <a:pt x="974" y="25"/>
                    <a:pt x="974" y="25"/>
                    <a:pt x="974" y="26"/>
                  </a:cubicBezTo>
                  <a:cubicBezTo>
                    <a:pt x="974" y="25"/>
                    <a:pt x="974" y="25"/>
                    <a:pt x="974" y="25"/>
                  </a:cubicBezTo>
                  <a:close/>
                  <a:moveTo>
                    <a:pt x="1532" y="25"/>
                  </a:moveTo>
                  <a:cubicBezTo>
                    <a:pt x="1532" y="25"/>
                    <a:pt x="1532" y="25"/>
                    <a:pt x="1532" y="26"/>
                  </a:cubicBezTo>
                  <a:cubicBezTo>
                    <a:pt x="1532" y="26"/>
                    <a:pt x="1532" y="25"/>
                    <a:pt x="1532" y="25"/>
                  </a:cubicBezTo>
                  <a:close/>
                  <a:moveTo>
                    <a:pt x="1541" y="69"/>
                  </a:moveTo>
                  <a:cubicBezTo>
                    <a:pt x="1541" y="69"/>
                    <a:pt x="1541" y="69"/>
                    <a:pt x="1541" y="69"/>
                  </a:cubicBezTo>
                  <a:cubicBezTo>
                    <a:pt x="1541" y="69"/>
                    <a:pt x="1541" y="69"/>
                    <a:pt x="1541" y="69"/>
                  </a:cubicBezTo>
                  <a:close/>
                  <a:moveTo>
                    <a:pt x="1556" y="69"/>
                  </a:moveTo>
                  <a:cubicBezTo>
                    <a:pt x="1555" y="69"/>
                    <a:pt x="1555" y="69"/>
                    <a:pt x="1555" y="69"/>
                  </a:cubicBezTo>
                  <a:cubicBezTo>
                    <a:pt x="1555" y="69"/>
                    <a:pt x="1556" y="69"/>
                    <a:pt x="1556" y="69"/>
                  </a:cubicBezTo>
                  <a:close/>
                  <a:moveTo>
                    <a:pt x="1700" y="25"/>
                  </a:moveTo>
                  <a:cubicBezTo>
                    <a:pt x="1700" y="25"/>
                    <a:pt x="1700" y="25"/>
                    <a:pt x="1700" y="26"/>
                  </a:cubicBezTo>
                  <a:cubicBezTo>
                    <a:pt x="1700" y="26"/>
                    <a:pt x="1700" y="25"/>
                    <a:pt x="1700" y="25"/>
                  </a:cubicBezTo>
                  <a:close/>
                  <a:moveTo>
                    <a:pt x="974" y="26"/>
                  </a:moveTo>
                  <a:cubicBezTo>
                    <a:pt x="973" y="26"/>
                    <a:pt x="973" y="26"/>
                    <a:pt x="973" y="26"/>
                  </a:cubicBezTo>
                  <a:cubicBezTo>
                    <a:pt x="973" y="26"/>
                    <a:pt x="973" y="26"/>
                    <a:pt x="974" y="26"/>
                  </a:cubicBezTo>
                  <a:close/>
                  <a:moveTo>
                    <a:pt x="1709" y="69"/>
                  </a:moveTo>
                  <a:cubicBezTo>
                    <a:pt x="1709" y="69"/>
                    <a:pt x="1709" y="69"/>
                    <a:pt x="1709" y="69"/>
                  </a:cubicBezTo>
                  <a:cubicBezTo>
                    <a:pt x="1709" y="69"/>
                    <a:pt x="1709" y="69"/>
                    <a:pt x="1709" y="69"/>
                  </a:cubicBezTo>
                  <a:close/>
                  <a:moveTo>
                    <a:pt x="1724" y="69"/>
                  </a:moveTo>
                  <a:cubicBezTo>
                    <a:pt x="1724" y="69"/>
                    <a:pt x="1723" y="69"/>
                    <a:pt x="1723" y="69"/>
                  </a:cubicBezTo>
                  <a:cubicBezTo>
                    <a:pt x="1723" y="69"/>
                    <a:pt x="1724" y="69"/>
                    <a:pt x="1724" y="69"/>
                  </a:cubicBezTo>
                  <a:close/>
                  <a:moveTo>
                    <a:pt x="1492" y="26"/>
                  </a:moveTo>
                  <a:cubicBezTo>
                    <a:pt x="1491" y="26"/>
                    <a:pt x="1491" y="26"/>
                    <a:pt x="1491" y="26"/>
                  </a:cubicBezTo>
                  <a:cubicBezTo>
                    <a:pt x="1491" y="26"/>
                    <a:pt x="1491" y="26"/>
                    <a:pt x="1492" y="26"/>
                  </a:cubicBezTo>
                  <a:close/>
                  <a:moveTo>
                    <a:pt x="1532" y="26"/>
                  </a:moveTo>
                  <a:cubicBezTo>
                    <a:pt x="1532" y="26"/>
                    <a:pt x="1532" y="26"/>
                    <a:pt x="1531" y="26"/>
                  </a:cubicBezTo>
                  <a:cubicBezTo>
                    <a:pt x="1532" y="26"/>
                    <a:pt x="1532" y="26"/>
                    <a:pt x="1532" y="26"/>
                  </a:cubicBezTo>
                  <a:close/>
                  <a:moveTo>
                    <a:pt x="1356" y="70"/>
                  </a:moveTo>
                  <a:cubicBezTo>
                    <a:pt x="1356" y="70"/>
                    <a:pt x="1356" y="69"/>
                    <a:pt x="1356" y="69"/>
                  </a:cubicBezTo>
                  <a:cubicBezTo>
                    <a:pt x="1356" y="69"/>
                    <a:pt x="1356" y="69"/>
                    <a:pt x="1356" y="70"/>
                  </a:cubicBezTo>
                  <a:close/>
                  <a:moveTo>
                    <a:pt x="1371" y="69"/>
                  </a:moveTo>
                  <a:cubicBezTo>
                    <a:pt x="1371" y="69"/>
                    <a:pt x="1370" y="69"/>
                    <a:pt x="1370" y="69"/>
                  </a:cubicBezTo>
                  <a:cubicBezTo>
                    <a:pt x="1371" y="69"/>
                    <a:pt x="1371" y="69"/>
                    <a:pt x="1371" y="69"/>
                  </a:cubicBezTo>
                  <a:close/>
                  <a:moveTo>
                    <a:pt x="1700" y="26"/>
                  </a:moveTo>
                  <a:cubicBezTo>
                    <a:pt x="1700" y="26"/>
                    <a:pt x="1700" y="26"/>
                    <a:pt x="1700" y="26"/>
                  </a:cubicBezTo>
                  <a:cubicBezTo>
                    <a:pt x="1700" y="26"/>
                    <a:pt x="1700" y="26"/>
                    <a:pt x="1700" y="26"/>
                  </a:cubicBezTo>
                  <a:close/>
                  <a:moveTo>
                    <a:pt x="959" y="26"/>
                  </a:moveTo>
                  <a:cubicBezTo>
                    <a:pt x="959" y="26"/>
                    <a:pt x="959" y="26"/>
                    <a:pt x="959" y="26"/>
                  </a:cubicBezTo>
                  <a:cubicBezTo>
                    <a:pt x="959" y="26"/>
                    <a:pt x="959" y="26"/>
                    <a:pt x="959" y="26"/>
                  </a:cubicBezTo>
                  <a:close/>
                  <a:moveTo>
                    <a:pt x="973" y="26"/>
                  </a:moveTo>
                  <a:cubicBezTo>
                    <a:pt x="973" y="26"/>
                    <a:pt x="973" y="26"/>
                    <a:pt x="973" y="26"/>
                  </a:cubicBezTo>
                  <a:cubicBezTo>
                    <a:pt x="973" y="26"/>
                    <a:pt x="973" y="26"/>
                    <a:pt x="973" y="26"/>
                  </a:cubicBezTo>
                  <a:close/>
                  <a:moveTo>
                    <a:pt x="1491" y="26"/>
                  </a:moveTo>
                  <a:cubicBezTo>
                    <a:pt x="1491" y="26"/>
                    <a:pt x="1490" y="26"/>
                    <a:pt x="1490" y="26"/>
                  </a:cubicBezTo>
                  <a:cubicBezTo>
                    <a:pt x="1491" y="26"/>
                    <a:pt x="1491" y="26"/>
                    <a:pt x="1491" y="26"/>
                  </a:cubicBezTo>
                  <a:close/>
                  <a:moveTo>
                    <a:pt x="1532" y="26"/>
                  </a:moveTo>
                  <a:cubicBezTo>
                    <a:pt x="1531" y="26"/>
                    <a:pt x="1531" y="26"/>
                    <a:pt x="1531" y="26"/>
                  </a:cubicBezTo>
                  <a:cubicBezTo>
                    <a:pt x="1531" y="26"/>
                    <a:pt x="1531" y="26"/>
                    <a:pt x="1532" y="26"/>
                  </a:cubicBezTo>
                  <a:close/>
                  <a:moveTo>
                    <a:pt x="1700" y="26"/>
                  </a:moveTo>
                  <a:cubicBezTo>
                    <a:pt x="1699" y="26"/>
                    <a:pt x="1699" y="26"/>
                    <a:pt x="1699" y="26"/>
                  </a:cubicBezTo>
                  <a:cubicBezTo>
                    <a:pt x="1699" y="26"/>
                    <a:pt x="1700" y="26"/>
                    <a:pt x="1700" y="26"/>
                  </a:cubicBezTo>
                  <a:close/>
                  <a:moveTo>
                    <a:pt x="973" y="26"/>
                  </a:moveTo>
                  <a:cubicBezTo>
                    <a:pt x="973" y="26"/>
                    <a:pt x="973" y="26"/>
                    <a:pt x="973" y="27"/>
                  </a:cubicBezTo>
                  <a:cubicBezTo>
                    <a:pt x="973" y="27"/>
                    <a:pt x="973" y="26"/>
                    <a:pt x="973" y="26"/>
                  </a:cubicBezTo>
                  <a:close/>
                  <a:moveTo>
                    <a:pt x="1390" y="53"/>
                  </a:moveTo>
                  <a:cubicBezTo>
                    <a:pt x="1390" y="53"/>
                    <a:pt x="1390" y="53"/>
                    <a:pt x="1390" y="53"/>
                  </a:cubicBezTo>
                  <a:cubicBezTo>
                    <a:pt x="1390" y="53"/>
                    <a:pt x="1390" y="53"/>
                    <a:pt x="1390" y="53"/>
                  </a:cubicBezTo>
                  <a:close/>
                  <a:moveTo>
                    <a:pt x="693" y="70"/>
                  </a:moveTo>
                  <a:cubicBezTo>
                    <a:pt x="693" y="70"/>
                    <a:pt x="693" y="70"/>
                    <a:pt x="693" y="70"/>
                  </a:cubicBezTo>
                  <a:cubicBezTo>
                    <a:pt x="693" y="70"/>
                    <a:pt x="693" y="70"/>
                    <a:pt x="693" y="70"/>
                  </a:cubicBezTo>
                  <a:close/>
                  <a:moveTo>
                    <a:pt x="973" y="27"/>
                  </a:moveTo>
                  <a:cubicBezTo>
                    <a:pt x="972" y="27"/>
                    <a:pt x="972" y="27"/>
                    <a:pt x="972" y="27"/>
                  </a:cubicBezTo>
                  <a:cubicBezTo>
                    <a:pt x="972" y="27"/>
                    <a:pt x="972" y="27"/>
                    <a:pt x="973" y="27"/>
                  </a:cubicBezTo>
                  <a:close/>
                  <a:moveTo>
                    <a:pt x="958" y="27"/>
                  </a:moveTo>
                  <a:cubicBezTo>
                    <a:pt x="959" y="27"/>
                    <a:pt x="959" y="27"/>
                    <a:pt x="959" y="27"/>
                  </a:cubicBezTo>
                  <a:cubicBezTo>
                    <a:pt x="958" y="27"/>
                    <a:pt x="958" y="27"/>
                    <a:pt x="958" y="27"/>
                  </a:cubicBezTo>
                  <a:close/>
                  <a:moveTo>
                    <a:pt x="1355" y="70"/>
                  </a:moveTo>
                  <a:cubicBezTo>
                    <a:pt x="1356" y="70"/>
                    <a:pt x="1356" y="70"/>
                    <a:pt x="1356" y="70"/>
                  </a:cubicBezTo>
                  <a:cubicBezTo>
                    <a:pt x="1356" y="70"/>
                    <a:pt x="1356" y="70"/>
                    <a:pt x="1355" y="70"/>
                  </a:cubicBezTo>
                  <a:close/>
                  <a:moveTo>
                    <a:pt x="1370" y="69"/>
                  </a:moveTo>
                  <a:cubicBezTo>
                    <a:pt x="1370" y="69"/>
                    <a:pt x="1370" y="70"/>
                    <a:pt x="1370" y="70"/>
                  </a:cubicBezTo>
                  <a:cubicBezTo>
                    <a:pt x="1370" y="70"/>
                    <a:pt x="1370" y="70"/>
                    <a:pt x="1370" y="69"/>
                  </a:cubicBezTo>
                  <a:close/>
                  <a:moveTo>
                    <a:pt x="971" y="28"/>
                  </a:moveTo>
                  <a:cubicBezTo>
                    <a:pt x="971" y="28"/>
                    <a:pt x="971" y="28"/>
                    <a:pt x="971" y="28"/>
                  </a:cubicBezTo>
                  <a:cubicBezTo>
                    <a:pt x="971" y="28"/>
                    <a:pt x="971" y="28"/>
                    <a:pt x="971" y="28"/>
                  </a:cubicBezTo>
                  <a:close/>
                  <a:moveTo>
                    <a:pt x="1376" y="54"/>
                  </a:moveTo>
                  <a:cubicBezTo>
                    <a:pt x="1376" y="54"/>
                    <a:pt x="1376" y="53"/>
                    <a:pt x="1376" y="53"/>
                  </a:cubicBezTo>
                  <a:cubicBezTo>
                    <a:pt x="1376" y="53"/>
                    <a:pt x="1376" y="53"/>
                    <a:pt x="1376" y="54"/>
                  </a:cubicBezTo>
                  <a:close/>
                  <a:moveTo>
                    <a:pt x="1555" y="70"/>
                  </a:moveTo>
                  <a:cubicBezTo>
                    <a:pt x="1554" y="70"/>
                    <a:pt x="1554" y="70"/>
                    <a:pt x="1554" y="70"/>
                  </a:cubicBezTo>
                  <a:cubicBezTo>
                    <a:pt x="1554" y="70"/>
                    <a:pt x="1554" y="70"/>
                    <a:pt x="1555" y="70"/>
                  </a:cubicBezTo>
                  <a:close/>
                  <a:moveTo>
                    <a:pt x="1487" y="28"/>
                  </a:moveTo>
                  <a:cubicBezTo>
                    <a:pt x="1486" y="28"/>
                    <a:pt x="1486" y="28"/>
                    <a:pt x="1486" y="28"/>
                  </a:cubicBezTo>
                  <a:cubicBezTo>
                    <a:pt x="1486" y="28"/>
                    <a:pt x="1487" y="28"/>
                    <a:pt x="1487" y="28"/>
                  </a:cubicBezTo>
                  <a:close/>
                  <a:moveTo>
                    <a:pt x="971" y="28"/>
                  </a:moveTo>
                  <a:cubicBezTo>
                    <a:pt x="971" y="28"/>
                    <a:pt x="971" y="29"/>
                    <a:pt x="971" y="29"/>
                  </a:cubicBezTo>
                  <a:cubicBezTo>
                    <a:pt x="971" y="29"/>
                    <a:pt x="971" y="29"/>
                    <a:pt x="971" y="28"/>
                  </a:cubicBezTo>
                  <a:close/>
                  <a:moveTo>
                    <a:pt x="1723" y="70"/>
                  </a:moveTo>
                  <a:cubicBezTo>
                    <a:pt x="1722" y="70"/>
                    <a:pt x="1722" y="70"/>
                    <a:pt x="1722" y="70"/>
                  </a:cubicBezTo>
                  <a:cubicBezTo>
                    <a:pt x="1722" y="70"/>
                    <a:pt x="1723" y="70"/>
                    <a:pt x="1723" y="70"/>
                  </a:cubicBezTo>
                  <a:close/>
                  <a:moveTo>
                    <a:pt x="957" y="30"/>
                  </a:moveTo>
                  <a:cubicBezTo>
                    <a:pt x="957" y="30"/>
                    <a:pt x="957" y="30"/>
                    <a:pt x="957" y="29"/>
                  </a:cubicBezTo>
                  <a:cubicBezTo>
                    <a:pt x="957" y="30"/>
                    <a:pt x="957" y="30"/>
                    <a:pt x="957" y="30"/>
                  </a:cubicBezTo>
                  <a:close/>
                  <a:moveTo>
                    <a:pt x="970" y="30"/>
                  </a:moveTo>
                  <a:cubicBezTo>
                    <a:pt x="970" y="30"/>
                    <a:pt x="970" y="30"/>
                    <a:pt x="970" y="30"/>
                  </a:cubicBezTo>
                  <a:cubicBezTo>
                    <a:pt x="970" y="30"/>
                    <a:pt x="970" y="30"/>
                    <a:pt x="970" y="30"/>
                  </a:cubicBezTo>
                  <a:close/>
                  <a:moveTo>
                    <a:pt x="957" y="31"/>
                  </a:moveTo>
                  <a:cubicBezTo>
                    <a:pt x="957" y="31"/>
                    <a:pt x="957" y="30"/>
                    <a:pt x="957" y="30"/>
                  </a:cubicBezTo>
                  <a:cubicBezTo>
                    <a:pt x="957" y="30"/>
                    <a:pt x="957" y="30"/>
                    <a:pt x="957" y="31"/>
                  </a:cubicBezTo>
                  <a:close/>
                  <a:moveTo>
                    <a:pt x="969" y="31"/>
                  </a:moveTo>
                  <a:cubicBezTo>
                    <a:pt x="969" y="31"/>
                    <a:pt x="969" y="31"/>
                    <a:pt x="969" y="31"/>
                  </a:cubicBezTo>
                  <a:cubicBezTo>
                    <a:pt x="969" y="31"/>
                    <a:pt x="969" y="31"/>
                    <a:pt x="969" y="31"/>
                  </a:cubicBezTo>
                  <a:close/>
                  <a:moveTo>
                    <a:pt x="693" y="70"/>
                  </a:moveTo>
                  <a:cubicBezTo>
                    <a:pt x="693" y="70"/>
                    <a:pt x="694" y="70"/>
                    <a:pt x="694" y="70"/>
                  </a:cubicBezTo>
                  <a:cubicBezTo>
                    <a:pt x="694" y="70"/>
                    <a:pt x="693" y="70"/>
                    <a:pt x="693" y="70"/>
                  </a:cubicBezTo>
                  <a:close/>
                  <a:moveTo>
                    <a:pt x="969" y="32"/>
                  </a:moveTo>
                  <a:cubicBezTo>
                    <a:pt x="968" y="32"/>
                    <a:pt x="968" y="32"/>
                    <a:pt x="968" y="32"/>
                  </a:cubicBezTo>
                  <a:cubicBezTo>
                    <a:pt x="968" y="32"/>
                    <a:pt x="969" y="32"/>
                    <a:pt x="969" y="32"/>
                  </a:cubicBezTo>
                  <a:close/>
                  <a:moveTo>
                    <a:pt x="1355" y="70"/>
                  </a:moveTo>
                  <a:cubicBezTo>
                    <a:pt x="1355" y="70"/>
                    <a:pt x="1355" y="70"/>
                    <a:pt x="1355" y="70"/>
                  </a:cubicBezTo>
                  <a:cubicBezTo>
                    <a:pt x="1355" y="70"/>
                    <a:pt x="1355" y="70"/>
                    <a:pt x="1355" y="70"/>
                  </a:cubicBezTo>
                  <a:close/>
                  <a:moveTo>
                    <a:pt x="956" y="33"/>
                  </a:moveTo>
                  <a:cubicBezTo>
                    <a:pt x="956" y="33"/>
                    <a:pt x="956" y="32"/>
                    <a:pt x="956" y="32"/>
                  </a:cubicBezTo>
                  <a:cubicBezTo>
                    <a:pt x="956" y="32"/>
                    <a:pt x="956" y="33"/>
                    <a:pt x="956" y="33"/>
                  </a:cubicBezTo>
                  <a:close/>
                  <a:moveTo>
                    <a:pt x="1539" y="70"/>
                  </a:moveTo>
                  <a:cubicBezTo>
                    <a:pt x="1539" y="70"/>
                    <a:pt x="1540" y="70"/>
                    <a:pt x="1540" y="70"/>
                  </a:cubicBezTo>
                  <a:cubicBezTo>
                    <a:pt x="1539" y="70"/>
                    <a:pt x="1539" y="70"/>
                    <a:pt x="1539" y="70"/>
                  </a:cubicBezTo>
                  <a:close/>
                  <a:moveTo>
                    <a:pt x="1554" y="70"/>
                  </a:moveTo>
                  <a:cubicBezTo>
                    <a:pt x="1554" y="70"/>
                    <a:pt x="1554" y="70"/>
                    <a:pt x="1554" y="70"/>
                  </a:cubicBezTo>
                  <a:cubicBezTo>
                    <a:pt x="1554" y="70"/>
                    <a:pt x="1554" y="70"/>
                    <a:pt x="1554" y="70"/>
                  </a:cubicBezTo>
                  <a:close/>
                  <a:moveTo>
                    <a:pt x="1707" y="70"/>
                  </a:moveTo>
                  <a:cubicBezTo>
                    <a:pt x="1708" y="70"/>
                    <a:pt x="1708" y="70"/>
                    <a:pt x="1708" y="70"/>
                  </a:cubicBezTo>
                  <a:cubicBezTo>
                    <a:pt x="1708" y="70"/>
                    <a:pt x="1707" y="70"/>
                    <a:pt x="1707" y="70"/>
                  </a:cubicBezTo>
                  <a:close/>
                  <a:moveTo>
                    <a:pt x="1722" y="70"/>
                  </a:moveTo>
                  <a:cubicBezTo>
                    <a:pt x="1722" y="70"/>
                    <a:pt x="1722" y="70"/>
                    <a:pt x="1722" y="70"/>
                  </a:cubicBezTo>
                  <a:cubicBezTo>
                    <a:pt x="1722" y="70"/>
                    <a:pt x="1722" y="70"/>
                    <a:pt x="1722" y="70"/>
                  </a:cubicBezTo>
                  <a:close/>
                  <a:moveTo>
                    <a:pt x="1143" y="35"/>
                  </a:moveTo>
                  <a:cubicBezTo>
                    <a:pt x="1143" y="35"/>
                    <a:pt x="1143" y="35"/>
                    <a:pt x="1143" y="35"/>
                  </a:cubicBezTo>
                  <a:cubicBezTo>
                    <a:pt x="1143" y="35"/>
                    <a:pt x="1143" y="35"/>
                    <a:pt x="1143" y="35"/>
                  </a:cubicBezTo>
                  <a:close/>
                  <a:moveTo>
                    <a:pt x="669" y="35"/>
                  </a:moveTo>
                  <a:cubicBezTo>
                    <a:pt x="670" y="35"/>
                    <a:pt x="670" y="35"/>
                    <a:pt x="670" y="35"/>
                  </a:cubicBezTo>
                  <a:cubicBezTo>
                    <a:pt x="670" y="35"/>
                    <a:pt x="669" y="35"/>
                    <a:pt x="669" y="35"/>
                  </a:cubicBezTo>
                  <a:close/>
                  <a:moveTo>
                    <a:pt x="1355" y="71"/>
                  </a:moveTo>
                  <a:cubicBezTo>
                    <a:pt x="1355" y="71"/>
                    <a:pt x="1355" y="70"/>
                    <a:pt x="1355" y="70"/>
                  </a:cubicBezTo>
                  <a:cubicBezTo>
                    <a:pt x="1355" y="70"/>
                    <a:pt x="1355" y="70"/>
                    <a:pt x="1355" y="71"/>
                  </a:cubicBezTo>
                  <a:close/>
                  <a:moveTo>
                    <a:pt x="1369" y="70"/>
                  </a:moveTo>
                  <a:cubicBezTo>
                    <a:pt x="1369" y="70"/>
                    <a:pt x="1369" y="70"/>
                    <a:pt x="1369" y="71"/>
                  </a:cubicBezTo>
                  <a:cubicBezTo>
                    <a:pt x="1369" y="70"/>
                    <a:pt x="1369" y="70"/>
                    <a:pt x="1369" y="70"/>
                  </a:cubicBezTo>
                  <a:close/>
                  <a:moveTo>
                    <a:pt x="1539" y="71"/>
                  </a:moveTo>
                  <a:cubicBezTo>
                    <a:pt x="1539" y="71"/>
                    <a:pt x="1539" y="70"/>
                    <a:pt x="1539" y="70"/>
                  </a:cubicBezTo>
                  <a:cubicBezTo>
                    <a:pt x="1539" y="70"/>
                    <a:pt x="1539" y="70"/>
                    <a:pt x="1539" y="71"/>
                  </a:cubicBezTo>
                  <a:close/>
                  <a:moveTo>
                    <a:pt x="859" y="35"/>
                  </a:moveTo>
                  <a:cubicBezTo>
                    <a:pt x="859" y="35"/>
                    <a:pt x="859" y="35"/>
                    <a:pt x="859" y="35"/>
                  </a:cubicBezTo>
                  <a:cubicBezTo>
                    <a:pt x="859" y="35"/>
                    <a:pt x="859" y="35"/>
                    <a:pt x="859" y="35"/>
                  </a:cubicBezTo>
                  <a:close/>
                  <a:moveTo>
                    <a:pt x="1661" y="71"/>
                  </a:moveTo>
                  <a:cubicBezTo>
                    <a:pt x="1661" y="70"/>
                    <a:pt x="1661" y="70"/>
                    <a:pt x="1661" y="70"/>
                  </a:cubicBezTo>
                  <a:cubicBezTo>
                    <a:pt x="1661" y="70"/>
                    <a:pt x="1661" y="70"/>
                    <a:pt x="1661" y="71"/>
                  </a:cubicBezTo>
                  <a:close/>
                  <a:moveTo>
                    <a:pt x="879" y="35"/>
                  </a:moveTo>
                  <a:cubicBezTo>
                    <a:pt x="879" y="35"/>
                    <a:pt x="879" y="35"/>
                    <a:pt x="879" y="35"/>
                  </a:cubicBezTo>
                  <a:cubicBezTo>
                    <a:pt x="879" y="35"/>
                    <a:pt x="879" y="35"/>
                    <a:pt x="879" y="35"/>
                  </a:cubicBezTo>
                  <a:close/>
                  <a:moveTo>
                    <a:pt x="1707" y="71"/>
                  </a:moveTo>
                  <a:cubicBezTo>
                    <a:pt x="1707" y="71"/>
                    <a:pt x="1707" y="70"/>
                    <a:pt x="1707" y="70"/>
                  </a:cubicBezTo>
                  <a:cubicBezTo>
                    <a:pt x="1707" y="70"/>
                    <a:pt x="1707" y="70"/>
                    <a:pt x="1707" y="71"/>
                  </a:cubicBezTo>
                  <a:close/>
                  <a:moveTo>
                    <a:pt x="902" y="35"/>
                  </a:moveTo>
                  <a:cubicBezTo>
                    <a:pt x="902" y="35"/>
                    <a:pt x="902" y="35"/>
                    <a:pt x="902" y="35"/>
                  </a:cubicBezTo>
                  <a:cubicBezTo>
                    <a:pt x="902" y="35"/>
                    <a:pt x="902" y="35"/>
                    <a:pt x="902" y="35"/>
                  </a:cubicBezTo>
                  <a:close/>
                  <a:moveTo>
                    <a:pt x="1144" y="35"/>
                  </a:moveTo>
                  <a:cubicBezTo>
                    <a:pt x="1144" y="35"/>
                    <a:pt x="1144" y="35"/>
                    <a:pt x="1144" y="35"/>
                  </a:cubicBezTo>
                  <a:cubicBezTo>
                    <a:pt x="1144" y="35"/>
                    <a:pt x="1144" y="35"/>
                    <a:pt x="1144" y="35"/>
                  </a:cubicBezTo>
                  <a:close/>
                  <a:moveTo>
                    <a:pt x="1297" y="35"/>
                  </a:moveTo>
                  <a:cubicBezTo>
                    <a:pt x="1298" y="35"/>
                    <a:pt x="1298" y="35"/>
                    <a:pt x="1298" y="35"/>
                  </a:cubicBezTo>
                  <a:cubicBezTo>
                    <a:pt x="1298" y="35"/>
                    <a:pt x="1297" y="35"/>
                    <a:pt x="1297" y="35"/>
                  </a:cubicBezTo>
                  <a:close/>
                  <a:moveTo>
                    <a:pt x="669" y="36"/>
                  </a:moveTo>
                  <a:cubicBezTo>
                    <a:pt x="669" y="36"/>
                    <a:pt x="669" y="36"/>
                    <a:pt x="669" y="35"/>
                  </a:cubicBezTo>
                  <a:cubicBezTo>
                    <a:pt x="669" y="35"/>
                    <a:pt x="669" y="36"/>
                    <a:pt x="669" y="36"/>
                  </a:cubicBezTo>
                  <a:close/>
                  <a:moveTo>
                    <a:pt x="837" y="36"/>
                  </a:moveTo>
                  <a:cubicBezTo>
                    <a:pt x="837" y="36"/>
                    <a:pt x="837" y="36"/>
                    <a:pt x="837" y="35"/>
                  </a:cubicBezTo>
                  <a:cubicBezTo>
                    <a:pt x="837" y="36"/>
                    <a:pt x="837" y="36"/>
                    <a:pt x="837" y="36"/>
                  </a:cubicBezTo>
                  <a:close/>
                  <a:moveTo>
                    <a:pt x="878" y="36"/>
                  </a:moveTo>
                  <a:cubicBezTo>
                    <a:pt x="878" y="36"/>
                    <a:pt x="878" y="36"/>
                    <a:pt x="878" y="35"/>
                  </a:cubicBezTo>
                  <a:cubicBezTo>
                    <a:pt x="878" y="35"/>
                    <a:pt x="878" y="36"/>
                    <a:pt x="878" y="36"/>
                  </a:cubicBezTo>
                  <a:close/>
                  <a:moveTo>
                    <a:pt x="1354" y="71"/>
                  </a:moveTo>
                  <a:cubicBezTo>
                    <a:pt x="1355" y="71"/>
                    <a:pt x="1355" y="71"/>
                    <a:pt x="1355" y="71"/>
                  </a:cubicBezTo>
                  <a:cubicBezTo>
                    <a:pt x="1355" y="71"/>
                    <a:pt x="1355" y="71"/>
                    <a:pt x="1354" y="71"/>
                  </a:cubicBezTo>
                  <a:close/>
                  <a:moveTo>
                    <a:pt x="1369" y="70"/>
                  </a:moveTo>
                  <a:cubicBezTo>
                    <a:pt x="1369" y="71"/>
                    <a:pt x="1369" y="71"/>
                    <a:pt x="1369" y="71"/>
                  </a:cubicBezTo>
                  <a:cubicBezTo>
                    <a:pt x="1369" y="71"/>
                    <a:pt x="1369" y="71"/>
                    <a:pt x="1369" y="70"/>
                  </a:cubicBezTo>
                  <a:close/>
                  <a:moveTo>
                    <a:pt x="1539" y="71"/>
                  </a:moveTo>
                  <a:cubicBezTo>
                    <a:pt x="1539" y="71"/>
                    <a:pt x="1539" y="71"/>
                    <a:pt x="1539" y="71"/>
                  </a:cubicBezTo>
                  <a:cubicBezTo>
                    <a:pt x="1539" y="71"/>
                    <a:pt x="1539" y="71"/>
                    <a:pt x="1539" y="71"/>
                  </a:cubicBezTo>
                  <a:close/>
                  <a:moveTo>
                    <a:pt x="1553" y="71"/>
                  </a:moveTo>
                  <a:cubicBezTo>
                    <a:pt x="1553" y="71"/>
                    <a:pt x="1553" y="71"/>
                    <a:pt x="1553" y="71"/>
                  </a:cubicBezTo>
                  <a:cubicBezTo>
                    <a:pt x="1553" y="71"/>
                    <a:pt x="1553" y="71"/>
                    <a:pt x="1553" y="71"/>
                  </a:cubicBezTo>
                  <a:close/>
                  <a:moveTo>
                    <a:pt x="1707" y="71"/>
                  </a:moveTo>
                  <a:cubicBezTo>
                    <a:pt x="1707" y="71"/>
                    <a:pt x="1707" y="71"/>
                    <a:pt x="1707" y="71"/>
                  </a:cubicBezTo>
                  <a:cubicBezTo>
                    <a:pt x="1707" y="71"/>
                    <a:pt x="1707" y="71"/>
                    <a:pt x="1707" y="71"/>
                  </a:cubicBezTo>
                  <a:close/>
                  <a:moveTo>
                    <a:pt x="1721" y="71"/>
                  </a:moveTo>
                  <a:cubicBezTo>
                    <a:pt x="1721" y="71"/>
                    <a:pt x="1721" y="71"/>
                    <a:pt x="1721" y="71"/>
                  </a:cubicBezTo>
                  <a:cubicBezTo>
                    <a:pt x="1721" y="71"/>
                    <a:pt x="1721" y="71"/>
                    <a:pt x="1721" y="71"/>
                  </a:cubicBezTo>
                  <a:close/>
                  <a:moveTo>
                    <a:pt x="902" y="35"/>
                  </a:moveTo>
                  <a:cubicBezTo>
                    <a:pt x="903" y="36"/>
                    <a:pt x="903" y="36"/>
                    <a:pt x="903" y="36"/>
                  </a:cubicBezTo>
                  <a:cubicBezTo>
                    <a:pt x="903" y="36"/>
                    <a:pt x="903" y="35"/>
                    <a:pt x="902" y="35"/>
                  </a:cubicBezTo>
                  <a:close/>
                  <a:moveTo>
                    <a:pt x="764" y="36"/>
                  </a:moveTo>
                  <a:cubicBezTo>
                    <a:pt x="764" y="36"/>
                    <a:pt x="764" y="36"/>
                    <a:pt x="764" y="36"/>
                  </a:cubicBezTo>
                  <a:cubicBezTo>
                    <a:pt x="764" y="36"/>
                    <a:pt x="764" y="36"/>
                    <a:pt x="764" y="36"/>
                  </a:cubicBezTo>
                  <a:close/>
                  <a:moveTo>
                    <a:pt x="1074" y="36"/>
                  </a:moveTo>
                  <a:cubicBezTo>
                    <a:pt x="1074" y="36"/>
                    <a:pt x="1074" y="36"/>
                    <a:pt x="1075" y="36"/>
                  </a:cubicBezTo>
                  <a:cubicBezTo>
                    <a:pt x="1074" y="36"/>
                    <a:pt x="1074" y="36"/>
                    <a:pt x="1074" y="36"/>
                  </a:cubicBezTo>
                  <a:close/>
                  <a:moveTo>
                    <a:pt x="1145" y="36"/>
                  </a:moveTo>
                  <a:cubicBezTo>
                    <a:pt x="1145" y="36"/>
                    <a:pt x="1145" y="36"/>
                    <a:pt x="1145" y="36"/>
                  </a:cubicBezTo>
                  <a:cubicBezTo>
                    <a:pt x="1145" y="36"/>
                    <a:pt x="1145" y="36"/>
                    <a:pt x="1145" y="36"/>
                  </a:cubicBezTo>
                  <a:close/>
                  <a:moveTo>
                    <a:pt x="1252" y="36"/>
                  </a:moveTo>
                  <a:cubicBezTo>
                    <a:pt x="1252" y="36"/>
                    <a:pt x="1252" y="36"/>
                    <a:pt x="1252" y="36"/>
                  </a:cubicBezTo>
                  <a:cubicBezTo>
                    <a:pt x="1252" y="36"/>
                    <a:pt x="1252" y="36"/>
                    <a:pt x="1252" y="36"/>
                  </a:cubicBezTo>
                  <a:close/>
                  <a:moveTo>
                    <a:pt x="763" y="36"/>
                  </a:moveTo>
                  <a:cubicBezTo>
                    <a:pt x="764" y="36"/>
                    <a:pt x="764" y="36"/>
                    <a:pt x="764" y="36"/>
                  </a:cubicBezTo>
                  <a:cubicBezTo>
                    <a:pt x="764" y="36"/>
                    <a:pt x="763" y="36"/>
                    <a:pt x="763" y="36"/>
                  </a:cubicBezTo>
                  <a:close/>
                  <a:moveTo>
                    <a:pt x="861" y="36"/>
                  </a:moveTo>
                  <a:cubicBezTo>
                    <a:pt x="861" y="36"/>
                    <a:pt x="861" y="36"/>
                    <a:pt x="861" y="36"/>
                  </a:cubicBezTo>
                  <a:cubicBezTo>
                    <a:pt x="861" y="36"/>
                    <a:pt x="861" y="36"/>
                    <a:pt x="861" y="36"/>
                  </a:cubicBezTo>
                  <a:close/>
                  <a:moveTo>
                    <a:pt x="904" y="36"/>
                  </a:moveTo>
                  <a:cubicBezTo>
                    <a:pt x="904" y="36"/>
                    <a:pt x="904" y="36"/>
                    <a:pt x="904" y="36"/>
                  </a:cubicBezTo>
                  <a:cubicBezTo>
                    <a:pt x="904" y="36"/>
                    <a:pt x="904" y="36"/>
                    <a:pt x="904" y="36"/>
                  </a:cubicBezTo>
                  <a:close/>
                  <a:moveTo>
                    <a:pt x="1538" y="71"/>
                  </a:moveTo>
                  <a:cubicBezTo>
                    <a:pt x="1538" y="71"/>
                    <a:pt x="1539" y="71"/>
                    <a:pt x="1539" y="71"/>
                  </a:cubicBezTo>
                  <a:cubicBezTo>
                    <a:pt x="1538" y="71"/>
                    <a:pt x="1538" y="71"/>
                    <a:pt x="1538" y="71"/>
                  </a:cubicBezTo>
                  <a:close/>
                  <a:moveTo>
                    <a:pt x="1553" y="71"/>
                  </a:moveTo>
                  <a:cubicBezTo>
                    <a:pt x="1553" y="71"/>
                    <a:pt x="1552" y="71"/>
                    <a:pt x="1552" y="71"/>
                  </a:cubicBezTo>
                  <a:cubicBezTo>
                    <a:pt x="1553" y="71"/>
                    <a:pt x="1553" y="71"/>
                    <a:pt x="1553" y="71"/>
                  </a:cubicBezTo>
                  <a:close/>
                  <a:moveTo>
                    <a:pt x="1661" y="71"/>
                  </a:moveTo>
                  <a:cubicBezTo>
                    <a:pt x="1661" y="71"/>
                    <a:pt x="1661" y="71"/>
                    <a:pt x="1661" y="71"/>
                  </a:cubicBezTo>
                  <a:cubicBezTo>
                    <a:pt x="1661" y="71"/>
                    <a:pt x="1661" y="71"/>
                    <a:pt x="1661" y="71"/>
                  </a:cubicBezTo>
                  <a:close/>
                  <a:moveTo>
                    <a:pt x="1075" y="36"/>
                  </a:moveTo>
                  <a:cubicBezTo>
                    <a:pt x="1075" y="36"/>
                    <a:pt x="1075" y="36"/>
                    <a:pt x="1075" y="36"/>
                  </a:cubicBezTo>
                  <a:cubicBezTo>
                    <a:pt x="1075" y="36"/>
                    <a:pt x="1075" y="36"/>
                    <a:pt x="1075" y="36"/>
                  </a:cubicBezTo>
                  <a:close/>
                  <a:moveTo>
                    <a:pt x="1706" y="71"/>
                  </a:moveTo>
                  <a:cubicBezTo>
                    <a:pt x="1707" y="71"/>
                    <a:pt x="1707" y="71"/>
                    <a:pt x="1707" y="71"/>
                  </a:cubicBezTo>
                  <a:cubicBezTo>
                    <a:pt x="1707" y="71"/>
                    <a:pt x="1706" y="71"/>
                    <a:pt x="1706" y="71"/>
                  </a:cubicBezTo>
                  <a:close/>
                  <a:moveTo>
                    <a:pt x="1721" y="71"/>
                  </a:moveTo>
                  <a:cubicBezTo>
                    <a:pt x="1721" y="71"/>
                    <a:pt x="1721" y="71"/>
                    <a:pt x="1720" y="71"/>
                  </a:cubicBezTo>
                  <a:cubicBezTo>
                    <a:pt x="1721" y="71"/>
                    <a:pt x="1721" y="71"/>
                    <a:pt x="1721" y="71"/>
                  </a:cubicBezTo>
                  <a:close/>
                  <a:moveTo>
                    <a:pt x="1118" y="36"/>
                  </a:moveTo>
                  <a:cubicBezTo>
                    <a:pt x="1119" y="36"/>
                    <a:pt x="1119" y="36"/>
                    <a:pt x="1119" y="36"/>
                  </a:cubicBezTo>
                  <a:cubicBezTo>
                    <a:pt x="1119" y="36"/>
                    <a:pt x="1118" y="36"/>
                    <a:pt x="1118" y="36"/>
                  </a:cubicBezTo>
                  <a:close/>
                  <a:moveTo>
                    <a:pt x="1368" y="71"/>
                  </a:moveTo>
                  <a:cubicBezTo>
                    <a:pt x="1368" y="71"/>
                    <a:pt x="1368" y="71"/>
                    <a:pt x="1368" y="72"/>
                  </a:cubicBezTo>
                  <a:cubicBezTo>
                    <a:pt x="1368" y="71"/>
                    <a:pt x="1368" y="71"/>
                    <a:pt x="1368" y="71"/>
                  </a:cubicBezTo>
                  <a:close/>
                  <a:moveTo>
                    <a:pt x="1538" y="72"/>
                  </a:moveTo>
                  <a:cubicBezTo>
                    <a:pt x="1538" y="72"/>
                    <a:pt x="1538" y="71"/>
                    <a:pt x="1538" y="71"/>
                  </a:cubicBezTo>
                  <a:cubicBezTo>
                    <a:pt x="1538" y="71"/>
                    <a:pt x="1538" y="71"/>
                    <a:pt x="1538" y="72"/>
                  </a:cubicBezTo>
                  <a:close/>
                  <a:moveTo>
                    <a:pt x="667" y="37"/>
                  </a:moveTo>
                  <a:cubicBezTo>
                    <a:pt x="667" y="37"/>
                    <a:pt x="667" y="37"/>
                    <a:pt x="667" y="36"/>
                  </a:cubicBezTo>
                  <a:cubicBezTo>
                    <a:pt x="667" y="36"/>
                    <a:pt x="667" y="37"/>
                    <a:pt x="667" y="37"/>
                  </a:cubicBezTo>
                  <a:close/>
                  <a:moveTo>
                    <a:pt x="793" y="36"/>
                  </a:moveTo>
                  <a:cubicBezTo>
                    <a:pt x="793" y="37"/>
                    <a:pt x="793" y="37"/>
                    <a:pt x="794" y="37"/>
                  </a:cubicBezTo>
                  <a:cubicBezTo>
                    <a:pt x="794" y="37"/>
                    <a:pt x="793" y="36"/>
                    <a:pt x="793" y="36"/>
                  </a:cubicBezTo>
                  <a:close/>
                  <a:moveTo>
                    <a:pt x="1706" y="72"/>
                  </a:moveTo>
                  <a:cubicBezTo>
                    <a:pt x="1706" y="72"/>
                    <a:pt x="1706" y="71"/>
                    <a:pt x="1706" y="71"/>
                  </a:cubicBezTo>
                  <a:cubicBezTo>
                    <a:pt x="1706" y="71"/>
                    <a:pt x="1706" y="71"/>
                    <a:pt x="1706" y="72"/>
                  </a:cubicBezTo>
                  <a:close/>
                  <a:moveTo>
                    <a:pt x="861" y="36"/>
                  </a:moveTo>
                  <a:cubicBezTo>
                    <a:pt x="861" y="37"/>
                    <a:pt x="861" y="37"/>
                    <a:pt x="862" y="37"/>
                  </a:cubicBezTo>
                  <a:cubicBezTo>
                    <a:pt x="861" y="37"/>
                    <a:pt x="861" y="37"/>
                    <a:pt x="861" y="36"/>
                  </a:cubicBezTo>
                  <a:close/>
                  <a:moveTo>
                    <a:pt x="904" y="36"/>
                  </a:moveTo>
                  <a:cubicBezTo>
                    <a:pt x="904" y="37"/>
                    <a:pt x="904" y="37"/>
                    <a:pt x="904" y="37"/>
                  </a:cubicBezTo>
                  <a:cubicBezTo>
                    <a:pt x="904" y="37"/>
                    <a:pt x="904" y="37"/>
                    <a:pt x="904" y="36"/>
                  </a:cubicBezTo>
                  <a:close/>
                  <a:moveTo>
                    <a:pt x="1045" y="37"/>
                  </a:moveTo>
                  <a:cubicBezTo>
                    <a:pt x="1045" y="37"/>
                    <a:pt x="1045" y="37"/>
                    <a:pt x="1045" y="36"/>
                  </a:cubicBezTo>
                  <a:cubicBezTo>
                    <a:pt x="1045" y="37"/>
                    <a:pt x="1045" y="37"/>
                    <a:pt x="1045" y="37"/>
                  </a:cubicBezTo>
                  <a:close/>
                  <a:moveTo>
                    <a:pt x="1146" y="36"/>
                  </a:moveTo>
                  <a:cubicBezTo>
                    <a:pt x="1146" y="37"/>
                    <a:pt x="1146" y="37"/>
                    <a:pt x="1146" y="37"/>
                  </a:cubicBezTo>
                  <a:cubicBezTo>
                    <a:pt x="1146" y="37"/>
                    <a:pt x="1146" y="36"/>
                    <a:pt x="1146" y="36"/>
                  </a:cubicBezTo>
                  <a:close/>
                  <a:moveTo>
                    <a:pt x="1295" y="37"/>
                  </a:moveTo>
                  <a:cubicBezTo>
                    <a:pt x="1295" y="37"/>
                    <a:pt x="1296" y="37"/>
                    <a:pt x="1296" y="36"/>
                  </a:cubicBezTo>
                  <a:cubicBezTo>
                    <a:pt x="1295" y="36"/>
                    <a:pt x="1295" y="37"/>
                    <a:pt x="1295" y="37"/>
                  </a:cubicBezTo>
                  <a:close/>
                  <a:moveTo>
                    <a:pt x="835" y="37"/>
                  </a:moveTo>
                  <a:cubicBezTo>
                    <a:pt x="835" y="37"/>
                    <a:pt x="835" y="37"/>
                    <a:pt x="835" y="37"/>
                  </a:cubicBezTo>
                  <a:cubicBezTo>
                    <a:pt x="835" y="37"/>
                    <a:pt x="835" y="37"/>
                    <a:pt x="835" y="37"/>
                  </a:cubicBezTo>
                  <a:close/>
                  <a:moveTo>
                    <a:pt x="1368" y="72"/>
                  </a:moveTo>
                  <a:cubicBezTo>
                    <a:pt x="1367" y="72"/>
                    <a:pt x="1367" y="72"/>
                    <a:pt x="1367" y="72"/>
                  </a:cubicBezTo>
                  <a:cubicBezTo>
                    <a:pt x="1367" y="72"/>
                    <a:pt x="1368" y="72"/>
                    <a:pt x="1368" y="72"/>
                  </a:cubicBezTo>
                  <a:close/>
                  <a:moveTo>
                    <a:pt x="1537" y="72"/>
                  </a:moveTo>
                  <a:cubicBezTo>
                    <a:pt x="1538" y="72"/>
                    <a:pt x="1538" y="72"/>
                    <a:pt x="1538" y="72"/>
                  </a:cubicBezTo>
                  <a:cubicBezTo>
                    <a:pt x="1538" y="72"/>
                    <a:pt x="1538" y="72"/>
                    <a:pt x="1537" y="72"/>
                  </a:cubicBezTo>
                  <a:close/>
                  <a:moveTo>
                    <a:pt x="1552" y="72"/>
                  </a:moveTo>
                  <a:cubicBezTo>
                    <a:pt x="1552" y="72"/>
                    <a:pt x="1551" y="72"/>
                    <a:pt x="1551" y="72"/>
                  </a:cubicBezTo>
                  <a:cubicBezTo>
                    <a:pt x="1552" y="72"/>
                    <a:pt x="1552" y="72"/>
                    <a:pt x="1552" y="72"/>
                  </a:cubicBezTo>
                  <a:close/>
                  <a:moveTo>
                    <a:pt x="876" y="37"/>
                  </a:moveTo>
                  <a:cubicBezTo>
                    <a:pt x="876" y="37"/>
                    <a:pt x="876" y="37"/>
                    <a:pt x="876" y="37"/>
                  </a:cubicBezTo>
                  <a:cubicBezTo>
                    <a:pt x="876" y="37"/>
                    <a:pt x="876" y="37"/>
                    <a:pt x="876" y="37"/>
                  </a:cubicBezTo>
                  <a:close/>
                  <a:moveTo>
                    <a:pt x="1706" y="72"/>
                  </a:moveTo>
                  <a:cubicBezTo>
                    <a:pt x="1706" y="72"/>
                    <a:pt x="1706" y="72"/>
                    <a:pt x="1706" y="72"/>
                  </a:cubicBezTo>
                  <a:cubicBezTo>
                    <a:pt x="1706" y="72"/>
                    <a:pt x="1706" y="72"/>
                    <a:pt x="1706" y="72"/>
                  </a:cubicBezTo>
                  <a:close/>
                  <a:moveTo>
                    <a:pt x="1720" y="72"/>
                  </a:moveTo>
                  <a:cubicBezTo>
                    <a:pt x="1720" y="72"/>
                    <a:pt x="1720" y="72"/>
                    <a:pt x="1720" y="72"/>
                  </a:cubicBezTo>
                  <a:cubicBezTo>
                    <a:pt x="1720" y="72"/>
                    <a:pt x="1720" y="72"/>
                    <a:pt x="1720" y="72"/>
                  </a:cubicBezTo>
                  <a:close/>
                  <a:moveTo>
                    <a:pt x="1076" y="37"/>
                  </a:moveTo>
                  <a:cubicBezTo>
                    <a:pt x="1076" y="37"/>
                    <a:pt x="1076" y="37"/>
                    <a:pt x="1076" y="37"/>
                  </a:cubicBezTo>
                  <a:cubicBezTo>
                    <a:pt x="1076" y="37"/>
                    <a:pt x="1076" y="37"/>
                    <a:pt x="1076" y="37"/>
                  </a:cubicBezTo>
                  <a:close/>
                  <a:moveTo>
                    <a:pt x="1117" y="37"/>
                  </a:moveTo>
                  <a:cubicBezTo>
                    <a:pt x="1118" y="37"/>
                    <a:pt x="1118" y="37"/>
                    <a:pt x="1118" y="37"/>
                  </a:cubicBezTo>
                  <a:cubicBezTo>
                    <a:pt x="1118" y="37"/>
                    <a:pt x="1117" y="37"/>
                    <a:pt x="1117" y="37"/>
                  </a:cubicBezTo>
                  <a:close/>
                  <a:moveTo>
                    <a:pt x="1222" y="37"/>
                  </a:moveTo>
                  <a:cubicBezTo>
                    <a:pt x="1222" y="37"/>
                    <a:pt x="1222" y="37"/>
                    <a:pt x="1223" y="37"/>
                  </a:cubicBezTo>
                  <a:cubicBezTo>
                    <a:pt x="1222" y="37"/>
                    <a:pt x="1222" y="37"/>
                    <a:pt x="1222" y="37"/>
                  </a:cubicBezTo>
                  <a:close/>
                  <a:moveTo>
                    <a:pt x="1254" y="37"/>
                  </a:moveTo>
                  <a:cubicBezTo>
                    <a:pt x="1254" y="37"/>
                    <a:pt x="1254" y="37"/>
                    <a:pt x="1254" y="37"/>
                  </a:cubicBezTo>
                  <a:cubicBezTo>
                    <a:pt x="1254" y="37"/>
                    <a:pt x="1254" y="37"/>
                    <a:pt x="1254" y="37"/>
                  </a:cubicBezTo>
                  <a:close/>
                  <a:moveTo>
                    <a:pt x="1295" y="37"/>
                  </a:moveTo>
                  <a:cubicBezTo>
                    <a:pt x="1295" y="37"/>
                    <a:pt x="1295" y="37"/>
                    <a:pt x="1295" y="37"/>
                  </a:cubicBezTo>
                  <a:cubicBezTo>
                    <a:pt x="1295" y="37"/>
                    <a:pt x="1295" y="37"/>
                    <a:pt x="1295" y="37"/>
                  </a:cubicBezTo>
                  <a:close/>
                  <a:moveTo>
                    <a:pt x="666" y="38"/>
                  </a:moveTo>
                  <a:cubicBezTo>
                    <a:pt x="666" y="37"/>
                    <a:pt x="666" y="37"/>
                    <a:pt x="666" y="37"/>
                  </a:cubicBezTo>
                  <a:cubicBezTo>
                    <a:pt x="666" y="37"/>
                    <a:pt x="666" y="37"/>
                    <a:pt x="666" y="38"/>
                  </a:cubicBezTo>
                  <a:close/>
                  <a:moveTo>
                    <a:pt x="1537" y="72"/>
                  </a:moveTo>
                  <a:cubicBezTo>
                    <a:pt x="1537" y="72"/>
                    <a:pt x="1537" y="72"/>
                    <a:pt x="1538" y="72"/>
                  </a:cubicBezTo>
                  <a:cubicBezTo>
                    <a:pt x="1537" y="72"/>
                    <a:pt x="1537" y="72"/>
                    <a:pt x="1537" y="72"/>
                  </a:cubicBezTo>
                  <a:close/>
                  <a:moveTo>
                    <a:pt x="1551" y="72"/>
                  </a:moveTo>
                  <a:cubicBezTo>
                    <a:pt x="1551" y="72"/>
                    <a:pt x="1551" y="72"/>
                    <a:pt x="1551" y="72"/>
                  </a:cubicBezTo>
                  <a:cubicBezTo>
                    <a:pt x="1551" y="72"/>
                    <a:pt x="1551" y="72"/>
                    <a:pt x="1551" y="72"/>
                  </a:cubicBezTo>
                  <a:close/>
                  <a:moveTo>
                    <a:pt x="762" y="37"/>
                  </a:moveTo>
                  <a:cubicBezTo>
                    <a:pt x="762" y="37"/>
                    <a:pt x="762" y="37"/>
                    <a:pt x="762" y="37"/>
                  </a:cubicBezTo>
                  <a:cubicBezTo>
                    <a:pt x="762" y="37"/>
                    <a:pt x="762" y="37"/>
                    <a:pt x="762" y="37"/>
                  </a:cubicBezTo>
                  <a:close/>
                  <a:moveTo>
                    <a:pt x="1705" y="72"/>
                  </a:moveTo>
                  <a:cubicBezTo>
                    <a:pt x="1705" y="72"/>
                    <a:pt x="1706" y="72"/>
                    <a:pt x="1706" y="72"/>
                  </a:cubicBezTo>
                  <a:cubicBezTo>
                    <a:pt x="1706" y="72"/>
                    <a:pt x="1705" y="72"/>
                    <a:pt x="1705" y="72"/>
                  </a:cubicBezTo>
                  <a:close/>
                  <a:moveTo>
                    <a:pt x="1720" y="72"/>
                  </a:moveTo>
                  <a:cubicBezTo>
                    <a:pt x="1719" y="72"/>
                    <a:pt x="1719" y="72"/>
                    <a:pt x="1719" y="72"/>
                  </a:cubicBezTo>
                  <a:cubicBezTo>
                    <a:pt x="1719" y="72"/>
                    <a:pt x="1719" y="72"/>
                    <a:pt x="1720" y="72"/>
                  </a:cubicBezTo>
                  <a:close/>
                  <a:moveTo>
                    <a:pt x="794" y="37"/>
                  </a:moveTo>
                  <a:cubicBezTo>
                    <a:pt x="794" y="37"/>
                    <a:pt x="794" y="37"/>
                    <a:pt x="795" y="37"/>
                  </a:cubicBezTo>
                  <a:cubicBezTo>
                    <a:pt x="795" y="37"/>
                    <a:pt x="794" y="37"/>
                    <a:pt x="794" y="37"/>
                  </a:cubicBezTo>
                  <a:close/>
                  <a:moveTo>
                    <a:pt x="862" y="37"/>
                  </a:moveTo>
                  <a:cubicBezTo>
                    <a:pt x="862" y="37"/>
                    <a:pt x="862" y="38"/>
                    <a:pt x="862" y="38"/>
                  </a:cubicBezTo>
                  <a:cubicBezTo>
                    <a:pt x="862" y="37"/>
                    <a:pt x="862" y="37"/>
                    <a:pt x="862" y="37"/>
                  </a:cubicBezTo>
                  <a:close/>
                  <a:moveTo>
                    <a:pt x="1117" y="37"/>
                  </a:moveTo>
                  <a:cubicBezTo>
                    <a:pt x="1117" y="37"/>
                    <a:pt x="1117" y="37"/>
                    <a:pt x="1117" y="37"/>
                  </a:cubicBezTo>
                  <a:cubicBezTo>
                    <a:pt x="1117" y="37"/>
                    <a:pt x="1117" y="37"/>
                    <a:pt x="1117" y="37"/>
                  </a:cubicBezTo>
                  <a:close/>
                  <a:moveTo>
                    <a:pt x="1537" y="73"/>
                  </a:moveTo>
                  <a:cubicBezTo>
                    <a:pt x="1537" y="73"/>
                    <a:pt x="1537" y="72"/>
                    <a:pt x="1537" y="72"/>
                  </a:cubicBezTo>
                  <a:cubicBezTo>
                    <a:pt x="1537" y="72"/>
                    <a:pt x="1537" y="73"/>
                    <a:pt x="1537" y="73"/>
                  </a:cubicBezTo>
                  <a:close/>
                  <a:moveTo>
                    <a:pt x="1254" y="37"/>
                  </a:moveTo>
                  <a:cubicBezTo>
                    <a:pt x="1254" y="37"/>
                    <a:pt x="1254" y="37"/>
                    <a:pt x="1255" y="37"/>
                  </a:cubicBezTo>
                  <a:cubicBezTo>
                    <a:pt x="1254" y="37"/>
                    <a:pt x="1254" y="37"/>
                    <a:pt x="1254" y="37"/>
                  </a:cubicBezTo>
                  <a:close/>
                  <a:moveTo>
                    <a:pt x="1295" y="37"/>
                  </a:moveTo>
                  <a:cubicBezTo>
                    <a:pt x="1295" y="37"/>
                    <a:pt x="1295" y="37"/>
                    <a:pt x="1295" y="37"/>
                  </a:cubicBezTo>
                  <a:cubicBezTo>
                    <a:pt x="1295" y="37"/>
                    <a:pt x="1295" y="37"/>
                    <a:pt x="1295" y="37"/>
                  </a:cubicBezTo>
                  <a:close/>
                  <a:moveTo>
                    <a:pt x="1705" y="73"/>
                  </a:moveTo>
                  <a:cubicBezTo>
                    <a:pt x="1705" y="73"/>
                    <a:pt x="1705" y="72"/>
                    <a:pt x="1705" y="72"/>
                  </a:cubicBezTo>
                  <a:cubicBezTo>
                    <a:pt x="1705" y="72"/>
                    <a:pt x="1705" y="72"/>
                    <a:pt x="1705" y="73"/>
                  </a:cubicBezTo>
                  <a:close/>
                  <a:moveTo>
                    <a:pt x="666" y="38"/>
                  </a:moveTo>
                  <a:cubicBezTo>
                    <a:pt x="666" y="38"/>
                    <a:pt x="666" y="38"/>
                    <a:pt x="666" y="37"/>
                  </a:cubicBezTo>
                  <a:cubicBezTo>
                    <a:pt x="666" y="38"/>
                    <a:pt x="666" y="38"/>
                    <a:pt x="666" y="38"/>
                  </a:cubicBezTo>
                  <a:close/>
                  <a:moveTo>
                    <a:pt x="795" y="37"/>
                  </a:moveTo>
                  <a:cubicBezTo>
                    <a:pt x="795" y="38"/>
                    <a:pt x="795" y="38"/>
                    <a:pt x="795" y="38"/>
                  </a:cubicBezTo>
                  <a:cubicBezTo>
                    <a:pt x="795" y="38"/>
                    <a:pt x="795" y="38"/>
                    <a:pt x="795" y="37"/>
                  </a:cubicBezTo>
                  <a:close/>
                  <a:moveTo>
                    <a:pt x="862" y="38"/>
                  </a:moveTo>
                  <a:cubicBezTo>
                    <a:pt x="863" y="38"/>
                    <a:pt x="863" y="38"/>
                    <a:pt x="863" y="38"/>
                  </a:cubicBezTo>
                  <a:cubicBezTo>
                    <a:pt x="863" y="38"/>
                    <a:pt x="863" y="38"/>
                    <a:pt x="862" y="38"/>
                  </a:cubicBezTo>
                  <a:close/>
                  <a:moveTo>
                    <a:pt x="875" y="38"/>
                  </a:moveTo>
                  <a:cubicBezTo>
                    <a:pt x="875" y="38"/>
                    <a:pt x="875" y="38"/>
                    <a:pt x="875" y="38"/>
                  </a:cubicBezTo>
                  <a:cubicBezTo>
                    <a:pt x="875" y="38"/>
                    <a:pt x="875" y="38"/>
                    <a:pt x="875" y="38"/>
                  </a:cubicBezTo>
                  <a:close/>
                  <a:moveTo>
                    <a:pt x="905" y="38"/>
                  </a:moveTo>
                  <a:cubicBezTo>
                    <a:pt x="905" y="38"/>
                    <a:pt x="905" y="38"/>
                    <a:pt x="906" y="38"/>
                  </a:cubicBezTo>
                  <a:cubicBezTo>
                    <a:pt x="906" y="38"/>
                    <a:pt x="905" y="38"/>
                    <a:pt x="905" y="38"/>
                  </a:cubicBezTo>
                  <a:close/>
                  <a:moveTo>
                    <a:pt x="696" y="73"/>
                  </a:moveTo>
                  <a:cubicBezTo>
                    <a:pt x="696" y="73"/>
                    <a:pt x="696" y="73"/>
                    <a:pt x="696" y="73"/>
                  </a:cubicBezTo>
                  <a:cubicBezTo>
                    <a:pt x="696" y="73"/>
                    <a:pt x="696" y="73"/>
                    <a:pt x="696" y="73"/>
                  </a:cubicBezTo>
                  <a:close/>
                  <a:moveTo>
                    <a:pt x="1043" y="38"/>
                  </a:moveTo>
                  <a:cubicBezTo>
                    <a:pt x="1043" y="38"/>
                    <a:pt x="1044" y="38"/>
                    <a:pt x="1044" y="38"/>
                  </a:cubicBezTo>
                  <a:cubicBezTo>
                    <a:pt x="1043" y="38"/>
                    <a:pt x="1043" y="38"/>
                    <a:pt x="1043" y="38"/>
                  </a:cubicBezTo>
                  <a:close/>
                  <a:moveTo>
                    <a:pt x="1366" y="73"/>
                  </a:moveTo>
                  <a:cubicBezTo>
                    <a:pt x="1366" y="73"/>
                    <a:pt x="1366" y="73"/>
                    <a:pt x="1366" y="73"/>
                  </a:cubicBezTo>
                  <a:cubicBezTo>
                    <a:pt x="1366" y="73"/>
                    <a:pt x="1366" y="73"/>
                    <a:pt x="1366" y="73"/>
                  </a:cubicBezTo>
                  <a:close/>
                  <a:moveTo>
                    <a:pt x="1536" y="73"/>
                  </a:moveTo>
                  <a:cubicBezTo>
                    <a:pt x="1537" y="73"/>
                    <a:pt x="1537" y="73"/>
                    <a:pt x="1537" y="73"/>
                  </a:cubicBezTo>
                  <a:cubicBezTo>
                    <a:pt x="1537" y="73"/>
                    <a:pt x="1537" y="73"/>
                    <a:pt x="1536" y="73"/>
                  </a:cubicBezTo>
                  <a:close/>
                  <a:moveTo>
                    <a:pt x="1705" y="73"/>
                  </a:moveTo>
                  <a:cubicBezTo>
                    <a:pt x="1705" y="73"/>
                    <a:pt x="1705" y="73"/>
                    <a:pt x="1705" y="73"/>
                  </a:cubicBezTo>
                  <a:cubicBezTo>
                    <a:pt x="1705" y="73"/>
                    <a:pt x="1705" y="73"/>
                    <a:pt x="1705" y="73"/>
                  </a:cubicBezTo>
                  <a:close/>
                  <a:moveTo>
                    <a:pt x="1147" y="38"/>
                  </a:moveTo>
                  <a:cubicBezTo>
                    <a:pt x="1147" y="38"/>
                    <a:pt x="1147" y="38"/>
                    <a:pt x="1148" y="38"/>
                  </a:cubicBezTo>
                  <a:cubicBezTo>
                    <a:pt x="1148" y="38"/>
                    <a:pt x="1147" y="38"/>
                    <a:pt x="1147" y="38"/>
                  </a:cubicBezTo>
                  <a:close/>
                  <a:moveTo>
                    <a:pt x="696" y="73"/>
                  </a:moveTo>
                  <a:cubicBezTo>
                    <a:pt x="696" y="73"/>
                    <a:pt x="697" y="73"/>
                    <a:pt x="697" y="73"/>
                  </a:cubicBezTo>
                  <a:cubicBezTo>
                    <a:pt x="697" y="73"/>
                    <a:pt x="697" y="73"/>
                    <a:pt x="696" y="73"/>
                  </a:cubicBezTo>
                  <a:close/>
                  <a:moveTo>
                    <a:pt x="1366" y="73"/>
                  </a:moveTo>
                  <a:cubicBezTo>
                    <a:pt x="1366" y="73"/>
                    <a:pt x="1365" y="73"/>
                    <a:pt x="1365" y="73"/>
                  </a:cubicBezTo>
                  <a:cubicBezTo>
                    <a:pt x="1366" y="73"/>
                    <a:pt x="1366" y="73"/>
                    <a:pt x="1366" y="73"/>
                  </a:cubicBezTo>
                  <a:close/>
                  <a:moveTo>
                    <a:pt x="1221" y="38"/>
                  </a:moveTo>
                  <a:cubicBezTo>
                    <a:pt x="1221" y="38"/>
                    <a:pt x="1221" y="38"/>
                    <a:pt x="1222" y="38"/>
                  </a:cubicBezTo>
                  <a:cubicBezTo>
                    <a:pt x="1221" y="38"/>
                    <a:pt x="1221" y="38"/>
                    <a:pt x="1221" y="38"/>
                  </a:cubicBezTo>
                  <a:close/>
                  <a:moveTo>
                    <a:pt x="1536" y="73"/>
                  </a:moveTo>
                  <a:cubicBezTo>
                    <a:pt x="1536" y="73"/>
                    <a:pt x="1536" y="73"/>
                    <a:pt x="1536" y="73"/>
                  </a:cubicBezTo>
                  <a:cubicBezTo>
                    <a:pt x="1536" y="73"/>
                    <a:pt x="1536" y="73"/>
                    <a:pt x="1536" y="73"/>
                  </a:cubicBezTo>
                  <a:close/>
                  <a:moveTo>
                    <a:pt x="1550" y="73"/>
                  </a:moveTo>
                  <a:cubicBezTo>
                    <a:pt x="1550" y="73"/>
                    <a:pt x="1550" y="73"/>
                    <a:pt x="1550" y="73"/>
                  </a:cubicBezTo>
                  <a:cubicBezTo>
                    <a:pt x="1550" y="73"/>
                    <a:pt x="1550" y="73"/>
                    <a:pt x="1550" y="73"/>
                  </a:cubicBezTo>
                  <a:close/>
                  <a:moveTo>
                    <a:pt x="550" y="38"/>
                  </a:moveTo>
                  <a:cubicBezTo>
                    <a:pt x="550" y="38"/>
                    <a:pt x="550" y="38"/>
                    <a:pt x="551" y="38"/>
                  </a:cubicBezTo>
                  <a:cubicBezTo>
                    <a:pt x="551" y="38"/>
                    <a:pt x="550" y="38"/>
                    <a:pt x="550" y="38"/>
                  </a:cubicBezTo>
                  <a:close/>
                  <a:moveTo>
                    <a:pt x="1704" y="73"/>
                  </a:moveTo>
                  <a:cubicBezTo>
                    <a:pt x="1704" y="73"/>
                    <a:pt x="1705" y="73"/>
                    <a:pt x="1705" y="73"/>
                  </a:cubicBezTo>
                  <a:cubicBezTo>
                    <a:pt x="1704" y="73"/>
                    <a:pt x="1704" y="73"/>
                    <a:pt x="1704" y="73"/>
                  </a:cubicBezTo>
                  <a:close/>
                  <a:moveTo>
                    <a:pt x="1718" y="73"/>
                  </a:moveTo>
                  <a:cubicBezTo>
                    <a:pt x="1718" y="73"/>
                    <a:pt x="1718" y="73"/>
                    <a:pt x="1718" y="73"/>
                  </a:cubicBezTo>
                  <a:cubicBezTo>
                    <a:pt x="1718" y="73"/>
                    <a:pt x="1718" y="73"/>
                    <a:pt x="1718" y="73"/>
                  </a:cubicBezTo>
                  <a:close/>
                  <a:moveTo>
                    <a:pt x="611" y="118"/>
                  </a:moveTo>
                  <a:cubicBezTo>
                    <a:pt x="611" y="118"/>
                    <a:pt x="611" y="118"/>
                    <a:pt x="611" y="118"/>
                  </a:cubicBezTo>
                  <a:cubicBezTo>
                    <a:pt x="611" y="118"/>
                    <a:pt x="611" y="118"/>
                    <a:pt x="611" y="118"/>
                  </a:cubicBezTo>
                  <a:close/>
                  <a:moveTo>
                    <a:pt x="833" y="38"/>
                  </a:moveTo>
                  <a:cubicBezTo>
                    <a:pt x="834" y="38"/>
                    <a:pt x="834" y="38"/>
                    <a:pt x="834" y="38"/>
                  </a:cubicBezTo>
                  <a:cubicBezTo>
                    <a:pt x="834" y="38"/>
                    <a:pt x="833" y="38"/>
                    <a:pt x="833" y="38"/>
                  </a:cubicBezTo>
                  <a:close/>
                  <a:moveTo>
                    <a:pt x="863" y="38"/>
                  </a:moveTo>
                  <a:cubicBezTo>
                    <a:pt x="863" y="38"/>
                    <a:pt x="863" y="38"/>
                    <a:pt x="863" y="38"/>
                  </a:cubicBezTo>
                  <a:cubicBezTo>
                    <a:pt x="863" y="38"/>
                    <a:pt x="863" y="38"/>
                    <a:pt x="863" y="38"/>
                  </a:cubicBezTo>
                  <a:close/>
                  <a:moveTo>
                    <a:pt x="610" y="119"/>
                  </a:moveTo>
                  <a:cubicBezTo>
                    <a:pt x="610" y="119"/>
                    <a:pt x="611" y="119"/>
                    <a:pt x="611" y="119"/>
                  </a:cubicBezTo>
                  <a:cubicBezTo>
                    <a:pt x="610" y="119"/>
                    <a:pt x="610" y="119"/>
                    <a:pt x="610" y="119"/>
                  </a:cubicBezTo>
                  <a:close/>
                  <a:moveTo>
                    <a:pt x="874" y="38"/>
                  </a:moveTo>
                  <a:cubicBezTo>
                    <a:pt x="875" y="38"/>
                    <a:pt x="875" y="38"/>
                    <a:pt x="875" y="38"/>
                  </a:cubicBezTo>
                  <a:cubicBezTo>
                    <a:pt x="875" y="38"/>
                    <a:pt x="874" y="38"/>
                    <a:pt x="874" y="38"/>
                  </a:cubicBezTo>
                  <a:close/>
                  <a:moveTo>
                    <a:pt x="610" y="119"/>
                  </a:moveTo>
                  <a:cubicBezTo>
                    <a:pt x="610" y="119"/>
                    <a:pt x="610" y="119"/>
                    <a:pt x="610" y="119"/>
                  </a:cubicBezTo>
                  <a:cubicBezTo>
                    <a:pt x="610" y="119"/>
                    <a:pt x="610" y="119"/>
                    <a:pt x="610" y="119"/>
                  </a:cubicBezTo>
                  <a:close/>
                  <a:moveTo>
                    <a:pt x="610" y="120"/>
                  </a:moveTo>
                  <a:cubicBezTo>
                    <a:pt x="610" y="120"/>
                    <a:pt x="610" y="120"/>
                    <a:pt x="610" y="119"/>
                  </a:cubicBezTo>
                  <a:cubicBezTo>
                    <a:pt x="610" y="119"/>
                    <a:pt x="610" y="119"/>
                    <a:pt x="610" y="120"/>
                  </a:cubicBezTo>
                  <a:close/>
                  <a:moveTo>
                    <a:pt x="906" y="38"/>
                  </a:moveTo>
                  <a:cubicBezTo>
                    <a:pt x="906" y="38"/>
                    <a:pt x="906" y="38"/>
                    <a:pt x="906" y="38"/>
                  </a:cubicBezTo>
                  <a:cubicBezTo>
                    <a:pt x="906" y="38"/>
                    <a:pt x="906" y="38"/>
                    <a:pt x="906" y="38"/>
                  </a:cubicBezTo>
                  <a:close/>
                  <a:moveTo>
                    <a:pt x="609" y="120"/>
                  </a:moveTo>
                  <a:cubicBezTo>
                    <a:pt x="609" y="120"/>
                    <a:pt x="610" y="120"/>
                    <a:pt x="610" y="120"/>
                  </a:cubicBezTo>
                  <a:cubicBezTo>
                    <a:pt x="609" y="120"/>
                    <a:pt x="609" y="120"/>
                    <a:pt x="609" y="120"/>
                  </a:cubicBezTo>
                  <a:close/>
                  <a:moveTo>
                    <a:pt x="609" y="120"/>
                  </a:moveTo>
                  <a:cubicBezTo>
                    <a:pt x="609" y="120"/>
                    <a:pt x="609" y="120"/>
                    <a:pt x="609" y="120"/>
                  </a:cubicBezTo>
                  <a:cubicBezTo>
                    <a:pt x="609" y="120"/>
                    <a:pt x="609" y="120"/>
                    <a:pt x="609" y="120"/>
                  </a:cubicBezTo>
                  <a:close/>
                  <a:moveTo>
                    <a:pt x="621" y="120"/>
                  </a:moveTo>
                  <a:cubicBezTo>
                    <a:pt x="621" y="120"/>
                    <a:pt x="621" y="120"/>
                    <a:pt x="621" y="120"/>
                  </a:cubicBezTo>
                  <a:cubicBezTo>
                    <a:pt x="621" y="120"/>
                    <a:pt x="621" y="120"/>
                    <a:pt x="621" y="120"/>
                  </a:cubicBezTo>
                  <a:close/>
                  <a:moveTo>
                    <a:pt x="609" y="121"/>
                  </a:moveTo>
                  <a:cubicBezTo>
                    <a:pt x="609" y="121"/>
                    <a:pt x="609" y="121"/>
                    <a:pt x="609" y="120"/>
                  </a:cubicBezTo>
                  <a:cubicBezTo>
                    <a:pt x="609" y="120"/>
                    <a:pt x="609" y="121"/>
                    <a:pt x="609" y="121"/>
                  </a:cubicBezTo>
                  <a:close/>
                  <a:moveTo>
                    <a:pt x="1043" y="38"/>
                  </a:moveTo>
                  <a:cubicBezTo>
                    <a:pt x="1043" y="38"/>
                    <a:pt x="1043" y="38"/>
                    <a:pt x="1043" y="38"/>
                  </a:cubicBezTo>
                  <a:cubicBezTo>
                    <a:pt x="1043" y="38"/>
                    <a:pt x="1043" y="38"/>
                    <a:pt x="1043" y="38"/>
                  </a:cubicBezTo>
                  <a:close/>
                  <a:moveTo>
                    <a:pt x="608" y="121"/>
                  </a:moveTo>
                  <a:cubicBezTo>
                    <a:pt x="608" y="121"/>
                    <a:pt x="608" y="121"/>
                    <a:pt x="609" y="121"/>
                  </a:cubicBezTo>
                  <a:cubicBezTo>
                    <a:pt x="608" y="121"/>
                    <a:pt x="608" y="121"/>
                    <a:pt x="608" y="121"/>
                  </a:cubicBezTo>
                  <a:close/>
                  <a:moveTo>
                    <a:pt x="608" y="121"/>
                  </a:moveTo>
                  <a:cubicBezTo>
                    <a:pt x="608" y="121"/>
                    <a:pt x="608" y="121"/>
                    <a:pt x="608" y="121"/>
                  </a:cubicBezTo>
                  <a:cubicBezTo>
                    <a:pt x="608" y="121"/>
                    <a:pt x="608" y="121"/>
                    <a:pt x="608" y="121"/>
                  </a:cubicBezTo>
                  <a:close/>
                  <a:moveTo>
                    <a:pt x="1077" y="38"/>
                  </a:moveTo>
                  <a:cubicBezTo>
                    <a:pt x="1077" y="38"/>
                    <a:pt x="1077" y="38"/>
                    <a:pt x="1078" y="38"/>
                  </a:cubicBezTo>
                  <a:cubicBezTo>
                    <a:pt x="1078" y="38"/>
                    <a:pt x="1077" y="38"/>
                    <a:pt x="1077" y="38"/>
                  </a:cubicBezTo>
                  <a:close/>
                  <a:moveTo>
                    <a:pt x="1148" y="38"/>
                  </a:moveTo>
                  <a:cubicBezTo>
                    <a:pt x="1148" y="38"/>
                    <a:pt x="1148" y="38"/>
                    <a:pt x="1148" y="38"/>
                  </a:cubicBezTo>
                  <a:cubicBezTo>
                    <a:pt x="1148" y="38"/>
                    <a:pt x="1148" y="38"/>
                    <a:pt x="1148" y="38"/>
                  </a:cubicBezTo>
                  <a:close/>
                  <a:moveTo>
                    <a:pt x="620" y="122"/>
                  </a:moveTo>
                  <a:cubicBezTo>
                    <a:pt x="620" y="122"/>
                    <a:pt x="620" y="122"/>
                    <a:pt x="620" y="122"/>
                  </a:cubicBezTo>
                  <a:cubicBezTo>
                    <a:pt x="620" y="122"/>
                    <a:pt x="620" y="122"/>
                    <a:pt x="620" y="122"/>
                  </a:cubicBezTo>
                  <a:close/>
                  <a:moveTo>
                    <a:pt x="1255" y="38"/>
                  </a:moveTo>
                  <a:cubicBezTo>
                    <a:pt x="1255" y="38"/>
                    <a:pt x="1255" y="38"/>
                    <a:pt x="1256" y="38"/>
                  </a:cubicBezTo>
                  <a:cubicBezTo>
                    <a:pt x="1255" y="38"/>
                    <a:pt x="1255" y="38"/>
                    <a:pt x="1255" y="38"/>
                  </a:cubicBezTo>
                  <a:close/>
                  <a:moveTo>
                    <a:pt x="760" y="39"/>
                  </a:moveTo>
                  <a:cubicBezTo>
                    <a:pt x="760" y="38"/>
                    <a:pt x="761" y="38"/>
                    <a:pt x="761" y="38"/>
                  </a:cubicBezTo>
                  <a:cubicBezTo>
                    <a:pt x="760" y="38"/>
                    <a:pt x="760" y="38"/>
                    <a:pt x="760" y="39"/>
                  </a:cubicBezTo>
                  <a:close/>
                  <a:moveTo>
                    <a:pt x="796" y="38"/>
                  </a:moveTo>
                  <a:cubicBezTo>
                    <a:pt x="796" y="38"/>
                    <a:pt x="796" y="39"/>
                    <a:pt x="796" y="39"/>
                  </a:cubicBezTo>
                  <a:cubicBezTo>
                    <a:pt x="796" y="38"/>
                    <a:pt x="796" y="38"/>
                    <a:pt x="796" y="38"/>
                  </a:cubicBezTo>
                  <a:close/>
                  <a:moveTo>
                    <a:pt x="1536" y="74"/>
                  </a:moveTo>
                  <a:cubicBezTo>
                    <a:pt x="1536" y="74"/>
                    <a:pt x="1536" y="74"/>
                    <a:pt x="1536" y="73"/>
                  </a:cubicBezTo>
                  <a:cubicBezTo>
                    <a:pt x="1536" y="73"/>
                    <a:pt x="1536" y="74"/>
                    <a:pt x="1536" y="74"/>
                  </a:cubicBezTo>
                  <a:close/>
                  <a:moveTo>
                    <a:pt x="1550" y="73"/>
                  </a:moveTo>
                  <a:cubicBezTo>
                    <a:pt x="1549" y="73"/>
                    <a:pt x="1549" y="73"/>
                    <a:pt x="1549" y="74"/>
                  </a:cubicBezTo>
                  <a:cubicBezTo>
                    <a:pt x="1549" y="74"/>
                    <a:pt x="1550" y="73"/>
                    <a:pt x="1550" y="73"/>
                  </a:cubicBezTo>
                  <a:close/>
                  <a:moveTo>
                    <a:pt x="1675" y="73"/>
                  </a:moveTo>
                  <a:cubicBezTo>
                    <a:pt x="1675" y="74"/>
                    <a:pt x="1675" y="74"/>
                    <a:pt x="1675" y="74"/>
                  </a:cubicBezTo>
                  <a:cubicBezTo>
                    <a:pt x="1675" y="74"/>
                    <a:pt x="1675" y="73"/>
                    <a:pt x="1675" y="73"/>
                  </a:cubicBezTo>
                  <a:close/>
                  <a:moveTo>
                    <a:pt x="620" y="123"/>
                  </a:moveTo>
                  <a:cubicBezTo>
                    <a:pt x="619" y="123"/>
                    <a:pt x="619" y="123"/>
                    <a:pt x="619" y="123"/>
                  </a:cubicBezTo>
                  <a:cubicBezTo>
                    <a:pt x="619" y="123"/>
                    <a:pt x="619" y="123"/>
                    <a:pt x="620" y="123"/>
                  </a:cubicBezTo>
                  <a:close/>
                  <a:moveTo>
                    <a:pt x="1704" y="74"/>
                  </a:moveTo>
                  <a:cubicBezTo>
                    <a:pt x="1704" y="74"/>
                    <a:pt x="1704" y="74"/>
                    <a:pt x="1704" y="73"/>
                  </a:cubicBezTo>
                  <a:cubicBezTo>
                    <a:pt x="1704" y="73"/>
                    <a:pt x="1704" y="74"/>
                    <a:pt x="1704" y="74"/>
                  </a:cubicBezTo>
                  <a:close/>
                  <a:moveTo>
                    <a:pt x="1718" y="73"/>
                  </a:moveTo>
                  <a:cubicBezTo>
                    <a:pt x="1718" y="73"/>
                    <a:pt x="1717" y="73"/>
                    <a:pt x="1717" y="74"/>
                  </a:cubicBezTo>
                  <a:cubicBezTo>
                    <a:pt x="1718" y="74"/>
                    <a:pt x="1718" y="73"/>
                    <a:pt x="1718" y="73"/>
                  </a:cubicBezTo>
                  <a:close/>
                  <a:moveTo>
                    <a:pt x="833" y="39"/>
                  </a:moveTo>
                  <a:cubicBezTo>
                    <a:pt x="833" y="39"/>
                    <a:pt x="833" y="38"/>
                    <a:pt x="833" y="38"/>
                  </a:cubicBezTo>
                  <a:cubicBezTo>
                    <a:pt x="833" y="38"/>
                    <a:pt x="833" y="38"/>
                    <a:pt x="833" y="39"/>
                  </a:cubicBezTo>
                  <a:close/>
                  <a:moveTo>
                    <a:pt x="863" y="38"/>
                  </a:moveTo>
                  <a:cubicBezTo>
                    <a:pt x="863" y="38"/>
                    <a:pt x="863" y="39"/>
                    <a:pt x="864" y="39"/>
                  </a:cubicBezTo>
                  <a:cubicBezTo>
                    <a:pt x="864" y="38"/>
                    <a:pt x="863" y="38"/>
                    <a:pt x="863" y="38"/>
                  </a:cubicBezTo>
                  <a:close/>
                  <a:moveTo>
                    <a:pt x="618" y="124"/>
                  </a:moveTo>
                  <a:cubicBezTo>
                    <a:pt x="618" y="124"/>
                    <a:pt x="618" y="124"/>
                    <a:pt x="618" y="124"/>
                  </a:cubicBezTo>
                  <a:cubicBezTo>
                    <a:pt x="618" y="124"/>
                    <a:pt x="618" y="124"/>
                    <a:pt x="618" y="124"/>
                  </a:cubicBezTo>
                  <a:close/>
                  <a:moveTo>
                    <a:pt x="618" y="124"/>
                  </a:moveTo>
                  <a:cubicBezTo>
                    <a:pt x="618" y="125"/>
                    <a:pt x="618" y="125"/>
                    <a:pt x="618" y="125"/>
                  </a:cubicBezTo>
                  <a:cubicBezTo>
                    <a:pt x="618" y="125"/>
                    <a:pt x="618" y="125"/>
                    <a:pt x="618" y="124"/>
                  </a:cubicBezTo>
                  <a:close/>
                  <a:moveTo>
                    <a:pt x="874" y="39"/>
                  </a:moveTo>
                  <a:cubicBezTo>
                    <a:pt x="874" y="38"/>
                    <a:pt x="874" y="38"/>
                    <a:pt x="874" y="38"/>
                  </a:cubicBezTo>
                  <a:cubicBezTo>
                    <a:pt x="874" y="38"/>
                    <a:pt x="874" y="38"/>
                    <a:pt x="874" y="39"/>
                  </a:cubicBezTo>
                  <a:close/>
                  <a:moveTo>
                    <a:pt x="617" y="126"/>
                  </a:moveTo>
                  <a:cubicBezTo>
                    <a:pt x="617" y="126"/>
                    <a:pt x="617" y="126"/>
                    <a:pt x="617" y="126"/>
                  </a:cubicBezTo>
                  <a:cubicBezTo>
                    <a:pt x="617" y="126"/>
                    <a:pt x="617" y="126"/>
                    <a:pt x="617" y="126"/>
                  </a:cubicBezTo>
                  <a:close/>
                  <a:moveTo>
                    <a:pt x="617" y="126"/>
                  </a:moveTo>
                  <a:cubicBezTo>
                    <a:pt x="617" y="126"/>
                    <a:pt x="616" y="126"/>
                    <a:pt x="616" y="127"/>
                  </a:cubicBezTo>
                  <a:cubicBezTo>
                    <a:pt x="617" y="126"/>
                    <a:pt x="617" y="126"/>
                    <a:pt x="617" y="126"/>
                  </a:cubicBezTo>
                  <a:close/>
                  <a:moveTo>
                    <a:pt x="616" y="126"/>
                  </a:moveTo>
                  <a:cubicBezTo>
                    <a:pt x="616" y="127"/>
                    <a:pt x="616" y="127"/>
                    <a:pt x="616" y="127"/>
                  </a:cubicBezTo>
                  <a:cubicBezTo>
                    <a:pt x="616" y="127"/>
                    <a:pt x="616" y="127"/>
                    <a:pt x="616" y="126"/>
                  </a:cubicBezTo>
                  <a:close/>
                  <a:moveTo>
                    <a:pt x="616" y="127"/>
                  </a:moveTo>
                  <a:cubicBezTo>
                    <a:pt x="616" y="127"/>
                    <a:pt x="616" y="127"/>
                    <a:pt x="616" y="127"/>
                  </a:cubicBezTo>
                  <a:cubicBezTo>
                    <a:pt x="616" y="127"/>
                    <a:pt x="616" y="127"/>
                    <a:pt x="616" y="127"/>
                  </a:cubicBezTo>
                  <a:close/>
                  <a:moveTo>
                    <a:pt x="616" y="127"/>
                  </a:moveTo>
                  <a:cubicBezTo>
                    <a:pt x="615" y="127"/>
                    <a:pt x="615" y="127"/>
                    <a:pt x="615" y="128"/>
                  </a:cubicBezTo>
                  <a:cubicBezTo>
                    <a:pt x="616" y="128"/>
                    <a:pt x="616" y="127"/>
                    <a:pt x="616" y="127"/>
                  </a:cubicBezTo>
                  <a:close/>
                  <a:moveTo>
                    <a:pt x="615" y="128"/>
                  </a:moveTo>
                  <a:cubicBezTo>
                    <a:pt x="615" y="128"/>
                    <a:pt x="615" y="128"/>
                    <a:pt x="615" y="128"/>
                  </a:cubicBezTo>
                  <a:cubicBezTo>
                    <a:pt x="615" y="128"/>
                    <a:pt x="615" y="128"/>
                    <a:pt x="615" y="128"/>
                  </a:cubicBezTo>
                  <a:close/>
                  <a:moveTo>
                    <a:pt x="1365" y="74"/>
                  </a:moveTo>
                  <a:cubicBezTo>
                    <a:pt x="1365" y="74"/>
                    <a:pt x="1365" y="74"/>
                    <a:pt x="1364" y="74"/>
                  </a:cubicBezTo>
                  <a:cubicBezTo>
                    <a:pt x="1365" y="74"/>
                    <a:pt x="1365" y="74"/>
                    <a:pt x="1365" y="74"/>
                  </a:cubicBezTo>
                  <a:close/>
                  <a:moveTo>
                    <a:pt x="614" y="129"/>
                  </a:moveTo>
                  <a:cubicBezTo>
                    <a:pt x="614" y="129"/>
                    <a:pt x="614" y="129"/>
                    <a:pt x="614" y="129"/>
                  </a:cubicBezTo>
                  <a:cubicBezTo>
                    <a:pt x="614" y="129"/>
                    <a:pt x="614" y="129"/>
                    <a:pt x="614" y="129"/>
                  </a:cubicBezTo>
                  <a:close/>
                  <a:moveTo>
                    <a:pt x="614" y="129"/>
                  </a:moveTo>
                  <a:cubicBezTo>
                    <a:pt x="613" y="129"/>
                    <a:pt x="613" y="129"/>
                    <a:pt x="613" y="129"/>
                  </a:cubicBezTo>
                  <a:cubicBezTo>
                    <a:pt x="613" y="129"/>
                    <a:pt x="614" y="129"/>
                    <a:pt x="614" y="129"/>
                  </a:cubicBezTo>
                  <a:close/>
                  <a:moveTo>
                    <a:pt x="1535" y="74"/>
                  </a:moveTo>
                  <a:cubicBezTo>
                    <a:pt x="1536" y="74"/>
                    <a:pt x="1536" y="74"/>
                    <a:pt x="1536" y="74"/>
                  </a:cubicBezTo>
                  <a:cubicBezTo>
                    <a:pt x="1536" y="74"/>
                    <a:pt x="1536" y="74"/>
                    <a:pt x="1535" y="74"/>
                  </a:cubicBezTo>
                  <a:close/>
                  <a:moveTo>
                    <a:pt x="613" y="130"/>
                  </a:moveTo>
                  <a:cubicBezTo>
                    <a:pt x="612" y="130"/>
                    <a:pt x="612" y="130"/>
                    <a:pt x="612" y="130"/>
                  </a:cubicBezTo>
                  <a:cubicBezTo>
                    <a:pt x="612" y="130"/>
                    <a:pt x="612" y="130"/>
                    <a:pt x="613" y="130"/>
                  </a:cubicBezTo>
                  <a:close/>
                  <a:moveTo>
                    <a:pt x="906" y="38"/>
                  </a:moveTo>
                  <a:cubicBezTo>
                    <a:pt x="906" y="38"/>
                    <a:pt x="906" y="39"/>
                    <a:pt x="906" y="39"/>
                  </a:cubicBezTo>
                  <a:cubicBezTo>
                    <a:pt x="906" y="38"/>
                    <a:pt x="906" y="38"/>
                    <a:pt x="906" y="38"/>
                  </a:cubicBezTo>
                  <a:close/>
                  <a:moveTo>
                    <a:pt x="612" y="130"/>
                  </a:moveTo>
                  <a:cubicBezTo>
                    <a:pt x="611" y="130"/>
                    <a:pt x="611" y="130"/>
                    <a:pt x="611" y="131"/>
                  </a:cubicBezTo>
                  <a:cubicBezTo>
                    <a:pt x="611" y="131"/>
                    <a:pt x="611" y="131"/>
                    <a:pt x="612" y="130"/>
                  </a:cubicBezTo>
                  <a:close/>
                  <a:moveTo>
                    <a:pt x="611" y="131"/>
                  </a:moveTo>
                  <a:cubicBezTo>
                    <a:pt x="611" y="131"/>
                    <a:pt x="611" y="131"/>
                    <a:pt x="610" y="131"/>
                  </a:cubicBezTo>
                  <a:cubicBezTo>
                    <a:pt x="611" y="131"/>
                    <a:pt x="611" y="131"/>
                    <a:pt x="611" y="131"/>
                  </a:cubicBezTo>
                  <a:close/>
                  <a:moveTo>
                    <a:pt x="1078" y="38"/>
                  </a:moveTo>
                  <a:cubicBezTo>
                    <a:pt x="1078" y="38"/>
                    <a:pt x="1078" y="38"/>
                    <a:pt x="1078" y="38"/>
                  </a:cubicBezTo>
                  <a:cubicBezTo>
                    <a:pt x="1078" y="38"/>
                    <a:pt x="1078" y="38"/>
                    <a:pt x="1078" y="38"/>
                  </a:cubicBezTo>
                  <a:close/>
                  <a:moveTo>
                    <a:pt x="1704" y="74"/>
                  </a:moveTo>
                  <a:cubicBezTo>
                    <a:pt x="1704" y="74"/>
                    <a:pt x="1704" y="74"/>
                    <a:pt x="1704" y="74"/>
                  </a:cubicBezTo>
                  <a:cubicBezTo>
                    <a:pt x="1704" y="74"/>
                    <a:pt x="1704" y="74"/>
                    <a:pt x="1704" y="74"/>
                  </a:cubicBezTo>
                  <a:close/>
                  <a:moveTo>
                    <a:pt x="1116" y="39"/>
                  </a:moveTo>
                  <a:cubicBezTo>
                    <a:pt x="1116" y="39"/>
                    <a:pt x="1116" y="38"/>
                    <a:pt x="1116" y="38"/>
                  </a:cubicBezTo>
                  <a:cubicBezTo>
                    <a:pt x="1116" y="38"/>
                    <a:pt x="1116" y="38"/>
                    <a:pt x="1116" y="39"/>
                  </a:cubicBezTo>
                  <a:close/>
                  <a:moveTo>
                    <a:pt x="1148" y="38"/>
                  </a:moveTo>
                  <a:cubicBezTo>
                    <a:pt x="1148" y="38"/>
                    <a:pt x="1148" y="39"/>
                    <a:pt x="1148" y="39"/>
                  </a:cubicBezTo>
                  <a:cubicBezTo>
                    <a:pt x="1148" y="38"/>
                    <a:pt x="1148" y="38"/>
                    <a:pt x="1148" y="38"/>
                  </a:cubicBezTo>
                  <a:close/>
                  <a:moveTo>
                    <a:pt x="1255" y="38"/>
                  </a:moveTo>
                  <a:cubicBezTo>
                    <a:pt x="1256" y="38"/>
                    <a:pt x="1256" y="39"/>
                    <a:pt x="1256" y="39"/>
                  </a:cubicBezTo>
                  <a:cubicBezTo>
                    <a:pt x="1256" y="38"/>
                    <a:pt x="1256" y="38"/>
                    <a:pt x="1255" y="38"/>
                  </a:cubicBezTo>
                  <a:close/>
                  <a:moveTo>
                    <a:pt x="664" y="39"/>
                  </a:moveTo>
                  <a:cubicBezTo>
                    <a:pt x="664" y="39"/>
                    <a:pt x="665" y="39"/>
                    <a:pt x="665" y="39"/>
                  </a:cubicBezTo>
                  <a:cubicBezTo>
                    <a:pt x="664" y="39"/>
                    <a:pt x="664" y="39"/>
                    <a:pt x="664" y="39"/>
                  </a:cubicBezTo>
                  <a:close/>
                  <a:moveTo>
                    <a:pt x="1044" y="84"/>
                  </a:moveTo>
                  <a:cubicBezTo>
                    <a:pt x="1044" y="84"/>
                    <a:pt x="1044" y="84"/>
                    <a:pt x="1044" y="84"/>
                  </a:cubicBezTo>
                  <a:cubicBezTo>
                    <a:pt x="1044" y="84"/>
                    <a:pt x="1044" y="84"/>
                    <a:pt x="1044" y="84"/>
                  </a:cubicBezTo>
                  <a:close/>
                  <a:moveTo>
                    <a:pt x="1638" y="50"/>
                  </a:moveTo>
                  <a:cubicBezTo>
                    <a:pt x="1638" y="51"/>
                    <a:pt x="1639" y="51"/>
                    <a:pt x="1639" y="51"/>
                  </a:cubicBezTo>
                  <a:cubicBezTo>
                    <a:pt x="1645" y="51"/>
                    <a:pt x="1650" y="52"/>
                    <a:pt x="1655" y="51"/>
                  </a:cubicBezTo>
                  <a:cubicBezTo>
                    <a:pt x="1659" y="51"/>
                    <a:pt x="1663" y="50"/>
                    <a:pt x="1665" y="48"/>
                  </a:cubicBezTo>
                  <a:cubicBezTo>
                    <a:pt x="1672" y="43"/>
                    <a:pt x="1673" y="37"/>
                    <a:pt x="1672" y="30"/>
                  </a:cubicBezTo>
                  <a:cubicBezTo>
                    <a:pt x="1671" y="24"/>
                    <a:pt x="1668" y="21"/>
                    <a:pt x="1663" y="19"/>
                  </a:cubicBezTo>
                  <a:cubicBezTo>
                    <a:pt x="1661" y="18"/>
                    <a:pt x="1659" y="18"/>
                    <a:pt x="1657" y="18"/>
                  </a:cubicBezTo>
                  <a:cubicBezTo>
                    <a:pt x="1651" y="17"/>
                    <a:pt x="1646" y="17"/>
                    <a:pt x="1640" y="17"/>
                  </a:cubicBezTo>
                  <a:cubicBezTo>
                    <a:pt x="1639" y="17"/>
                    <a:pt x="1639" y="17"/>
                    <a:pt x="1639" y="19"/>
                  </a:cubicBezTo>
                  <a:cubicBezTo>
                    <a:pt x="1638" y="24"/>
                    <a:pt x="1638" y="29"/>
                    <a:pt x="1638" y="34"/>
                  </a:cubicBezTo>
                  <a:cubicBezTo>
                    <a:pt x="1638" y="40"/>
                    <a:pt x="1639" y="45"/>
                    <a:pt x="1638" y="50"/>
                  </a:cubicBezTo>
                  <a:close/>
                  <a:moveTo>
                    <a:pt x="1422" y="75"/>
                  </a:moveTo>
                  <a:cubicBezTo>
                    <a:pt x="1423" y="79"/>
                    <a:pt x="1425" y="84"/>
                    <a:pt x="1427" y="87"/>
                  </a:cubicBezTo>
                  <a:cubicBezTo>
                    <a:pt x="1432" y="94"/>
                    <a:pt x="1439" y="95"/>
                    <a:pt x="1445" y="93"/>
                  </a:cubicBezTo>
                  <a:cubicBezTo>
                    <a:pt x="1450" y="92"/>
                    <a:pt x="1452" y="89"/>
                    <a:pt x="1455" y="85"/>
                  </a:cubicBezTo>
                  <a:cubicBezTo>
                    <a:pt x="1457" y="80"/>
                    <a:pt x="1458" y="75"/>
                    <a:pt x="1459" y="70"/>
                  </a:cubicBezTo>
                  <a:cubicBezTo>
                    <a:pt x="1460" y="64"/>
                    <a:pt x="1460" y="57"/>
                    <a:pt x="1460" y="51"/>
                  </a:cubicBezTo>
                  <a:cubicBezTo>
                    <a:pt x="1459" y="45"/>
                    <a:pt x="1459" y="38"/>
                    <a:pt x="1457" y="32"/>
                  </a:cubicBezTo>
                  <a:cubicBezTo>
                    <a:pt x="1456" y="28"/>
                    <a:pt x="1455" y="25"/>
                    <a:pt x="1453" y="21"/>
                  </a:cubicBezTo>
                  <a:cubicBezTo>
                    <a:pt x="1449" y="16"/>
                    <a:pt x="1444" y="14"/>
                    <a:pt x="1437" y="15"/>
                  </a:cubicBezTo>
                  <a:cubicBezTo>
                    <a:pt x="1432" y="16"/>
                    <a:pt x="1429" y="19"/>
                    <a:pt x="1427" y="23"/>
                  </a:cubicBezTo>
                  <a:cubicBezTo>
                    <a:pt x="1425" y="26"/>
                    <a:pt x="1424" y="30"/>
                    <a:pt x="1423" y="34"/>
                  </a:cubicBezTo>
                  <a:cubicBezTo>
                    <a:pt x="1421" y="41"/>
                    <a:pt x="1421" y="48"/>
                    <a:pt x="1421" y="54"/>
                  </a:cubicBezTo>
                  <a:cubicBezTo>
                    <a:pt x="1421" y="62"/>
                    <a:pt x="1421" y="69"/>
                    <a:pt x="1422" y="75"/>
                  </a:cubicBezTo>
                  <a:close/>
                  <a:moveTo>
                    <a:pt x="1043" y="61"/>
                  </a:moveTo>
                  <a:cubicBezTo>
                    <a:pt x="1052" y="61"/>
                    <a:pt x="1062" y="61"/>
                    <a:pt x="1072" y="61"/>
                  </a:cubicBezTo>
                  <a:cubicBezTo>
                    <a:pt x="1073" y="61"/>
                    <a:pt x="1075" y="61"/>
                    <a:pt x="1076" y="61"/>
                  </a:cubicBezTo>
                  <a:cubicBezTo>
                    <a:pt x="1077" y="61"/>
                    <a:pt x="1077" y="61"/>
                    <a:pt x="1077" y="60"/>
                  </a:cubicBezTo>
                  <a:cubicBezTo>
                    <a:pt x="1077" y="57"/>
                    <a:pt x="1076" y="54"/>
                    <a:pt x="1075" y="51"/>
                  </a:cubicBezTo>
                  <a:cubicBezTo>
                    <a:pt x="1073" y="47"/>
                    <a:pt x="1070" y="44"/>
                    <a:pt x="1066" y="43"/>
                  </a:cubicBezTo>
                  <a:cubicBezTo>
                    <a:pt x="1062" y="42"/>
                    <a:pt x="1059" y="42"/>
                    <a:pt x="1055" y="43"/>
                  </a:cubicBezTo>
                  <a:cubicBezTo>
                    <a:pt x="1048" y="44"/>
                    <a:pt x="1042" y="52"/>
                    <a:pt x="1041" y="61"/>
                  </a:cubicBezTo>
                  <a:cubicBezTo>
                    <a:pt x="1041" y="61"/>
                    <a:pt x="1042" y="61"/>
                    <a:pt x="1043" y="61"/>
                  </a:cubicBezTo>
                  <a:close/>
                  <a:moveTo>
                    <a:pt x="760" y="61"/>
                  </a:moveTo>
                  <a:cubicBezTo>
                    <a:pt x="771" y="61"/>
                    <a:pt x="782" y="61"/>
                    <a:pt x="793" y="61"/>
                  </a:cubicBezTo>
                  <a:cubicBezTo>
                    <a:pt x="793" y="61"/>
                    <a:pt x="793" y="61"/>
                    <a:pt x="794" y="61"/>
                  </a:cubicBezTo>
                  <a:cubicBezTo>
                    <a:pt x="794" y="62"/>
                    <a:pt x="795" y="61"/>
                    <a:pt x="795" y="60"/>
                  </a:cubicBezTo>
                  <a:cubicBezTo>
                    <a:pt x="794" y="57"/>
                    <a:pt x="794" y="53"/>
                    <a:pt x="792" y="49"/>
                  </a:cubicBezTo>
                  <a:cubicBezTo>
                    <a:pt x="790" y="47"/>
                    <a:pt x="788" y="44"/>
                    <a:pt x="785" y="43"/>
                  </a:cubicBezTo>
                  <a:cubicBezTo>
                    <a:pt x="779" y="41"/>
                    <a:pt x="773" y="41"/>
                    <a:pt x="767" y="45"/>
                  </a:cubicBezTo>
                  <a:cubicBezTo>
                    <a:pt x="762" y="49"/>
                    <a:pt x="760" y="55"/>
                    <a:pt x="758" y="61"/>
                  </a:cubicBezTo>
                  <a:cubicBezTo>
                    <a:pt x="759" y="62"/>
                    <a:pt x="760" y="61"/>
                    <a:pt x="760" y="61"/>
                  </a:cubicBezTo>
                  <a:close/>
                  <a:moveTo>
                    <a:pt x="1221" y="61"/>
                  </a:moveTo>
                  <a:cubicBezTo>
                    <a:pt x="1229" y="61"/>
                    <a:pt x="1238" y="61"/>
                    <a:pt x="1247" y="61"/>
                  </a:cubicBezTo>
                  <a:cubicBezTo>
                    <a:pt x="1249" y="61"/>
                    <a:pt x="1251" y="61"/>
                    <a:pt x="1254" y="61"/>
                  </a:cubicBezTo>
                  <a:cubicBezTo>
                    <a:pt x="1254" y="61"/>
                    <a:pt x="1255" y="61"/>
                    <a:pt x="1255" y="60"/>
                  </a:cubicBezTo>
                  <a:cubicBezTo>
                    <a:pt x="1254" y="57"/>
                    <a:pt x="1254" y="53"/>
                    <a:pt x="1252" y="50"/>
                  </a:cubicBezTo>
                  <a:cubicBezTo>
                    <a:pt x="1250" y="47"/>
                    <a:pt x="1248" y="44"/>
                    <a:pt x="1245" y="43"/>
                  </a:cubicBezTo>
                  <a:cubicBezTo>
                    <a:pt x="1239" y="41"/>
                    <a:pt x="1234" y="41"/>
                    <a:pt x="1229" y="45"/>
                  </a:cubicBezTo>
                  <a:cubicBezTo>
                    <a:pt x="1222" y="48"/>
                    <a:pt x="1220" y="54"/>
                    <a:pt x="1218" y="61"/>
                  </a:cubicBezTo>
                  <a:cubicBezTo>
                    <a:pt x="1219" y="61"/>
                    <a:pt x="1220" y="61"/>
                    <a:pt x="1221" y="61"/>
                  </a:cubicBezTo>
                  <a:close/>
                  <a:moveTo>
                    <a:pt x="248" y="73"/>
                  </a:moveTo>
                  <a:cubicBezTo>
                    <a:pt x="248" y="75"/>
                    <a:pt x="248" y="77"/>
                    <a:pt x="249" y="78"/>
                  </a:cubicBezTo>
                  <a:cubicBezTo>
                    <a:pt x="251" y="85"/>
                    <a:pt x="255" y="90"/>
                    <a:pt x="262" y="93"/>
                  </a:cubicBezTo>
                  <a:cubicBezTo>
                    <a:pt x="265" y="94"/>
                    <a:pt x="269" y="94"/>
                    <a:pt x="272" y="94"/>
                  </a:cubicBezTo>
                  <a:cubicBezTo>
                    <a:pt x="281" y="93"/>
                    <a:pt x="286" y="89"/>
                    <a:pt x="289" y="81"/>
                  </a:cubicBezTo>
                  <a:cubicBezTo>
                    <a:pt x="290" y="78"/>
                    <a:pt x="291" y="75"/>
                    <a:pt x="291" y="72"/>
                  </a:cubicBezTo>
                  <a:cubicBezTo>
                    <a:pt x="292" y="66"/>
                    <a:pt x="291" y="60"/>
                    <a:pt x="289" y="55"/>
                  </a:cubicBezTo>
                  <a:cubicBezTo>
                    <a:pt x="287" y="49"/>
                    <a:pt x="283" y="45"/>
                    <a:pt x="277" y="43"/>
                  </a:cubicBezTo>
                  <a:cubicBezTo>
                    <a:pt x="274" y="42"/>
                    <a:pt x="271" y="42"/>
                    <a:pt x="269" y="42"/>
                  </a:cubicBezTo>
                  <a:cubicBezTo>
                    <a:pt x="260" y="42"/>
                    <a:pt x="253" y="47"/>
                    <a:pt x="250" y="55"/>
                  </a:cubicBezTo>
                  <a:cubicBezTo>
                    <a:pt x="248" y="59"/>
                    <a:pt x="247" y="64"/>
                    <a:pt x="247" y="68"/>
                  </a:cubicBezTo>
                  <a:cubicBezTo>
                    <a:pt x="247" y="70"/>
                    <a:pt x="247" y="72"/>
                    <a:pt x="248" y="73"/>
                  </a:cubicBezTo>
                  <a:close/>
                  <a:moveTo>
                    <a:pt x="370" y="78"/>
                  </a:moveTo>
                  <a:cubicBezTo>
                    <a:pt x="372" y="86"/>
                    <a:pt x="377" y="91"/>
                    <a:pt x="384" y="93"/>
                  </a:cubicBezTo>
                  <a:cubicBezTo>
                    <a:pt x="387" y="94"/>
                    <a:pt x="391" y="94"/>
                    <a:pt x="394" y="94"/>
                  </a:cubicBezTo>
                  <a:cubicBezTo>
                    <a:pt x="402" y="93"/>
                    <a:pt x="408" y="89"/>
                    <a:pt x="411" y="81"/>
                  </a:cubicBezTo>
                  <a:cubicBezTo>
                    <a:pt x="412" y="78"/>
                    <a:pt x="412" y="75"/>
                    <a:pt x="413" y="71"/>
                  </a:cubicBezTo>
                  <a:cubicBezTo>
                    <a:pt x="413" y="65"/>
                    <a:pt x="413" y="60"/>
                    <a:pt x="410" y="54"/>
                  </a:cubicBezTo>
                  <a:cubicBezTo>
                    <a:pt x="408" y="48"/>
                    <a:pt x="404" y="45"/>
                    <a:pt x="398" y="43"/>
                  </a:cubicBezTo>
                  <a:cubicBezTo>
                    <a:pt x="395" y="42"/>
                    <a:pt x="393" y="42"/>
                    <a:pt x="390" y="42"/>
                  </a:cubicBezTo>
                  <a:cubicBezTo>
                    <a:pt x="381" y="42"/>
                    <a:pt x="374" y="47"/>
                    <a:pt x="371" y="55"/>
                  </a:cubicBezTo>
                  <a:cubicBezTo>
                    <a:pt x="369" y="59"/>
                    <a:pt x="369" y="64"/>
                    <a:pt x="369" y="68"/>
                  </a:cubicBezTo>
                  <a:cubicBezTo>
                    <a:pt x="369" y="72"/>
                    <a:pt x="369" y="75"/>
                    <a:pt x="370" y="78"/>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pic>
          <p:nvPicPr>
            <p:cNvPr id="28" name="Picture 2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9239" y="4219720"/>
              <a:ext cx="412401" cy="412402"/>
            </a:xfrm>
            <a:prstGeom prst="rect">
              <a:avLst/>
            </a:prstGeom>
          </p:spPr>
        </p:pic>
      </p:grpSp>
    </p:spTree>
    <p:extLst>
      <p:ext uri="{BB962C8B-B14F-4D97-AF65-F5344CB8AC3E}">
        <p14:creationId xmlns:p14="http://schemas.microsoft.com/office/powerpoint/2010/main" val="671773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3655" y="2529186"/>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018546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1907404042"/>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09886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3231" y="2305294"/>
            <a:ext cx="5125829" cy="945783"/>
          </a:xfrm>
        </p:spPr>
        <p:txBody>
          <a:bodyPr/>
          <a:lstStyle/>
          <a:p>
            <a:r>
              <a:rPr lang="en-US" sz="6000" dirty="0" smtClean="0"/>
              <a:t>Appendix</a:t>
            </a:r>
            <a:endParaRPr lang="en-US" sz="6000" spc="-102" dirty="0">
              <a:latin typeface="+mn-lt"/>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3496" y="6146389"/>
            <a:ext cx="1659467" cy="355482"/>
          </a:xfrm>
          <a:prstGeom prst="rect">
            <a:avLst/>
          </a:prstGeom>
        </p:spPr>
      </p:pic>
    </p:spTree>
    <p:extLst>
      <p:ext uri="{BB962C8B-B14F-4D97-AF65-F5344CB8AC3E}">
        <p14:creationId xmlns:p14="http://schemas.microsoft.com/office/powerpoint/2010/main" val="166949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51299" y="308586"/>
            <a:ext cx="11903782" cy="762786"/>
          </a:xfrm>
        </p:spPr>
        <p:txBody>
          <a:bodyPr/>
          <a:lstStyle/>
          <a:p>
            <a:r>
              <a:rPr lang="en-US" dirty="0">
                <a:cs typeface="Segoe UI" panose="020B0502040204020203" pitchFamily="34" charset="0"/>
              </a:rPr>
              <a:t>Microsoft and Citrix better together</a:t>
            </a:r>
            <a:endParaRPr lang="en-US" b="0" dirty="0">
              <a:solidFill>
                <a:srgbClr val="FF0000"/>
              </a:solidFill>
              <a:cs typeface="Segoe UI" panose="020B0502040204020203" pitchFamily="34" charset="0"/>
            </a:endParaRPr>
          </a:p>
        </p:txBody>
      </p:sp>
      <p:grpSp>
        <p:nvGrpSpPr>
          <p:cNvPr id="4" name="Group 3"/>
          <p:cNvGrpSpPr/>
          <p:nvPr/>
        </p:nvGrpSpPr>
        <p:grpSpPr>
          <a:xfrm>
            <a:off x="6867811" y="1589169"/>
            <a:ext cx="3366524" cy="4745249"/>
            <a:chOff x="8637905" y="1745739"/>
            <a:chExt cx="2926080" cy="4653839"/>
          </a:xfrm>
        </p:grpSpPr>
        <p:sp>
          <p:nvSpPr>
            <p:cNvPr id="12" name="Rounded Rectangle 11"/>
            <p:cNvSpPr/>
            <p:nvPr/>
          </p:nvSpPr>
          <p:spPr>
            <a:xfrm>
              <a:off x="8637905" y="2206625"/>
              <a:ext cx="2926080" cy="4192953"/>
            </a:xfrm>
            <a:prstGeom prst="roundRect">
              <a:avLst>
                <a:gd name="adj" fmla="val 3788"/>
              </a:avLst>
            </a:prstGeom>
            <a:solidFill>
              <a:schemeClr val="bg1"/>
            </a:solidFill>
            <a:ln w="3175" cap="flat" cmpd="sng" algn="ctr">
              <a:solidFill>
                <a:srgbClr val="FFFFFF">
                  <a:alpha val="29000"/>
                </a:srgbClr>
              </a:solidFill>
              <a:prstDash val="solid"/>
              <a:round/>
              <a:headEnd type="none" w="med" len="med"/>
              <a:tailEnd type="none" w="med" len="med"/>
            </a:ln>
            <a:effectLst/>
          </p:spPr>
          <p:txBody>
            <a:bodyPr vert="horz" wrap="square" lIns="93236" tIns="93236" rIns="93236" bIns="93236" numCol="1" rtlCol="0" anchor="t" anchorCtr="0" compatLnSpc="1">
              <a:prstTxWarp prst="textNoShape">
                <a:avLst/>
              </a:prstTxWarp>
              <a:noAutofit/>
            </a:bodyPr>
            <a:lstStyle/>
            <a:p>
              <a:pPr marL="292971" lvl="1" indent="-292971" fontAlgn="base">
                <a:spcBef>
                  <a:spcPts val="204"/>
                </a:spcBef>
                <a:spcAft>
                  <a:spcPts val="204"/>
                </a:spcAft>
                <a:buClr>
                  <a:srgbClr val="FFFF99"/>
                </a:buClr>
                <a:buSzPct val="90000"/>
                <a:buBlip>
                  <a:blip r:embed="rId3"/>
                </a:buBlip>
                <a:defRPr/>
              </a:pPr>
              <a:r>
                <a:rPr lang="en-US" altLang="zh-CN" sz="1903" dirty="0">
                  <a:gradFill>
                    <a:gsLst>
                      <a:gs pos="0">
                        <a:schemeClr val="tx1"/>
                      </a:gs>
                      <a:gs pos="100000">
                        <a:schemeClr val="tx1"/>
                      </a:gs>
                    </a:gsLst>
                    <a:lin ang="5400000" scaled="0"/>
                  </a:gradFill>
                  <a:latin typeface="Segoe UI" panose="020B0502040204020203" pitchFamily="34" charset="0"/>
                  <a:cs typeface="Segoe UI" panose="020B0502040204020203" pitchFamily="34" charset="0"/>
                </a:rPr>
                <a:t>Market Leader for Desktop Virtualization</a:t>
              </a:r>
            </a:p>
            <a:p>
              <a:pPr marL="292971" lvl="1" indent="-292971" fontAlgn="base">
                <a:spcBef>
                  <a:spcPts val="204"/>
                </a:spcBef>
                <a:spcAft>
                  <a:spcPts val="204"/>
                </a:spcAft>
                <a:buClr>
                  <a:srgbClr val="FFFF99"/>
                </a:buClr>
                <a:buSzPct val="90000"/>
                <a:buBlip>
                  <a:blip r:embed="rId3"/>
                </a:buBlip>
                <a:defRPr/>
              </a:pPr>
              <a:r>
                <a:rPr lang="en-US" altLang="zh-CN" sz="1903" dirty="0">
                  <a:gradFill>
                    <a:gsLst>
                      <a:gs pos="0">
                        <a:schemeClr val="tx1"/>
                      </a:gs>
                      <a:gs pos="100000">
                        <a:schemeClr val="tx1"/>
                      </a:gs>
                    </a:gsLst>
                    <a:lin ang="5400000" scaled="0"/>
                  </a:gradFill>
                  <a:latin typeface="Segoe UI" panose="020B0502040204020203" pitchFamily="34" charset="0"/>
                  <a:cs typeface="Segoe UI" panose="020B0502040204020203" pitchFamily="34" charset="0"/>
                </a:rPr>
                <a:t>Flexible access to all apps, data and desktops in one  product</a:t>
              </a:r>
            </a:p>
            <a:p>
              <a:pPr marL="292971" lvl="1" indent="-292971" fontAlgn="base">
                <a:spcBef>
                  <a:spcPts val="204"/>
                </a:spcBef>
                <a:spcAft>
                  <a:spcPts val="204"/>
                </a:spcAft>
                <a:buClr>
                  <a:srgbClr val="FFFF99"/>
                </a:buClr>
                <a:buSzPct val="90000"/>
                <a:buBlip>
                  <a:blip r:embed="rId3"/>
                </a:buBlip>
                <a:defRPr/>
              </a:pPr>
              <a:r>
                <a:rPr lang="en-US" altLang="zh-CN" sz="1903" dirty="0">
                  <a:gradFill>
                    <a:gsLst>
                      <a:gs pos="0">
                        <a:schemeClr val="tx1"/>
                      </a:gs>
                      <a:gs pos="100000">
                        <a:schemeClr val="tx1"/>
                      </a:gs>
                    </a:gsLst>
                    <a:lin ang="5400000" scaled="0"/>
                  </a:gradFill>
                  <a:latin typeface="Segoe UI" panose="020B0502040204020203" pitchFamily="34" charset="0"/>
                  <a:cs typeface="Segoe UI" panose="020B0502040204020203" pitchFamily="34" charset="0"/>
                </a:rPr>
                <a:t>Proven scale for 100s to 100,000s of users</a:t>
              </a:r>
            </a:p>
            <a:p>
              <a:pPr marL="292971" lvl="1" indent="-292971" fontAlgn="base">
                <a:spcBef>
                  <a:spcPts val="204"/>
                </a:spcBef>
                <a:spcAft>
                  <a:spcPts val="204"/>
                </a:spcAft>
                <a:buClr>
                  <a:srgbClr val="FFFF99"/>
                </a:buClr>
                <a:buSzPct val="90000"/>
                <a:buBlip>
                  <a:blip r:embed="rId3"/>
                </a:buBlip>
                <a:defRPr/>
              </a:pPr>
              <a:r>
                <a:rPr lang="en-US" altLang="zh-CN" sz="1903" dirty="0">
                  <a:gradFill>
                    <a:gsLst>
                      <a:gs pos="0">
                        <a:schemeClr val="tx1"/>
                      </a:gs>
                      <a:gs pos="100000">
                        <a:schemeClr val="tx1"/>
                      </a:gs>
                    </a:gsLst>
                    <a:lin ang="5400000" scaled="0"/>
                  </a:gradFill>
                  <a:latin typeface="Segoe UI" panose="020B0502040204020203" pitchFamily="34" charset="0"/>
                  <a:cs typeface="Segoe UI" panose="020B0502040204020203" pitchFamily="34" charset="0"/>
                </a:rPr>
                <a:t>Windows desktops and apps on PCs, Macs, iPads, Android and smartphones</a:t>
              </a: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17744" y="1745739"/>
              <a:ext cx="860867" cy="416831"/>
            </a:xfrm>
            <a:prstGeom prst="rect">
              <a:avLst/>
            </a:prstGeom>
            <a:noFill/>
            <a:ln>
              <a:noFill/>
            </a:ln>
            <a:effectLst>
              <a:outerShdw blurRad="63500" sx="102000" sy="102000" algn="ctr" rotWithShape="0">
                <a:prstClr val="black">
                  <a:alpha val="40000"/>
                </a:prstClr>
              </a:outerShdw>
            </a:effectLst>
          </p:spPr>
        </p:pic>
      </p:grpSp>
      <p:grpSp>
        <p:nvGrpSpPr>
          <p:cNvPr id="13" name="Group 12"/>
          <p:cNvGrpSpPr/>
          <p:nvPr/>
        </p:nvGrpSpPr>
        <p:grpSpPr>
          <a:xfrm>
            <a:off x="2254167" y="1587174"/>
            <a:ext cx="3301854" cy="4747246"/>
            <a:chOff x="1656219" y="1166780"/>
            <a:chExt cx="2428687" cy="3491848"/>
          </a:xfrm>
        </p:grpSpPr>
        <p:sp>
          <p:nvSpPr>
            <p:cNvPr id="10" name="Rounded Rectangle 9"/>
            <p:cNvSpPr/>
            <p:nvPr/>
          </p:nvSpPr>
          <p:spPr>
            <a:xfrm>
              <a:off x="1656219" y="1513913"/>
              <a:ext cx="2428687" cy="3144715"/>
            </a:xfrm>
            <a:prstGeom prst="roundRect">
              <a:avLst>
                <a:gd name="adj" fmla="val 3788"/>
              </a:avLst>
            </a:prstGeom>
            <a:solidFill>
              <a:schemeClr val="bg1"/>
            </a:solidFill>
            <a:ln w="3175" cap="flat" cmpd="sng" algn="ctr">
              <a:solidFill>
                <a:srgbClr val="FFFFFF">
                  <a:alpha val="29000"/>
                </a:srgbClr>
              </a:solidFill>
              <a:prstDash val="solid"/>
              <a:round/>
              <a:headEnd type="none" w="med" len="med"/>
              <a:tailEnd type="none" w="med" len="med"/>
            </a:ln>
            <a:effectLst/>
          </p:spPr>
          <p:txBody>
            <a:bodyPr vert="horz" wrap="square" lIns="93236" tIns="93236" rIns="93236" bIns="93236" numCol="1" rtlCol="0" anchor="t" anchorCtr="0" compatLnSpc="1">
              <a:prstTxWarp prst="textNoShape">
                <a:avLst/>
              </a:prstTxWarp>
              <a:noAutofit/>
            </a:bodyPr>
            <a:lstStyle/>
            <a:p>
              <a:pPr marL="292971" lvl="1" indent="-292971" fontAlgn="base">
                <a:spcBef>
                  <a:spcPts val="204"/>
                </a:spcBef>
                <a:spcAft>
                  <a:spcPts val="204"/>
                </a:spcAft>
                <a:buClr>
                  <a:srgbClr val="FFFF99"/>
                </a:buClr>
                <a:buSzPct val="90000"/>
                <a:buBlip>
                  <a:blip r:embed="rId3"/>
                </a:buBlip>
                <a:defRPr/>
              </a:pPr>
              <a:r>
                <a:rPr lang="en-US" altLang="zh-CN" sz="1903" dirty="0">
                  <a:gradFill>
                    <a:gsLst>
                      <a:gs pos="0">
                        <a:schemeClr val="tx1"/>
                      </a:gs>
                      <a:gs pos="100000">
                        <a:schemeClr val="tx1"/>
                      </a:gs>
                    </a:gsLst>
                    <a:lin ang="5400000" scaled="0"/>
                  </a:gradFill>
                  <a:latin typeface="Segoe UI" panose="020B0502040204020203" pitchFamily="34" charset="0"/>
                  <a:cs typeface="Segoe UI" panose="020B0502040204020203" pitchFamily="34" charset="0"/>
                </a:rPr>
                <a:t>Market Leader for Desktops</a:t>
              </a:r>
            </a:p>
            <a:p>
              <a:pPr marL="292971" lvl="1" indent="-292971" fontAlgn="base">
                <a:spcBef>
                  <a:spcPts val="204"/>
                </a:spcBef>
                <a:spcAft>
                  <a:spcPts val="204"/>
                </a:spcAft>
                <a:buClr>
                  <a:srgbClr val="FFFF99"/>
                </a:buClr>
                <a:buSzPct val="90000"/>
                <a:buBlip>
                  <a:blip r:embed="rId3"/>
                </a:buBlip>
                <a:defRPr/>
              </a:pPr>
              <a:r>
                <a:rPr lang="en-US" altLang="zh-CN" sz="1903" dirty="0">
                  <a:gradFill>
                    <a:gsLst>
                      <a:gs pos="0">
                        <a:schemeClr val="tx1"/>
                      </a:gs>
                      <a:gs pos="100000">
                        <a:schemeClr val="tx1"/>
                      </a:gs>
                    </a:gsLst>
                    <a:lin ang="5400000" scaled="0"/>
                  </a:gradFill>
                  <a:latin typeface="Segoe UI" panose="020B0502040204020203" pitchFamily="34" charset="0"/>
                  <a:cs typeface="Segoe UI" panose="020B0502040204020203" pitchFamily="34" charset="0"/>
                </a:rPr>
                <a:t>Best in Class Application Virtualization</a:t>
              </a:r>
            </a:p>
            <a:p>
              <a:pPr marL="292971" lvl="1" indent="-292971" fontAlgn="base">
                <a:spcBef>
                  <a:spcPts val="204"/>
                </a:spcBef>
                <a:spcAft>
                  <a:spcPts val="204"/>
                </a:spcAft>
                <a:buClr>
                  <a:srgbClr val="FFFF99"/>
                </a:buClr>
                <a:buSzPct val="90000"/>
                <a:buBlip>
                  <a:blip r:embed="rId3"/>
                </a:buBlip>
                <a:defRPr/>
              </a:pPr>
              <a:r>
                <a:rPr lang="en-US" altLang="zh-CN" sz="1903" dirty="0">
                  <a:gradFill>
                    <a:gsLst>
                      <a:gs pos="0">
                        <a:schemeClr val="tx1"/>
                      </a:gs>
                      <a:gs pos="100000">
                        <a:schemeClr val="tx1"/>
                      </a:gs>
                    </a:gsLst>
                    <a:lin ang="5400000" scaled="0"/>
                  </a:gradFill>
                  <a:latin typeface="Segoe UI" panose="020B0502040204020203" pitchFamily="34" charset="0"/>
                  <a:cs typeface="Segoe UI" panose="020B0502040204020203" pitchFamily="34" charset="0"/>
                </a:rPr>
                <a:t>A modern server platform to transform today’s infrastructure with virtualization built-in</a:t>
              </a:r>
            </a:p>
            <a:p>
              <a:pPr marL="292971" lvl="1" indent="-292971" fontAlgn="base">
                <a:spcBef>
                  <a:spcPts val="204"/>
                </a:spcBef>
                <a:spcAft>
                  <a:spcPts val="204"/>
                </a:spcAft>
                <a:buClr>
                  <a:srgbClr val="FFFF99"/>
                </a:buClr>
                <a:buSzPct val="90000"/>
                <a:buBlip>
                  <a:blip r:embed="rId3"/>
                </a:buBlip>
                <a:defRPr/>
              </a:pPr>
              <a:r>
                <a:rPr lang="en-US" altLang="zh-CN" sz="1903" dirty="0">
                  <a:gradFill>
                    <a:gsLst>
                      <a:gs pos="0">
                        <a:schemeClr val="tx1"/>
                      </a:gs>
                      <a:gs pos="100000">
                        <a:schemeClr val="tx1"/>
                      </a:gs>
                    </a:gsLst>
                    <a:lin ang="5400000" scaled="0"/>
                  </a:gradFill>
                  <a:latin typeface="Segoe UI" panose="020B0502040204020203" pitchFamily="34" charset="0"/>
                  <a:cs typeface="Segoe UI" panose="020B0502040204020203" pitchFamily="34" charset="0"/>
                </a:rPr>
                <a:t>People-centric management of devices, desktops, and virtual assets, in the cloud or on premises</a:t>
              </a:r>
            </a:p>
            <a:p>
              <a:pPr marL="0" lvl="1" fontAlgn="base">
                <a:spcBef>
                  <a:spcPts val="204"/>
                </a:spcBef>
                <a:spcAft>
                  <a:spcPts val="204"/>
                </a:spcAft>
                <a:buClr>
                  <a:srgbClr val="FFFF99"/>
                </a:buClr>
                <a:buSzPct val="90000"/>
                <a:defRPr/>
              </a:pPr>
              <a:endParaRPr lang="en-US" altLang="zh-CN" sz="1632" dirty="0">
                <a:gradFill>
                  <a:gsLst>
                    <a:gs pos="0">
                      <a:schemeClr val="tx1"/>
                    </a:gs>
                    <a:gs pos="100000">
                      <a:schemeClr val="tx1"/>
                    </a:gs>
                  </a:gsLst>
                  <a:lin ang="5400000" scaled="0"/>
                </a:gradFill>
                <a:latin typeface="Segoe UI" panose="020B0502040204020203" pitchFamily="34" charset="0"/>
                <a:cs typeface="Segoe UI" panose="020B0502040204020203" pitchFamily="34" charset="0"/>
              </a:endParaRPr>
            </a:p>
          </p:txBody>
        </p:sp>
        <p:pic>
          <p:nvPicPr>
            <p:cNvPr id="62" name="Picture 61"/>
            <p:cNvPicPr>
              <a:picLocks noChangeAspect="1"/>
            </p:cNvPicPr>
            <p:nvPr/>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l="23139" t="-1" b="-201"/>
            <a:stretch/>
          </p:blipFill>
          <p:spPr>
            <a:xfrm>
              <a:off x="2343599" y="1166780"/>
              <a:ext cx="1134012" cy="314090"/>
            </a:xfrm>
            <a:prstGeom prst="rect">
              <a:avLst/>
            </a:prstGeom>
          </p:spPr>
        </p:pic>
      </p:grpSp>
      <p:grpSp>
        <p:nvGrpSpPr>
          <p:cNvPr id="20" name="Group 19"/>
          <p:cNvGrpSpPr/>
          <p:nvPr/>
        </p:nvGrpSpPr>
        <p:grpSpPr>
          <a:xfrm>
            <a:off x="3947103" y="2184441"/>
            <a:ext cx="4409028" cy="3854615"/>
            <a:chOff x="2901461" y="1606100"/>
            <a:chExt cx="3243071" cy="2835271"/>
          </a:xfrm>
        </p:grpSpPr>
        <p:grpSp>
          <p:nvGrpSpPr>
            <p:cNvPr id="17" name="Group 16"/>
            <p:cNvGrpSpPr/>
            <p:nvPr/>
          </p:nvGrpSpPr>
          <p:grpSpPr>
            <a:xfrm>
              <a:off x="2901461" y="1606100"/>
              <a:ext cx="3243071" cy="2835271"/>
              <a:chOff x="2901461" y="1606100"/>
              <a:chExt cx="3243071" cy="2835271"/>
            </a:xfrm>
          </p:grpSpPr>
          <p:sp>
            <p:nvSpPr>
              <p:cNvPr id="16" name="Rectangle 15"/>
              <p:cNvSpPr/>
              <p:nvPr/>
            </p:nvSpPr>
            <p:spPr bwMode="auto">
              <a:xfrm>
                <a:off x="3353483" y="1606100"/>
                <a:ext cx="2301953" cy="2835271"/>
              </a:xfrm>
              <a:prstGeom prst="rect">
                <a:avLst/>
              </a:prstGeom>
              <a:noFill/>
              <a:ln w="12700" algn="ctr">
                <a:solidFill>
                  <a:srgbClr val="0070C0"/>
                </a:solidFill>
                <a:prstDash val="dash"/>
                <a:miter lim="800000"/>
                <a:headEnd/>
                <a:tailEnd/>
              </a:ln>
              <a:effectLst/>
              <a:extLst/>
            </p:spPr>
            <p:txBody>
              <a:bodyPr rtlCol="0" anchor="ctr"/>
              <a:lstStyle/>
              <a:p>
                <a:pPr algn="ctr" eaLnBrk="0" fontAlgn="base" hangingPunct="0">
                  <a:spcBef>
                    <a:spcPct val="0"/>
                  </a:spcBef>
                  <a:spcAft>
                    <a:spcPct val="0"/>
                  </a:spcAft>
                </a:pPr>
                <a:endParaRPr lang="en-US" sz="2175" dirty="0" err="1">
                  <a:solidFill>
                    <a:srgbClr val="FFFFFF"/>
                  </a:solidFill>
                  <a:latin typeface="Arial" pitchFamily="34" charset="0"/>
                  <a:cs typeface="Arial" pitchFamily="34" charset="0"/>
                </a:endParaRPr>
              </a:p>
            </p:txBody>
          </p:sp>
          <p:grpSp>
            <p:nvGrpSpPr>
              <p:cNvPr id="14" name="Group 13"/>
              <p:cNvGrpSpPr/>
              <p:nvPr/>
            </p:nvGrpSpPr>
            <p:grpSpPr>
              <a:xfrm>
                <a:off x="2901461" y="1694772"/>
                <a:ext cx="3243071" cy="2543585"/>
                <a:chOff x="2901461" y="1694772"/>
                <a:chExt cx="3243071" cy="2543585"/>
              </a:xfrm>
            </p:grpSpPr>
            <p:grpSp>
              <p:nvGrpSpPr>
                <p:cNvPr id="6" name="Group 373"/>
                <p:cNvGrpSpPr/>
                <p:nvPr/>
              </p:nvGrpSpPr>
              <p:grpSpPr>
                <a:xfrm>
                  <a:off x="2901461" y="1694772"/>
                  <a:ext cx="3243071" cy="2502735"/>
                  <a:chOff x="2417509" y="281098"/>
                  <a:chExt cx="4692892" cy="3162143"/>
                </a:xfrm>
              </p:grpSpPr>
              <p:grpSp>
                <p:nvGrpSpPr>
                  <p:cNvPr id="2" name="Group 375"/>
                  <p:cNvGrpSpPr/>
                  <p:nvPr/>
                </p:nvGrpSpPr>
                <p:grpSpPr>
                  <a:xfrm>
                    <a:off x="2417509" y="281098"/>
                    <a:ext cx="4692892" cy="2284474"/>
                    <a:chOff x="-616351" y="1189084"/>
                    <a:chExt cx="2873700" cy="1572654"/>
                  </a:xfrm>
                </p:grpSpPr>
                <p:sp>
                  <p:nvSpPr>
                    <p:cNvPr id="101" name="TextBox 387"/>
                    <p:cNvSpPr txBox="1"/>
                    <p:nvPr/>
                  </p:nvSpPr>
                  <p:spPr bwMode="auto">
                    <a:xfrm rot="16200000">
                      <a:off x="633149" y="-60416"/>
                      <a:ext cx="374699" cy="2873700"/>
                    </a:xfrm>
                    <a:prstGeom prst="rect">
                      <a:avLst/>
                    </a:prstGeom>
                    <a:noFill/>
                    <a:ln>
                      <a:noFill/>
                    </a:ln>
                    <a:effectLst>
                      <a:outerShdw sx="1000" sy="1000" algn="ctr" rotWithShape="0">
                        <a:srgbClr val="000000"/>
                      </a:outerShdw>
                      <a:reflection endPos="0" dist="50800" dir="5400000" sy="-100000" algn="bl" rotWithShape="0"/>
                    </a:effectLst>
                  </p:spPr>
                  <p:txBody>
                    <a:bodyPr vert="vert" wrap="square" lIns="0" tIns="0" rIns="0" bIns="0">
                      <a:spAutoFit/>
                    </a:bodyPr>
                    <a:lstStyle>
                      <a:lvl1pPr>
                        <a:defRPr>
                          <a:solidFill>
                            <a:schemeClr val="tx1"/>
                          </a:solidFill>
                          <a:latin typeface="Segoe UI Light" pitchFamily="-103" charset="0"/>
                          <a:ea typeface="ＭＳ Ｐゴシック" pitchFamily="-103" charset="-128"/>
                        </a:defRPr>
                      </a:lvl1pPr>
                      <a:lvl2pPr marL="37931725" indent="-37474525">
                        <a:defRPr>
                          <a:solidFill>
                            <a:schemeClr val="tx1"/>
                          </a:solidFill>
                          <a:latin typeface="Segoe UI Light" pitchFamily="-103" charset="0"/>
                          <a:ea typeface="ＭＳ Ｐゴシック" pitchFamily="-103" charset="-128"/>
                        </a:defRPr>
                      </a:lvl2pPr>
                      <a:lvl3pPr>
                        <a:defRPr>
                          <a:solidFill>
                            <a:schemeClr val="tx1"/>
                          </a:solidFill>
                          <a:latin typeface="Segoe UI Light" pitchFamily="-103" charset="0"/>
                          <a:ea typeface="ＭＳ Ｐゴシック" pitchFamily="-103" charset="-128"/>
                        </a:defRPr>
                      </a:lvl3pPr>
                      <a:lvl4pPr>
                        <a:defRPr>
                          <a:solidFill>
                            <a:schemeClr val="tx1"/>
                          </a:solidFill>
                          <a:latin typeface="Segoe UI Light" pitchFamily="-103" charset="0"/>
                          <a:ea typeface="ＭＳ Ｐゴシック" pitchFamily="-103" charset="-128"/>
                        </a:defRPr>
                      </a:lvl4pPr>
                      <a:lvl5pPr>
                        <a:defRPr>
                          <a:solidFill>
                            <a:schemeClr val="tx1"/>
                          </a:solidFill>
                          <a:latin typeface="Segoe UI Light" pitchFamily="-103" charset="0"/>
                          <a:ea typeface="ＭＳ Ｐゴシック" pitchFamily="-103" charset="-128"/>
                        </a:defRPr>
                      </a:lvl5pPr>
                      <a:lvl6pPr marL="457200" fontAlgn="base">
                        <a:spcBef>
                          <a:spcPct val="0"/>
                        </a:spcBef>
                        <a:spcAft>
                          <a:spcPct val="0"/>
                        </a:spcAft>
                        <a:defRPr>
                          <a:solidFill>
                            <a:schemeClr val="tx1"/>
                          </a:solidFill>
                          <a:latin typeface="Segoe UI Light" pitchFamily="-103" charset="0"/>
                          <a:ea typeface="ＭＳ Ｐゴシック" pitchFamily="-103" charset="-128"/>
                        </a:defRPr>
                      </a:lvl6pPr>
                      <a:lvl7pPr marL="914400" fontAlgn="base">
                        <a:spcBef>
                          <a:spcPct val="0"/>
                        </a:spcBef>
                        <a:spcAft>
                          <a:spcPct val="0"/>
                        </a:spcAft>
                        <a:defRPr>
                          <a:solidFill>
                            <a:schemeClr val="tx1"/>
                          </a:solidFill>
                          <a:latin typeface="Segoe UI Light" pitchFamily="-103" charset="0"/>
                          <a:ea typeface="ＭＳ Ｐゴシック" pitchFamily="-103" charset="-128"/>
                        </a:defRPr>
                      </a:lvl7pPr>
                      <a:lvl8pPr marL="1371600" fontAlgn="base">
                        <a:spcBef>
                          <a:spcPct val="0"/>
                        </a:spcBef>
                        <a:spcAft>
                          <a:spcPct val="0"/>
                        </a:spcAft>
                        <a:defRPr>
                          <a:solidFill>
                            <a:schemeClr val="tx1"/>
                          </a:solidFill>
                          <a:latin typeface="Segoe UI Light" pitchFamily="-103" charset="0"/>
                          <a:ea typeface="ＭＳ Ｐゴシック" pitchFamily="-103" charset="-128"/>
                        </a:defRPr>
                      </a:lvl8pPr>
                      <a:lvl9pPr marL="1828800" fontAlgn="base">
                        <a:spcBef>
                          <a:spcPct val="0"/>
                        </a:spcBef>
                        <a:spcAft>
                          <a:spcPct val="0"/>
                        </a:spcAft>
                        <a:defRPr>
                          <a:solidFill>
                            <a:schemeClr val="tx1"/>
                          </a:solidFill>
                          <a:latin typeface="Segoe UI Light" pitchFamily="-103" charset="0"/>
                          <a:ea typeface="ＭＳ Ｐゴシック" pitchFamily="-103" charset="-128"/>
                        </a:defRPr>
                      </a:lvl9pPr>
                    </a:lstStyle>
                    <a:p>
                      <a:pPr algn="ctr">
                        <a:spcBef>
                          <a:spcPts val="816"/>
                        </a:spcBef>
                        <a:buClr>
                          <a:schemeClr val="tx1"/>
                        </a:buClr>
                        <a:defRPr/>
                      </a:pPr>
                      <a:r>
                        <a:rPr lang="en-US" sz="1903" dirty="0">
                          <a:latin typeface="+mn-lt"/>
                          <a:cs typeface="Segoe UI" pitchFamily="-84" charset="-52"/>
                        </a:rPr>
                        <a:t>Jointly Integrated, </a:t>
                      </a:r>
                      <a:br>
                        <a:rPr lang="en-US" sz="1903" dirty="0">
                          <a:latin typeface="+mn-lt"/>
                          <a:cs typeface="Segoe UI" pitchFamily="-84" charset="-52"/>
                        </a:rPr>
                      </a:br>
                      <a:r>
                        <a:rPr lang="en-US" sz="1903" dirty="0">
                          <a:latin typeface="+mn-lt"/>
                          <a:cs typeface="Segoe UI" pitchFamily="-84" charset="-52"/>
                        </a:rPr>
                        <a:t> Unified Management</a:t>
                      </a:r>
                    </a:p>
                  </p:txBody>
                </p:sp>
                <p:grpSp>
                  <p:nvGrpSpPr>
                    <p:cNvPr id="30" name="Group 58"/>
                    <p:cNvGrpSpPr>
                      <a:grpSpLocks/>
                    </p:cNvGrpSpPr>
                    <p:nvPr/>
                  </p:nvGrpSpPr>
                  <p:grpSpPr bwMode="auto">
                    <a:xfrm>
                      <a:off x="-77" y="1582843"/>
                      <a:ext cx="1512586" cy="358225"/>
                      <a:chOff x="467141" y="491040"/>
                      <a:chExt cx="2123388" cy="634406"/>
                    </a:xfrm>
                  </p:grpSpPr>
                  <p:pic>
                    <p:nvPicPr>
                      <p:cNvPr id="32" name="Picture 37" descr="settings.png"/>
                      <p:cNvPicPr>
                        <a:picLocks noChangeAspect="1"/>
                      </p:cNvPicPr>
                      <p:nvPr/>
                    </p:nvPicPr>
                    <p:blipFill>
                      <a:blip r:embed="rId7" cstate="print">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56000" contrast="29000"/>
                                </a14:imgEffect>
                              </a14:imgLayer>
                            </a14:imgProps>
                          </a:ext>
                        </a:extLst>
                      </a:blip>
                      <a:srcRect l="14812" t="4822" b="4822"/>
                      <a:stretch>
                        <a:fillRect/>
                      </a:stretch>
                    </p:blipFill>
                    <p:spPr bwMode="auto">
                      <a:xfrm>
                        <a:off x="467141" y="491040"/>
                        <a:ext cx="598109" cy="634406"/>
                      </a:xfrm>
                      <a:prstGeom prst="rect">
                        <a:avLst/>
                      </a:prstGeom>
                      <a:noFill/>
                      <a:ln w="9525">
                        <a:noFill/>
                        <a:miter lim="800000"/>
                        <a:headEnd/>
                        <a:tailEnd/>
                      </a:ln>
                    </p:spPr>
                  </p:pic>
                  <p:sp>
                    <p:nvSpPr>
                      <p:cNvPr id="33" name="TextBox 42"/>
                      <p:cNvSpPr txBox="1">
                        <a:spLocks noChangeArrowheads="1"/>
                      </p:cNvSpPr>
                      <p:nvPr/>
                    </p:nvSpPr>
                    <p:spPr bwMode="auto">
                      <a:xfrm>
                        <a:off x="977978" y="525382"/>
                        <a:ext cx="1612551" cy="572173"/>
                      </a:xfrm>
                      <a:prstGeom prst="rect">
                        <a:avLst/>
                      </a:prstGeom>
                      <a:noFill/>
                      <a:ln w="9525">
                        <a:noFill/>
                        <a:miter lim="800000"/>
                        <a:headEnd/>
                        <a:tailEnd/>
                      </a:ln>
                    </p:spPr>
                    <p:txBody>
                      <a:bodyPr lIns="0" tIns="0" rIns="0" bIns="0" anchor="ctr"/>
                      <a:lstStyle/>
                      <a:p>
                        <a:pPr>
                          <a:lnSpc>
                            <a:spcPct val="88000"/>
                          </a:lnSpc>
                        </a:pPr>
                        <a:r>
                          <a:rPr lang="en-US" altLang="zh-CN" sz="1903" dirty="0"/>
                          <a:t>User State Virtualization</a:t>
                        </a:r>
                        <a:endParaRPr lang="en-US" sz="1903" dirty="0"/>
                      </a:p>
                    </p:txBody>
                  </p:sp>
                </p:grpSp>
                <p:grpSp>
                  <p:nvGrpSpPr>
                    <p:cNvPr id="41" name="Group 64"/>
                    <p:cNvGrpSpPr>
                      <a:grpSpLocks/>
                    </p:cNvGrpSpPr>
                    <p:nvPr/>
                  </p:nvGrpSpPr>
                  <p:grpSpPr bwMode="auto">
                    <a:xfrm>
                      <a:off x="-1563" y="2015552"/>
                      <a:ext cx="1411839" cy="308104"/>
                      <a:chOff x="117548" y="1576619"/>
                      <a:chExt cx="1989751" cy="552358"/>
                    </a:xfrm>
                  </p:grpSpPr>
                  <p:sp>
                    <p:nvSpPr>
                      <p:cNvPr id="43" name="TextBox 51"/>
                      <p:cNvSpPr txBox="1">
                        <a:spLocks noChangeArrowheads="1"/>
                      </p:cNvSpPr>
                      <p:nvPr/>
                    </p:nvSpPr>
                    <p:spPr bwMode="auto">
                      <a:xfrm>
                        <a:off x="676668" y="1576619"/>
                        <a:ext cx="1430631" cy="552358"/>
                      </a:xfrm>
                      <a:prstGeom prst="rect">
                        <a:avLst/>
                      </a:prstGeom>
                      <a:noFill/>
                      <a:ln w="9525">
                        <a:noFill/>
                        <a:miter lim="800000"/>
                        <a:headEnd/>
                        <a:tailEnd/>
                      </a:ln>
                    </p:spPr>
                    <p:txBody>
                      <a:bodyPr lIns="0" tIns="0" rIns="0" bIns="0" anchor="ctr"/>
                      <a:lstStyle/>
                      <a:p>
                        <a:pPr>
                          <a:lnSpc>
                            <a:spcPct val="88000"/>
                          </a:lnSpc>
                        </a:pPr>
                        <a:r>
                          <a:rPr lang="en-US" altLang="zh-CN" sz="1903" dirty="0"/>
                          <a:t>Application Virtualization</a:t>
                        </a:r>
                        <a:endParaRPr lang="en-US" sz="1903" dirty="0"/>
                      </a:p>
                    </p:txBody>
                  </p:sp>
                  <p:pic>
                    <p:nvPicPr>
                      <p:cNvPr id="44" name="Picture 52" descr="v-apps.png"/>
                      <p:cNvPicPr>
                        <a:picLocks noChangeAspect="1"/>
                      </p:cNvPicPr>
                      <p:nvPr/>
                    </p:nvPicPr>
                    <p:blipFill>
                      <a:blip r:embed="rId9" cstate="print">
                        <a:duotone>
                          <a:prstClr val="black"/>
                          <a:schemeClr val="tx2">
                            <a:tint val="45000"/>
                            <a:satMod val="400000"/>
                          </a:schemeClr>
                        </a:duotone>
                        <a:extLst>
                          <a:ext uri="{BEBA8EAE-BF5A-486C-A8C5-ECC9F3942E4B}">
                            <a14:imgProps xmlns:a14="http://schemas.microsoft.com/office/drawing/2010/main">
                              <a14:imgLayer r:embed="rId10">
                                <a14:imgEffect>
                                  <a14:sharpenSoften amount="-1000"/>
                                </a14:imgEffect>
                                <a14:imgEffect>
                                  <a14:colorTemperature colorTemp="11500"/>
                                </a14:imgEffect>
                                <a14:imgEffect>
                                  <a14:brightnessContrast bright="-55000" contrast="26000"/>
                                </a14:imgEffect>
                              </a14:imgLayer>
                            </a14:imgProps>
                          </a:ext>
                        </a:extLst>
                      </a:blip>
                      <a:srcRect/>
                      <a:stretch>
                        <a:fillRect/>
                      </a:stretch>
                    </p:blipFill>
                    <p:spPr bwMode="auto">
                      <a:xfrm>
                        <a:off x="117548" y="1648216"/>
                        <a:ext cx="391239" cy="391244"/>
                      </a:xfrm>
                      <a:prstGeom prst="rect">
                        <a:avLst/>
                      </a:prstGeom>
                      <a:noFill/>
                      <a:ln w="9525">
                        <a:noFill/>
                        <a:miter lim="800000"/>
                        <a:headEnd/>
                        <a:tailEnd/>
                      </a:ln>
                    </p:spPr>
                  </p:pic>
                </p:grpSp>
                <p:grpSp>
                  <p:nvGrpSpPr>
                    <p:cNvPr id="45" name="Group 70"/>
                    <p:cNvGrpSpPr>
                      <a:grpSpLocks/>
                    </p:cNvGrpSpPr>
                    <p:nvPr/>
                  </p:nvGrpSpPr>
                  <p:grpSpPr bwMode="auto">
                    <a:xfrm>
                      <a:off x="-58958" y="2440932"/>
                      <a:ext cx="1788301" cy="320806"/>
                      <a:chOff x="405465" y="2627050"/>
                      <a:chExt cx="2510448" cy="552357"/>
                    </a:xfrm>
                  </p:grpSpPr>
                  <p:sp>
                    <p:nvSpPr>
                      <p:cNvPr id="47" name="TextBox 65"/>
                      <p:cNvSpPr txBox="1">
                        <a:spLocks noChangeArrowheads="1"/>
                      </p:cNvSpPr>
                      <p:nvPr/>
                    </p:nvSpPr>
                    <p:spPr bwMode="auto">
                      <a:xfrm>
                        <a:off x="1034313" y="2627050"/>
                        <a:ext cx="1881600" cy="552357"/>
                      </a:xfrm>
                      <a:prstGeom prst="rect">
                        <a:avLst/>
                      </a:prstGeom>
                      <a:noFill/>
                      <a:ln w="9525">
                        <a:noFill/>
                        <a:miter lim="800000"/>
                        <a:headEnd/>
                        <a:tailEnd/>
                      </a:ln>
                    </p:spPr>
                    <p:txBody>
                      <a:bodyPr lIns="0" tIns="0" rIns="0" bIns="0" anchor="ctr"/>
                      <a:lstStyle/>
                      <a:p>
                        <a:pPr>
                          <a:lnSpc>
                            <a:spcPct val="88000"/>
                          </a:lnSpc>
                        </a:pPr>
                        <a:r>
                          <a:rPr lang="en-US" altLang="zh-CN" sz="1903" dirty="0"/>
                          <a:t>OS Virtualization</a:t>
                        </a:r>
                        <a:endParaRPr lang="en-US" sz="1903" dirty="0"/>
                      </a:p>
                    </p:txBody>
                  </p:sp>
                  <p:pic>
                    <p:nvPicPr>
                      <p:cNvPr id="48" name="Picture 49" descr="WinEmbed_h_bL_r.png"/>
                      <p:cNvPicPr>
                        <a:picLocks noChangeAspect="1"/>
                      </p:cNvPicPr>
                      <p:nvPr/>
                    </p:nvPicPr>
                    <p:blipFill>
                      <a:blip r:embed="rId11" cstate="print">
                        <a:duotone>
                          <a:prstClr val="black"/>
                          <a:schemeClr val="accent4">
                            <a:tint val="45000"/>
                            <a:satMod val="400000"/>
                          </a:schemeClr>
                        </a:duotone>
                        <a:extLst>
                          <a:ext uri="{BEBA8EAE-BF5A-486C-A8C5-ECC9F3942E4B}">
                            <a14:imgProps xmlns:a14="http://schemas.microsoft.com/office/drawing/2010/main">
                              <a14:imgLayer r:embed="rId12">
                                <a14:imgEffect>
                                  <a14:colorTemperature colorTemp="1500"/>
                                </a14:imgEffect>
                                <a14:imgEffect>
                                  <a14:saturation sat="0"/>
                                </a14:imgEffect>
                              </a14:imgLayer>
                            </a14:imgProps>
                          </a:ext>
                        </a:extLst>
                      </a:blip>
                      <a:stretch>
                        <a:fillRect/>
                      </a:stretch>
                    </p:blipFill>
                    <p:spPr bwMode="auto">
                      <a:xfrm>
                        <a:off x="405465" y="2663796"/>
                        <a:ext cx="513692" cy="513631"/>
                      </a:xfrm>
                      <a:prstGeom prst="rect">
                        <a:avLst/>
                      </a:prstGeom>
                      <a:noFill/>
                      <a:ln w="9525">
                        <a:noFill/>
                        <a:miter lim="800000"/>
                        <a:headEnd/>
                        <a:tailEnd/>
                      </a:ln>
                    </p:spPr>
                  </p:pic>
                </p:grpSp>
              </p:grpSp>
              <p:grpSp>
                <p:nvGrpSpPr>
                  <p:cNvPr id="5" name="Group 376"/>
                  <p:cNvGrpSpPr/>
                  <p:nvPr/>
                </p:nvGrpSpPr>
                <p:grpSpPr>
                  <a:xfrm>
                    <a:off x="3149969" y="2789509"/>
                    <a:ext cx="3126668" cy="653732"/>
                    <a:chOff x="3149969" y="2770259"/>
                    <a:chExt cx="3126668" cy="653732"/>
                  </a:xfrm>
                </p:grpSpPr>
                <p:pic>
                  <p:nvPicPr>
                    <p:cNvPr id="59" name="Picture 378"/>
                    <p:cNvPicPr>
                      <a:picLocks noChangeAspect="1"/>
                    </p:cNvPicPr>
                    <p:nvPr/>
                  </p:nvPicPr>
                  <p:blipFill>
                    <a:blip r:embed="rId13">
                      <a:duotone>
                        <a:prstClr val="black"/>
                        <a:schemeClr val="tx2">
                          <a:tint val="45000"/>
                          <a:satMod val="400000"/>
                        </a:schemeClr>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149969" y="3300450"/>
                      <a:ext cx="1370443" cy="123541"/>
                    </a:xfrm>
                    <a:prstGeom prst="rect">
                      <a:avLst/>
                    </a:prstGeom>
                  </p:spPr>
                </p:pic>
                <p:pic>
                  <p:nvPicPr>
                    <p:cNvPr id="60" name="Picture 37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00167" y="3005020"/>
                      <a:ext cx="1272835" cy="213216"/>
                    </a:xfrm>
                    <a:prstGeom prst="rect">
                      <a:avLst/>
                    </a:prstGeom>
                  </p:spPr>
                </p:pic>
                <p:pic>
                  <p:nvPicPr>
                    <p:cNvPr id="61" name="Picture 380"/>
                    <p:cNvPicPr>
                      <a:picLocks noChangeAspect="1"/>
                    </p:cNvPicPr>
                    <p:nvPr/>
                  </p:nvPicPr>
                  <p:blipFill rotWithShape="1">
                    <a:blip r:embed="rId16" cstate="print">
                      <a:extLst>
                        <a:ext uri="{28A0092B-C50C-407E-A947-70E740481C1C}">
                          <a14:useLocalDpi xmlns:a14="http://schemas.microsoft.com/office/drawing/2010/main" val="0"/>
                        </a:ext>
                      </a:extLst>
                    </a:blip>
                    <a:srcRect r="58473"/>
                    <a:stretch/>
                  </p:blipFill>
                  <p:spPr>
                    <a:xfrm>
                      <a:off x="4696499" y="2770259"/>
                      <a:ext cx="567992" cy="188016"/>
                    </a:xfrm>
                    <a:prstGeom prst="rect">
                      <a:avLst/>
                    </a:prstGeom>
                  </p:spPr>
                </p:pic>
                <p:pic>
                  <p:nvPicPr>
                    <p:cNvPr id="64" name="Picture 4" descr="http://www.citrix.com/site/resources/dynamic/additional/demos/bin/mm/logos/xd-logotype.png"/>
                    <p:cNvPicPr>
                      <a:picLocks noChangeAspect="1" noChangeArrowheads="1"/>
                    </p:cNvPicPr>
                    <p:nvPr/>
                  </p:nvPicPr>
                  <p:blipFill>
                    <a:blip r:embed="rId17" cstate="print">
                      <a:biLevel thresh="75000"/>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359419" y="2817019"/>
                      <a:ext cx="917218" cy="17275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82"/>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004876" y="3065460"/>
                      <a:ext cx="616969" cy="145176"/>
                    </a:xfrm>
                    <a:prstGeom prst="rect">
                      <a:avLst/>
                    </a:prstGeom>
                  </p:spPr>
                </p:pic>
              </p:grpSp>
            </p:grpSp>
            <p:pic>
              <p:nvPicPr>
                <p:cNvPr id="49" name="Picture 9" descr="http://www.citrix.com/site/resources/dynamic/additional/demos/bin/mm/logos/xc-logotype.png"/>
                <p:cNvPicPr>
                  <a:picLocks noChangeAspect="1" noChangeArrowheads="1"/>
                </p:cNvPicPr>
                <p:nvPr/>
              </p:nvPicPr>
              <p:blipFill>
                <a:blip r:embed="rId20" cstate="print">
                  <a:biLevel thresh="75000"/>
                  <a:extLst>
                    <a:ext uri="{28A0092B-C50C-407E-A947-70E740481C1C}">
                      <a14:useLocalDpi xmlns:a14="http://schemas.microsoft.com/office/drawing/2010/main" val="0"/>
                    </a:ext>
                  </a:extLst>
                </a:blip>
                <a:srcRect/>
                <a:stretch>
                  <a:fillRect/>
                </a:stretch>
              </p:blipFill>
              <p:spPr bwMode="auto">
                <a:xfrm>
                  <a:off x="5024232" y="4092738"/>
                  <a:ext cx="532884" cy="14561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21" cstate="print">
                  <a:biLevel thresh="75000"/>
                  <a:extLst>
                    <a:ext uri="{28A0092B-C50C-407E-A947-70E740481C1C}">
                      <a14:useLocalDpi xmlns:a14="http://schemas.microsoft.com/office/drawing/2010/main" val="0"/>
                    </a:ext>
                  </a:extLst>
                </a:blip>
                <a:stretch>
                  <a:fillRect/>
                </a:stretch>
              </p:blipFill>
              <p:spPr>
                <a:xfrm>
                  <a:off x="4435658" y="4090416"/>
                  <a:ext cx="461051" cy="93511"/>
                </a:xfrm>
                <a:prstGeom prst="rect">
                  <a:avLst/>
                </a:prstGeom>
              </p:spPr>
            </p:pic>
          </p:grpSp>
        </p:grpSp>
        <p:pic>
          <p:nvPicPr>
            <p:cNvPr id="19" name="Picture 18"/>
            <p:cNvPicPr>
              <a:picLocks noChangeAspect="1"/>
            </p:cNvPicPr>
            <p:nvPr/>
          </p:nvPicPr>
          <p:blipFill>
            <a:blip r:embed="rId22">
              <a:duotone>
                <a:prstClr val="black"/>
                <a:srgbClr val="000000">
                  <a:tint val="45000"/>
                  <a:satMod val="400000"/>
                </a:srgbClr>
              </a:duotone>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407189" y="3670885"/>
              <a:ext cx="1030845" cy="106823"/>
            </a:xfrm>
            <a:prstGeom prst="rect">
              <a:avLst/>
            </a:prstGeom>
          </p:spPr>
        </p:pic>
      </p:grpSp>
    </p:spTree>
    <p:extLst>
      <p:ext uri="{BB962C8B-B14F-4D97-AF65-F5344CB8AC3E}">
        <p14:creationId xmlns:p14="http://schemas.microsoft.com/office/powerpoint/2010/main" val="32613093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77778E-6 4.07407E-6 L -0.13316 0.00062 " pathEditMode="relative" rAng="0" ptsTypes="AA">
                                      <p:cBhvr>
                                        <p:cTn id="6" dur="2000" fill="hold"/>
                                        <p:tgtEl>
                                          <p:spTgt spid="13"/>
                                        </p:tgtEl>
                                        <p:attrNameLst>
                                          <p:attrName>ppt_x</p:attrName>
                                          <p:attrName>ppt_y</p:attrName>
                                        </p:attrNameLst>
                                      </p:cBhvr>
                                      <p:rCtr x="-6580" y="-247"/>
                                    </p:animMotion>
                                  </p:childTnLst>
                                </p:cTn>
                              </p:par>
                              <p:par>
                                <p:cTn id="7" presetID="63" presetClass="path" presetSubtype="0" accel="50000" decel="50000" fill="hold" nodeType="withEffect">
                                  <p:stCondLst>
                                    <p:cond delay="0"/>
                                  </p:stCondLst>
                                  <p:childTnLst>
                                    <p:animMotion origin="layout" path="M 0.00087 -1.97531E-6 L 0.11372 0.00185 " pathEditMode="relative" rAng="0" ptsTypes="AA">
                                      <p:cBhvr>
                                        <p:cTn id="8" dur="2000" fill="hold"/>
                                        <p:tgtEl>
                                          <p:spTgt spid="4"/>
                                        </p:tgtEl>
                                        <p:attrNameLst>
                                          <p:attrName>ppt_x</p:attrName>
                                          <p:attrName>ppt_y</p:attrName>
                                        </p:attrNameLst>
                                      </p:cBhvr>
                                      <p:rCtr x="5642" y="93"/>
                                    </p:animMotion>
                                  </p:childTnLst>
                                </p:cTn>
                              </p:par>
                            </p:childTnLst>
                          </p:cTn>
                        </p:par>
                        <p:par>
                          <p:cTn id="9" fill="hold">
                            <p:stCondLst>
                              <p:cond delay="2000"/>
                            </p:stCondLst>
                            <p:childTnLst>
                              <p:par>
                                <p:cTn id="10" presetID="10" presetClass="entr" presetSubtype="0" fill="hold" nodeType="after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8702" y="311700"/>
            <a:ext cx="11680573" cy="1015663"/>
          </a:xfrm>
        </p:spPr>
        <p:txBody>
          <a:bodyPr/>
          <a:lstStyle/>
          <a:p>
            <a:r>
              <a:rPr lang="en-US" b="0" dirty="0" smtClean="0">
                <a:cs typeface="Segoe UI" panose="020B0502040204020203" pitchFamily="34" charset="0"/>
              </a:rPr>
              <a:t>Why Citrix for Desktop Virtualization? </a:t>
            </a:r>
            <a:r>
              <a:rPr lang="en-US" b="0" dirty="0" smtClean="0">
                <a:latin typeface="Segoe UI" panose="020B0502040204020203" pitchFamily="34" charset="0"/>
                <a:cs typeface="Segoe UI" panose="020B0502040204020203" pitchFamily="34" charset="0"/>
              </a:rPr>
              <a:t/>
            </a:r>
            <a:br>
              <a:rPr lang="en-US" b="0" dirty="0" smtClean="0">
                <a:latin typeface="Segoe UI" panose="020B0502040204020203" pitchFamily="34" charset="0"/>
                <a:cs typeface="Segoe UI" panose="020B0502040204020203" pitchFamily="34" charset="0"/>
              </a:rPr>
            </a:br>
            <a:r>
              <a:rPr lang="en-US" sz="2000" dirty="0">
                <a:latin typeface="Segoe UI" panose="020B0502040204020203" pitchFamily="34" charset="0"/>
              </a:rPr>
              <a:t>Work anywhere, made anywhere </a:t>
            </a:r>
          </a:p>
        </p:txBody>
      </p:sp>
      <p:sp>
        <p:nvSpPr>
          <p:cNvPr id="5" name="Content Placeholder 4"/>
          <p:cNvSpPr>
            <a:spLocks noGrp="1"/>
          </p:cNvSpPr>
          <p:nvPr>
            <p:ph sz="quarter" idx="4294967295"/>
          </p:nvPr>
        </p:nvSpPr>
        <p:spPr>
          <a:xfrm>
            <a:off x="464884" y="1797050"/>
            <a:ext cx="11504612" cy="3108351"/>
          </a:xfrm>
        </p:spPr>
        <p:txBody>
          <a:bodyPr/>
          <a:lstStyle/>
          <a:p>
            <a:pPr marL="0" indent="0">
              <a:buNone/>
            </a:pPr>
            <a:r>
              <a:rPr lang="en-US" sz="2856" dirty="0">
                <a:cs typeface="Segoe UI" panose="020B0502040204020203" pitchFamily="34" charset="0"/>
              </a:rPr>
              <a:t>If you need…</a:t>
            </a:r>
          </a:p>
          <a:p>
            <a:pPr marL="0" indent="0">
              <a:buNone/>
            </a:pPr>
            <a:r>
              <a:rPr lang="en-US" sz="2856" dirty="0">
                <a:cs typeface="Segoe UI" panose="020B0502040204020203" pitchFamily="34" charset="0"/>
              </a:rPr>
              <a:t>…a mix of Windows Server 2003, 2008, 2008 R2 </a:t>
            </a:r>
            <a:r>
              <a:rPr lang="en-US" sz="2856" dirty="0" smtClean="0">
                <a:cs typeface="Segoe UI" panose="020B0502040204020203" pitchFamily="34" charset="0"/>
              </a:rPr>
              <a:t>and </a:t>
            </a:r>
            <a:r>
              <a:rPr lang="en-US" sz="2856" dirty="0">
                <a:cs typeface="Segoe UI" panose="020B0502040204020203" pitchFamily="34" charset="0"/>
              </a:rPr>
              <a:t>2012 </a:t>
            </a:r>
          </a:p>
          <a:p>
            <a:pPr marL="0" indent="0">
              <a:buNone/>
            </a:pPr>
            <a:r>
              <a:rPr lang="en-US" sz="2856" dirty="0">
                <a:cs typeface="Segoe UI" panose="020B0502040204020203" pitchFamily="34" charset="0"/>
              </a:rPr>
              <a:t>…a mix of Windows XP, Windows 7 </a:t>
            </a:r>
            <a:r>
              <a:rPr lang="en-US" sz="2856" dirty="0" smtClean="0">
                <a:cs typeface="Segoe UI" panose="020B0502040204020203" pitchFamily="34" charset="0"/>
              </a:rPr>
              <a:t>and </a:t>
            </a:r>
            <a:r>
              <a:rPr lang="en-US" sz="2856" dirty="0">
                <a:cs typeface="Segoe UI" panose="020B0502040204020203" pitchFamily="34" charset="0"/>
              </a:rPr>
              <a:t>Windows 8 virtual desktops</a:t>
            </a:r>
          </a:p>
          <a:p>
            <a:pPr marL="0" indent="0">
              <a:buNone/>
            </a:pPr>
            <a:r>
              <a:rPr lang="en-US" sz="2856" dirty="0">
                <a:cs typeface="Segoe UI" panose="020B0502040204020203" pitchFamily="34" charset="0"/>
              </a:rPr>
              <a:t>…a mix of Windows </a:t>
            </a:r>
            <a:r>
              <a:rPr lang="en-US" sz="2856" dirty="0" smtClean="0">
                <a:cs typeface="Segoe UI" panose="020B0502040204020203" pitchFamily="34" charset="0"/>
              </a:rPr>
              <a:t>and </a:t>
            </a:r>
            <a:r>
              <a:rPr lang="en-US" sz="2856" dirty="0">
                <a:cs typeface="Segoe UI" panose="020B0502040204020203" pitchFamily="34" charset="0"/>
              </a:rPr>
              <a:t>non-Windows user devices</a:t>
            </a:r>
          </a:p>
          <a:p>
            <a:pPr marL="0" indent="0">
              <a:buNone/>
            </a:pPr>
            <a:r>
              <a:rPr lang="en-US" sz="2856" dirty="0">
                <a:cs typeface="Segoe UI" panose="020B0502040204020203" pitchFamily="34" charset="0"/>
              </a:rPr>
              <a:t>…a mix of private, service </a:t>
            </a:r>
            <a:r>
              <a:rPr lang="en-US" sz="2856" dirty="0" smtClean="0">
                <a:cs typeface="Segoe UI" panose="020B0502040204020203" pitchFamily="34" charset="0"/>
              </a:rPr>
              <a:t>provider, </a:t>
            </a:r>
            <a:r>
              <a:rPr lang="en-US" sz="2856" dirty="0">
                <a:cs typeface="Segoe UI" panose="020B0502040204020203" pitchFamily="34" charset="0"/>
              </a:rPr>
              <a:t>and hybrid desktop infrastructures </a:t>
            </a:r>
          </a:p>
          <a:p>
            <a:pPr marL="0" indent="0">
              <a:buNone/>
            </a:pPr>
            <a:r>
              <a:rPr lang="en-US" sz="2856" dirty="0">
                <a:cs typeface="Segoe UI" panose="020B0502040204020203" pitchFamily="34" charset="0"/>
              </a:rPr>
              <a:t>…a mix of use cases </a:t>
            </a:r>
            <a:r>
              <a:rPr lang="en-US" sz="2856" dirty="0" smtClean="0">
                <a:cs typeface="Segoe UI" panose="020B0502040204020203" pitchFamily="34" charset="0"/>
              </a:rPr>
              <a:t>(for example, </a:t>
            </a:r>
            <a:r>
              <a:rPr lang="en-US" sz="2856" dirty="0">
                <a:cs typeface="Segoe UI" panose="020B0502040204020203" pitchFamily="34" charset="0"/>
              </a:rPr>
              <a:t>VDI, streamed, remote, offline, 3D, apps…)</a:t>
            </a:r>
          </a:p>
        </p:txBody>
      </p:sp>
      <p:sp>
        <p:nvSpPr>
          <p:cNvPr id="2" name="Rectangle 1"/>
          <p:cNvSpPr/>
          <p:nvPr/>
        </p:nvSpPr>
        <p:spPr>
          <a:xfrm>
            <a:off x="402577" y="5066344"/>
            <a:ext cx="10959552" cy="552300"/>
          </a:xfrm>
          <a:prstGeom prst="rect">
            <a:avLst/>
          </a:prstGeom>
        </p:spPr>
        <p:txBody>
          <a:bodyPr wrap="square" lIns="124309" tIns="62154" rIns="124309" bIns="62154">
            <a:spAutoFit/>
          </a:bodyPr>
          <a:lstStyle/>
          <a:p>
            <a:pPr algn="ctr"/>
            <a:r>
              <a:rPr lang="en-US" sz="2719" dirty="0">
                <a:latin typeface="Segoe UI" panose="020B0502040204020203" pitchFamily="34" charset="0"/>
                <a:cs typeface="Segoe UI" panose="020B0502040204020203" pitchFamily="34" charset="0"/>
              </a:rPr>
              <a:t>…then you need enterprise class desktop virtualization from Citrix</a:t>
            </a:r>
          </a:p>
        </p:txBody>
      </p:sp>
      <p:sp>
        <p:nvSpPr>
          <p:cNvPr id="3" name="Rectangle 2"/>
          <p:cNvSpPr/>
          <p:nvPr/>
        </p:nvSpPr>
        <p:spPr bwMode="auto">
          <a:xfrm>
            <a:off x="457200" y="4978934"/>
            <a:ext cx="11522075" cy="45719"/>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Tree>
    <p:extLst>
      <p:ext uri="{BB962C8B-B14F-4D97-AF65-F5344CB8AC3E}">
        <p14:creationId xmlns:p14="http://schemas.microsoft.com/office/powerpoint/2010/main" val="454918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0371" y="305330"/>
            <a:ext cx="9667601" cy="779309"/>
          </a:xfrm>
        </p:spPr>
        <p:txBody>
          <a:bodyPr/>
          <a:lstStyle/>
          <a:p>
            <a:r>
              <a:rPr lang="en-US" dirty="0" smtClean="0"/>
              <a:t>RemoteFX rich ecosystem</a:t>
            </a:r>
            <a:endParaRPr lang="en-US" dirty="0"/>
          </a:p>
        </p:txBody>
      </p:sp>
      <p:grpSp>
        <p:nvGrpSpPr>
          <p:cNvPr id="5" name="Group 4"/>
          <p:cNvGrpSpPr/>
          <p:nvPr/>
        </p:nvGrpSpPr>
        <p:grpSpPr>
          <a:xfrm>
            <a:off x="4529695" y="1202733"/>
            <a:ext cx="3172444" cy="1289685"/>
            <a:chOff x="4452149" y="3700492"/>
            <a:chExt cx="3172444" cy="1289685"/>
          </a:xfrm>
        </p:grpSpPr>
        <p:pic>
          <p:nvPicPr>
            <p:cNvPr id="11" name="Picture 10" descr="Untitled-3.png"/>
            <p:cNvPicPr>
              <a:picLocks noChangeAspect="1"/>
            </p:cNvPicPr>
            <p:nvPr/>
          </p:nvPicPr>
          <p:blipFill rotWithShape="1">
            <a:blip r:embed="rId3">
              <a:extLst>
                <a:ext uri="{28A0092B-C50C-407E-A947-70E740481C1C}">
                  <a14:useLocalDpi xmlns:a14="http://schemas.microsoft.com/office/drawing/2010/main"/>
                </a:ext>
              </a:extLst>
            </a:blip>
            <a:srcRect b="30933"/>
            <a:stretch/>
          </p:blipFill>
          <p:spPr>
            <a:xfrm>
              <a:off x="4452149" y="3700492"/>
              <a:ext cx="3172444" cy="962457"/>
            </a:xfrm>
            <a:prstGeom prst="rect">
              <a:avLst/>
            </a:prstGeom>
          </p:spPr>
        </p:pic>
        <p:sp>
          <p:nvSpPr>
            <p:cNvPr id="6" name="Rectangle 5"/>
            <p:cNvSpPr/>
            <p:nvPr/>
          </p:nvSpPr>
          <p:spPr>
            <a:xfrm>
              <a:off x="5340851" y="4565445"/>
              <a:ext cx="1404936" cy="424732"/>
            </a:xfrm>
            <a:prstGeom prst="rect">
              <a:avLst/>
            </a:prstGeom>
          </p:spPr>
          <p:txBody>
            <a:bodyPr wrap="none">
              <a:spAutoFit/>
            </a:bodyPr>
            <a:lstStyle/>
            <a:p>
              <a:pPr marL="0" lvl="1" defTabSz="471596">
                <a:lnSpc>
                  <a:spcPct val="90000"/>
                </a:lnSpc>
              </a:pPr>
              <a:r>
                <a:rPr lang="en-US" sz="2400" b="1" dirty="0">
                  <a:solidFill>
                    <a:schemeClr val="accent1"/>
                  </a:solidFill>
                  <a:cs typeface="Segoe UI" pitchFamily="34" charset="0"/>
                </a:rPr>
                <a:t>Features</a:t>
              </a:r>
            </a:p>
          </p:txBody>
        </p:sp>
      </p:grpSp>
      <p:grpSp>
        <p:nvGrpSpPr>
          <p:cNvPr id="21" name="Group 20"/>
          <p:cNvGrpSpPr/>
          <p:nvPr/>
        </p:nvGrpSpPr>
        <p:grpSpPr>
          <a:xfrm>
            <a:off x="9635272" y="3040063"/>
            <a:ext cx="2471767" cy="2398712"/>
            <a:chOff x="9635272" y="3040063"/>
            <a:chExt cx="2471767" cy="2398712"/>
          </a:xfrm>
        </p:grpSpPr>
        <p:sp>
          <p:nvSpPr>
            <p:cNvPr id="7" name="Rectangle 6"/>
            <p:cNvSpPr/>
            <p:nvPr/>
          </p:nvSpPr>
          <p:spPr>
            <a:xfrm>
              <a:off x="9635272" y="5124843"/>
              <a:ext cx="2471767" cy="313932"/>
            </a:xfrm>
            <a:prstGeom prst="rect">
              <a:avLst/>
            </a:prstGeom>
          </p:spPr>
          <p:txBody>
            <a:bodyPr wrap="none">
              <a:spAutoFit/>
            </a:bodyPr>
            <a:lstStyle/>
            <a:p>
              <a:pPr marL="0" lvl="1" defTabSz="471596">
                <a:lnSpc>
                  <a:spcPct val="90000"/>
                </a:lnSpc>
                <a:spcBef>
                  <a:spcPts val="612"/>
                </a:spcBef>
                <a:spcAft>
                  <a:spcPts val="612"/>
                </a:spcAft>
              </a:pPr>
              <a:r>
                <a:rPr lang="en-US" sz="1600" dirty="0">
                  <a:cs typeface="Segoe UI" pitchFamily="34" charset="0"/>
                </a:rPr>
                <a:t>RemoteFX client software</a:t>
              </a:r>
            </a:p>
          </p:txBody>
        </p:sp>
        <p:sp>
          <p:nvSpPr>
            <p:cNvPr id="22" name="Freeform 5"/>
            <p:cNvSpPr>
              <a:spLocks noEditPoints="1"/>
            </p:cNvSpPr>
            <p:nvPr/>
          </p:nvSpPr>
          <p:spPr bwMode="auto">
            <a:xfrm>
              <a:off x="10296207" y="3040063"/>
              <a:ext cx="1279381" cy="1004226"/>
            </a:xfrm>
            <a:custGeom>
              <a:avLst/>
              <a:gdLst>
                <a:gd name="T0" fmla="*/ 878 w 1064"/>
                <a:gd name="T1" fmla="*/ 73 h 838"/>
                <a:gd name="T2" fmla="*/ 917 w 1064"/>
                <a:gd name="T3" fmla="*/ 73 h 838"/>
                <a:gd name="T4" fmla="*/ 917 w 1064"/>
                <a:gd name="T5" fmla="*/ 35 h 838"/>
                <a:gd name="T6" fmla="*/ 878 w 1064"/>
                <a:gd name="T7" fmla="*/ 35 h 838"/>
                <a:gd name="T8" fmla="*/ 878 w 1064"/>
                <a:gd name="T9" fmla="*/ 73 h 838"/>
                <a:gd name="T10" fmla="*/ 884 w 1064"/>
                <a:gd name="T11" fmla="*/ 41 h 838"/>
                <a:gd name="T12" fmla="*/ 911 w 1064"/>
                <a:gd name="T13" fmla="*/ 41 h 838"/>
                <a:gd name="T14" fmla="*/ 911 w 1064"/>
                <a:gd name="T15" fmla="*/ 67 h 838"/>
                <a:gd name="T16" fmla="*/ 884 w 1064"/>
                <a:gd name="T17" fmla="*/ 67 h 838"/>
                <a:gd name="T18" fmla="*/ 884 w 1064"/>
                <a:gd name="T19" fmla="*/ 41 h 838"/>
                <a:gd name="T20" fmla="*/ 805 w 1064"/>
                <a:gd name="T21" fmla="*/ 73 h 838"/>
                <a:gd name="T22" fmla="*/ 852 w 1064"/>
                <a:gd name="T23" fmla="*/ 73 h 838"/>
                <a:gd name="T24" fmla="*/ 852 w 1064"/>
                <a:gd name="T25" fmla="*/ 65 h 838"/>
                <a:gd name="T26" fmla="*/ 805 w 1064"/>
                <a:gd name="T27" fmla="*/ 65 h 838"/>
                <a:gd name="T28" fmla="*/ 805 w 1064"/>
                <a:gd name="T29" fmla="*/ 73 h 838"/>
                <a:gd name="T30" fmla="*/ 1011 w 1064"/>
                <a:gd name="T31" fmla="*/ 201 h 838"/>
                <a:gd name="T32" fmla="*/ 53 w 1064"/>
                <a:gd name="T33" fmla="*/ 201 h 838"/>
                <a:gd name="T34" fmla="*/ 53 w 1064"/>
                <a:gd name="T35" fmla="*/ 201 h 838"/>
                <a:gd name="T36" fmla="*/ 53 w 1064"/>
                <a:gd name="T37" fmla="*/ 786 h 838"/>
                <a:gd name="T38" fmla="*/ 53 w 1064"/>
                <a:gd name="T39" fmla="*/ 786 h 838"/>
                <a:gd name="T40" fmla="*/ 1011 w 1064"/>
                <a:gd name="T41" fmla="*/ 786 h 838"/>
                <a:gd name="T42" fmla="*/ 1011 w 1064"/>
                <a:gd name="T43" fmla="*/ 786 h 838"/>
                <a:gd name="T44" fmla="*/ 1011 w 1064"/>
                <a:gd name="T45" fmla="*/ 201 h 838"/>
                <a:gd name="T46" fmla="*/ 1011 w 1064"/>
                <a:gd name="T47" fmla="*/ 201 h 838"/>
                <a:gd name="T48" fmla="*/ 988 w 1064"/>
                <a:gd name="T49" fmla="*/ 34 h 838"/>
                <a:gd name="T50" fmla="*/ 975 w 1064"/>
                <a:gd name="T51" fmla="*/ 47 h 838"/>
                <a:gd name="T52" fmla="*/ 962 w 1064"/>
                <a:gd name="T53" fmla="*/ 34 h 838"/>
                <a:gd name="T54" fmla="*/ 949 w 1064"/>
                <a:gd name="T55" fmla="*/ 34 h 838"/>
                <a:gd name="T56" fmla="*/ 969 w 1064"/>
                <a:gd name="T57" fmla="*/ 53 h 838"/>
                <a:gd name="T58" fmla="*/ 950 w 1064"/>
                <a:gd name="T59" fmla="*/ 73 h 838"/>
                <a:gd name="T60" fmla="*/ 962 w 1064"/>
                <a:gd name="T61" fmla="*/ 73 h 838"/>
                <a:gd name="T62" fmla="*/ 962 w 1064"/>
                <a:gd name="T63" fmla="*/ 72 h 838"/>
                <a:gd name="T64" fmla="*/ 975 w 1064"/>
                <a:gd name="T65" fmla="*/ 60 h 838"/>
                <a:gd name="T66" fmla="*/ 981 w 1064"/>
                <a:gd name="T67" fmla="*/ 65 h 838"/>
                <a:gd name="T68" fmla="*/ 988 w 1064"/>
                <a:gd name="T69" fmla="*/ 73 h 838"/>
                <a:gd name="T70" fmla="*/ 1000 w 1064"/>
                <a:gd name="T71" fmla="*/ 73 h 838"/>
                <a:gd name="T72" fmla="*/ 981 w 1064"/>
                <a:gd name="T73" fmla="*/ 53 h 838"/>
                <a:gd name="T74" fmla="*/ 1000 w 1064"/>
                <a:gd name="T75" fmla="*/ 34 h 838"/>
                <a:gd name="T76" fmla="*/ 988 w 1064"/>
                <a:gd name="T77" fmla="*/ 34 h 838"/>
                <a:gd name="T78" fmla="*/ 1064 w 1064"/>
                <a:gd name="T79" fmla="*/ 786 h 838"/>
                <a:gd name="T80" fmla="*/ 1011 w 1064"/>
                <a:gd name="T81" fmla="*/ 838 h 838"/>
                <a:gd name="T82" fmla="*/ 53 w 1064"/>
                <a:gd name="T83" fmla="*/ 838 h 838"/>
                <a:gd name="T84" fmla="*/ 0 w 1064"/>
                <a:gd name="T85" fmla="*/ 786 h 838"/>
                <a:gd name="T86" fmla="*/ 0 w 1064"/>
                <a:gd name="T87" fmla="*/ 201 h 838"/>
                <a:gd name="T88" fmla="*/ 53 w 1064"/>
                <a:gd name="T89" fmla="*/ 148 h 838"/>
                <a:gd name="T90" fmla="*/ 1011 w 1064"/>
                <a:gd name="T91" fmla="*/ 148 h 838"/>
                <a:gd name="T92" fmla="*/ 1064 w 1064"/>
                <a:gd name="T93" fmla="*/ 201 h 838"/>
                <a:gd name="T94" fmla="*/ 1064 w 1064"/>
                <a:gd name="T95" fmla="*/ 786 h 838"/>
                <a:gd name="T96" fmla="*/ 1064 w 1064"/>
                <a:gd name="T97" fmla="*/ 124 h 838"/>
                <a:gd name="T98" fmla="*/ 1023 w 1064"/>
                <a:gd name="T99" fmla="*/ 105 h 838"/>
                <a:gd name="T100" fmla="*/ 37 w 1064"/>
                <a:gd name="T101" fmla="*/ 105 h 838"/>
                <a:gd name="T102" fmla="*/ 0 w 1064"/>
                <a:gd name="T103" fmla="*/ 119 h 838"/>
                <a:gd name="T104" fmla="*/ 0 w 1064"/>
                <a:gd name="T105" fmla="*/ 52 h 838"/>
                <a:gd name="T106" fmla="*/ 53 w 1064"/>
                <a:gd name="T107" fmla="*/ 0 h 838"/>
                <a:gd name="T108" fmla="*/ 1011 w 1064"/>
                <a:gd name="T109" fmla="*/ 0 h 838"/>
                <a:gd name="T110" fmla="*/ 1064 w 1064"/>
                <a:gd name="T111" fmla="*/ 52 h 838"/>
                <a:gd name="T112" fmla="*/ 1064 w 1064"/>
                <a:gd name="T113" fmla="*/ 124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4" h="838">
                  <a:moveTo>
                    <a:pt x="878" y="73"/>
                  </a:moveTo>
                  <a:cubicBezTo>
                    <a:pt x="917" y="73"/>
                    <a:pt x="917" y="73"/>
                    <a:pt x="917" y="73"/>
                  </a:cubicBezTo>
                  <a:cubicBezTo>
                    <a:pt x="917" y="35"/>
                    <a:pt x="917" y="35"/>
                    <a:pt x="917" y="35"/>
                  </a:cubicBezTo>
                  <a:cubicBezTo>
                    <a:pt x="878" y="35"/>
                    <a:pt x="878" y="35"/>
                    <a:pt x="878" y="35"/>
                  </a:cubicBezTo>
                  <a:lnTo>
                    <a:pt x="878" y="73"/>
                  </a:lnTo>
                  <a:close/>
                  <a:moveTo>
                    <a:pt x="884" y="41"/>
                  </a:moveTo>
                  <a:cubicBezTo>
                    <a:pt x="911" y="41"/>
                    <a:pt x="911" y="41"/>
                    <a:pt x="911" y="41"/>
                  </a:cubicBezTo>
                  <a:cubicBezTo>
                    <a:pt x="911" y="67"/>
                    <a:pt x="911" y="67"/>
                    <a:pt x="911" y="67"/>
                  </a:cubicBezTo>
                  <a:cubicBezTo>
                    <a:pt x="884" y="67"/>
                    <a:pt x="884" y="67"/>
                    <a:pt x="884" y="67"/>
                  </a:cubicBezTo>
                  <a:lnTo>
                    <a:pt x="884" y="41"/>
                  </a:lnTo>
                  <a:close/>
                  <a:moveTo>
                    <a:pt x="805" y="73"/>
                  </a:moveTo>
                  <a:cubicBezTo>
                    <a:pt x="852" y="73"/>
                    <a:pt x="852" y="73"/>
                    <a:pt x="852" y="73"/>
                  </a:cubicBezTo>
                  <a:cubicBezTo>
                    <a:pt x="852" y="65"/>
                    <a:pt x="852" y="65"/>
                    <a:pt x="852" y="65"/>
                  </a:cubicBezTo>
                  <a:cubicBezTo>
                    <a:pt x="805" y="65"/>
                    <a:pt x="805" y="65"/>
                    <a:pt x="805" y="65"/>
                  </a:cubicBezTo>
                  <a:lnTo>
                    <a:pt x="805" y="73"/>
                  </a:lnTo>
                  <a:close/>
                  <a:moveTo>
                    <a:pt x="1011" y="201"/>
                  </a:moveTo>
                  <a:cubicBezTo>
                    <a:pt x="53" y="201"/>
                    <a:pt x="53" y="201"/>
                    <a:pt x="53" y="201"/>
                  </a:cubicBezTo>
                  <a:cubicBezTo>
                    <a:pt x="53" y="201"/>
                    <a:pt x="53" y="201"/>
                    <a:pt x="53" y="201"/>
                  </a:cubicBezTo>
                  <a:cubicBezTo>
                    <a:pt x="53" y="786"/>
                    <a:pt x="53" y="786"/>
                    <a:pt x="53" y="786"/>
                  </a:cubicBezTo>
                  <a:cubicBezTo>
                    <a:pt x="53" y="786"/>
                    <a:pt x="53" y="786"/>
                    <a:pt x="53" y="786"/>
                  </a:cubicBezTo>
                  <a:cubicBezTo>
                    <a:pt x="1011" y="786"/>
                    <a:pt x="1011" y="786"/>
                    <a:pt x="1011" y="786"/>
                  </a:cubicBezTo>
                  <a:cubicBezTo>
                    <a:pt x="1011" y="786"/>
                    <a:pt x="1011" y="786"/>
                    <a:pt x="1011" y="786"/>
                  </a:cubicBezTo>
                  <a:cubicBezTo>
                    <a:pt x="1011" y="201"/>
                    <a:pt x="1011" y="201"/>
                    <a:pt x="1011" y="201"/>
                  </a:cubicBezTo>
                  <a:cubicBezTo>
                    <a:pt x="1011" y="201"/>
                    <a:pt x="1011" y="201"/>
                    <a:pt x="1011" y="201"/>
                  </a:cubicBezTo>
                  <a:close/>
                  <a:moveTo>
                    <a:pt x="988" y="34"/>
                  </a:moveTo>
                  <a:cubicBezTo>
                    <a:pt x="975" y="47"/>
                    <a:pt x="975" y="47"/>
                    <a:pt x="975" y="47"/>
                  </a:cubicBezTo>
                  <a:cubicBezTo>
                    <a:pt x="962" y="34"/>
                    <a:pt x="962" y="34"/>
                    <a:pt x="962" y="34"/>
                  </a:cubicBezTo>
                  <a:cubicBezTo>
                    <a:pt x="949" y="34"/>
                    <a:pt x="949" y="34"/>
                    <a:pt x="949" y="34"/>
                  </a:cubicBezTo>
                  <a:cubicBezTo>
                    <a:pt x="969" y="53"/>
                    <a:pt x="969" y="53"/>
                    <a:pt x="969" y="53"/>
                  </a:cubicBezTo>
                  <a:cubicBezTo>
                    <a:pt x="950" y="73"/>
                    <a:pt x="950" y="73"/>
                    <a:pt x="950" y="73"/>
                  </a:cubicBezTo>
                  <a:cubicBezTo>
                    <a:pt x="962" y="73"/>
                    <a:pt x="962" y="73"/>
                    <a:pt x="962" y="73"/>
                  </a:cubicBezTo>
                  <a:cubicBezTo>
                    <a:pt x="962" y="72"/>
                    <a:pt x="962" y="72"/>
                    <a:pt x="962" y="72"/>
                  </a:cubicBezTo>
                  <a:cubicBezTo>
                    <a:pt x="975" y="60"/>
                    <a:pt x="975" y="60"/>
                    <a:pt x="975" y="60"/>
                  </a:cubicBezTo>
                  <a:cubicBezTo>
                    <a:pt x="981" y="65"/>
                    <a:pt x="981" y="65"/>
                    <a:pt x="981" y="65"/>
                  </a:cubicBezTo>
                  <a:cubicBezTo>
                    <a:pt x="988" y="73"/>
                    <a:pt x="988" y="73"/>
                    <a:pt x="988" y="73"/>
                  </a:cubicBezTo>
                  <a:cubicBezTo>
                    <a:pt x="1000" y="73"/>
                    <a:pt x="1000" y="73"/>
                    <a:pt x="1000" y="73"/>
                  </a:cubicBezTo>
                  <a:cubicBezTo>
                    <a:pt x="981" y="53"/>
                    <a:pt x="981" y="53"/>
                    <a:pt x="981" y="53"/>
                  </a:cubicBezTo>
                  <a:cubicBezTo>
                    <a:pt x="1000" y="34"/>
                    <a:pt x="1000" y="34"/>
                    <a:pt x="1000" y="34"/>
                  </a:cubicBezTo>
                  <a:lnTo>
                    <a:pt x="988" y="34"/>
                  </a:lnTo>
                  <a:close/>
                  <a:moveTo>
                    <a:pt x="1064" y="786"/>
                  </a:moveTo>
                  <a:cubicBezTo>
                    <a:pt x="1064" y="815"/>
                    <a:pt x="1040" y="838"/>
                    <a:pt x="1011" y="838"/>
                  </a:cubicBezTo>
                  <a:cubicBezTo>
                    <a:pt x="53" y="838"/>
                    <a:pt x="53" y="838"/>
                    <a:pt x="53" y="838"/>
                  </a:cubicBezTo>
                  <a:cubicBezTo>
                    <a:pt x="24" y="838"/>
                    <a:pt x="0" y="815"/>
                    <a:pt x="0" y="786"/>
                  </a:cubicBezTo>
                  <a:cubicBezTo>
                    <a:pt x="0" y="201"/>
                    <a:pt x="0" y="201"/>
                    <a:pt x="0" y="201"/>
                  </a:cubicBezTo>
                  <a:cubicBezTo>
                    <a:pt x="0" y="172"/>
                    <a:pt x="24" y="148"/>
                    <a:pt x="53" y="148"/>
                  </a:cubicBezTo>
                  <a:cubicBezTo>
                    <a:pt x="1011" y="148"/>
                    <a:pt x="1011" y="148"/>
                    <a:pt x="1011" y="148"/>
                  </a:cubicBezTo>
                  <a:cubicBezTo>
                    <a:pt x="1040" y="148"/>
                    <a:pt x="1064" y="172"/>
                    <a:pt x="1064" y="201"/>
                  </a:cubicBezTo>
                  <a:lnTo>
                    <a:pt x="1064" y="786"/>
                  </a:lnTo>
                  <a:close/>
                  <a:moveTo>
                    <a:pt x="1064" y="124"/>
                  </a:moveTo>
                  <a:cubicBezTo>
                    <a:pt x="1054" y="112"/>
                    <a:pt x="1039" y="105"/>
                    <a:pt x="1023" y="105"/>
                  </a:cubicBezTo>
                  <a:cubicBezTo>
                    <a:pt x="37" y="105"/>
                    <a:pt x="37" y="105"/>
                    <a:pt x="37" y="105"/>
                  </a:cubicBezTo>
                  <a:cubicBezTo>
                    <a:pt x="23" y="105"/>
                    <a:pt x="10" y="110"/>
                    <a:pt x="0" y="119"/>
                  </a:cubicBezTo>
                  <a:cubicBezTo>
                    <a:pt x="0" y="52"/>
                    <a:pt x="0" y="52"/>
                    <a:pt x="0" y="52"/>
                  </a:cubicBezTo>
                  <a:cubicBezTo>
                    <a:pt x="0" y="23"/>
                    <a:pt x="24" y="0"/>
                    <a:pt x="53" y="0"/>
                  </a:cubicBezTo>
                  <a:cubicBezTo>
                    <a:pt x="1011" y="0"/>
                    <a:pt x="1011" y="0"/>
                    <a:pt x="1011" y="0"/>
                  </a:cubicBezTo>
                  <a:cubicBezTo>
                    <a:pt x="1040" y="0"/>
                    <a:pt x="1064" y="23"/>
                    <a:pt x="1064" y="52"/>
                  </a:cubicBezTo>
                  <a:lnTo>
                    <a:pt x="1064" y="12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23" name="Picture 22" descr="Untitled-3.png"/>
            <p:cNvPicPr>
              <a:picLocks noChangeAspect="1"/>
            </p:cNvPicPr>
            <p:nvPr/>
          </p:nvPicPr>
          <p:blipFill rotWithShape="1">
            <a:blip r:embed="rId3">
              <a:extLst>
                <a:ext uri="{28A0092B-C50C-407E-A947-70E740481C1C}">
                  <a14:useLocalDpi xmlns:a14="http://schemas.microsoft.com/office/drawing/2010/main"/>
                </a:ext>
              </a:extLst>
            </a:blip>
            <a:srcRect b="30933"/>
            <a:stretch/>
          </p:blipFill>
          <p:spPr>
            <a:xfrm>
              <a:off x="10453960" y="3502759"/>
              <a:ext cx="949761" cy="288139"/>
            </a:xfrm>
            <a:prstGeom prst="rect">
              <a:avLst/>
            </a:prstGeom>
          </p:spPr>
        </p:pic>
      </p:grpSp>
      <p:grpSp>
        <p:nvGrpSpPr>
          <p:cNvPr id="17" name="Group 16"/>
          <p:cNvGrpSpPr/>
          <p:nvPr/>
        </p:nvGrpSpPr>
        <p:grpSpPr>
          <a:xfrm>
            <a:off x="471455" y="2611942"/>
            <a:ext cx="1505674" cy="2840141"/>
            <a:chOff x="471455" y="2611942"/>
            <a:chExt cx="1505674" cy="2840141"/>
          </a:xfrm>
        </p:grpSpPr>
        <p:sp>
          <p:nvSpPr>
            <p:cNvPr id="15" name="Rectangle 14"/>
            <p:cNvSpPr/>
            <p:nvPr/>
          </p:nvSpPr>
          <p:spPr>
            <a:xfrm>
              <a:off x="756407" y="5138151"/>
              <a:ext cx="845488" cy="313932"/>
            </a:xfrm>
            <a:prstGeom prst="rect">
              <a:avLst/>
            </a:prstGeom>
          </p:spPr>
          <p:txBody>
            <a:bodyPr wrap="none">
              <a:spAutoFit/>
            </a:bodyPr>
            <a:lstStyle/>
            <a:p>
              <a:pPr marL="0" lvl="1" defTabSz="471596">
                <a:lnSpc>
                  <a:spcPct val="90000"/>
                </a:lnSpc>
                <a:spcBef>
                  <a:spcPts val="612"/>
                </a:spcBef>
                <a:spcAft>
                  <a:spcPts val="612"/>
                </a:spcAft>
              </a:pPr>
              <a:r>
                <a:rPr lang="en-US" sz="1600" dirty="0">
                  <a:cs typeface="Segoe UI" pitchFamily="34" charset="0"/>
                </a:rPr>
                <a:t>Servers</a:t>
              </a:r>
            </a:p>
          </p:txBody>
        </p:sp>
        <p:grpSp>
          <p:nvGrpSpPr>
            <p:cNvPr id="31" name="Group 30"/>
            <p:cNvGrpSpPr/>
            <p:nvPr/>
          </p:nvGrpSpPr>
          <p:grpSpPr>
            <a:xfrm>
              <a:off x="471455" y="2611942"/>
              <a:ext cx="1505674" cy="1960076"/>
              <a:chOff x="1831417" y="4435258"/>
              <a:chExt cx="1343449" cy="1748893"/>
            </a:xfrm>
          </p:grpSpPr>
          <p:sp>
            <p:nvSpPr>
              <p:cNvPr id="25" name="Freeform 59"/>
              <p:cNvSpPr>
                <a:spLocks noEditPoints="1"/>
              </p:cNvSpPr>
              <p:nvPr/>
            </p:nvSpPr>
            <p:spPr bwMode="auto">
              <a:xfrm>
                <a:off x="2507251" y="4435258"/>
                <a:ext cx="667615" cy="1279134"/>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 name="Rectangle 29"/>
              <p:cNvSpPr/>
              <p:nvPr/>
            </p:nvSpPr>
            <p:spPr bwMode="auto">
              <a:xfrm>
                <a:off x="2424436" y="4753622"/>
                <a:ext cx="165629" cy="5180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26" name="Freeform 59"/>
              <p:cNvSpPr>
                <a:spLocks noEditPoints="1"/>
              </p:cNvSpPr>
              <p:nvPr/>
            </p:nvSpPr>
            <p:spPr bwMode="auto">
              <a:xfrm>
                <a:off x="2171105" y="4668306"/>
                <a:ext cx="667615" cy="1279134"/>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 name="Rectangle 28"/>
              <p:cNvSpPr/>
              <p:nvPr/>
            </p:nvSpPr>
            <p:spPr bwMode="auto">
              <a:xfrm>
                <a:off x="2103438" y="5022201"/>
                <a:ext cx="165629" cy="51805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27" name="Freeform 59"/>
              <p:cNvSpPr>
                <a:spLocks noEditPoints="1"/>
              </p:cNvSpPr>
              <p:nvPr/>
            </p:nvSpPr>
            <p:spPr bwMode="auto">
              <a:xfrm>
                <a:off x="1831417" y="4905017"/>
                <a:ext cx="667615" cy="1279134"/>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19" name="Group 18"/>
          <p:cNvGrpSpPr/>
          <p:nvPr/>
        </p:nvGrpSpPr>
        <p:grpSpPr>
          <a:xfrm>
            <a:off x="4951811" y="2818492"/>
            <a:ext cx="2107455" cy="2633591"/>
            <a:chOff x="4951811" y="2818492"/>
            <a:chExt cx="2107455" cy="2633591"/>
          </a:xfrm>
        </p:grpSpPr>
        <p:sp>
          <p:nvSpPr>
            <p:cNvPr id="9" name="Rectangle 8"/>
            <p:cNvSpPr/>
            <p:nvPr/>
          </p:nvSpPr>
          <p:spPr>
            <a:xfrm>
              <a:off x="5177505" y="5138151"/>
              <a:ext cx="1732269" cy="313932"/>
            </a:xfrm>
            <a:prstGeom prst="rect">
              <a:avLst/>
            </a:prstGeom>
          </p:spPr>
          <p:txBody>
            <a:bodyPr wrap="none">
              <a:spAutoFit/>
            </a:bodyPr>
            <a:lstStyle/>
            <a:p>
              <a:pPr marL="0" lvl="1" defTabSz="471596">
                <a:lnSpc>
                  <a:spcPct val="90000"/>
                </a:lnSpc>
                <a:spcBef>
                  <a:spcPts val="612"/>
                </a:spcBef>
                <a:spcAft>
                  <a:spcPts val="612"/>
                </a:spcAft>
              </a:pPr>
              <a:r>
                <a:rPr lang="en-US" sz="1600" dirty="0">
                  <a:cs typeface="Segoe UI" pitchFamily="34" charset="0"/>
                </a:rPr>
                <a:t>RemoteFX clients</a:t>
              </a:r>
            </a:p>
          </p:txBody>
        </p:sp>
        <p:grpSp>
          <p:nvGrpSpPr>
            <p:cNvPr id="16" name="Group 15"/>
            <p:cNvGrpSpPr/>
            <p:nvPr/>
          </p:nvGrpSpPr>
          <p:grpSpPr>
            <a:xfrm>
              <a:off x="4951811" y="2818492"/>
              <a:ext cx="2107455" cy="1474880"/>
              <a:chOff x="5144145" y="2915445"/>
              <a:chExt cx="1601642" cy="1120892"/>
            </a:xfrm>
          </p:grpSpPr>
          <p:grpSp>
            <p:nvGrpSpPr>
              <p:cNvPr id="35" name="Group 4"/>
              <p:cNvGrpSpPr>
                <a:grpSpLocks noChangeAspect="1"/>
              </p:cNvGrpSpPr>
              <p:nvPr/>
            </p:nvGrpSpPr>
            <p:grpSpPr bwMode="auto">
              <a:xfrm>
                <a:off x="5628595" y="2957141"/>
                <a:ext cx="617003" cy="932458"/>
                <a:chOff x="2629" y="260"/>
                <a:chExt cx="2574" cy="3890"/>
              </a:xfrm>
              <a:solidFill>
                <a:srgbClr val="0070C0"/>
              </a:solidFill>
            </p:grpSpPr>
            <p:sp>
              <p:nvSpPr>
                <p:cNvPr id="36" name="Freeform 6"/>
                <p:cNvSpPr>
                  <a:spLocks/>
                </p:cNvSpPr>
                <p:nvPr/>
              </p:nvSpPr>
              <p:spPr bwMode="auto">
                <a:xfrm>
                  <a:off x="3160" y="260"/>
                  <a:ext cx="1502" cy="1502"/>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7"/>
                <p:cNvSpPr>
                  <a:spLocks/>
                </p:cNvSpPr>
                <p:nvPr/>
              </p:nvSpPr>
              <p:spPr bwMode="auto">
                <a:xfrm>
                  <a:off x="2629" y="1595"/>
                  <a:ext cx="2574" cy="2555"/>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2" name="Group 4"/>
              <p:cNvGrpSpPr>
                <a:grpSpLocks noChangeAspect="1"/>
              </p:cNvGrpSpPr>
              <p:nvPr/>
            </p:nvGrpSpPr>
            <p:grpSpPr bwMode="auto">
              <a:xfrm>
                <a:off x="5144145" y="2915445"/>
                <a:ext cx="741689" cy="1120892"/>
                <a:chOff x="2629" y="260"/>
                <a:chExt cx="2574" cy="3890"/>
              </a:xfrm>
              <a:solidFill>
                <a:srgbClr val="0070C0"/>
              </a:solidFill>
            </p:grpSpPr>
            <p:sp>
              <p:nvSpPr>
                <p:cNvPr id="33" name="Freeform 6"/>
                <p:cNvSpPr>
                  <a:spLocks/>
                </p:cNvSpPr>
                <p:nvPr/>
              </p:nvSpPr>
              <p:spPr bwMode="auto">
                <a:xfrm>
                  <a:off x="3160" y="260"/>
                  <a:ext cx="1502" cy="1502"/>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7"/>
                <p:cNvSpPr>
                  <a:spLocks/>
                </p:cNvSpPr>
                <p:nvPr/>
              </p:nvSpPr>
              <p:spPr bwMode="auto">
                <a:xfrm>
                  <a:off x="2629" y="1595"/>
                  <a:ext cx="2574" cy="2555"/>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8" name="Group 4"/>
              <p:cNvGrpSpPr>
                <a:grpSpLocks noChangeAspect="1"/>
              </p:cNvGrpSpPr>
              <p:nvPr/>
            </p:nvGrpSpPr>
            <p:grpSpPr bwMode="auto">
              <a:xfrm>
                <a:off x="6004098" y="2915445"/>
                <a:ext cx="741689" cy="1120892"/>
                <a:chOff x="2629" y="260"/>
                <a:chExt cx="2574" cy="3890"/>
              </a:xfrm>
              <a:solidFill>
                <a:srgbClr val="0070C0"/>
              </a:solidFill>
            </p:grpSpPr>
            <p:sp>
              <p:nvSpPr>
                <p:cNvPr id="39" name="Freeform 6"/>
                <p:cNvSpPr>
                  <a:spLocks/>
                </p:cNvSpPr>
                <p:nvPr/>
              </p:nvSpPr>
              <p:spPr bwMode="auto">
                <a:xfrm>
                  <a:off x="3160" y="260"/>
                  <a:ext cx="1502" cy="1502"/>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p:nvSpPr>
              <p:spPr bwMode="auto">
                <a:xfrm>
                  <a:off x="2629" y="1595"/>
                  <a:ext cx="2574" cy="2555"/>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grpSp>
      <p:grpSp>
        <p:nvGrpSpPr>
          <p:cNvPr id="18" name="Group 17"/>
          <p:cNvGrpSpPr/>
          <p:nvPr/>
        </p:nvGrpSpPr>
        <p:grpSpPr>
          <a:xfrm>
            <a:off x="2665862" y="2820895"/>
            <a:ext cx="1264831" cy="2632931"/>
            <a:chOff x="2665862" y="2820895"/>
            <a:chExt cx="1264831" cy="2632931"/>
          </a:xfrm>
        </p:grpSpPr>
        <p:sp>
          <p:nvSpPr>
            <p:cNvPr id="13" name="Rectangle 12"/>
            <p:cNvSpPr/>
            <p:nvPr/>
          </p:nvSpPr>
          <p:spPr>
            <a:xfrm>
              <a:off x="2953387" y="5139894"/>
              <a:ext cx="668773" cy="313932"/>
            </a:xfrm>
            <a:prstGeom prst="rect">
              <a:avLst/>
            </a:prstGeom>
          </p:spPr>
          <p:txBody>
            <a:bodyPr wrap="none">
              <a:spAutoFit/>
            </a:bodyPr>
            <a:lstStyle/>
            <a:p>
              <a:pPr marL="0" lvl="1" defTabSz="471596">
                <a:lnSpc>
                  <a:spcPct val="90000"/>
                </a:lnSpc>
                <a:spcBef>
                  <a:spcPts val="612"/>
                </a:spcBef>
                <a:spcAft>
                  <a:spcPts val="612"/>
                </a:spcAft>
              </a:pPr>
              <a:r>
                <a:rPr lang="en-US" sz="1600" dirty="0">
                  <a:cs typeface="Segoe UI" pitchFamily="34" charset="0"/>
                </a:rPr>
                <a:t>GPUs</a:t>
              </a:r>
            </a:p>
          </p:txBody>
        </p:sp>
        <p:grpSp>
          <p:nvGrpSpPr>
            <p:cNvPr id="45" name="Group 8"/>
            <p:cNvGrpSpPr>
              <a:grpSpLocks noChangeAspect="1"/>
            </p:cNvGrpSpPr>
            <p:nvPr/>
          </p:nvGrpSpPr>
          <p:grpSpPr bwMode="auto">
            <a:xfrm>
              <a:off x="2665862" y="2820895"/>
              <a:ext cx="1264831" cy="1264831"/>
              <a:chOff x="1313" y="1145"/>
              <a:chExt cx="529" cy="529"/>
            </a:xfrm>
          </p:grpSpPr>
          <p:sp>
            <p:nvSpPr>
              <p:cNvPr id="48" name="Freeform 10"/>
              <p:cNvSpPr>
                <a:spLocks/>
              </p:cNvSpPr>
              <p:nvPr/>
            </p:nvSpPr>
            <p:spPr bwMode="auto">
              <a:xfrm>
                <a:off x="1389" y="1221"/>
                <a:ext cx="376" cy="377"/>
              </a:xfrm>
              <a:custGeom>
                <a:avLst/>
                <a:gdLst>
                  <a:gd name="T0" fmla="*/ 99 w 2637"/>
                  <a:gd name="T1" fmla="*/ 0 h 2637"/>
                  <a:gd name="T2" fmla="*/ 2537 w 2637"/>
                  <a:gd name="T3" fmla="*/ 0 h 2637"/>
                  <a:gd name="T4" fmla="*/ 2559 w 2637"/>
                  <a:gd name="T5" fmla="*/ 2 h 2637"/>
                  <a:gd name="T6" fmla="*/ 2580 w 2637"/>
                  <a:gd name="T7" fmla="*/ 10 h 2637"/>
                  <a:gd name="T8" fmla="*/ 2599 w 2637"/>
                  <a:gd name="T9" fmla="*/ 22 h 2637"/>
                  <a:gd name="T10" fmla="*/ 2614 w 2637"/>
                  <a:gd name="T11" fmla="*/ 38 h 2637"/>
                  <a:gd name="T12" fmla="*/ 2626 w 2637"/>
                  <a:gd name="T13" fmla="*/ 56 h 2637"/>
                  <a:gd name="T14" fmla="*/ 2634 w 2637"/>
                  <a:gd name="T15" fmla="*/ 77 h 2637"/>
                  <a:gd name="T16" fmla="*/ 2637 w 2637"/>
                  <a:gd name="T17" fmla="*/ 101 h 2637"/>
                  <a:gd name="T18" fmla="*/ 2637 w 2637"/>
                  <a:gd name="T19" fmla="*/ 2537 h 2637"/>
                  <a:gd name="T20" fmla="*/ 2634 w 2637"/>
                  <a:gd name="T21" fmla="*/ 2559 h 2637"/>
                  <a:gd name="T22" fmla="*/ 2626 w 2637"/>
                  <a:gd name="T23" fmla="*/ 2581 h 2637"/>
                  <a:gd name="T24" fmla="*/ 2614 w 2637"/>
                  <a:gd name="T25" fmla="*/ 2600 h 2637"/>
                  <a:gd name="T26" fmla="*/ 2599 w 2637"/>
                  <a:gd name="T27" fmla="*/ 2616 h 2637"/>
                  <a:gd name="T28" fmla="*/ 2580 w 2637"/>
                  <a:gd name="T29" fmla="*/ 2627 h 2637"/>
                  <a:gd name="T30" fmla="*/ 2559 w 2637"/>
                  <a:gd name="T31" fmla="*/ 2635 h 2637"/>
                  <a:gd name="T32" fmla="*/ 2537 w 2637"/>
                  <a:gd name="T33" fmla="*/ 2637 h 2637"/>
                  <a:gd name="T34" fmla="*/ 99 w 2637"/>
                  <a:gd name="T35" fmla="*/ 2637 h 2637"/>
                  <a:gd name="T36" fmla="*/ 77 w 2637"/>
                  <a:gd name="T37" fmla="*/ 2635 h 2637"/>
                  <a:gd name="T38" fmla="*/ 56 w 2637"/>
                  <a:gd name="T39" fmla="*/ 2627 h 2637"/>
                  <a:gd name="T40" fmla="*/ 37 w 2637"/>
                  <a:gd name="T41" fmla="*/ 2616 h 2637"/>
                  <a:gd name="T42" fmla="*/ 22 w 2637"/>
                  <a:gd name="T43" fmla="*/ 2600 h 2637"/>
                  <a:gd name="T44" fmla="*/ 10 w 2637"/>
                  <a:gd name="T45" fmla="*/ 2581 h 2637"/>
                  <a:gd name="T46" fmla="*/ 2 w 2637"/>
                  <a:gd name="T47" fmla="*/ 2559 h 2637"/>
                  <a:gd name="T48" fmla="*/ 0 w 2637"/>
                  <a:gd name="T49" fmla="*/ 2537 h 2637"/>
                  <a:gd name="T50" fmla="*/ 0 w 2637"/>
                  <a:gd name="T51" fmla="*/ 101 h 2637"/>
                  <a:gd name="T52" fmla="*/ 2 w 2637"/>
                  <a:gd name="T53" fmla="*/ 77 h 2637"/>
                  <a:gd name="T54" fmla="*/ 10 w 2637"/>
                  <a:gd name="T55" fmla="*/ 56 h 2637"/>
                  <a:gd name="T56" fmla="*/ 22 w 2637"/>
                  <a:gd name="T57" fmla="*/ 38 h 2637"/>
                  <a:gd name="T58" fmla="*/ 37 w 2637"/>
                  <a:gd name="T59" fmla="*/ 22 h 2637"/>
                  <a:gd name="T60" fmla="*/ 56 w 2637"/>
                  <a:gd name="T61" fmla="*/ 10 h 2637"/>
                  <a:gd name="T62" fmla="*/ 77 w 2637"/>
                  <a:gd name="T63" fmla="*/ 2 h 2637"/>
                  <a:gd name="T64" fmla="*/ 99 w 2637"/>
                  <a:gd name="T65" fmla="*/ 0 h 2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37" h="2637">
                    <a:moveTo>
                      <a:pt x="99" y="0"/>
                    </a:moveTo>
                    <a:lnTo>
                      <a:pt x="2537" y="0"/>
                    </a:lnTo>
                    <a:lnTo>
                      <a:pt x="2559" y="2"/>
                    </a:lnTo>
                    <a:lnTo>
                      <a:pt x="2580" y="10"/>
                    </a:lnTo>
                    <a:lnTo>
                      <a:pt x="2599" y="22"/>
                    </a:lnTo>
                    <a:lnTo>
                      <a:pt x="2614" y="38"/>
                    </a:lnTo>
                    <a:lnTo>
                      <a:pt x="2626" y="56"/>
                    </a:lnTo>
                    <a:lnTo>
                      <a:pt x="2634" y="77"/>
                    </a:lnTo>
                    <a:lnTo>
                      <a:pt x="2637" y="101"/>
                    </a:lnTo>
                    <a:lnTo>
                      <a:pt x="2637" y="2537"/>
                    </a:lnTo>
                    <a:lnTo>
                      <a:pt x="2634" y="2559"/>
                    </a:lnTo>
                    <a:lnTo>
                      <a:pt x="2626" y="2581"/>
                    </a:lnTo>
                    <a:lnTo>
                      <a:pt x="2614" y="2600"/>
                    </a:lnTo>
                    <a:lnTo>
                      <a:pt x="2599" y="2616"/>
                    </a:lnTo>
                    <a:lnTo>
                      <a:pt x="2580" y="2627"/>
                    </a:lnTo>
                    <a:lnTo>
                      <a:pt x="2559" y="2635"/>
                    </a:lnTo>
                    <a:lnTo>
                      <a:pt x="2537" y="2637"/>
                    </a:lnTo>
                    <a:lnTo>
                      <a:pt x="99" y="2637"/>
                    </a:lnTo>
                    <a:lnTo>
                      <a:pt x="77" y="2635"/>
                    </a:lnTo>
                    <a:lnTo>
                      <a:pt x="56" y="2627"/>
                    </a:lnTo>
                    <a:lnTo>
                      <a:pt x="37" y="2616"/>
                    </a:lnTo>
                    <a:lnTo>
                      <a:pt x="22" y="2600"/>
                    </a:lnTo>
                    <a:lnTo>
                      <a:pt x="10" y="2581"/>
                    </a:lnTo>
                    <a:lnTo>
                      <a:pt x="2" y="2559"/>
                    </a:lnTo>
                    <a:lnTo>
                      <a:pt x="0" y="2537"/>
                    </a:lnTo>
                    <a:lnTo>
                      <a:pt x="0" y="101"/>
                    </a:lnTo>
                    <a:lnTo>
                      <a:pt x="2" y="77"/>
                    </a:lnTo>
                    <a:lnTo>
                      <a:pt x="10" y="56"/>
                    </a:lnTo>
                    <a:lnTo>
                      <a:pt x="22" y="38"/>
                    </a:lnTo>
                    <a:lnTo>
                      <a:pt x="37" y="22"/>
                    </a:lnTo>
                    <a:lnTo>
                      <a:pt x="56" y="10"/>
                    </a:lnTo>
                    <a:lnTo>
                      <a:pt x="77" y="2"/>
                    </a:lnTo>
                    <a:lnTo>
                      <a:pt x="99"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11"/>
              <p:cNvSpPr>
                <a:spLocks noEditPoints="1"/>
              </p:cNvSpPr>
              <p:nvPr/>
            </p:nvSpPr>
            <p:spPr bwMode="auto">
              <a:xfrm>
                <a:off x="1442" y="1145"/>
                <a:ext cx="268" cy="529"/>
              </a:xfrm>
              <a:custGeom>
                <a:avLst/>
                <a:gdLst>
                  <a:gd name="T0" fmla="*/ 1870 w 1873"/>
                  <a:gd name="T1" fmla="*/ 3636 h 3702"/>
                  <a:gd name="T2" fmla="*/ 1806 w 1873"/>
                  <a:gd name="T3" fmla="*/ 3699 h 3702"/>
                  <a:gd name="T4" fmla="*/ 1719 w 1873"/>
                  <a:gd name="T5" fmla="*/ 3675 h 3702"/>
                  <a:gd name="T6" fmla="*/ 1692 w 1873"/>
                  <a:gd name="T7" fmla="*/ 3169 h 3702"/>
                  <a:gd name="T8" fmla="*/ 1529 w 1873"/>
                  <a:gd name="T9" fmla="*/ 3636 h 3702"/>
                  <a:gd name="T10" fmla="*/ 1465 w 1873"/>
                  <a:gd name="T11" fmla="*/ 3699 h 3702"/>
                  <a:gd name="T12" fmla="*/ 1378 w 1873"/>
                  <a:gd name="T13" fmla="*/ 3675 h 3702"/>
                  <a:gd name="T14" fmla="*/ 1351 w 1873"/>
                  <a:gd name="T15" fmla="*/ 3169 h 3702"/>
                  <a:gd name="T16" fmla="*/ 1186 w 1873"/>
                  <a:gd name="T17" fmla="*/ 3636 h 3702"/>
                  <a:gd name="T18" fmla="*/ 1123 w 1873"/>
                  <a:gd name="T19" fmla="*/ 3699 h 3702"/>
                  <a:gd name="T20" fmla="*/ 1034 w 1873"/>
                  <a:gd name="T21" fmla="*/ 3675 h 3702"/>
                  <a:gd name="T22" fmla="*/ 1008 w 1873"/>
                  <a:gd name="T23" fmla="*/ 3169 h 3702"/>
                  <a:gd name="T24" fmla="*/ 855 w 1873"/>
                  <a:gd name="T25" fmla="*/ 3636 h 3702"/>
                  <a:gd name="T26" fmla="*/ 791 w 1873"/>
                  <a:gd name="T27" fmla="*/ 3699 h 3702"/>
                  <a:gd name="T28" fmla="*/ 703 w 1873"/>
                  <a:gd name="T29" fmla="*/ 3675 h 3702"/>
                  <a:gd name="T30" fmla="*/ 676 w 1873"/>
                  <a:gd name="T31" fmla="*/ 3169 h 3702"/>
                  <a:gd name="T32" fmla="*/ 518 w 1873"/>
                  <a:gd name="T33" fmla="*/ 3636 h 3702"/>
                  <a:gd name="T34" fmla="*/ 455 w 1873"/>
                  <a:gd name="T35" fmla="*/ 3699 h 3702"/>
                  <a:gd name="T36" fmla="*/ 368 w 1873"/>
                  <a:gd name="T37" fmla="*/ 3675 h 3702"/>
                  <a:gd name="T38" fmla="*/ 341 w 1873"/>
                  <a:gd name="T39" fmla="*/ 3169 h 3702"/>
                  <a:gd name="T40" fmla="*/ 177 w 1873"/>
                  <a:gd name="T41" fmla="*/ 3636 h 3702"/>
                  <a:gd name="T42" fmla="*/ 114 w 1873"/>
                  <a:gd name="T43" fmla="*/ 3699 h 3702"/>
                  <a:gd name="T44" fmla="*/ 26 w 1873"/>
                  <a:gd name="T45" fmla="*/ 3675 h 3702"/>
                  <a:gd name="T46" fmla="*/ 0 w 1873"/>
                  <a:gd name="T47" fmla="*/ 3169 h 3702"/>
                  <a:gd name="T48" fmla="*/ 1847 w 1873"/>
                  <a:gd name="T49" fmla="*/ 27 h 3702"/>
                  <a:gd name="T50" fmla="*/ 1873 w 1873"/>
                  <a:gd name="T51" fmla="*/ 533 h 3702"/>
                  <a:gd name="T52" fmla="*/ 1704 w 1873"/>
                  <a:gd name="T53" fmla="*/ 45 h 3702"/>
                  <a:gd name="T54" fmla="*/ 1783 w 1873"/>
                  <a:gd name="T55" fmla="*/ 0 h 3702"/>
                  <a:gd name="T56" fmla="*/ 1505 w 1873"/>
                  <a:gd name="T57" fmla="*/ 27 h 3702"/>
                  <a:gd name="T58" fmla="*/ 1532 w 1873"/>
                  <a:gd name="T59" fmla="*/ 533 h 3702"/>
                  <a:gd name="T60" fmla="*/ 1363 w 1873"/>
                  <a:gd name="T61" fmla="*/ 45 h 3702"/>
                  <a:gd name="T62" fmla="*/ 1441 w 1873"/>
                  <a:gd name="T63" fmla="*/ 0 h 3702"/>
                  <a:gd name="T64" fmla="*/ 1162 w 1873"/>
                  <a:gd name="T65" fmla="*/ 27 h 3702"/>
                  <a:gd name="T66" fmla="*/ 1189 w 1873"/>
                  <a:gd name="T67" fmla="*/ 533 h 3702"/>
                  <a:gd name="T68" fmla="*/ 1021 w 1873"/>
                  <a:gd name="T69" fmla="*/ 45 h 3702"/>
                  <a:gd name="T70" fmla="*/ 1098 w 1873"/>
                  <a:gd name="T71" fmla="*/ 0 h 3702"/>
                  <a:gd name="T72" fmla="*/ 831 w 1873"/>
                  <a:gd name="T73" fmla="*/ 27 h 3702"/>
                  <a:gd name="T74" fmla="*/ 858 w 1873"/>
                  <a:gd name="T75" fmla="*/ 533 h 3702"/>
                  <a:gd name="T76" fmla="*/ 689 w 1873"/>
                  <a:gd name="T77" fmla="*/ 45 h 3702"/>
                  <a:gd name="T78" fmla="*/ 767 w 1873"/>
                  <a:gd name="T79" fmla="*/ 0 h 3702"/>
                  <a:gd name="T80" fmla="*/ 496 w 1873"/>
                  <a:gd name="T81" fmla="*/ 27 h 3702"/>
                  <a:gd name="T82" fmla="*/ 521 w 1873"/>
                  <a:gd name="T83" fmla="*/ 533 h 3702"/>
                  <a:gd name="T84" fmla="*/ 353 w 1873"/>
                  <a:gd name="T85" fmla="*/ 45 h 3702"/>
                  <a:gd name="T86" fmla="*/ 432 w 1873"/>
                  <a:gd name="T87" fmla="*/ 0 h 3702"/>
                  <a:gd name="T88" fmla="*/ 154 w 1873"/>
                  <a:gd name="T89" fmla="*/ 27 h 3702"/>
                  <a:gd name="T90" fmla="*/ 180 w 1873"/>
                  <a:gd name="T91" fmla="*/ 533 h 3702"/>
                  <a:gd name="T92" fmla="*/ 12 w 1873"/>
                  <a:gd name="T93" fmla="*/ 45 h 3702"/>
                  <a:gd name="T94" fmla="*/ 90 w 1873"/>
                  <a:gd name="T95" fmla="*/ 0 h 3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73" h="3702">
                    <a:moveTo>
                      <a:pt x="1692" y="3169"/>
                    </a:moveTo>
                    <a:lnTo>
                      <a:pt x="1873" y="3169"/>
                    </a:lnTo>
                    <a:lnTo>
                      <a:pt x="1873" y="3611"/>
                    </a:lnTo>
                    <a:lnTo>
                      <a:pt x="1870" y="3636"/>
                    </a:lnTo>
                    <a:lnTo>
                      <a:pt x="1861" y="3657"/>
                    </a:lnTo>
                    <a:lnTo>
                      <a:pt x="1847" y="3675"/>
                    </a:lnTo>
                    <a:lnTo>
                      <a:pt x="1829" y="3690"/>
                    </a:lnTo>
                    <a:lnTo>
                      <a:pt x="1806" y="3699"/>
                    </a:lnTo>
                    <a:lnTo>
                      <a:pt x="1783" y="3702"/>
                    </a:lnTo>
                    <a:lnTo>
                      <a:pt x="1759" y="3699"/>
                    </a:lnTo>
                    <a:lnTo>
                      <a:pt x="1737" y="3690"/>
                    </a:lnTo>
                    <a:lnTo>
                      <a:pt x="1719" y="3675"/>
                    </a:lnTo>
                    <a:lnTo>
                      <a:pt x="1704" y="3657"/>
                    </a:lnTo>
                    <a:lnTo>
                      <a:pt x="1695" y="3636"/>
                    </a:lnTo>
                    <a:lnTo>
                      <a:pt x="1692" y="3611"/>
                    </a:lnTo>
                    <a:lnTo>
                      <a:pt x="1692" y="3169"/>
                    </a:lnTo>
                    <a:close/>
                    <a:moveTo>
                      <a:pt x="1351" y="3169"/>
                    </a:moveTo>
                    <a:lnTo>
                      <a:pt x="1532" y="3169"/>
                    </a:lnTo>
                    <a:lnTo>
                      <a:pt x="1532" y="3611"/>
                    </a:lnTo>
                    <a:lnTo>
                      <a:pt x="1529" y="3636"/>
                    </a:lnTo>
                    <a:lnTo>
                      <a:pt x="1520" y="3657"/>
                    </a:lnTo>
                    <a:lnTo>
                      <a:pt x="1505" y="3675"/>
                    </a:lnTo>
                    <a:lnTo>
                      <a:pt x="1487" y="3690"/>
                    </a:lnTo>
                    <a:lnTo>
                      <a:pt x="1465" y="3699"/>
                    </a:lnTo>
                    <a:lnTo>
                      <a:pt x="1441" y="3702"/>
                    </a:lnTo>
                    <a:lnTo>
                      <a:pt x="1418" y="3699"/>
                    </a:lnTo>
                    <a:lnTo>
                      <a:pt x="1395" y="3690"/>
                    </a:lnTo>
                    <a:lnTo>
                      <a:pt x="1378" y="3675"/>
                    </a:lnTo>
                    <a:lnTo>
                      <a:pt x="1363" y="3657"/>
                    </a:lnTo>
                    <a:lnTo>
                      <a:pt x="1354" y="3636"/>
                    </a:lnTo>
                    <a:lnTo>
                      <a:pt x="1351" y="3611"/>
                    </a:lnTo>
                    <a:lnTo>
                      <a:pt x="1351" y="3169"/>
                    </a:lnTo>
                    <a:close/>
                    <a:moveTo>
                      <a:pt x="1008" y="3169"/>
                    </a:moveTo>
                    <a:lnTo>
                      <a:pt x="1189" y="3169"/>
                    </a:lnTo>
                    <a:lnTo>
                      <a:pt x="1189" y="3611"/>
                    </a:lnTo>
                    <a:lnTo>
                      <a:pt x="1186" y="3636"/>
                    </a:lnTo>
                    <a:lnTo>
                      <a:pt x="1177" y="3657"/>
                    </a:lnTo>
                    <a:lnTo>
                      <a:pt x="1162" y="3675"/>
                    </a:lnTo>
                    <a:lnTo>
                      <a:pt x="1144" y="3690"/>
                    </a:lnTo>
                    <a:lnTo>
                      <a:pt x="1123" y="3699"/>
                    </a:lnTo>
                    <a:lnTo>
                      <a:pt x="1098" y="3702"/>
                    </a:lnTo>
                    <a:lnTo>
                      <a:pt x="1075" y="3699"/>
                    </a:lnTo>
                    <a:lnTo>
                      <a:pt x="1053" y="3690"/>
                    </a:lnTo>
                    <a:lnTo>
                      <a:pt x="1034" y="3675"/>
                    </a:lnTo>
                    <a:lnTo>
                      <a:pt x="1021" y="3657"/>
                    </a:lnTo>
                    <a:lnTo>
                      <a:pt x="1012" y="3636"/>
                    </a:lnTo>
                    <a:lnTo>
                      <a:pt x="1008" y="3611"/>
                    </a:lnTo>
                    <a:lnTo>
                      <a:pt x="1008" y="3169"/>
                    </a:lnTo>
                    <a:close/>
                    <a:moveTo>
                      <a:pt x="676" y="3169"/>
                    </a:moveTo>
                    <a:lnTo>
                      <a:pt x="858" y="3169"/>
                    </a:lnTo>
                    <a:lnTo>
                      <a:pt x="858" y="3611"/>
                    </a:lnTo>
                    <a:lnTo>
                      <a:pt x="855" y="3636"/>
                    </a:lnTo>
                    <a:lnTo>
                      <a:pt x="846" y="3657"/>
                    </a:lnTo>
                    <a:lnTo>
                      <a:pt x="831" y="3675"/>
                    </a:lnTo>
                    <a:lnTo>
                      <a:pt x="813" y="3690"/>
                    </a:lnTo>
                    <a:lnTo>
                      <a:pt x="791" y="3699"/>
                    </a:lnTo>
                    <a:lnTo>
                      <a:pt x="767" y="3702"/>
                    </a:lnTo>
                    <a:lnTo>
                      <a:pt x="744" y="3699"/>
                    </a:lnTo>
                    <a:lnTo>
                      <a:pt x="721" y="3690"/>
                    </a:lnTo>
                    <a:lnTo>
                      <a:pt x="703" y="3675"/>
                    </a:lnTo>
                    <a:lnTo>
                      <a:pt x="689" y="3657"/>
                    </a:lnTo>
                    <a:lnTo>
                      <a:pt x="680" y="3636"/>
                    </a:lnTo>
                    <a:lnTo>
                      <a:pt x="676" y="3611"/>
                    </a:lnTo>
                    <a:lnTo>
                      <a:pt x="676" y="3169"/>
                    </a:lnTo>
                    <a:close/>
                    <a:moveTo>
                      <a:pt x="341" y="3169"/>
                    </a:moveTo>
                    <a:lnTo>
                      <a:pt x="521" y="3169"/>
                    </a:lnTo>
                    <a:lnTo>
                      <a:pt x="521" y="3611"/>
                    </a:lnTo>
                    <a:lnTo>
                      <a:pt x="518" y="3636"/>
                    </a:lnTo>
                    <a:lnTo>
                      <a:pt x="509" y="3657"/>
                    </a:lnTo>
                    <a:lnTo>
                      <a:pt x="496" y="3675"/>
                    </a:lnTo>
                    <a:lnTo>
                      <a:pt x="476" y="3690"/>
                    </a:lnTo>
                    <a:lnTo>
                      <a:pt x="455" y="3699"/>
                    </a:lnTo>
                    <a:lnTo>
                      <a:pt x="432" y="3702"/>
                    </a:lnTo>
                    <a:lnTo>
                      <a:pt x="407" y="3699"/>
                    </a:lnTo>
                    <a:lnTo>
                      <a:pt x="386" y="3690"/>
                    </a:lnTo>
                    <a:lnTo>
                      <a:pt x="368" y="3675"/>
                    </a:lnTo>
                    <a:lnTo>
                      <a:pt x="353" y="3657"/>
                    </a:lnTo>
                    <a:lnTo>
                      <a:pt x="344" y="3636"/>
                    </a:lnTo>
                    <a:lnTo>
                      <a:pt x="341" y="3611"/>
                    </a:lnTo>
                    <a:lnTo>
                      <a:pt x="341" y="3169"/>
                    </a:lnTo>
                    <a:close/>
                    <a:moveTo>
                      <a:pt x="0" y="3169"/>
                    </a:moveTo>
                    <a:lnTo>
                      <a:pt x="180" y="3169"/>
                    </a:lnTo>
                    <a:lnTo>
                      <a:pt x="180" y="3611"/>
                    </a:lnTo>
                    <a:lnTo>
                      <a:pt x="177" y="3636"/>
                    </a:lnTo>
                    <a:lnTo>
                      <a:pt x="168" y="3657"/>
                    </a:lnTo>
                    <a:lnTo>
                      <a:pt x="154" y="3675"/>
                    </a:lnTo>
                    <a:lnTo>
                      <a:pt x="135" y="3690"/>
                    </a:lnTo>
                    <a:lnTo>
                      <a:pt x="114" y="3699"/>
                    </a:lnTo>
                    <a:lnTo>
                      <a:pt x="90" y="3702"/>
                    </a:lnTo>
                    <a:lnTo>
                      <a:pt x="66" y="3699"/>
                    </a:lnTo>
                    <a:lnTo>
                      <a:pt x="44" y="3690"/>
                    </a:lnTo>
                    <a:lnTo>
                      <a:pt x="26" y="3675"/>
                    </a:lnTo>
                    <a:lnTo>
                      <a:pt x="12" y="3657"/>
                    </a:lnTo>
                    <a:lnTo>
                      <a:pt x="3" y="3636"/>
                    </a:lnTo>
                    <a:lnTo>
                      <a:pt x="0" y="3611"/>
                    </a:lnTo>
                    <a:lnTo>
                      <a:pt x="0" y="3169"/>
                    </a:lnTo>
                    <a:close/>
                    <a:moveTo>
                      <a:pt x="1783" y="0"/>
                    </a:moveTo>
                    <a:lnTo>
                      <a:pt x="1806" y="3"/>
                    </a:lnTo>
                    <a:lnTo>
                      <a:pt x="1829" y="12"/>
                    </a:lnTo>
                    <a:lnTo>
                      <a:pt x="1847" y="27"/>
                    </a:lnTo>
                    <a:lnTo>
                      <a:pt x="1861" y="45"/>
                    </a:lnTo>
                    <a:lnTo>
                      <a:pt x="1870" y="67"/>
                    </a:lnTo>
                    <a:lnTo>
                      <a:pt x="1873" y="91"/>
                    </a:lnTo>
                    <a:lnTo>
                      <a:pt x="1873" y="533"/>
                    </a:lnTo>
                    <a:lnTo>
                      <a:pt x="1692" y="533"/>
                    </a:lnTo>
                    <a:lnTo>
                      <a:pt x="1692" y="91"/>
                    </a:lnTo>
                    <a:lnTo>
                      <a:pt x="1695" y="67"/>
                    </a:lnTo>
                    <a:lnTo>
                      <a:pt x="1704" y="45"/>
                    </a:lnTo>
                    <a:lnTo>
                      <a:pt x="1719" y="27"/>
                    </a:lnTo>
                    <a:lnTo>
                      <a:pt x="1737" y="12"/>
                    </a:lnTo>
                    <a:lnTo>
                      <a:pt x="1759" y="3"/>
                    </a:lnTo>
                    <a:lnTo>
                      <a:pt x="1783" y="0"/>
                    </a:lnTo>
                    <a:close/>
                    <a:moveTo>
                      <a:pt x="1441" y="0"/>
                    </a:moveTo>
                    <a:lnTo>
                      <a:pt x="1465" y="3"/>
                    </a:lnTo>
                    <a:lnTo>
                      <a:pt x="1487" y="12"/>
                    </a:lnTo>
                    <a:lnTo>
                      <a:pt x="1505" y="27"/>
                    </a:lnTo>
                    <a:lnTo>
                      <a:pt x="1520" y="45"/>
                    </a:lnTo>
                    <a:lnTo>
                      <a:pt x="1529" y="67"/>
                    </a:lnTo>
                    <a:lnTo>
                      <a:pt x="1532" y="91"/>
                    </a:lnTo>
                    <a:lnTo>
                      <a:pt x="1532" y="533"/>
                    </a:lnTo>
                    <a:lnTo>
                      <a:pt x="1351" y="533"/>
                    </a:lnTo>
                    <a:lnTo>
                      <a:pt x="1351" y="91"/>
                    </a:lnTo>
                    <a:lnTo>
                      <a:pt x="1354" y="67"/>
                    </a:lnTo>
                    <a:lnTo>
                      <a:pt x="1363" y="45"/>
                    </a:lnTo>
                    <a:lnTo>
                      <a:pt x="1378" y="27"/>
                    </a:lnTo>
                    <a:lnTo>
                      <a:pt x="1395" y="12"/>
                    </a:lnTo>
                    <a:lnTo>
                      <a:pt x="1418" y="3"/>
                    </a:lnTo>
                    <a:lnTo>
                      <a:pt x="1441" y="0"/>
                    </a:lnTo>
                    <a:close/>
                    <a:moveTo>
                      <a:pt x="1098" y="0"/>
                    </a:moveTo>
                    <a:lnTo>
                      <a:pt x="1123" y="3"/>
                    </a:lnTo>
                    <a:lnTo>
                      <a:pt x="1144" y="12"/>
                    </a:lnTo>
                    <a:lnTo>
                      <a:pt x="1162" y="27"/>
                    </a:lnTo>
                    <a:lnTo>
                      <a:pt x="1177" y="45"/>
                    </a:lnTo>
                    <a:lnTo>
                      <a:pt x="1186" y="67"/>
                    </a:lnTo>
                    <a:lnTo>
                      <a:pt x="1189" y="91"/>
                    </a:lnTo>
                    <a:lnTo>
                      <a:pt x="1189" y="533"/>
                    </a:lnTo>
                    <a:lnTo>
                      <a:pt x="1008" y="533"/>
                    </a:lnTo>
                    <a:lnTo>
                      <a:pt x="1008" y="91"/>
                    </a:lnTo>
                    <a:lnTo>
                      <a:pt x="1012" y="67"/>
                    </a:lnTo>
                    <a:lnTo>
                      <a:pt x="1021" y="45"/>
                    </a:lnTo>
                    <a:lnTo>
                      <a:pt x="1034" y="27"/>
                    </a:lnTo>
                    <a:lnTo>
                      <a:pt x="1053" y="12"/>
                    </a:lnTo>
                    <a:lnTo>
                      <a:pt x="1075" y="3"/>
                    </a:lnTo>
                    <a:lnTo>
                      <a:pt x="1098" y="0"/>
                    </a:lnTo>
                    <a:close/>
                    <a:moveTo>
                      <a:pt x="767" y="0"/>
                    </a:moveTo>
                    <a:lnTo>
                      <a:pt x="791" y="3"/>
                    </a:lnTo>
                    <a:lnTo>
                      <a:pt x="813" y="12"/>
                    </a:lnTo>
                    <a:lnTo>
                      <a:pt x="831" y="27"/>
                    </a:lnTo>
                    <a:lnTo>
                      <a:pt x="846" y="45"/>
                    </a:lnTo>
                    <a:lnTo>
                      <a:pt x="855" y="67"/>
                    </a:lnTo>
                    <a:lnTo>
                      <a:pt x="858" y="91"/>
                    </a:lnTo>
                    <a:lnTo>
                      <a:pt x="858" y="533"/>
                    </a:lnTo>
                    <a:lnTo>
                      <a:pt x="676" y="533"/>
                    </a:lnTo>
                    <a:lnTo>
                      <a:pt x="676" y="91"/>
                    </a:lnTo>
                    <a:lnTo>
                      <a:pt x="680" y="67"/>
                    </a:lnTo>
                    <a:lnTo>
                      <a:pt x="689" y="45"/>
                    </a:lnTo>
                    <a:lnTo>
                      <a:pt x="703" y="27"/>
                    </a:lnTo>
                    <a:lnTo>
                      <a:pt x="721" y="12"/>
                    </a:lnTo>
                    <a:lnTo>
                      <a:pt x="744" y="3"/>
                    </a:lnTo>
                    <a:lnTo>
                      <a:pt x="767" y="0"/>
                    </a:lnTo>
                    <a:close/>
                    <a:moveTo>
                      <a:pt x="432" y="0"/>
                    </a:moveTo>
                    <a:lnTo>
                      <a:pt x="455" y="3"/>
                    </a:lnTo>
                    <a:lnTo>
                      <a:pt x="476" y="12"/>
                    </a:lnTo>
                    <a:lnTo>
                      <a:pt x="496" y="27"/>
                    </a:lnTo>
                    <a:lnTo>
                      <a:pt x="509" y="45"/>
                    </a:lnTo>
                    <a:lnTo>
                      <a:pt x="518" y="67"/>
                    </a:lnTo>
                    <a:lnTo>
                      <a:pt x="521" y="91"/>
                    </a:lnTo>
                    <a:lnTo>
                      <a:pt x="521" y="533"/>
                    </a:lnTo>
                    <a:lnTo>
                      <a:pt x="341" y="533"/>
                    </a:lnTo>
                    <a:lnTo>
                      <a:pt x="341" y="91"/>
                    </a:lnTo>
                    <a:lnTo>
                      <a:pt x="344" y="67"/>
                    </a:lnTo>
                    <a:lnTo>
                      <a:pt x="353" y="45"/>
                    </a:lnTo>
                    <a:lnTo>
                      <a:pt x="368" y="27"/>
                    </a:lnTo>
                    <a:lnTo>
                      <a:pt x="386" y="12"/>
                    </a:lnTo>
                    <a:lnTo>
                      <a:pt x="407" y="3"/>
                    </a:lnTo>
                    <a:lnTo>
                      <a:pt x="432" y="0"/>
                    </a:lnTo>
                    <a:close/>
                    <a:moveTo>
                      <a:pt x="90" y="0"/>
                    </a:moveTo>
                    <a:lnTo>
                      <a:pt x="114" y="3"/>
                    </a:lnTo>
                    <a:lnTo>
                      <a:pt x="135" y="12"/>
                    </a:lnTo>
                    <a:lnTo>
                      <a:pt x="154" y="27"/>
                    </a:lnTo>
                    <a:lnTo>
                      <a:pt x="168" y="45"/>
                    </a:lnTo>
                    <a:lnTo>
                      <a:pt x="177" y="67"/>
                    </a:lnTo>
                    <a:lnTo>
                      <a:pt x="180" y="91"/>
                    </a:lnTo>
                    <a:lnTo>
                      <a:pt x="180" y="533"/>
                    </a:lnTo>
                    <a:lnTo>
                      <a:pt x="0" y="533"/>
                    </a:lnTo>
                    <a:lnTo>
                      <a:pt x="0" y="91"/>
                    </a:lnTo>
                    <a:lnTo>
                      <a:pt x="3" y="67"/>
                    </a:lnTo>
                    <a:lnTo>
                      <a:pt x="12" y="45"/>
                    </a:lnTo>
                    <a:lnTo>
                      <a:pt x="26" y="27"/>
                    </a:lnTo>
                    <a:lnTo>
                      <a:pt x="44" y="12"/>
                    </a:lnTo>
                    <a:lnTo>
                      <a:pt x="66" y="3"/>
                    </a:lnTo>
                    <a:lnTo>
                      <a:pt x="9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12"/>
              <p:cNvSpPr>
                <a:spLocks noEditPoints="1"/>
              </p:cNvSpPr>
              <p:nvPr/>
            </p:nvSpPr>
            <p:spPr bwMode="auto">
              <a:xfrm>
                <a:off x="1313" y="1270"/>
                <a:ext cx="529" cy="267"/>
              </a:xfrm>
              <a:custGeom>
                <a:avLst/>
                <a:gdLst>
                  <a:gd name="T0" fmla="*/ 3657 w 3702"/>
                  <a:gd name="T1" fmla="*/ 1705 h 1873"/>
                  <a:gd name="T2" fmla="*/ 3702 w 3702"/>
                  <a:gd name="T3" fmla="*/ 1783 h 1873"/>
                  <a:gd name="T4" fmla="*/ 3657 w 3702"/>
                  <a:gd name="T5" fmla="*/ 1861 h 1873"/>
                  <a:gd name="T6" fmla="*/ 3169 w 3702"/>
                  <a:gd name="T7" fmla="*/ 1692 h 1873"/>
                  <a:gd name="T8" fmla="*/ 91 w 3702"/>
                  <a:gd name="T9" fmla="*/ 1873 h 1873"/>
                  <a:gd name="T10" fmla="*/ 12 w 3702"/>
                  <a:gd name="T11" fmla="*/ 1828 h 1873"/>
                  <a:gd name="T12" fmla="*/ 12 w 3702"/>
                  <a:gd name="T13" fmla="*/ 1737 h 1873"/>
                  <a:gd name="T14" fmla="*/ 91 w 3702"/>
                  <a:gd name="T15" fmla="*/ 1692 h 1873"/>
                  <a:gd name="T16" fmla="*/ 3657 w 3702"/>
                  <a:gd name="T17" fmla="*/ 1364 h 1873"/>
                  <a:gd name="T18" fmla="*/ 3702 w 3702"/>
                  <a:gd name="T19" fmla="*/ 1442 h 1873"/>
                  <a:gd name="T20" fmla="*/ 3657 w 3702"/>
                  <a:gd name="T21" fmla="*/ 1519 h 1873"/>
                  <a:gd name="T22" fmla="*/ 3169 w 3702"/>
                  <a:gd name="T23" fmla="*/ 1351 h 1873"/>
                  <a:gd name="T24" fmla="*/ 91 w 3702"/>
                  <a:gd name="T25" fmla="*/ 1532 h 1873"/>
                  <a:gd name="T26" fmla="*/ 12 w 3702"/>
                  <a:gd name="T27" fmla="*/ 1487 h 1873"/>
                  <a:gd name="T28" fmla="*/ 12 w 3702"/>
                  <a:gd name="T29" fmla="*/ 1396 h 1873"/>
                  <a:gd name="T30" fmla="*/ 91 w 3702"/>
                  <a:gd name="T31" fmla="*/ 1351 h 1873"/>
                  <a:gd name="T32" fmla="*/ 3657 w 3702"/>
                  <a:gd name="T33" fmla="*/ 1028 h 1873"/>
                  <a:gd name="T34" fmla="*/ 3702 w 3702"/>
                  <a:gd name="T35" fmla="*/ 1105 h 1873"/>
                  <a:gd name="T36" fmla="*/ 3657 w 3702"/>
                  <a:gd name="T37" fmla="*/ 1184 h 1873"/>
                  <a:gd name="T38" fmla="*/ 3169 w 3702"/>
                  <a:gd name="T39" fmla="*/ 1016 h 1873"/>
                  <a:gd name="T40" fmla="*/ 91 w 3702"/>
                  <a:gd name="T41" fmla="*/ 1196 h 1873"/>
                  <a:gd name="T42" fmla="*/ 12 w 3702"/>
                  <a:gd name="T43" fmla="*/ 1151 h 1873"/>
                  <a:gd name="T44" fmla="*/ 12 w 3702"/>
                  <a:gd name="T45" fmla="*/ 1061 h 1873"/>
                  <a:gd name="T46" fmla="*/ 91 w 3702"/>
                  <a:gd name="T47" fmla="*/ 1016 h 1873"/>
                  <a:gd name="T48" fmla="*/ 3657 w 3702"/>
                  <a:gd name="T49" fmla="*/ 696 h 1873"/>
                  <a:gd name="T50" fmla="*/ 3702 w 3702"/>
                  <a:gd name="T51" fmla="*/ 774 h 1873"/>
                  <a:gd name="T52" fmla="*/ 3657 w 3702"/>
                  <a:gd name="T53" fmla="*/ 853 h 1873"/>
                  <a:gd name="T54" fmla="*/ 3169 w 3702"/>
                  <a:gd name="T55" fmla="*/ 684 h 1873"/>
                  <a:gd name="T56" fmla="*/ 91 w 3702"/>
                  <a:gd name="T57" fmla="*/ 865 h 1873"/>
                  <a:gd name="T58" fmla="*/ 12 w 3702"/>
                  <a:gd name="T59" fmla="*/ 820 h 1873"/>
                  <a:gd name="T60" fmla="*/ 12 w 3702"/>
                  <a:gd name="T61" fmla="*/ 728 h 1873"/>
                  <a:gd name="T62" fmla="*/ 91 w 3702"/>
                  <a:gd name="T63" fmla="*/ 684 h 1873"/>
                  <a:gd name="T64" fmla="*/ 3657 w 3702"/>
                  <a:gd name="T65" fmla="*/ 354 h 1873"/>
                  <a:gd name="T66" fmla="*/ 3702 w 3702"/>
                  <a:gd name="T67" fmla="*/ 431 h 1873"/>
                  <a:gd name="T68" fmla="*/ 3657 w 3702"/>
                  <a:gd name="T69" fmla="*/ 510 h 1873"/>
                  <a:gd name="T70" fmla="*/ 3169 w 3702"/>
                  <a:gd name="T71" fmla="*/ 341 h 1873"/>
                  <a:gd name="T72" fmla="*/ 91 w 3702"/>
                  <a:gd name="T73" fmla="*/ 522 h 1873"/>
                  <a:gd name="T74" fmla="*/ 12 w 3702"/>
                  <a:gd name="T75" fmla="*/ 477 h 1873"/>
                  <a:gd name="T76" fmla="*/ 12 w 3702"/>
                  <a:gd name="T77" fmla="*/ 386 h 1873"/>
                  <a:gd name="T78" fmla="*/ 91 w 3702"/>
                  <a:gd name="T79" fmla="*/ 341 h 1873"/>
                  <a:gd name="T80" fmla="*/ 3657 w 3702"/>
                  <a:gd name="T81" fmla="*/ 12 h 1873"/>
                  <a:gd name="T82" fmla="*/ 3702 w 3702"/>
                  <a:gd name="T83" fmla="*/ 90 h 1873"/>
                  <a:gd name="T84" fmla="*/ 3657 w 3702"/>
                  <a:gd name="T85" fmla="*/ 168 h 1873"/>
                  <a:gd name="T86" fmla="*/ 3169 w 3702"/>
                  <a:gd name="T87" fmla="*/ 0 h 1873"/>
                  <a:gd name="T88" fmla="*/ 91 w 3702"/>
                  <a:gd name="T89" fmla="*/ 181 h 1873"/>
                  <a:gd name="T90" fmla="*/ 12 w 3702"/>
                  <a:gd name="T91" fmla="*/ 136 h 1873"/>
                  <a:gd name="T92" fmla="*/ 12 w 3702"/>
                  <a:gd name="T93" fmla="*/ 45 h 1873"/>
                  <a:gd name="T94" fmla="*/ 91 w 3702"/>
                  <a:gd name="T95" fmla="*/ 0 h 1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02" h="1873">
                    <a:moveTo>
                      <a:pt x="3169" y="1692"/>
                    </a:moveTo>
                    <a:lnTo>
                      <a:pt x="3611" y="1692"/>
                    </a:lnTo>
                    <a:lnTo>
                      <a:pt x="3635" y="1696"/>
                    </a:lnTo>
                    <a:lnTo>
                      <a:pt x="3657" y="1705"/>
                    </a:lnTo>
                    <a:lnTo>
                      <a:pt x="3675" y="1719"/>
                    </a:lnTo>
                    <a:lnTo>
                      <a:pt x="3690" y="1737"/>
                    </a:lnTo>
                    <a:lnTo>
                      <a:pt x="3699" y="1758"/>
                    </a:lnTo>
                    <a:lnTo>
                      <a:pt x="3702" y="1783"/>
                    </a:lnTo>
                    <a:lnTo>
                      <a:pt x="3699" y="1807"/>
                    </a:lnTo>
                    <a:lnTo>
                      <a:pt x="3690" y="1828"/>
                    </a:lnTo>
                    <a:lnTo>
                      <a:pt x="3675" y="1847"/>
                    </a:lnTo>
                    <a:lnTo>
                      <a:pt x="3657" y="1861"/>
                    </a:lnTo>
                    <a:lnTo>
                      <a:pt x="3635" y="1870"/>
                    </a:lnTo>
                    <a:lnTo>
                      <a:pt x="3611" y="1873"/>
                    </a:lnTo>
                    <a:lnTo>
                      <a:pt x="3169" y="1873"/>
                    </a:lnTo>
                    <a:lnTo>
                      <a:pt x="3169" y="1692"/>
                    </a:lnTo>
                    <a:close/>
                    <a:moveTo>
                      <a:pt x="91" y="1692"/>
                    </a:moveTo>
                    <a:lnTo>
                      <a:pt x="533" y="1692"/>
                    </a:lnTo>
                    <a:lnTo>
                      <a:pt x="533" y="1873"/>
                    </a:lnTo>
                    <a:lnTo>
                      <a:pt x="91" y="1873"/>
                    </a:lnTo>
                    <a:lnTo>
                      <a:pt x="66" y="1870"/>
                    </a:lnTo>
                    <a:lnTo>
                      <a:pt x="45" y="1861"/>
                    </a:lnTo>
                    <a:lnTo>
                      <a:pt x="27" y="1847"/>
                    </a:lnTo>
                    <a:lnTo>
                      <a:pt x="12" y="1828"/>
                    </a:lnTo>
                    <a:lnTo>
                      <a:pt x="3" y="1807"/>
                    </a:lnTo>
                    <a:lnTo>
                      <a:pt x="0" y="1783"/>
                    </a:lnTo>
                    <a:lnTo>
                      <a:pt x="3" y="1758"/>
                    </a:lnTo>
                    <a:lnTo>
                      <a:pt x="12" y="1737"/>
                    </a:lnTo>
                    <a:lnTo>
                      <a:pt x="27" y="1719"/>
                    </a:lnTo>
                    <a:lnTo>
                      <a:pt x="45" y="1705"/>
                    </a:lnTo>
                    <a:lnTo>
                      <a:pt x="66" y="1696"/>
                    </a:lnTo>
                    <a:lnTo>
                      <a:pt x="91" y="1692"/>
                    </a:lnTo>
                    <a:close/>
                    <a:moveTo>
                      <a:pt x="3169" y="1351"/>
                    </a:moveTo>
                    <a:lnTo>
                      <a:pt x="3611" y="1351"/>
                    </a:lnTo>
                    <a:lnTo>
                      <a:pt x="3635" y="1355"/>
                    </a:lnTo>
                    <a:lnTo>
                      <a:pt x="3657" y="1364"/>
                    </a:lnTo>
                    <a:lnTo>
                      <a:pt x="3675" y="1378"/>
                    </a:lnTo>
                    <a:lnTo>
                      <a:pt x="3690" y="1396"/>
                    </a:lnTo>
                    <a:lnTo>
                      <a:pt x="3699" y="1417"/>
                    </a:lnTo>
                    <a:lnTo>
                      <a:pt x="3702" y="1442"/>
                    </a:lnTo>
                    <a:lnTo>
                      <a:pt x="3699" y="1466"/>
                    </a:lnTo>
                    <a:lnTo>
                      <a:pt x="3690" y="1487"/>
                    </a:lnTo>
                    <a:lnTo>
                      <a:pt x="3675" y="1506"/>
                    </a:lnTo>
                    <a:lnTo>
                      <a:pt x="3657" y="1519"/>
                    </a:lnTo>
                    <a:lnTo>
                      <a:pt x="3635" y="1528"/>
                    </a:lnTo>
                    <a:lnTo>
                      <a:pt x="3611" y="1532"/>
                    </a:lnTo>
                    <a:lnTo>
                      <a:pt x="3169" y="1532"/>
                    </a:lnTo>
                    <a:lnTo>
                      <a:pt x="3169" y="1351"/>
                    </a:lnTo>
                    <a:close/>
                    <a:moveTo>
                      <a:pt x="91" y="1351"/>
                    </a:moveTo>
                    <a:lnTo>
                      <a:pt x="533" y="1351"/>
                    </a:lnTo>
                    <a:lnTo>
                      <a:pt x="533" y="1532"/>
                    </a:lnTo>
                    <a:lnTo>
                      <a:pt x="91" y="1532"/>
                    </a:lnTo>
                    <a:lnTo>
                      <a:pt x="66" y="1528"/>
                    </a:lnTo>
                    <a:lnTo>
                      <a:pt x="45" y="1519"/>
                    </a:lnTo>
                    <a:lnTo>
                      <a:pt x="27" y="1506"/>
                    </a:lnTo>
                    <a:lnTo>
                      <a:pt x="12" y="1487"/>
                    </a:lnTo>
                    <a:lnTo>
                      <a:pt x="3" y="1466"/>
                    </a:lnTo>
                    <a:lnTo>
                      <a:pt x="0" y="1442"/>
                    </a:lnTo>
                    <a:lnTo>
                      <a:pt x="3" y="1417"/>
                    </a:lnTo>
                    <a:lnTo>
                      <a:pt x="12" y="1396"/>
                    </a:lnTo>
                    <a:lnTo>
                      <a:pt x="27" y="1378"/>
                    </a:lnTo>
                    <a:lnTo>
                      <a:pt x="45" y="1364"/>
                    </a:lnTo>
                    <a:lnTo>
                      <a:pt x="66" y="1355"/>
                    </a:lnTo>
                    <a:lnTo>
                      <a:pt x="91" y="1351"/>
                    </a:lnTo>
                    <a:close/>
                    <a:moveTo>
                      <a:pt x="3169" y="1016"/>
                    </a:moveTo>
                    <a:lnTo>
                      <a:pt x="3611" y="1016"/>
                    </a:lnTo>
                    <a:lnTo>
                      <a:pt x="3635" y="1019"/>
                    </a:lnTo>
                    <a:lnTo>
                      <a:pt x="3657" y="1028"/>
                    </a:lnTo>
                    <a:lnTo>
                      <a:pt x="3675" y="1041"/>
                    </a:lnTo>
                    <a:lnTo>
                      <a:pt x="3690" y="1061"/>
                    </a:lnTo>
                    <a:lnTo>
                      <a:pt x="3699" y="1082"/>
                    </a:lnTo>
                    <a:lnTo>
                      <a:pt x="3702" y="1105"/>
                    </a:lnTo>
                    <a:lnTo>
                      <a:pt x="3699" y="1130"/>
                    </a:lnTo>
                    <a:lnTo>
                      <a:pt x="3690" y="1151"/>
                    </a:lnTo>
                    <a:lnTo>
                      <a:pt x="3675" y="1169"/>
                    </a:lnTo>
                    <a:lnTo>
                      <a:pt x="3657" y="1184"/>
                    </a:lnTo>
                    <a:lnTo>
                      <a:pt x="3635" y="1193"/>
                    </a:lnTo>
                    <a:lnTo>
                      <a:pt x="3611" y="1196"/>
                    </a:lnTo>
                    <a:lnTo>
                      <a:pt x="3169" y="1196"/>
                    </a:lnTo>
                    <a:lnTo>
                      <a:pt x="3169" y="1016"/>
                    </a:lnTo>
                    <a:close/>
                    <a:moveTo>
                      <a:pt x="91" y="1016"/>
                    </a:moveTo>
                    <a:lnTo>
                      <a:pt x="533" y="1016"/>
                    </a:lnTo>
                    <a:lnTo>
                      <a:pt x="533" y="1196"/>
                    </a:lnTo>
                    <a:lnTo>
                      <a:pt x="91" y="1196"/>
                    </a:lnTo>
                    <a:lnTo>
                      <a:pt x="66" y="1193"/>
                    </a:lnTo>
                    <a:lnTo>
                      <a:pt x="45" y="1184"/>
                    </a:lnTo>
                    <a:lnTo>
                      <a:pt x="27" y="1169"/>
                    </a:lnTo>
                    <a:lnTo>
                      <a:pt x="12" y="1151"/>
                    </a:lnTo>
                    <a:lnTo>
                      <a:pt x="3" y="1130"/>
                    </a:lnTo>
                    <a:lnTo>
                      <a:pt x="0" y="1105"/>
                    </a:lnTo>
                    <a:lnTo>
                      <a:pt x="3" y="1082"/>
                    </a:lnTo>
                    <a:lnTo>
                      <a:pt x="12" y="1061"/>
                    </a:lnTo>
                    <a:lnTo>
                      <a:pt x="27" y="1041"/>
                    </a:lnTo>
                    <a:lnTo>
                      <a:pt x="45" y="1028"/>
                    </a:lnTo>
                    <a:lnTo>
                      <a:pt x="66" y="1019"/>
                    </a:lnTo>
                    <a:lnTo>
                      <a:pt x="91" y="1016"/>
                    </a:lnTo>
                    <a:close/>
                    <a:moveTo>
                      <a:pt x="3169" y="684"/>
                    </a:moveTo>
                    <a:lnTo>
                      <a:pt x="3611" y="684"/>
                    </a:lnTo>
                    <a:lnTo>
                      <a:pt x="3635" y="687"/>
                    </a:lnTo>
                    <a:lnTo>
                      <a:pt x="3657" y="696"/>
                    </a:lnTo>
                    <a:lnTo>
                      <a:pt x="3675" y="710"/>
                    </a:lnTo>
                    <a:lnTo>
                      <a:pt x="3690" y="728"/>
                    </a:lnTo>
                    <a:lnTo>
                      <a:pt x="3699" y="751"/>
                    </a:lnTo>
                    <a:lnTo>
                      <a:pt x="3702" y="774"/>
                    </a:lnTo>
                    <a:lnTo>
                      <a:pt x="3699" y="798"/>
                    </a:lnTo>
                    <a:lnTo>
                      <a:pt x="3690" y="820"/>
                    </a:lnTo>
                    <a:lnTo>
                      <a:pt x="3675" y="838"/>
                    </a:lnTo>
                    <a:lnTo>
                      <a:pt x="3657" y="853"/>
                    </a:lnTo>
                    <a:lnTo>
                      <a:pt x="3635" y="862"/>
                    </a:lnTo>
                    <a:lnTo>
                      <a:pt x="3611" y="865"/>
                    </a:lnTo>
                    <a:lnTo>
                      <a:pt x="3169" y="865"/>
                    </a:lnTo>
                    <a:lnTo>
                      <a:pt x="3169" y="684"/>
                    </a:lnTo>
                    <a:close/>
                    <a:moveTo>
                      <a:pt x="91" y="684"/>
                    </a:moveTo>
                    <a:lnTo>
                      <a:pt x="533" y="684"/>
                    </a:lnTo>
                    <a:lnTo>
                      <a:pt x="533" y="865"/>
                    </a:lnTo>
                    <a:lnTo>
                      <a:pt x="91" y="865"/>
                    </a:lnTo>
                    <a:lnTo>
                      <a:pt x="66" y="862"/>
                    </a:lnTo>
                    <a:lnTo>
                      <a:pt x="45" y="853"/>
                    </a:lnTo>
                    <a:lnTo>
                      <a:pt x="27" y="838"/>
                    </a:lnTo>
                    <a:lnTo>
                      <a:pt x="12" y="820"/>
                    </a:lnTo>
                    <a:lnTo>
                      <a:pt x="3" y="798"/>
                    </a:lnTo>
                    <a:lnTo>
                      <a:pt x="0" y="774"/>
                    </a:lnTo>
                    <a:lnTo>
                      <a:pt x="3" y="751"/>
                    </a:lnTo>
                    <a:lnTo>
                      <a:pt x="12" y="728"/>
                    </a:lnTo>
                    <a:lnTo>
                      <a:pt x="27" y="710"/>
                    </a:lnTo>
                    <a:lnTo>
                      <a:pt x="45" y="696"/>
                    </a:lnTo>
                    <a:lnTo>
                      <a:pt x="66" y="687"/>
                    </a:lnTo>
                    <a:lnTo>
                      <a:pt x="91" y="684"/>
                    </a:lnTo>
                    <a:close/>
                    <a:moveTo>
                      <a:pt x="3169" y="341"/>
                    </a:moveTo>
                    <a:lnTo>
                      <a:pt x="3611" y="341"/>
                    </a:lnTo>
                    <a:lnTo>
                      <a:pt x="3635" y="345"/>
                    </a:lnTo>
                    <a:lnTo>
                      <a:pt x="3657" y="354"/>
                    </a:lnTo>
                    <a:lnTo>
                      <a:pt x="3675" y="367"/>
                    </a:lnTo>
                    <a:lnTo>
                      <a:pt x="3690" y="386"/>
                    </a:lnTo>
                    <a:lnTo>
                      <a:pt x="3699" y="407"/>
                    </a:lnTo>
                    <a:lnTo>
                      <a:pt x="3702" y="431"/>
                    </a:lnTo>
                    <a:lnTo>
                      <a:pt x="3699" y="456"/>
                    </a:lnTo>
                    <a:lnTo>
                      <a:pt x="3690" y="477"/>
                    </a:lnTo>
                    <a:lnTo>
                      <a:pt x="3675" y="495"/>
                    </a:lnTo>
                    <a:lnTo>
                      <a:pt x="3657" y="510"/>
                    </a:lnTo>
                    <a:lnTo>
                      <a:pt x="3635" y="519"/>
                    </a:lnTo>
                    <a:lnTo>
                      <a:pt x="3611" y="522"/>
                    </a:lnTo>
                    <a:lnTo>
                      <a:pt x="3169" y="522"/>
                    </a:lnTo>
                    <a:lnTo>
                      <a:pt x="3169" y="341"/>
                    </a:lnTo>
                    <a:close/>
                    <a:moveTo>
                      <a:pt x="91" y="341"/>
                    </a:moveTo>
                    <a:lnTo>
                      <a:pt x="533" y="341"/>
                    </a:lnTo>
                    <a:lnTo>
                      <a:pt x="533" y="522"/>
                    </a:lnTo>
                    <a:lnTo>
                      <a:pt x="91" y="522"/>
                    </a:lnTo>
                    <a:lnTo>
                      <a:pt x="66" y="519"/>
                    </a:lnTo>
                    <a:lnTo>
                      <a:pt x="45" y="510"/>
                    </a:lnTo>
                    <a:lnTo>
                      <a:pt x="27" y="495"/>
                    </a:lnTo>
                    <a:lnTo>
                      <a:pt x="12" y="477"/>
                    </a:lnTo>
                    <a:lnTo>
                      <a:pt x="3" y="456"/>
                    </a:lnTo>
                    <a:lnTo>
                      <a:pt x="0" y="431"/>
                    </a:lnTo>
                    <a:lnTo>
                      <a:pt x="3" y="407"/>
                    </a:lnTo>
                    <a:lnTo>
                      <a:pt x="12" y="386"/>
                    </a:lnTo>
                    <a:lnTo>
                      <a:pt x="27" y="367"/>
                    </a:lnTo>
                    <a:lnTo>
                      <a:pt x="45" y="354"/>
                    </a:lnTo>
                    <a:lnTo>
                      <a:pt x="66" y="345"/>
                    </a:lnTo>
                    <a:lnTo>
                      <a:pt x="91" y="341"/>
                    </a:lnTo>
                    <a:close/>
                    <a:moveTo>
                      <a:pt x="3169" y="0"/>
                    </a:moveTo>
                    <a:lnTo>
                      <a:pt x="3611" y="0"/>
                    </a:lnTo>
                    <a:lnTo>
                      <a:pt x="3635" y="3"/>
                    </a:lnTo>
                    <a:lnTo>
                      <a:pt x="3657" y="12"/>
                    </a:lnTo>
                    <a:lnTo>
                      <a:pt x="3675" y="26"/>
                    </a:lnTo>
                    <a:lnTo>
                      <a:pt x="3690" y="45"/>
                    </a:lnTo>
                    <a:lnTo>
                      <a:pt x="3699" y="66"/>
                    </a:lnTo>
                    <a:lnTo>
                      <a:pt x="3702" y="90"/>
                    </a:lnTo>
                    <a:lnTo>
                      <a:pt x="3699" y="115"/>
                    </a:lnTo>
                    <a:lnTo>
                      <a:pt x="3690" y="136"/>
                    </a:lnTo>
                    <a:lnTo>
                      <a:pt x="3675" y="154"/>
                    </a:lnTo>
                    <a:lnTo>
                      <a:pt x="3657" y="168"/>
                    </a:lnTo>
                    <a:lnTo>
                      <a:pt x="3635" y="177"/>
                    </a:lnTo>
                    <a:lnTo>
                      <a:pt x="3611" y="181"/>
                    </a:lnTo>
                    <a:lnTo>
                      <a:pt x="3169" y="181"/>
                    </a:lnTo>
                    <a:lnTo>
                      <a:pt x="3169" y="0"/>
                    </a:lnTo>
                    <a:close/>
                    <a:moveTo>
                      <a:pt x="91" y="0"/>
                    </a:moveTo>
                    <a:lnTo>
                      <a:pt x="533" y="0"/>
                    </a:lnTo>
                    <a:lnTo>
                      <a:pt x="533" y="181"/>
                    </a:lnTo>
                    <a:lnTo>
                      <a:pt x="91" y="181"/>
                    </a:lnTo>
                    <a:lnTo>
                      <a:pt x="66" y="177"/>
                    </a:lnTo>
                    <a:lnTo>
                      <a:pt x="45" y="168"/>
                    </a:lnTo>
                    <a:lnTo>
                      <a:pt x="27" y="154"/>
                    </a:lnTo>
                    <a:lnTo>
                      <a:pt x="12" y="136"/>
                    </a:lnTo>
                    <a:lnTo>
                      <a:pt x="3" y="115"/>
                    </a:lnTo>
                    <a:lnTo>
                      <a:pt x="0" y="90"/>
                    </a:lnTo>
                    <a:lnTo>
                      <a:pt x="3" y="66"/>
                    </a:lnTo>
                    <a:lnTo>
                      <a:pt x="12" y="45"/>
                    </a:lnTo>
                    <a:lnTo>
                      <a:pt x="27" y="26"/>
                    </a:lnTo>
                    <a:lnTo>
                      <a:pt x="45" y="12"/>
                    </a:lnTo>
                    <a:lnTo>
                      <a:pt x="66" y="3"/>
                    </a:lnTo>
                    <a:lnTo>
                      <a:pt x="91"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20" name="Group 19"/>
          <p:cNvGrpSpPr/>
          <p:nvPr/>
        </p:nvGrpSpPr>
        <p:grpSpPr>
          <a:xfrm>
            <a:off x="7671560" y="2873356"/>
            <a:ext cx="1635191" cy="2569985"/>
            <a:chOff x="7671560" y="2873356"/>
            <a:chExt cx="1635191" cy="2569985"/>
          </a:xfrm>
        </p:grpSpPr>
        <p:sp>
          <p:nvSpPr>
            <p:cNvPr id="8" name="Rectangle 7"/>
            <p:cNvSpPr/>
            <p:nvPr/>
          </p:nvSpPr>
          <p:spPr>
            <a:xfrm>
              <a:off x="7671560" y="5129409"/>
              <a:ext cx="1635191" cy="313932"/>
            </a:xfrm>
            <a:prstGeom prst="rect">
              <a:avLst/>
            </a:prstGeom>
          </p:spPr>
          <p:txBody>
            <a:bodyPr wrap="none">
              <a:spAutoFit/>
            </a:bodyPr>
            <a:lstStyle/>
            <a:p>
              <a:pPr marL="0" lvl="1" defTabSz="471596">
                <a:lnSpc>
                  <a:spcPct val="90000"/>
                </a:lnSpc>
                <a:spcBef>
                  <a:spcPts val="612"/>
                </a:spcBef>
                <a:spcAft>
                  <a:spcPts val="612"/>
                </a:spcAft>
              </a:pPr>
              <a:r>
                <a:rPr lang="en-US" sz="1600" dirty="0" smtClean="0">
                  <a:cs typeface="Segoe UI" pitchFamily="34" charset="0"/>
                </a:rPr>
                <a:t>Semiconductors</a:t>
              </a:r>
              <a:endParaRPr lang="en-US" sz="1600" dirty="0">
                <a:cs typeface="Segoe UI" pitchFamily="34" charset="0"/>
              </a:endParaRPr>
            </a:p>
          </p:txBody>
        </p:sp>
        <p:grpSp>
          <p:nvGrpSpPr>
            <p:cNvPr id="53" name="Group 15"/>
            <p:cNvGrpSpPr>
              <a:grpSpLocks noChangeAspect="1"/>
            </p:cNvGrpSpPr>
            <p:nvPr/>
          </p:nvGrpSpPr>
          <p:grpSpPr bwMode="auto">
            <a:xfrm>
              <a:off x="7891302" y="2873356"/>
              <a:ext cx="1335798" cy="1442968"/>
              <a:chOff x="5460" y="1019"/>
              <a:chExt cx="698" cy="754"/>
            </a:xfrm>
          </p:grpSpPr>
          <p:sp>
            <p:nvSpPr>
              <p:cNvPr id="56" name="Freeform 17"/>
              <p:cNvSpPr>
                <a:spLocks noEditPoints="1"/>
              </p:cNvSpPr>
              <p:nvPr/>
            </p:nvSpPr>
            <p:spPr bwMode="auto">
              <a:xfrm>
                <a:off x="5464" y="1019"/>
                <a:ext cx="694" cy="754"/>
              </a:xfrm>
              <a:custGeom>
                <a:avLst/>
                <a:gdLst>
                  <a:gd name="T0" fmla="*/ 2076 w 3470"/>
                  <a:gd name="T1" fmla="*/ 2893 h 3770"/>
                  <a:gd name="T2" fmla="*/ 2280 w 3470"/>
                  <a:gd name="T3" fmla="*/ 2967 h 3770"/>
                  <a:gd name="T4" fmla="*/ 2376 w 3470"/>
                  <a:gd name="T5" fmla="*/ 3002 h 3770"/>
                  <a:gd name="T6" fmla="*/ 2094 w 3470"/>
                  <a:gd name="T7" fmla="*/ 3770 h 3770"/>
                  <a:gd name="T8" fmla="*/ 1795 w 3470"/>
                  <a:gd name="T9" fmla="*/ 3660 h 3770"/>
                  <a:gd name="T10" fmla="*/ 2076 w 3470"/>
                  <a:gd name="T11" fmla="*/ 2893 h 3770"/>
                  <a:gd name="T12" fmla="*/ 1212 w 3470"/>
                  <a:gd name="T13" fmla="*/ 2576 h 3770"/>
                  <a:gd name="T14" fmla="*/ 1282 w 3470"/>
                  <a:gd name="T15" fmla="*/ 2601 h 3770"/>
                  <a:gd name="T16" fmla="*/ 1511 w 3470"/>
                  <a:gd name="T17" fmla="*/ 2686 h 3770"/>
                  <a:gd name="T18" fmla="*/ 1440 w 3470"/>
                  <a:gd name="T19" fmla="*/ 2878 h 3770"/>
                  <a:gd name="T20" fmla="*/ 1141 w 3470"/>
                  <a:gd name="T21" fmla="*/ 2768 h 3770"/>
                  <a:gd name="T22" fmla="*/ 1212 w 3470"/>
                  <a:gd name="T23" fmla="*/ 2576 h 3770"/>
                  <a:gd name="T24" fmla="*/ 281 w 3470"/>
                  <a:gd name="T25" fmla="*/ 2234 h 3770"/>
                  <a:gd name="T26" fmla="*/ 581 w 3470"/>
                  <a:gd name="T27" fmla="*/ 2344 h 3770"/>
                  <a:gd name="T28" fmla="*/ 299 w 3470"/>
                  <a:gd name="T29" fmla="*/ 3111 h 3770"/>
                  <a:gd name="T30" fmla="*/ 0 w 3470"/>
                  <a:gd name="T31" fmla="*/ 3001 h 3770"/>
                  <a:gd name="T32" fmla="*/ 281 w 3470"/>
                  <a:gd name="T33" fmla="*/ 2234 h 3770"/>
                  <a:gd name="T34" fmla="*/ 818 w 3470"/>
                  <a:gd name="T35" fmla="*/ 6 h 3770"/>
                  <a:gd name="T36" fmla="*/ 2330 w 3470"/>
                  <a:gd name="T37" fmla="*/ 561 h 3770"/>
                  <a:gd name="T38" fmla="*/ 3242 w 3470"/>
                  <a:gd name="T39" fmla="*/ 895 h 3770"/>
                  <a:gd name="T40" fmla="*/ 3242 w 3470"/>
                  <a:gd name="T41" fmla="*/ 895 h 3770"/>
                  <a:gd name="T42" fmla="*/ 3470 w 3470"/>
                  <a:gd name="T43" fmla="*/ 979 h 3770"/>
                  <a:gd name="T44" fmla="*/ 2687 w 3470"/>
                  <a:gd name="T45" fmla="*/ 3117 h 3770"/>
                  <a:gd name="T46" fmla="*/ 2376 w 3470"/>
                  <a:gd name="T47" fmla="*/ 3002 h 3770"/>
                  <a:gd name="T48" fmla="*/ 2376 w 3470"/>
                  <a:gd name="T49" fmla="*/ 3002 h 3770"/>
                  <a:gd name="T50" fmla="*/ 2280 w 3470"/>
                  <a:gd name="T51" fmla="*/ 2967 h 3770"/>
                  <a:gd name="T52" fmla="*/ 1282 w 3470"/>
                  <a:gd name="T53" fmla="*/ 2601 h 3770"/>
                  <a:gd name="T54" fmla="*/ 1212 w 3470"/>
                  <a:gd name="T55" fmla="*/ 2576 h 3770"/>
                  <a:gd name="T56" fmla="*/ 1212 w 3470"/>
                  <a:gd name="T57" fmla="*/ 2576 h 3770"/>
                  <a:gd name="T58" fmla="*/ 581 w 3470"/>
                  <a:gd name="T59" fmla="*/ 2344 h 3770"/>
                  <a:gd name="T60" fmla="*/ 581 w 3470"/>
                  <a:gd name="T61" fmla="*/ 2344 h 3770"/>
                  <a:gd name="T62" fmla="*/ 281 w 3470"/>
                  <a:gd name="T63" fmla="*/ 2234 h 3770"/>
                  <a:gd name="T64" fmla="*/ 281 w 3470"/>
                  <a:gd name="T65" fmla="*/ 2234 h 3770"/>
                  <a:gd name="T66" fmla="*/ 35 w 3470"/>
                  <a:gd name="T67" fmla="*/ 2143 h 3770"/>
                  <a:gd name="T68" fmla="*/ 818 w 3470"/>
                  <a:gd name="T69" fmla="*/ 6 h 3770"/>
                  <a:gd name="T70" fmla="*/ 1120 w 3470"/>
                  <a:gd name="T71" fmla="*/ 0 h 3770"/>
                  <a:gd name="T72" fmla="*/ 3281 w 3470"/>
                  <a:gd name="T73" fmla="*/ 792 h 3770"/>
                  <a:gd name="T74" fmla="*/ 3242 w 3470"/>
                  <a:gd name="T75" fmla="*/ 895 h 3770"/>
                  <a:gd name="T76" fmla="*/ 2330 w 3470"/>
                  <a:gd name="T77" fmla="*/ 561 h 3770"/>
                  <a:gd name="T78" fmla="*/ 1083 w 3470"/>
                  <a:gd name="T79" fmla="*/ 103 h 3770"/>
                  <a:gd name="T80" fmla="*/ 1120 w 3470"/>
                  <a:gd name="T81" fmla="*/ 0 h 3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0" h="3770">
                    <a:moveTo>
                      <a:pt x="2076" y="2893"/>
                    </a:moveTo>
                    <a:lnTo>
                      <a:pt x="2280" y="2967"/>
                    </a:lnTo>
                    <a:lnTo>
                      <a:pt x="2376" y="3002"/>
                    </a:lnTo>
                    <a:lnTo>
                      <a:pt x="2094" y="3770"/>
                    </a:lnTo>
                    <a:lnTo>
                      <a:pt x="1795" y="3660"/>
                    </a:lnTo>
                    <a:lnTo>
                      <a:pt x="2076" y="2893"/>
                    </a:lnTo>
                    <a:close/>
                    <a:moveTo>
                      <a:pt x="1212" y="2576"/>
                    </a:moveTo>
                    <a:lnTo>
                      <a:pt x="1282" y="2601"/>
                    </a:lnTo>
                    <a:lnTo>
                      <a:pt x="1511" y="2686"/>
                    </a:lnTo>
                    <a:lnTo>
                      <a:pt x="1440" y="2878"/>
                    </a:lnTo>
                    <a:lnTo>
                      <a:pt x="1141" y="2768"/>
                    </a:lnTo>
                    <a:lnTo>
                      <a:pt x="1212" y="2576"/>
                    </a:lnTo>
                    <a:close/>
                    <a:moveTo>
                      <a:pt x="281" y="2234"/>
                    </a:moveTo>
                    <a:lnTo>
                      <a:pt x="581" y="2344"/>
                    </a:lnTo>
                    <a:lnTo>
                      <a:pt x="299" y="3111"/>
                    </a:lnTo>
                    <a:lnTo>
                      <a:pt x="0" y="3001"/>
                    </a:lnTo>
                    <a:lnTo>
                      <a:pt x="281" y="2234"/>
                    </a:lnTo>
                    <a:close/>
                    <a:moveTo>
                      <a:pt x="818" y="6"/>
                    </a:moveTo>
                    <a:lnTo>
                      <a:pt x="2330" y="561"/>
                    </a:lnTo>
                    <a:lnTo>
                      <a:pt x="3242" y="895"/>
                    </a:lnTo>
                    <a:lnTo>
                      <a:pt x="3242" y="895"/>
                    </a:lnTo>
                    <a:lnTo>
                      <a:pt x="3470" y="979"/>
                    </a:lnTo>
                    <a:lnTo>
                      <a:pt x="2687" y="3117"/>
                    </a:lnTo>
                    <a:lnTo>
                      <a:pt x="2376" y="3002"/>
                    </a:lnTo>
                    <a:lnTo>
                      <a:pt x="2376" y="3002"/>
                    </a:lnTo>
                    <a:lnTo>
                      <a:pt x="2280" y="2967"/>
                    </a:lnTo>
                    <a:lnTo>
                      <a:pt x="1282" y="2601"/>
                    </a:lnTo>
                    <a:lnTo>
                      <a:pt x="1212" y="2576"/>
                    </a:lnTo>
                    <a:lnTo>
                      <a:pt x="1212" y="2576"/>
                    </a:lnTo>
                    <a:lnTo>
                      <a:pt x="581" y="2344"/>
                    </a:lnTo>
                    <a:lnTo>
                      <a:pt x="581" y="2344"/>
                    </a:lnTo>
                    <a:lnTo>
                      <a:pt x="281" y="2234"/>
                    </a:lnTo>
                    <a:lnTo>
                      <a:pt x="281" y="2234"/>
                    </a:lnTo>
                    <a:lnTo>
                      <a:pt x="35" y="2143"/>
                    </a:lnTo>
                    <a:lnTo>
                      <a:pt x="818" y="6"/>
                    </a:lnTo>
                    <a:close/>
                    <a:moveTo>
                      <a:pt x="1120" y="0"/>
                    </a:moveTo>
                    <a:lnTo>
                      <a:pt x="3281" y="792"/>
                    </a:lnTo>
                    <a:lnTo>
                      <a:pt x="3242" y="895"/>
                    </a:lnTo>
                    <a:lnTo>
                      <a:pt x="2330" y="561"/>
                    </a:lnTo>
                    <a:lnTo>
                      <a:pt x="1083" y="103"/>
                    </a:lnTo>
                    <a:lnTo>
                      <a:pt x="112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8"/>
              <p:cNvSpPr>
                <a:spLocks/>
              </p:cNvSpPr>
              <p:nvPr/>
            </p:nvSpPr>
            <p:spPr bwMode="auto">
              <a:xfrm>
                <a:off x="5460" y="1421"/>
                <a:ext cx="534" cy="205"/>
              </a:xfrm>
              <a:custGeom>
                <a:avLst/>
                <a:gdLst>
                  <a:gd name="T0" fmla="*/ 19 w 2671"/>
                  <a:gd name="T1" fmla="*/ 0 h 1025"/>
                  <a:gd name="T2" fmla="*/ 2671 w 2671"/>
                  <a:gd name="T3" fmla="*/ 973 h 1025"/>
                  <a:gd name="T4" fmla="*/ 2652 w 2671"/>
                  <a:gd name="T5" fmla="*/ 1025 h 1025"/>
                  <a:gd name="T6" fmla="*/ 0 w 2671"/>
                  <a:gd name="T7" fmla="*/ 51 h 1025"/>
                  <a:gd name="T8" fmla="*/ 19 w 2671"/>
                  <a:gd name="T9" fmla="*/ 0 h 1025"/>
                </a:gdLst>
                <a:ahLst/>
                <a:cxnLst>
                  <a:cxn ang="0">
                    <a:pos x="T0" y="T1"/>
                  </a:cxn>
                  <a:cxn ang="0">
                    <a:pos x="T2" y="T3"/>
                  </a:cxn>
                  <a:cxn ang="0">
                    <a:pos x="T4" y="T5"/>
                  </a:cxn>
                  <a:cxn ang="0">
                    <a:pos x="T6" y="T7"/>
                  </a:cxn>
                  <a:cxn ang="0">
                    <a:pos x="T8" y="T9"/>
                  </a:cxn>
                </a:cxnLst>
                <a:rect l="0" t="0" r="r" b="b"/>
                <a:pathLst>
                  <a:path w="2671" h="1025">
                    <a:moveTo>
                      <a:pt x="19" y="0"/>
                    </a:moveTo>
                    <a:lnTo>
                      <a:pt x="2671" y="973"/>
                    </a:lnTo>
                    <a:lnTo>
                      <a:pt x="2652" y="1025"/>
                    </a:lnTo>
                    <a:lnTo>
                      <a:pt x="0" y="51"/>
                    </a:lnTo>
                    <a:lnTo>
                      <a:pt x="19" y="0"/>
                    </a:lnTo>
                    <a:close/>
                  </a:path>
                </a:pathLst>
              </a:custGeom>
              <a:solidFill>
                <a:srgbClr val="FFFFFF"/>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9"/>
              <p:cNvSpPr>
                <a:spLocks/>
              </p:cNvSpPr>
              <p:nvPr/>
            </p:nvSpPr>
            <p:spPr bwMode="auto">
              <a:xfrm>
                <a:off x="5664" y="1027"/>
                <a:ext cx="438" cy="170"/>
              </a:xfrm>
              <a:custGeom>
                <a:avLst/>
                <a:gdLst>
                  <a:gd name="T0" fmla="*/ 18 w 2189"/>
                  <a:gd name="T1" fmla="*/ 0 h 852"/>
                  <a:gd name="T2" fmla="*/ 2189 w 2189"/>
                  <a:gd name="T3" fmla="*/ 801 h 852"/>
                  <a:gd name="T4" fmla="*/ 2171 w 2189"/>
                  <a:gd name="T5" fmla="*/ 852 h 852"/>
                  <a:gd name="T6" fmla="*/ 0 w 2189"/>
                  <a:gd name="T7" fmla="*/ 50 h 852"/>
                  <a:gd name="T8" fmla="*/ 18 w 2189"/>
                  <a:gd name="T9" fmla="*/ 0 h 852"/>
                </a:gdLst>
                <a:ahLst/>
                <a:cxnLst>
                  <a:cxn ang="0">
                    <a:pos x="T0" y="T1"/>
                  </a:cxn>
                  <a:cxn ang="0">
                    <a:pos x="T2" y="T3"/>
                  </a:cxn>
                  <a:cxn ang="0">
                    <a:pos x="T4" y="T5"/>
                  </a:cxn>
                  <a:cxn ang="0">
                    <a:pos x="T6" y="T7"/>
                  </a:cxn>
                  <a:cxn ang="0">
                    <a:pos x="T8" y="T9"/>
                  </a:cxn>
                </a:cxnLst>
                <a:rect l="0" t="0" r="r" b="b"/>
                <a:pathLst>
                  <a:path w="2189" h="852">
                    <a:moveTo>
                      <a:pt x="18" y="0"/>
                    </a:moveTo>
                    <a:lnTo>
                      <a:pt x="2189" y="801"/>
                    </a:lnTo>
                    <a:lnTo>
                      <a:pt x="2171" y="852"/>
                    </a:lnTo>
                    <a:lnTo>
                      <a:pt x="0" y="50"/>
                    </a:lnTo>
                    <a:lnTo>
                      <a:pt x="18" y="0"/>
                    </a:lnTo>
                    <a:close/>
                  </a:path>
                </a:pathLst>
              </a:custGeom>
              <a:solidFill>
                <a:srgbClr val="FFFFFF"/>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744450964"/>
      </p:ext>
    </p:extLst>
  </p:cSld>
  <p:clrMapOvr>
    <a:masterClrMapping/>
  </p:clrMapOvr>
  <p:transition advClick="0">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408795" y="1581592"/>
            <a:ext cx="1887864" cy="2747797"/>
            <a:chOff x="6023525" y="-762156"/>
            <a:chExt cx="1887864" cy="2747797"/>
          </a:xfrm>
        </p:grpSpPr>
        <p:grpSp>
          <p:nvGrpSpPr>
            <p:cNvPr id="73" name="Group 72"/>
            <p:cNvGrpSpPr/>
            <p:nvPr/>
          </p:nvGrpSpPr>
          <p:grpSpPr>
            <a:xfrm>
              <a:off x="6023525" y="-762156"/>
              <a:ext cx="1887864" cy="2747797"/>
              <a:chOff x="2412779" y="1580816"/>
              <a:chExt cx="1887864" cy="2747797"/>
            </a:xfrm>
          </p:grpSpPr>
          <p:sp>
            <p:nvSpPr>
              <p:cNvPr id="77" name="Text Placeholder 12"/>
              <p:cNvSpPr txBox="1">
                <a:spLocks/>
              </p:cNvSpPr>
              <p:nvPr/>
            </p:nvSpPr>
            <p:spPr>
              <a:xfrm>
                <a:off x="2893275" y="3924106"/>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3D5800"/>
                    </a:solidFill>
                    <a:latin typeface="+mn-lt"/>
                  </a:rPr>
                  <a:t>Devices</a:t>
                </a:r>
              </a:p>
            </p:txBody>
          </p:sp>
          <p:sp>
            <p:nvSpPr>
              <p:cNvPr id="78" name="Rectangle 77"/>
              <p:cNvSpPr/>
              <p:nvPr/>
            </p:nvSpPr>
            <p:spPr bwMode="auto">
              <a:xfrm>
                <a:off x="2412779" y="1580816"/>
                <a:ext cx="1887864" cy="2747797"/>
              </a:xfrm>
              <a:prstGeom prst="rect">
                <a:avLst/>
              </a:prstGeom>
              <a:noFill/>
              <a:ln>
                <a:solidFill>
                  <a:srgbClr val="3D58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79" name="Group 78"/>
              <p:cNvGrpSpPr/>
              <p:nvPr/>
            </p:nvGrpSpPr>
            <p:grpSpPr>
              <a:xfrm>
                <a:off x="2694451" y="1679521"/>
                <a:ext cx="1333710" cy="2237201"/>
                <a:chOff x="3632038" y="1206859"/>
                <a:chExt cx="1847223" cy="3098577"/>
              </a:xfrm>
            </p:grpSpPr>
            <p:sp>
              <p:nvSpPr>
                <p:cNvPr id="86" name="Freeform 24"/>
                <p:cNvSpPr>
                  <a:spLocks/>
                </p:cNvSpPr>
                <p:nvPr/>
              </p:nvSpPr>
              <p:spPr bwMode="auto">
                <a:xfrm>
                  <a:off x="3632038" y="2956925"/>
                  <a:ext cx="15888" cy="28910"/>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7" name="Freeform 25"/>
                <p:cNvSpPr>
                  <a:spLocks/>
                </p:cNvSpPr>
                <p:nvPr/>
              </p:nvSpPr>
              <p:spPr bwMode="auto">
                <a:xfrm>
                  <a:off x="3679701" y="2465467"/>
                  <a:ext cx="21845" cy="22715"/>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8" name="Freeform 26"/>
                <p:cNvSpPr>
                  <a:spLocks/>
                </p:cNvSpPr>
                <p:nvPr/>
              </p:nvSpPr>
              <p:spPr bwMode="auto">
                <a:xfrm>
                  <a:off x="3679701" y="2465467"/>
                  <a:ext cx="21845" cy="22715"/>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90" name="Picture 8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9081" y="3327102"/>
                  <a:ext cx="1465061" cy="978334"/>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47372" y="2347338"/>
                  <a:ext cx="486267" cy="89862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60463" y="1206859"/>
                  <a:ext cx="1118798" cy="1118796"/>
                </a:xfrm>
                <a:prstGeom prst="rect">
                  <a:avLst/>
                </a:prstGeom>
              </p:spPr>
            </p:pic>
            <p:pic>
              <p:nvPicPr>
                <p:cNvPr id="93" name="Picture 9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96065" y="1276042"/>
                  <a:ext cx="615528" cy="920829"/>
                </a:xfrm>
                <a:prstGeom prst="rect">
                  <a:avLst/>
                </a:prstGeom>
              </p:spPr>
            </p:pic>
          </p:grpSp>
        </p:gr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12317" y="163009"/>
              <a:ext cx="770349" cy="657154"/>
            </a:xfrm>
            <a:prstGeom prst="rect">
              <a:avLst/>
            </a:prstGeom>
          </p:spPr>
        </p:pic>
      </p:grpSp>
      <p:grpSp>
        <p:nvGrpSpPr>
          <p:cNvPr id="249" name="Group 248"/>
          <p:cNvGrpSpPr/>
          <p:nvPr/>
        </p:nvGrpSpPr>
        <p:grpSpPr>
          <a:xfrm>
            <a:off x="4384618" y="1578811"/>
            <a:ext cx="1887864" cy="2747797"/>
            <a:chOff x="8592930" y="123553"/>
            <a:chExt cx="1887864" cy="2747797"/>
          </a:xfrm>
        </p:grpSpPr>
        <p:grpSp>
          <p:nvGrpSpPr>
            <p:cNvPr id="97" name="Group 96"/>
            <p:cNvGrpSpPr/>
            <p:nvPr/>
          </p:nvGrpSpPr>
          <p:grpSpPr>
            <a:xfrm>
              <a:off x="8592930" y="123553"/>
              <a:ext cx="1887864" cy="2747797"/>
              <a:chOff x="4373063" y="1580816"/>
              <a:chExt cx="1887864" cy="2747797"/>
            </a:xfrm>
          </p:grpSpPr>
          <p:sp>
            <p:nvSpPr>
              <p:cNvPr id="98" name="Text Placeholder 12"/>
              <p:cNvSpPr txBox="1">
                <a:spLocks/>
              </p:cNvSpPr>
              <p:nvPr/>
            </p:nvSpPr>
            <p:spPr>
              <a:xfrm>
                <a:off x="4853656" y="3885246"/>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FF8C00"/>
                    </a:solidFill>
                    <a:latin typeface="+mn-lt"/>
                  </a:rPr>
                  <a:t>Apps</a:t>
                </a:r>
              </a:p>
            </p:txBody>
          </p:sp>
          <p:sp>
            <p:nvSpPr>
              <p:cNvPr id="99" name="Rectangle 98"/>
              <p:cNvSpPr/>
              <p:nvPr/>
            </p:nvSpPr>
            <p:spPr bwMode="auto">
              <a:xfrm>
                <a:off x="4373063" y="1580816"/>
                <a:ext cx="1887864" cy="2747797"/>
              </a:xfrm>
              <a:prstGeom prst="rect">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100" name="Group 99"/>
              <p:cNvGrpSpPr/>
              <p:nvPr/>
            </p:nvGrpSpPr>
            <p:grpSpPr>
              <a:xfrm>
                <a:off x="4581414" y="1673767"/>
                <a:ext cx="1491445" cy="2236132"/>
                <a:chOff x="6649918" y="1518736"/>
                <a:chExt cx="1632914" cy="2448236"/>
              </a:xfrm>
            </p:grpSpPr>
            <p:sp>
              <p:nvSpPr>
                <p:cNvPr id="101"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2"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3"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4"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5"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grpSp>
        <p:grpSp>
          <p:nvGrpSpPr>
            <p:cNvPr id="237" name="Group 29"/>
            <p:cNvGrpSpPr>
              <a:grpSpLocks noChangeAspect="1"/>
            </p:cNvGrpSpPr>
            <p:nvPr/>
          </p:nvGrpSpPr>
          <p:grpSpPr bwMode="auto">
            <a:xfrm>
              <a:off x="8804898" y="979278"/>
              <a:ext cx="701892" cy="703330"/>
              <a:chOff x="5541" y="601"/>
              <a:chExt cx="488" cy="489"/>
            </a:xfrm>
            <a:solidFill>
              <a:schemeClr val="accent3"/>
            </a:solidFill>
          </p:grpSpPr>
          <p:sp>
            <p:nvSpPr>
              <p:cNvPr id="240"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1"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2"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3"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4"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5"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6"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7"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8"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grp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21" name="Group 20"/>
          <p:cNvGrpSpPr/>
          <p:nvPr/>
        </p:nvGrpSpPr>
        <p:grpSpPr>
          <a:xfrm>
            <a:off x="452494" y="1580816"/>
            <a:ext cx="1887864" cy="2747797"/>
            <a:chOff x="452494" y="1580816"/>
            <a:chExt cx="1887864" cy="2747797"/>
          </a:xfrm>
        </p:grpSpPr>
        <p:sp>
          <p:nvSpPr>
            <p:cNvPr id="232" name="Text Placeholder 12"/>
            <p:cNvSpPr txBox="1">
              <a:spLocks/>
            </p:cNvSpPr>
            <p:nvPr/>
          </p:nvSpPr>
          <p:spPr>
            <a:xfrm>
              <a:off x="839756" y="3928041"/>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00188F"/>
                  </a:solidFill>
                  <a:latin typeface="Segoe UI" pitchFamily="34" charset="0"/>
                  <a:ea typeface="Segoe UI" pitchFamily="34" charset="0"/>
                  <a:cs typeface="Segoe UI" pitchFamily="34" charset="0"/>
                </a:rPr>
                <a:t>Users</a:t>
              </a:r>
            </a:p>
          </p:txBody>
        </p:sp>
        <p:sp>
          <p:nvSpPr>
            <p:cNvPr id="191" name="Rectangle 190"/>
            <p:cNvSpPr/>
            <p:nvPr/>
          </p:nvSpPr>
          <p:spPr bwMode="auto">
            <a:xfrm>
              <a:off x="452494" y="1580816"/>
              <a:ext cx="1887864" cy="274779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18" name="Group 13"/>
            <p:cNvGrpSpPr>
              <a:grpSpLocks noChangeAspect="1"/>
            </p:cNvGrpSpPr>
            <p:nvPr/>
          </p:nvGrpSpPr>
          <p:grpSpPr bwMode="auto">
            <a:xfrm>
              <a:off x="657225" y="1822450"/>
              <a:ext cx="1330324" cy="1971675"/>
              <a:chOff x="414" y="1148"/>
              <a:chExt cx="838" cy="1242"/>
            </a:xfrm>
          </p:grpSpPr>
          <p:sp>
            <p:nvSpPr>
              <p:cNvPr id="19" name="AutoShape 12"/>
              <p:cNvSpPr>
                <a:spLocks noChangeAspect="1" noChangeArrowheads="1" noTextEdit="1"/>
              </p:cNvSpPr>
              <p:nvPr/>
            </p:nvSpPr>
            <p:spPr bwMode="auto">
              <a:xfrm>
                <a:off x="429" y="1148"/>
                <a:ext cx="823" cy="1242"/>
              </a:xfrm>
              <a:prstGeom prst="rect">
                <a:avLst/>
              </a:prstGeom>
              <a:blipFill dpi="0" rotWithShape="1">
                <a:blip r:embed="rId8">
                  <a:alphaModFix amt="9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4"/>
              <p:cNvSpPr>
                <a:spLocks noEditPoints="1"/>
              </p:cNvSpPr>
              <p:nvPr/>
            </p:nvSpPr>
            <p:spPr bwMode="auto">
              <a:xfrm>
                <a:off x="414" y="1148"/>
                <a:ext cx="828" cy="1241"/>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2" name="Title 1"/>
          <p:cNvSpPr>
            <a:spLocks noGrp="1"/>
          </p:cNvSpPr>
          <p:nvPr>
            <p:ph type="title"/>
          </p:nvPr>
        </p:nvSpPr>
        <p:spPr>
          <a:xfrm>
            <a:off x="249540" y="284524"/>
            <a:ext cx="11375536" cy="738664"/>
          </a:xfrm>
        </p:spPr>
        <p:txBody>
          <a:bodyPr/>
          <a:lstStyle/>
          <a:p>
            <a:r>
              <a:rPr lang="en-US" sz="4000" dirty="0" smtClean="0"/>
              <a:t>People-centric </a:t>
            </a:r>
            <a:r>
              <a:rPr lang="en-US" sz="4000" dirty="0"/>
              <a:t>IT</a:t>
            </a:r>
          </a:p>
        </p:txBody>
      </p:sp>
      <p:sp>
        <p:nvSpPr>
          <p:cNvPr id="3" name="Slide Number Placeholder 2"/>
          <p:cNvSpPr>
            <a:spLocks noGrp="1"/>
          </p:cNvSpPr>
          <p:nvPr>
            <p:ph type="sldNum" sz="quarter" idx="4294967295"/>
          </p:nvPr>
        </p:nvSpPr>
        <p:spPr>
          <a:xfrm>
            <a:off x="11650175" y="6573013"/>
            <a:ext cx="511664" cy="124650"/>
          </a:xfr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5</a:t>
            </a:fld>
            <a:endParaRPr dirty="0">
              <a:gradFill>
                <a:gsLst>
                  <a:gs pos="0">
                    <a:srgbClr val="505050"/>
                  </a:gs>
                  <a:gs pos="100000">
                    <a:srgbClr val="505050"/>
                  </a:gs>
                </a:gsLst>
                <a:lin ang="5400000" scaled="0"/>
              </a:gradFill>
            </a:endParaRPr>
          </a:p>
        </p:txBody>
      </p:sp>
      <p:sp>
        <p:nvSpPr>
          <p:cNvPr id="225" name="Text Placeholder 12"/>
          <p:cNvSpPr txBox="1">
            <a:spLocks/>
          </p:cNvSpPr>
          <p:nvPr/>
        </p:nvSpPr>
        <p:spPr>
          <a:xfrm>
            <a:off x="8915400" y="1620744"/>
            <a:ext cx="2917832" cy="127881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spc="0" dirty="0" smtClean="0">
                <a:solidFill>
                  <a:schemeClr val="bg2">
                    <a:lumMod val="50000"/>
                  </a:schemeClr>
                </a:solidFill>
                <a:latin typeface="Segoe UI" pitchFamily="34" charset="0"/>
                <a:ea typeface="Segoe UI" pitchFamily="34" charset="0"/>
                <a:cs typeface="Segoe UI" pitchFamily="34" charset="0"/>
              </a:rPr>
              <a:t>Enable your end </a:t>
            </a:r>
            <a:r>
              <a:rPr lang="en-US" sz="2000" b="1" spc="0" dirty="0">
                <a:solidFill>
                  <a:schemeClr val="bg2">
                    <a:lumMod val="50000"/>
                  </a:schemeClr>
                </a:solidFill>
                <a:latin typeface="Segoe UI" pitchFamily="34" charset="0"/>
                <a:ea typeface="Segoe UI" pitchFamily="34" charset="0"/>
                <a:cs typeface="Segoe UI" pitchFamily="34" charset="0"/>
              </a:rPr>
              <a:t>users</a:t>
            </a:r>
          </a:p>
          <a:p>
            <a:r>
              <a:rPr lang="en-US" sz="1600" spc="0" dirty="0" smtClean="0">
                <a:solidFill>
                  <a:schemeClr val="bg2">
                    <a:lumMod val="50000"/>
                  </a:schemeClr>
                </a:solidFill>
                <a:latin typeface="+mn-lt"/>
                <a:ea typeface="Segoe UI" pitchFamily="34" charset="0"/>
                <a:cs typeface="Segoe UI" pitchFamily="34" charset="0"/>
              </a:rPr>
              <a:t>Allow </a:t>
            </a:r>
            <a:r>
              <a:rPr lang="en-US" sz="1600" spc="0" dirty="0">
                <a:solidFill>
                  <a:schemeClr val="bg2">
                    <a:lumMod val="50000"/>
                  </a:schemeClr>
                </a:solidFill>
                <a:latin typeface="+mn-lt"/>
                <a:ea typeface="Segoe UI" pitchFamily="34" charset="0"/>
                <a:cs typeface="Segoe UI" pitchFamily="34" charset="0"/>
              </a:rPr>
              <a:t>users to work on the </a:t>
            </a:r>
            <a:r>
              <a:rPr lang="en-US" sz="1600" spc="0" dirty="0" smtClean="0">
                <a:solidFill>
                  <a:schemeClr val="bg2">
                    <a:lumMod val="50000"/>
                  </a:schemeClr>
                </a:solidFill>
                <a:latin typeface="+mn-lt"/>
                <a:ea typeface="Segoe UI" pitchFamily="34" charset="0"/>
                <a:cs typeface="Segoe UI" pitchFamily="34" charset="0"/>
              </a:rPr>
              <a:t>devices </a:t>
            </a:r>
            <a:r>
              <a:rPr lang="en-US" sz="1600" spc="0" dirty="0">
                <a:solidFill>
                  <a:schemeClr val="bg2">
                    <a:lumMod val="50000"/>
                  </a:schemeClr>
                </a:solidFill>
                <a:latin typeface="+mn-lt"/>
                <a:ea typeface="Segoe UI" pitchFamily="34" charset="0"/>
                <a:cs typeface="Segoe UI" pitchFamily="34" charset="0"/>
              </a:rPr>
              <a:t>of </a:t>
            </a:r>
            <a:r>
              <a:rPr lang="en-US" sz="1600" spc="0" dirty="0" smtClean="0">
                <a:solidFill>
                  <a:schemeClr val="bg2">
                    <a:lumMod val="50000"/>
                  </a:schemeClr>
                </a:solidFill>
                <a:latin typeface="+mn-lt"/>
                <a:ea typeface="Segoe UI" pitchFamily="34" charset="0"/>
                <a:cs typeface="Segoe UI" pitchFamily="34" charset="0"/>
              </a:rPr>
              <a:t>their choice and provide </a:t>
            </a:r>
            <a:r>
              <a:rPr lang="en-US" sz="1600" spc="0" dirty="0">
                <a:solidFill>
                  <a:schemeClr val="bg2">
                    <a:lumMod val="50000"/>
                  </a:schemeClr>
                </a:solidFill>
                <a:latin typeface="+mn-lt"/>
                <a:ea typeface="Segoe UI" pitchFamily="34" charset="0"/>
                <a:cs typeface="Segoe UI" pitchFamily="34" charset="0"/>
              </a:rPr>
              <a:t>consistent access to corporate </a:t>
            </a:r>
            <a:r>
              <a:rPr lang="en-US" sz="1600" spc="0" dirty="0" smtClean="0">
                <a:solidFill>
                  <a:schemeClr val="bg2">
                    <a:lumMod val="50000"/>
                  </a:schemeClr>
                </a:solidFill>
                <a:latin typeface="+mn-lt"/>
                <a:ea typeface="Segoe UI" pitchFamily="34" charset="0"/>
                <a:cs typeface="Segoe UI" pitchFamily="34" charset="0"/>
              </a:rPr>
              <a:t>resources.</a:t>
            </a:r>
            <a:endParaRPr lang="en-US" sz="1600" spc="0" dirty="0">
              <a:solidFill>
                <a:schemeClr val="bg2">
                  <a:lumMod val="50000"/>
                </a:schemeClr>
              </a:solidFill>
              <a:latin typeface="+mn-lt"/>
              <a:ea typeface="Segoe UI" pitchFamily="34" charset="0"/>
              <a:cs typeface="Segoe UI" pitchFamily="34" charset="0"/>
            </a:endParaRPr>
          </a:p>
        </p:txBody>
      </p:sp>
      <p:sp>
        <p:nvSpPr>
          <p:cNvPr id="226" name="Text Placeholder 12"/>
          <p:cNvSpPr txBox="1">
            <a:spLocks/>
          </p:cNvSpPr>
          <p:nvPr/>
        </p:nvSpPr>
        <p:spPr>
          <a:xfrm>
            <a:off x="8915400" y="3318665"/>
            <a:ext cx="2918668" cy="109568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2000" b="1" spc="0" dirty="0" smtClean="0">
                <a:solidFill>
                  <a:schemeClr val="bg2">
                    <a:lumMod val="50000"/>
                  </a:schemeClr>
                </a:solidFill>
                <a:latin typeface="Segoe UI" pitchFamily="34" charset="0"/>
                <a:ea typeface="Segoe UI" pitchFamily="34" charset="0"/>
                <a:cs typeface="Segoe UI" pitchFamily="34" charset="0"/>
              </a:rPr>
              <a:t>Unify your environment</a:t>
            </a:r>
          </a:p>
          <a:p>
            <a:pPr defTabSz="1243295">
              <a:spcAft>
                <a:spcPts val="1224"/>
              </a:spcAft>
              <a:defRPr/>
            </a:pPr>
            <a:r>
              <a:rPr lang="en-US" sz="1600" spc="0" dirty="0">
                <a:solidFill>
                  <a:schemeClr val="bg2">
                    <a:lumMod val="50000"/>
                  </a:schemeClr>
                </a:solidFill>
                <a:latin typeface="+mn-lt"/>
                <a:ea typeface="Segoe UI" pitchFamily="34" charset="0"/>
                <a:cs typeface="Segoe UI" pitchFamily="34" charset="0"/>
              </a:rPr>
              <a:t>Deliver </a:t>
            </a:r>
            <a:r>
              <a:rPr lang="en-US" sz="1600" spc="0" dirty="0" smtClean="0">
                <a:solidFill>
                  <a:schemeClr val="bg2">
                    <a:lumMod val="50000"/>
                  </a:schemeClr>
                </a:solidFill>
                <a:latin typeface="+mn-lt"/>
                <a:ea typeface="Segoe UI" pitchFamily="34" charset="0"/>
                <a:cs typeface="Segoe UI" pitchFamily="34" charset="0"/>
              </a:rPr>
              <a:t>a unified application </a:t>
            </a:r>
            <a:r>
              <a:rPr lang="en-US" sz="1600" spc="0" dirty="0">
                <a:solidFill>
                  <a:schemeClr val="bg2">
                    <a:lumMod val="50000"/>
                  </a:schemeClr>
                </a:solidFill>
                <a:latin typeface="+mn-lt"/>
                <a:ea typeface="Segoe UI" pitchFamily="34" charset="0"/>
                <a:cs typeface="Segoe UI" pitchFamily="34" charset="0"/>
              </a:rPr>
              <a:t>and device </a:t>
            </a:r>
            <a:r>
              <a:rPr lang="en-US" sz="1600" spc="0" dirty="0" smtClean="0">
                <a:solidFill>
                  <a:schemeClr val="bg2">
                    <a:lumMod val="50000"/>
                  </a:schemeClr>
                </a:solidFill>
                <a:latin typeface="+mn-lt"/>
                <a:ea typeface="Segoe UI" pitchFamily="34" charset="0"/>
                <a:cs typeface="Segoe UI" pitchFamily="34" charset="0"/>
              </a:rPr>
              <a:t>management</a:t>
            </a:r>
            <a:r>
              <a:rPr lang="en-US" sz="1600" spc="0" dirty="0" smtClean="0">
                <a:solidFill>
                  <a:srgbClr val="00188F"/>
                </a:solidFill>
                <a:latin typeface="+mn-lt"/>
                <a:ea typeface="Segoe UI" pitchFamily="34" charset="0"/>
                <a:cs typeface="Segoe UI" pitchFamily="34" charset="0"/>
              </a:rPr>
              <a:t> </a:t>
            </a:r>
            <a:r>
              <a:rPr lang="en-US" sz="1600" spc="0" dirty="0" smtClean="0">
                <a:solidFill>
                  <a:schemeClr val="bg2">
                    <a:lumMod val="50000"/>
                  </a:schemeClr>
                </a:solidFill>
                <a:latin typeface="+mn-lt"/>
                <a:ea typeface="Segoe UI" pitchFamily="34" charset="0"/>
                <a:cs typeface="Segoe UI" pitchFamily="34" charset="0"/>
              </a:rPr>
              <a:t>on-premises and in the cloud.</a:t>
            </a:r>
          </a:p>
        </p:txBody>
      </p:sp>
      <p:sp>
        <p:nvSpPr>
          <p:cNvPr id="227" name="Text Placeholder 12"/>
          <p:cNvSpPr txBox="1">
            <a:spLocks/>
          </p:cNvSpPr>
          <p:nvPr/>
        </p:nvSpPr>
        <p:spPr>
          <a:xfrm>
            <a:off x="8915400" y="4833459"/>
            <a:ext cx="2918668" cy="87408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2000" b="1" spc="0" dirty="0" smtClean="0">
                <a:solidFill>
                  <a:schemeClr val="bg2">
                    <a:lumMod val="50000"/>
                  </a:schemeClr>
                </a:solidFill>
                <a:latin typeface="+mn-lt"/>
              </a:rPr>
              <a:t>Protect your </a:t>
            </a:r>
            <a:r>
              <a:rPr lang="en-US" sz="2000" b="1" spc="0" dirty="0">
                <a:solidFill>
                  <a:schemeClr val="bg2">
                    <a:lumMod val="50000"/>
                  </a:schemeClr>
                </a:solidFill>
                <a:latin typeface="+mn-lt"/>
              </a:rPr>
              <a:t>data</a:t>
            </a:r>
          </a:p>
          <a:p>
            <a:pPr defTabSz="1243295">
              <a:spcAft>
                <a:spcPts val="1224"/>
              </a:spcAft>
              <a:defRPr/>
            </a:pPr>
            <a:r>
              <a:rPr lang="en-US" sz="1600" spc="0" dirty="0" smtClean="0">
                <a:solidFill>
                  <a:schemeClr val="bg2">
                    <a:lumMod val="50000"/>
                  </a:schemeClr>
                </a:solidFill>
                <a:latin typeface="+mn-lt"/>
              </a:rPr>
              <a:t>Help protect corporate information and manage risk.</a:t>
            </a:r>
            <a:endParaRPr lang="en-US" sz="1600" spc="0" dirty="0">
              <a:solidFill>
                <a:schemeClr val="bg2">
                  <a:lumMod val="50000"/>
                </a:schemeClr>
              </a:solidFill>
              <a:latin typeface="+mn-lt"/>
            </a:endParaRPr>
          </a:p>
        </p:txBody>
      </p:sp>
      <p:sp>
        <p:nvSpPr>
          <p:cNvPr id="295" name="Freeform 12"/>
          <p:cNvSpPr>
            <a:spLocks noEditPoints="1"/>
          </p:cNvSpPr>
          <p:nvPr/>
        </p:nvSpPr>
        <p:spPr bwMode="auto">
          <a:xfrm>
            <a:off x="2907569" y="4480560"/>
            <a:ext cx="2863085" cy="1007135"/>
          </a:xfrm>
          <a:custGeom>
            <a:avLst/>
            <a:gdLst>
              <a:gd name="T0" fmla="*/ 341 w 1606"/>
              <a:gd name="T1" fmla="*/ 302 h 444"/>
              <a:gd name="T2" fmla="*/ 360 w 1606"/>
              <a:gd name="T3" fmla="*/ 276 h 444"/>
              <a:gd name="T4" fmla="*/ 388 w 1606"/>
              <a:gd name="T5" fmla="*/ 116 h 444"/>
              <a:gd name="T6" fmla="*/ 499 w 1606"/>
              <a:gd name="T7" fmla="*/ 50 h 444"/>
              <a:gd name="T8" fmla="*/ 263 w 1606"/>
              <a:gd name="T9" fmla="*/ 91 h 444"/>
              <a:gd name="T10" fmla="*/ 98 w 1606"/>
              <a:gd name="T11" fmla="*/ 187 h 444"/>
              <a:gd name="T12" fmla="*/ 61 w 1606"/>
              <a:gd name="T13" fmla="*/ 339 h 444"/>
              <a:gd name="T14" fmla="*/ 134 w 1606"/>
              <a:gd name="T15" fmla="*/ 365 h 444"/>
              <a:gd name="T16" fmla="*/ 405 w 1606"/>
              <a:gd name="T17" fmla="*/ 411 h 444"/>
              <a:gd name="T18" fmla="*/ 340 w 1606"/>
              <a:gd name="T19" fmla="*/ 323 h 444"/>
              <a:gd name="T20" fmla="*/ 463 w 1606"/>
              <a:gd name="T21" fmla="*/ 158 h 444"/>
              <a:gd name="T22" fmla="*/ 519 w 1606"/>
              <a:gd name="T23" fmla="*/ 168 h 444"/>
              <a:gd name="T24" fmla="*/ 519 w 1606"/>
              <a:gd name="T25" fmla="*/ 214 h 444"/>
              <a:gd name="T26" fmla="*/ 1500 w 1606"/>
              <a:gd name="T27" fmla="*/ 174 h 444"/>
              <a:gd name="T28" fmla="*/ 1216 w 1606"/>
              <a:gd name="T29" fmla="*/ 92 h 444"/>
              <a:gd name="T30" fmla="*/ 1046 w 1606"/>
              <a:gd name="T31" fmla="*/ 147 h 444"/>
              <a:gd name="T32" fmla="*/ 821 w 1606"/>
              <a:gd name="T33" fmla="*/ 110 h 444"/>
              <a:gd name="T34" fmla="*/ 408 w 1606"/>
              <a:gd name="T35" fmla="*/ 290 h 444"/>
              <a:gd name="T36" fmla="*/ 600 w 1606"/>
              <a:gd name="T37" fmla="*/ 394 h 444"/>
              <a:gd name="T38" fmla="*/ 823 w 1606"/>
              <a:gd name="T39" fmla="*/ 287 h 444"/>
              <a:gd name="T40" fmla="*/ 1014 w 1606"/>
              <a:gd name="T41" fmla="*/ 340 h 444"/>
              <a:gd name="T42" fmla="*/ 1087 w 1606"/>
              <a:gd name="T43" fmla="*/ 366 h 444"/>
              <a:gd name="T44" fmla="*/ 1358 w 1606"/>
              <a:gd name="T45" fmla="*/ 412 h 444"/>
              <a:gd name="T46" fmla="*/ 1502 w 1606"/>
              <a:gd name="T47" fmla="*/ 320 h 444"/>
              <a:gd name="T48" fmla="*/ 1528 w 1606"/>
              <a:gd name="T49" fmla="*/ 169 h 444"/>
              <a:gd name="T50" fmla="*/ 448 w 1606"/>
              <a:gd name="T51" fmla="*/ 239 h 444"/>
              <a:gd name="T52" fmla="*/ 448 w 1606"/>
              <a:gd name="T53" fmla="*/ 219 h 444"/>
              <a:gd name="T54" fmla="*/ 416 w 1606"/>
              <a:gd name="T55" fmla="*/ 171 h 444"/>
              <a:gd name="T56" fmla="*/ 417 w 1606"/>
              <a:gd name="T57" fmla="*/ 139 h 444"/>
              <a:gd name="T58" fmla="*/ 625 w 1606"/>
              <a:gd name="T59" fmla="*/ 58 h 444"/>
              <a:gd name="T60" fmla="*/ 625 w 1606"/>
              <a:gd name="T61" fmla="*/ 117 h 444"/>
              <a:gd name="T62" fmla="*/ 539 w 1606"/>
              <a:gd name="T63" fmla="*/ 212 h 444"/>
              <a:gd name="T64" fmla="*/ 539 w 1606"/>
              <a:gd name="T65" fmla="*/ 239 h 444"/>
              <a:gd name="T66" fmla="*/ 625 w 1606"/>
              <a:gd name="T67" fmla="*/ 339 h 444"/>
              <a:gd name="T68" fmla="*/ 462 w 1606"/>
              <a:gd name="T69" fmla="*/ 239 h 444"/>
              <a:gd name="T70" fmla="*/ 414 w 1606"/>
              <a:gd name="T71" fmla="*/ 273 h 444"/>
              <a:gd name="T72" fmla="*/ 471 w 1606"/>
              <a:gd name="T73" fmla="*/ 301 h 444"/>
              <a:gd name="T74" fmla="*/ 515 w 1606"/>
              <a:gd name="T75" fmla="*/ 249 h 444"/>
              <a:gd name="T76" fmla="*/ 498 w 1606"/>
              <a:gd name="T77" fmla="*/ 305 h 444"/>
              <a:gd name="T78" fmla="*/ 599 w 1606"/>
              <a:gd name="T79" fmla="*/ 379 h 444"/>
              <a:gd name="T80" fmla="*/ 415 w 1606"/>
              <a:gd name="T81" fmla="*/ 294 h 444"/>
              <a:gd name="T82" fmla="*/ 726 w 1606"/>
              <a:gd name="T83" fmla="*/ 342 h 444"/>
              <a:gd name="T84" fmla="*/ 1137 w 1606"/>
              <a:gd name="T85" fmla="*/ 256 h 444"/>
              <a:gd name="T86" fmla="*/ 771 w 1606"/>
              <a:gd name="T87" fmla="*/ 256 h 444"/>
              <a:gd name="T88" fmla="*/ 771 w 1606"/>
              <a:gd name="T89" fmla="*/ 127 h 444"/>
              <a:gd name="T90" fmla="*/ 1114 w 1606"/>
              <a:gd name="T91" fmla="*/ 168 h 444"/>
              <a:gd name="T92" fmla="*/ 1222 w 1606"/>
              <a:gd name="T93" fmla="*/ 2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6" h="444">
                <a:moveTo>
                  <a:pt x="340" y="323"/>
                </a:moveTo>
                <a:cubicBezTo>
                  <a:pt x="341" y="307"/>
                  <a:pt x="341" y="307"/>
                  <a:pt x="341" y="307"/>
                </a:cubicBezTo>
                <a:cubicBezTo>
                  <a:pt x="341" y="302"/>
                  <a:pt x="341" y="302"/>
                  <a:pt x="341" y="302"/>
                </a:cubicBezTo>
                <a:cubicBezTo>
                  <a:pt x="341" y="298"/>
                  <a:pt x="341" y="298"/>
                  <a:pt x="341" y="298"/>
                </a:cubicBezTo>
                <a:cubicBezTo>
                  <a:pt x="342" y="280"/>
                  <a:pt x="342" y="280"/>
                  <a:pt x="342" y="280"/>
                </a:cubicBezTo>
                <a:cubicBezTo>
                  <a:pt x="360" y="276"/>
                  <a:pt x="360" y="276"/>
                  <a:pt x="360" y="276"/>
                </a:cubicBezTo>
                <a:cubicBezTo>
                  <a:pt x="368" y="275"/>
                  <a:pt x="377" y="273"/>
                  <a:pt x="385" y="271"/>
                </a:cubicBezTo>
                <a:cubicBezTo>
                  <a:pt x="385" y="254"/>
                  <a:pt x="386" y="226"/>
                  <a:pt x="386" y="201"/>
                </a:cubicBezTo>
                <a:cubicBezTo>
                  <a:pt x="388" y="137"/>
                  <a:pt x="388" y="117"/>
                  <a:pt x="388" y="116"/>
                </a:cubicBezTo>
                <a:cubicBezTo>
                  <a:pt x="389" y="102"/>
                  <a:pt x="389" y="102"/>
                  <a:pt x="389" y="102"/>
                </a:cubicBezTo>
                <a:cubicBezTo>
                  <a:pt x="401" y="96"/>
                  <a:pt x="401" y="96"/>
                  <a:pt x="401" y="96"/>
                </a:cubicBezTo>
                <a:cubicBezTo>
                  <a:pt x="499" y="50"/>
                  <a:pt x="499" y="50"/>
                  <a:pt x="499" y="50"/>
                </a:cubicBezTo>
                <a:cubicBezTo>
                  <a:pt x="466" y="20"/>
                  <a:pt x="420" y="4"/>
                  <a:pt x="373" y="12"/>
                </a:cubicBezTo>
                <a:cubicBezTo>
                  <a:pt x="324" y="20"/>
                  <a:pt x="284" y="50"/>
                  <a:pt x="263" y="91"/>
                </a:cubicBezTo>
                <a:cubicBezTo>
                  <a:pt x="263" y="91"/>
                  <a:pt x="263" y="91"/>
                  <a:pt x="263" y="91"/>
                </a:cubicBezTo>
                <a:cubicBezTo>
                  <a:pt x="247" y="72"/>
                  <a:pt x="224" y="59"/>
                  <a:pt x="197" y="57"/>
                </a:cubicBezTo>
                <a:cubicBezTo>
                  <a:pt x="144" y="53"/>
                  <a:pt x="97" y="92"/>
                  <a:pt x="92" y="146"/>
                </a:cubicBezTo>
                <a:cubicBezTo>
                  <a:pt x="91" y="160"/>
                  <a:pt x="93" y="174"/>
                  <a:pt x="98" y="187"/>
                </a:cubicBezTo>
                <a:cubicBezTo>
                  <a:pt x="98" y="187"/>
                  <a:pt x="98" y="187"/>
                  <a:pt x="98" y="187"/>
                </a:cubicBezTo>
                <a:cubicBezTo>
                  <a:pt x="63" y="183"/>
                  <a:pt x="28" y="203"/>
                  <a:pt x="15" y="237"/>
                </a:cubicBezTo>
                <a:cubicBezTo>
                  <a:pt x="0" y="278"/>
                  <a:pt x="20" y="324"/>
                  <a:pt x="61" y="339"/>
                </a:cubicBezTo>
                <a:cubicBezTo>
                  <a:pt x="82" y="348"/>
                  <a:pt x="105" y="346"/>
                  <a:pt x="124" y="337"/>
                </a:cubicBezTo>
                <a:cubicBezTo>
                  <a:pt x="124" y="336"/>
                  <a:pt x="124" y="336"/>
                  <a:pt x="124" y="336"/>
                </a:cubicBezTo>
                <a:cubicBezTo>
                  <a:pt x="126" y="346"/>
                  <a:pt x="129" y="356"/>
                  <a:pt x="134" y="365"/>
                </a:cubicBezTo>
                <a:cubicBezTo>
                  <a:pt x="161" y="420"/>
                  <a:pt x="229" y="443"/>
                  <a:pt x="284" y="415"/>
                </a:cubicBezTo>
                <a:cubicBezTo>
                  <a:pt x="300" y="407"/>
                  <a:pt x="313" y="396"/>
                  <a:pt x="323" y="383"/>
                </a:cubicBezTo>
                <a:cubicBezTo>
                  <a:pt x="341" y="409"/>
                  <a:pt x="374" y="421"/>
                  <a:pt x="405" y="411"/>
                </a:cubicBezTo>
                <a:cubicBezTo>
                  <a:pt x="428" y="404"/>
                  <a:pt x="445" y="386"/>
                  <a:pt x="452" y="365"/>
                </a:cubicBezTo>
                <a:cubicBezTo>
                  <a:pt x="420" y="353"/>
                  <a:pt x="388" y="341"/>
                  <a:pt x="356" y="329"/>
                </a:cubicBezTo>
                <a:lnTo>
                  <a:pt x="340" y="323"/>
                </a:lnTo>
                <a:close/>
                <a:moveTo>
                  <a:pt x="519" y="99"/>
                </a:moveTo>
                <a:cubicBezTo>
                  <a:pt x="464" y="121"/>
                  <a:pt x="464" y="121"/>
                  <a:pt x="464" y="121"/>
                </a:cubicBezTo>
                <a:cubicBezTo>
                  <a:pt x="463" y="158"/>
                  <a:pt x="463" y="158"/>
                  <a:pt x="463" y="158"/>
                </a:cubicBezTo>
                <a:cubicBezTo>
                  <a:pt x="519" y="144"/>
                  <a:pt x="519" y="144"/>
                  <a:pt x="519" y="144"/>
                </a:cubicBezTo>
                <a:lnTo>
                  <a:pt x="519" y="99"/>
                </a:lnTo>
                <a:close/>
                <a:moveTo>
                  <a:pt x="519" y="168"/>
                </a:moveTo>
                <a:cubicBezTo>
                  <a:pt x="463" y="180"/>
                  <a:pt x="463" y="180"/>
                  <a:pt x="463" y="180"/>
                </a:cubicBezTo>
                <a:cubicBezTo>
                  <a:pt x="463" y="218"/>
                  <a:pt x="463" y="218"/>
                  <a:pt x="463" y="218"/>
                </a:cubicBezTo>
                <a:cubicBezTo>
                  <a:pt x="519" y="214"/>
                  <a:pt x="519" y="214"/>
                  <a:pt x="519" y="214"/>
                </a:cubicBezTo>
                <a:lnTo>
                  <a:pt x="519" y="168"/>
                </a:lnTo>
                <a:close/>
                <a:moveTo>
                  <a:pt x="1528" y="169"/>
                </a:moveTo>
                <a:cubicBezTo>
                  <a:pt x="1518" y="169"/>
                  <a:pt x="1509" y="170"/>
                  <a:pt x="1500" y="174"/>
                </a:cubicBezTo>
                <a:cubicBezTo>
                  <a:pt x="1501" y="162"/>
                  <a:pt x="1501" y="150"/>
                  <a:pt x="1499" y="138"/>
                </a:cubicBezTo>
                <a:cubicBezTo>
                  <a:pt x="1486" y="56"/>
                  <a:pt x="1409" y="0"/>
                  <a:pt x="1326" y="13"/>
                </a:cubicBezTo>
                <a:cubicBezTo>
                  <a:pt x="1277" y="21"/>
                  <a:pt x="1238" y="51"/>
                  <a:pt x="1216" y="92"/>
                </a:cubicBezTo>
                <a:cubicBezTo>
                  <a:pt x="1216" y="92"/>
                  <a:pt x="1216" y="92"/>
                  <a:pt x="1216" y="92"/>
                </a:cubicBezTo>
                <a:cubicBezTo>
                  <a:pt x="1200" y="73"/>
                  <a:pt x="1177" y="60"/>
                  <a:pt x="1151" y="58"/>
                </a:cubicBezTo>
                <a:cubicBezTo>
                  <a:pt x="1097" y="54"/>
                  <a:pt x="1050" y="93"/>
                  <a:pt x="1046" y="147"/>
                </a:cubicBezTo>
                <a:cubicBezTo>
                  <a:pt x="1046" y="149"/>
                  <a:pt x="1046" y="152"/>
                  <a:pt x="1046" y="155"/>
                </a:cubicBezTo>
                <a:cubicBezTo>
                  <a:pt x="821" y="155"/>
                  <a:pt x="821" y="155"/>
                  <a:pt x="821" y="155"/>
                </a:cubicBezTo>
                <a:cubicBezTo>
                  <a:pt x="821" y="135"/>
                  <a:pt x="821" y="118"/>
                  <a:pt x="821" y="110"/>
                </a:cubicBezTo>
                <a:cubicBezTo>
                  <a:pt x="625" y="15"/>
                  <a:pt x="625" y="15"/>
                  <a:pt x="625" y="15"/>
                </a:cubicBezTo>
                <a:cubicBezTo>
                  <a:pt x="411" y="117"/>
                  <a:pt x="411" y="117"/>
                  <a:pt x="411" y="117"/>
                </a:cubicBezTo>
                <a:cubicBezTo>
                  <a:pt x="411" y="120"/>
                  <a:pt x="408" y="287"/>
                  <a:pt x="408" y="290"/>
                </a:cubicBezTo>
                <a:cubicBezTo>
                  <a:pt x="393" y="293"/>
                  <a:pt x="379" y="296"/>
                  <a:pt x="364" y="299"/>
                </a:cubicBezTo>
                <a:cubicBezTo>
                  <a:pt x="364" y="302"/>
                  <a:pt x="364" y="305"/>
                  <a:pt x="364" y="308"/>
                </a:cubicBezTo>
                <a:cubicBezTo>
                  <a:pt x="442" y="337"/>
                  <a:pt x="518" y="365"/>
                  <a:pt x="600" y="394"/>
                </a:cubicBezTo>
                <a:cubicBezTo>
                  <a:pt x="682" y="367"/>
                  <a:pt x="743" y="345"/>
                  <a:pt x="841" y="312"/>
                </a:cubicBezTo>
                <a:cubicBezTo>
                  <a:pt x="840" y="305"/>
                  <a:pt x="839" y="298"/>
                  <a:pt x="838" y="291"/>
                </a:cubicBezTo>
                <a:cubicBezTo>
                  <a:pt x="833" y="290"/>
                  <a:pt x="828" y="289"/>
                  <a:pt x="823" y="287"/>
                </a:cubicBezTo>
                <a:cubicBezTo>
                  <a:pt x="823" y="285"/>
                  <a:pt x="823" y="279"/>
                  <a:pt x="823" y="269"/>
                </a:cubicBezTo>
                <a:cubicBezTo>
                  <a:pt x="964" y="269"/>
                  <a:pt x="964" y="269"/>
                  <a:pt x="964" y="269"/>
                </a:cubicBezTo>
                <a:cubicBezTo>
                  <a:pt x="965" y="300"/>
                  <a:pt x="984" y="328"/>
                  <a:pt x="1014" y="340"/>
                </a:cubicBezTo>
                <a:cubicBezTo>
                  <a:pt x="1036" y="348"/>
                  <a:pt x="1059" y="347"/>
                  <a:pt x="1078" y="337"/>
                </a:cubicBezTo>
                <a:cubicBezTo>
                  <a:pt x="1078" y="337"/>
                  <a:pt x="1078" y="337"/>
                  <a:pt x="1078" y="337"/>
                </a:cubicBezTo>
                <a:cubicBezTo>
                  <a:pt x="1080" y="347"/>
                  <a:pt x="1083" y="357"/>
                  <a:pt x="1087" y="366"/>
                </a:cubicBezTo>
                <a:cubicBezTo>
                  <a:pt x="1115" y="421"/>
                  <a:pt x="1182" y="444"/>
                  <a:pt x="1238" y="416"/>
                </a:cubicBezTo>
                <a:cubicBezTo>
                  <a:pt x="1253" y="408"/>
                  <a:pt x="1266" y="397"/>
                  <a:pt x="1276" y="384"/>
                </a:cubicBezTo>
                <a:cubicBezTo>
                  <a:pt x="1294" y="410"/>
                  <a:pt x="1327" y="422"/>
                  <a:pt x="1358" y="412"/>
                </a:cubicBezTo>
                <a:cubicBezTo>
                  <a:pt x="1385" y="404"/>
                  <a:pt x="1403" y="382"/>
                  <a:pt x="1408" y="357"/>
                </a:cubicBezTo>
                <a:cubicBezTo>
                  <a:pt x="1427" y="373"/>
                  <a:pt x="1454" y="375"/>
                  <a:pt x="1476" y="362"/>
                </a:cubicBezTo>
                <a:cubicBezTo>
                  <a:pt x="1491" y="352"/>
                  <a:pt x="1500" y="337"/>
                  <a:pt x="1502" y="320"/>
                </a:cubicBezTo>
                <a:cubicBezTo>
                  <a:pt x="1510" y="323"/>
                  <a:pt x="1519" y="325"/>
                  <a:pt x="1528" y="325"/>
                </a:cubicBezTo>
                <a:cubicBezTo>
                  <a:pt x="1571" y="325"/>
                  <a:pt x="1606" y="290"/>
                  <a:pt x="1606" y="247"/>
                </a:cubicBezTo>
                <a:cubicBezTo>
                  <a:pt x="1606" y="204"/>
                  <a:pt x="1571" y="169"/>
                  <a:pt x="1528" y="169"/>
                </a:cubicBezTo>
                <a:close/>
                <a:moveTo>
                  <a:pt x="414" y="273"/>
                </a:moveTo>
                <a:cubicBezTo>
                  <a:pt x="447" y="278"/>
                  <a:pt x="447" y="278"/>
                  <a:pt x="447" y="278"/>
                </a:cubicBezTo>
                <a:cubicBezTo>
                  <a:pt x="448" y="239"/>
                  <a:pt x="448" y="239"/>
                  <a:pt x="448" y="239"/>
                </a:cubicBezTo>
                <a:cubicBezTo>
                  <a:pt x="414" y="239"/>
                  <a:pt x="414" y="239"/>
                  <a:pt x="414" y="239"/>
                </a:cubicBezTo>
                <a:cubicBezTo>
                  <a:pt x="415" y="232"/>
                  <a:pt x="415" y="229"/>
                  <a:pt x="415" y="222"/>
                </a:cubicBezTo>
                <a:cubicBezTo>
                  <a:pt x="448" y="219"/>
                  <a:pt x="448" y="219"/>
                  <a:pt x="448" y="219"/>
                </a:cubicBezTo>
                <a:cubicBezTo>
                  <a:pt x="449" y="183"/>
                  <a:pt x="449" y="183"/>
                  <a:pt x="449" y="183"/>
                </a:cubicBezTo>
                <a:cubicBezTo>
                  <a:pt x="416" y="190"/>
                  <a:pt x="416" y="190"/>
                  <a:pt x="416" y="190"/>
                </a:cubicBezTo>
                <a:cubicBezTo>
                  <a:pt x="416" y="184"/>
                  <a:pt x="416" y="176"/>
                  <a:pt x="416" y="171"/>
                </a:cubicBezTo>
                <a:cubicBezTo>
                  <a:pt x="449" y="162"/>
                  <a:pt x="449" y="162"/>
                  <a:pt x="449" y="162"/>
                </a:cubicBezTo>
                <a:cubicBezTo>
                  <a:pt x="449" y="126"/>
                  <a:pt x="449" y="126"/>
                  <a:pt x="449" y="126"/>
                </a:cubicBezTo>
                <a:cubicBezTo>
                  <a:pt x="417" y="139"/>
                  <a:pt x="417" y="139"/>
                  <a:pt x="417" y="139"/>
                </a:cubicBezTo>
                <a:cubicBezTo>
                  <a:pt x="417" y="129"/>
                  <a:pt x="417" y="122"/>
                  <a:pt x="417" y="121"/>
                </a:cubicBezTo>
                <a:cubicBezTo>
                  <a:pt x="625" y="25"/>
                  <a:pt x="625" y="25"/>
                  <a:pt x="625" y="25"/>
                </a:cubicBezTo>
                <a:cubicBezTo>
                  <a:pt x="625" y="58"/>
                  <a:pt x="625" y="58"/>
                  <a:pt x="625" y="58"/>
                </a:cubicBezTo>
                <a:cubicBezTo>
                  <a:pt x="539" y="91"/>
                  <a:pt x="539" y="91"/>
                  <a:pt x="539" y="91"/>
                </a:cubicBezTo>
                <a:cubicBezTo>
                  <a:pt x="539" y="138"/>
                  <a:pt x="539" y="138"/>
                  <a:pt x="539" y="138"/>
                </a:cubicBezTo>
                <a:cubicBezTo>
                  <a:pt x="625" y="117"/>
                  <a:pt x="625" y="117"/>
                  <a:pt x="625" y="117"/>
                </a:cubicBezTo>
                <a:cubicBezTo>
                  <a:pt x="625" y="147"/>
                  <a:pt x="625" y="147"/>
                  <a:pt x="625" y="147"/>
                </a:cubicBezTo>
                <a:cubicBezTo>
                  <a:pt x="625" y="147"/>
                  <a:pt x="539" y="164"/>
                  <a:pt x="539" y="164"/>
                </a:cubicBezTo>
                <a:cubicBezTo>
                  <a:pt x="539" y="212"/>
                  <a:pt x="539" y="212"/>
                  <a:pt x="539" y="212"/>
                </a:cubicBezTo>
                <a:cubicBezTo>
                  <a:pt x="539" y="212"/>
                  <a:pt x="624" y="206"/>
                  <a:pt x="625" y="206"/>
                </a:cubicBezTo>
                <a:cubicBezTo>
                  <a:pt x="625" y="240"/>
                  <a:pt x="625" y="240"/>
                  <a:pt x="625" y="240"/>
                </a:cubicBezTo>
                <a:cubicBezTo>
                  <a:pt x="539" y="239"/>
                  <a:pt x="539" y="239"/>
                  <a:pt x="539" y="239"/>
                </a:cubicBezTo>
                <a:cubicBezTo>
                  <a:pt x="539" y="292"/>
                  <a:pt x="539" y="292"/>
                  <a:pt x="539" y="292"/>
                </a:cubicBezTo>
                <a:cubicBezTo>
                  <a:pt x="625" y="306"/>
                  <a:pt x="625" y="306"/>
                  <a:pt x="625" y="306"/>
                </a:cubicBezTo>
                <a:cubicBezTo>
                  <a:pt x="625" y="339"/>
                  <a:pt x="625" y="339"/>
                  <a:pt x="625" y="339"/>
                </a:cubicBezTo>
                <a:cubicBezTo>
                  <a:pt x="625" y="339"/>
                  <a:pt x="568" y="326"/>
                  <a:pt x="519" y="315"/>
                </a:cubicBezTo>
                <a:cubicBezTo>
                  <a:pt x="519" y="239"/>
                  <a:pt x="519" y="239"/>
                  <a:pt x="519" y="239"/>
                </a:cubicBezTo>
                <a:cubicBezTo>
                  <a:pt x="462" y="239"/>
                  <a:pt x="462" y="239"/>
                  <a:pt x="462" y="239"/>
                </a:cubicBezTo>
                <a:cubicBezTo>
                  <a:pt x="462" y="301"/>
                  <a:pt x="462" y="301"/>
                  <a:pt x="462" y="301"/>
                </a:cubicBezTo>
                <a:cubicBezTo>
                  <a:pt x="437" y="295"/>
                  <a:pt x="419" y="291"/>
                  <a:pt x="413" y="289"/>
                </a:cubicBezTo>
                <a:cubicBezTo>
                  <a:pt x="413" y="288"/>
                  <a:pt x="414" y="282"/>
                  <a:pt x="414" y="273"/>
                </a:cubicBezTo>
                <a:close/>
                <a:moveTo>
                  <a:pt x="476" y="249"/>
                </a:moveTo>
                <a:cubicBezTo>
                  <a:pt x="475" y="300"/>
                  <a:pt x="475" y="300"/>
                  <a:pt x="475" y="300"/>
                </a:cubicBezTo>
                <a:cubicBezTo>
                  <a:pt x="471" y="301"/>
                  <a:pt x="471" y="301"/>
                  <a:pt x="471" y="301"/>
                </a:cubicBezTo>
                <a:cubicBezTo>
                  <a:pt x="472" y="246"/>
                  <a:pt x="472" y="246"/>
                  <a:pt x="472" y="246"/>
                </a:cubicBezTo>
                <a:cubicBezTo>
                  <a:pt x="515" y="246"/>
                  <a:pt x="515" y="246"/>
                  <a:pt x="515" y="246"/>
                </a:cubicBezTo>
                <a:cubicBezTo>
                  <a:pt x="515" y="249"/>
                  <a:pt x="515" y="249"/>
                  <a:pt x="515" y="249"/>
                </a:cubicBezTo>
                <a:cubicBezTo>
                  <a:pt x="501" y="249"/>
                  <a:pt x="501" y="249"/>
                  <a:pt x="501" y="249"/>
                </a:cubicBezTo>
                <a:cubicBezTo>
                  <a:pt x="501" y="305"/>
                  <a:pt x="501" y="305"/>
                  <a:pt x="501" y="305"/>
                </a:cubicBezTo>
                <a:cubicBezTo>
                  <a:pt x="498" y="305"/>
                  <a:pt x="498" y="305"/>
                  <a:pt x="498" y="305"/>
                </a:cubicBezTo>
                <a:cubicBezTo>
                  <a:pt x="498" y="249"/>
                  <a:pt x="498" y="249"/>
                  <a:pt x="498" y="249"/>
                </a:cubicBezTo>
                <a:lnTo>
                  <a:pt x="476" y="249"/>
                </a:lnTo>
                <a:close/>
                <a:moveTo>
                  <a:pt x="599" y="379"/>
                </a:moveTo>
                <a:cubicBezTo>
                  <a:pt x="565" y="368"/>
                  <a:pt x="389" y="308"/>
                  <a:pt x="371" y="301"/>
                </a:cubicBezTo>
                <a:cubicBezTo>
                  <a:pt x="384" y="299"/>
                  <a:pt x="397" y="296"/>
                  <a:pt x="410" y="293"/>
                </a:cubicBezTo>
                <a:cubicBezTo>
                  <a:pt x="412" y="294"/>
                  <a:pt x="413" y="294"/>
                  <a:pt x="415" y="294"/>
                </a:cubicBezTo>
                <a:cubicBezTo>
                  <a:pt x="437" y="300"/>
                  <a:pt x="630" y="346"/>
                  <a:pt x="630" y="346"/>
                </a:cubicBezTo>
                <a:cubicBezTo>
                  <a:pt x="630" y="346"/>
                  <a:pt x="630" y="346"/>
                  <a:pt x="630" y="346"/>
                </a:cubicBezTo>
                <a:cubicBezTo>
                  <a:pt x="726" y="342"/>
                  <a:pt x="726" y="342"/>
                  <a:pt x="726" y="342"/>
                </a:cubicBezTo>
                <a:cubicBezTo>
                  <a:pt x="681" y="355"/>
                  <a:pt x="624" y="372"/>
                  <a:pt x="599" y="379"/>
                </a:cubicBezTo>
                <a:close/>
                <a:moveTo>
                  <a:pt x="1137" y="297"/>
                </a:moveTo>
                <a:cubicBezTo>
                  <a:pt x="1137" y="256"/>
                  <a:pt x="1137" y="256"/>
                  <a:pt x="1137" y="256"/>
                </a:cubicBezTo>
                <a:cubicBezTo>
                  <a:pt x="794" y="256"/>
                  <a:pt x="794" y="256"/>
                  <a:pt x="794" y="256"/>
                </a:cubicBezTo>
                <a:cubicBezTo>
                  <a:pt x="794" y="256"/>
                  <a:pt x="794" y="256"/>
                  <a:pt x="794" y="256"/>
                </a:cubicBezTo>
                <a:cubicBezTo>
                  <a:pt x="771" y="256"/>
                  <a:pt x="771" y="256"/>
                  <a:pt x="771" y="256"/>
                </a:cubicBezTo>
                <a:cubicBezTo>
                  <a:pt x="771" y="297"/>
                  <a:pt x="771" y="297"/>
                  <a:pt x="771" y="297"/>
                </a:cubicBezTo>
                <a:cubicBezTo>
                  <a:pt x="686" y="212"/>
                  <a:pt x="686" y="212"/>
                  <a:pt x="686" y="212"/>
                </a:cubicBezTo>
                <a:cubicBezTo>
                  <a:pt x="771" y="127"/>
                  <a:pt x="771" y="127"/>
                  <a:pt x="771" y="127"/>
                </a:cubicBezTo>
                <a:cubicBezTo>
                  <a:pt x="771" y="168"/>
                  <a:pt x="771" y="168"/>
                  <a:pt x="771" y="168"/>
                </a:cubicBezTo>
                <a:cubicBezTo>
                  <a:pt x="1114" y="168"/>
                  <a:pt x="1114" y="168"/>
                  <a:pt x="1114" y="168"/>
                </a:cubicBezTo>
                <a:cubicBezTo>
                  <a:pt x="1114" y="168"/>
                  <a:pt x="1114" y="168"/>
                  <a:pt x="1114" y="168"/>
                </a:cubicBezTo>
                <a:cubicBezTo>
                  <a:pt x="1137" y="168"/>
                  <a:pt x="1137" y="168"/>
                  <a:pt x="1137" y="168"/>
                </a:cubicBezTo>
                <a:cubicBezTo>
                  <a:pt x="1137" y="127"/>
                  <a:pt x="1137" y="127"/>
                  <a:pt x="1137" y="127"/>
                </a:cubicBezTo>
                <a:cubicBezTo>
                  <a:pt x="1222" y="212"/>
                  <a:pt x="1222" y="212"/>
                  <a:pt x="1222" y="212"/>
                </a:cubicBezTo>
                <a:lnTo>
                  <a:pt x="1137" y="297"/>
                </a:lnTo>
                <a:close/>
              </a:path>
            </a:pathLst>
          </a:custGeom>
          <a:solidFill>
            <a:srgbClr val="0070C0"/>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96" name="Text Placeholder 12"/>
          <p:cNvSpPr txBox="1">
            <a:spLocks/>
          </p:cNvSpPr>
          <p:nvPr/>
        </p:nvSpPr>
        <p:spPr>
          <a:xfrm>
            <a:off x="2470169" y="5499125"/>
            <a:ext cx="3848148"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spc="0" dirty="0" smtClean="0">
                <a:solidFill>
                  <a:srgbClr val="969696">
                    <a:lumMod val="50000"/>
                  </a:srgbClr>
                </a:solidFill>
                <a:latin typeface="+mn-lt"/>
              </a:rPr>
              <a:t>Management.  Access.  Protection.</a:t>
            </a:r>
            <a:endParaRPr lang="en-US" sz="2000" spc="0" dirty="0">
              <a:solidFill>
                <a:srgbClr val="969696">
                  <a:lumMod val="50000"/>
                </a:srgbClr>
              </a:solidFill>
              <a:latin typeface="+mn-lt"/>
            </a:endParaRPr>
          </a:p>
        </p:txBody>
      </p:sp>
      <p:sp>
        <p:nvSpPr>
          <p:cNvPr id="117" name="Freeform 24"/>
          <p:cNvSpPr>
            <a:spLocks/>
          </p:cNvSpPr>
          <p:nvPr/>
        </p:nvSpPr>
        <p:spPr bwMode="auto">
          <a:xfrm>
            <a:off x="2772578" y="2892931"/>
            <a:ext cx="10929" cy="18146"/>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30" name="Freeform 25"/>
          <p:cNvSpPr>
            <a:spLocks/>
          </p:cNvSpPr>
          <p:nvPr/>
        </p:nvSpPr>
        <p:spPr bwMode="auto">
          <a:xfrm>
            <a:off x="2805365" y="2584452"/>
            <a:ext cx="15027" cy="14258"/>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48" name="Freeform 26"/>
          <p:cNvSpPr>
            <a:spLocks/>
          </p:cNvSpPr>
          <p:nvPr/>
        </p:nvSpPr>
        <p:spPr bwMode="auto">
          <a:xfrm>
            <a:off x="2805365" y="2584452"/>
            <a:ext cx="15027" cy="14258"/>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88" name="Freeform 42"/>
          <p:cNvSpPr>
            <a:spLocks/>
          </p:cNvSpPr>
          <p:nvPr/>
        </p:nvSpPr>
        <p:spPr bwMode="auto">
          <a:xfrm>
            <a:off x="3451026" y="3240658"/>
            <a:ext cx="20869" cy="28948"/>
          </a:xfrm>
          <a:custGeom>
            <a:avLst/>
            <a:gdLst>
              <a:gd name="T0" fmla="*/ 46 w 46"/>
              <a:gd name="T1" fmla="*/ 0 h 65"/>
              <a:gd name="T2" fmla="*/ 35 w 46"/>
              <a:gd name="T3" fmla="*/ 6 h 65"/>
              <a:gd name="T4" fmla="*/ 21 w 46"/>
              <a:gd name="T5" fmla="*/ 19 h 65"/>
              <a:gd name="T6" fmla="*/ 7 w 46"/>
              <a:gd name="T7" fmla="*/ 38 h 65"/>
              <a:gd name="T8" fmla="*/ 0 w 46"/>
              <a:gd name="T9" fmla="*/ 65 h 65"/>
              <a:gd name="T10" fmla="*/ 7 w 46"/>
              <a:gd name="T11" fmla="*/ 38 h 65"/>
              <a:gd name="T12" fmla="*/ 21 w 46"/>
              <a:gd name="T13" fmla="*/ 19 h 65"/>
              <a:gd name="T14" fmla="*/ 35 w 46"/>
              <a:gd name="T15" fmla="*/ 6 h 65"/>
              <a:gd name="T16" fmla="*/ 46 w 46"/>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65">
                <a:moveTo>
                  <a:pt x="46" y="0"/>
                </a:moveTo>
                <a:cubicBezTo>
                  <a:pt x="43" y="1"/>
                  <a:pt x="40" y="3"/>
                  <a:pt x="35" y="6"/>
                </a:cubicBezTo>
                <a:cubicBezTo>
                  <a:pt x="31" y="10"/>
                  <a:pt x="26" y="14"/>
                  <a:pt x="21" y="19"/>
                </a:cubicBezTo>
                <a:cubicBezTo>
                  <a:pt x="16" y="24"/>
                  <a:pt x="11" y="31"/>
                  <a:pt x="7" y="38"/>
                </a:cubicBezTo>
                <a:cubicBezTo>
                  <a:pt x="4" y="46"/>
                  <a:pt x="1" y="55"/>
                  <a:pt x="0" y="65"/>
                </a:cubicBezTo>
                <a:cubicBezTo>
                  <a:pt x="1" y="55"/>
                  <a:pt x="4" y="46"/>
                  <a:pt x="7" y="38"/>
                </a:cubicBezTo>
                <a:cubicBezTo>
                  <a:pt x="11" y="31"/>
                  <a:pt x="16" y="24"/>
                  <a:pt x="21" y="19"/>
                </a:cubicBezTo>
                <a:cubicBezTo>
                  <a:pt x="26" y="14"/>
                  <a:pt x="31" y="10"/>
                  <a:pt x="35" y="6"/>
                </a:cubicBezTo>
                <a:cubicBezTo>
                  <a:pt x="40" y="3"/>
                  <a:pt x="43" y="1"/>
                  <a:pt x="46"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95" name="Rectangle 194"/>
          <p:cNvSpPr/>
          <p:nvPr/>
        </p:nvSpPr>
        <p:spPr bwMode="auto">
          <a:xfrm>
            <a:off x="452494" y="4423410"/>
            <a:ext cx="7883498" cy="1383030"/>
          </a:xfrm>
          <a:prstGeom prst="rect">
            <a:avLst/>
          </a:prstGeom>
          <a:noFill/>
          <a:ln>
            <a:solidFill>
              <a:schemeClr val="bg2">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9" name="Group 8"/>
          <p:cNvGrpSpPr/>
          <p:nvPr/>
        </p:nvGrpSpPr>
        <p:grpSpPr>
          <a:xfrm>
            <a:off x="6339630" y="1580816"/>
            <a:ext cx="1996362" cy="2748161"/>
            <a:chOff x="6339630" y="1580816"/>
            <a:chExt cx="1996362" cy="2748161"/>
          </a:xfrm>
        </p:grpSpPr>
        <p:sp>
          <p:nvSpPr>
            <p:cNvPr id="235" name="Text Placeholder 12"/>
            <p:cNvSpPr txBox="1">
              <a:spLocks/>
            </p:cNvSpPr>
            <p:nvPr/>
          </p:nvSpPr>
          <p:spPr>
            <a:xfrm>
              <a:off x="6884596" y="3902176"/>
              <a:ext cx="930174" cy="276999"/>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442359"/>
                  </a:solidFill>
                  <a:latin typeface="+mn-lt"/>
                </a:rPr>
                <a:t>Data</a:t>
              </a:r>
            </a:p>
          </p:txBody>
        </p:sp>
        <p:sp>
          <p:nvSpPr>
            <p:cNvPr id="194" name="Rectangle 193"/>
            <p:cNvSpPr/>
            <p:nvPr/>
          </p:nvSpPr>
          <p:spPr bwMode="auto">
            <a:xfrm>
              <a:off x="6339630" y="1580816"/>
              <a:ext cx="1996362" cy="2748161"/>
            </a:xfrm>
            <a:prstGeom prst="rect">
              <a:avLst/>
            </a:prstGeom>
            <a:noFill/>
            <a:ln>
              <a:solidFill>
                <a:srgbClr val="7030A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80" name="Group 79"/>
            <p:cNvGrpSpPr/>
            <p:nvPr/>
          </p:nvGrpSpPr>
          <p:grpSpPr>
            <a:xfrm>
              <a:off x="6549739" y="1682732"/>
              <a:ext cx="1571639" cy="2130236"/>
              <a:chOff x="9962648" y="1385701"/>
              <a:chExt cx="1880481" cy="2548848"/>
            </a:xfrm>
          </p:grpSpPr>
          <p:sp>
            <p:nvSpPr>
              <p:cNvPr id="81" name="Freeform 331"/>
              <p:cNvSpPr>
                <a:spLocks noChangeAspect="1" noEditPoints="1"/>
              </p:cNvSpPr>
              <p:nvPr/>
            </p:nvSpPr>
            <p:spPr bwMode="auto">
              <a:xfrm>
                <a:off x="9962648" y="2264337"/>
                <a:ext cx="887171" cy="87011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2" name="Freeform 346"/>
              <p:cNvSpPr>
                <a:spLocks noChangeAspect="1" noEditPoints="1"/>
              </p:cNvSpPr>
              <p:nvPr/>
            </p:nvSpPr>
            <p:spPr bwMode="auto">
              <a:xfrm>
                <a:off x="10935954" y="2386132"/>
                <a:ext cx="907175" cy="518067"/>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3" name="Freeform 37"/>
              <p:cNvSpPr>
                <a:spLocks noEditPoints="1"/>
              </p:cNvSpPr>
              <p:nvPr/>
            </p:nvSpPr>
            <p:spPr bwMode="auto">
              <a:xfrm>
                <a:off x="10696245" y="1385701"/>
                <a:ext cx="1146884" cy="817571"/>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61816" y="1406416"/>
                <a:ext cx="542443" cy="820803"/>
              </a:xfrm>
              <a:prstGeom prst="rect">
                <a:avLst/>
              </a:prstGeom>
            </p:spPr>
          </p:pic>
          <p:pic>
            <p:nvPicPr>
              <p:cNvPr id="85" name="Picture 8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403449" y="3134449"/>
                <a:ext cx="1200150" cy="800100"/>
              </a:xfrm>
              <a:prstGeom prst="rect">
                <a:avLst/>
              </a:prstGeom>
            </p:spPr>
          </p:pic>
        </p:grpSp>
      </p:grpSp>
      <p:sp>
        <p:nvSpPr>
          <p:cNvPr id="222" name="Left-Right Arrow 221"/>
          <p:cNvSpPr/>
          <p:nvPr/>
        </p:nvSpPr>
        <p:spPr bwMode="auto">
          <a:xfrm rot="5400000">
            <a:off x="5006048" y="4454713"/>
            <a:ext cx="894095" cy="322824"/>
          </a:xfrm>
          <a:prstGeom prst="leftRightArrow">
            <a:avLst/>
          </a:prstGeom>
          <a:solidFill>
            <a:srgbClr val="FFFFFF"/>
          </a:solidFill>
          <a:ln w="25400">
            <a:solidFill>
              <a:srgbClr val="FF8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23" name="Left-Right Arrow 222"/>
          <p:cNvSpPr/>
          <p:nvPr/>
        </p:nvSpPr>
        <p:spPr bwMode="auto">
          <a:xfrm rot="5400000">
            <a:off x="6852714" y="4455716"/>
            <a:ext cx="902931" cy="322824"/>
          </a:xfrm>
          <a:prstGeom prst="leftRightArrow">
            <a:avLst/>
          </a:prstGeom>
          <a:solidFill>
            <a:srgbClr val="FFFFFF"/>
          </a:solidFill>
          <a:ln w="25400">
            <a:solidFill>
              <a:srgbClr val="44235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09" name="Left-Right Arrow 208"/>
          <p:cNvSpPr/>
          <p:nvPr/>
        </p:nvSpPr>
        <p:spPr bwMode="auto">
          <a:xfrm>
            <a:off x="5968186" y="3171475"/>
            <a:ext cx="702336" cy="322824"/>
          </a:xfrm>
          <a:prstGeom prst="leftRightArrow">
            <a:avLst/>
          </a:prstGeom>
          <a:solidFill>
            <a:srgbClr val="FFFFFF"/>
          </a:solidFill>
          <a:ln w="25400">
            <a:solidFill>
              <a:srgbClr val="FF8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11" name="Left-Right Arrow 210"/>
          <p:cNvSpPr/>
          <p:nvPr/>
        </p:nvSpPr>
        <p:spPr bwMode="auto">
          <a:xfrm rot="5400000">
            <a:off x="842320" y="4458889"/>
            <a:ext cx="902927" cy="322824"/>
          </a:xfrm>
          <a:prstGeom prst="leftRightArrow">
            <a:avLst/>
          </a:prstGeom>
          <a:solidFill>
            <a:srgbClr val="FFFFFF"/>
          </a:solid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196" name="Left-Right Arrow 195"/>
          <p:cNvSpPr/>
          <p:nvPr/>
        </p:nvSpPr>
        <p:spPr bwMode="auto">
          <a:xfrm>
            <a:off x="2034018" y="3193827"/>
            <a:ext cx="702336" cy="322824"/>
          </a:xfrm>
          <a:prstGeom prst="leftRightArrow">
            <a:avLst/>
          </a:prstGeom>
          <a:solidFill>
            <a:srgbClr val="FFFFFF"/>
          </a:solid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03" name="Left-Right Arrow 202"/>
          <p:cNvSpPr/>
          <p:nvPr/>
        </p:nvSpPr>
        <p:spPr bwMode="auto">
          <a:xfrm>
            <a:off x="3969724" y="3221135"/>
            <a:ext cx="702336" cy="322824"/>
          </a:xfrm>
          <a:prstGeom prst="leftRightArrow">
            <a:avLst/>
          </a:prstGeom>
          <a:solidFill>
            <a:srgbClr val="FFFFFF"/>
          </a:solidFill>
          <a:ln w="25400">
            <a:solidFill>
              <a:srgbClr val="3D58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12" name="Left-Right Arrow 211"/>
          <p:cNvSpPr/>
          <p:nvPr/>
        </p:nvSpPr>
        <p:spPr bwMode="auto">
          <a:xfrm rot="5400000">
            <a:off x="2905903" y="4458888"/>
            <a:ext cx="902926" cy="322824"/>
          </a:xfrm>
          <a:prstGeom prst="leftRightArrow">
            <a:avLst/>
          </a:prstGeom>
          <a:solidFill>
            <a:srgbClr val="FFFFFF"/>
          </a:solidFill>
          <a:ln w="25400">
            <a:solidFill>
              <a:srgbClr val="3D58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166124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6"/>
                                        </p:tgtEl>
                                        <p:attrNameLst>
                                          <p:attrName>style.visibility</p:attrName>
                                        </p:attrNameLst>
                                      </p:cBhvr>
                                      <p:to>
                                        <p:strVal val="visible"/>
                                      </p:to>
                                    </p:set>
                                    <p:animEffect transition="in" filter="fade">
                                      <p:cBhvr>
                                        <p:cTn id="10" dur="500"/>
                                        <p:tgtEl>
                                          <p:spTgt spid="19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03"/>
                                        </p:tgtEl>
                                        <p:attrNameLst>
                                          <p:attrName>style.visibility</p:attrName>
                                        </p:attrNameLst>
                                      </p:cBhvr>
                                      <p:to>
                                        <p:strVal val="visible"/>
                                      </p:to>
                                    </p:set>
                                    <p:animEffect transition="in" filter="fade">
                                      <p:cBhvr>
                                        <p:cTn id="17" dur="500"/>
                                        <p:tgtEl>
                                          <p:spTgt spid="203"/>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49"/>
                                        </p:tgtEl>
                                        <p:attrNameLst>
                                          <p:attrName>style.visibility</p:attrName>
                                        </p:attrNameLst>
                                      </p:cBhvr>
                                      <p:to>
                                        <p:strVal val="visible"/>
                                      </p:to>
                                    </p:set>
                                    <p:animEffect transition="in" filter="fade">
                                      <p:cBhvr>
                                        <p:cTn id="21" dur="500"/>
                                        <p:tgtEl>
                                          <p:spTgt spid="2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9"/>
                                        </p:tgtEl>
                                        <p:attrNameLst>
                                          <p:attrName>style.visibility</p:attrName>
                                        </p:attrNameLst>
                                      </p:cBhvr>
                                      <p:to>
                                        <p:strVal val="visible"/>
                                      </p:to>
                                    </p:set>
                                    <p:animEffect transition="in" filter="fade">
                                      <p:cBhvr>
                                        <p:cTn id="24" dur="500"/>
                                        <p:tgtEl>
                                          <p:spTgt spid="209"/>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par>
                          <p:cTn id="29" fill="hold">
                            <p:stCondLst>
                              <p:cond delay="2000"/>
                            </p:stCondLst>
                            <p:childTnLst>
                              <p:par>
                                <p:cTn id="30" presetID="10" presetClass="entr" presetSubtype="0" fill="hold" grpId="0" nodeType="afterEffect">
                                  <p:stCondLst>
                                    <p:cond delay="1000"/>
                                  </p:stCondLst>
                                  <p:childTnLst>
                                    <p:set>
                                      <p:cBhvr>
                                        <p:cTn id="31" dur="1" fill="hold">
                                          <p:stCondLst>
                                            <p:cond delay="0"/>
                                          </p:stCondLst>
                                        </p:cTn>
                                        <p:tgtEl>
                                          <p:spTgt spid="195"/>
                                        </p:tgtEl>
                                        <p:attrNameLst>
                                          <p:attrName>style.visibility</p:attrName>
                                        </p:attrNameLst>
                                      </p:cBhvr>
                                      <p:to>
                                        <p:strVal val="visible"/>
                                      </p:to>
                                    </p:set>
                                    <p:animEffect transition="in" filter="fade">
                                      <p:cBhvr>
                                        <p:cTn id="32" dur="500"/>
                                        <p:tgtEl>
                                          <p:spTgt spid="19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95"/>
                                        </p:tgtEl>
                                        <p:attrNameLst>
                                          <p:attrName>style.visibility</p:attrName>
                                        </p:attrNameLst>
                                      </p:cBhvr>
                                      <p:to>
                                        <p:strVal val="visible"/>
                                      </p:to>
                                    </p:set>
                                    <p:animEffect transition="in" filter="fade">
                                      <p:cBhvr>
                                        <p:cTn id="35" dur="500"/>
                                        <p:tgtEl>
                                          <p:spTgt spid="29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96"/>
                                        </p:tgtEl>
                                        <p:attrNameLst>
                                          <p:attrName>style.visibility</p:attrName>
                                        </p:attrNameLst>
                                      </p:cBhvr>
                                      <p:to>
                                        <p:strVal val="visible"/>
                                      </p:to>
                                    </p:set>
                                    <p:animEffect transition="in" filter="fade">
                                      <p:cBhvr>
                                        <p:cTn id="38" dur="500"/>
                                        <p:tgtEl>
                                          <p:spTgt spid="296"/>
                                        </p:tgtEl>
                                      </p:cBhvr>
                                    </p:animEffect>
                                  </p:childTnLst>
                                </p:cTn>
                              </p:par>
                            </p:childTnLst>
                          </p:cTn>
                        </p:par>
                        <p:par>
                          <p:cTn id="39" fill="hold">
                            <p:stCondLst>
                              <p:cond delay="3500"/>
                            </p:stCondLst>
                            <p:childTnLst>
                              <p:par>
                                <p:cTn id="40" presetID="22" presetClass="entr" presetSubtype="1" fill="hold" grpId="0" nodeType="afterEffect">
                                  <p:stCondLst>
                                    <p:cond delay="0"/>
                                  </p:stCondLst>
                                  <p:childTnLst>
                                    <p:set>
                                      <p:cBhvr>
                                        <p:cTn id="41" dur="1" fill="hold">
                                          <p:stCondLst>
                                            <p:cond delay="0"/>
                                          </p:stCondLst>
                                        </p:cTn>
                                        <p:tgtEl>
                                          <p:spTgt spid="211"/>
                                        </p:tgtEl>
                                        <p:attrNameLst>
                                          <p:attrName>style.visibility</p:attrName>
                                        </p:attrNameLst>
                                      </p:cBhvr>
                                      <p:to>
                                        <p:strVal val="visible"/>
                                      </p:to>
                                    </p:set>
                                    <p:animEffect transition="in" filter="wipe(up)">
                                      <p:cBhvr>
                                        <p:cTn id="42" dur="500"/>
                                        <p:tgtEl>
                                          <p:spTgt spid="211"/>
                                        </p:tgtEl>
                                      </p:cBhvr>
                                    </p:animEffect>
                                  </p:childTnLst>
                                </p:cTn>
                              </p:par>
                            </p:childTnLst>
                          </p:cTn>
                        </p:par>
                        <p:par>
                          <p:cTn id="43" fill="hold">
                            <p:stCondLst>
                              <p:cond delay="4000"/>
                            </p:stCondLst>
                            <p:childTnLst>
                              <p:par>
                                <p:cTn id="44" presetID="22" presetClass="entr" presetSubtype="1" fill="hold" grpId="0" nodeType="afterEffect">
                                  <p:stCondLst>
                                    <p:cond delay="0"/>
                                  </p:stCondLst>
                                  <p:childTnLst>
                                    <p:set>
                                      <p:cBhvr>
                                        <p:cTn id="45" dur="1" fill="hold">
                                          <p:stCondLst>
                                            <p:cond delay="0"/>
                                          </p:stCondLst>
                                        </p:cTn>
                                        <p:tgtEl>
                                          <p:spTgt spid="212"/>
                                        </p:tgtEl>
                                        <p:attrNameLst>
                                          <p:attrName>style.visibility</p:attrName>
                                        </p:attrNameLst>
                                      </p:cBhvr>
                                      <p:to>
                                        <p:strVal val="visible"/>
                                      </p:to>
                                    </p:set>
                                    <p:animEffect transition="in" filter="wipe(up)">
                                      <p:cBhvr>
                                        <p:cTn id="46" dur="500"/>
                                        <p:tgtEl>
                                          <p:spTgt spid="212"/>
                                        </p:tgtEl>
                                      </p:cBhvr>
                                    </p:animEffect>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222"/>
                                        </p:tgtEl>
                                        <p:attrNameLst>
                                          <p:attrName>style.visibility</p:attrName>
                                        </p:attrNameLst>
                                      </p:cBhvr>
                                      <p:to>
                                        <p:strVal val="visible"/>
                                      </p:to>
                                    </p:set>
                                    <p:animEffect transition="in" filter="wipe(up)">
                                      <p:cBhvr>
                                        <p:cTn id="50" dur="500"/>
                                        <p:tgtEl>
                                          <p:spTgt spid="222"/>
                                        </p:tgtEl>
                                      </p:cBhvr>
                                    </p:animEffect>
                                  </p:childTnLst>
                                </p:cTn>
                              </p:par>
                            </p:childTnLst>
                          </p:cTn>
                        </p:par>
                        <p:par>
                          <p:cTn id="51" fill="hold">
                            <p:stCondLst>
                              <p:cond delay="5000"/>
                            </p:stCondLst>
                            <p:childTnLst>
                              <p:par>
                                <p:cTn id="52" presetID="22" presetClass="entr" presetSubtype="1" fill="hold" grpId="0" nodeType="afterEffect">
                                  <p:stCondLst>
                                    <p:cond delay="0"/>
                                  </p:stCondLst>
                                  <p:childTnLst>
                                    <p:set>
                                      <p:cBhvr>
                                        <p:cTn id="53" dur="1" fill="hold">
                                          <p:stCondLst>
                                            <p:cond delay="0"/>
                                          </p:stCondLst>
                                        </p:cTn>
                                        <p:tgtEl>
                                          <p:spTgt spid="223"/>
                                        </p:tgtEl>
                                        <p:attrNameLst>
                                          <p:attrName>style.visibility</p:attrName>
                                        </p:attrNameLst>
                                      </p:cBhvr>
                                      <p:to>
                                        <p:strVal val="visible"/>
                                      </p:to>
                                    </p:set>
                                    <p:animEffect transition="in" filter="wipe(up)">
                                      <p:cBhvr>
                                        <p:cTn id="54" dur="500"/>
                                        <p:tgtEl>
                                          <p:spTgt spid="223"/>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25"/>
                                        </p:tgtEl>
                                        <p:attrNameLst>
                                          <p:attrName>style.visibility</p:attrName>
                                        </p:attrNameLst>
                                      </p:cBhvr>
                                      <p:to>
                                        <p:strVal val="visible"/>
                                      </p:to>
                                    </p:set>
                                    <p:animEffect transition="in" filter="fade">
                                      <p:cBhvr>
                                        <p:cTn id="59" dur="500"/>
                                        <p:tgtEl>
                                          <p:spTgt spid="225"/>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226"/>
                                        </p:tgtEl>
                                        <p:attrNameLst>
                                          <p:attrName>style.visibility</p:attrName>
                                        </p:attrNameLst>
                                      </p:cBhvr>
                                      <p:to>
                                        <p:strVal val="visible"/>
                                      </p:to>
                                    </p:set>
                                    <p:animEffect transition="in" filter="fade">
                                      <p:cBhvr>
                                        <p:cTn id="64" dur="500"/>
                                        <p:tgtEl>
                                          <p:spTgt spid="226"/>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27"/>
                                        </p:tgtEl>
                                        <p:attrNameLst>
                                          <p:attrName>style.visibility</p:attrName>
                                        </p:attrNameLst>
                                      </p:cBhvr>
                                      <p:to>
                                        <p:strVal val="visible"/>
                                      </p:to>
                                    </p:set>
                                    <p:animEffect transition="in" filter="fade">
                                      <p:cBhvr>
                                        <p:cTn id="69"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p:bldP spid="226" grpId="0"/>
      <p:bldP spid="227" grpId="0"/>
      <p:bldP spid="295" grpId="0" animBg="1"/>
      <p:bldP spid="296" grpId="0"/>
      <p:bldP spid="195" grpId="0" animBg="1"/>
      <p:bldP spid="222" grpId="0" animBg="1"/>
      <p:bldP spid="223" grpId="0" animBg="1"/>
      <p:bldP spid="209" grpId="0" animBg="1"/>
      <p:bldP spid="211" grpId="0" animBg="1"/>
      <p:bldP spid="196" grpId="0" animBg="1"/>
      <p:bldP spid="203" grpId="0" animBg="1"/>
      <p:bldP spid="212"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192" y="296863"/>
            <a:ext cx="9667601" cy="779309"/>
          </a:xfrm>
        </p:spPr>
        <p:txBody>
          <a:bodyPr/>
          <a:lstStyle/>
          <a:p>
            <a:r>
              <a:rPr lang="en-US" dirty="0" smtClean="0"/>
              <a:t>RemoteFX thin client logo</a:t>
            </a:r>
            <a:endParaRPr lang="en-US" dirty="0"/>
          </a:p>
        </p:txBody>
      </p:sp>
      <p:sp>
        <p:nvSpPr>
          <p:cNvPr id="19" name="Rectangle 18"/>
          <p:cNvSpPr/>
          <p:nvPr/>
        </p:nvSpPr>
        <p:spPr bwMode="auto">
          <a:xfrm>
            <a:off x="266700" y="3663367"/>
            <a:ext cx="2463788" cy="3979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77422" numCol="1" spcCol="0" rtlCol="0" fromWordArt="0" anchor="b" anchorCtr="0" forceAA="0" compatLnSpc="1">
            <a:prstTxWarp prst="textNoShape">
              <a:avLst/>
            </a:prstTxWarp>
            <a:noAutofit/>
          </a:bodyPr>
          <a:lstStyle/>
          <a:p>
            <a:pPr marL="0" lvl="1" defTabSz="471596">
              <a:lnSpc>
                <a:spcPct val="90000"/>
              </a:lnSpc>
            </a:pPr>
            <a:r>
              <a:rPr lang="en-US" sz="2400" b="1" dirty="0">
                <a:solidFill>
                  <a:schemeClr val="accent1"/>
                </a:solidFill>
                <a:cs typeface="Segoe"/>
              </a:rPr>
              <a:t>Performance</a:t>
            </a:r>
          </a:p>
        </p:txBody>
      </p:sp>
      <p:sp>
        <p:nvSpPr>
          <p:cNvPr id="20" name="Rectangle 19"/>
          <p:cNvSpPr/>
          <p:nvPr/>
        </p:nvSpPr>
        <p:spPr bwMode="auto">
          <a:xfrm>
            <a:off x="3764547" y="3637966"/>
            <a:ext cx="2444430" cy="4181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77422" numCol="1" spcCol="0" rtlCol="0" fromWordArt="0" anchor="b" anchorCtr="0" forceAA="0" compatLnSpc="1">
            <a:prstTxWarp prst="textNoShape">
              <a:avLst/>
            </a:prstTxWarp>
            <a:noAutofit/>
          </a:bodyPr>
          <a:lstStyle/>
          <a:p>
            <a:pPr marL="0" lvl="1" defTabSz="471596">
              <a:lnSpc>
                <a:spcPct val="90000"/>
              </a:lnSpc>
            </a:pPr>
            <a:r>
              <a:rPr lang="en-US" sz="2400" b="1" dirty="0">
                <a:solidFill>
                  <a:schemeClr val="accent1"/>
                </a:solidFill>
                <a:cs typeface="Segoe"/>
              </a:rPr>
              <a:t>Compatibility</a:t>
            </a:r>
          </a:p>
        </p:txBody>
      </p:sp>
      <p:sp>
        <p:nvSpPr>
          <p:cNvPr id="21" name="Rectangle 20"/>
          <p:cNvSpPr/>
          <p:nvPr/>
        </p:nvSpPr>
        <p:spPr bwMode="auto">
          <a:xfrm>
            <a:off x="10195365" y="3657414"/>
            <a:ext cx="1948261" cy="4074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77422" numCol="1" spcCol="0" rtlCol="0" fromWordArt="0" anchor="b" anchorCtr="0" forceAA="0" compatLnSpc="1">
            <a:prstTxWarp prst="textNoShape">
              <a:avLst/>
            </a:prstTxWarp>
            <a:noAutofit/>
          </a:bodyPr>
          <a:lstStyle/>
          <a:p>
            <a:pPr marL="0" lvl="1" defTabSz="471596">
              <a:lnSpc>
                <a:spcPct val="90000"/>
              </a:lnSpc>
            </a:pPr>
            <a:r>
              <a:rPr lang="en-US" sz="2400" b="1" dirty="0">
                <a:solidFill>
                  <a:schemeClr val="accent1"/>
                </a:solidFill>
                <a:cs typeface="Segoe"/>
              </a:rPr>
              <a:t>Robustness</a:t>
            </a:r>
          </a:p>
        </p:txBody>
      </p:sp>
      <p:sp>
        <p:nvSpPr>
          <p:cNvPr id="22" name="Rectangle 21"/>
          <p:cNvSpPr/>
          <p:nvPr/>
        </p:nvSpPr>
        <p:spPr bwMode="auto">
          <a:xfrm>
            <a:off x="7251171" y="3615079"/>
            <a:ext cx="1802004" cy="44192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43" tIns="0" rIns="155390" bIns="77422" numCol="1" spcCol="0" rtlCol="0" fromWordArt="0" anchor="b" anchorCtr="0" forceAA="0" compatLnSpc="1">
            <a:prstTxWarp prst="textNoShape">
              <a:avLst/>
            </a:prstTxWarp>
            <a:noAutofit/>
          </a:bodyPr>
          <a:lstStyle/>
          <a:p>
            <a:pPr marL="0" lvl="1" defTabSz="471596">
              <a:lnSpc>
                <a:spcPct val="90000"/>
              </a:lnSpc>
            </a:pPr>
            <a:r>
              <a:rPr lang="en-US" sz="2400" b="1" dirty="0">
                <a:solidFill>
                  <a:schemeClr val="accent1"/>
                </a:solidFill>
                <a:cs typeface="Segoe"/>
              </a:rPr>
              <a:t>Versatility</a:t>
            </a:r>
          </a:p>
        </p:txBody>
      </p:sp>
      <p:pic>
        <p:nvPicPr>
          <p:cNvPr id="9" name="Picture 8" descr="Untitled-3.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622130" y="4327130"/>
            <a:ext cx="5341336" cy="2346192"/>
          </a:xfrm>
          <a:prstGeom prst="rect">
            <a:avLst/>
          </a:prstGeom>
          <a:ln>
            <a:noFill/>
          </a:ln>
        </p:spPr>
      </p:pic>
      <p:grpSp>
        <p:nvGrpSpPr>
          <p:cNvPr id="3" name="Group 4"/>
          <p:cNvGrpSpPr>
            <a:grpSpLocks noChangeAspect="1"/>
          </p:cNvGrpSpPr>
          <p:nvPr/>
        </p:nvGrpSpPr>
        <p:grpSpPr bwMode="auto">
          <a:xfrm>
            <a:off x="572020" y="1317239"/>
            <a:ext cx="1493837" cy="1974853"/>
            <a:chOff x="553" y="1415"/>
            <a:chExt cx="500" cy="661"/>
          </a:xfrm>
          <a:solidFill>
            <a:schemeClr val="accent1"/>
          </a:solidFill>
        </p:grpSpPr>
        <p:sp>
          <p:nvSpPr>
            <p:cNvPr id="7" name="Rectangle 5"/>
            <p:cNvSpPr>
              <a:spLocks noChangeArrowheads="1"/>
            </p:cNvSpPr>
            <p:nvPr/>
          </p:nvSpPr>
          <p:spPr bwMode="auto">
            <a:xfrm>
              <a:off x="553" y="1999"/>
              <a:ext cx="77" cy="7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Rectangle 6"/>
            <p:cNvSpPr>
              <a:spLocks noChangeArrowheads="1"/>
            </p:cNvSpPr>
            <p:nvPr/>
          </p:nvSpPr>
          <p:spPr bwMode="auto">
            <a:xfrm>
              <a:off x="659" y="1977"/>
              <a:ext cx="77" cy="9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Rectangle 7"/>
            <p:cNvSpPr>
              <a:spLocks noChangeArrowheads="1"/>
            </p:cNvSpPr>
            <p:nvPr/>
          </p:nvSpPr>
          <p:spPr bwMode="auto">
            <a:xfrm>
              <a:off x="764" y="1941"/>
              <a:ext cx="78" cy="13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Rectangle 8"/>
            <p:cNvSpPr>
              <a:spLocks noChangeArrowheads="1"/>
            </p:cNvSpPr>
            <p:nvPr/>
          </p:nvSpPr>
          <p:spPr bwMode="auto">
            <a:xfrm>
              <a:off x="870" y="1824"/>
              <a:ext cx="77" cy="25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9"/>
            <p:cNvSpPr>
              <a:spLocks noChangeArrowheads="1"/>
            </p:cNvSpPr>
            <p:nvPr/>
          </p:nvSpPr>
          <p:spPr bwMode="auto">
            <a:xfrm>
              <a:off x="976" y="1567"/>
              <a:ext cx="77" cy="50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p:cNvSpPr>
              <a:spLocks/>
            </p:cNvSpPr>
            <p:nvPr/>
          </p:nvSpPr>
          <p:spPr bwMode="auto">
            <a:xfrm>
              <a:off x="553" y="1415"/>
              <a:ext cx="404" cy="567"/>
            </a:xfrm>
            <a:custGeom>
              <a:avLst/>
              <a:gdLst>
                <a:gd name="T0" fmla="*/ 669 w 669"/>
                <a:gd name="T1" fmla="*/ 144 h 939"/>
                <a:gd name="T2" fmla="*/ 613 w 669"/>
                <a:gd name="T3" fmla="*/ 0 h 939"/>
                <a:gd name="T4" fmla="*/ 509 w 669"/>
                <a:gd name="T5" fmla="*/ 116 h 939"/>
                <a:gd name="T6" fmla="*/ 553 w 669"/>
                <a:gd name="T7" fmla="*/ 124 h 939"/>
                <a:gd name="T8" fmla="*/ 525 w 669"/>
                <a:gd name="T9" fmla="*/ 279 h 939"/>
                <a:gd name="T10" fmla="*/ 501 w 669"/>
                <a:gd name="T11" fmla="*/ 400 h 939"/>
                <a:gd name="T12" fmla="*/ 480 w 669"/>
                <a:gd name="T13" fmla="*/ 483 h 939"/>
                <a:gd name="T14" fmla="*/ 257 w 669"/>
                <a:gd name="T15" fmla="*/ 754 h 939"/>
                <a:gd name="T16" fmla="*/ 68 w 669"/>
                <a:gd name="T17" fmla="*/ 843 h 939"/>
                <a:gd name="T18" fmla="*/ 2 w 669"/>
                <a:gd name="T19" fmla="*/ 864 h 939"/>
                <a:gd name="T20" fmla="*/ 0 w 669"/>
                <a:gd name="T21" fmla="*/ 865 h 939"/>
                <a:gd name="T22" fmla="*/ 0 w 669"/>
                <a:gd name="T23" fmla="*/ 939 h 939"/>
                <a:gd name="T24" fmla="*/ 295 w 669"/>
                <a:gd name="T25" fmla="*/ 815 h 939"/>
                <a:gd name="T26" fmla="*/ 548 w 669"/>
                <a:gd name="T27" fmla="*/ 506 h 939"/>
                <a:gd name="T28" fmla="*/ 571 w 669"/>
                <a:gd name="T29" fmla="*/ 416 h 939"/>
                <a:gd name="T30" fmla="*/ 624 w 669"/>
                <a:gd name="T31" fmla="*/ 136 h 939"/>
                <a:gd name="T32" fmla="*/ 669 w 669"/>
                <a:gd name="T33" fmla="*/ 144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9" h="939">
                  <a:moveTo>
                    <a:pt x="669" y="144"/>
                  </a:moveTo>
                  <a:cubicBezTo>
                    <a:pt x="613" y="0"/>
                    <a:pt x="613" y="0"/>
                    <a:pt x="613" y="0"/>
                  </a:cubicBezTo>
                  <a:cubicBezTo>
                    <a:pt x="509" y="116"/>
                    <a:pt x="509" y="116"/>
                    <a:pt x="509" y="116"/>
                  </a:cubicBezTo>
                  <a:cubicBezTo>
                    <a:pt x="553" y="124"/>
                    <a:pt x="553" y="124"/>
                    <a:pt x="553" y="124"/>
                  </a:cubicBezTo>
                  <a:cubicBezTo>
                    <a:pt x="553" y="126"/>
                    <a:pt x="541" y="198"/>
                    <a:pt x="525" y="279"/>
                  </a:cubicBezTo>
                  <a:cubicBezTo>
                    <a:pt x="517" y="320"/>
                    <a:pt x="509" y="363"/>
                    <a:pt x="501" y="400"/>
                  </a:cubicBezTo>
                  <a:cubicBezTo>
                    <a:pt x="493" y="437"/>
                    <a:pt x="485" y="469"/>
                    <a:pt x="480" y="483"/>
                  </a:cubicBezTo>
                  <a:cubicBezTo>
                    <a:pt x="460" y="545"/>
                    <a:pt x="383" y="676"/>
                    <a:pt x="257" y="754"/>
                  </a:cubicBezTo>
                  <a:cubicBezTo>
                    <a:pt x="192" y="794"/>
                    <a:pt x="122" y="823"/>
                    <a:pt x="68" y="843"/>
                  </a:cubicBezTo>
                  <a:cubicBezTo>
                    <a:pt x="41" y="852"/>
                    <a:pt x="18" y="859"/>
                    <a:pt x="2" y="864"/>
                  </a:cubicBezTo>
                  <a:cubicBezTo>
                    <a:pt x="2" y="864"/>
                    <a:pt x="1" y="864"/>
                    <a:pt x="0" y="865"/>
                  </a:cubicBezTo>
                  <a:cubicBezTo>
                    <a:pt x="0" y="939"/>
                    <a:pt x="0" y="939"/>
                    <a:pt x="0" y="939"/>
                  </a:cubicBezTo>
                  <a:cubicBezTo>
                    <a:pt x="29" y="931"/>
                    <a:pt x="168" y="893"/>
                    <a:pt x="295" y="815"/>
                  </a:cubicBezTo>
                  <a:cubicBezTo>
                    <a:pt x="440" y="724"/>
                    <a:pt x="521" y="584"/>
                    <a:pt x="548" y="506"/>
                  </a:cubicBezTo>
                  <a:cubicBezTo>
                    <a:pt x="555" y="485"/>
                    <a:pt x="562" y="454"/>
                    <a:pt x="571" y="416"/>
                  </a:cubicBezTo>
                  <a:cubicBezTo>
                    <a:pt x="595" y="302"/>
                    <a:pt x="624" y="137"/>
                    <a:pt x="624" y="136"/>
                  </a:cubicBezTo>
                  <a:lnTo>
                    <a:pt x="669" y="14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 name="Group 13"/>
          <p:cNvGrpSpPr>
            <a:grpSpLocks noChangeAspect="1"/>
          </p:cNvGrpSpPr>
          <p:nvPr/>
        </p:nvGrpSpPr>
        <p:grpSpPr bwMode="auto">
          <a:xfrm>
            <a:off x="3765807" y="2012477"/>
            <a:ext cx="2161662" cy="1344612"/>
            <a:chOff x="2654" y="1412"/>
            <a:chExt cx="799" cy="497"/>
          </a:xfrm>
          <a:solidFill>
            <a:schemeClr val="accent1"/>
          </a:solidFill>
        </p:grpSpPr>
        <p:sp>
          <p:nvSpPr>
            <p:cNvPr id="18" name="Freeform 14"/>
            <p:cNvSpPr>
              <a:spLocks/>
            </p:cNvSpPr>
            <p:nvPr/>
          </p:nvSpPr>
          <p:spPr bwMode="auto">
            <a:xfrm>
              <a:off x="2754" y="1668"/>
              <a:ext cx="492" cy="155"/>
            </a:xfrm>
            <a:custGeom>
              <a:avLst/>
              <a:gdLst>
                <a:gd name="T0" fmla="*/ 126 w 742"/>
                <a:gd name="T1" fmla="*/ 57 h 233"/>
                <a:gd name="T2" fmla="*/ 137 w 742"/>
                <a:gd name="T3" fmla="*/ 0 h 233"/>
                <a:gd name="T4" fmla="*/ 0 w 742"/>
                <a:gd name="T5" fmla="*/ 104 h 233"/>
                <a:gd name="T6" fmla="*/ 93 w 742"/>
                <a:gd name="T7" fmla="*/ 233 h 233"/>
                <a:gd name="T8" fmla="*/ 104 w 742"/>
                <a:gd name="T9" fmla="*/ 176 h 233"/>
                <a:gd name="T10" fmla="*/ 742 w 742"/>
                <a:gd name="T11" fmla="*/ 125 h 233"/>
                <a:gd name="T12" fmla="*/ 730 w 742"/>
                <a:gd name="T13" fmla="*/ 71 h 233"/>
                <a:gd name="T14" fmla="*/ 126 w 742"/>
                <a:gd name="T15" fmla="*/ 57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2" h="233">
                  <a:moveTo>
                    <a:pt x="126" y="57"/>
                  </a:moveTo>
                  <a:cubicBezTo>
                    <a:pt x="137" y="0"/>
                    <a:pt x="137" y="0"/>
                    <a:pt x="137" y="0"/>
                  </a:cubicBezTo>
                  <a:cubicBezTo>
                    <a:pt x="0" y="104"/>
                    <a:pt x="0" y="104"/>
                    <a:pt x="0" y="104"/>
                  </a:cubicBezTo>
                  <a:cubicBezTo>
                    <a:pt x="93" y="233"/>
                    <a:pt x="93" y="233"/>
                    <a:pt x="93" y="233"/>
                  </a:cubicBezTo>
                  <a:cubicBezTo>
                    <a:pt x="104" y="176"/>
                    <a:pt x="104" y="176"/>
                    <a:pt x="104" y="176"/>
                  </a:cubicBezTo>
                  <a:cubicBezTo>
                    <a:pt x="409" y="222"/>
                    <a:pt x="623" y="171"/>
                    <a:pt x="742" y="125"/>
                  </a:cubicBezTo>
                  <a:cubicBezTo>
                    <a:pt x="730" y="71"/>
                    <a:pt x="730" y="71"/>
                    <a:pt x="730" y="71"/>
                  </a:cubicBezTo>
                  <a:cubicBezTo>
                    <a:pt x="399" y="140"/>
                    <a:pt x="126" y="57"/>
                    <a:pt x="12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5"/>
            <p:cNvSpPr>
              <a:spLocks/>
            </p:cNvSpPr>
            <p:nvPr/>
          </p:nvSpPr>
          <p:spPr bwMode="auto">
            <a:xfrm>
              <a:off x="2961" y="1729"/>
              <a:ext cx="25" cy="68"/>
            </a:xfrm>
            <a:custGeom>
              <a:avLst/>
              <a:gdLst>
                <a:gd name="T0" fmla="*/ 38 w 38"/>
                <a:gd name="T1" fmla="*/ 103 h 103"/>
                <a:gd name="T2" fmla="*/ 38 w 38"/>
                <a:gd name="T3" fmla="*/ 3 h 103"/>
                <a:gd name="T4" fmla="*/ 0 w 38"/>
                <a:gd name="T5" fmla="*/ 0 h 103"/>
                <a:gd name="T6" fmla="*/ 0 w 38"/>
                <a:gd name="T7" fmla="*/ 103 h 103"/>
                <a:gd name="T8" fmla="*/ 27 w 38"/>
                <a:gd name="T9" fmla="*/ 103 h 103"/>
                <a:gd name="T10" fmla="*/ 38 w 38"/>
                <a:gd name="T11" fmla="*/ 103 h 103"/>
              </a:gdLst>
              <a:ahLst/>
              <a:cxnLst>
                <a:cxn ang="0">
                  <a:pos x="T0" y="T1"/>
                </a:cxn>
                <a:cxn ang="0">
                  <a:pos x="T2" y="T3"/>
                </a:cxn>
                <a:cxn ang="0">
                  <a:pos x="T4" y="T5"/>
                </a:cxn>
                <a:cxn ang="0">
                  <a:pos x="T6" y="T7"/>
                </a:cxn>
                <a:cxn ang="0">
                  <a:pos x="T8" y="T9"/>
                </a:cxn>
                <a:cxn ang="0">
                  <a:pos x="T10" y="T11"/>
                </a:cxn>
              </a:cxnLst>
              <a:rect l="0" t="0" r="r" b="b"/>
              <a:pathLst>
                <a:path w="38" h="103">
                  <a:moveTo>
                    <a:pt x="38" y="103"/>
                  </a:moveTo>
                  <a:cubicBezTo>
                    <a:pt x="38" y="3"/>
                    <a:pt x="38" y="3"/>
                    <a:pt x="38" y="3"/>
                  </a:cubicBezTo>
                  <a:cubicBezTo>
                    <a:pt x="25" y="2"/>
                    <a:pt x="12" y="1"/>
                    <a:pt x="0" y="0"/>
                  </a:cubicBezTo>
                  <a:cubicBezTo>
                    <a:pt x="0" y="103"/>
                    <a:pt x="0" y="103"/>
                    <a:pt x="0" y="103"/>
                  </a:cubicBezTo>
                  <a:cubicBezTo>
                    <a:pt x="9" y="103"/>
                    <a:pt x="18" y="103"/>
                    <a:pt x="27" y="103"/>
                  </a:cubicBezTo>
                  <a:cubicBezTo>
                    <a:pt x="30" y="103"/>
                    <a:pt x="34" y="103"/>
                    <a:pt x="38"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p:cNvSpPr>
              <a:spLocks/>
            </p:cNvSpPr>
            <p:nvPr/>
          </p:nvSpPr>
          <p:spPr bwMode="auto">
            <a:xfrm>
              <a:off x="2654" y="1412"/>
              <a:ext cx="332" cy="497"/>
            </a:xfrm>
            <a:custGeom>
              <a:avLst/>
              <a:gdLst>
                <a:gd name="T0" fmla="*/ 490 w 501"/>
                <a:gd name="T1" fmla="*/ 616 h 750"/>
                <a:gd name="T2" fmla="*/ 463 w 501"/>
                <a:gd name="T3" fmla="*/ 616 h 750"/>
                <a:gd name="T4" fmla="*/ 463 w 501"/>
                <a:gd name="T5" fmla="*/ 660 h 750"/>
                <a:gd name="T6" fmla="*/ 419 w 501"/>
                <a:gd name="T7" fmla="*/ 709 h 750"/>
                <a:gd name="T8" fmla="*/ 81 w 501"/>
                <a:gd name="T9" fmla="*/ 709 h 750"/>
                <a:gd name="T10" fmla="*/ 37 w 501"/>
                <a:gd name="T11" fmla="*/ 660 h 750"/>
                <a:gd name="T12" fmla="*/ 37 w 501"/>
                <a:gd name="T13" fmla="*/ 90 h 750"/>
                <a:gd name="T14" fmla="*/ 81 w 501"/>
                <a:gd name="T15" fmla="*/ 41 h 750"/>
                <a:gd name="T16" fmla="*/ 419 w 501"/>
                <a:gd name="T17" fmla="*/ 41 h 750"/>
                <a:gd name="T18" fmla="*/ 463 w 501"/>
                <a:gd name="T19" fmla="*/ 90 h 750"/>
                <a:gd name="T20" fmla="*/ 463 w 501"/>
                <a:gd name="T21" fmla="*/ 442 h 750"/>
                <a:gd name="T22" fmla="*/ 501 w 501"/>
                <a:gd name="T23" fmla="*/ 446 h 750"/>
                <a:gd name="T24" fmla="*/ 501 w 501"/>
                <a:gd name="T25" fmla="*/ 90 h 750"/>
                <a:gd name="T26" fmla="*/ 419 w 501"/>
                <a:gd name="T27" fmla="*/ 0 h 750"/>
                <a:gd name="T28" fmla="*/ 81 w 501"/>
                <a:gd name="T29" fmla="*/ 0 h 750"/>
                <a:gd name="T30" fmla="*/ 0 w 501"/>
                <a:gd name="T31" fmla="*/ 90 h 750"/>
                <a:gd name="T32" fmla="*/ 0 w 501"/>
                <a:gd name="T33" fmla="*/ 660 h 750"/>
                <a:gd name="T34" fmla="*/ 81 w 501"/>
                <a:gd name="T35" fmla="*/ 750 h 750"/>
                <a:gd name="T36" fmla="*/ 419 w 501"/>
                <a:gd name="T37" fmla="*/ 750 h 750"/>
                <a:gd name="T38" fmla="*/ 501 w 501"/>
                <a:gd name="T39" fmla="*/ 660 h 750"/>
                <a:gd name="T40" fmla="*/ 501 w 501"/>
                <a:gd name="T41" fmla="*/ 616 h 750"/>
                <a:gd name="T42" fmla="*/ 490 w 501"/>
                <a:gd name="T43" fmla="*/ 616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1" h="750">
                  <a:moveTo>
                    <a:pt x="490" y="616"/>
                  </a:moveTo>
                  <a:cubicBezTo>
                    <a:pt x="481" y="616"/>
                    <a:pt x="472" y="616"/>
                    <a:pt x="463" y="616"/>
                  </a:cubicBezTo>
                  <a:cubicBezTo>
                    <a:pt x="463" y="660"/>
                    <a:pt x="463" y="660"/>
                    <a:pt x="463" y="660"/>
                  </a:cubicBezTo>
                  <a:cubicBezTo>
                    <a:pt x="463" y="687"/>
                    <a:pt x="443" y="709"/>
                    <a:pt x="419" y="709"/>
                  </a:cubicBezTo>
                  <a:cubicBezTo>
                    <a:pt x="81" y="709"/>
                    <a:pt x="81" y="709"/>
                    <a:pt x="81" y="709"/>
                  </a:cubicBezTo>
                  <a:cubicBezTo>
                    <a:pt x="57" y="709"/>
                    <a:pt x="37" y="687"/>
                    <a:pt x="37" y="660"/>
                  </a:cubicBezTo>
                  <a:cubicBezTo>
                    <a:pt x="37" y="90"/>
                    <a:pt x="37" y="90"/>
                    <a:pt x="37" y="90"/>
                  </a:cubicBezTo>
                  <a:cubicBezTo>
                    <a:pt x="37" y="63"/>
                    <a:pt x="57" y="41"/>
                    <a:pt x="81" y="41"/>
                  </a:cubicBezTo>
                  <a:cubicBezTo>
                    <a:pt x="419" y="41"/>
                    <a:pt x="419" y="41"/>
                    <a:pt x="419" y="41"/>
                  </a:cubicBezTo>
                  <a:cubicBezTo>
                    <a:pt x="443" y="41"/>
                    <a:pt x="463" y="63"/>
                    <a:pt x="463" y="90"/>
                  </a:cubicBezTo>
                  <a:cubicBezTo>
                    <a:pt x="463" y="442"/>
                    <a:pt x="463" y="442"/>
                    <a:pt x="463" y="442"/>
                  </a:cubicBezTo>
                  <a:cubicBezTo>
                    <a:pt x="475" y="444"/>
                    <a:pt x="488" y="445"/>
                    <a:pt x="501" y="446"/>
                  </a:cubicBezTo>
                  <a:cubicBezTo>
                    <a:pt x="501" y="90"/>
                    <a:pt x="501" y="90"/>
                    <a:pt x="501" y="90"/>
                  </a:cubicBezTo>
                  <a:cubicBezTo>
                    <a:pt x="500" y="40"/>
                    <a:pt x="464" y="0"/>
                    <a:pt x="419" y="0"/>
                  </a:cubicBezTo>
                  <a:cubicBezTo>
                    <a:pt x="81" y="0"/>
                    <a:pt x="81" y="0"/>
                    <a:pt x="81" y="0"/>
                  </a:cubicBezTo>
                  <a:cubicBezTo>
                    <a:pt x="36" y="0"/>
                    <a:pt x="0" y="40"/>
                    <a:pt x="0" y="90"/>
                  </a:cubicBezTo>
                  <a:cubicBezTo>
                    <a:pt x="0" y="660"/>
                    <a:pt x="0" y="660"/>
                    <a:pt x="0" y="660"/>
                  </a:cubicBezTo>
                  <a:cubicBezTo>
                    <a:pt x="0" y="710"/>
                    <a:pt x="36" y="750"/>
                    <a:pt x="81" y="750"/>
                  </a:cubicBezTo>
                  <a:cubicBezTo>
                    <a:pt x="419" y="750"/>
                    <a:pt x="419" y="750"/>
                    <a:pt x="419" y="750"/>
                  </a:cubicBezTo>
                  <a:cubicBezTo>
                    <a:pt x="464" y="750"/>
                    <a:pt x="500" y="710"/>
                    <a:pt x="501" y="660"/>
                  </a:cubicBezTo>
                  <a:cubicBezTo>
                    <a:pt x="501" y="616"/>
                    <a:pt x="501" y="616"/>
                    <a:pt x="501" y="616"/>
                  </a:cubicBezTo>
                  <a:cubicBezTo>
                    <a:pt x="497" y="616"/>
                    <a:pt x="493" y="616"/>
                    <a:pt x="490" y="6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p:cNvSpPr>
              <a:spLocks/>
            </p:cNvSpPr>
            <p:nvPr/>
          </p:nvSpPr>
          <p:spPr bwMode="auto">
            <a:xfrm>
              <a:off x="2840" y="1495"/>
              <a:ext cx="492" cy="154"/>
            </a:xfrm>
            <a:custGeom>
              <a:avLst/>
              <a:gdLst>
                <a:gd name="T0" fmla="*/ 742 w 742"/>
                <a:gd name="T1" fmla="*/ 129 h 233"/>
                <a:gd name="T2" fmla="*/ 649 w 742"/>
                <a:gd name="T3" fmla="*/ 0 h 233"/>
                <a:gd name="T4" fmla="*/ 638 w 742"/>
                <a:gd name="T5" fmla="*/ 58 h 233"/>
                <a:gd name="T6" fmla="*/ 0 w 742"/>
                <a:gd name="T7" fmla="*/ 108 h 233"/>
                <a:gd name="T8" fmla="*/ 12 w 742"/>
                <a:gd name="T9" fmla="*/ 162 h 233"/>
                <a:gd name="T10" fmla="*/ 616 w 742"/>
                <a:gd name="T11" fmla="*/ 176 h 233"/>
                <a:gd name="T12" fmla="*/ 605 w 742"/>
                <a:gd name="T13" fmla="*/ 233 h 233"/>
                <a:gd name="T14" fmla="*/ 742 w 742"/>
                <a:gd name="T15" fmla="*/ 129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2" h="233">
                  <a:moveTo>
                    <a:pt x="742" y="129"/>
                  </a:moveTo>
                  <a:cubicBezTo>
                    <a:pt x="649" y="0"/>
                    <a:pt x="649" y="0"/>
                    <a:pt x="649" y="0"/>
                  </a:cubicBezTo>
                  <a:cubicBezTo>
                    <a:pt x="638" y="58"/>
                    <a:pt x="638" y="58"/>
                    <a:pt x="638" y="58"/>
                  </a:cubicBezTo>
                  <a:cubicBezTo>
                    <a:pt x="333" y="11"/>
                    <a:pt x="119" y="62"/>
                    <a:pt x="0" y="108"/>
                  </a:cubicBezTo>
                  <a:cubicBezTo>
                    <a:pt x="12" y="162"/>
                    <a:pt x="12" y="162"/>
                    <a:pt x="12" y="162"/>
                  </a:cubicBezTo>
                  <a:cubicBezTo>
                    <a:pt x="343" y="94"/>
                    <a:pt x="616" y="176"/>
                    <a:pt x="616" y="176"/>
                  </a:cubicBezTo>
                  <a:cubicBezTo>
                    <a:pt x="605" y="233"/>
                    <a:pt x="605" y="233"/>
                    <a:pt x="605" y="233"/>
                  </a:cubicBezTo>
                  <a:lnTo>
                    <a:pt x="742"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8"/>
            <p:cNvSpPr>
              <a:spLocks/>
            </p:cNvSpPr>
            <p:nvPr/>
          </p:nvSpPr>
          <p:spPr bwMode="auto">
            <a:xfrm>
              <a:off x="3120" y="1520"/>
              <a:ext cx="26" cy="71"/>
            </a:xfrm>
            <a:custGeom>
              <a:avLst/>
              <a:gdLst>
                <a:gd name="T0" fmla="*/ 0 w 38"/>
                <a:gd name="T1" fmla="*/ 103 h 107"/>
                <a:gd name="T2" fmla="*/ 38 w 38"/>
                <a:gd name="T3" fmla="*/ 107 h 107"/>
                <a:gd name="T4" fmla="*/ 38 w 38"/>
                <a:gd name="T5" fmla="*/ 1 h 107"/>
                <a:gd name="T6" fmla="*/ 0 w 38"/>
                <a:gd name="T7" fmla="*/ 0 h 107"/>
                <a:gd name="T8" fmla="*/ 0 w 38"/>
                <a:gd name="T9" fmla="*/ 103 h 107"/>
              </a:gdLst>
              <a:ahLst/>
              <a:cxnLst>
                <a:cxn ang="0">
                  <a:pos x="T0" y="T1"/>
                </a:cxn>
                <a:cxn ang="0">
                  <a:pos x="T2" y="T3"/>
                </a:cxn>
                <a:cxn ang="0">
                  <a:pos x="T4" y="T5"/>
                </a:cxn>
                <a:cxn ang="0">
                  <a:pos x="T6" y="T7"/>
                </a:cxn>
                <a:cxn ang="0">
                  <a:pos x="T8" y="T9"/>
                </a:cxn>
              </a:cxnLst>
              <a:rect l="0" t="0" r="r" b="b"/>
              <a:pathLst>
                <a:path w="38" h="107">
                  <a:moveTo>
                    <a:pt x="0" y="103"/>
                  </a:moveTo>
                  <a:cubicBezTo>
                    <a:pt x="13" y="104"/>
                    <a:pt x="26" y="106"/>
                    <a:pt x="38" y="107"/>
                  </a:cubicBezTo>
                  <a:cubicBezTo>
                    <a:pt x="38" y="1"/>
                    <a:pt x="38" y="1"/>
                    <a:pt x="38" y="1"/>
                  </a:cubicBezTo>
                  <a:cubicBezTo>
                    <a:pt x="25" y="1"/>
                    <a:pt x="13" y="0"/>
                    <a:pt x="0" y="0"/>
                  </a:cubicBezTo>
                  <a:lnTo>
                    <a:pt x="0"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9"/>
            <p:cNvSpPr>
              <a:spLocks/>
            </p:cNvSpPr>
            <p:nvPr/>
          </p:nvSpPr>
          <p:spPr bwMode="auto">
            <a:xfrm>
              <a:off x="3120" y="1412"/>
              <a:ext cx="333" cy="497"/>
            </a:xfrm>
            <a:custGeom>
              <a:avLst/>
              <a:gdLst>
                <a:gd name="T0" fmla="*/ 420 w 501"/>
                <a:gd name="T1" fmla="*/ 0 h 750"/>
                <a:gd name="T2" fmla="*/ 82 w 501"/>
                <a:gd name="T3" fmla="*/ 0 h 750"/>
                <a:gd name="T4" fmla="*/ 0 w 501"/>
                <a:gd name="T5" fmla="*/ 90 h 750"/>
                <a:gd name="T6" fmla="*/ 0 w 501"/>
                <a:gd name="T7" fmla="*/ 129 h 750"/>
                <a:gd name="T8" fmla="*/ 38 w 501"/>
                <a:gd name="T9" fmla="*/ 130 h 750"/>
                <a:gd name="T10" fmla="*/ 38 w 501"/>
                <a:gd name="T11" fmla="*/ 90 h 750"/>
                <a:gd name="T12" fmla="*/ 82 w 501"/>
                <a:gd name="T13" fmla="*/ 41 h 750"/>
                <a:gd name="T14" fmla="*/ 206 w 501"/>
                <a:gd name="T15" fmla="*/ 41 h 750"/>
                <a:gd name="T16" fmla="*/ 206 w 501"/>
                <a:gd name="T17" fmla="*/ 39 h 750"/>
                <a:gd name="T18" fmla="*/ 208 w 501"/>
                <a:gd name="T19" fmla="*/ 41 h 750"/>
                <a:gd name="T20" fmla="*/ 420 w 501"/>
                <a:gd name="T21" fmla="*/ 41 h 750"/>
                <a:gd name="T22" fmla="*/ 464 w 501"/>
                <a:gd name="T23" fmla="*/ 90 h 750"/>
                <a:gd name="T24" fmla="*/ 464 w 501"/>
                <a:gd name="T25" fmla="*/ 660 h 750"/>
                <a:gd name="T26" fmla="*/ 420 w 501"/>
                <a:gd name="T27" fmla="*/ 709 h 750"/>
                <a:gd name="T28" fmla="*/ 82 w 501"/>
                <a:gd name="T29" fmla="*/ 709 h 750"/>
                <a:gd name="T30" fmla="*/ 38 w 501"/>
                <a:gd name="T31" fmla="*/ 660 h 750"/>
                <a:gd name="T32" fmla="*/ 38 w 501"/>
                <a:gd name="T33" fmla="*/ 307 h 750"/>
                <a:gd name="T34" fmla="*/ 0 w 501"/>
                <a:gd name="T35" fmla="*/ 302 h 750"/>
                <a:gd name="T36" fmla="*/ 0 w 501"/>
                <a:gd name="T37" fmla="*/ 660 h 750"/>
                <a:gd name="T38" fmla="*/ 82 w 501"/>
                <a:gd name="T39" fmla="*/ 750 h 750"/>
                <a:gd name="T40" fmla="*/ 420 w 501"/>
                <a:gd name="T41" fmla="*/ 750 h 750"/>
                <a:gd name="T42" fmla="*/ 501 w 501"/>
                <a:gd name="T43" fmla="*/ 660 h 750"/>
                <a:gd name="T44" fmla="*/ 501 w 501"/>
                <a:gd name="T45" fmla="*/ 90 h 750"/>
                <a:gd name="T46" fmla="*/ 420 w 501"/>
                <a:gd name="T4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1" h="750">
                  <a:moveTo>
                    <a:pt x="420" y="0"/>
                  </a:moveTo>
                  <a:cubicBezTo>
                    <a:pt x="82" y="0"/>
                    <a:pt x="82" y="0"/>
                    <a:pt x="82" y="0"/>
                  </a:cubicBezTo>
                  <a:cubicBezTo>
                    <a:pt x="37" y="0"/>
                    <a:pt x="1" y="40"/>
                    <a:pt x="0" y="90"/>
                  </a:cubicBezTo>
                  <a:cubicBezTo>
                    <a:pt x="0" y="129"/>
                    <a:pt x="0" y="129"/>
                    <a:pt x="0" y="129"/>
                  </a:cubicBezTo>
                  <a:cubicBezTo>
                    <a:pt x="13" y="129"/>
                    <a:pt x="25" y="130"/>
                    <a:pt x="38" y="130"/>
                  </a:cubicBezTo>
                  <a:cubicBezTo>
                    <a:pt x="38" y="90"/>
                    <a:pt x="38" y="90"/>
                    <a:pt x="38" y="90"/>
                  </a:cubicBezTo>
                  <a:cubicBezTo>
                    <a:pt x="38" y="63"/>
                    <a:pt x="58" y="41"/>
                    <a:pt x="82" y="41"/>
                  </a:cubicBezTo>
                  <a:cubicBezTo>
                    <a:pt x="206" y="41"/>
                    <a:pt x="206" y="41"/>
                    <a:pt x="206" y="41"/>
                  </a:cubicBezTo>
                  <a:cubicBezTo>
                    <a:pt x="206" y="39"/>
                    <a:pt x="206" y="39"/>
                    <a:pt x="206" y="39"/>
                  </a:cubicBezTo>
                  <a:cubicBezTo>
                    <a:pt x="208" y="41"/>
                    <a:pt x="208" y="41"/>
                    <a:pt x="208" y="41"/>
                  </a:cubicBezTo>
                  <a:cubicBezTo>
                    <a:pt x="420" y="41"/>
                    <a:pt x="420" y="41"/>
                    <a:pt x="420" y="41"/>
                  </a:cubicBezTo>
                  <a:cubicBezTo>
                    <a:pt x="444" y="41"/>
                    <a:pt x="464" y="63"/>
                    <a:pt x="464" y="90"/>
                  </a:cubicBezTo>
                  <a:cubicBezTo>
                    <a:pt x="464" y="660"/>
                    <a:pt x="464" y="660"/>
                    <a:pt x="464" y="660"/>
                  </a:cubicBezTo>
                  <a:cubicBezTo>
                    <a:pt x="464" y="687"/>
                    <a:pt x="444" y="709"/>
                    <a:pt x="420" y="709"/>
                  </a:cubicBezTo>
                  <a:cubicBezTo>
                    <a:pt x="82" y="709"/>
                    <a:pt x="82" y="709"/>
                    <a:pt x="82" y="709"/>
                  </a:cubicBezTo>
                  <a:cubicBezTo>
                    <a:pt x="58" y="709"/>
                    <a:pt x="38" y="687"/>
                    <a:pt x="38" y="660"/>
                  </a:cubicBezTo>
                  <a:cubicBezTo>
                    <a:pt x="38" y="307"/>
                    <a:pt x="38" y="307"/>
                    <a:pt x="38" y="307"/>
                  </a:cubicBezTo>
                  <a:cubicBezTo>
                    <a:pt x="26" y="305"/>
                    <a:pt x="14" y="304"/>
                    <a:pt x="0" y="302"/>
                  </a:cubicBezTo>
                  <a:cubicBezTo>
                    <a:pt x="0" y="660"/>
                    <a:pt x="0" y="660"/>
                    <a:pt x="0" y="660"/>
                  </a:cubicBezTo>
                  <a:cubicBezTo>
                    <a:pt x="1" y="710"/>
                    <a:pt x="37" y="750"/>
                    <a:pt x="82" y="750"/>
                  </a:cubicBezTo>
                  <a:cubicBezTo>
                    <a:pt x="420" y="750"/>
                    <a:pt x="420" y="750"/>
                    <a:pt x="420" y="750"/>
                  </a:cubicBezTo>
                  <a:cubicBezTo>
                    <a:pt x="465" y="750"/>
                    <a:pt x="501" y="710"/>
                    <a:pt x="501" y="660"/>
                  </a:cubicBezTo>
                  <a:cubicBezTo>
                    <a:pt x="501" y="90"/>
                    <a:pt x="501" y="90"/>
                    <a:pt x="501" y="90"/>
                  </a:cubicBezTo>
                  <a:cubicBezTo>
                    <a:pt x="501" y="40"/>
                    <a:pt x="465" y="0"/>
                    <a:pt x="4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 name="Group 4"/>
          <p:cNvGrpSpPr/>
          <p:nvPr/>
        </p:nvGrpSpPr>
        <p:grpSpPr>
          <a:xfrm>
            <a:off x="7097259" y="1551627"/>
            <a:ext cx="1936866" cy="1787446"/>
            <a:chOff x="7177997" y="1653900"/>
            <a:chExt cx="1785786" cy="1648021"/>
          </a:xfrm>
        </p:grpSpPr>
        <p:grpSp>
          <p:nvGrpSpPr>
            <p:cNvPr id="23" name="Group 22"/>
            <p:cNvGrpSpPr/>
            <p:nvPr/>
          </p:nvGrpSpPr>
          <p:grpSpPr>
            <a:xfrm>
              <a:off x="7177997" y="1653900"/>
              <a:ext cx="828477" cy="746809"/>
              <a:chOff x="3500457" y="1938397"/>
              <a:chExt cx="2111568" cy="1903418"/>
            </a:xfrm>
          </p:grpSpPr>
          <p:grpSp>
            <p:nvGrpSpPr>
              <p:cNvPr id="29" name="Group 28"/>
              <p:cNvGrpSpPr/>
              <p:nvPr/>
            </p:nvGrpSpPr>
            <p:grpSpPr>
              <a:xfrm>
                <a:off x="4333488" y="2422116"/>
                <a:ext cx="1278537" cy="1278537"/>
                <a:chOff x="3998525" y="2683959"/>
                <a:chExt cx="839788" cy="839788"/>
              </a:xfrm>
            </p:grpSpPr>
            <p:sp>
              <p:nvSpPr>
                <p:cNvPr id="33" name="Freeform 10"/>
                <p:cNvSpPr>
                  <a:spLocks/>
                </p:cNvSpPr>
                <p:nvPr/>
              </p:nvSpPr>
              <p:spPr bwMode="auto">
                <a:xfrm>
                  <a:off x="4119175" y="2804609"/>
                  <a:ext cx="596900" cy="598488"/>
                </a:xfrm>
                <a:custGeom>
                  <a:avLst/>
                  <a:gdLst>
                    <a:gd name="T0" fmla="*/ 99 w 2637"/>
                    <a:gd name="T1" fmla="*/ 0 h 2637"/>
                    <a:gd name="T2" fmla="*/ 2537 w 2637"/>
                    <a:gd name="T3" fmla="*/ 0 h 2637"/>
                    <a:gd name="T4" fmla="*/ 2559 w 2637"/>
                    <a:gd name="T5" fmla="*/ 2 h 2637"/>
                    <a:gd name="T6" fmla="*/ 2580 w 2637"/>
                    <a:gd name="T7" fmla="*/ 10 h 2637"/>
                    <a:gd name="T8" fmla="*/ 2599 w 2637"/>
                    <a:gd name="T9" fmla="*/ 22 h 2637"/>
                    <a:gd name="T10" fmla="*/ 2614 w 2637"/>
                    <a:gd name="T11" fmla="*/ 38 h 2637"/>
                    <a:gd name="T12" fmla="*/ 2626 w 2637"/>
                    <a:gd name="T13" fmla="*/ 56 h 2637"/>
                    <a:gd name="T14" fmla="*/ 2634 w 2637"/>
                    <a:gd name="T15" fmla="*/ 77 h 2637"/>
                    <a:gd name="T16" fmla="*/ 2637 w 2637"/>
                    <a:gd name="T17" fmla="*/ 101 h 2637"/>
                    <a:gd name="T18" fmla="*/ 2637 w 2637"/>
                    <a:gd name="T19" fmla="*/ 2537 h 2637"/>
                    <a:gd name="T20" fmla="*/ 2634 w 2637"/>
                    <a:gd name="T21" fmla="*/ 2559 h 2637"/>
                    <a:gd name="T22" fmla="*/ 2626 w 2637"/>
                    <a:gd name="T23" fmla="*/ 2581 h 2637"/>
                    <a:gd name="T24" fmla="*/ 2614 w 2637"/>
                    <a:gd name="T25" fmla="*/ 2600 h 2637"/>
                    <a:gd name="T26" fmla="*/ 2599 w 2637"/>
                    <a:gd name="T27" fmla="*/ 2616 h 2637"/>
                    <a:gd name="T28" fmla="*/ 2580 w 2637"/>
                    <a:gd name="T29" fmla="*/ 2627 h 2637"/>
                    <a:gd name="T30" fmla="*/ 2559 w 2637"/>
                    <a:gd name="T31" fmla="*/ 2635 h 2637"/>
                    <a:gd name="T32" fmla="*/ 2537 w 2637"/>
                    <a:gd name="T33" fmla="*/ 2637 h 2637"/>
                    <a:gd name="T34" fmla="*/ 99 w 2637"/>
                    <a:gd name="T35" fmla="*/ 2637 h 2637"/>
                    <a:gd name="T36" fmla="*/ 77 w 2637"/>
                    <a:gd name="T37" fmla="*/ 2635 h 2637"/>
                    <a:gd name="T38" fmla="*/ 56 w 2637"/>
                    <a:gd name="T39" fmla="*/ 2627 h 2637"/>
                    <a:gd name="T40" fmla="*/ 37 w 2637"/>
                    <a:gd name="T41" fmla="*/ 2616 h 2637"/>
                    <a:gd name="T42" fmla="*/ 22 w 2637"/>
                    <a:gd name="T43" fmla="*/ 2600 h 2637"/>
                    <a:gd name="T44" fmla="*/ 10 w 2637"/>
                    <a:gd name="T45" fmla="*/ 2581 h 2637"/>
                    <a:gd name="T46" fmla="*/ 2 w 2637"/>
                    <a:gd name="T47" fmla="*/ 2559 h 2637"/>
                    <a:gd name="T48" fmla="*/ 0 w 2637"/>
                    <a:gd name="T49" fmla="*/ 2537 h 2637"/>
                    <a:gd name="T50" fmla="*/ 0 w 2637"/>
                    <a:gd name="T51" fmla="*/ 101 h 2637"/>
                    <a:gd name="T52" fmla="*/ 2 w 2637"/>
                    <a:gd name="T53" fmla="*/ 77 h 2637"/>
                    <a:gd name="T54" fmla="*/ 10 w 2637"/>
                    <a:gd name="T55" fmla="*/ 56 h 2637"/>
                    <a:gd name="T56" fmla="*/ 22 w 2637"/>
                    <a:gd name="T57" fmla="*/ 38 h 2637"/>
                    <a:gd name="T58" fmla="*/ 37 w 2637"/>
                    <a:gd name="T59" fmla="*/ 22 h 2637"/>
                    <a:gd name="T60" fmla="*/ 56 w 2637"/>
                    <a:gd name="T61" fmla="*/ 10 h 2637"/>
                    <a:gd name="T62" fmla="*/ 77 w 2637"/>
                    <a:gd name="T63" fmla="*/ 2 h 2637"/>
                    <a:gd name="T64" fmla="*/ 99 w 2637"/>
                    <a:gd name="T65" fmla="*/ 0 h 2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37" h="2637">
                      <a:moveTo>
                        <a:pt x="99" y="0"/>
                      </a:moveTo>
                      <a:lnTo>
                        <a:pt x="2537" y="0"/>
                      </a:lnTo>
                      <a:lnTo>
                        <a:pt x="2559" y="2"/>
                      </a:lnTo>
                      <a:lnTo>
                        <a:pt x="2580" y="10"/>
                      </a:lnTo>
                      <a:lnTo>
                        <a:pt x="2599" y="22"/>
                      </a:lnTo>
                      <a:lnTo>
                        <a:pt x="2614" y="38"/>
                      </a:lnTo>
                      <a:lnTo>
                        <a:pt x="2626" y="56"/>
                      </a:lnTo>
                      <a:lnTo>
                        <a:pt x="2634" y="77"/>
                      </a:lnTo>
                      <a:lnTo>
                        <a:pt x="2637" y="101"/>
                      </a:lnTo>
                      <a:lnTo>
                        <a:pt x="2637" y="2537"/>
                      </a:lnTo>
                      <a:lnTo>
                        <a:pt x="2634" y="2559"/>
                      </a:lnTo>
                      <a:lnTo>
                        <a:pt x="2626" y="2581"/>
                      </a:lnTo>
                      <a:lnTo>
                        <a:pt x="2614" y="2600"/>
                      </a:lnTo>
                      <a:lnTo>
                        <a:pt x="2599" y="2616"/>
                      </a:lnTo>
                      <a:lnTo>
                        <a:pt x="2580" y="2627"/>
                      </a:lnTo>
                      <a:lnTo>
                        <a:pt x="2559" y="2635"/>
                      </a:lnTo>
                      <a:lnTo>
                        <a:pt x="2537" y="2637"/>
                      </a:lnTo>
                      <a:lnTo>
                        <a:pt x="99" y="2637"/>
                      </a:lnTo>
                      <a:lnTo>
                        <a:pt x="77" y="2635"/>
                      </a:lnTo>
                      <a:lnTo>
                        <a:pt x="56" y="2627"/>
                      </a:lnTo>
                      <a:lnTo>
                        <a:pt x="37" y="2616"/>
                      </a:lnTo>
                      <a:lnTo>
                        <a:pt x="22" y="2600"/>
                      </a:lnTo>
                      <a:lnTo>
                        <a:pt x="10" y="2581"/>
                      </a:lnTo>
                      <a:lnTo>
                        <a:pt x="2" y="2559"/>
                      </a:lnTo>
                      <a:lnTo>
                        <a:pt x="0" y="2537"/>
                      </a:lnTo>
                      <a:lnTo>
                        <a:pt x="0" y="101"/>
                      </a:lnTo>
                      <a:lnTo>
                        <a:pt x="2" y="77"/>
                      </a:lnTo>
                      <a:lnTo>
                        <a:pt x="10" y="56"/>
                      </a:lnTo>
                      <a:lnTo>
                        <a:pt x="22" y="38"/>
                      </a:lnTo>
                      <a:lnTo>
                        <a:pt x="37" y="22"/>
                      </a:lnTo>
                      <a:lnTo>
                        <a:pt x="56" y="10"/>
                      </a:lnTo>
                      <a:lnTo>
                        <a:pt x="77" y="2"/>
                      </a:lnTo>
                      <a:lnTo>
                        <a:pt x="99"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1"/>
                <p:cNvSpPr>
                  <a:spLocks noEditPoints="1"/>
                </p:cNvSpPr>
                <p:nvPr/>
              </p:nvSpPr>
              <p:spPr bwMode="auto">
                <a:xfrm>
                  <a:off x="4203313" y="2683959"/>
                  <a:ext cx="425450" cy="839788"/>
                </a:xfrm>
                <a:custGeom>
                  <a:avLst/>
                  <a:gdLst>
                    <a:gd name="T0" fmla="*/ 1870 w 1873"/>
                    <a:gd name="T1" fmla="*/ 3636 h 3702"/>
                    <a:gd name="T2" fmla="*/ 1806 w 1873"/>
                    <a:gd name="T3" fmla="*/ 3699 h 3702"/>
                    <a:gd name="T4" fmla="*/ 1719 w 1873"/>
                    <a:gd name="T5" fmla="*/ 3675 h 3702"/>
                    <a:gd name="T6" fmla="*/ 1692 w 1873"/>
                    <a:gd name="T7" fmla="*/ 3169 h 3702"/>
                    <a:gd name="T8" fmla="*/ 1529 w 1873"/>
                    <a:gd name="T9" fmla="*/ 3636 h 3702"/>
                    <a:gd name="T10" fmla="*/ 1465 w 1873"/>
                    <a:gd name="T11" fmla="*/ 3699 h 3702"/>
                    <a:gd name="T12" fmla="*/ 1378 w 1873"/>
                    <a:gd name="T13" fmla="*/ 3675 h 3702"/>
                    <a:gd name="T14" fmla="*/ 1351 w 1873"/>
                    <a:gd name="T15" fmla="*/ 3169 h 3702"/>
                    <a:gd name="T16" fmla="*/ 1186 w 1873"/>
                    <a:gd name="T17" fmla="*/ 3636 h 3702"/>
                    <a:gd name="T18" fmla="*/ 1123 w 1873"/>
                    <a:gd name="T19" fmla="*/ 3699 h 3702"/>
                    <a:gd name="T20" fmla="*/ 1034 w 1873"/>
                    <a:gd name="T21" fmla="*/ 3675 h 3702"/>
                    <a:gd name="T22" fmla="*/ 1008 w 1873"/>
                    <a:gd name="T23" fmla="*/ 3169 h 3702"/>
                    <a:gd name="T24" fmla="*/ 855 w 1873"/>
                    <a:gd name="T25" fmla="*/ 3636 h 3702"/>
                    <a:gd name="T26" fmla="*/ 791 w 1873"/>
                    <a:gd name="T27" fmla="*/ 3699 h 3702"/>
                    <a:gd name="T28" fmla="*/ 703 w 1873"/>
                    <a:gd name="T29" fmla="*/ 3675 h 3702"/>
                    <a:gd name="T30" fmla="*/ 676 w 1873"/>
                    <a:gd name="T31" fmla="*/ 3169 h 3702"/>
                    <a:gd name="T32" fmla="*/ 518 w 1873"/>
                    <a:gd name="T33" fmla="*/ 3636 h 3702"/>
                    <a:gd name="T34" fmla="*/ 455 w 1873"/>
                    <a:gd name="T35" fmla="*/ 3699 h 3702"/>
                    <a:gd name="T36" fmla="*/ 368 w 1873"/>
                    <a:gd name="T37" fmla="*/ 3675 h 3702"/>
                    <a:gd name="T38" fmla="*/ 341 w 1873"/>
                    <a:gd name="T39" fmla="*/ 3169 h 3702"/>
                    <a:gd name="T40" fmla="*/ 177 w 1873"/>
                    <a:gd name="T41" fmla="*/ 3636 h 3702"/>
                    <a:gd name="T42" fmla="*/ 114 w 1873"/>
                    <a:gd name="T43" fmla="*/ 3699 h 3702"/>
                    <a:gd name="T44" fmla="*/ 26 w 1873"/>
                    <a:gd name="T45" fmla="*/ 3675 h 3702"/>
                    <a:gd name="T46" fmla="*/ 0 w 1873"/>
                    <a:gd name="T47" fmla="*/ 3169 h 3702"/>
                    <a:gd name="T48" fmla="*/ 1847 w 1873"/>
                    <a:gd name="T49" fmla="*/ 27 h 3702"/>
                    <a:gd name="T50" fmla="*/ 1873 w 1873"/>
                    <a:gd name="T51" fmla="*/ 533 h 3702"/>
                    <a:gd name="T52" fmla="*/ 1704 w 1873"/>
                    <a:gd name="T53" fmla="*/ 45 h 3702"/>
                    <a:gd name="T54" fmla="*/ 1783 w 1873"/>
                    <a:gd name="T55" fmla="*/ 0 h 3702"/>
                    <a:gd name="T56" fmla="*/ 1505 w 1873"/>
                    <a:gd name="T57" fmla="*/ 27 h 3702"/>
                    <a:gd name="T58" fmla="*/ 1532 w 1873"/>
                    <a:gd name="T59" fmla="*/ 533 h 3702"/>
                    <a:gd name="T60" fmla="*/ 1363 w 1873"/>
                    <a:gd name="T61" fmla="*/ 45 h 3702"/>
                    <a:gd name="T62" fmla="*/ 1441 w 1873"/>
                    <a:gd name="T63" fmla="*/ 0 h 3702"/>
                    <a:gd name="T64" fmla="*/ 1162 w 1873"/>
                    <a:gd name="T65" fmla="*/ 27 h 3702"/>
                    <a:gd name="T66" fmla="*/ 1189 w 1873"/>
                    <a:gd name="T67" fmla="*/ 533 h 3702"/>
                    <a:gd name="T68" fmla="*/ 1021 w 1873"/>
                    <a:gd name="T69" fmla="*/ 45 h 3702"/>
                    <a:gd name="T70" fmla="*/ 1098 w 1873"/>
                    <a:gd name="T71" fmla="*/ 0 h 3702"/>
                    <a:gd name="T72" fmla="*/ 831 w 1873"/>
                    <a:gd name="T73" fmla="*/ 27 h 3702"/>
                    <a:gd name="T74" fmla="*/ 858 w 1873"/>
                    <a:gd name="T75" fmla="*/ 533 h 3702"/>
                    <a:gd name="T76" fmla="*/ 689 w 1873"/>
                    <a:gd name="T77" fmla="*/ 45 h 3702"/>
                    <a:gd name="T78" fmla="*/ 767 w 1873"/>
                    <a:gd name="T79" fmla="*/ 0 h 3702"/>
                    <a:gd name="T80" fmla="*/ 496 w 1873"/>
                    <a:gd name="T81" fmla="*/ 27 h 3702"/>
                    <a:gd name="T82" fmla="*/ 521 w 1873"/>
                    <a:gd name="T83" fmla="*/ 533 h 3702"/>
                    <a:gd name="T84" fmla="*/ 353 w 1873"/>
                    <a:gd name="T85" fmla="*/ 45 h 3702"/>
                    <a:gd name="T86" fmla="*/ 432 w 1873"/>
                    <a:gd name="T87" fmla="*/ 0 h 3702"/>
                    <a:gd name="T88" fmla="*/ 154 w 1873"/>
                    <a:gd name="T89" fmla="*/ 27 h 3702"/>
                    <a:gd name="T90" fmla="*/ 180 w 1873"/>
                    <a:gd name="T91" fmla="*/ 533 h 3702"/>
                    <a:gd name="T92" fmla="*/ 12 w 1873"/>
                    <a:gd name="T93" fmla="*/ 45 h 3702"/>
                    <a:gd name="T94" fmla="*/ 90 w 1873"/>
                    <a:gd name="T95" fmla="*/ 0 h 3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73" h="3702">
                      <a:moveTo>
                        <a:pt x="1692" y="3169"/>
                      </a:moveTo>
                      <a:lnTo>
                        <a:pt x="1873" y="3169"/>
                      </a:lnTo>
                      <a:lnTo>
                        <a:pt x="1873" y="3611"/>
                      </a:lnTo>
                      <a:lnTo>
                        <a:pt x="1870" y="3636"/>
                      </a:lnTo>
                      <a:lnTo>
                        <a:pt x="1861" y="3657"/>
                      </a:lnTo>
                      <a:lnTo>
                        <a:pt x="1847" y="3675"/>
                      </a:lnTo>
                      <a:lnTo>
                        <a:pt x="1829" y="3690"/>
                      </a:lnTo>
                      <a:lnTo>
                        <a:pt x="1806" y="3699"/>
                      </a:lnTo>
                      <a:lnTo>
                        <a:pt x="1783" y="3702"/>
                      </a:lnTo>
                      <a:lnTo>
                        <a:pt x="1759" y="3699"/>
                      </a:lnTo>
                      <a:lnTo>
                        <a:pt x="1737" y="3690"/>
                      </a:lnTo>
                      <a:lnTo>
                        <a:pt x="1719" y="3675"/>
                      </a:lnTo>
                      <a:lnTo>
                        <a:pt x="1704" y="3657"/>
                      </a:lnTo>
                      <a:lnTo>
                        <a:pt x="1695" y="3636"/>
                      </a:lnTo>
                      <a:lnTo>
                        <a:pt x="1692" y="3611"/>
                      </a:lnTo>
                      <a:lnTo>
                        <a:pt x="1692" y="3169"/>
                      </a:lnTo>
                      <a:close/>
                      <a:moveTo>
                        <a:pt x="1351" y="3169"/>
                      </a:moveTo>
                      <a:lnTo>
                        <a:pt x="1532" y="3169"/>
                      </a:lnTo>
                      <a:lnTo>
                        <a:pt x="1532" y="3611"/>
                      </a:lnTo>
                      <a:lnTo>
                        <a:pt x="1529" y="3636"/>
                      </a:lnTo>
                      <a:lnTo>
                        <a:pt x="1520" y="3657"/>
                      </a:lnTo>
                      <a:lnTo>
                        <a:pt x="1505" y="3675"/>
                      </a:lnTo>
                      <a:lnTo>
                        <a:pt x="1487" y="3690"/>
                      </a:lnTo>
                      <a:lnTo>
                        <a:pt x="1465" y="3699"/>
                      </a:lnTo>
                      <a:lnTo>
                        <a:pt x="1441" y="3702"/>
                      </a:lnTo>
                      <a:lnTo>
                        <a:pt x="1418" y="3699"/>
                      </a:lnTo>
                      <a:lnTo>
                        <a:pt x="1395" y="3690"/>
                      </a:lnTo>
                      <a:lnTo>
                        <a:pt x="1378" y="3675"/>
                      </a:lnTo>
                      <a:lnTo>
                        <a:pt x="1363" y="3657"/>
                      </a:lnTo>
                      <a:lnTo>
                        <a:pt x="1354" y="3636"/>
                      </a:lnTo>
                      <a:lnTo>
                        <a:pt x="1351" y="3611"/>
                      </a:lnTo>
                      <a:lnTo>
                        <a:pt x="1351" y="3169"/>
                      </a:lnTo>
                      <a:close/>
                      <a:moveTo>
                        <a:pt x="1008" y="3169"/>
                      </a:moveTo>
                      <a:lnTo>
                        <a:pt x="1189" y="3169"/>
                      </a:lnTo>
                      <a:lnTo>
                        <a:pt x="1189" y="3611"/>
                      </a:lnTo>
                      <a:lnTo>
                        <a:pt x="1186" y="3636"/>
                      </a:lnTo>
                      <a:lnTo>
                        <a:pt x="1177" y="3657"/>
                      </a:lnTo>
                      <a:lnTo>
                        <a:pt x="1162" y="3675"/>
                      </a:lnTo>
                      <a:lnTo>
                        <a:pt x="1144" y="3690"/>
                      </a:lnTo>
                      <a:lnTo>
                        <a:pt x="1123" y="3699"/>
                      </a:lnTo>
                      <a:lnTo>
                        <a:pt x="1098" y="3702"/>
                      </a:lnTo>
                      <a:lnTo>
                        <a:pt x="1075" y="3699"/>
                      </a:lnTo>
                      <a:lnTo>
                        <a:pt x="1053" y="3690"/>
                      </a:lnTo>
                      <a:lnTo>
                        <a:pt x="1034" y="3675"/>
                      </a:lnTo>
                      <a:lnTo>
                        <a:pt x="1021" y="3657"/>
                      </a:lnTo>
                      <a:lnTo>
                        <a:pt x="1012" y="3636"/>
                      </a:lnTo>
                      <a:lnTo>
                        <a:pt x="1008" y="3611"/>
                      </a:lnTo>
                      <a:lnTo>
                        <a:pt x="1008" y="3169"/>
                      </a:lnTo>
                      <a:close/>
                      <a:moveTo>
                        <a:pt x="676" y="3169"/>
                      </a:moveTo>
                      <a:lnTo>
                        <a:pt x="858" y="3169"/>
                      </a:lnTo>
                      <a:lnTo>
                        <a:pt x="858" y="3611"/>
                      </a:lnTo>
                      <a:lnTo>
                        <a:pt x="855" y="3636"/>
                      </a:lnTo>
                      <a:lnTo>
                        <a:pt x="846" y="3657"/>
                      </a:lnTo>
                      <a:lnTo>
                        <a:pt x="831" y="3675"/>
                      </a:lnTo>
                      <a:lnTo>
                        <a:pt x="813" y="3690"/>
                      </a:lnTo>
                      <a:lnTo>
                        <a:pt x="791" y="3699"/>
                      </a:lnTo>
                      <a:lnTo>
                        <a:pt x="767" y="3702"/>
                      </a:lnTo>
                      <a:lnTo>
                        <a:pt x="744" y="3699"/>
                      </a:lnTo>
                      <a:lnTo>
                        <a:pt x="721" y="3690"/>
                      </a:lnTo>
                      <a:lnTo>
                        <a:pt x="703" y="3675"/>
                      </a:lnTo>
                      <a:lnTo>
                        <a:pt x="689" y="3657"/>
                      </a:lnTo>
                      <a:lnTo>
                        <a:pt x="680" y="3636"/>
                      </a:lnTo>
                      <a:lnTo>
                        <a:pt x="676" y="3611"/>
                      </a:lnTo>
                      <a:lnTo>
                        <a:pt x="676" y="3169"/>
                      </a:lnTo>
                      <a:close/>
                      <a:moveTo>
                        <a:pt x="341" y="3169"/>
                      </a:moveTo>
                      <a:lnTo>
                        <a:pt x="521" y="3169"/>
                      </a:lnTo>
                      <a:lnTo>
                        <a:pt x="521" y="3611"/>
                      </a:lnTo>
                      <a:lnTo>
                        <a:pt x="518" y="3636"/>
                      </a:lnTo>
                      <a:lnTo>
                        <a:pt x="509" y="3657"/>
                      </a:lnTo>
                      <a:lnTo>
                        <a:pt x="496" y="3675"/>
                      </a:lnTo>
                      <a:lnTo>
                        <a:pt x="476" y="3690"/>
                      </a:lnTo>
                      <a:lnTo>
                        <a:pt x="455" y="3699"/>
                      </a:lnTo>
                      <a:lnTo>
                        <a:pt x="432" y="3702"/>
                      </a:lnTo>
                      <a:lnTo>
                        <a:pt x="407" y="3699"/>
                      </a:lnTo>
                      <a:lnTo>
                        <a:pt x="386" y="3690"/>
                      </a:lnTo>
                      <a:lnTo>
                        <a:pt x="368" y="3675"/>
                      </a:lnTo>
                      <a:lnTo>
                        <a:pt x="353" y="3657"/>
                      </a:lnTo>
                      <a:lnTo>
                        <a:pt x="344" y="3636"/>
                      </a:lnTo>
                      <a:lnTo>
                        <a:pt x="341" y="3611"/>
                      </a:lnTo>
                      <a:lnTo>
                        <a:pt x="341" y="3169"/>
                      </a:lnTo>
                      <a:close/>
                      <a:moveTo>
                        <a:pt x="0" y="3169"/>
                      </a:moveTo>
                      <a:lnTo>
                        <a:pt x="180" y="3169"/>
                      </a:lnTo>
                      <a:lnTo>
                        <a:pt x="180" y="3611"/>
                      </a:lnTo>
                      <a:lnTo>
                        <a:pt x="177" y="3636"/>
                      </a:lnTo>
                      <a:lnTo>
                        <a:pt x="168" y="3657"/>
                      </a:lnTo>
                      <a:lnTo>
                        <a:pt x="154" y="3675"/>
                      </a:lnTo>
                      <a:lnTo>
                        <a:pt x="135" y="3690"/>
                      </a:lnTo>
                      <a:lnTo>
                        <a:pt x="114" y="3699"/>
                      </a:lnTo>
                      <a:lnTo>
                        <a:pt x="90" y="3702"/>
                      </a:lnTo>
                      <a:lnTo>
                        <a:pt x="66" y="3699"/>
                      </a:lnTo>
                      <a:lnTo>
                        <a:pt x="44" y="3690"/>
                      </a:lnTo>
                      <a:lnTo>
                        <a:pt x="26" y="3675"/>
                      </a:lnTo>
                      <a:lnTo>
                        <a:pt x="12" y="3657"/>
                      </a:lnTo>
                      <a:lnTo>
                        <a:pt x="3" y="3636"/>
                      </a:lnTo>
                      <a:lnTo>
                        <a:pt x="0" y="3611"/>
                      </a:lnTo>
                      <a:lnTo>
                        <a:pt x="0" y="3169"/>
                      </a:lnTo>
                      <a:close/>
                      <a:moveTo>
                        <a:pt x="1783" y="0"/>
                      </a:moveTo>
                      <a:lnTo>
                        <a:pt x="1806" y="3"/>
                      </a:lnTo>
                      <a:lnTo>
                        <a:pt x="1829" y="12"/>
                      </a:lnTo>
                      <a:lnTo>
                        <a:pt x="1847" y="27"/>
                      </a:lnTo>
                      <a:lnTo>
                        <a:pt x="1861" y="45"/>
                      </a:lnTo>
                      <a:lnTo>
                        <a:pt x="1870" y="67"/>
                      </a:lnTo>
                      <a:lnTo>
                        <a:pt x="1873" y="91"/>
                      </a:lnTo>
                      <a:lnTo>
                        <a:pt x="1873" y="533"/>
                      </a:lnTo>
                      <a:lnTo>
                        <a:pt x="1692" y="533"/>
                      </a:lnTo>
                      <a:lnTo>
                        <a:pt x="1692" y="91"/>
                      </a:lnTo>
                      <a:lnTo>
                        <a:pt x="1695" y="67"/>
                      </a:lnTo>
                      <a:lnTo>
                        <a:pt x="1704" y="45"/>
                      </a:lnTo>
                      <a:lnTo>
                        <a:pt x="1719" y="27"/>
                      </a:lnTo>
                      <a:lnTo>
                        <a:pt x="1737" y="12"/>
                      </a:lnTo>
                      <a:lnTo>
                        <a:pt x="1759" y="3"/>
                      </a:lnTo>
                      <a:lnTo>
                        <a:pt x="1783" y="0"/>
                      </a:lnTo>
                      <a:close/>
                      <a:moveTo>
                        <a:pt x="1441" y="0"/>
                      </a:moveTo>
                      <a:lnTo>
                        <a:pt x="1465" y="3"/>
                      </a:lnTo>
                      <a:lnTo>
                        <a:pt x="1487" y="12"/>
                      </a:lnTo>
                      <a:lnTo>
                        <a:pt x="1505" y="27"/>
                      </a:lnTo>
                      <a:lnTo>
                        <a:pt x="1520" y="45"/>
                      </a:lnTo>
                      <a:lnTo>
                        <a:pt x="1529" y="67"/>
                      </a:lnTo>
                      <a:lnTo>
                        <a:pt x="1532" y="91"/>
                      </a:lnTo>
                      <a:lnTo>
                        <a:pt x="1532" y="533"/>
                      </a:lnTo>
                      <a:lnTo>
                        <a:pt x="1351" y="533"/>
                      </a:lnTo>
                      <a:lnTo>
                        <a:pt x="1351" y="91"/>
                      </a:lnTo>
                      <a:lnTo>
                        <a:pt x="1354" y="67"/>
                      </a:lnTo>
                      <a:lnTo>
                        <a:pt x="1363" y="45"/>
                      </a:lnTo>
                      <a:lnTo>
                        <a:pt x="1378" y="27"/>
                      </a:lnTo>
                      <a:lnTo>
                        <a:pt x="1395" y="12"/>
                      </a:lnTo>
                      <a:lnTo>
                        <a:pt x="1418" y="3"/>
                      </a:lnTo>
                      <a:lnTo>
                        <a:pt x="1441" y="0"/>
                      </a:lnTo>
                      <a:close/>
                      <a:moveTo>
                        <a:pt x="1098" y="0"/>
                      </a:moveTo>
                      <a:lnTo>
                        <a:pt x="1123" y="3"/>
                      </a:lnTo>
                      <a:lnTo>
                        <a:pt x="1144" y="12"/>
                      </a:lnTo>
                      <a:lnTo>
                        <a:pt x="1162" y="27"/>
                      </a:lnTo>
                      <a:lnTo>
                        <a:pt x="1177" y="45"/>
                      </a:lnTo>
                      <a:lnTo>
                        <a:pt x="1186" y="67"/>
                      </a:lnTo>
                      <a:lnTo>
                        <a:pt x="1189" y="91"/>
                      </a:lnTo>
                      <a:lnTo>
                        <a:pt x="1189" y="533"/>
                      </a:lnTo>
                      <a:lnTo>
                        <a:pt x="1008" y="533"/>
                      </a:lnTo>
                      <a:lnTo>
                        <a:pt x="1008" y="91"/>
                      </a:lnTo>
                      <a:lnTo>
                        <a:pt x="1012" y="67"/>
                      </a:lnTo>
                      <a:lnTo>
                        <a:pt x="1021" y="45"/>
                      </a:lnTo>
                      <a:lnTo>
                        <a:pt x="1034" y="27"/>
                      </a:lnTo>
                      <a:lnTo>
                        <a:pt x="1053" y="12"/>
                      </a:lnTo>
                      <a:lnTo>
                        <a:pt x="1075" y="3"/>
                      </a:lnTo>
                      <a:lnTo>
                        <a:pt x="1098" y="0"/>
                      </a:lnTo>
                      <a:close/>
                      <a:moveTo>
                        <a:pt x="767" y="0"/>
                      </a:moveTo>
                      <a:lnTo>
                        <a:pt x="791" y="3"/>
                      </a:lnTo>
                      <a:lnTo>
                        <a:pt x="813" y="12"/>
                      </a:lnTo>
                      <a:lnTo>
                        <a:pt x="831" y="27"/>
                      </a:lnTo>
                      <a:lnTo>
                        <a:pt x="846" y="45"/>
                      </a:lnTo>
                      <a:lnTo>
                        <a:pt x="855" y="67"/>
                      </a:lnTo>
                      <a:lnTo>
                        <a:pt x="858" y="91"/>
                      </a:lnTo>
                      <a:lnTo>
                        <a:pt x="858" y="533"/>
                      </a:lnTo>
                      <a:lnTo>
                        <a:pt x="676" y="533"/>
                      </a:lnTo>
                      <a:lnTo>
                        <a:pt x="676" y="91"/>
                      </a:lnTo>
                      <a:lnTo>
                        <a:pt x="680" y="67"/>
                      </a:lnTo>
                      <a:lnTo>
                        <a:pt x="689" y="45"/>
                      </a:lnTo>
                      <a:lnTo>
                        <a:pt x="703" y="27"/>
                      </a:lnTo>
                      <a:lnTo>
                        <a:pt x="721" y="12"/>
                      </a:lnTo>
                      <a:lnTo>
                        <a:pt x="744" y="3"/>
                      </a:lnTo>
                      <a:lnTo>
                        <a:pt x="767" y="0"/>
                      </a:lnTo>
                      <a:close/>
                      <a:moveTo>
                        <a:pt x="432" y="0"/>
                      </a:moveTo>
                      <a:lnTo>
                        <a:pt x="455" y="3"/>
                      </a:lnTo>
                      <a:lnTo>
                        <a:pt x="476" y="12"/>
                      </a:lnTo>
                      <a:lnTo>
                        <a:pt x="496" y="27"/>
                      </a:lnTo>
                      <a:lnTo>
                        <a:pt x="509" y="45"/>
                      </a:lnTo>
                      <a:lnTo>
                        <a:pt x="518" y="67"/>
                      </a:lnTo>
                      <a:lnTo>
                        <a:pt x="521" y="91"/>
                      </a:lnTo>
                      <a:lnTo>
                        <a:pt x="521" y="533"/>
                      </a:lnTo>
                      <a:lnTo>
                        <a:pt x="341" y="533"/>
                      </a:lnTo>
                      <a:lnTo>
                        <a:pt x="341" y="91"/>
                      </a:lnTo>
                      <a:lnTo>
                        <a:pt x="344" y="67"/>
                      </a:lnTo>
                      <a:lnTo>
                        <a:pt x="353" y="45"/>
                      </a:lnTo>
                      <a:lnTo>
                        <a:pt x="368" y="27"/>
                      </a:lnTo>
                      <a:lnTo>
                        <a:pt x="386" y="12"/>
                      </a:lnTo>
                      <a:lnTo>
                        <a:pt x="407" y="3"/>
                      </a:lnTo>
                      <a:lnTo>
                        <a:pt x="432" y="0"/>
                      </a:lnTo>
                      <a:close/>
                      <a:moveTo>
                        <a:pt x="90" y="0"/>
                      </a:moveTo>
                      <a:lnTo>
                        <a:pt x="114" y="3"/>
                      </a:lnTo>
                      <a:lnTo>
                        <a:pt x="135" y="12"/>
                      </a:lnTo>
                      <a:lnTo>
                        <a:pt x="154" y="27"/>
                      </a:lnTo>
                      <a:lnTo>
                        <a:pt x="168" y="45"/>
                      </a:lnTo>
                      <a:lnTo>
                        <a:pt x="177" y="67"/>
                      </a:lnTo>
                      <a:lnTo>
                        <a:pt x="180" y="91"/>
                      </a:lnTo>
                      <a:lnTo>
                        <a:pt x="180" y="533"/>
                      </a:lnTo>
                      <a:lnTo>
                        <a:pt x="0" y="533"/>
                      </a:lnTo>
                      <a:lnTo>
                        <a:pt x="0" y="91"/>
                      </a:lnTo>
                      <a:lnTo>
                        <a:pt x="3" y="67"/>
                      </a:lnTo>
                      <a:lnTo>
                        <a:pt x="12" y="45"/>
                      </a:lnTo>
                      <a:lnTo>
                        <a:pt x="26" y="27"/>
                      </a:lnTo>
                      <a:lnTo>
                        <a:pt x="44" y="12"/>
                      </a:lnTo>
                      <a:lnTo>
                        <a:pt x="66" y="3"/>
                      </a:lnTo>
                      <a:lnTo>
                        <a:pt x="9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12"/>
                <p:cNvSpPr>
                  <a:spLocks noEditPoints="1"/>
                </p:cNvSpPr>
                <p:nvPr/>
              </p:nvSpPr>
              <p:spPr bwMode="auto">
                <a:xfrm>
                  <a:off x="3998525" y="2882397"/>
                  <a:ext cx="839788" cy="423863"/>
                </a:xfrm>
                <a:custGeom>
                  <a:avLst/>
                  <a:gdLst>
                    <a:gd name="T0" fmla="*/ 3657 w 3702"/>
                    <a:gd name="T1" fmla="*/ 1705 h 1873"/>
                    <a:gd name="T2" fmla="*/ 3702 w 3702"/>
                    <a:gd name="T3" fmla="*/ 1783 h 1873"/>
                    <a:gd name="T4" fmla="*/ 3657 w 3702"/>
                    <a:gd name="T5" fmla="*/ 1861 h 1873"/>
                    <a:gd name="T6" fmla="*/ 3169 w 3702"/>
                    <a:gd name="T7" fmla="*/ 1692 h 1873"/>
                    <a:gd name="T8" fmla="*/ 91 w 3702"/>
                    <a:gd name="T9" fmla="*/ 1873 h 1873"/>
                    <a:gd name="T10" fmla="*/ 12 w 3702"/>
                    <a:gd name="T11" fmla="*/ 1828 h 1873"/>
                    <a:gd name="T12" fmla="*/ 12 w 3702"/>
                    <a:gd name="T13" fmla="*/ 1737 h 1873"/>
                    <a:gd name="T14" fmla="*/ 91 w 3702"/>
                    <a:gd name="T15" fmla="*/ 1692 h 1873"/>
                    <a:gd name="T16" fmla="*/ 3657 w 3702"/>
                    <a:gd name="T17" fmla="*/ 1364 h 1873"/>
                    <a:gd name="T18" fmla="*/ 3702 w 3702"/>
                    <a:gd name="T19" fmla="*/ 1442 h 1873"/>
                    <a:gd name="T20" fmla="*/ 3657 w 3702"/>
                    <a:gd name="T21" fmla="*/ 1519 h 1873"/>
                    <a:gd name="T22" fmla="*/ 3169 w 3702"/>
                    <a:gd name="T23" fmla="*/ 1351 h 1873"/>
                    <a:gd name="T24" fmla="*/ 91 w 3702"/>
                    <a:gd name="T25" fmla="*/ 1532 h 1873"/>
                    <a:gd name="T26" fmla="*/ 12 w 3702"/>
                    <a:gd name="T27" fmla="*/ 1487 h 1873"/>
                    <a:gd name="T28" fmla="*/ 12 w 3702"/>
                    <a:gd name="T29" fmla="*/ 1396 h 1873"/>
                    <a:gd name="T30" fmla="*/ 91 w 3702"/>
                    <a:gd name="T31" fmla="*/ 1351 h 1873"/>
                    <a:gd name="T32" fmla="*/ 3657 w 3702"/>
                    <a:gd name="T33" fmla="*/ 1028 h 1873"/>
                    <a:gd name="T34" fmla="*/ 3702 w 3702"/>
                    <a:gd name="T35" fmla="*/ 1105 h 1873"/>
                    <a:gd name="T36" fmla="*/ 3657 w 3702"/>
                    <a:gd name="T37" fmla="*/ 1184 h 1873"/>
                    <a:gd name="T38" fmla="*/ 3169 w 3702"/>
                    <a:gd name="T39" fmla="*/ 1016 h 1873"/>
                    <a:gd name="T40" fmla="*/ 91 w 3702"/>
                    <a:gd name="T41" fmla="*/ 1196 h 1873"/>
                    <a:gd name="T42" fmla="*/ 12 w 3702"/>
                    <a:gd name="T43" fmla="*/ 1151 h 1873"/>
                    <a:gd name="T44" fmla="*/ 12 w 3702"/>
                    <a:gd name="T45" fmla="*/ 1061 h 1873"/>
                    <a:gd name="T46" fmla="*/ 91 w 3702"/>
                    <a:gd name="T47" fmla="*/ 1016 h 1873"/>
                    <a:gd name="T48" fmla="*/ 3657 w 3702"/>
                    <a:gd name="T49" fmla="*/ 696 h 1873"/>
                    <a:gd name="T50" fmla="*/ 3702 w 3702"/>
                    <a:gd name="T51" fmla="*/ 774 h 1873"/>
                    <a:gd name="T52" fmla="*/ 3657 w 3702"/>
                    <a:gd name="T53" fmla="*/ 853 h 1873"/>
                    <a:gd name="T54" fmla="*/ 3169 w 3702"/>
                    <a:gd name="T55" fmla="*/ 684 h 1873"/>
                    <a:gd name="T56" fmla="*/ 91 w 3702"/>
                    <a:gd name="T57" fmla="*/ 865 h 1873"/>
                    <a:gd name="T58" fmla="*/ 12 w 3702"/>
                    <a:gd name="T59" fmla="*/ 820 h 1873"/>
                    <a:gd name="T60" fmla="*/ 12 w 3702"/>
                    <a:gd name="T61" fmla="*/ 728 h 1873"/>
                    <a:gd name="T62" fmla="*/ 91 w 3702"/>
                    <a:gd name="T63" fmla="*/ 684 h 1873"/>
                    <a:gd name="T64" fmla="*/ 3657 w 3702"/>
                    <a:gd name="T65" fmla="*/ 354 h 1873"/>
                    <a:gd name="T66" fmla="*/ 3702 w 3702"/>
                    <a:gd name="T67" fmla="*/ 431 h 1873"/>
                    <a:gd name="T68" fmla="*/ 3657 w 3702"/>
                    <a:gd name="T69" fmla="*/ 510 h 1873"/>
                    <a:gd name="T70" fmla="*/ 3169 w 3702"/>
                    <a:gd name="T71" fmla="*/ 341 h 1873"/>
                    <a:gd name="T72" fmla="*/ 91 w 3702"/>
                    <a:gd name="T73" fmla="*/ 522 h 1873"/>
                    <a:gd name="T74" fmla="*/ 12 w 3702"/>
                    <a:gd name="T75" fmla="*/ 477 h 1873"/>
                    <a:gd name="T76" fmla="*/ 12 w 3702"/>
                    <a:gd name="T77" fmla="*/ 386 h 1873"/>
                    <a:gd name="T78" fmla="*/ 91 w 3702"/>
                    <a:gd name="T79" fmla="*/ 341 h 1873"/>
                    <a:gd name="T80" fmla="*/ 3657 w 3702"/>
                    <a:gd name="T81" fmla="*/ 12 h 1873"/>
                    <a:gd name="T82" fmla="*/ 3702 w 3702"/>
                    <a:gd name="T83" fmla="*/ 90 h 1873"/>
                    <a:gd name="T84" fmla="*/ 3657 w 3702"/>
                    <a:gd name="T85" fmla="*/ 168 h 1873"/>
                    <a:gd name="T86" fmla="*/ 3169 w 3702"/>
                    <a:gd name="T87" fmla="*/ 0 h 1873"/>
                    <a:gd name="T88" fmla="*/ 91 w 3702"/>
                    <a:gd name="T89" fmla="*/ 181 h 1873"/>
                    <a:gd name="T90" fmla="*/ 12 w 3702"/>
                    <a:gd name="T91" fmla="*/ 136 h 1873"/>
                    <a:gd name="T92" fmla="*/ 12 w 3702"/>
                    <a:gd name="T93" fmla="*/ 45 h 1873"/>
                    <a:gd name="T94" fmla="*/ 91 w 3702"/>
                    <a:gd name="T95" fmla="*/ 0 h 1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02" h="1873">
                      <a:moveTo>
                        <a:pt x="3169" y="1692"/>
                      </a:moveTo>
                      <a:lnTo>
                        <a:pt x="3611" y="1692"/>
                      </a:lnTo>
                      <a:lnTo>
                        <a:pt x="3635" y="1696"/>
                      </a:lnTo>
                      <a:lnTo>
                        <a:pt x="3657" y="1705"/>
                      </a:lnTo>
                      <a:lnTo>
                        <a:pt x="3675" y="1719"/>
                      </a:lnTo>
                      <a:lnTo>
                        <a:pt x="3690" y="1737"/>
                      </a:lnTo>
                      <a:lnTo>
                        <a:pt x="3699" y="1758"/>
                      </a:lnTo>
                      <a:lnTo>
                        <a:pt x="3702" y="1783"/>
                      </a:lnTo>
                      <a:lnTo>
                        <a:pt x="3699" y="1807"/>
                      </a:lnTo>
                      <a:lnTo>
                        <a:pt x="3690" y="1828"/>
                      </a:lnTo>
                      <a:lnTo>
                        <a:pt x="3675" y="1847"/>
                      </a:lnTo>
                      <a:lnTo>
                        <a:pt x="3657" y="1861"/>
                      </a:lnTo>
                      <a:lnTo>
                        <a:pt x="3635" y="1870"/>
                      </a:lnTo>
                      <a:lnTo>
                        <a:pt x="3611" y="1873"/>
                      </a:lnTo>
                      <a:lnTo>
                        <a:pt x="3169" y="1873"/>
                      </a:lnTo>
                      <a:lnTo>
                        <a:pt x="3169" y="1692"/>
                      </a:lnTo>
                      <a:close/>
                      <a:moveTo>
                        <a:pt x="91" y="1692"/>
                      </a:moveTo>
                      <a:lnTo>
                        <a:pt x="533" y="1692"/>
                      </a:lnTo>
                      <a:lnTo>
                        <a:pt x="533" y="1873"/>
                      </a:lnTo>
                      <a:lnTo>
                        <a:pt x="91" y="1873"/>
                      </a:lnTo>
                      <a:lnTo>
                        <a:pt x="66" y="1870"/>
                      </a:lnTo>
                      <a:lnTo>
                        <a:pt x="45" y="1861"/>
                      </a:lnTo>
                      <a:lnTo>
                        <a:pt x="27" y="1847"/>
                      </a:lnTo>
                      <a:lnTo>
                        <a:pt x="12" y="1828"/>
                      </a:lnTo>
                      <a:lnTo>
                        <a:pt x="3" y="1807"/>
                      </a:lnTo>
                      <a:lnTo>
                        <a:pt x="0" y="1783"/>
                      </a:lnTo>
                      <a:lnTo>
                        <a:pt x="3" y="1758"/>
                      </a:lnTo>
                      <a:lnTo>
                        <a:pt x="12" y="1737"/>
                      </a:lnTo>
                      <a:lnTo>
                        <a:pt x="27" y="1719"/>
                      </a:lnTo>
                      <a:lnTo>
                        <a:pt x="45" y="1705"/>
                      </a:lnTo>
                      <a:lnTo>
                        <a:pt x="66" y="1696"/>
                      </a:lnTo>
                      <a:lnTo>
                        <a:pt x="91" y="1692"/>
                      </a:lnTo>
                      <a:close/>
                      <a:moveTo>
                        <a:pt x="3169" y="1351"/>
                      </a:moveTo>
                      <a:lnTo>
                        <a:pt x="3611" y="1351"/>
                      </a:lnTo>
                      <a:lnTo>
                        <a:pt x="3635" y="1355"/>
                      </a:lnTo>
                      <a:lnTo>
                        <a:pt x="3657" y="1364"/>
                      </a:lnTo>
                      <a:lnTo>
                        <a:pt x="3675" y="1378"/>
                      </a:lnTo>
                      <a:lnTo>
                        <a:pt x="3690" y="1396"/>
                      </a:lnTo>
                      <a:lnTo>
                        <a:pt x="3699" y="1417"/>
                      </a:lnTo>
                      <a:lnTo>
                        <a:pt x="3702" y="1442"/>
                      </a:lnTo>
                      <a:lnTo>
                        <a:pt x="3699" y="1466"/>
                      </a:lnTo>
                      <a:lnTo>
                        <a:pt x="3690" y="1487"/>
                      </a:lnTo>
                      <a:lnTo>
                        <a:pt x="3675" y="1506"/>
                      </a:lnTo>
                      <a:lnTo>
                        <a:pt x="3657" y="1519"/>
                      </a:lnTo>
                      <a:lnTo>
                        <a:pt x="3635" y="1528"/>
                      </a:lnTo>
                      <a:lnTo>
                        <a:pt x="3611" y="1532"/>
                      </a:lnTo>
                      <a:lnTo>
                        <a:pt x="3169" y="1532"/>
                      </a:lnTo>
                      <a:lnTo>
                        <a:pt x="3169" y="1351"/>
                      </a:lnTo>
                      <a:close/>
                      <a:moveTo>
                        <a:pt x="91" y="1351"/>
                      </a:moveTo>
                      <a:lnTo>
                        <a:pt x="533" y="1351"/>
                      </a:lnTo>
                      <a:lnTo>
                        <a:pt x="533" y="1532"/>
                      </a:lnTo>
                      <a:lnTo>
                        <a:pt x="91" y="1532"/>
                      </a:lnTo>
                      <a:lnTo>
                        <a:pt x="66" y="1528"/>
                      </a:lnTo>
                      <a:lnTo>
                        <a:pt x="45" y="1519"/>
                      </a:lnTo>
                      <a:lnTo>
                        <a:pt x="27" y="1506"/>
                      </a:lnTo>
                      <a:lnTo>
                        <a:pt x="12" y="1487"/>
                      </a:lnTo>
                      <a:lnTo>
                        <a:pt x="3" y="1466"/>
                      </a:lnTo>
                      <a:lnTo>
                        <a:pt x="0" y="1442"/>
                      </a:lnTo>
                      <a:lnTo>
                        <a:pt x="3" y="1417"/>
                      </a:lnTo>
                      <a:lnTo>
                        <a:pt x="12" y="1396"/>
                      </a:lnTo>
                      <a:lnTo>
                        <a:pt x="27" y="1378"/>
                      </a:lnTo>
                      <a:lnTo>
                        <a:pt x="45" y="1364"/>
                      </a:lnTo>
                      <a:lnTo>
                        <a:pt x="66" y="1355"/>
                      </a:lnTo>
                      <a:lnTo>
                        <a:pt x="91" y="1351"/>
                      </a:lnTo>
                      <a:close/>
                      <a:moveTo>
                        <a:pt x="3169" y="1016"/>
                      </a:moveTo>
                      <a:lnTo>
                        <a:pt x="3611" y="1016"/>
                      </a:lnTo>
                      <a:lnTo>
                        <a:pt x="3635" y="1019"/>
                      </a:lnTo>
                      <a:lnTo>
                        <a:pt x="3657" y="1028"/>
                      </a:lnTo>
                      <a:lnTo>
                        <a:pt x="3675" y="1041"/>
                      </a:lnTo>
                      <a:lnTo>
                        <a:pt x="3690" y="1061"/>
                      </a:lnTo>
                      <a:lnTo>
                        <a:pt x="3699" y="1082"/>
                      </a:lnTo>
                      <a:lnTo>
                        <a:pt x="3702" y="1105"/>
                      </a:lnTo>
                      <a:lnTo>
                        <a:pt x="3699" y="1130"/>
                      </a:lnTo>
                      <a:lnTo>
                        <a:pt x="3690" y="1151"/>
                      </a:lnTo>
                      <a:lnTo>
                        <a:pt x="3675" y="1169"/>
                      </a:lnTo>
                      <a:lnTo>
                        <a:pt x="3657" y="1184"/>
                      </a:lnTo>
                      <a:lnTo>
                        <a:pt x="3635" y="1193"/>
                      </a:lnTo>
                      <a:lnTo>
                        <a:pt x="3611" y="1196"/>
                      </a:lnTo>
                      <a:lnTo>
                        <a:pt x="3169" y="1196"/>
                      </a:lnTo>
                      <a:lnTo>
                        <a:pt x="3169" y="1016"/>
                      </a:lnTo>
                      <a:close/>
                      <a:moveTo>
                        <a:pt x="91" y="1016"/>
                      </a:moveTo>
                      <a:lnTo>
                        <a:pt x="533" y="1016"/>
                      </a:lnTo>
                      <a:lnTo>
                        <a:pt x="533" y="1196"/>
                      </a:lnTo>
                      <a:lnTo>
                        <a:pt x="91" y="1196"/>
                      </a:lnTo>
                      <a:lnTo>
                        <a:pt x="66" y="1193"/>
                      </a:lnTo>
                      <a:lnTo>
                        <a:pt x="45" y="1184"/>
                      </a:lnTo>
                      <a:lnTo>
                        <a:pt x="27" y="1169"/>
                      </a:lnTo>
                      <a:lnTo>
                        <a:pt x="12" y="1151"/>
                      </a:lnTo>
                      <a:lnTo>
                        <a:pt x="3" y="1130"/>
                      </a:lnTo>
                      <a:lnTo>
                        <a:pt x="0" y="1105"/>
                      </a:lnTo>
                      <a:lnTo>
                        <a:pt x="3" y="1082"/>
                      </a:lnTo>
                      <a:lnTo>
                        <a:pt x="12" y="1061"/>
                      </a:lnTo>
                      <a:lnTo>
                        <a:pt x="27" y="1041"/>
                      </a:lnTo>
                      <a:lnTo>
                        <a:pt x="45" y="1028"/>
                      </a:lnTo>
                      <a:lnTo>
                        <a:pt x="66" y="1019"/>
                      </a:lnTo>
                      <a:lnTo>
                        <a:pt x="91" y="1016"/>
                      </a:lnTo>
                      <a:close/>
                      <a:moveTo>
                        <a:pt x="3169" y="684"/>
                      </a:moveTo>
                      <a:lnTo>
                        <a:pt x="3611" y="684"/>
                      </a:lnTo>
                      <a:lnTo>
                        <a:pt x="3635" y="687"/>
                      </a:lnTo>
                      <a:lnTo>
                        <a:pt x="3657" y="696"/>
                      </a:lnTo>
                      <a:lnTo>
                        <a:pt x="3675" y="710"/>
                      </a:lnTo>
                      <a:lnTo>
                        <a:pt x="3690" y="728"/>
                      </a:lnTo>
                      <a:lnTo>
                        <a:pt x="3699" y="751"/>
                      </a:lnTo>
                      <a:lnTo>
                        <a:pt x="3702" y="774"/>
                      </a:lnTo>
                      <a:lnTo>
                        <a:pt x="3699" y="798"/>
                      </a:lnTo>
                      <a:lnTo>
                        <a:pt x="3690" y="820"/>
                      </a:lnTo>
                      <a:lnTo>
                        <a:pt x="3675" y="838"/>
                      </a:lnTo>
                      <a:lnTo>
                        <a:pt x="3657" y="853"/>
                      </a:lnTo>
                      <a:lnTo>
                        <a:pt x="3635" y="862"/>
                      </a:lnTo>
                      <a:lnTo>
                        <a:pt x="3611" y="865"/>
                      </a:lnTo>
                      <a:lnTo>
                        <a:pt x="3169" y="865"/>
                      </a:lnTo>
                      <a:lnTo>
                        <a:pt x="3169" y="684"/>
                      </a:lnTo>
                      <a:close/>
                      <a:moveTo>
                        <a:pt x="91" y="684"/>
                      </a:moveTo>
                      <a:lnTo>
                        <a:pt x="533" y="684"/>
                      </a:lnTo>
                      <a:lnTo>
                        <a:pt x="533" y="865"/>
                      </a:lnTo>
                      <a:lnTo>
                        <a:pt x="91" y="865"/>
                      </a:lnTo>
                      <a:lnTo>
                        <a:pt x="66" y="862"/>
                      </a:lnTo>
                      <a:lnTo>
                        <a:pt x="45" y="853"/>
                      </a:lnTo>
                      <a:lnTo>
                        <a:pt x="27" y="838"/>
                      </a:lnTo>
                      <a:lnTo>
                        <a:pt x="12" y="820"/>
                      </a:lnTo>
                      <a:lnTo>
                        <a:pt x="3" y="798"/>
                      </a:lnTo>
                      <a:lnTo>
                        <a:pt x="0" y="774"/>
                      </a:lnTo>
                      <a:lnTo>
                        <a:pt x="3" y="751"/>
                      </a:lnTo>
                      <a:lnTo>
                        <a:pt x="12" y="728"/>
                      </a:lnTo>
                      <a:lnTo>
                        <a:pt x="27" y="710"/>
                      </a:lnTo>
                      <a:lnTo>
                        <a:pt x="45" y="696"/>
                      </a:lnTo>
                      <a:lnTo>
                        <a:pt x="66" y="687"/>
                      </a:lnTo>
                      <a:lnTo>
                        <a:pt x="91" y="684"/>
                      </a:lnTo>
                      <a:close/>
                      <a:moveTo>
                        <a:pt x="3169" y="341"/>
                      </a:moveTo>
                      <a:lnTo>
                        <a:pt x="3611" y="341"/>
                      </a:lnTo>
                      <a:lnTo>
                        <a:pt x="3635" y="345"/>
                      </a:lnTo>
                      <a:lnTo>
                        <a:pt x="3657" y="354"/>
                      </a:lnTo>
                      <a:lnTo>
                        <a:pt x="3675" y="367"/>
                      </a:lnTo>
                      <a:lnTo>
                        <a:pt x="3690" y="386"/>
                      </a:lnTo>
                      <a:lnTo>
                        <a:pt x="3699" y="407"/>
                      </a:lnTo>
                      <a:lnTo>
                        <a:pt x="3702" y="431"/>
                      </a:lnTo>
                      <a:lnTo>
                        <a:pt x="3699" y="456"/>
                      </a:lnTo>
                      <a:lnTo>
                        <a:pt x="3690" y="477"/>
                      </a:lnTo>
                      <a:lnTo>
                        <a:pt x="3675" y="495"/>
                      </a:lnTo>
                      <a:lnTo>
                        <a:pt x="3657" y="510"/>
                      </a:lnTo>
                      <a:lnTo>
                        <a:pt x="3635" y="519"/>
                      </a:lnTo>
                      <a:lnTo>
                        <a:pt x="3611" y="522"/>
                      </a:lnTo>
                      <a:lnTo>
                        <a:pt x="3169" y="522"/>
                      </a:lnTo>
                      <a:lnTo>
                        <a:pt x="3169" y="341"/>
                      </a:lnTo>
                      <a:close/>
                      <a:moveTo>
                        <a:pt x="91" y="341"/>
                      </a:moveTo>
                      <a:lnTo>
                        <a:pt x="533" y="341"/>
                      </a:lnTo>
                      <a:lnTo>
                        <a:pt x="533" y="522"/>
                      </a:lnTo>
                      <a:lnTo>
                        <a:pt x="91" y="522"/>
                      </a:lnTo>
                      <a:lnTo>
                        <a:pt x="66" y="519"/>
                      </a:lnTo>
                      <a:lnTo>
                        <a:pt x="45" y="510"/>
                      </a:lnTo>
                      <a:lnTo>
                        <a:pt x="27" y="495"/>
                      </a:lnTo>
                      <a:lnTo>
                        <a:pt x="12" y="477"/>
                      </a:lnTo>
                      <a:lnTo>
                        <a:pt x="3" y="456"/>
                      </a:lnTo>
                      <a:lnTo>
                        <a:pt x="0" y="431"/>
                      </a:lnTo>
                      <a:lnTo>
                        <a:pt x="3" y="407"/>
                      </a:lnTo>
                      <a:lnTo>
                        <a:pt x="12" y="386"/>
                      </a:lnTo>
                      <a:lnTo>
                        <a:pt x="27" y="367"/>
                      </a:lnTo>
                      <a:lnTo>
                        <a:pt x="45" y="354"/>
                      </a:lnTo>
                      <a:lnTo>
                        <a:pt x="66" y="345"/>
                      </a:lnTo>
                      <a:lnTo>
                        <a:pt x="91" y="341"/>
                      </a:lnTo>
                      <a:close/>
                      <a:moveTo>
                        <a:pt x="3169" y="0"/>
                      </a:moveTo>
                      <a:lnTo>
                        <a:pt x="3611" y="0"/>
                      </a:lnTo>
                      <a:lnTo>
                        <a:pt x="3635" y="3"/>
                      </a:lnTo>
                      <a:lnTo>
                        <a:pt x="3657" y="12"/>
                      </a:lnTo>
                      <a:lnTo>
                        <a:pt x="3675" y="26"/>
                      </a:lnTo>
                      <a:lnTo>
                        <a:pt x="3690" y="45"/>
                      </a:lnTo>
                      <a:lnTo>
                        <a:pt x="3699" y="66"/>
                      </a:lnTo>
                      <a:lnTo>
                        <a:pt x="3702" y="90"/>
                      </a:lnTo>
                      <a:lnTo>
                        <a:pt x="3699" y="115"/>
                      </a:lnTo>
                      <a:lnTo>
                        <a:pt x="3690" y="136"/>
                      </a:lnTo>
                      <a:lnTo>
                        <a:pt x="3675" y="154"/>
                      </a:lnTo>
                      <a:lnTo>
                        <a:pt x="3657" y="168"/>
                      </a:lnTo>
                      <a:lnTo>
                        <a:pt x="3635" y="177"/>
                      </a:lnTo>
                      <a:lnTo>
                        <a:pt x="3611" y="181"/>
                      </a:lnTo>
                      <a:lnTo>
                        <a:pt x="3169" y="181"/>
                      </a:lnTo>
                      <a:lnTo>
                        <a:pt x="3169" y="0"/>
                      </a:lnTo>
                      <a:close/>
                      <a:moveTo>
                        <a:pt x="91" y="0"/>
                      </a:moveTo>
                      <a:lnTo>
                        <a:pt x="533" y="0"/>
                      </a:lnTo>
                      <a:lnTo>
                        <a:pt x="533" y="181"/>
                      </a:lnTo>
                      <a:lnTo>
                        <a:pt x="91" y="181"/>
                      </a:lnTo>
                      <a:lnTo>
                        <a:pt x="66" y="177"/>
                      </a:lnTo>
                      <a:lnTo>
                        <a:pt x="45" y="168"/>
                      </a:lnTo>
                      <a:lnTo>
                        <a:pt x="27" y="154"/>
                      </a:lnTo>
                      <a:lnTo>
                        <a:pt x="12" y="136"/>
                      </a:lnTo>
                      <a:lnTo>
                        <a:pt x="3" y="115"/>
                      </a:lnTo>
                      <a:lnTo>
                        <a:pt x="0" y="90"/>
                      </a:lnTo>
                      <a:lnTo>
                        <a:pt x="3" y="66"/>
                      </a:lnTo>
                      <a:lnTo>
                        <a:pt x="12" y="45"/>
                      </a:lnTo>
                      <a:lnTo>
                        <a:pt x="27" y="26"/>
                      </a:lnTo>
                      <a:lnTo>
                        <a:pt x="45" y="12"/>
                      </a:lnTo>
                      <a:lnTo>
                        <a:pt x="66" y="3"/>
                      </a:lnTo>
                      <a:lnTo>
                        <a:pt x="91"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0" name="Group 29"/>
              <p:cNvGrpSpPr/>
              <p:nvPr/>
            </p:nvGrpSpPr>
            <p:grpSpPr>
              <a:xfrm>
                <a:off x="3500457" y="1938397"/>
                <a:ext cx="1259483" cy="1903418"/>
                <a:chOff x="4371778" y="2491242"/>
                <a:chExt cx="741689" cy="1120892"/>
              </a:xfrm>
            </p:grpSpPr>
            <p:sp>
              <p:nvSpPr>
                <p:cNvPr id="31" name="Freeform 6"/>
                <p:cNvSpPr>
                  <a:spLocks/>
                </p:cNvSpPr>
                <p:nvPr/>
              </p:nvSpPr>
              <p:spPr bwMode="auto">
                <a:xfrm>
                  <a:off x="4524784" y="2491242"/>
                  <a:ext cx="432796" cy="432797"/>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7"/>
                <p:cNvSpPr>
                  <a:spLocks/>
                </p:cNvSpPr>
                <p:nvPr/>
              </p:nvSpPr>
              <p:spPr bwMode="auto">
                <a:xfrm>
                  <a:off x="4371778" y="2875918"/>
                  <a:ext cx="741689" cy="736216"/>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36" name="Group 4"/>
            <p:cNvGrpSpPr>
              <a:grpSpLocks noChangeAspect="1"/>
            </p:cNvGrpSpPr>
            <p:nvPr/>
          </p:nvGrpSpPr>
          <p:grpSpPr bwMode="auto">
            <a:xfrm>
              <a:off x="8191412" y="1777500"/>
              <a:ext cx="667789" cy="558301"/>
              <a:chOff x="526" y="1452"/>
              <a:chExt cx="799" cy="668"/>
            </a:xfrm>
            <a:solidFill>
              <a:srgbClr val="0072C6"/>
            </a:solidFill>
          </p:grpSpPr>
          <p:sp>
            <p:nvSpPr>
              <p:cNvPr id="37" name="Freeform 5"/>
              <p:cNvSpPr>
                <a:spLocks noEditPoints="1"/>
              </p:cNvSpPr>
              <p:nvPr/>
            </p:nvSpPr>
            <p:spPr bwMode="auto">
              <a:xfrm>
                <a:off x="861" y="1752"/>
                <a:ext cx="185" cy="244"/>
              </a:xfrm>
              <a:custGeom>
                <a:avLst/>
                <a:gdLst>
                  <a:gd name="T0" fmla="*/ 260 w 268"/>
                  <a:gd name="T1" fmla="*/ 17 h 354"/>
                  <a:gd name="T2" fmla="*/ 243 w 268"/>
                  <a:gd name="T3" fmla="*/ 9 h 354"/>
                  <a:gd name="T4" fmla="*/ 27 w 268"/>
                  <a:gd name="T5" fmla="*/ 0 h 354"/>
                  <a:gd name="T6" fmla="*/ 11 w 268"/>
                  <a:gd name="T7" fmla="*/ 6 h 354"/>
                  <a:gd name="T8" fmla="*/ 5 w 268"/>
                  <a:gd name="T9" fmla="*/ 22 h 354"/>
                  <a:gd name="T10" fmla="*/ 0 w 268"/>
                  <a:gd name="T11" fmla="*/ 317 h 354"/>
                  <a:gd name="T12" fmla="*/ 6 w 268"/>
                  <a:gd name="T13" fmla="*/ 333 h 354"/>
                  <a:gd name="T14" fmla="*/ 22 w 268"/>
                  <a:gd name="T15" fmla="*/ 341 h 354"/>
                  <a:gd name="T16" fmla="*/ 225 w 268"/>
                  <a:gd name="T17" fmla="*/ 353 h 354"/>
                  <a:gd name="T18" fmla="*/ 249 w 268"/>
                  <a:gd name="T19" fmla="*/ 345 h 354"/>
                  <a:gd name="T20" fmla="*/ 260 w 268"/>
                  <a:gd name="T21" fmla="*/ 322 h 354"/>
                  <a:gd name="T22" fmla="*/ 267 w 268"/>
                  <a:gd name="T23" fmla="*/ 36 h 354"/>
                  <a:gd name="T24" fmla="*/ 260 w 268"/>
                  <a:gd name="T25" fmla="*/ 17 h 354"/>
                  <a:gd name="T26" fmla="*/ 207 w 268"/>
                  <a:gd name="T27" fmla="*/ 261 h 354"/>
                  <a:gd name="T28" fmla="*/ 201 w 268"/>
                  <a:gd name="T29" fmla="*/ 274 h 354"/>
                  <a:gd name="T30" fmla="*/ 187 w 268"/>
                  <a:gd name="T31" fmla="*/ 279 h 354"/>
                  <a:gd name="T32" fmla="*/ 69 w 268"/>
                  <a:gd name="T33" fmla="*/ 272 h 354"/>
                  <a:gd name="T34" fmla="*/ 60 w 268"/>
                  <a:gd name="T35" fmla="*/ 267 h 354"/>
                  <a:gd name="T36" fmla="*/ 56 w 268"/>
                  <a:gd name="T37" fmla="*/ 258 h 354"/>
                  <a:gd name="T38" fmla="*/ 59 w 268"/>
                  <a:gd name="T39" fmla="*/ 87 h 354"/>
                  <a:gd name="T40" fmla="*/ 63 w 268"/>
                  <a:gd name="T41" fmla="*/ 78 h 354"/>
                  <a:gd name="T42" fmla="*/ 72 w 268"/>
                  <a:gd name="T43" fmla="*/ 75 h 354"/>
                  <a:gd name="T44" fmla="*/ 197 w 268"/>
                  <a:gd name="T45" fmla="*/ 80 h 354"/>
                  <a:gd name="T46" fmla="*/ 207 w 268"/>
                  <a:gd name="T47" fmla="*/ 85 h 354"/>
                  <a:gd name="T48" fmla="*/ 211 w 268"/>
                  <a:gd name="T49" fmla="*/ 95 h 354"/>
                  <a:gd name="T50" fmla="*/ 207 w 268"/>
                  <a:gd name="T51" fmla="*/ 261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8" h="354">
                    <a:moveTo>
                      <a:pt x="260" y="17"/>
                    </a:moveTo>
                    <a:cubicBezTo>
                      <a:pt x="256" y="12"/>
                      <a:pt x="249" y="10"/>
                      <a:pt x="243" y="9"/>
                    </a:cubicBezTo>
                    <a:cubicBezTo>
                      <a:pt x="27" y="0"/>
                      <a:pt x="27" y="0"/>
                      <a:pt x="27" y="0"/>
                    </a:cubicBezTo>
                    <a:cubicBezTo>
                      <a:pt x="21" y="0"/>
                      <a:pt x="16" y="2"/>
                      <a:pt x="11" y="6"/>
                    </a:cubicBezTo>
                    <a:cubicBezTo>
                      <a:pt x="7" y="10"/>
                      <a:pt x="5" y="16"/>
                      <a:pt x="5" y="22"/>
                    </a:cubicBezTo>
                    <a:cubicBezTo>
                      <a:pt x="0" y="317"/>
                      <a:pt x="0" y="317"/>
                      <a:pt x="0" y="317"/>
                    </a:cubicBezTo>
                    <a:cubicBezTo>
                      <a:pt x="0" y="322"/>
                      <a:pt x="2" y="328"/>
                      <a:pt x="6" y="333"/>
                    </a:cubicBezTo>
                    <a:cubicBezTo>
                      <a:pt x="10" y="338"/>
                      <a:pt x="16" y="340"/>
                      <a:pt x="22" y="341"/>
                    </a:cubicBezTo>
                    <a:cubicBezTo>
                      <a:pt x="225" y="353"/>
                      <a:pt x="225" y="353"/>
                      <a:pt x="225" y="353"/>
                    </a:cubicBezTo>
                    <a:cubicBezTo>
                      <a:pt x="234" y="354"/>
                      <a:pt x="242" y="351"/>
                      <a:pt x="249" y="345"/>
                    </a:cubicBezTo>
                    <a:cubicBezTo>
                      <a:pt x="256" y="339"/>
                      <a:pt x="260" y="330"/>
                      <a:pt x="260" y="322"/>
                    </a:cubicBezTo>
                    <a:cubicBezTo>
                      <a:pt x="267" y="36"/>
                      <a:pt x="267" y="36"/>
                      <a:pt x="267" y="36"/>
                    </a:cubicBezTo>
                    <a:cubicBezTo>
                      <a:pt x="268" y="29"/>
                      <a:pt x="265" y="23"/>
                      <a:pt x="260" y="17"/>
                    </a:cubicBezTo>
                    <a:close/>
                    <a:moveTo>
                      <a:pt x="207" y="261"/>
                    </a:moveTo>
                    <a:cubicBezTo>
                      <a:pt x="207" y="266"/>
                      <a:pt x="205" y="270"/>
                      <a:pt x="201" y="274"/>
                    </a:cubicBezTo>
                    <a:cubicBezTo>
                      <a:pt x="197" y="278"/>
                      <a:pt x="192" y="279"/>
                      <a:pt x="187" y="279"/>
                    </a:cubicBezTo>
                    <a:cubicBezTo>
                      <a:pt x="69" y="272"/>
                      <a:pt x="69" y="272"/>
                      <a:pt x="69" y="272"/>
                    </a:cubicBezTo>
                    <a:cubicBezTo>
                      <a:pt x="65" y="271"/>
                      <a:pt x="62" y="270"/>
                      <a:pt x="60" y="267"/>
                    </a:cubicBezTo>
                    <a:cubicBezTo>
                      <a:pt x="57" y="264"/>
                      <a:pt x="56" y="261"/>
                      <a:pt x="56" y="258"/>
                    </a:cubicBezTo>
                    <a:cubicBezTo>
                      <a:pt x="59" y="87"/>
                      <a:pt x="59" y="87"/>
                      <a:pt x="59" y="87"/>
                    </a:cubicBezTo>
                    <a:cubicBezTo>
                      <a:pt x="59" y="84"/>
                      <a:pt x="60" y="80"/>
                      <a:pt x="63" y="78"/>
                    </a:cubicBezTo>
                    <a:cubicBezTo>
                      <a:pt x="65" y="76"/>
                      <a:pt x="69" y="74"/>
                      <a:pt x="72" y="75"/>
                    </a:cubicBezTo>
                    <a:cubicBezTo>
                      <a:pt x="197" y="80"/>
                      <a:pt x="197" y="80"/>
                      <a:pt x="197" y="80"/>
                    </a:cubicBezTo>
                    <a:cubicBezTo>
                      <a:pt x="200" y="80"/>
                      <a:pt x="204" y="81"/>
                      <a:pt x="207" y="85"/>
                    </a:cubicBezTo>
                    <a:cubicBezTo>
                      <a:pt x="210" y="88"/>
                      <a:pt x="211" y="91"/>
                      <a:pt x="211" y="95"/>
                    </a:cubicBezTo>
                    <a:lnTo>
                      <a:pt x="207"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6"/>
              <p:cNvSpPr>
                <a:spLocks/>
              </p:cNvSpPr>
              <p:nvPr/>
            </p:nvSpPr>
            <p:spPr bwMode="auto">
              <a:xfrm>
                <a:off x="526" y="1866"/>
                <a:ext cx="436" cy="254"/>
              </a:xfrm>
              <a:custGeom>
                <a:avLst/>
                <a:gdLst>
                  <a:gd name="T0" fmla="*/ 616 w 632"/>
                  <a:gd name="T1" fmla="*/ 16 h 369"/>
                  <a:gd name="T2" fmla="*/ 587 w 632"/>
                  <a:gd name="T3" fmla="*/ 27 h 369"/>
                  <a:gd name="T4" fmla="*/ 434 w 632"/>
                  <a:gd name="T5" fmla="*/ 229 h 369"/>
                  <a:gd name="T6" fmla="*/ 172 w 632"/>
                  <a:gd name="T7" fmla="*/ 316 h 369"/>
                  <a:gd name="T8" fmla="*/ 45 w 632"/>
                  <a:gd name="T9" fmla="*/ 202 h 369"/>
                  <a:gd name="T10" fmla="*/ 231 w 632"/>
                  <a:gd name="T11" fmla="*/ 41 h 369"/>
                  <a:gd name="T12" fmla="*/ 210 w 632"/>
                  <a:gd name="T13" fmla="*/ 0 h 369"/>
                  <a:gd name="T14" fmla="*/ 1 w 632"/>
                  <a:gd name="T15" fmla="*/ 201 h 369"/>
                  <a:gd name="T16" fmla="*/ 168 w 632"/>
                  <a:gd name="T17" fmla="*/ 360 h 369"/>
                  <a:gd name="T18" fmla="*/ 475 w 632"/>
                  <a:gd name="T19" fmla="*/ 252 h 369"/>
                  <a:gd name="T20" fmla="*/ 516 w 632"/>
                  <a:gd name="T21" fmla="*/ 211 h 369"/>
                  <a:gd name="T22" fmla="*/ 627 w 632"/>
                  <a:gd name="T23" fmla="*/ 44 h 369"/>
                  <a:gd name="T24" fmla="*/ 616 w 632"/>
                  <a:gd name="T25" fmla="*/ 1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2" h="369">
                    <a:moveTo>
                      <a:pt x="616" y="16"/>
                    </a:moveTo>
                    <a:cubicBezTo>
                      <a:pt x="605" y="11"/>
                      <a:pt x="592" y="16"/>
                      <a:pt x="587" y="27"/>
                    </a:cubicBezTo>
                    <a:cubicBezTo>
                      <a:pt x="586" y="29"/>
                      <a:pt x="536" y="144"/>
                      <a:pt x="434" y="229"/>
                    </a:cubicBezTo>
                    <a:cubicBezTo>
                      <a:pt x="368" y="284"/>
                      <a:pt x="281" y="325"/>
                      <a:pt x="172" y="316"/>
                    </a:cubicBezTo>
                    <a:cubicBezTo>
                      <a:pt x="83" y="308"/>
                      <a:pt x="44" y="253"/>
                      <a:pt x="45" y="202"/>
                    </a:cubicBezTo>
                    <a:cubicBezTo>
                      <a:pt x="46" y="137"/>
                      <a:pt x="103" y="66"/>
                      <a:pt x="231" y="41"/>
                    </a:cubicBezTo>
                    <a:cubicBezTo>
                      <a:pt x="223" y="26"/>
                      <a:pt x="218" y="14"/>
                      <a:pt x="210" y="0"/>
                    </a:cubicBezTo>
                    <a:cubicBezTo>
                      <a:pt x="69" y="33"/>
                      <a:pt x="2" y="122"/>
                      <a:pt x="1" y="201"/>
                    </a:cubicBezTo>
                    <a:cubicBezTo>
                      <a:pt x="0" y="286"/>
                      <a:pt x="68" y="351"/>
                      <a:pt x="168" y="360"/>
                    </a:cubicBezTo>
                    <a:cubicBezTo>
                      <a:pt x="279" y="369"/>
                      <a:pt x="385" y="332"/>
                      <a:pt x="475" y="252"/>
                    </a:cubicBezTo>
                    <a:cubicBezTo>
                      <a:pt x="489" y="239"/>
                      <a:pt x="503" y="226"/>
                      <a:pt x="516" y="211"/>
                    </a:cubicBezTo>
                    <a:cubicBezTo>
                      <a:pt x="590" y="131"/>
                      <a:pt x="626" y="48"/>
                      <a:pt x="627" y="44"/>
                    </a:cubicBezTo>
                    <a:cubicBezTo>
                      <a:pt x="632" y="33"/>
                      <a:pt x="627" y="20"/>
                      <a:pt x="61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
              <p:cNvSpPr>
                <a:spLocks noEditPoints="1"/>
              </p:cNvSpPr>
              <p:nvPr/>
            </p:nvSpPr>
            <p:spPr bwMode="auto">
              <a:xfrm>
                <a:off x="681" y="1452"/>
                <a:ext cx="644" cy="643"/>
              </a:xfrm>
              <a:custGeom>
                <a:avLst/>
                <a:gdLst>
                  <a:gd name="T0" fmla="*/ 322 w 934"/>
                  <a:gd name="T1" fmla="*/ 142 h 935"/>
                  <a:gd name="T2" fmla="*/ 314 w 934"/>
                  <a:gd name="T3" fmla="*/ 141 h 935"/>
                  <a:gd name="T4" fmla="*/ 277 w 934"/>
                  <a:gd name="T5" fmla="*/ 148 h 935"/>
                  <a:gd name="T6" fmla="*/ 505 w 934"/>
                  <a:gd name="T7" fmla="*/ 180 h 935"/>
                  <a:gd name="T8" fmla="*/ 498 w 934"/>
                  <a:gd name="T9" fmla="*/ 182 h 935"/>
                  <a:gd name="T10" fmla="*/ 525 w 934"/>
                  <a:gd name="T11" fmla="*/ 234 h 935"/>
                  <a:gd name="T12" fmla="*/ 517 w 934"/>
                  <a:gd name="T13" fmla="*/ 248 h 935"/>
                  <a:gd name="T14" fmla="*/ 528 w 934"/>
                  <a:gd name="T15" fmla="*/ 233 h 935"/>
                  <a:gd name="T16" fmla="*/ 543 w 934"/>
                  <a:gd name="T17" fmla="*/ 242 h 935"/>
                  <a:gd name="T18" fmla="*/ 559 w 934"/>
                  <a:gd name="T19" fmla="*/ 253 h 935"/>
                  <a:gd name="T20" fmla="*/ 558 w 934"/>
                  <a:gd name="T21" fmla="*/ 224 h 935"/>
                  <a:gd name="T22" fmla="*/ 496 w 934"/>
                  <a:gd name="T23" fmla="*/ 167 h 935"/>
                  <a:gd name="T24" fmla="*/ 467 w 934"/>
                  <a:gd name="T25" fmla="*/ 138 h 935"/>
                  <a:gd name="T26" fmla="*/ 395 w 934"/>
                  <a:gd name="T27" fmla="*/ 171 h 935"/>
                  <a:gd name="T28" fmla="*/ 348 w 934"/>
                  <a:gd name="T29" fmla="*/ 249 h 935"/>
                  <a:gd name="T30" fmla="*/ 341 w 934"/>
                  <a:gd name="T31" fmla="*/ 259 h 935"/>
                  <a:gd name="T32" fmla="*/ 348 w 934"/>
                  <a:gd name="T33" fmla="*/ 170 h 935"/>
                  <a:gd name="T34" fmla="*/ 311 w 934"/>
                  <a:gd name="T35" fmla="*/ 168 h 935"/>
                  <a:gd name="T36" fmla="*/ 330 w 934"/>
                  <a:gd name="T37" fmla="*/ 189 h 935"/>
                  <a:gd name="T38" fmla="*/ 600 w 934"/>
                  <a:gd name="T39" fmla="*/ 303 h 935"/>
                  <a:gd name="T40" fmla="*/ 824 w 934"/>
                  <a:gd name="T41" fmla="*/ 388 h 935"/>
                  <a:gd name="T42" fmla="*/ 700 w 934"/>
                  <a:gd name="T43" fmla="*/ 195 h 935"/>
                  <a:gd name="T44" fmla="*/ 596 w 934"/>
                  <a:gd name="T45" fmla="*/ 201 h 935"/>
                  <a:gd name="T46" fmla="*/ 606 w 934"/>
                  <a:gd name="T47" fmla="*/ 230 h 935"/>
                  <a:gd name="T48" fmla="*/ 636 w 934"/>
                  <a:gd name="T49" fmla="*/ 207 h 935"/>
                  <a:gd name="T50" fmla="*/ 640 w 934"/>
                  <a:gd name="T51" fmla="*/ 238 h 935"/>
                  <a:gd name="T52" fmla="*/ 595 w 934"/>
                  <a:gd name="T53" fmla="*/ 229 h 935"/>
                  <a:gd name="T54" fmla="*/ 579 w 934"/>
                  <a:gd name="T55" fmla="*/ 246 h 935"/>
                  <a:gd name="T56" fmla="*/ 544 w 934"/>
                  <a:gd name="T57" fmla="*/ 269 h 935"/>
                  <a:gd name="T58" fmla="*/ 515 w 934"/>
                  <a:gd name="T59" fmla="*/ 315 h 935"/>
                  <a:gd name="T60" fmla="*/ 571 w 934"/>
                  <a:gd name="T61" fmla="*/ 300 h 935"/>
                  <a:gd name="T62" fmla="*/ 635 w 934"/>
                  <a:gd name="T63" fmla="*/ 310 h 935"/>
                  <a:gd name="T64" fmla="*/ 646 w 934"/>
                  <a:gd name="T65" fmla="*/ 306 h 935"/>
                  <a:gd name="T66" fmla="*/ 664 w 934"/>
                  <a:gd name="T67" fmla="*/ 318 h 935"/>
                  <a:gd name="T68" fmla="*/ 686 w 934"/>
                  <a:gd name="T69" fmla="*/ 290 h 935"/>
                  <a:gd name="T70" fmla="*/ 725 w 934"/>
                  <a:gd name="T71" fmla="*/ 280 h 935"/>
                  <a:gd name="T72" fmla="*/ 727 w 934"/>
                  <a:gd name="T73" fmla="*/ 335 h 935"/>
                  <a:gd name="T74" fmla="*/ 596 w 934"/>
                  <a:gd name="T75" fmla="*/ 325 h 935"/>
                  <a:gd name="T76" fmla="*/ 481 w 934"/>
                  <a:gd name="T77" fmla="*/ 466 h 935"/>
                  <a:gd name="T78" fmla="*/ 538 w 934"/>
                  <a:gd name="T79" fmla="*/ 517 h 935"/>
                  <a:gd name="T80" fmla="*/ 604 w 934"/>
                  <a:gd name="T81" fmla="*/ 560 h 935"/>
                  <a:gd name="T82" fmla="*/ 728 w 934"/>
                  <a:gd name="T83" fmla="*/ 697 h 935"/>
                  <a:gd name="T84" fmla="*/ 758 w 934"/>
                  <a:gd name="T85" fmla="*/ 449 h 935"/>
                  <a:gd name="T86" fmla="*/ 832 w 934"/>
                  <a:gd name="T87" fmla="*/ 447 h 935"/>
                  <a:gd name="T88" fmla="*/ 618 w 934"/>
                  <a:gd name="T89" fmla="*/ 319 h 935"/>
                  <a:gd name="T90" fmla="*/ 173 w 934"/>
                  <a:gd name="T91" fmla="*/ 403 h 935"/>
                  <a:gd name="T92" fmla="*/ 305 w 934"/>
                  <a:gd name="T93" fmla="*/ 266 h 935"/>
                  <a:gd name="T94" fmla="*/ 263 w 934"/>
                  <a:gd name="T95" fmla="*/ 469 h 935"/>
                  <a:gd name="T96" fmla="*/ 176 w 934"/>
                  <a:gd name="T97" fmla="*/ 478 h 935"/>
                  <a:gd name="T98" fmla="*/ 125 w 934"/>
                  <a:gd name="T99" fmla="*/ 420 h 935"/>
                  <a:gd name="T100" fmla="*/ 181 w 934"/>
                  <a:gd name="T101" fmla="*/ 367 h 935"/>
                  <a:gd name="T102" fmla="*/ 235 w 934"/>
                  <a:gd name="T103" fmla="*/ 306 h 935"/>
                  <a:gd name="T104" fmla="*/ 301 w 934"/>
                  <a:gd name="T105" fmla="*/ 256 h 935"/>
                  <a:gd name="T106" fmla="*/ 303 w 934"/>
                  <a:gd name="T107" fmla="*/ 213 h 935"/>
                  <a:gd name="T108" fmla="*/ 211 w 934"/>
                  <a:gd name="T109" fmla="*/ 213 h 935"/>
                  <a:gd name="T110" fmla="*/ 250 w 934"/>
                  <a:gd name="T111" fmla="*/ 173 h 935"/>
                  <a:gd name="T112" fmla="*/ 157 w 934"/>
                  <a:gd name="T113" fmla="*/ 482 h 935"/>
                  <a:gd name="T114" fmla="*/ 172 w 934"/>
                  <a:gd name="T115" fmla="*/ 550 h 935"/>
                  <a:gd name="T116" fmla="*/ 251 w 934"/>
                  <a:gd name="T117" fmla="*/ 757 h 935"/>
                  <a:gd name="T118" fmla="*/ 321 w 934"/>
                  <a:gd name="T119" fmla="*/ 703 h 935"/>
                  <a:gd name="T120" fmla="*/ 196 w 934"/>
                  <a:gd name="T121" fmla="*/ 401 h 935"/>
                  <a:gd name="T122" fmla="*/ 199 w 934"/>
                  <a:gd name="T123" fmla="*/ 411 h 935"/>
                  <a:gd name="T124" fmla="*/ 227 w 934"/>
                  <a:gd name="T125" fmla="*/ 423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4" h="935">
                    <a:moveTo>
                      <a:pt x="277" y="153"/>
                    </a:moveTo>
                    <a:cubicBezTo>
                      <a:pt x="276" y="154"/>
                      <a:pt x="280" y="154"/>
                      <a:pt x="281" y="153"/>
                    </a:cubicBezTo>
                    <a:cubicBezTo>
                      <a:pt x="282" y="154"/>
                      <a:pt x="282" y="155"/>
                      <a:pt x="281" y="155"/>
                    </a:cubicBezTo>
                    <a:cubicBezTo>
                      <a:pt x="279" y="156"/>
                      <a:pt x="279" y="158"/>
                      <a:pt x="283" y="157"/>
                    </a:cubicBezTo>
                    <a:cubicBezTo>
                      <a:pt x="286" y="157"/>
                      <a:pt x="287" y="156"/>
                      <a:pt x="287" y="156"/>
                    </a:cubicBezTo>
                    <a:cubicBezTo>
                      <a:pt x="288" y="157"/>
                      <a:pt x="288" y="157"/>
                      <a:pt x="290" y="157"/>
                    </a:cubicBezTo>
                    <a:cubicBezTo>
                      <a:pt x="293" y="157"/>
                      <a:pt x="294" y="156"/>
                      <a:pt x="295" y="156"/>
                    </a:cubicBezTo>
                    <a:cubicBezTo>
                      <a:pt x="297" y="156"/>
                      <a:pt x="293" y="157"/>
                      <a:pt x="296" y="157"/>
                    </a:cubicBezTo>
                    <a:cubicBezTo>
                      <a:pt x="300" y="157"/>
                      <a:pt x="299" y="156"/>
                      <a:pt x="301" y="156"/>
                    </a:cubicBezTo>
                    <a:cubicBezTo>
                      <a:pt x="303" y="156"/>
                      <a:pt x="305" y="156"/>
                      <a:pt x="307" y="156"/>
                    </a:cubicBezTo>
                    <a:cubicBezTo>
                      <a:pt x="309" y="155"/>
                      <a:pt x="309" y="156"/>
                      <a:pt x="311" y="156"/>
                    </a:cubicBezTo>
                    <a:cubicBezTo>
                      <a:pt x="313" y="156"/>
                      <a:pt x="310" y="153"/>
                      <a:pt x="312" y="155"/>
                    </a:cubicBezTo>
                    <a:cubicBezTo>
                      <a:pt x="315" y="156"/>
                      <a:pt x="314" y="156"/>
                      <a:pt x="316" y="155"/>
                    </a:cubicBezTo>
                    <a:cubicBezTo>
                      <a:pt x="319" y="155"/>
                      <a:pt x="322" y="155"/>
                      <a:pt x="320" y="154"/>
                    </a:cubicBezTo>
                    <a:cubicBezTo>
                      <a:pt x="317" y="153"/>
                      <a:pt x="318" y="151"/>
                      <a:pt x="315" y="152"/>
                    </a:cubicBezTo>
                    <a:cubicBezTo>
                      <a:pt x="312" y="152"/>
                      <a:pt x="313" y="153"/>
                      <a:pt x="312" y="152"/>
                    </a:cubicBezTo>
                    <a:cubicBezTo>
                      <a:pt x="311" y="152"/>
                      <a:pt x="308" y="153"/>
                      <a:pt x="306" y="153"/>
                    </a:cubicBezTo>
                    <a:cubicBezTo>
                      <a:pt x="305" y="152"/>
                      <a:pt x="303" y="154"/>
                      <a:pt x="301" y="153"/>
                    </a:cubicBezTo>
                    <a:cubicBezTo>
                      <a:pt x="299" y="152"/>
                      <a:pt x="295" y="154"/>
                      <a:pt x="294" y="153"/>
                    </a:cubicBezTo>
                    <a:cubicBezTo>
                      <a:pt x="293" y="153"/>
                      <a:pt x="290" y="154"/>
                      <a:pt x="290" y="154"/>
                    </a:cubicBezTo>
                    <a:cubicBezTo>
                      <a:pt x="289" y="153"/>
                      <a:pt x="287" y="154"/>
                      <a:pt x="287" y="154"/>
                    </a:cubicBezTo>
                    <a:cubicBezTo>
                      <a:pt x="287" y="153"/>
                      <a:pt x="282" y="153"/>
                      <a:pt x="284" y="153"/>
                    </a:cubicBezTo>
                    <a:cubicBezTo>
                      <a:pt x="286" y="153"/>
                      <a:pt x="289" y="151"/>
                      <a:pt x="286" y="151"/>
                    </a:cubicBezTo>
                    <a:cubicBezTo>
                      <a:pt x="283" y="151"/>
                      <a:pt x="284" y="150"/>
                      <a:pt x="282" y="150"/>
                    </a:cubicBezTo>
                    <a:cubicBezTo>
                      <a:pt x="279" y="151"/>
                      <a:pt x="278" y="150"/>
                      <a:pt x="276" y="151"/>
                    </a:cubicBezTo>
                    <a:cubicBezTo>
                      <a:pt x="274" y="152"/>
                      <a:pt x="278" y="153"/>
                      <a:pt x="277" y="153"/>
                    </a:cubicBezTo>
                    <a:close/>
                    <a:moveTo>
                      <a:pt x="376" y="140"/>
                    </a:moveTo>
                    <a:cubicBezTo>
                      <a:pt x="380" y="139"/>
                      <a:pt x="383" y="139"/>
                      <a:pt x="385" y="138"/>
                    </a:cubicBezTo>
                    <a:cubicBezTo>
                      <a:pt x="388" y="137"/>
                      <a:pt x="394" y="135"/>
                      <a:pt x="387" y="135"/>
                    </a:cubicBezTo>
                    <a:cubicBezTo>
                      <a:pt x="379" y="136"/>
                      <a:pt x="382" y="134"/>
                      <a:pt x="376" y="134"/>
                    </a:cubicBezTo>
                    <a:cubicBezTo>
                      <a:pt x="371" y="135"/>
                      <a:pt x="369" y="137"/>
                      <a:pt x="364" y="136"/>
                    </a:cubicBezTo>
                    <a:cubicBezTo>
                      <a:pt x="361" y="135"/>
                      <a:pt x="360" y="136"/>
                      <a:pt x="358" y="136"/>
                    </a:cubicBezTo>
                    <a:cubicBezTo>
                      <a:pt x="356" y="137"/>
                      <a:pt x="355" y="136"/>
                      <a:pt x="352" y="136"/>
                    </a:cubicBezTo>
                    <a:cubicBezTo>
                      <a:pt x="350" y="136"/>
                      <a:pt x="348" y="136"/>
                      <a:pt x="345" y="136"/>
                    </a:cubicBezTo>
                    <a:cubicBezTo>
                      <a:pt x="341" y="137"/>
                      <a:pt x="340" y="136"/>
                      <a:pt x="338" y="137"/>
                    </a:cubicBezTo>
                    <a:cubicBezTo>
                      <a:pt x="337" y="137"/>
                      <a:pt x="335" y="137"/>
                      <a:pt x="333" y="137"/>
                    </a:cubicBezTo>
                    <a:cubicBezTo>
                      <a:pt x="331" y="138"/>
                      <a:pt x="330" y="137"/>
                      <a:pt x="329" y="137"/>
                    </a:cubicBezTo>
                    <a:cubicBezTo>
                      <a:pt x="328" y="137"/>
                      <a:pt x="325" y="137"/>
                      <a:pt x="324" y="138"/>
                    </a:cubicBezTo>
                    <a:cubicBezTo>
                      <a:pt x="324" y="138"/>
                      <a:pt x="318" y="139"/>
                      <a:pt x="317" y="140"/>
                    </a:cubicBezTo>
                    <a:cubicBezTo>
                      <a:pt x="316" y="141"/>
                      <a:pt x="321" y="139"/>
                      <a:pt x="323" y="139"/>
                    </a:cubicBezTo>
                    <a:cubicBezTo>
                      <a:pt x="324" y="140"/>
                      <a:pt x="325" y="139"/>
                      <a:pt x="326" y="139"/>
                    </a:cubicBezTo>
                    <a:cubicBezTo>
                      <a:pt x="328" y="139"/>
                      <a:pt x="328" y="139"/>
                      <a:pt x="329" y="139"/>
                    </a:cubicBezTo>
                    <a:cubicBezTo>
                      <a:pt x="330" y="138"/>
                      <a:pt x="330" y="138"/>
                      <a:pt x="332" y="139"/>
                    </a:cubicBezTo>
                    <a:cubicBezTo>
                      <a:pt x="334" y="139"/>
                      <a:pt x="337" y="138"/>
                      <a:pt x="336" y="139"/>
                    </a:cubicBezTo>
                    <a:cubicBezTo>
                      <a:pt x="335" y="140"/>
                      <a:pt x="333" y="140"/>
                      <a:pt x="331" y="139"/>
                    </a:cubicBezTo>
                    <a:cubicBezTo>
                      <a:pt x="329" y="139"/>
                      <a:pt x="328" y="141"/>
                      <a:pt x="326" y="141"/>
                    </a:cubicBezTo>
                    <a:cubicBezTo>
                      <a:pt x="323" y="141"/>
                      <a:pt x="325" y="144"/>
                      <a:pt x="324" y="143"/>
                    </a:cubicBezTo>
                    <a:cubicBezTo>
                      <a:pt x="323" y="143"/>
                      <a:pt x="322" y="143"/>
                      <a:pt x="322" y="142"/>
                    </a:cubicBezTo>
                    <a:cubicBezTo>
                      <a:pt x="322" y="141"/>
                      <a:pt x="319" y="142"/>
                      <a:pt x="317" y="143"/>
                    </a:cubicBezTo>
                    <a:cubicBezTo>
                      <a:pt x="312" y="143"/>
                      <a:pt x="321" y="143"/>
                      <a:pt x="311" y="144"/>
                    </a:cubicBezTo>
                    <a:cubicBezTo>
                      <a:pt x="308" y="144"/>
                      <a:pt x="307" y="145"/>
                      <a:pt x="308" y="146"/>
                    </a:cubicBezTo>
                    <a:cubicBezTo>
                      <a:pt x="309" y="147"/>
                      <a:pt x="312" y="145"/>
                      <a:pt x="314" y="146"/>
                    </a:cubicBezTo>
                    <a:cubicBezTo>
                      <a:pt x="316" y="146"/>
                      <a:pt x="312" y="146"/>
                      <a:pt x="309" y="146"/>
                    </a:cubicBezTo>
                    <a:cubicBezTo>
                      <a:pt x="307" y="147"/>
                      <a:pt x="315" y="147"/>
                      <a:pt x="313" y="147"/>
                    </a:cubicBezTo>
                    <a:cubicBezTo>
                      <a:pt x="311" y="148"/>
                      <a:pt x="310" y="147"/>
                      <a:pt x="308" y="147"/>
                    </a:cubicBezTo>
                    <a:cubicBezTo>
                      <a:pt x="305" y="146"/>
                      <a:pt x="304" y="146"/>
                      <a:pt x="302" y="147"/>
                    </a:cubicBezTo>
                    <a:cubicBezTo>
                      <a:pt x="300" y="148"/>
                      <a:pt x="301" y="148"/>
                      <a:pt x="300" y="148"/>
                    </a:cubicBezTo>
                    <a:cubicBezTo>
                      <a:pt x="299" y="149"/>
                      <a:pt x="296" y="149"/>
                      <a:pt x="295" y="149"/>
                    </a:cubicBezTo>
                    <a:cubicBezTo>
                      <a:pt x="293" y="150"/>
                      <a:pt x="293" y="151"/>
                      <a:pt x="295" y="151"/>
                    </a:cubicBezTo>
                    <a:cubicBezTo>
                      <a:pt x="299" y="151"/>
                      <a:pt x="298" y="150"/>
                      <a:pt x="301" y="150"/>
                    </a:cubicBezTo>
                    <a:cubicBezTo>
                      <a:pt x="304" y="151"/>
                      <a:pt x="305" y="152"/>
                      <a:pt x="308" y="151"/>
                    </a:cubicBezTo>
                    <a:cubicBezTo>
                      <a:pt x="310" y="151"/>
                      <a:pt x="310" y="149"/>
                      <a:pt x="312" y="150"/>
                    </a:cubicBezTo>
                    <a:cubicBezTo>
                      <a:pt x="313" y="150"/>
                      <a:pt x="316" y="151"/>
                      <a:pt x="317" y="150"/>
                    </a:cubicBezTo>
                    <a:cubicBezTo>
                      <a:pt x="318" y="150"/>
                      <a:pt x="319" y="151"/>
                      <a:pt x="321" y="151"/>
                    </a:cubicBezTo>
                    <a:cubicBezTo>
                      <a:pt x="324" y="151"/>
                      <a:pt x="324" y="149"/>
                      <a:pt x="326" y="149"/>
                    </a:cubicBezTo>
                    <a:cubicBezTo>
                      <a:pt x="327" y="149"/>
                      <a:pt x="331" y="149"/>
                      <a:pt x="330" y="148"/>
                    </a:cubicBezTo>
                    <a:cubicBezTo>
                      <a:pt x="328" y="147"/>
                      <a:pt x="327" y="146"/>
                      <a:pt x="330" y="147"/>
                    </a:cubicBezTo>
                    <a:cubicBezTo>
                      <a:pt x="333" y="147"/>
                      <a:pt x="335" y="147"/>
                      <a:pt x="334" y="146"/>
                    </a:cubicBezTo>
                    <a:cubicBezTo>
                      <a:pt x="333" y="144"/>
                      <a:pt x="333" y="145"/>
                      <a:pt x="335" y="145"/>
                    </a:cubicBezTo>
                    <a:cubicBezTo>
                      <a:pt x="337" y="146"/>
                      <a:pt x="338" y="145"/>
                      <a:pt x="339" y="145"/>
                    </a:cubicBezTo>
                    <a:cubicBezTo>
                      <a:pt x="340" y="145"/>
                      <a:pt x="345" y="146"/>
                      <a:pt x="347" y="145"/>
                    </a:cubicBezTo>
                    <a:cubicBezTo>
                      <a:pt x="348" y="143"/>
                      <a:pt x="349" y="144"/>
                      <a:pt x="351" y="144"/>
                    </a:cubicBezTo>
                    <a:cubicBezTo>
                      <a:pt x="352" y="145"/>
                      <a:pt x="353" y="145"/>
                      <a:pt x="355" y="144"/>
                    </a:cubicBezTo>
                    <a:cubicBezTo>
                      <a:pt x="359" y="142"/>
                      <a:pt x="359" y="145"/>
                      <a:pt x="365" y="143"/>
                    </a:cubicBezTo>
                    <a:cubicBezTo>
                      <a:pt x="370" y="142"/>
                      <a:pt x="372" y="142"/>
                      <a:pt x="376" y="140"/>
                    </a:cubicBezTo>
                    <a:close/>
                    <a:moveTo>
                      <a:pt x="225" y="174"/>
                    </a:moveTo>
                    <a:cubicBezTo>
                      <a:pt x="225" y="174"/>
                      <a:pt x="224" y="174"/>
                      <a:pt x="224" y="175"/>
                    </a:cubicBezTo>
                    <a:cubicBezTo>
                      <a:pt x="225" y="175"/>
                      <a:pt x="225" y="174"/>
                      <a:pt x="225" y="174"/>
                    </a:cubicBezTo>
                    <a:cubicBezTo>
                      <a:pt x="225" y="174"/>
                      <a:pt x="225" y="174"/>
                      <a:pt x="225" y="174"/>
                    </a:cubicBezTo>
                    <a:close/>
                    <a:moveTo>
                      <a:pt x="393" y="169"/>
                    </a:moveTo>
                    <a:cubicBezTo>
                      <a:pt x="394" y="170"/>
                      <a:pt x="394" y="170"/>
                      <a:pt x="396" y="170"/>
                    </a:cubicBezTo>
                    <a:cubicBezTo>
                      <a:pt x="397" y="169"/>
                      <a:pt x="397" y="168"/>
                      <a:pt x="396" y="168"/>
                    </a:cubicBezTo>
                    <a:cubicBezTo>
                      <a:pt x="395" y="167"/>
                      <a:pt x="395" y="167"/>
                      <a:pt x="394" y="167"/>
                    </a:cubicBezTo>
                    <a:cubicBezTo>
                      <a:pt x="393" y="167"/>
                      <a:pt x="392" y="167"/>
                      <a:pt x="392" y="167"/>
                    </a:cubicBezTo>
                    <a:cubicBezTo>
                      <a:pt x="391" y="167"/>
                      <a:pt x="391" y="167"/>
                      <a:pt x="390" y="167"/>
                    </a:cubicBezTo>
                    <a:cubicBezTo>
                      <a:pt x="389" y="167"/>
                      <a:pt x="389" y="167"/>
                      <a:pt x="389" y="167"/>
                    </a:cubicBezTo>
                    <a:cubicBezTo>
                      <a:pt x="388" y="167"/>
                      <a:pt x="388" y="168"/>
                      <a:pt x="389" y="168"/>
                    </a:cubicBezTo>
                    <a:cubicBezTo>
                      <a:pt x="390" y="168"/>
                      <a:pt x="390" y="168"/>
                      <a:pt x="391" y="169"/>
                    </a:cubicBezTo>
                    <a:cubicBezTo>
                      <a:pt x="391" y="169"/>
                      <a:pt x="391" y="169"/>
                      <a:pt x="393" y="169"/>
                    </a:cubicBezTo>
                    <a:close/>
                    <a:moveTo>
                      <a:pt x="292" y="148"/>
                    </a:moveTo>
                    <a:cubicBezTo>
                      <a:pt x="294" y="148"/>
                      <a:pt x="293" y="147"/>
                      <a:pt x="295" y="147"/>
                    </a:cubicBezTo>
                    <a:cubicBezTo>
                      <a:pt x="297" y="147"/>
                      <a:pt x="298" y="147"/>
                      <a:pt x="298" y="146"/>
                    </a:cubicBezTo>
                    <a:cubicBezTo>
                      <a:pt x="297" y="145"/>
                      <a:pt x="301" y="146"/>
                      <a:pt x="303" y="146"/>
                    </a:cubicBezTo>
                    <a:cubicBezTo>
                      <a:pt x="305" y="146"/>
                      <a:pt x="308" y="144"/>
                      <a:pt x="310" y="143"/>
                    </a:cubicBezTo>
                    <a:cubicBezTo>
                      <a:pt x="312" y="143"/>
                      <a:pt x="314" y="143"/>
                      <a:pt x="313" y="143"/>
                    </a:cubicBezTo>
                    <a:cubicBezTo>
                      <a:pt x="311" y="142"/>
                      <a:pt x="313" y="143"/>
                      <a:pt x="314" y="141"/>
                    </a:cubicBezTo>
                    <a:cubicBezTo>
                      <a:pt x="315" y="138"/>
                      <a:pt x="306" y="142"/>
                      <a:pt x="309" y="140"/>
                    </a:cubicBezTo>
                    <a:cubicBezTo>
                      <a:pt x="311" y="138"/>
                      <a:pt x="308" y="139"/>
                      <a:pt x="306" y="140"/>
                    </a:cubicBezTo>
                    <a:cubicBezTo>
                      <a:pt x="304" y="140"/>
                      <a:pt x="302" y="140"/>
                      <a:pt x="301" y="141"/>
                    </a:cubicBezTo>
                    <a:cubicBezTo>
                      <a:pt x="300" y="142"/>
                      <a:pt x="297" y="142"/>
                      <a:pt x="295" y="143"/>
                    </a:cubicBezTo>
                    <a:cubicBezTo>
                      <a:pt x="292" y="144"/>
                      <a:pt x="296" y="145"/>
                      <a:pt x="293" y="146"/>
                    </a:cubicBezTo>
                    <a:cubicBezTo>
                      <a:pt x="290" y="146"/>
                      <a:pt x="292" y="146"/>
                      <a:pt x="290" y="147"/>
                    </a:cubicBezTo>
                    <a:cubicBezTo>
                      <a:pt x="288" y="147"/>
                      <a:pt x="289" y="148"/>
                      <a:pt x="292" y="148"/>
                    </a:cubicBezTo>
                    <a:close/>
                    <a:moveTo>
                      <a:pt x="244" y="165"/>
                    </a:moveTo>
                    <a:cubicBezTo>
                      <a:pt x="245" y="165"/>
                      <a:pt x="247" y="164"/>
                      <a:pt x="247" y="165"/>
                    </a:cubicBezTo>
                    <a:cubicBezTo>
                      <a:pt x="250" y="166"/>
                      <a:pt x="250" y="165"/>
                      <a:pt x="251" y="164"/>
                    </a:cubicBezTo>
                    <a:cubicBezTo>
                      <a:pt x="251" y="165"/>
                      <a:pt x="252" y="165"/>
                      <a:pt x="253" y="164"/>
                    </a:cubicBezTo>
                    <a:cubicBezTo>
                      <a:pt x="255" y="163"/>
                      <a:pt x="254" y="163"/>
                      <a:pt x="255" y="163"/>
                    </a:cubicBezTo>
                    <a:cubicBezTo>
                      <a:pt x="258" y="162"/>
                      <a:pt x="255" y="162"/>
                      <a:pt x="255" y="161"/>
                    </a:cubicBezTo>
                    <a:cubicBezTo>
                      <a:pt x="256" y="161"/>
                      <a:pt x="258" y="161"/>
                      <a:pt x="259" y="160"/>
                    </a:cubicBezTo>
                    <a:cubicBezTo>
                      <a:pt x="261" y="158"/>
                      <a:pt x="257" y="159"/>
                      <a:pt x="257" y="159"/>
                    </a:cubicBezTo>
                    <a:cubicBezTo>
                      <a:pt x="258" y="159"/>
                      <a:pt x="260" y="158"/>
                      <a:pt x="259" y="158"/>
                    </a:cubicBezTo>
                    <a:cubicBezTo>
                      <a:pt x="259" y="157"/>
                      <a:pt x="255" y="158"/>
                      <a:pt x="254" y="158"/>
                    </a:cubicBezTo>
                    <a:cubicBezTo>
                      <a:pt x="253" y="158"/>
                      <a:pt x="252" y="159"/>
                      <a:pt x="251" y="159"/>
                    </a:cubicBezTo>
                    <a:cubicBezTo>
                      <a:pt x="250" y="158"/>
                      <a:pt x="249" y="159"/>
                      <a:pt x="248" y="159"/>
                    </a:cubicBezTo>
                    <a:cubicBezTo>
                      <a:pt x="247" y="158"/>
                      <a:pt x="245" y="159"/>
                      <a:pt x="246" y="160"/>
                    </a:cubicBezTo>
                    <a:cubicBezTo>
                      <a:pt x="247" y="160"/>
                      <a:pt x="248" y="161"/>
                      <a:pt x="248" y="161"/>
                    </a:cubicBezTo>
                    <a:cubicBezTo>
                      <a:pt x="248" y="161"/>
                      <a:pt x="248" y="161"/>
                      <a:pt x="246" y="161"/>
                    </a:cubicBezTo>
                    <a:cubicBezTo>
                      <a:pt x="245" y="161"/>
                      <a:pt x="243" y="161"/>
                      <a:pt x="242" y="161"/>
                    </a:cubicBezTo>
                    <a:cubicBezTo>
                      <a:pt x="241" y="162"/>
                      <a:pt x="240" y="162"/>
                      <a:pt x="239" y="163"/>
                    </a:cubicBezTo>
                    <a:cubicBezTo>
                      <a:pt x="240" y="163"/>
                      <a:pt x="241" y="164"/>
                      <a:pt x="241" y="164"/>
                    </a:cubicBezTo>
                    <a:cubicBezTo>
                      <a:pt x="242" y="163"/>
                      <a:pt x="243" y="164"/>
                      <a:pt x="244" y="165"/>
                    </a:cubicBezTo>
                    <a:close/>
                    <a:moveTo>
                      <a:pt x="257" y="155"/>
                    </a:moveTo>
                    <a:cubicBezTo>
                      <a:pt x="257" y="156"/>
                      <a:pt x="258" y="156"/>
                      <a:pt x="260" y="155"/>
                    </a:cubicBezTo>
                    <a:cubicBezTo>
                      <a:pt x="262" y="154"/>
                      <a:pt x="262" y="156"/>
                      <a:pt x="264" y="155"/>
                    </a:cubicBezTo>
                    <a:cubicBezTo>
                      <a:pt x="266" y="154"/>
                      <a:pt x="266" y="154"/>
                      <a:pt x="267" y="152"/>
                    </a:cubicBezTo>
                    <a:cubicBezTo>
                      <a:pt x="268" y="150"/>
                      <a:pt x="270" y="152"/>
                      <a:pt x="272" y="150"/>
                    </a:cubicBezTo>
                    <a:cubicBezTo>
                      <a:pt x="274" y="148"/>
                      <a:pt x="268" y="149"/>
                      <a:pt x="265" y="149"/>
                    </a:cubicBezTo>
                    <a:cubicBezTo>
                      <a:pt x="263" y="150"/>
                      <a:pt x="262" y="151"/>
                      <a:pt x="261" y="152"/>
                    </a:cubicBezTo>
                    <a:cubicBezTo>
                      <a:pt x="260" y="153"/>
                      <a:pt x="261" y="150"/>
                      <a:pt x="262" y="149"/>
                    </a:cubicBezTo>
                    <a:cubicBezTo>
                      <a:pt x="263" y="148"/>
                      <a:pt x="261" y="148"/>
                      <a:pt x="259" y="149"/>
                    </a:cubicBezTo>
                    <a:cubicBezTo>
                      <a:pt x="258" y="150"/>
                      <a:pt x="257" y="150"/>
                      <a:pt x="256" y="151"/>
                    </a:cubicBezTo>
                    <a:cubicBezTo>
                      <a:pt x="256" y="152"/>
                      <a:pt x="256" y="152"/>
                      <a:pt x="256" y="152"/>
                    </a:cubicBezTo>
                    <a:cubicBezTo>
                      <a:pt x="256" y="153"/>
                      <a:pt x="256" y="152"/>
                      <a:pt x="255" y="152"/>
                    </a:cubicBezTo>
                    <a:cubicBezTo>
                      <a:pt x="254" y="152"/>
                      <a:pt x="252" y="153"/>
                      <a:pt x="251" y="154"/>
                    </a:cubicBezTo>
                    <a:cubicBezTo>
                      <a:pt x="253" y="156"/>
                      <a:pt x="257" y="153"/>
                      <a:pt x="257" y="155"/>
                    </a:cubicBezTo>
                    <a:close/>
                    <a:moveTo>
                      <a:pt x="270" y="147"/>
                    </a:moveTo>
                    <a:cubicBezTo>
                      <a:pt x="268" y="147"/>
                      <a:pt x="267" y="148"/>
                      <a:pt x="269" y="148"/>
                    </a:cubicBezTo>
                    <a:cubicBezTo>
                      <a:pt x="271" y="149"/>
                      <a:pt x="273" y="147"/>
                      <a:pt x="274" y="146"/>
                    </a:cubicBezTo>
                    <a:cubicBezTo>
                      <a:pt x="275" y="146"/>
                      <a:pt x="278" y="146"/>
                      <a:pt x="278" y="145"/>
                    </a:cubicBezTo>
                    <a:cubicBezTo>
                      <a:pt x="277" y="144"/>
                      <a:pt x="279" y="143"/>
                      <a:pt x="275" y="144"/>
                    </a:cubicBezTo>
                    <a:cubicBezTo>
                      <a:pt x="271" y="145"/>
                      <a:pt x="267" y="145"/>
                      <a:pt x="268" y="146"/>
                    </a:cubicBezTo>
                    <a:cubicBezTo>
                      <a:pt x="269" y="147"/>
                      <a:pt x="271" y="146"/>
                      <a:pt x="270" y="147"/>
                    </a:cubicBezTo>
                    <a:close/>
                    <a:moveTo>
                      <a:pt x="277" y="148"/>
                    </a:moveTo>
                    <a:cubicBezTo>
                      <a:pt x="280" y="147"/>
                      <a:pt x="280" y="148"/>
                      <a:pt x="281" y="147"/>
                    </a:cubicBezTo>
                    <a:cubicBezTo>
                      <a:pt x="282" y="147"/>
                      <a:pt x="281" y="146"/>
                      <a:pt x="281" y="145"/>
                    </a:cubicBezTo>
                    <a:cubicBezTo>
                      <a:pt x="281" y="144"/>
                      <a:pt x="277" y="146"/>
                      <a:pt x="275" y="148"/>
                    </a:cubicBezTo>
                    <a:cubicBezTo>
                      <a:pt x="273" y="149"/>
                      <a:pt x="275" y="148"/>
                      <a:pt x="277" y="148"/>
                    </a:cubicBezTo>
                    <a:close/>
                    <a:moveTo>
                      <a:pt x="351" y="258"/>
                    </a:moveTo>
                    <a:cubicBezTo>
                      <a:pt x="350" y="258"/>
                      <a:pt x="351" y="257"/>
                      <a:pt x="352" y="256"/>
                    </a:cubicBezTo>
                    <a:cubicBezTo>
                      <a:pt x="353" y="256"/>
                      <a:pt x="352" y="256"/>
                      <a:pt x="351" y="256"/>
                    </a:cubicBezTo>
                    <a:cubicBezTo>
                      <a:pt x="351" y="256"/>
                      <a:pt x="350" y="257"/>
                      <a:pt x="349" y="257"/>
                    </a:cubicBezTo>
                    <a:cubicBezTo>
                      <a:pt x="348" y="258"/>
                      <a:pt x="348" y="257"/>
                      <a:pt x="347" y="258"/>
                    </a:cubicBezTo>
                    <a:cubicBezTo>
                      <a:pt x="347" y="258"/>
                      <a:pt x="347" y="259"/>
                      <a:pt x="347" y="259"/>
                    </a:cubicBezTo>
                    <a:cubicBezTo>
                      <a:pt x="346" y="260"/>
                      <a:pt x="346" y="261"/>
                      <a:pt x="346" y="262"/>
                    </a:cubicBezTo>
                    <a:cubicBezTo>
                      <a:pt x="346" y="263"/>
                      <a:pt x="347" y="262"/>
                      <a:pt x="348" y="261"/>
                    </a:cubicBezTo>
                    <a:cubicBezTo>
                      <a:pt x="348" y="260"/>
                      <a:pt x="349" y="259"/>
                      <a:pt x="349" y="260"/>
                    </a:cubicBezTo>
                    <a:cubicBezTo>
                      <a:pt x="348" y="261"/>
                      <a:pt x="348" y="261"/>
                      <a:pt x="348" y="262"/>
                    </a:cubicBezTo>
                    <a:cubicBezTo>
                      <a:pt x="349" y="263"/>
                      <a:pt x="350" y="262"/>
                      <a:pt x="350" y="262"/>
                    </a:cubicBezTo>
                    <a:cubicBezTo>
                      <a:pt x="350" y="263"/>
                      <a:pt x="351" y="262"/>
                      <a:pt x="351" y="261"/>
                    </a:cubicBezTo>
                    <a:cubicBezTo>
                      <a:pt x="351" y="261"/>
                      <a:pt x="351" y="260"/>
                      <a:pt x="352" y="259"/>
                    </a:cubicBezTo>
                    <a:cubicBezTo>
                      <a:pt x="352" y="259"/>
                      <a:pt x="352" y="258"/>
                      <a:pt x="352" y="257"/>
                    </a:cubicBezTo>
                    <a:cubicBezTo>
                      <a:pt x="352" y="256"/>
                      <a:pt x="351" y="257"/>
                      <a:pt x="351" y="258"/>
                    </a:cubicBezTo>
                    <a:close/>
                    <a:moveTo>
                      <a:pt x="523" y="180"/>
                    </a:moveTo>
                    <a:cubicBezTo>
                      <a:pt x="523" y="180"/>
                      <a:pt x="522" y="180"/>
                      <a:pt x="522" y="180"/>
                    </a:cubicBezTo>
                    <a:cubicBezTo>
                      <a:pt x="522" y="180"/>
                      <a:pt x="523" y="180"/>
                      <a:pt x="522" y="179"/>
                    </a:cubicBezTo>
                    <a:cubicBezTo>
                      <a:pt x="522" y="179"/>
                      <a:pt x="522" y="179"/>
                      <a:pt x="522" y="179"/>
                    </a:cubicBezTo>
                    <a:cubicBezTo>
                      <a:pt x="521" y="179"/>
                      <a:pt x="522" y="179"/>
                      <a:pt x="523" y="178"/>
                    </a:cubicBezTo>
                    <a:cubicBezTo>
                      <a:pt x="523" y="178"/>
                      <a:pt x="522" y="178"/>
                      <a:pt x="522" y="178"/>
                    </a:cubicBezTo>
                    <a:cubicBezTo>
                      <a:pt x="523" y="178"/>
                      <a:pt x="523" y="178"/>
                      <a:pt x="523" y="178"/>
                    </a:cubicBezTo>
                    <a:cubicBezTo>
                      <a:pt x="522" y="178"/>
                      <a:pt x="521" y="178"/>
                      <a:pt x="520" y="179"/>
                    </a:cubicBezTo>
                    <a:cubicBezTo>
                      <a:pt x="520" y="179"/>
                      <a:pt x="520" y="179"/>
                      <a:pt x="519" y="179"/>
                    </a:cubicBezTo>
                    <a:cubicBezTo>
                      <a:pt x="519" y="179"/>
                      <a:pt x="519" y="179"/>
                      <a:pt x="519" y="179"/>
                    </a:cubicBezTo>
                    <a:cubicBezTo>
                      <a:pt x="519" y="179"/>
                      <a:pt x="519" y="178"/>
                      <a:pt x="519" y="178"/>
                    </a:cubicBezTo>
                    <a:cubicBezTo>
                      <a:pt x="518" y="178"/>
                      <a:pt x="518" y="178"/>
                      <a:pt x="518" y="178"/>
                    </a:cubicBezTo>
                    <a:cubicBezTo>
                      <a:pt x="518" y="178"/>
                      <a:pt x="518" y="178"/>
                      <a:pt x="518" y="178"/>
                    </a:cubicBezTo>
                    <a:cubicBezTo>
                      <a:pt x="517" y="178"/>
                      <a:pt x="517" y="178"/>
                      <a:pt x="516" y="178"/>
                    </a:cubicBezTo>
                    <a:cubicBezTo>
                      <a:pt x="516" y="178"/>
                      <a:pt x="516" y="178"/>
                      <a:pt x="516" y="178"/>
                    </a:cubicBezTo>
                    <a:cubicBezTo>
                      <a:pt x="516" y="178"/>
                      <a:pt x="516" y="179"/>
                      <a:pt x="516" y="179"/>
                    </a:cubicBezTo>
                    <a:cubicBezTo>
                      <a:pt x="516" y="179"/>
                      <a:pt x="516" y="179"/>
                      <a:pt x="516" y="179"/>
                    </a:cubicBezTo>
                    <a:cubicBezTo>
                      <a:pt x="516" y="179"/>
                      <a:pt x="515" y="179"/>
                      <a:pt x="514" y="179"/>
                    </a:cubicBezTo>
                    <a:cubicBezTo>
                      <a:pt x="514" y="179"/>
                      <a:pt x="514" y="180"/>
                      <a:pt x="513" y="180"/>
                    </a:cubicBezTo>
                    <a:cubicBezTo>
                      <a:pt x="512" y="180"/>
                      <a:pt x="511" y="179"/>
                      <a:pt x="510" y="180"/>
                    </a:cubicBezTo>
                    <a:cubicBezTo>
                      <a:pt x="511" y="180"/>
                      <a:pt x="512" y="181"/>
                      <a:pt x="511" y="181"/>
                    </a:cubicBezTo>
                    <a:cubicBezTo>
                      <a:pt x="510" y="181"/>
                      <a:pt x="510" y="180"/>
                      <a:pt x="510" y="180"/>
                    </a:cubicBezTo>
                    <a:cubicBezTo>
                      <a:pt x="509" y="180"/>
                      <a:pt x="509" y="180"/>
                      <a:pt x="509" y="179"/>
                    </a:cubicBezTo>
                    <a:cubicBezTo>
                      <a:pt x="509" y="179"/>
                      <a:pt x="509" y="179"/>
                      <a:pt x="508" y="179"/>
                    </a:cubicBezTo>
                    <a:cubicBezTo>
                      <a:pt x="508" y="179"/>
                      <a:pt x="507" y="180"/>
                      <a:pt x="506" y="180"/>
                    </a:cubicBezTo>
                    <a:cubicBezTo>
                      <a:pt x="506" y="180"/>
                      <a:pt x="507" y="180"/>
                      <a:pt x="506" y="181"/>
                    </a:cubicBezTo>
                    <a:cubicBezTo>
                      <a:pt x="506" y="181"/>
                      <a:pt x="506" y="181"/>
                      <a:pt x="506" y="181"/>
                    </a:cubicBezTo>
                    <a:cubicBezTo>
                      <a:pt x="505" y="181"/>
                      <a:pt x="505" y="180"/>
                      <a:pt x="505" y="180"/>
                    </a:cubicBezTo>
                    <a:cubicBezTo>
                      <a:pt x="505" y="180"/>
                      <a:pt x="505" y="180"/>
                      <a:pt x="505" y="180"/>
                    </a:cubicBezTo>
                    <a:cubicBezTo>
                      <a:pt x="505" y="179"/>
                      <a:pt x="504" y="179"/>
                      <a:pt x="503" y="180"/>
                    </a:cubicBezTo>
                    <a:cubicBezTo>
                      <a:pt x="503" y="180"/>
                      <a:pt x="503" y="180"/>
                      <a:pt x="503" y="180"/>
                    </a:cubicBezTo>
                    <a:cubicBezTo>
                      <a:pt x="503" y="181"/>
                      <a:pt x="503" y="181"/>
                      <a:pt x="503" y="181"/>
                    </a:cubicBezTo>
                    <a:cubicBezTo>
                      <a:pt x="503" y="181"/>
                      <a:pt x="503" y="181"/>
                      <a:pt x="503" y="181"/>
                    </a:cubicBezTo>
                    <a:cubicBezTo>
                      <a:pt x="503" y="182"/>
                      <a:pt x="503" y="182"/>
                      <a:pt x="502" y="182"/>
                    </a:cubicBezTo>
                    <a:cubicBezTo>
                      <a:pt x="502" y="181"/>
                      <a:pt x="502" y="181"/>
                      <a:pt x="502" y="181"/>
                    </a:cubicBezTo>
                    <a:cubicBezTo>
                      <a:pt x="501" y="181"/>
                      <a:pt x="501" y="182"/>
                      <a:pt x="501" y="182"/>
                    </a:cubicBezTo>
                    <a:cubicBezTo>
                      <a:pt x="500" y="182"/>
                      <a:pt x="501" y="182"/>
                      <a:pt x="500" y="183"/>
                    </a:cubicBezTo>
                    <a:cubicBezTo>
                      <a:pt x="500" y="183"/>
                      <a:pt x="500" y="183"/>
                      <a:pt x="500" y="183"/>
                    </a:cubicBezTo>
                    <a:cubicBezTo>
                      <a:pt x="500" y="183"/>
                      <a:pt x="500" y="183"/>
                      <a:pt x="500" y="183"/>
                    </a:cubicBezTo>
                    <a:cubicBezTo>
                      <a:pt x="499" y="183"/>
                      <a:pt x="500" y="182"/>
                      <a:pt x="500" y="182"/>
                    </a:cubicBezTo>
                    <a:cubicBezTo>
                      <a:pt x="499" y="182"/>
                      <a:pt x="499" y="181"/>
                      <a:pt x="498" y="181"/>
                    </a:cubicBezTo>
                    <a:cubicBezTo>
                      <a:pt x="499" y="181"/>
                      <a:pt x="499" y="181"/>
                      <a:pt x="499" y="181"/>
                    </a:cubicBezTo>
                    <a:cubicBezTo>
                      <a:pt x="499" y="181"/>
                      <a:pt x="499" y="181"/>
                      <a:pt x="500" y="181"/>
                    </a:cubicBezTo>
                    <a:cubicBezTo>
                      <a:pt x="500" y="181"/>
                      <a:pt x="500" y="181"/>
                      <a:pt x="500" y="180"/>
                    </a:cubicBezTo>
                    <a:cubicBezTo>
                      <a:pt x="500" y="180"/>
                      <a:pt x="500" y="180"/>
                      <a:pt x="500" y="180"/>
                    </a:cubicBezTo>
                    <a:cubicBezTo>
                      <a:pt x="499" y="180"/>
                      <a:pt x="499" y="180"/>
                      <a:pt x="499" y="179"/>
                    </a:cubicBezTo>
                    <a:cubicBezTo>
                      <a:pt x="499" y="179"/>
                      <a:pt x="498" y="179"/>
                      <a:pt x="498" y="179"/>
                    </a:cubicBezTo>
                    <a:cubicBezTo>
                      <a:pt x="497" y="179"/>
                      <a:pt x="498" y="178"/>
                      <a:pt x="497" y="178"/>
                    </a:cubicBezTo>
                    <a:cubicBezTo>
                      <a:pt x="496" y="178"/>
                      <a:pt x="495" y="178"/>
                      <a:pt x="495" y="179"/>
                    </a:cubicBezTo>
                    <a:cubicBezTo>
                      <a:pt x="495" y="179"/>
                      <a:pt x="495" y="179"/>
                      <a:pt x="495" y="179"/>
                    </a:cubicBezTo>
                    <a:cubicBezTo>
                      <a:pt x="495" y="179"/>
                      <a:pt x="496" y="179"/>
                      <a:pt x="496" y="179"/>
                    </a:cubicBezTo>
                    <a:cubicBezTo>
                      <a:pt x="496" y="179"/>
                      <a:pt x="496" y="179"/>
                      <a:pt x="496" y="179"/>
                    </a:cubicBezTo>
                    <a:cubicBezTo>
                      <a:pt x="496" y="179"/>
                      <a:pt x="496" y="179"/>
                      <a:pt x="496" y="179"/>
                    </a:cubicBezTo>
                    <a:cubicBezTo>
                      <a:pt x="496" y="179"/>
                      <a:pt x="496" y="179"/>
                      <a:pt x="496" y="180"/>
                    </a:cubicBezTo>
                    <a:cubicBezTo>
                      <a:pt x="497" y="180"/>
                      <a:pt x="497" y="180"/>
                      <a:pt x="496" y="181"/>
                    </a:cubicBezTo>
                    <a:cubicBezTo>
                      <a:pt x="496" y="180"/>
                      <a:pt x="495" y="180"/>
                      <a:pt x="494" y="179"/>
                    </a:cubicBezTo>
                    <a:cubicBezTo>
                      <a:pt x="494" y="179"/>
                      <a:pt x="493" y="179"/>
                      <a:pt x="493" y="180"/>
                    </a:cubicBezTo>
                    <a:cubicBezTo>
                      <a:pt x="493" y="180"/>
                      <a:pt x="494" y="180"/>
                      <a:pt x="493" y="180"/>
                    </a:cubicBezTo>
                    <a:cubicBezTo>
                      <a:pt x="493" y="180"/>
                      <a:pt x="492" y="180"/>
                      <a:pt x="492" y="180"/>
                    </a:cubicBezTo>
                    <a:cubicBezTo>
                      <a:pt x="492" y="180"/>
                      <a:pt x="493" y="180"/>
                      <a:pt x="493" y="180"/>
                    </a:cubicBezTo>
                    <a:cubicBezTo>
                      <a:pt x="492" y="180"/>
                      <a:pt x="492" y="180"/>
                      <a:pt x="492" y="180"/>
                    </a:cubicBezTo>
                    <a:cubicBezTo>
                      <a:pt x="492" y="181"/>
                      <a:pt x="492" y="181"/>
                      <a:pt x="493" y="181"/>
                    </a:cubicBezTo>
                    <a:cubicBezTo>
                      <a:pt x="493" y="181"/>
                      <a:pt x="493" y="181"/>
                      <a:pt x="493" y="181"/>
                    </a:cubicBezTo>
                    <a:cubicBezTo>
                      <a:pt x="493" y="181"/>
                      <a:pt x="493" y="181"/>
                      <a:pt x="492" y="181"/>
                    </a:cubicBezTo>
                    <a:cubicBezTo>
                      <a:pt x="492" y="181"/>
                      <a:pt x="492" y="181"/>
                      <a:pt x="491" y="181"/>
                    </a:cubicBezTo>
                    <a:cubicBezTo>
                      <a:pt x="491" y="181"/>
                      <a:pt x="491" y="181"/>
                      <a:pt x="491" y="181"/>
                    </a:cubicBezTo>
                    <a:cubicBezTo>
                      <a:pt x="491" y="181"/>
                      <a:pt x="491" y="181"/>
                      <a:pt x="491" y="181"/>
                    </a:cubicBezTo>
                    <a:cubicBezTo>
                      <a:pt x="491" y="181"/>
                      <a:pt x="491" y="182"/>
                      <a:pt x="491" y="182"/>
                    </a:cubicBezTo>
                    <a:cubicBezTo>
                      <a:pt x="490" y="181"/>
                      <a:pt x="490" y="181"/>
                      <a:pt x="489" y="182"/>
                    </a:cubicBezTo>
                    <a:cubicBezTo>
                      <a:pt x="489" y="182"/>
                      <a:pt x="489" y="182"/>
                      <a:pt x="489" y="182"/>
                    </a:cubicBezTo>
                    <a:cubicBezTo>
                      <a:pt x="489" y="182"/>
                      <a:pt x="489" y="182"/>
                      <a:pt x="490" y="182"/>
                    </a:cubicBezTo>
                    <a:cubicBezTo>
                      <a:pt x="490" y="182"/>
                      <a:pt x="491" y="182"/>
                      <a:pt x="492" y="182"/>
                    </a:cubicBezTo>
                    <a:cubicBezTo>
                      <a:pt x="493" y="182"/>
                      <a:pt x="493" y="182"/>
                      <a:pt x="494" y="182"/>
                    </a:cubicBezTo>
                    <a:cubicBezTo>
                      <a:pt x="494" y="182"/>
                      <a:pt x="494" y="182"/>
                      <a:pt x="494" y="182"/>
                    </a:cubicBezTo>
                    <a:cubicBezTo>
                      <a:pt x="495" y="182"/>
                      <a:pt x="495" y="182"/>
                      <a:pt x="495" y="182"/>
                    </a:cubicBezTo>
                    <a:cubicBezTo>
                      <a:pt x="496" y="182"/>
                      <a:pt x="497" y="182"/>
                      <a:pt x="498" y="182"/>
                    </a:cubicBezTo>
                    <a:cubicBezTo>
                      <a:pt x="498" y="182"/>
                      <a:pt x="498" y="182"/>
                      <a:pt x="498" y="182"/>
                    </a:cubicBezTo>
                    <a:cubicBezTo>
                      <a:pt x="497" y="182"/>
                      <a:pt x="495" y="183"/>
                      <a:pt x="495" y="183"/>
                    </a:cubicBezTo>
                    <a:cubicBezTo>
                      <a:pt x="495" y="183"/>
                      <a:pt x="496" y="183"/>
                      <a:pt x="496" y="183"/>
                    </a:cubicBezTo>
                    <a:cubicBezTo>
                      <a:pt x="496" y="183"/>
                      <a:pt x="496" y="183"/>
                      <a:pt x="496" y="183"/>
                    </a:cubicBezTo>
                    <a:cubicBezTo>
                      <a:pt x="496" y="184"/>
                      <a:pt x="498" y="183"/>
                      <a:pt x="497" y="183"/>
                    </a:cubicBezTo>
                    <a:cubicBezTo>
                      <a:pt x="497" y="184"/>
                      <a:pt x="495" y="184"/>
                      <a:pt x="494" y="184"/>
                    </a:cubicBezTo>
                    <a:cubicBezTo>
                      <a:pt x="492" y="184"/>
                      <a:pt x="491" y="184"/>
                      <a:pt x="490" y="184"/>
                    </a:cubicBezTo>
                    <a:cubicBezTo>
                      <a:pt x="490" y="185"/>
                      <a:pt x="490" y="185"/>
                      <a:pt x="490" y="185"/>
                    </a:cubicBezTo>
                    <a:cubicBezTo>
                      <a:pt x="490" y="185"/>
                      <a:pt x="490" y="185"/>
                      <a:pt x="490" y="185"/>
                    </a:cubicBezTo>
                    <a:cubicBezTo>
                      <a:pt x="491" y="185"/>
                      <a:pt x="491" y="185"/>
                      <a:pt x="491" y="185"/>
                    </a:cubicBezTo>
                    <a:cubicBezTo>
                      <a:pt x="492" y="185"/>
                      <a:pt x="494" y="184"/>
                      <a:pt x="495" y="185"/>
                    </a:cubicBezTo>
                    <a:cubicBezTo>
                      <a:pt x="495" y="185"/>
                      <a:pt x="494" y="185"/>
                      <a:pt x="495" y="185"/>
                    </a:cubicBezTo>
                    <a:cubicBezTo>
                      <a:pt x="495" y="185"/>
                      <a:pt x="495" y="185"/>
                      <a:pt x="495" y="185"/>
                    </a:cubicBezTo>
                    <a:cubicBezTo>
                      <a:pt x="495" y="186"/>
                      <a:pt x="496" y="185"/>
                      <a:pt x="496" y="186"/>
                    </a:cubicBezTo>
                    <a:cubicBezTo>
                      <a:pt x="497" y="186"/>
                      <a:pt x="496" y="186"/>
                      <a:pt x="496" y="186"/>
                    </a:cubicBezTo>
                    <a:cubicBezTo>
                      <a:pt x="496" y="186"/>
                      <a:pt x="497" y="186"/>
                      <a:pt x="497" y="186"/>
                    </a:cubicBezTo>
                    <a:cubicBezTo>
                      <a:pt x="497" y="186"/>
                      <a:pt x="497" y="186"/>
                      <a:pt x="497" y="186"/>
                    </a:cubicBezTo>
                    <a:cubicBezTo>
                      <a:pt x="497" y="186"/>
                      <a:pt x="496" y="186"/>
                      <a:pt x="496" y="186"/>
                    </a:cubicBezTo>
                    <a:cubicBezTo>
                      <a:pt x="496" y="187"/>
                      <a:pt x="494" y="187"/>
                      <a:pt x="493" y="188"/>
                    </a:cubicBezTo>
                    <a:cubicBezTo>
                      <a:pt x="493" y="188"/>
                      <a:pt x="493" y="188"/>
                      <a:pt x="493" y="188"/>
                    </a:cubicBezTo>
                    <a:cubicBezTo>
                      <a:pt x="492" y="188"/>
                      <a:pt x="492" y="188"/>
                      <a:pt x="493" y="188"/>
                    </a:cubicBezTo>
                    <a:cubicBezTo>
                      <a:pt x="493" y="188"/>
                      <a:pt x="494" y="188"/>
                      <a:pt x="494" y="188"/>
                    </a:cubicBezTo>
                    <a:cubicBezTo>
                      <a:pt x="495" y="188"/>
                      <a:pt x="496" y="188"/>
                      <a:pt x="497" y="188"/>
                    </a:cubicBezTo>
                    <a:cubicBezTo>
                      <a:pt x="497" y="188"/>
                      <a:pt x="497" y="188"/>
                      <a:pt x="497" y="188"/>
                    </a:cubicBezTo>
                    <a:cubicBezTo>
                      <a:pt x="500" y="188"/>
                      <a:pt x="500" y="189"/>
                      <a:pt x="502" y="189"/>
                    </a:cubicBezTo>
                    <a:cubicBezTo>
                      <a:pt x="502" y="189"/>
                      <a:pt x="502" y="189"/>
                      <a:pt x="502" y="189"/>
                    </a:cubicBezTo>
                    <a:cubicBezTo>
                      <a:pt x="504" y="189"/>
                      <a:pt x="505" y="190"/>
                      <a:pt x="506" y="190"/>
                    </a:cubicBezTo>
                    <a:cubicBezTo>
                      <a:pt x="507" y="189"/>
                      <a:pt x="508" y="189"/>
                      <a:pt x="509" y="189"/>
                    </a:cubicBezTo>
                    <a:cubicBezTo>
                      <a:pt x="510" y="189"/>
                      <a:pt x="510" y="188"/>
                      <a:pt x="511" y="188"/>
                    </a:cubicBezTo>
                    <a:cubicBezTo>
                      <a:pt x="512" y="188"/>
                      <a:pt x="513" y="188"/>
                      <a:pt x="514" y="188"/>
                    </a:cubicBezTo>
                    <a:cubicBezTo>
                      <a:pt x="514" y="188"/>
                      <a:pt x="515" y="188"/>
                      <a:pt x="515" y="187"/>
                    </a:cubicBezTo>
                    <a:cubicBezTo>
                      <a:pt x="515" y="187"/>
                      <a:pt x="516" y="187"/>
                      <a:pt x="516" y="187"/>
                    </a:cubicBezTo>
                    <a:cubicBezTo>
                      <a:pt x="516" y="187"/>
                      <a:pt x="517" y="187"/>
                      <a:pt x="518" y="186"/>
                    </a:cubicBezTo>
                    <a:cubicBezTo>
                      <a:pt x="519" y="186"/>
                      <a:pt x="519" y="186"/>
                      <a:pt x="520" y="186"/>
                    </a:cubicBezTo>
                    <a:cubicBezTo>
                      <a:pt x="521" y="186"/>
                      <a:pt x="521" y="186"/>
                      <a:pt x="521" y="186"/>
                    </a:cubicBezTo>
                    <a:cubicBezTo>
                      <a:pt x="521" y="185"/>
                      <a:pt x="522" y="185"/>
                      <a:pt x="522" y="185"/>
                    </a:cubicBezTo>
                    <a:cubicBezTo>
                      <a:pt x="523" y="185"/>
                      <a:pt x="523" y="185"/>
                      <a:pt x="523" y="185"/>
                    </a:cubicBezTo>
                    <a:cubicBezTo>
                      <a:pt x="522" y="185"/>
                      <a:pt x="523" y="184"/>
                      <a:pt x="523" y="184"/>
                    </a:cubicBezTo>
                    <a:cubicBezTo>
                      <a:pt x="523" y="184"/>
                      <a:pt x="524" y="184"/>
                      <a:pt x="524" y="184"/>
                    </a:cubicBezTo>
                    <a:cubicBezTo>
                      <a:pt x="524" y="184"/>
                      <a:pt x="524" y="184"/>
                      <a:pt x="524" y="184"/>
                    </a:cubicBezTo>
                    <a:cubicBezTo>
                      <a:pt x="525" y="183"/>
                      <a:pt x="525" y="183"/>
                      <a:pt x="525" y="183"/>
                    </a:cubicBezTo>
                    <a:cubicBezTo>
                      <a:pt x="525" y="183"/>
                      <a:pt x="525" y="183"/>
                      <a:pt x="526" y="183"/>
                    </a:cubicBezTo>
                    <a:cubicBezTo>
                      <a:pt x="526" y="183"/>
                      <a:pt x="526" y="182"/>
                      <a:pt x="526" y="182"/>
                    </a:cubicBezTo>
                    <a:cubicBezTo>
                      <a:pt x="526" y="182"/>
                      <a:pt x="525" y="182"/>
                      <a:pt x="524" y="182"/>
                    </a:cubicBezTo>
                    <a:cubicBezTo>
                      <a:pt x="525" y="182"/>
                      <a:pt x="526" y="181"/>
                      <a:pt x="525" y="181"/>
                    </a:cubicBezTo>
                    <a:cubicBezTo>
                      <a:pt x="525" y="181"/>
                      <a:pt x="525" y="181"/>
                      <a:pt x="524" y="181"/>
                    </a:cubicBezTo>
                    <a:cubicBezTo>
                      <a:pt x="524" y="181"/>
                      <a:pt x="524" y="181"/>
                      <a:pt x="524" y="181"/>
                    </a:cubicBezTo>
                    <a:cubicBezTo>
                      <a:pt x="523" y="181"/>
                      <a:pt x="523" y="180"/>
                      <a:pt x="523" y="180"/>
                    </a:cubicBezTo>
                    <a:close/>
                    <a:moveTo>
                      <a:pt x="525" y="234"/>
                    </a:moveTo>
                    <a:cubicBezTo>
                      <a:pt x="524" y="234"/>
                      <a:pt x="525" y="234"/>
                      <a:pt x="524" y="234"/>
                    </a:cubicBezTo>
                    <a:cubicBezTo>
                      <a:pt x="524" y="235"/>
                      <a:pt x="524" y="235"/>
                      <a:pt x="523" y="235"/>
                    </a:cubicBezTo>
                    <a:cubicBezTo>
                      <a:pt x="523" y="235"/>
                      <a:pt x="523" y="235"/>
                      <a:pt x="523" y="235"/>
                    </a:cubicBezTo>
                    <a:cubicBezTo>
                      <a:pt x="524" y="236"/>
                      <a:pt x="524" y="236"/>
                      <a:pt x="525" y="236"/>
                    </a:cubicBezTo>
                    <a:cubicBezTo>
                      <a:pt x="526" y="235"/>
                      <a:pt x="525" y="236"/>
                      <a:pt x="525" y="236"/>
                    </a:cubicBezTo>
                    <a:cubicBezTo>
                      <a:pt x="525" y="236"/>
                      <a:pt x="524" y="236"/>
                      <a:pt x="524" y="237"/>
                    </a:cubicBezTo>
                    <a:cubicBezTo>
                      <a:pt x="523" y="237"/>
                      <a:pt x="524" y="238"/>
                      <a:pt x="524" y="237"/>
                    </a:cubicBezTo>
                    <a:cubicBezTo>
                      <a:pt x="523" y="237"/>
                      <a:pt x="524" y="237"/>
                      <a:pt x="522" y="237"/>
                    </a:cubicBezTo>
                    <a:cubicBezTo>
                      <a:pt x="522" y="237"/>
                      <a:pt x="522" y="237"/>
                      <a:pt x="521" y="237"/>
                    </a:cubicBezTo>
                    <a:cubicBezTo>
                      <a:pt x="521" y="237"/>
                      <a:pt x="520" y="236"/>
                      <a:pt x="519" y="236"/>
                    </a:cubicBezTo>
                    <a:cubicBezTo>
                      <a:pt x="519" y="237"/>
                      <a:pt x="519" y="236"/>
                      <a:pt x="518" y="237"/>
                    </a:cubicBezTo>
                    <a:cubicBezTo>
                      <a:pt x="518" y="237"/>
                      <a:pt x="518" y="237"/>
                      <a:pt x="518" y="237"/>
                    </a:cubicBezTo>
                    <a:cubicBezTo>
                      <a:pt x="519" y="237"/>
                      <a:pt x="519" y="238"/>
                      <a:pt x="519" y="238"/>
                    </a:cubicBezTo>
                    <a:cubicBezTo>
                      <a:pt x="518" y="238"/>
                      <a:pt x="518" y="238"/>
                      <a:pt x="517" y="238"/>
                    </a:cubicBezTo>
                    <a:cubicBezTo>
                      <a:pt x="517" y="238"/>
                      <a:pt x="518" y="238"/>
                      <a:pt x="518" y="238"/>
                    </a:cubicBezTo>
                    <a:cubicBezTo>
                      <a:pt x="518" y="238"/>
                      <a:pt x="519" y="238"/>
                      <a:pt x="519" y="238"/>
                    </a:cubicBezTo>
                    <a:cubicBezTo>
                      <a:pt x="520" y="239"/>
                      <a:pt x="520" y="239"/>
                      <a:pt x="519" y="239"/>
                    </a:cubicBezTo>
                    <a:cubicBezTo>
                      <a:pt x="518" y="239"/>
                      <a:pt x="518" y="239"/>
                      <a:pt x="519" y="240"/>
                    </a:cubicBezTo>
                    <a:cubicBezTo>
                      <a:pt x="519" y="240"/>
                      <a:pt x="518" y="240"/>
                      <a:pt x="518" y="240"/>
                    </a:cubicBezTo>
                    <a:cubicBezTo>
                      <a:pt x="517" y="240"/>
                      <a:pt x="518" y="240"/>
                      <a:pt x="517" y="240"/>
                    </a:cubicBezTo>
                    <a:cubicBezTo>
                      <a:pt x="517" y="240"/>
                      <a:pt x="518" y="241"/>
                      <a:pt x="518" y="240"/>
                    </a:cubicBezTo>
                    <a:cubicBezTo>
                      <a:pt x="519" y="240"/>
                      <a:pt x="519" y="241"/>
                      <a:pt x="518" y="241"/>
                    </a:cubicBezTo>
                    <a:cubicBezTo>
                      <a:pt x="518" y="241"/>
                      <a:pt x="519" y="241"/>
                      <a:pt x="519" y="241"/>
                    </a:cubicBezTo>
                    <a:cubicBezTo>
                      <a:pt x="519" y="241"/>
                      <a:pt x="520" y="241"/>
                      <a:pt x="519" y="241"/>
                    </a:cubicBezTo>
                    <a:cubicBezTo>
                      <a:pt x="519" y="242"/>
                      <a:pt x="521" y="241"/>
                      <a:pt x="521" y="241"/>
                    </a:cubicBezTo>
                    <a:cubicBezTo>
                      <a:pt x="522" y="241"/>
                      <a:pt x="522" y="242"/>
                      <a:pt x="521" y="242"/>
                    </a:cubicBezTo>
                    <a:cubicBezTo>
                      <a:pt x="520" y="242"/>
                      <a:pt x="520" y="242"/>
                      <a:pt x="520" y="243"/>
                    </a:cubicBezTo>
                    <a:cubicBezTo>
                      <a:pt x="519" y="243"/>
                      <a:pt x="520" y="243"/>
                      <a:pt x="520" y="243"/>
                    </a:cubicBezTo>
                    <a:cubicBezTo>
                      <a:pt x="520" y="243"/>
                      <a:pt x="520" y="244"/>
                      <a:pt x="519" y="244"/>
                    </a:cubicBezTo>
                    <a:cubicBezTo>
                      <a:pt x="519" y="243"/>
                      <a:pt x="519" y="244"/>
                      <a:pt x="518" y="244"/>
                    </a:cubicBezTo>
                    <a:cubicBezTo>
                      <a:pt x="518" y="244"/>
                      <a:pt x="518" y="244"/>
                      <a:pt x="518" y="244"/>
                    </a:cubicBezTo>
                    <a:cubicBezTo>
                      <a:pt x="519" y="244"/>
                      <a:pt x="519" y="244"/>
                      <a:pt x="520" y="244"/>
                    </a:cubicBezTo>
                    <a:cubicBezTo>
                      <a:pt x="520" y="245"/>
                      <a:pt x="521" y="244"/>
                      <a:pt x="521" y="244"/>
                    </a:cubicBezTo>
                    <a:cubicBezTo>
                      <a:pt x="522" y="243"/>
                      <a:pt x="522" y="243"/>
                      <a:pt x="522" y="244"/>
                    </a:cubicBezTo>
                    <a:cubicBezTo>
                      <a:pt x="521" y="244"/>
                      <a:pt x="522" y="244"/>
                      <a:pt x="523" y="244"/>
                    </a:cubicBezTo>
                    <a:cubicBezTo>
                      <a:pt x="522" y="244"/>
                      <a:pt x="520" y="244"/>
                      <a:pt x="519" y="244"/>
                    </a:cubicBezTo>
                    <a:cubicBezTo>
                      <a:pt x="518" y="244"/>
                      <a:pt x="519" y="245"/>
                      <a:pt x="518" y="245"/>
                    </a:cubicBezTo>
                    <a:cubicBezTo>
                      <a:pt x="517" y="245"/>
                      <a:pt x="518" y="245"/>
                      <a:pt x="518" y="245"/>
                    </a:cubicBezTo>
                    <a:cubicBezTo>
                      <a:pt x="518" y="246"/>
                      <a:pt x="518" y="246"/>
                      <a:pt x="518" y="246"/>
                    </a:cubicBezTo>
                    <a:cubicBezTo>
                      <a:pt x="518" y="246"/>
                      <a:pt x="517" y="245"/>
                      <a:pt x="517" y="246"/>
                    </a:cubicBezTo>
                    <a:cubicBezTo>
                      <a:pt x="517" y="246"/>
                      <a:pt x="517" y="246"/>
                      <a:pt x="516" y="246"/>
                    </a:cubicBezTo>
                    <a:cubicBezTo>
                      <a:pt x="515" y="246"/>
                      <a:pt x="515" y="247"/>
                      <a:pt x="515" y="246"/>
                    </a:cubicBezTo>
                    <a:cubicBezTo>
                      <a:pt x="516" y="246"/>
                      <a:pt x="516" y="247"/>
                      <a:pt x="516" y="246"/>
                    </a:cubicBezTo>
                    <a:cubicBezTo>
                      <a:pt x="517" y="246"/>
                      <a:pt x="518" y="246"/>
                      <a:pt x="518" y="246"/>
                    </a:cubicBezTo>
                    <a:cubicBezTo>
                      <a:pt x="518" y="246"/>
                      <a:pt x="518" y="246"/>
                      <a:pt x="517" y="247"/>
                    </a:cubicBezTo>
                    <a:cubicBezTo>
                      <a:pt x="517" y="247"/>
                      <a:pt x="516" y="247"/>
                      <a:pt x="515" y="247"/>
                    </a:cubicBezTo>
                    <a:cubicBezTo>
                      <a:pt x="515" y="248"/>
                      <a:pt x="515" y="248"/>
                      <a:pt x="516" y="248"/>
                    </a:cubicBezTo>
                    <a:cubicBezTo>
                      <a:pt x="516" y="247"/>
                      <a:pt x="516" y="248"/>
                      <a:pt x="517" y="248"/>
                    </a:cubicBezTo>
                    <a:cubicBezTo>
                      <a:pt x="518" y="248"/>
                      <a:pt x="519" y="248"/>
                      <a:pt x="519" y="248"/>
                    </a:cubicBezTo>
                    <a:cubicBezTo>
                      <a:pt x="519" y="248"/>
                      <a:pt x="517" y="248"/>
                      <a:pt x="517" y="248"/>
                    </a:cubicBezTo>
                    <a:cubicBezTo>
                      <a:pt x="516" y="249"/>
                      <a:pt x="516" y="249"/>
                      <a:pt x="517" y="249"/>
                    </a:cubicBezTo>
                    <a:cubicBezTo>
                      <a:pt x="518" y="248"/>
                      <a:pt x="518" y="249"/>
                      <a:pt x="519" y="248"/>
                    </a:cubicBezTo>
                    <a:cubicBezTo>
                      <a:pt x="520" y="248"/>
                      <a:pt x="517" y="249"/>
                      <a:pt x="518" y="249"/>
                    </a:cubicBezTo>
                    <a:cubicBezTo>
                      <a:pt x="518" y="249"/>
                      <a:pt x="517" y="250"/>
                      <a:pt x="518" y="249"/>
                    </a:cubicBezTo>
                    <a:cubicBezTo>
                      <a:pt x="518" y="249"/>
                      <a:pt x="519" y="249"/>
                      <a:pt x="519" y="249"/>
                    </a:cubicBezTo>
                    <a:cubicBezTo>
                      <a:pt x="520" y="250"/>
                      <a:pt x="520" y="249"/>
                      <a:pt x="521" y="249"/>
                    </a:cubicBezTo>
                    <a:cubicBezTo>
                      <a:pt x="522" y="249"/>
                      <a:pt x="522" y="249"/>
                      <a:pt x="523" y="249"/>
                    </a:cubicBezTo>
                    <a:cubicBezTo>
                      <a:pt x="523" y="249"/>
                      <a:pt x="523" y="248"/>
                      <a:pt x="524" y="248"/>
                    </a:cubicBezTo>
                    <a:cubicBezTo>
                      <a:pt x="525" y="248"/>
                      <a:pt x="525" y="248"/>
                      <a:pt x="525" y="248"/>
                    </a:cubicBezTo>
                    <a:cubicBezTo>
                      <a:pt x="526" y="248"/>
                      <a:pt x="526" y="247"/>
                      <a:pt x="526" y="247"/>
                    </a:cubicBezTo>
                    <a:cubicBezTo>
                      <a:pt x="527" y="247"/>
                      <a:pt x="527" y="247"/>
                      <a:pt x="527" y="247"/>
                    </a:cubicBezTo>
                    <a:cubicBezTo>
                      <a:pt x="528" y="247"/>
                      <a:pt x="529" y="247"/>
                      <a:pt x="529" y="247"/>
                    </a:cubicBezTo>
                    <a:cubicBezTo>
                      <a:pt x="529" y="247"/>
                      <a:pt x="529" y="246"/>
                      <a:pt x="529" y="246"/>
                    </a:cubicBezTo>
                    <a:cubicBezTo>
                      <a:pt x="529" y="246"/>
                      <a:pt x="529" y="247"/>
                      <a:pt x="529" y="247"/>
                    </a:cubicBezTo>
                    <a:cubicBezTo>
                      <a:pt x="529" y="247"/>
                      <a:pt x="530" y="246"/>
                      <a:pt x="530" y="247"/>
                    </a:cubicBezTo>
                    <a:cubicBezTo>
                      <a:pt x="531" y="247"/>
                      <a:pt x="531" y="247"/>
                      <a:pt x="532" y="247"/>
                    </a:cubicBezTo>
                    <a:cubicBezTo>
                      <a:pt x="532" y="247"/>
                      <a:pt x="531" y="246"/>
                      <a:pt x="532" y="246"/>
                    </a:cubicBezTo>
                    <a:cubicBezTo>
                      <a:pt x="532" y="246"/>
                      <a:pt x="532" y="246"/>
                      <a:pt x="532" y="245"/>
                    </a:cubicBezTo>
                    <a:cubicBezTo>
                      <a:pt x="533" y="245"/>
                      <a:pt x="532" y="245"/>
                      <a:pt x="533" y="244"/>
                    </a:cubicBezTo>
                    <a:cubicBezTo>
                      <a:pt x="533" y="244"/>
                      <a:pt x="533" y="244"/>
                      <a:pt x="533" y="244"/>
                    </a:cubicBezTo>
                    <a:cubicBezTo>
                      <a:pt x="533" y="243"/>
                      <a:pt x="533" y="243"/>
                      <a:pt x="533" y="242"/>
                    </a:cubicBezTo>
                    <a:cubicBezTo>
                      <a:pt x="533" y="242"/>
                      <a:pt x="532" y="242"/>
                      <a:pt x="533" y="242"/>
                    </a:cubicBezTo>
                    <a:cubicBezTo>
                      <a:pt x="533" y="241"/>
                      <a:pt x="532" y="241"/>
                      <a:pt x="533" y="241"/>
                    </a:cubicBezTo>
                    <a:cubicBezTo>
                      <a:pt x="533" y="241"/>
                      <a:pt x="532" y="240"/>
                      <a:pt x="532" y="240"/>
                    </a:cubicBezTo>
                    <a:cubicBezTo>
                      <a:pt x="532" y="240"/>
                      <a:pt x="532" y="239"/>
                      <a:pt x="532" y="239"/>
                    </a:cubicBezTo>
                    <a:cubicBezTo>
                      <a:pt x="532" y="239"/>
                      <a:pt x="532" y="239"/>
                      <a:pt x="532" y="239"/>
                    </a:cubicBezTo>
                    <a:cubicBezTo>
                      <a:pt x="533" y="239"/>
                      <a:pt x="533" y="238"/>
                      <a:pt x="533" y="239"/>
                    </a:cubicBezTo>
                    <a:cubicBezTo>
                      <a:pt x="533" y="239"/>
                      <a:pt x="534" y="238"/>
                      <a:pt x="534" y="238"/>
                    </a:cubicBezTo>
                    <a:cubicBezTo>
                      <a:pt x="534" y="238"/>
                      <a:pt x="534" y="238"/>
                      <a:pt x="534" y="238"/>
                    </a:cubicBezTo>
                    <a:cubicBezTo>
                      <a:pt x="535" y="238"/>
                      <a:pt x="535" y="238"/>
                      <a:pt x="535" y="237"/>
                    </a:cubicBezTo>
                    <a:cubicBezTo>
                      <a:pt x="536" y="237"/>
                      <a:pt x="535" y="237"/>
                      <a:pt x="535" y="236"/>
                    </a:cubicBezTo>
                    <a:cubicBezTo>
                      <a:pt x="535" y="236"/>
                      <a:pt x="535" y="236"/>
                      <a:pt x="534" y="236"/>
                    </a:cubicBezTo>
                    <a:cubicBezTo>
                      <a:pt x="534" y="236"/>
                      <a:pt x="534" y="236"/>
                      <a:pt x="534" y="236"/>
                    </a:cubicBezTo>
                    <a:cubicBezTo>
                      <a:pt x="534" y="236"/>
                      <a:pt x="534" y="236"/>
                      <a:pt x="534" y="236"/>
                    </a:cubicBezTo>
                    <a:cubicBezTo>
                      <a:pt x="535" y="235"/>
                      <a:pt x="535" y="235"/>
                      <a:pt x="535" y="235"/>
                    </a:cubicBezTo>
                    <a:cubicBezTo>
                      <a:pt x="534" y="235"/>
                      <a:pt x="534" y="235"/>
                      <a:pt x="534" y="234"/>
                    </a:cubicBezTo>
                    <a:cubicBezTo>
                      <a:pt x="534" y="234"/>
                      <a:pt x="534" y="234"/>
                      <a:pt x="534" y="234"/>
                    </a:cubicBezTo>
                    <a:cubicBezTo>
                      <a:pt x="533" y="234"/>
                      <a:pt x="534" y="233"/>
                      <a:pt x="533" y="233"/>
                    </a:cubicBezTo>
                    <a:cubicBezTo>
                      <a:pt x="533" y="233"/>
                      <a:pt x="532" y="233"/>
                      <a:pt x="532" y="233"/>
                    </a:cubicBezTo>
                    <a:cubicBezTo>
                      <a:pt x="531" y="233"/>
                      <a:pt x="531" y="233"/>
                      <a:pt x="530" y="233"/>
                    </a:cubicBezTo>
                    <a:cubicBezTo>
                      <a:pt x="530" y="234"/>
                      <a:pt x="529" y="234"/>
                      <a:pt x="529" y="234"/>
                    </a:cubicBezTo>
                    <a:cubicBezTo>
                      <a:pt x="529" y="234"/>
                      <a:pt x="529" y="233"/>
                      <a:pt x="530" y="233"/>
                    </a:cubicBezTo>
                    <a:cubicBezTo>
                      <a:pt x="531" y="233"/>
                      <a:pt x="530" y="233"/>
                      <a:pt x="529" y="233"/>
                    </a:cubicBezTo>
                    <a:cubicBezTo>
                      <a:pt x="529" y="232"/>
                      <a:pt x="529" y="233"/>
                      <a:pt x="528" y="233"/>
                    </a:cubicBezTo>
                    <a:cubicBezTo>
                      <a:pt x="528" y="233"/>
                      <a:pt x="529" y="233"/>
                      <a:pt x="528" y="234"/>
                    </a:cubicBezTo>
                    <a:cubicBezTo>
                      <a:pt x="528" y="233"/>
                      <a:pt x="528" y="233"/>
                      <a:pt x="528" y="233"/>
                    </a:cubicBezTo>
                    <a:cubicBezTo>
                      <a:pt x="527" y="232"/>
                      <a:pt x="527" y="233"/>
                      <a:pt x="527" y="233"/>
                    </a:cubicBezTo>
                    <a:cubicBezTo>
                      <a:pt x="526" y="233"/>
                      <a:pt x="526" y="233"/>
                      <a:pt x="525" y="233"/>
                    </a:cubicBezTo>
                    <a:cubicBezTo>
                      <a:pt x="525" y="233"/>
                      <a:pt x="525" y="233"/>
                      <a:pt x="525" y="234"/>
                    </a:cubicBezTo>
                    <a:close/>
                    <a:moveTo>
                      <a:pt x="535" y="227"/>
                    </a:moveTo>
                    <a:cubicBezTo>
                      <a:pt x="535" y="228"/>
                      <a:pt x="537" y="227"/>
                      <a:pt x="536" y="228"/>
                    </a:cubicBezTo>
                    <a:cubicBezTo>
                      <a:pt x="536" y="228"/>
                      <a:pt x="536" y="228"/>
                      <a:pt x="536" y="228"/>
                    </a:cubicBezTo>
                    <a:cubicBezTo>
                      <a:pt x="535" y="228"/>
                      <a:pt x="536" y="229"/>
                      <a:pt x="536" y="230"/>
                    </a:cubicBezTo>
                    <a:cubicBezTo>
                      <a:pt x="536" y="230"/>
                      <a:pt x="535" y="230"/>
                      <a:pt x="535" y="230"/>
                    </a:cubicBezTo>
                    <a:cubicBezTo>
                      <a:pt x="536" y="231"/>
                      <a:pt x="535" y="231"/>
                      <a:pt x="535" y="232"/>
                    </a:cubicBezTo>
                    <a:cubicBezTo>
                      <a:pt x="534" y="233"/>
                      <a:pt x="535" y="233"/>
                      <a:pt x="535" y="233"/>
                    </a:cubicBezTo>
                    <a:cubicBezTo>
                      <a:pt x="535" y="232"/>
                      <a:pt x="536" y="231"/>
                      <a:pt x="536" y="231"/>
                    </a:cubicBezTo>
                    <a:cubicBezTo>
                      <a:pt x="536" y="231"/>
                      <a:pt x="536" y="230"/>
                      <a:pt x="536" y="230"/>
                    </a:cubicBezTo>
                    <a:cubicBezTo>
                      <a:pt x="537" y="232"/>
                      <a:pt x="538" y="230"/>
                      <a:pt x="538" y="229"/>
                    </a:cubicBezTo>
                    <a:cubicBezTo>
                      <a:pt x="538" y="231"/>
                      <a:pt x="539" y="231"/>
                      <a:pt x="539" y="231"/>
                    </a:cubicBezTo>
                    <a:cubicBezTo>
                      <a:pt x="539" y="231"/>
                      <a:pt x="538" y="230"/>
                      <a:pt x="538" y="231"/>
                    </a:cubicBezTo>
                    <a:cubicBezTo>
                      <a:pt x="537" y="232"/>
                      <a:pt x="539" y="232"/>
                      <a:pt x="539" y="233"/>
                    </a:cubicBezTo>
                    <a:cubicBezTo>
                      <a:pt x="538" y="233"/>
                      <a:pt x="538" y="233"/>
                      <a:pt x="537" y="234"/>
                    </a:cubicBezTo>
                    <a:cubicBezTo>
                      <a:pt x="537" y="234"/>
                      <a:pt x="538" y="235"/>
                      <a:pt x="537" y="235"/>
                    </a:cubicBezTo>
                    <a:cubicBezTo>
                      <a:pt x="537" y="235"/>
                      <a:pt x="537" y="235"/>
                      <a:pt x="537" y="235"/>
                    </a:cubicBezTo>
                    <a:cubicBezTo>
                      <a:pt x="536" y="235"/>
                      <a:pt x="537" y="236"/>
                      <a:pt x="538" y="236"/>
                    </a:cubicBezTo>
                    <a:cubicBezTo>
                      <a:pt x="538" y="236"/>
                      <a:pt x="537" y="235"/>
                      <a:pt x="537" y="235"/>
                    </a:cubicBezTo>
                    <a:cubicBezTo>
                      <a:pt x="538" y="235"/>
                      <a:pt x="538" y="235"/>
                      <a:pt x="539" y="236"/>
                    </a:cubicBezTo>
                    <a:cubicBezTo>
                      <a:pt x="539" y="236"/>
                      <a:pt x="539" y="236"/>
                      <a:pt x="539" y="235"/>
                    </a:cubicBezTo>
                    <a:cubicBezTo>
                      <a:pt x="539" y="236"/>
                      <a:pt x="540" y="236"/>
                      <a:pt x="540" y="236"/>
                    </a:cubicBezTo>
                    <a:cubicBezTo>
                      <a:pt x="540" y="235"/>
                      <a:pt x="540" y="235"/>
                      <a:pt x="540" y="235"/>
                    </a:cubicBezTo>
                    <a:cubicBezTo>
                      <a:pt x="540" y="236"/>
                      <a:pt x="540" y="236"/>
                      <a:pt x="540" y="236"/>
                    </a:cubicBezTo>
                    <a:cubicBezTo>
                      <a:pt x="540" y="236"/>
                      <a:pt x="540" y="236"/>
                      <a:pt x="541" y="236"/>
                    </a:cubicBezTo>
                    <a:cubicBezTo>
                      <a:pt x="540" y="236"/>
                      <a:pt x="540" y="236"/>
                      <a:pt x="539" y="236"/>
                    </a:cubicBezTo>
                    <a:cubicBezTo>
                      <a:pt x="538" y="237"/>
                      <a:pt x="539" y="237"/>
                      <a:pt x="539" y="237"/>
                    </a:cubicBezTo>
                    <a:cubicBezTo>
                      <a:pt x="540" y="237"/>
                      <a:pt x="539" y="237"/>
                      <a:pt x="540" y="237"/>
                    </a:cubicBezTo>
                    <a:cubicBezTo>
                      <a:pt x="541" y="237"/>
                      <a:pt x="542" y="237"/>
                      <a:pt x="542" y="237"/>
                    </a:cubicBezTo>
                    <a:cubicBezTo>
                      <a:pt x="542" y="237"/>
                      <a:pt x="541" y="237"/>
                      <a:pt x="540" y="237"/>
                    </a:cubicBezTo>
                    <a:cubicBezTo>
                      <a:pt x="539" y="238"/>
                      <a:pt x="540" y="238"/>
                      <a:pt x="541" y="238"/>
                    </a:cubicBezTo>
                    <a:cubicBezTo>
                      <a:pt x="541" y="237"/>
                      <a:pt x="541" y="238"/>
                      <a:pt x="542" y="237"/>
                    </a:cubicBezTo>
                    <a:cubicBezTo>
                      <a:pt x="543" y="237"/>
                      <a:pt x="541" y="238"/>
                      <a:pt x="541" y="238"/>
                    </a:cubicBezTo>
                    <a:cubicBezTo>
                      <a:pt x="541" y="238"/>
                      <a:pt x="540" y="239"/>
                      <a:pt x="541" y="239"/>
                    </a:cubicBezTo>
                    <a:cubicBezTo>
                      <a:pt x="542" y="238"/>
                      <a:pt x="542" y="238"/>
                      <a:pt x="543" y="239"/>
                    </a:cubicBezTo>
                    <a:cubicBezTo>
                      <a:pt x="543" y="239"/>
                      <a:pt x="543" y="239"/>
                      <a:pt x="543" y="239"/>
                    </a:cubicBezTo>
                    <a:cubicBezTo>
                      <a:pt x="543" y="239"/>
                      <a:pt x="543" y="239"/>
                      <a:pt x="543" y="238"/>
                    </a:cubicBezTo>
                    <a:cubicBezTo>
                      <a:pt x="544" y="238"/>
                      <a:pt x="544" y="238"/>
                      <a:pt x="544" y="238"/>
                    </a:cubicBezTo>
                    <a:cubicBezTo>
                      <a:pt x="544" y="238"/>
                      <a:pt x="544" y="239"/>
                      <a:pt x="545" y="238"/>
                    </a:cubicBezTo>
                    <a:cubicBezTo>
                      <a:pt x="546" y="238"/>
                      <a:pt x="545" y="239"/>
                      <a:pt x="544" y="240"/>
                    </a:cubicBezTo>
                    <a:cubicBezTo>
                      <a:pt x="544" y="241"/>
                      <a:pt x="545" y="240"/>
                      <a:pt x="545" y="240"/>
                    </a:cubicBezTo>
                    <a:cubicBezTo>
                      <a:pt x="545" y="240"/>
                      <a:pt x="544" y="241"/>
                      <a:pt x="544" y="241"/>
                    </a:cubicBezTo>
                    <a:cubicBezTo>
                      <a:pt x="544" y="241"/>
                      <a:pt x="545" y="242"/>
                      <a:pt x="545" y="242"/>
                    </a:cubicBezTo>
                    <a:cubicBezTo>
                      <a:pt x="545" y="243"/>
                      <a:pt x="544" y="242"/>
                      <a:pt x="544" y="242"/>
                    </a:cubicBezTo>
                    <a:cubicBezTo>
                      <a:pt x="544" y="242"/>
                      <a:pt x="544" y="242"/>
                      <a:pt x="544" y="242"/>
                    </a:cubicBezTo>
                    <a:cubicBezTo>
                      <a:pt x="544" y="242"/>
                      <a:pt x="543" y="242"/>
                      <a:pt x="543" y="242"/>
                    </a:cubicBezTo>
                    <a:cubicBezTo>
                      <a:pt x="542" y="242"/>
                      <a:pt x="542" y="242"/>
                      <a:pt x="541" y="242"/>
                    </a:cubicBezTo>
                    <a:cubicBezTo>
                      <a:pt x="540" y="242"/>
                      <a:pt x="540" y="243"/>
                      <a:pt x="540" y="242"/>
                    </a:cubicBezTo>
                    <a:cubicBezTo>
                      <a:pt x="540" y="242"/>
                      <a:pt x="540" y="241"/>
                      <a:pt x="538" y="242"/>
                    </a:cubicBezTo>
                    <a:cubicBezTo>
                      <a:pt x="537" y="243"/>
                      <a:pt x="540" y="242"/>
                      <a:pt x="540" y="243"/>
                    </a:cubicBezTo>
                    <a:cubicBezTo>
                      <a:pt x="539" y="243"/>
                      <a:pt x="539" y="244"/>
                      <a:pt x="538" y="244"/>
                    </a:cubicBezTo>
                    <a:cubicBezTo>
                      <a:pt x="538" y="244"/>
                      <a:pt x="537" y="244"/>
                      <a:pt x="538" y="244"/>
                    </a:cubicBezTo>
                    <a:cubicBezTo>
                      <a:pt x="538" y="244"/>
                      <a:pt x="538" y="245"/>
                      <a:pt x="539" y="244"/>
                    </a:cubicBezTo>
                    <a:cubicBezTo>
                      <a:pt x="539" y="244"/>
                      <a:pt x="539" y="244"/>
                      <a:pt x="540" y="244"/>
                    </a:cubicBezTo>
                    <a:cubicBezTo>
                      <a:pt x="539" y="245"/>
                      <a:pt x="541" y="244"/>
                      <a:pt x="540" y="245"/>
                    </a:cubicBezTo>
                    <a:cubicBezTo>
                      <a:pt x="539" y="245"/>
                      <a:pt x="540" y="245"/>
                      <a:pt x="540" y="246"/>
                    </a:cubicBezTo>
                    <a:cubicBezTo>
                      <a:pt x="540" y="247"/>
                      <a:pt x="539" y="247"/>
                      <a:pt x="538" y="247"/>
                    </a:cubicBezTo>
                    <a:cubicBezTo>
                      <a:pt x="537" y="247"/>
                      <a:pt x="537" y="248"/>
                      <a:pt x="536" y="248"/>
                    </a:cubicBezTo>
                    <a:cubicBezTo>
                      <a:pt x="535" y="248"/>
                      <a:pt x="536" y="248"/>
                      <a:pt x="536" y="249"/>
                    </a:cubicBezTo>
                    <a:cubicBezTo>
                      <a:pt x="535" y="249"/>
                      <a:pt x="537" y="249"/>
                      <a:pt x="537" y="249"/>
                    </a:cubicBezTo>
                    <a:cubicBezTo>
                      <a:pt x="536" y="250"/>
                      <a:pt x="537" y="249"/>
                      <a:pt x="538" y="249"/>
                    </a:cubicBezTo>
                    <a:cubicBezTo>
                      <a:pt x="539" y="249"/>
                      <a:pt x="539" y="249"/>
                      <a:pt x="539" y="249"/>
                    </a:cubicBezTo>
                    <a:cubicBezTo>
                      <a:pt x="540" y="250"/>
                      <a:pt x="540" y="249"/>
                      <a:pt x="539" y="249"/>
                    </a:cubicBezTo>
                    <a:cubicBezTo>
                      <a:pt x="539" y="249"/>
                      <a:pt x="539" y="250"/>
                      <a:pt x="540" y="250"/>
                    </a:cubicBezTo>
                    <a:cubicBezTo>
                      <a:pt x="540" y="250"/>
                      <a:pt x="541" y="250"/>
                      <a:pt x="541" y="250"/>
                    </a:cubicBezTo>
                    <a:cubicBezTo>
                      <a:pt x="541" y="250"/>
                      <a:pt x="541" y="251"/>
                      <a:pt x="543" y="251"/>
                    </a:cubicBezTo>
                    <a:cubicBezTo>
                      <a:pt x="544" y="251"/>
                      <a:pt x="543" y="250"/>
                      <a:pt x="544" y="250"/>
                    </a:cubicBezTo>
                    <a:cubicBezTo>
                      <a:pt x="545" y="250"/>
                      <a:pt x="545" y="250"/>
                      <a:pt x="546" y="249"/>
                    </a:cubicBezTo>
                    <a:cubicBezTo>
                      <a:pt x="545" y="250"/>
                      <a:pt x="546" y="250"/>
                      <a:pt x="545" y="250"/>
                    </a:cubicBezTo>
                    <a:cubicBezTo>
                      <a:pt x="545" y="250"/>
                      <a:pt x="544" y="251"/>
                      <a:pt x="544" y="251"/>
                    </a:cubicBezTo>
                    <a:cubicBezTo>
                      <a:pt x="544" y="252"/>
                      <a:pt x="542" y="251"/>
                      <a:pt x="542" y="251"/>
                    </a:cubicBezTo>
                    <a:cubicBezTo>
                      <a:pt x="541" y="251"/>
                      <a:pt x="542" y="251"/>
                      <a:pt x="539" y="251"/>
                    </a:cubicBezTo>
                    <a:cubicBezTo>
                      <a:pt x="539" y="252"/>
                      <a:pt x="540" y="252"/>
                      <a:pt x="539" y="252"/>
                    </a:cubicBezTo>
                    <a:cubicBezTo>
                      <a:pt x="537" y="252"/>
                      <a:pt x="539" y="253"/>
                      <a:pt x="538" y="253"/>
                    </a:cubicBezTo>
                    <a:cubicBezTo>
                      <a:pt x="537" y="254"/>
                      <a:pt x="537" y="254"/>
                      <a:pt x="536" y="255"/>
                    </a:cubicBezTo>
                    <a:cubicBezTo>
                      <a:pt x="535" y="255"/>
                      <a:pt x="535" y="255"/>
                      <a:pt x="534" y="256"/>
                    </a:cubicBezTo>
                    <a:cubicBezTo>
                      <a:pt x="533" y="256"/>
                      <a:pt x="533" y="256"/>
                      <a:pt x="534" y="256"/>
                    </a:cubicBezTo>
                    <a:cubicBezTo>
                      <a:pt x="535" y="256"/>
                      <a:pt x="535" y="257"/>
                      <a:pt x="536" y="257"/>
                    </a:cubicBezTo>
                    <a:cubicBezTo>
                      <a:pt x="536" y="256"/>
                      <a:pt x="535" y="256"/>
                      <a:pt x="536" y="256"/>
                    </a:cubicBezTo>
                    <a:cubicBezTo>
                      <a:pt x="537" y="256"/>
                      <a:pt x="537" y="255"/>
                      <a:pt x="537" y="255"/>
                    </a:cubicBezTo>
                    <a:cubicBezTo>
                      <a:pt x="538" y="256"/>
                      <a:pt x="540" y="255"/>
                      <a:pt x="539" y="255"/>
                    </a:cubicBezTo>
                    <a:cubicBezTo>
                      <a:pt x="539" y="255"/>
                      <a:pt x="540" y="255"/>
                      <a:pt x="540" y="255"/>
                    </a:cubicBezTo>
                    <a:cubicBezTo>
                      <a:pt x="540" y="256"/>
                      <a:pt x="541" y="256"/>
                      <a:pt x="542" y="256"/>
                    </a:cubicBezTo>
                    <a:cubicBezTo>
                      <a:pt x="542" y="256"/>
                      <a:pt x="542" y="255"/>
                      <a:pt x="542" y="254"/>
                    </a:cubicBezTo>
                    <a:cubicBezTo>
                      <a:pt x="542" y="254"/>
                      <a:pt x="543" y="254"/>
                      <a:pt x="544" y="254"/>
                    </a:cubicBezTo>
                    <a:cubicBezTo>
                      <a:pt x="545" y="254"/>
                      <a:pt x="545" y="254"/>
                      <a:pt x="546" y="254"/>
                    </a:cubicBezTo>
                    <a:cubicBezTo>
                      <a:pt x="546" y="255"/>
                      <a:pt x="546" y="254"/>
                      <a:pt x="547" y="254"/>
                    </a:cubicBezTo>
                    <a:cubicBezTo>
                      <a:pt x="548" y="255"/>
                      <a:pt x="549" y="254"/>
                      <a:pt x="548" y="254"/>
                    </a:cubicBezTo>
                    <a:cubicBezTo>
                      <a:pt x="548" y="254"/>
                      <a:pt x="549" y="254"/>
                      <a:pt x="550" y="254"/>
                    </a:cubicBezTo>
                    <a:cubicBezTo>
                      <a:pt x="550" y="254"/>
                      <a:pt x="551" y="253"/>
                      <a:pt x="550" y="253"/>
                    </a:cubicBezTo>
                    <a:cubicBezTo>
                      <a:pt x="550" y="252"/>
                      <a:pt x="551" y="253"/>
                      <a:pt x="551" y="253"/>
                    </a:cubicBezTo>
                    <a:cubicBezTo>
                      <a:pt x="552" y="254"/>
                      <a:pt x="552" y="253"/>
                      <a:pt x="552" y="254"/>
                    </a:cubicBezTo>
                    <a:cubicBezTo>
                      <a:pt x="552" y="254"/>
                      <a:pt x="554" y="253"/>
                      <a:pt x="556" y="253"/>
                    </a:cubicBezTo>
                    <a:cubicBezTo>
                      <a:pt x="558" y="254"/>
                      <a:pt x="558" y="253"/>
                      <a:pt x="559" y="253"/>
                    </a:cubicBezTo>
                    <a:cubicBezTo>
                      <a:pt x="560" y="253"/>
                      <a:pt x="560" y="253"/>
                      <a:pt x="561" y="252"/>
                    </a:cubicBezTo>
                    <a:cubicBezTo>
                      <a:pt x="562" y="252"/>
                      <a:pt x="561" y="251"/>
                      <a:pt x="562" y="251"/>
                    </a:cubicBezTo>
                    <a:cubicBezTo>
                      <a:pt x="562" y="251"/>
                      <a:pt x="560" y="251"/>
                      <a:pt x="559" y="251"/>
                    </a:cubicBezTo>
                    <a:cubicBezTo>
                      <a:pt x="558" y="251"/>
                      <a:pt x="557" y="251"/>
                      <a:pt x="557" y="251"/>
                    </a:cubicBezTo>
                    <a:cubicBezTo>
                      <a:pt x="557" y="251"/>
                      <a:pt x="557" y="250"/>
                      <a:pt x="558" y="250"/>
                    </a:cubicBezTo>
                    <a:cubicBezTo>
                      <a:pt x="558" y="250"/>
                      <a:pt x="559" y="250"/>
                      <a:pt x="559" y="250"/>
                    </a:cubicBezTo>
                    <a:cubicBezTo>
                      <a:pt x="560" y="249"/>
                      <a:pt x="558" y="249"/>
                      <a:pt x="559" y="249"/>
                    </a:cubicBezTo>
                    <a:cubicBezTo>
                      <a:pt x="559" y="249"/>
                      <a:pt x="559" y="249"/>
                      <a:pt x="559" y="249"/>
                    </a:cubicBezTo>
                    <a:cubicBezTo>
                      <a:pt x="559" y="249"/>
                      <a:pt x="560" y="249"/>
                      <a:pt x="560" y="249"/>
                    </a:cubicBezTo>
                    <a:cubicBezTo>
                      <a:pt x="561" y="249"/>
                      <a:pt x="560" y="248"/>
                      <a:pt x="560" y="248"/>
                    </a:cubicBezTo>
                    <a:cubicBezTo>
                      <a:pt x="560" y="248"/>
                      <a:pt x="561" y="248"/>
                      <a:pt x="562" y="248"/>
                    </a:cubicBezTo>
                    <a:cubicBezTo>
                      <a:pt x="562" y="247"/>
                      <a:pt x="561" y="248"/>
                      <a:pt x="562" y="247"/>
                    </a:cubicBezTo>
                    <a:cubicBezTo>
                      <a:pt x="563" y="245"/>
                      <a:pt x="561" y="244"/>
                      <a:pt x="560" y="244"/>
                    </a:cubicBezTo>
                    <a:cubicBezTo>
                      <a:pt x="559" y="243"/>
                      <a:pt x="558" y="243"/>
                      <a:pt x="557" y="244"/>
                    </a:cubicBezTo>
                    <a:cubicBezTo>
                      <a:pt x="557" y="245"/>
                      <a:pt x="557" y="245"/>
                      <a:pt x="556" y="244"/>
                    </a:cubicBezTo>
                    <a:cubicBezTo>
                      <a:pt x="555" y="244"/>
                      <a:pt x="555" y="244"/>
                      <a:pt x="556" y="244"/>
                    </a:cubicBezTo>
                    <a:cubicBezTo>
                      <a:pt x="557" y="243"/>
                      <a:pt x="557" y="242"/>
                      <a:pt x="556" y="242"/>
                    </a:cubicBezTo>
                    <a:cubicBezTo>
                      <a:pt x="555" y="241"/>
                      <a:pt x="555" y="241"/>
                      <a:pt x="554" y="241"/>
                    </a:cubicBezTo>
                    <a:cubicBezTo>
                      <a:pt x="555" y="241"/>
                      <a:pt x="555" y="241"/>
                      <a:pt x="556" y="241"/>
                    </a:cubicBezTo>
                    <a:cubicBezTo>
                      <a:pt x="556" y="241"/>
                      <a:pt x="555" y="240"/>
                      <a:pt x="554" y="239"/>
                    </a:cubicBezTo>
                    <a:cubicBezTo>
                      <a:pt x="554" y="239"/>
                      <a:pt x="556" y="239"/>
                      <a:pt x="554" y="239"/>
                    </a:cubicBezTo>
                    <a:cubicBezTo>
                      <a:pt x="554" y="238"/>
                      <a:pt x="553" y="237"/>
                      <a:pt x="551" y="237"/>
                    </a:cubicBezTo>
                    <a:cubicBezTo>
                      <a:pt x="551" y="237"/>
                      <a:pt x="551" y="236"/>
                      <a:pt x="550" y="236"/>
                    </a:cubicBezTo>
                    <a:cubicBezTo>
                      <a:pt x="550" y="236"/>
                      <a:pt x="551" y="236"/>
                      <a:pt x="551" y="236"/>
                    </a:cubicBezTo>
                    <a:cubicBezTo>
                      <a:pt x="552" y="236"/>
                      <a:pt x="552" y="236"/>
                      <a:pt x="552" y="236"/>
                    </a:cubicBezTo>
                    <a:cubicBezTo>
                      <a:pt x="552" y="236"/>
                      <a:pt x="552" y="235"/>
                      <a:pt x="552" y="235"/>
                    </a:cubicBezTo>
                    <a:cubicBezTo>
                      <a:pt x="552" y="235"/>
                      <a:pt x="552" y="236"/>
                      <a:pt x="552" y="236"/>
                    </a:cubicBezTo>
                    <a:cubicBezTo>
                      <a:pt x="552" y="237"/>
                      <a:pt x="553" y="235"/>
                      <a:pt x="554" y="236"/>
                    </a:cubicBezTo>
                    <a:cubicBezTo>
                      <a:pt x="554" y="236"/>
                      <a:pt x="554" y="236"/>
                      <a:pt x="555" y="236"/>
                    </a:cubicBezTo>
                    <a:cubicBezTo>
                      <a:pt x="555" y="236"/>
                      <a:pt x="555" y="235"/>
                      <a:pt x="555" y="235"/>
                    </a:cubicBezTo>
                    <a:cubicBezTo>
                      <a:pt x="555" y="235"/>
                      <a:pt x="555" y="235"/>
                      <a:pt x="556" y="234"/>
                    </a:cubicBezTo>
                    <a:cubicBezTo>
                      <a:pt x="556" y="234"/>
                      <a:pt x="556" y="234"/>
                      <a:pt x="556" y="234"/>
                    </a:cubicBezTo>
                    <a:cubicBezTo>
                      <a:pt x="557" y="233"/>
                      <a:pt x="556" y="233"/>
                      <a:pt x="556" y="233"/>
                    </a:cubicBezTo>
                    <a:cubicBezTo>
                      <a:pt x="556" y="232"/>
                      <a:pt x="556" y="232"/>
                      <a:pt x="556" y="232"/>
                    </a:cubicBezTo>
                    <a:cubicBezTo>
                      <a:pt x="556" y="231"/>
                      <a:pt x="555" y="231"/>
                      <a:pt x="556" y="231"/>
                    </a:cubicBezTo>
                    <a:cubicBezTo>
                      <a:pt x="557" y="231"/>
                      <a:pt x="556" y="230"/>
                      <a:pt x="556" y="230"/>
                    </a:cubicBezTo>
                    <a:cubicBezTo>
                      <a:pt x="557" y="230"/>
                      <a:pt x="556" y="229"/>
                      <a:pt x="556" y="229"/>
                    </a:cubicBezTo>
                    <a:cubicBezTo>
                      <a:pt x="556" y="229"/>
                      <a:pt x="556" y="229"/>
                      <a:pt x="555" y="228"/>
                    </a:cubicBezTo>
                    <a:cubicBezTo>
                      <a:pt x="555" y="228"/>
                      <a:pt x="555" y="228"/>
                      <a:pt x="556" y="228"/>
                    </a:cubicBezTo>
                    <a:cubicBezTo>
                      <a:pt x="556" y="228"/>
                      <a:pt x="556" y="228"/>
                      <a:pt x="556" y="228"/>
                    </a:cubicBezTo>
                    <a:cubicBezTo>
                      <a:pt x="557" y="228"/>
                      <a:pt x="557" y="228"/>
                      <a:pt x="557" y="227"/>
                    </a:cubicBezTo>
                    <a:cubicBezTo>
                      <a:pt x="557" y="227"/>
                      <a:pt x="557" y="227"/>
                      <a:pt x="558" y="227"/>
                    </a:cubicBezTo>
                    <a:cubicBezTo>
                      <a:pt x="558" y="227"/>
                      <a:pt x="558" y="227"/>
                      <a:pt x="559" y="226"/>
                    </a:cubicBezTo>
                    <a:cubicBezTo>
                      <a:pt x="559" y="226"/>
                      <a:pt x="559" y="226"/>
                      <a:pt x="559" y="225"/>
                    </a:cubicBezTo>
                    <a:cubicBezTo>
                      <a:pt x="558" y="225"/>
                      <a:pt x="558" y="225"/>
                      <a:pt x="558" y="225"/>
                    </a:cubicBezTo>
                    <a:cubicBezTo>
                      <a:pt x="557" y="225"/>
                      <a:pt x="557" y="225"/>
                      <a:pt x="557" y="225"/>
                    </a:cubicBezTo>
                    <a:cubicBezTo>
                      <a:pt x="557" y="225"/>
                      <a:pt x="557" y="225"/>
                      <a:pt x="558" y="225"/>
                    </a:cubicBezTo>
                    <a:cubicBezTo>
                      <a:pt x="558" y="225"/>
                      <a:pt x="558" y="224"/>
                      <a:pt x="558" y="224"/>
                    </a:cubicBezTo>
                    <a:cubicBezTo>
                      <a:pt x="557" y="224"/>
                      <a:pt x="557" y="224"/>
                      <a:pt x="557" y="224"/>
                    </a:cubicBezTo>
                    <a:cubicBezTo>
                      <a:pt x="557" y="224"/>
                      <a:pt x="557" y="223"/>
                      <a:pt x="557" y="223"/>
                    </a:cubicBezTo>
                    <a:cubicBezTo>
                      <a:pt x="557" y="223"/>
                      <a:pt x="557" y="222"/>
                      <a:pt x="557" y="222"/>
                    </a:cubicBezTo>
                    <a:cubicBezTo>
                      <a:pt x="556" y="223"/>
                      <a:pt x="556" y="222"/>
                      <a:pt x="555" y="222"/>
                    </a:cubicBezTo>
                    <a:cubicBezTo>
                      <a:pt x="554" y="222"/>
                      <a:pt x="554" y="222"/>
                      <a:pt x="554" y="223"/>
                    </a:cubicBezTo>
                    <a:cubicBezTo>
                      <a:pt x="553" y="223"/>
                      <a:pt x="553" y="223"/>
                      <a:pt x="552" y="223"/>
                    </a:cubicBezTo>
                    <a:cubicBezTo>
                      <a:pt x="552" y="223"/>
                      <a:pt x="552" y="223"/>
                      <a:pt x="553" y="222"/>
                    </a:cubicBezTo>
                    <a:cubicBezTo>
                      <a:pt x="554" y="222"/>
                      <a:pt x="553" y="222"/>
                      <a:pt x="553" y="222"/>
                    </a:cubicBezTo>
                    <a:cubicBezTo>
                      <a:pt x="552" y="221"/>
                      <a:pt x="552" y="222"/>
                      <a:pt x="552" y="222"/>
                    </a:cubicBezTo>
                    <a:cubicBezTo>
                      <a:pt x="551" y="222"/>
                      <a:pt x="552" y="222"/>
                      <a:pt x="551" y="223"/>
                    </a:cubicBezTo>
                    <a:cubicBezTo>
                      <a:pt x="552" y="223"/>
                      <a:pt x="551" y="222"/>
                      <a:pt x="551" y="222"/>
                    </a:cubicBezTo>
                    <a:cubicBezTo>
                      <a:pt x="551" y="222"/>
                      <a:pt x="550" y="222"/>
                      <a:pt x="550" y="222"/>
                    </a:cubicBezTo>
                    <a:cubicBezTo>
                      <a:pt x="550" y="222"/>
                      <a:pt x="549" y="222"/>
                      <a:pt x="549" y="222"/>
                    </a:cubicBezTo>
                    <a:cubicBezTo>
                      <a:pt x="548" y="222"/>
                      <a:pt x="549" y="223"/>
                      <a:pt x="548" y="223"/>
                    </a:cubicBezTo>
                    <a:cubicBezTo>
                      <a:pt x="548" y="223"/>
                      <a:pt x="548" y="223"/>
                      <a:pt x="548" y="223"/>
                    </a:cubicBezTo>
                    <a:cubicBezTo>
                      <a:pt x="548" y="223"/>
                      <a:pt x="547" y="223"/>
                      <a:pt x="547" y="223"/>
                    </a:cubicBezTo>
                    <a:cubicBezTo>
                      <a:pt x="545" y="223"/>
                      <a:pt x="546" y="223"/>
                      <a:pt x="544" y="223"/>
                    </a:cubicBezTo>
                    <a:cubicBezTo>
                      <a:pt x="543" y="223"/>
                      <a:pt x="542" y="223"/>
                      <a:pt x="542" y="223"/>
                    </a:cubicBezTo>
                    <a:cubicBezTo>
                      <a:pt x="541" y="223"/>
                      <a:pt x="540" y="224"/>
                      <a:pt x="541" y="223"/>
                    </a:cubicBezTo>
                    <a:cubicBezTo>
                      <a:pt x="541" y="223"/>
                      <a:pt x="540" y="223"/>
                      <a:pt x="541" y="223"/>
                    </a:cubicBezTo>
                    <a:cubicBezTo>
                      <a:pt x="541" y="223"/>
                      <a:pt x="541" y="223"/>
                      <a:pt x="542" y="223"/>
                    </a:cubicBezTo>
                    <a:cubicBezTo>
                      <a:pt x="542" y="222"/>
                      <a:pt x="540" y="222"/>
                      <a:pt x="540" y="222"/>
                    </a:cubicBezTo>
                    <a:cubicBezTo>
                      <a:pt x="540" y="222"/>
                      <a:pt x="541" y="222"/>
                      <a:pt x="542" y="222"/>
                    </a:cubicBezTo>
                    <a:cubicBezTo>
                      <a:pt x="542" y="221"/>
                      <a:pt x="543" y="221"/>
                      <a:pt x="544" y="220"/>
                    </a:cubicBezTo>
                    <a:cubicBezTo>
                      <a:pt x="545" y="220"/>
                      <a:pt x="544" y="220"/>
                      <a:pt x="544" y="219"/>
                    </a:cubicBezTo>
                    <a:cubicBezTo>
                      <a:pt x="545" y="219"/>
                      <a:pt x="543" y="219"/>
                      <a:pt x="543" y="219"/>
                    </a:cubicBezTo>
                    <a:cubicBezTo>
                      <a:pt x="543" y="219"/>
                      <a:pt x="542" y="219"/>
                      <a:pt x="541" y="219"/>
                    </a:cubicBezTo>
                    <a:cubicBezTo>
                      <a:pt x="541" y="219"/>
                      <a:pt x="540" y="219"/>
                      <a:pt x="540" y="219"/>
                    </a:cubicBezTo>
                    <a:cubicBezTo>
                      <a:pt x="541" y="218"/>
                      <a:pt x="539" y="220"/>
                      <a:pt x="539" y="219"/>
                    </a:cubicBezTo>
                    <a:cubicBezTo>
                      <a:pt x="539" y="219"/>
                      <a:pt x="539" y="218"/>
                      <a:pt x="538" y="219"/>
                    </a:cubicBezTo>
                    <a:cubicBezTo>
                      <a:pt x="537" y="219"/>
                      <a:pt x="539" y="220"/>
                      <a:pt x="538" y="220"/>
                    </a:cubicBezTo>
                    <a:cubicBezTo>
                      <a:pt x="537" y="220"/>
                      <a:pt x="538" y="220"/>
                      <a:pt x="537" y="220"/>
                    </a:cubicBezTo>
                    <a:cubicBezTo>
                      <a:pt x="536" y="220"/>
                      <a:pt x="537" y="221"/>
                      <a:pt x="537" y="221"/>
                    </a:cubicBezTo>
                    <a:cubicBezTo>
                      <a:pt x="536" y="221"/>
                      <a:pt x="538" y="222"/>
                      <a:pt x="538" y="222"/>
                    </a:cubicBezTo>
                    <a:cubicBezTo>
                      <a:pt x="538" y="222"/>
                      <a:pt x="537" y="222"/>
                      <a:pt x="537" y="222"/>
                    </a:cubicBezTo>
                    <a:cubicBezTo>
                      <a:pt x="536" y="221"/>
                      <a:pt x="536" y="222"/>
                      <a:pt x="535" y="222"/>
                    </a:cubicBezTo>
                    <a:cubicBezTo>
                      <a:pt x="535" y="222"/>
                      <a:pt x="536" y="223"/>
                      <a:pt x="536" y="223"/>
                    </a:cubicBezTo>
                    <a:cubicBezTo>
                      <a:pt x="535" y="223"/>
                      <a:pt x="537" y="224"/>
                      <a:pt x="536" y="224"/>
                    </a:cubicBezTo>
                    <a:cubicBezTo>
                      <a:pt x="535" y="225"/>
                      <a:pt x="538" y="225"/>
                      <a:pt x="536" y="225"/>
                    </a:cubicBezTo>
                    <a:cubicBezTo>
                      <a:pt x="535" y="225"/>
                      <a:pt x="536" y="226"/>
                      <a:pt x="536" y="226"/>
                    </a:cubicBezTo>
                    <a:cubicBezTo>
                      <a:pt x="535" y="226"/>
                      <a:pt x="535" y="226"/>
                      <a:pt x="534" y="227"/>
                    </a:cubicBezTo>
                    <a:cubicBezTo>
                      <a:pt x="533" y="227"/>
                      <a:pt x="536" y="226"/>
                      <a:pt x="535" y="227"/>
                    </a:cubicBezTo>
                    <a:close/>
                    <a:moveTo>
                      <a:pt x="473" y="173"/>
                    </a:moveTo>
                    <a:cubicBezTo>
                      <a:pt x="475" y="171"/>
                      <a:pt x="474" y="173"/>
                      <a:pt x="477" y="172"/>
                    </a:cubicBezTo>
                    <a:cubicBezTo>
                      <a:pt x="480" y="171"/>
                      <a:pt x="483" y="172"/>
                      <a:pt x="483" y="171"/>
                    </a:cubicBezTo>
                    <a:cubicBezTo>
                      <a:pt x="482" y="170"/>
                      <a:pt x="488" y="171"/>
                      <a:pt x="487" y="170"/>
                    </a:cubicBezTo>
                    <a:cubicBezTo>
                      <a:pt x="486" y="169"/>
                      <a:pt x="493" y="170"/>
                      <a:pt x="492" y="169"/>
                    </a:cubicBezTo>
                    <a:cubicBezTo>
                      <a:pt x="491" y="168"/>
                      <a:pt x="497" y="168"/>
                      <a:pt x="496" y="167"/>
                    </a:cubicBezTo>
                    <a:cubicBezTo>
                      <a:pt x="495" y="167"/>
                      <a:pt x="500" y="166"/>
                      <a:pt x="499" y="166"/>
                    </a:cubicBezTo>
                    <a:cubicBezTo>
                      <a:pt x="498" y="165"/>
                      <a:pt x="499" y="166"/>
                      <a:pt x="496" y="166"/>
                    </a:cubicBezTo>
                    <a:cubicBezTo>
                      <a:pt x="493" y="166"/>
                      <a:pt x="490" y="164"/>
                      <a:pt x="489" y="165"/>
                    </a:cubicBezTo>
                    <a:cubicBezTo>
                      <a:pt x="488" y="165"/>
                      <a:pt x="486" y="166"/>
                      <a:pt x="485" y="166"/>
                    </a:cubicBezTo>
                    <a:cubicBezTo>
                      <a:pt x="484" y="166"/>
                      <a:pt x="488" y="165"/>
                      <a:pt x="485" y="165"/>
                    </a:cubicBezTo>
                    <a:cubicBezTo>
                      <a:pt x="481" y="165"/>
                      <a:pt x="484" y="164"/>
                      <a:pt x="486" y="163"/>
                    </a:cubicBezTo>
                    <a:cubicBezTo>
                      <a:pt x="488" y="162"/>
                      <a:pt x="491" y="163"/>
                      <a:pt x="489" y="161"/>
                    </a:cubicBezTo>
                    <a:cubicBezTo>
                      <a:pt x="487" y="160"/>
                      <a:pt x="482" y="161"/>
                      <a:pt x="485" y="160"/>
                    </a:cubicBezTo>
                    <a:cubicBezTo>
                      <a:pt x="488" y="160"/>
                      <a:pt x="489" y="161"/>
                      <a:pt x="491" y="161"/>
                    </a:cubicBezTo>
                    <a:cubicBezTo>
                      <a:pt x="492" y="162"/>
                      <a:pt x="495" y="161"/>
                      <a:pt x="496" y="163"/>
                    </a:cubicBezTo>
                    <a:cubicBezTo>
                      <a:pt x="497" y="164"/>
                      <a:pt x="501" y="166"/>
                      <a:pt x="502" y="164"/>
                    </a:cubicBezTo>
                    <a:cubicBezTo>
                      <a:pt x="502" y="163"/>
                      <a:pt x="504" y="164"/>
                      <a:pt x="504" y="162"/>
                    </a:cubicBezTo>
                    <a:cubicBezTo>
                      <a:pt x="504" y="160"/>
                      <a:pt x="503" y="159"/>
                      <a:pt x="502" y="160"/>
                    </a:cubicBezTo>
                    <a:cubicBezTo>
                      <a:pt x="502" y="161"/>
                      <a:pt x="501" y="158"/>
                      <a:pt x="500" y="159"/>
                    </a:cubicBezTo>
                    <a:cubicBezTo>
                      <a:pt x="499" y="160"/>
                      <a:pt x="499" y="160"/>
                      <a:pt x="498" y="160"/>
                    </a:cubicBezTo>
                    <a:cubicBezTo>
                      <a:pt x="496" y="160"/>
                      <a:pt x="497" y="158"/>
                      <a:pt x="495" y="159"/>
                    </a:cubicBezTo>
                    <a:cubicBezTo>
                      <a:pt x="494" y="159"/>
                      <a:pt x="495" y="157"/>
                      <a:pt x="493" y="158"/>
                    </a:cubicBezTo>
                    <a:cubicBezTo>
                      <a:pt x="491" y="158"/>
                      <a:pt x="491" y="157"/>
                      <a:pt x="493" y="156"/>
                    </a:cubicBezTo>
                    <a:cubicBezTo>
                      <a:pt x="496" y="156"/>
                      <a:pt x="495" y="155"/>
                      <a:pt x="498" y="156"/>
                    </a:cubicBezTo>
                    <a:cubicBezTo>
                      <a:pt x="501" y="157"/>
                      <a:pt x="501" y="155"/>
                      <a:pt x="504" y="156"/>
                    </a:cubicBezTo>
                    <a:cubicBezTo>
                      <a:pt x="506" y="157"/>
                      <a:pt x="511" y="156"/>
                      <a:pt x="510" y="155"/>
                    </a:cubicBezTo>
                    <a:cubicBezTo>
                      <a:pt x="508" y="153"/>
                      <a:pt x="511" y="156"/>
                      <a:pt x="512" y="155"/>
                    </a:cubicBezTo>
                    <a:cubicBezTo>
                      <a:pt x="514" y="153"/>
                      <a:pt x="514" y="154"/>
                      <a:pt x="512" y="153"/>
                    </a:cubicBezTo>
                    <a:cubicBezTo>
                      <a:pt x="510" y="151"/>
                      <a:pt x="515" y="152"/>
                      <a:pt x="513" y="150"/>
                    </a:cubicBezTo>
                    <a:cubicBezTo>
                      <a:pt x="511" y="149"/>
                      <a:pt x="511" y="148"/>
                      <a:pt x="513" y="148"/>
                    </a:cubicBezTo>
                    <a:cubicBezTo>
                      <a:pt x="515" y="147"/>
                      <a:pt x="513" y="149"/>
                      <a:pt x="516" y="148"/>
                    </a:cubicBezTo>
                    <a:cubicBezTo>
                      <a:pt x="519" y="147"/>
                      <a:pt x="523" y="146"/>
                      <a:pt x="520" y="146"/>
                    </a:cubicBezTo>
                    <a:cubicBezTo>
                      <a:pt x="517" y="146"/>
                      <a:pt x="517" y="145"/>
                      <a:pt x="515" y="146"/>
                    </a:cubicBezTo>
                    <a:cubicBezTo>
                      <a:pt x="513" y="147"/>
                      <a:pt x="514" y="146"/>
                      <a:pt x="516" y="145"/>
                    </a:cubicBezTo>
                    <a:cubicBezTo>
                      <a:pt x="519" y="143"/>
                      <a:pt x="518" y="146"/>
                      <a:pt x="520" y="144"/>
                    </a:cubicBezTo>
                    <a:cubicBezTo>
                      <a:pt x="523" y="143"/>
                      <a:pt x="519" y="143"/>
                      <a:pt x="521" y="142"/>
                    </a:cubicBezTo>
                    <a:cubicBezTo>
                      <a:pt x="523" y="141"/>
                      <a:pt x="520" y="141"/>
                      <a:pt x="522" y="140"/>
                    </a:cubicBezTo>
                    <a:cubicBezTo>
                      <a:pt x="525" y="138"/>
                      <a:pt x="523" y="138"/>
                      <a:pt x="520" y="139"/>
                    </a:cubicBezTo>
                    <a:cubicBezTo>
                      <a:pt x="518" y="139"/>
                      <a:pt x="516" y="137"/>
                      <a:pt x="514" y="139"/>
                    </a:cubicBezTo>
                    <a:cubicBezTo>
                      <a:pt x="512" y="141"/>
                      <a:pt x="514" y="141"/>
                      <a:pt x="512" y="143"/>
                    </a:cubicBezTo>
                    <a:cubicBezTo>
                      <a:pt x="510" y="144"/>
                      <a:pt x="507" y="146"/>
                      <a:pt x="509" y="144"/>
                    </a:cubicBezTo>
                    <a:cubicBezTo>
                      <a:pt x="511" y="142"/>
                      <a:pt x="513" y="141"/>
                      <a:pt x="511" y="141"/>
                    </a:cubicBezTo>
                    <a:cubicBezTo>
                      <a:pt x="509" y="140"/>
                      <a:pt x="507" y="142"/>
                      <a:pt x="507" y="142"/>
                    </a:cubicBezTo>
                    <a:cubicBezTo>
                      <a:pt x="507" y="142"/>
                      <a:pt x="507" y="140"/>
                      <a:pt x="510" y="140"/>
                    </a:cubicBezTo>
                    <a:cubicBezTo>
                      <a:pt x="512" y="139"/>
                      <a:pt x="510" y="139"/>
                      <a:pt x="509" y="138"/>
                    </a:cubicBezTo>
                    <a:cubicBezTo>
                      <a:pt x="508" y="138"/>
                      <a:pt x="506" y="138"/>
                      <a:pt x="506" y="138"/>
                    </a:cubicBezTo>
                    <a:cubicBezTo>
                      <a:pt x="505" y="138"/>
                      <a:pt x="505" y="140"/>
                      <a:pt x="504" y="140"/>
                    </a:cubicBezTo>
                    <a:cubicBezTo>
                      <a:pt x="504" y="139"/>
                      <a:pt x="503" y="138"/>
                      <a:pt x="500" y="139"/>
                    </a:cubicBezTo>
                    <a:cubicBezTo>
                      <a:pt x="498" y="139"/>
                      <a:pt x="496" y="137"/>
                      <a:pt x="493" y="139"/>
                    </a:cubicBezTo>
                    <a:cubicBezTo>
                      <a:pt x="490" y="140"/>
                      <a:pt x="491" y="137"/>
                      <a:pt x="487" y="138"/>
                    </a:cubicBezTo>
                    <a:cubicBezTo>
                      <a:pt x="483" y="139"/>
                      <a:pt x="483" y="137"/>
                      <a:pt x="479" y="138"/>
                    </a:cubicBezTo>
                    <a:cubicBezTo>
                      <a:pt x="476" y="138"/>
                      <a:pt x="477" y="135"/>
                      <a:pt x="471" y="137"/>
                    </a:cubicBezTo>
                    <a:cubicBezTo>
                      <a:pt x="466" y="139"/>
                      <a:pt x="466" y="139"/>
                      <a:pt x="467" y="138"/>
                    </a:cubicBezTo>
                    <a:cubicBezTo>
                      <a:pt x="469" y="136"/>
                      <a:pt x="465" y="137"/>
                      <a:pt x="460" y="138"/>
                    </a:cubicBezTo>
                    <a:cubicBezTo>
                      <a:pt x="455" y="139"/>
                      <a:pt x="457" y="137"/>
                      <a:pt x="454" y="138"/>
                    </a:cubicBezTo>
                    <a:cubicBezTo>
                      <a:pt x="452" y="139"/>
                      <a:pt x="452" y="137"/>
                      <a:pt x="450" y="138"/>
                    </a:cubicBezTo>
                    <a:cubicBezTo>
                      <a:pt x="447" y="139"/>
                      <a:pt x="446" y="137"/>
                      <a:pt x="444" y="137"/>
                    </a:cubicBezTo>
                    <a:cubicBezTo>
                      <a:pt x="441" y="138"/>
                      <a:pt x="440" y="139"/>
                      <a:pt x="437" y="138"/>
                    </a:cubicBezTo>
                    <a:cubicBezTo>
                      <a:pt x="433" y="137"/>
                      <a:pt x="431" y="137"/>
                      <a:pt x="432" y="139"/>
                    </a:cubicBezTo>
                    <a:cubicBezTo>
                      <a:pt x="432" y="140"/>
                      <a:pt x="428" y="138"/>
                      <a:pt x="424" y="139"/>
                    </a:cubicBezTo>
                    <a:cubicBezTo>
                      <a:pt x="420" y="140"/>
                      <a:pt x="421" y="137"/>
                      <a:pt x="418" y="139"/>
                    </a:cubicBezTo>
                    <a:cubicBezTo>
                      <a:pt x="416" y="140"/>
                      <a:pt x="415" y="137"/>
                      <a:pt x="412" y="138"/>
                    </a:cubicBezTo>
                    <a:cubicBezTo>
                      <a:pt x="409" y="139"/>
                      <a:pt x="408" y="138"/>
                      <a:pt x="406" y="139"/>
                    </a:cubicBezTo>
                    <a:cubicBezTo>
                      <a:pt x="404" y="140"/>
                      <a:pt x="403" y="139"/>
                      <a:pt x="400" y="140"/>
                    </a:cubicBezTo>
                    <a:cubicBezTo>
                      <a:pt x="397" y="141"/>
                      <a:pt x="397" y="139"/>
                      <a:pt x="394" y="140"/>
                    </a:cubicBezTo>
                    <a:cubicBezTo>
                      <a:pt x="390" y="141"/>
                      <a:pt x="389" y="140"/>
                      <a:pt x="384" y="140"/>
                    </a:cubicBezTo>
                    <a:cubicBezTo>
                      <a:pt x="379" y="141"/>
                      <a:pt x="384" y="142"/>
                      <a:pt x="380" y="142"/>
                    </a:cubicBezTo>
                    <a:cubicBezTo>
                      <a:pt x="376" y="143"/>
                      <a:pt x="379" y="144"/>
                      <a:pt x="376" y="144"/>
                    </a:cubicBezTo>
                    <a:cubicBezTo>
                      <a:pt x="374" y="145"/>
                      <a:pt x="375" y="145"/>
                      <a:pt x="372" y="145"/>
                    </a:cubicBezTo>
                    <a:cubicBezTo>
                      <a:pt x="368" y="145"/>
                      <a:pt x="368" y="144"/>
                      <a:pt x="364" y="146"/>
                    </a:cubicBezTo>
                    <a:cubicBezTo>
                      <a:pt x="360" y="147"/>
                      <a:pt x="364" y="146"/>
                      <a:pt x="365" y="147"/>
                    </a:cubicBezTo>
                    <a:cubicBezTo>
                      <a:pt x="367" y="148"/>
                      <a:pt x="370" y="148"/>
                      <a:pt x="373" y="147"/>
                    </a:cubicBezTo>
                    <a:cubicBezTo>
                      <a:pt x="376" y="147"/>
                      <a:pt x="371" y="148"/>
                      <a:pt x="375" y="148"/>
                    </a:cubicBezTo>
                    <a:cubicBezTo>
                      <a:pt x="379" y="148"/>
                      <a:pt x="378" y="148"/>
                      <a:pt x="373" y="149"/>
                    </a:cubicBezTo>
                    <a:cubicBezTo>
                      <a:pt x="368" y="149"/>
                      <a:pt x="370" y="149"/>
                      <a:pt x="367" y="150"/>
                    </a:cubicBezTo>
                    <a:cubicBezTo>
                      <a:pt x="363" y="152"/>
                      <a:pt x="363" y="151"/>
                      <a:pt x="366" y="152"/>
                    </a:cubicBezTo>
                    <a:cubicBezTo>
                      <a:pt x="369" y="153"/>
                      <a:pt x="368" y="152"/>
                      <a:pt x="370" y="151"/>
                    </a:cubicBezTo>
                    <a:cubicBezTo>
                      <a:pt x="372" y="150"/>
                      <a:pt x="372" y="151"/>
                      <a:pt x="374" y="151"/>
                    </a:cubicBezTo>
                    <a:cubicBezTo>
                      <a:pt x="377" y="150"/>
                      <a:pt x="376" y="151"/>
                      <a:pt x="379" y="151"/>
                    </a:cubicBezTo>
                    <a:cubicBezTo>
                      <a:pt x="383" y="150"/>
                      <a:pt x="385" y="152"/>
                      <a:pt x="387" y="152"/>
                    </a:cubicBezTo>
                    <a:cubicBezTo>
                      <a:pt x="389" y="151"/>
                      <a:pt x="388" y="152"/>
                      <a:pt x="390" y="152"/>
                    </a:cubicBezTo>
                    <a:cubicBezTo>
                      <a:pt x="392" y="152"/>
                      <a:pt x="394" y="153"/>
                      <a:pt x="393" y="153"/>
                    </a:cubicBezTo>
                    <a:cubicBezTo>
                      <a:pt x="391" y="154"/>
                      <a:pt x="396" y="154"/>
                      <a:pt x="394" y="155"/>
                    </a:cubicBezTo>
                    <a:cubicBezTo>
                      <a:pt x="393" y="156"/>
                      <a:pt x="397" y="156"/>
                      <a:pt x="396" y="157"/>
                    </a:cubicBezTo>
                    <a:cubicBezTo>
                      <a:pt x="394" y="157"/>
                      <a:pt x="397" y="158"/>
                      <a:pt x="395" y="159"/>
                    </a:cubicBezTo>
                    <a:cubicBezTo>
                      <a:pt x="393" y="159"/>
                      <a:pt x="394" y="160"/>
                      <a:pt x="392" y="161"/>
                    </a:cubicBezTo>
                    <a:cubicBezTo>
                      <a:pt x="391" y="161"/>
                      <a:pt x="391" y="161"/>
                      <a:pt x="391" y="162"/>
                    </a:cubicBezTo>
                    <a:cubicBezTo>
                      <a:pt x="391" y="163"/>
                      <a:pt x="391" y="163"/>
                      <a:pt x="394" y="163"/>
                    </a:cubicBezTo>
                    <a:cubicBezTo>
                      <a:pt x="395" y="163"/>
                      <a:pt x="396" y="163"/>
                      <a:pt x="396" y="162"/>
                    </a:cubicBezTo>
                    <a:cubicBezTo>
                      <a:pt x="396" y="163"/>
                      <a:pt x="397" y="163"/>
                      <a:pt x="399" y="163"/>
                    </a:cubicBezTo>
                    <a:cubicBezTo>
                      <a:pt x="400" y="162"/>
                      <a:pt x="402" y="161"/>
                      <a:pt x="400" y="163"/>
                    </a:cubicBezTo>
                    <a:cubicBezTo>
                      <a:pt x="398" y="164"/>
                      <a:pt x="404" y="163"/>
                      <a:pt x="402" y="163"/>
                    </a:cubicBezTo>
                    <a:cubicBezTo>
                      <a:pt x="401" y="164"/>
                      <a:pt x="405" y="164"/>
                      <a:pt x="403" y="165"/>
                    </a:cubicBezTo>
                    <a:cubicBezTo>
                      <a:pt x="402" y="165"/>
                      <a:pt x="399" y="164"/>
                      <a:pt x="397" y="164"/>
                    </a:cubicBezTo>
                    <a:cubicBezTo>
                      <a:pt x="396" y="165"/>
                      <a:pt x="396" y="164"/>
                      <a:pt x="394" y="165"/>
                    </a:cubicBezTo>
                    <a:cubicBezTo>
                      <a:pt x="392" y="165"/>
                      <a:pt x="393" y="166"/>
                      <a:pt x="394" y="166"/>
                    </a:cubicBezTo>
                    <a:cubicBezTo>
                      <a:pt x="395" y="166"/>
                      <a:pt x="397" y="167"/>
                      <a:pt x="398" y="167"/>
                    </a:cubicBezTo>
                    <a:cubicBezTo>
                      <a:pt x="399" y="167"/>
                      <a:pt x="401" y="166"/>
                      <a:pt x="402" y="167"/>
                    </a:cubicBezTo>
                    <a:cubicBezTo>
                      <a:pt x="403" y="168"/>
                      <a:pt x="401" y="168"/>
                      <a:pt x="402" y="169"/>
                    </a:cubicBezTo>
                    <a:cubicBezTo>
                      <a:pt x="403" y="169"/>
                      <a:pt x="399" y="169"/>
                      <a:pt x="400" y="170"/>
                    </a:cubicBezTo>
                    <a:cubicBezTo>
                      <a:pt x="400" y="171"/>
                      <a:pt x="397" y="170"/>
                      <a:pt x="395" y="171"/>
                    </a:cubicBezTo>
                    <a:cubicBezTo>
                      <a:pt x="394" y="172"/>
                      <a:pt x="399" y="172"/>
                      <a:pt x="397" y="173"/>
                    </a:cubicBezTo>
                    <a:cubicBezTo>
                      <a:pt x="395" y="174"/>
                      <a:pt x="395" y="171"/>
                      <a:pt x="393" y="172"/>
                    </a:cubicBezTo>
                    <a:cubicBezTo>
                      <a:pt x="390" y="173"/>
                      <a:pt x="388" y="173"/>
                      <a:pt x="390" y="174"/>
                    </a:cubicBezTo>
                    <a:cubicBezTo>
                      <a:pt x="391" y="175"/>
                      <a:pt x="385" y="175"/>
                      <a:pt x="387" y="176"/>
                    </a:cubicBezTo>
                    <a:cubicBezTo>
                      <a:pt x="389" y="177"/>
                      <a:pt x="385" y="177"/>
                      <a:pt x="387" y="178"/>
                    </a:cubicBezTo>
                    <a:cubicBezTo>
                      <a:pt x="389" y="180"/>
                      <a:pt x="389" y="180"/>
                      <a:pt x="387" y="180"/>
                    </a:cubicBezTo>
                    <a:cubicBezTo>
                      <a:pt x="385" y="180"/>
                      <a:pt x="384" y="180"/>
                      <a:pt x="386" y="182"/>
                    </a:cubicBezTo>
                    <a:cubicBezTo>
                      <a:pt x="388" y="184"/>
                      <a:pt x="385" y="187"/>
                      <a:pt x="387" y="187"/>
                    </a:cubicBezTo>
                    <a:cubicBezTo>
                      <a:pt x="390" y="186"/>
                      <a:pt x="391" y="184"/>
                      <a:pt x="392" y="185"/>
                    </a:cubicBezTo>
                    <a:cubicBezTo>
                      <a:pt x="390" y="185"/>
                      <a:pt x="390" y="186"/>
                      <a:pt x="390" y="187"/>
                    </a:cubicBezTo>
                    <a:cubicBezTo>
                      <a:pt x="389" y="188"/>
                      <a:pt x="387" y="187"/>
                      <a:pt x="388" y="188"/>
                    </a:cubicBezTo>
                    <a:cubicBezTo>
                      <a:pt x="388" y="190"/>
                      <a:pt x="387" y="191"/>
                      <a:pt x="389" y="192"/>
                    </a:cubicBezTo>
                    <a:cubicBezTo>
                      <a:pt x="391" y="193"/>
                      <a:pt x="389" y="194"/>
                      <a:pt x="391" y="194"/>
                    </a:cubicBezTo>
                    <a:cubicBezTo>
                      <a:pt x="394" y="194"/>
                      <a:pt x="391" y="197"/>
                      <a:pt x="393" y="197"/>
                    </a:cubicBezTo>
                    <a:cubicBezTo>
                      <a:pt x="396" y="197"/>
                      <a:pt x="394" y="199"/>
                      <a:pt x="396" y="199"/>
                    </a:cubicBezTo>
                    <a:cubicBezTo>
                      <a:pt x="399" y="200"/>
                      <a:pt x="398" y="201"/>
                      <a:pt x="399" y="200"/>
                    </a:cubicBezTo>
                    <a:cubicBezTo>
                      <a:pt x="401" y="200"/>
                      <a:pt x="401" y="199"/>
                      <a:pt x="403" y="199"/>
                    </a:cubicBezTo>
                    <a:cubicBezTo>
                      <a:pt x="404" y="198"/>
                      <a:pt x="401" y="200"/>
                      <a:pt x="404" y="200"/>
                    </a:cubicBezTo>
                    <a:cubicBezTo>
                      <a:pt x="407" y="201"/>
                      <a:pt x="404" y="201"/>
                      <a:pt x="406" y="202"/>
                    </a:cubicBezTo>
                    <a:cubicBezTo>
                      <a:pt x="408" y="202"/>
                      <a:pt x="405" y="203"/>
                      <a:pt x="408" y="203"/>
                    </a:cubicBezTo>
                    <a:cubicBezTo>
                      <a:pt x="411" y="203"/>
                      <a:pt x="413" y="204"/>
                      <a:pt x="412" y="201"/>
                    </a:cubicBezTo>
                    <a:cubicBezTo>
                      <a:pt x="411" y="199"/>
                      <a:pt x="417" y="199"/>
                      <a:pt x="415" y="199"/>
                    </a:cubicBezTo>
                    <a:cubicBezTo>
                      <a:pt x="413" y="198"/>
                      <a:pt x="419" y="197"/>
                      <a:pt x="417" y="197"/>
                    </a:cubicBezTo>
                    <a:cubicBezTo>
                      <a:pt x="416" y="196"/>
                      <a:pt x="421" y="195"/>
                      <a:pt x="419" y="194"/>
                    </a:cubicBezTo>
                    <a:cubicBezTo>
                      <a:pt x="416" y="192"/>
                      <a:pt x="422" y="192"/>
                      <a:pt x="421" y="191"/>
                    </a:cubicBezTo>
                    <a:cubicBezTo>
                      <a:pt x="420" y="190"/>
                      <a:pt x="425" y="190"/>
                      <a:pt x="424" y="189"/>
                    </a:cubicBezTo>
                    <a:cubicBezTo>
                      <a:pt x="424" y="189"/>
                      <a:pt x="428" y="188"/>
                      <a:pt x="427" y="187"/>
                    </a:cubicBezTo>
                    <a:cubicBezTo>
                      <a:pt x="426" y="186"/>
                      <a:pt x="431" y="187"/>
                      <a:pt x="430" y="185"/>
                    </a:cubicBezTo>
                    <a:cubicBezTo>
                      <a:pt x="428" y="184"/>
                      <a:pt x="427" y="182"/>
                      <a:pt x="430" y="183"/>
                    </a:cubicBezTo>
                    <a:cubicBezTo>
                      <a:pt x="432" y="184"/>
                      <a:pt x="435" y="183"/>
                      <a:pt x="434" y="183"/>
                    </a:cubicBezTo>
                    <a:cubicBezTo>
                      <a:pt x="432" y="182"/>
                      <a:pt x="434" y="180"/>
                      <a:pt x="436" y="180"/>
                    </a:cubicBezTo>
                    <a:cubicBezTo>
                      <a:pt x="438" y="180"/>
                      <a:pt x="442" y="181"/>
                      <a:pt x="441" y="179"/>
                    </a:cubicBezTo>
                    <a:cubicBezTo>
                      <a:pt x="440" y="178"/>
                      <a:pt x="444" y="178"/>
                      <a:pt x="445" y="179"/>
                    </a:cubicBezTo>
                    <a:cubicBezTo>
                      <a:pt x="445" y="180"/>
                      <a:pt x="445" y="180"/>
                      <a:pt x="445" y="180"/>
                    </a:cubicBezTo>
                    <a:cubicBezTo>
                      <a:pt x="445" y="180"/>
                      <a:pt x="450" y="180"/>
                      <a:pt x="449" y="179"/>
                    </a:cubicBezTo>
                    <a:cubicBezTo>
                      <a:pt x="448" y="177"/>
                      <a:pt x="451" y="177"/>
                      <a:pt x="453" y="177"/>
                    </a:cubicBezTo>
                    <a:cubicBezTo>
                      <a:pt x="455" y="178"/>
                      <a:pt x="456" y="175"/>
                      <a:pt x="458" y="176"/>
                    </a:cubicBezTo>
                    <a:cubicBezTo>
                      <a:pt x="460" y="177"/>
                      <a:pt x="459" y="172"/>
                      <a:pt x="462" y="173"/>
                    </a:cubicBezTo>
                    <a:cubicBezTo>
                      <a:pt x="465" y="173"/>
                      <a:pt x="463" y="170"/>
                      <a:pt x="464" y="171"/>
                    </a:cubicBezTo>
                    <a:cubicBezTo>
                      <a:pt x="466" y="171"/>
                      <a:pt x="466" y="174"/>
                      <a:pt x="468" y="173"/>
                    </a:cubicBezTo>
                    <a:cubicBezTo>
                      <a:pt x="470" y="172"/>
                      <a:pt x="471" y="174"/>
                      <a:pt x="473" y="173"/>
                    </a:cubicBezTo>
                    <a:close/>
                    <a:moveTo>
                      <a:pt x="351" y="252"/>
                    </a:moveTo>
                    <a:cubicBezTo>
                      <a:pt x="350" y="252"/>
                      <a:pt x="348" y="252"/>
                      <a:pt x="349" y="252"/>
                    </a:cubicBezTo>
                    <a:cubicBezTo>
                      <a:pt x="350" y="252"/>
                      <a:pt x="350" y="252"/>
                      <a:pt x="350" y="251"/>
                    </a:cubicBezTo>
                    <a:cubicBezTo>
                      <a:pt x="351" y="251"/>
                      <a:pt x="351" y="251"/>
                      <a:pt x="351" y="251"/>
                    </a:cubicBezTo>
                    <a:cubicBezTo>
                      <a:pt x="351" y="250"/>
                      <a:pt x="352" y="251"/>
                      <a:pt x="352" y="250"/>
                    </a:cubicBezTo>
                    <a:cubicBezTo>
                      <a:pt x="351" y="249"/>
                      <a:pt x="350" y="249"/>
                      <a:pt x="349" y="250"/>
                    </a:cubicBezTo>
                    <a:cubicBezTo>
                      <a:pt x="348" y="250"/>
                      <a:pt x="348" y="249"/>
                      <a:pt x="348" y="249"/>
                    </a:cubicBezTo>
                    <a:cubicBezTo>
                      <a:pt x="347" y="250"/>
                      <a:pt x="345" y="250"/>
                      <a:pt x="346" y="249"/>
                    </a:cubicBezTo>
                    <a:cubicBezTo>
                      <a:pt x="346" y="248"/>
                      <a:pt x="344" y="249"/>
                      <a:pt x="345" y="249"/>
                    </a:cubicBezTo>
                    <a:cubicBezTo>
                      <a:pt x="345" y="248"/>
                      <a:pt x="343" y="248"/>
                      <a:pt x="344" y="248"/>
                    </a:cubicBezTo>
                    <a:cubicBezTo>
                      <a:pt x="344" y="247"/>
                      <a:pt x="344" y="247"/>
                      <a:pt x="342" y="247"/>
                    </a:cubicBezTo>
                    <a:cubicBezTo>
                      <a:pt x="343" y="247"/>
                      <a:pt x="345" y="247"/>
                      <a:pt x="345" y="246"/>
                    </a:cubicBezTo>
                    <a:cubicBezTo>
                      <a:pt x="346" y="246"/>
                      <a:pt x="345" y="246"/>
                      <a:pt x="345" y="246"/>
                    </a:cubicBezTo>
                    <a:cubicBezTo>
                      <a:pt x="344" y="246"/>
                      <a:pt x="344" y="246"/>
                      <a:pt x="344" y="246"/>
                    </a:cubicBezTo>
                    <a:cubicBezTo>
                      <a:pt x="343" y="246"/>
                      <a:pt x="344" y="245"/>
                      <a:pt x="343" y="245"/>
                    </a:cubicBezTo>
                    <a:cubicBezTo>
                      <a:pt x="342" y="246"/>
                      <a:pt x="341" y="247"/>
                      <a:pt x="340" y="247"/>
                    </a:cubicBezTo>
                    <a:cubicBezTo>
                      <a:pt x="340" y="247"/>
                      <a:pt x="342" y="246"/>
                      <a:pt x="342" y="245"/>
                    </a:cubicBezTo>
                    <a:cubicBezTo>
                      <a:pt x="343" y="245"/>
                      <a:pt x="342" y="244"/>
                      <a:pt x="343" y="245"/>
                    </a:cubicBezTo>
                    <a:cubicBezTo>
                      <a:pt x="344" y="245"/>
                      <a:pt x="344" y="243"/>
                      <a:pt x="344" y="243"/>
                    </a:cubicBezTo>
                    <a:cubicBezTo>
                      <a:pt x="345" y="244"/>
                      <a:pt x="345" y="243"/>
                      <a:pt x="346" y="243"/>
                    </a:cubicBezTo>
                    <a:cubicBezTo>
                      <a:pt x="346" y="243"/>
                      <a:pt x="346" y="242"/>
                      <a:pt x="347" y="241"/>
                    </a:cubicBezTo>
                    <a:cubicBezTo>
                      <a:pt x="347" y="241"/>
                      <a:pt x="347" y="241"/>
                      <a:pt x="346" y="241"/>
                    </a:cubicBezTo>
                    <a:cubicBezTo>
                      <a:pt x="346" y="241"/>
                      <a:pt x="346" y="240"/>
                      <a:pt x="346" y="240"/>
                    </a:cubicBezTo>
                    <a:cubicBezTo>
                      <a:pt x="347" y="240"/>
                      <a:pt x="348" y="240"/>
                      <a:pt x="348" y="239"/>
                    </a:cubicBezTo>
                    <a:cubicBezTo>
                      <a:pt x="348" y="239"/>
                      <a:pt x="347" y="239"/>
                      <a:pt x="346" y="239"/>
                    </a:cubicBezTo>
                    <a:cubicBezTo>
                      <a:pt x="346" y="240"/>
                      <a:pt x="347" y="239"/>
                      <a:pt x="346" y="239"/>
                    </a:cubicBezTo>
                    <a:cubicBezTo>
                      <a:pt x="345" y="239"/>
                      <a:pt x="345" y="239"/>
                      <a:pt x="344" y="239"/>
                    </a:cubicBezTo>
                    <a:cubicBezTo>
                      <a:pt x="343" y="240"/>
                      <a:pt x="343" y="240"/>
                      <a:pt x="342" y="241"/>
                    </a:cubicBezTo>
                    <a:cubicBezTo>
                      <a:pt x="341" y="241"/>
                      <a:pt x="341" y="241"/>
                      <a:pt x="341" y="241"/>
                    </a:cubicBezTo>
                    <a:cubicBezTo>
                      <a:pt x="341" y="242"/>
                      <a:pt x="341" y="242"/>
                      <a:pt x="340" y="243"/>
                    </a:cubicBezTo>
                    <a:cubicBezTo>
                      <a:pt x="339" y="243"/>
                      <a:pt x="337" y="246"/>
                      <a:pt x="336" y="247"/>
                    </a:cubicBezTo>
                    <a:cubicBezTo>
                      <a:pt x="335" y="247"/>
                      <a:pt x="336" y="248"/>
                      <a:pt x="335" y="249"/>
                    </a:cubicBezTo>
                    <a:cubicBezTo>
                      <a:pt x="333" y="249"/>
                      <a:pt x="334" y="249"/>
                      <a:pt x="333" y="250"/>
                    </a:cubicBezTo>
                    <a:cubicBezTo>
                      <a:pt x="332" y="251"/>
                      <a:pt x="332" y="251"/>
                      <a:pt x="332" y="251"/>
                    </a:cubicBezTo>
                    <a:cubicBezTo>
                      <a:pt x="333" y="251"/>
                      <a:pt x="332" y="252"/>
                      <a:pt x="333" y="252"/>
                    </a:cubicBezTo>
                    <a:cubicBezTo>
                      <a:pt x="331" y="252"/>
                      <a:pt x="331" y="252"/>
                      <a:pt x="330" y="253"/>
                    </a:cubicBezTo>
                    <a:cubicBezTo>
                      <a:pt x="329" y="253"/>
                      <a:pt x="330" y="253"/>
                      <a:pt x="328" y="254"/>
                    </a:cubicBezTo>
                    <a:cubicBezTo>
                      <a:pt x="326" y="255"/>
                      <a:pt x="327" y="254"/>
                      <a:pt x="326" y="255"/>
                    </a:cubicBezTo>
                    <a:cubicBezTo>
                      <a:pt x="326" y="256"/>
                      <a:pt x="328" y="255"/>
                      <a:pt x="328" y="254"/>
                    </a:cubicBezTo>
                    <a:cubicBezTo>
                      <a:pt x="329" y="254"/>
                      <a:pt x="328" y="255"/>
                      <a:pt x="327" y="255"/>
                    </a:cubicBezTo>
                    <a:cubicBezTo>
                      <a:pt x="326" y="255"/>
                      <a:pt x="326" y="256"/>
                      <a:pt x="325" y="256"/>
                    </a:cubicBezTo>
                    <a:cubicBezTo>
                      <a:pt x="324" y="257"/>
                      <a:pt x="325" y="257"/>
                      <a:pt x="325" y="258"/>
                    </a:cubicBezTo>
                    <a:cubicBezTo>
                      <a:pt x="324" y="259"/>
                      <a:pt x="325" y="259"/>
                      <a:pt x="325" y="259"/>
                    </a:cubicBezTo>
                    <a:cubicBezTo>
                      <a:pt x="325" y="259"/>
                      <a:pt x="327" y="258"/>
                      <a:pt x="328" y="258"/>
                    </a:cubicBezTo>
                    <a:cubicBezTo>
                      <a:pt x="329" y="258"/>
                      <a:pt x="329" y="258"/>
                      <a:pt x="329" y="258"/>
                    </a:cubicBezTo>
                    <a:cubicBezTo>
                      <a:pt x="329" y="258"/>
                      <a:pt x="330" y="258"/>
                      <a:pt x="331" y="258"/>
                    </a:cubicBezTo>
                    <a:cubicBezTo>
                      <a:pt x="332" y="259"/>
                      <a:pt x="333" y="258"/>
                      <a:pt x="334" y="258"/>
                    </a:cubicBezTo>
                    <a:cubicBezTo>
                      <a:pt x="334" y="258"/>
                      <a:pt x="336" y="257"/>
                      <a:pt x="336" y="257"/>
                    </a:cubicBezTo>
                    <a:cubicBezTo>
                      <a:pt x="336" y="258"/>
                      <a:pt x="337" y="257"/>
                      <a:pt x="337" y="257"/>
                    </a:cubicBezTo>
                    <a:cubicBezTo>
                      <a:pt x="337" y="258"/>
                      <a:pt x="338" y="257"/>
                      <a:pt x="339" y="257"/>
                    </a:cubicBezTo>
                    <a:cubicBezTo>
                      <a:pt x="340" y="257"/>
                      <a:pt x="339" y="258"/>
                      <a:pt x="340" y="258"/>
                    </a:cubicBezTo>
                    <a:cubicBezTo>
                      <a:pt x="340" y="258"/>
                      <a:pt x="340" y="257"/>
                      <a:pt x="341" y="257"/>
                    </a:cubicBezTo>
                    <a:cubicBezTo>
                      <a:pt x="341" y="257"/>
                      <a:pt x="341" y="258"/>
                      <a:pt x="342" y="258"/>
                    </a:cubicBezTo>
                    <a:cubicBezTo>
                      <a:pt x="343" y="257"/>
                      <a:pt x="344" y="257"/>
                      <a:pt x="343" y="258"/>
                    </a:cubicBezTo>
                    <a:cubicBezTo>
                      <a:pt x="342" y="258"/>
                      <a:pt x="341" y="258"/>
                      <a:pt x="341" y="259"/>
                    </a:cubicBezTo>
                    <a:cubicBezTo>
                      <a:pt x="341" y="259"/>
                      <a:pt x="340" y="260"/>
                      <a:pt x="339" y="260"/>
                    </a:cubicBezTo>
                    <a:cubicBezTo>
                      <a:pt x="339" y="260"/>
                      <a:pt x="339" y="261"/>
                      <a:pt x="339" y="261"/>
                    </a:cubicBezTo>
                    <a:cubicBezTo>
                      <a:pt x="340" y="261"/>
                      <a:pt x="340" y="261"/>
                      <a:pt x="340" y="261"/>
                    </a:cubicBezTo>
                    <a:cubicBezTo>
                      <a:pt x="341" y="261"/>
                      <a:pt x="342" y="261"/>
                      <a:pt x="343" y="261"/>
                    </a:cubicBezTo>
                    <a:cubicBezTo>
                      <a:pt x="343" y="260"/>
                      <a:pt x="343" y="260"/>
                      <a:pt x="344" y="260"/>
                    </a:cubicBezTo>
                    <a:cubicBezTo>
                      <a:pt x="344" y="259"/>
                      <a:pt x="344" y="259"/>
                      <a:pt x="345" y="258"/>
                    </a:cubicBezTo>
                    <a:cubicBezTo>
                      <a:pt x="346" y="257"/>
                      <a:pt x="346" y="258"/>
                      <a:pt x="346" y="258"/>
                    </a:cubicBezTo>
                    <a:cubicBezTo>
                      <a:pt x="347" y="257"/>
                      <a:pt x="348" y="257"/>
                      <a:pt x="348" y="256"/>
                    </a:cubicBezTo>
                    <a:cubicBezTo>
                      <a:pt x="349" y="255"/>
                      <a:pt x="349" y="255"/>
                      <a:pt x="349" y="256"/>
                    </a:cubicBezTo>
                    <a:cubicBezTo>
                      <a:pt x="349" y="257"/>
                      <a:pt x="350" y="256"/>
                      <a:pt x="351" y="255"/>
                    </a:cubicBezTo>
                    <a:cubicBezTo>
                      <a:pt x="352" y="255"/>
                      <a:pt x="349" y="254"/>
                      <a:pt x="350" y="254"/>
                    </a:cubicBezTo>
                    <a:cubicBezTo>
                      <a:pt x="350" y="254"/>
                      <a:pt x="351" y="254"/>
                      <a:pt x="352" y="254"/>
                    </a:cubicBezTo>
                    <a:cubicBezTo>
                      <a:pt x="352" y="253"/>
                      <a:pt x="352" y="254"/>
                      <a:pt x="353" y="253"/>
                    </a:cubicBezTo>
                    <a:cubicBezTo>
                      <a:pt x="353" y="252"/>
                      <a:pt x="353" y="252"/>
                      <a:pt x="352" y="252"/>
                    </a:cubicBezTo>
                    <a:cubicBezTo>
                      <a:pt x="351" y="252"/>
                      <a:pt x="351" y="252"/>
                      <a:pt x="351" y="252"/>
                    </a:cubicBezTo>
                    <a:close/>
                    <a:moveTo>
                      <a:pt x="314" y="156"/>
                    </a:moveTo>
                    <a:cubicBezTo>
                      <a:pt x="312" y="157"/>
                      <a:pt x="312" y="157"/>
                      <a:pt x="313" y="158"/>
                    </a:cubicBezTo>
                    <a:cubicBezTo>
                      <a:pt x="313" y="159"/>
                      <a:pt x="313" y="159"/>
                      <a:pt x="314" y="160"/>
                    </a:cubicBezTo>
                    <a:cubicBezTo>
                      <a:pt x="315" y="160"/>
                      <a:pt x="317" y="159"/>
                      <a:pt x="318" y="159"/>
                    </a:cubicBezTo>
                    <a:cubicBezTo>
                      <a:pt x="319" y="158"/>
                      <a:pt x="320" y="158"/>
                      <a:pt x="322" y="158"/>
                    </a:cubicBezTo>
                    <a:cubicBezTo>
                      <a:pt x="324" y="157"/>
                      <a:pt x="320" y="157"/>
                      <a:pt x="319" y="156"/>
                    </a:cubicBezTo>
                    <a:cubicBezTo>
                      <a:pt x="317" y="155"/>
                      <a:pt x="316" y="156"/>
                      <a:pt x="314" y="156"/>
                    </a:cubicBezTo>
                    <a:close/>
                    <a:moveTo>
                      <a:pt x="271" y="157"/>
                    </a:moveTo>
                    <a:cubicBezTo>
                      <a:pt x="273" y="157"/>
                      <a:pt x="274" y="157"/>
                      <a:pt x="276" y="156"/>
                    </a:cubicBezTo>
                    <a:cubicBezTo>
                      <a:pt x="277" y="156"/>
                      <a:pt x="278" y="154"/>
                      <a:pt x="275" y="154"/>
                    </a:cubicBezTo>
                    <a:cubicBezTo>
                      <a:pt x="273" y="154"/>
                      <a:pt x="271" y="154"/>
                      <a:pt x="270" y="155"/>
                    </a:cubicBezTo>
                    <a:cubicBezTo>
                      <a:pt x="270" y="155"/>
                      <a:pt x="272" y="155"/>
                      <a:pt x="273" y="155"/>
                    </a:cubicBezTo>
                    <a:cubicBezTo>
                      <a:pt x="275" y="155"/>
                      <a:pt x="271" y="156"/>
                      <a:pt x="269" y="156"/>
                    </a:cubicBezTo>
                    <a:cubicBezTo>
                      <a:pt x="266" y="156"/>
                      <a:pt x="268" y="157"/>
                      <a:pt x="271" y="157"/>
                    </a:cubicBezTo>
                    <a:close/>
                    <a:moveTo>
                      <a:pt x="266" y="161"/>
                    </a:moveTo>
                    <a:cubicBezTo>
                      <a:pt x="269" y="161"/>
                      <a:pt x="271" y="162"/>
                      <a:pt x="272" y="161"/>
                    </a:cubicBezTo>
                    <a:cubicBezTo>
                      <a:pt x="273" y="160"/>
                      <a:pt x="275" y="159"/>
                      <a:pt x="277" y="158"/>
                    </a:cubicBezTo>
                    <a:cubicBezTo>
                      <a:pt x="279" y="158"/>
                      <a:pt x="276" y="158"/>
                      <a:pt x="274" y="158"/>
                    </a:cubicBezTo>
                    <a:cubicBezTo>
                      <a:pt x="272" y="158"/>
                      <a:pt x="268" y="157"/>
                      <a:pt x="266" y="158"/>
                    </a:cubicBezTo>
                    <a:cubicBezTo>
                      <a:pt x="265" y="159"/>
                      <a:pt x="263" y="158"/>
                      <a:pt x="263" y="160"/>
                    </a:cubicBezTo>
                    <a:cubicBezTo>
                      <a:pt x="263" y="161"/>
                      <a:pt x="261" y="162"/>
                      <a:pt x="262" y="162"/>
                    </a:cubicBezTo>
                    <a:cubicBezTo>
                      <a:pt x="262" y="163"/>
                      <a:pt x="263" y="163"/>
                      <a:pt x="264" y="163"/>
                    </a:cubicBezTo>
                    <a:cubicBezTo>
                      <a:pt x="264" y="163"/>
                      <a:pt x="266" y="162"/>
                      <a:pt x="265" y="162"/>
                    </a:cubicBezTo>
                    <a:cubicBezTo>
                      <a:pt x="265" y="161"/>
                      <a:pt x="263" y="160"/>
                      <a:pt x="266" y="161"/>
                    </a:cubicBezTo>
                    <a:close/>
                    <a:moveTo>
                      <a:pt x="360" y="175"/>
                    </a:moveTo>
                    <a:cubicBezTo>
                      <a:pt x="358" y="174"/>
                      <a:pt x="359" y="173"/>
                      <a:pt x="357" y="174"/>
                    </a:cubicBezTo>
                    <a:cubicBezTo>
                      <a:pt x="355" y="175"/>
                      <a:pt x="355" y="175"/>
                      <a:pt x="355" y="174"/>
                    </a:cubicBezTo>
                    <a:cubicBezTo>
                      <a:pt x="355" y="174"/>
                      <a:pt x="355" y="173"/>
                      <a:pt x="354" y="174"/>
                    </a:cubicBezTo>
                    <a:cubicBezTo>
                      <a:pt x="352" y="174"/>
                      <a:pt x="353" y="172"/>
                      <a:pt x="352" y="173"/>
                    </a:cubicBezTo>
                    <a:cubicBezTo>
                      <a:pt x="350" y="174"/>
                      <a:pt x="351" y="171"/>
                      <a:pt x="350" y="172"/>
                    </a:cubicBezTo>
                    <a:cubicBezTo>
                      <a:pt x="349" y="173"/>
                      <a:pt x="351" y="170"/>
                      <a:pt x="348" y="171"/>
                    </a:cubicBezTo>
                    <a:cubicBezTo>
                      <a:pt x="346" y="172"/>
                      <a:pt x="347" y="170"/>
                      <a:pt x="345" y="171"/>
                    </a:cubicBezTo>
                    <a:cubicBezTo>
                      <a:pt x="346" y="170"/>
                      <a:pt x="349" y="171"/>
                      <a:pt x="348" y="170"/>
                    </a:cubicBezTo>
                    <a:cubicBezTo>
                      <a:pt x="347" y="169"/>
                      <a:pt x="343" y="170"/>
                      <a:pt x="341" y="170"/>
                    </a:cubicBezTo>
                    <a:cubicBezTo>
                      <a:pt x="340" y="169"/>
                      <a:pt x="349" y="169"/>
                      <a:pt x="347" y="168"/>
                    </a:cubicBezTo>
                    <a:cubicBezTo>
                      <a:pt x="346" y="166"/>
                      <a:pt x="347" y="166"/>
                      <a:pt x="346" y="165"/>
                    </a:cubicBezTo>
                    <a:cubicBezTo>
                      <a:pt x="344" y="164"/>
                      <a:pt x="343" y="165"/>
                      <a:pt x="341" y="166"/>
                    </a:cubicBezTo>
                    <a:cubicBezTo>
                      <a:pt x="339" y="167"/>
                      <a:pt x="339" y="167"/>
                      <a:pt x="340" y="166"/>
                    </a:cubicBezTo>
                    <a:cubicBezTo>
                      <a:pt x="342" y="165"/>
                      <a:pt x="344" y="164"/>
                      <a:pt x="343" y="164"/>
                    </a:cubicBezTo>
                    <a:cubicBezTo>
                      <a:pt x="342" y="164"/>
                      <a:pt x="341" y="163"/>
                      <a:pt x="340" y="164"/>
                    </a:cubicBezTo>
                    <a:cubicBezTo>
                      <a:pt x="338" y="165"/>
                      <a:pt x="340" y="161"/>
                      <a:pt x="338" y="162"/>
                    </a:cubicBezTo>
                    <a:cubicBezTo>
                      <a:pt x="337" y="163"/>
                      <a:pt x="337" y="161"/>
                      <a:pt x="334" y="162"/>
                    </a:cubicBezTo>
                    <a:cubicBezTo>
                      <a:pt x="333" y="162"/>
                      <a:pt x="331" y="161"/>
                      <a:pt x="330" y="161"/>
                    </a:cubicBezTo>
                    <a:cubicBezTo>
                      <a:pt x="329" y="161"/>
                      <a:pt x="329" y="159"/>
                      <a:pt x="326" y="159"/>
                    </a:cubicBezTo>
                    <a:cubicBezTo>
                      <a:pt x="323" y="159"/>
                      <a:pt x="319" y="159"/>
                      <a:pt x="322" y="161"/>
                    </a:cubicBezTo>
                    <a:cubicBezTo>
                      <a:pt x="324" y="162"/>
                      <a:pt x="320" y="161"/>
                      <a:pt x="322" y="163"/>
                    </a:cubicBezTo>
                    <a:cubicBezTo>
                      <a:pt x="321" y="162"/>
                      <a:pt x="320" y="161"/>
                      <a:pt x="319" y="161"/>
                    </a:cubicBezTo>
                    <a:cubicBezTo>
                      <a:pt x="319" y="162"/>
                      <a:pt x="319" y="158"/>
                      <a:pt x="317" y="160"/>
                    </a:cubicBezTo>
                    <a:cubicBezTo>
                      <a:pt x="315" y="162"/>
                      <a:pt x="316" y="159"/>
                      <a:pt x="314" y="161"/>
                    </a:cubicBezTo>
                    <a:cubicBezTo>
                      <a:pt x="313" y="163"/>
                      <a:pt x="310" y="163"/>
                      <a:pt x="311" y="162"/>
                    </a:cubicBezTo>
                    <a:cubicBezTo>
                      <a:pt x="312" y="161"/>
                      <a:pt x="314" y="160"/>
                      <a:pt x="312" y="160"/>
                    </a:cubicBezTo>
                    <a:cubicBezTo>
                      <a:pt x="310" y="160"/>
                      <a:pt x="312" y="159"/>
                      <a:pt x="312" y="158"/>
                    </a:cubicBezTo>
                    <a:cubicBezTo>
                      <a:pt x="311" y="158"/>
                      <a:pt x="312" y="157"/>
                      <a:pt x="310" y="157"/>
                    </a:cubicBezTo>
                    <a:cubicBezTo>
                      <a:pt x="309" y="157"/>
                      <a:pt x="306" y="157"/>
                      <a:pt x="303" y="158"/>
                    </a:cubicBezTo>
                    <a:cubicBezTo>
                      <a:pt x="300" y="159"/>
                      <a:pt x="300" y="158"/>
                      <a:pt x="299" y="159"/>
                    </a:cubicBezTo>
                    <a:cubicBezTo>
                      <a:pt x="297" y="160"/>
                      <a:pt x="292" y="160"/>
                      <a:pt x="295" y="160"/>
                    </a:cubicBezTo>
                    <a:cubicBezTo>
                      <a:pt x="297" y="160"/>
                      <a:pt x="288" y="161"/>
                      <a:pt x="293" y="163"/>
                    </a:cubicBezTo>
                    <a:cubicBezTo>
                      <a:pt x="295" y="164"/>
                      <a:pt x="287" y="162"/>
                      <a:pt x="288" y="166"/>
                    </a:cubicBezTo>
                    <a:cubicBezTo>
                      <a:pt x="286" y="165"/>
                      <a:pt x="287" y="163"/>
                      <a:pt x="288" y="163"/>
                    </a:cubicBezTo>
                    <a:cubicBezTo>
                      <a:pt x="290" y="162"/>
                      <a:pt x="290" y="161"/>
                      <a:pt x="291" y="160"/>
                    </a:cubicBezTo>
                    <a:cubicBezTo>
                      <a:pt x="293" y="159"/>
                      <a:pt x="294" y="158"/>
                      <a:pt x="291" y="158"/>
                    </a:cubicBezTo>
                    <a:cubicBezTo>
                      <a:pt x="287" y="158"/>
                      <a:pt x="286" y="158"/>
                      <a:pt x="283" y="159"/>
                    </a:cubicBezTo>
                    <a:cubicBezTo>
                      <a:pt x="282" y="159"/>
                      <a:pt x="281" y="160"/>
                      <a:pt x="280" y="160"/>
                    </a:cubicBezTo>
                    <a:cubicBezTo>
                      <a:pt x="278" y="162"/>
                      <a:pt x="279" y="162"/>
                      <a:pt x="276" y="163"/>
                    </a:cubicBezTo>
                    <a:cubicBezTo>
                      <a:pt x="272" y="165"/>
                      <a:pt x="277" y="166"/>
                      <a:pt x="275" y="166"/>
                    </a:cubicBezTo>
                    <a:cubicBezTo>
                      <a:pt x="270" y="166"/>
                      <a:pt x="275" y="170"/>
                      <a:pt x="278" y="169"/>
                    </a:cubicBezTo>
                    <a:cubicBezTo>
                      <a:pt x="282" y="168"/>
                      <a:pt x="281" y="169"/>
                      <a:pt x="283" y="168"/>
                    </a:cubicBezTo>
                    <a:cubicBezTo>
                      <a:pt x="285" y="167"/>
                      <a:pt x="284" y="168"/>
                      <a:pt x="286" y="168"/>
                    </a:cubicBezTo>
                    <a:cubicBezTo>
                      <a:pt x="288" y="168"/>
                      <a:pt x="288" y="169"/>
                      <a:pt x="289" y="168"/>
                    </a:cubicBezTo>
                    <a:cubicBezTo>
                      <a:pt x="291" y="167"/>
                      <a:pt x="291" y="167"/>
                      <a:pt x="291" y="167"/>
                    </a:cubicBezTo>
                    <a:cubicBezTo>
                      <a:pt x="290" y="168"/>
                      <a:pt x="290" y="169"/>
                      <a:pt x="291" y="168"/>
                    </a:cubicBezTo>
                    <a:cubicBezTo>
                      <a:pt x="293" y="168"/>
                      <a:pt x="292" y="169"/>
                      <a:pt x="293" y="169"/>
                    </a:cubicBezTo>
                    <a:cubicBezTo>
                      <a:pt x="295" y="168"/>
                      <a:pt x="295" y="170"/>
                      <a:pt x="296" y="170"/>
                    </a:cubicBezTo>
                    <a:cubicBezTo>
                      <a:pt x="297" y="169"/>
                      <a:pt x="296" y="167"/>
                      <a:pt x="297" y="168"/>
                    </a:cubicBezTo>
                    <a:cubicBezTo>
                      <a:pt x="299" y="169"/>
                      <a:pt x="298" y="170"/>
                      <a:pt x="300" y="169"/>
                    </a:cubicBezTo>
                    <a:cubicBezTo>
                      <a:pt x="302" y="169"/>
                      <a:pt x="298" y="168"/>
                      <a:pt x="299" y="167"/>
                    </a:cubicBezTo>
                    <a:cubicBezTo>
                      <a:pt x="301" y="167"/>
                      <a:pt x="301" y="169"/>
                      <a:pt x="303" y="168"/>
                    </a:cubicBezTo>
                    <a:cubicBezTo>
                      <a:pt x="305" y="168"/>
                      <a:pt x="303" y="165"/>
                      <a:pt x="303" y="165"/>
                    </a:cubicBezTo>
                    <a:cubicBezTo>
                      <a:pt x="303" y="165"/>
                      <a:pt x="306" y="168"/>
                      <a:pt x="307" y="166"/>
                    </a:cubicBezTo>
                    <a:cubicBezTo>
                      <a:pt x="307" y="165"/>
                      <a:pt x="306" y="167"/>
                      <a:pt x="308" y="167"/>
                    </a:cubicBezTo>
                    <a:cubicBezTo>
                      <a:pt x="311" y="167"/>
                      <a:pt x="310" y="168"/>
                      <a:pt x="311" y="168"/>
                    </a:cubicBezTo>
                    <a:cubicBezTo>
                      <a:pt x="313" y="167"/>
                      <a:pt x="311" y="169"/>
                      <a:pt x="313" y="169"/>
                    </a:cubicBezTo>
                    <a:cubicBezTo>
                      <a:pt x="314" y="169"/>
                      <a:pt x="316" y="170"/>
                      <a:pt x="315" y="170"/>
                    </a:cubicBezTo>
                    <a:cubicBezTo>
                      <a:pt x="313" y="170"/>
                      <a:pt x="312" y="172"/>
                      <a:pt x="314" y="172"/>
                    </a:cubicBezTo>
                    <a:cubicBezTo>
                      <a:pt x="316" y="172"/>
                      <a:pt x="315" y="170"/>
                      <a:pt x="316" y="170"/>
                    </a:cubicBezTo>
                    <a:cubicBezTo>
                      <a:pt x="317" y="171"/>
                      <a:pt x="318" y="170"/>
                      <a:pt x="319" y="171"/>
                    </a:cubicBezTo>
                    <a:cubicBezTo>
                      <a:pt x="320" y="172"/>
                      <a:pt x="321" y="171"/>
                      <a:pt x="321" y="172"/>
                    </a:cubicBezTo>
                    <a:cubicBezTo>
                      <a:pt x="321" y="173"/>
                      <a:pt x="323" y="175"/>
                      <a:pt x="321" y="175"/>
                    </a:cubicBezTo>
                    <a:cubicBezTo>
                      <a:pt x="319" y="176"/>
                      <a:pt x="319" y="175"/>
                      <a:pt x="317" y="176"/>
                    </a:cubicBezTo>
                    <a:cubicBezTo>
                      <a:pt x="315" y="177"/>
                      <a:pt x="312" y="178"/>
                      <a:pt x="314" y="178"/>
                    </a:cubicBezTo>
                    <a:cubicBezTo>
                      <a:pt x="316" y="179"/>
                      <a:pt x="317" y="180"/>
                      <a:pt x="319" y="179"/>
                    </a:cubicBezTo>
                    <a:cubicBezTo>
                      <a:pt x="320" y="178"/>
                      <a:pt x="322" y="176"/>
                      <a:pt x="322" y="177"/>
                    </a:cubicBezTo>
                    <a:cubicBezTo>
                      <a:pt x="322" y="179"/>
                      <a:pt x="322" y="179"/>
                      <a:pt x="324" y="179"/>
                    </a:cubicBezTo>
                    <a:cubicBezTo>
                      <a:pt x="327" y="179"/>
                      <a:pt x="325" y="180"/>
                      <a:pt x="323" y="180"/>
                    </a:cubicBezTo>
                    <a:cubicBezTo>
                      <a:pt x="321" y="181"/>
                      <a:pt x="321" y="180"/>
                      <a:pt x="319" y="181"/>
                    </a:cubicBezTo>
                    <a:cubicBezTo>
                      <a:pt x="317" y="183"/>
                      <a:pt x="316" y="183"/>
                      <a:pt x="316" y="183"/>
                    </a:cubicBezTo>
                    <a:cubicBezTo>
                      <a:pt x="317" y="182"/>
                      <a:pt x="316" y="182"/>
                      <a:pt x="317" y="181"/>
                    </a:cubicBezTo>
                    <a:cubicBezTo>
                      <a:pt x="318" y="180"/>
                      <a:pt x="318" y="180"/>
                      <a:pt x="316" y="179"/>
                    </a:cubicBezTo>
                    <a:cubicBezTo>
                      <a:pt x="315" y="179"/>
                      <a:pt x="313" y="178"/>
                      <a:pt x="312" y="179"/>
                    </a:cubicBezTo>
                    <a:cubicBezTo>
                      <a:pt x="311" y="179"/>
                      <a:pt x="309" y="179"/>
                      <a:pt x="308" y="180"/>
                    </a:cubicBezTo>
                    <a:cubicBezTo>
                      <a:pt x="308" y="181"/>
                      <a:pt x="311" y="181"/>
                      <a:pt x="312" y="182"/>
                    </a:cubicBezTo>
                    <a:cubicBezTo>
                      <a:pt x="309" y="182"/>
                      <a:pt x="307" y="181"/>
                      <a:pt x="307" y="182"/>
                    </a:cubicBezTo>
                    <a:cubicBezTo>
                      <a:pt x="308" y="183"/>
                      <a:pt x="303" y="182"/>
                      <a:pt x="304" y="183"/>
                    </a:cubicBezTo>
                    <a:cubicBezTo>
                      <a:pt x="306" y="184"/>
                      <a:pt x="299" y="182"/>
                      <a:pt x="300" y="183"/>
                    </a:cubicBezTo>
                    <a:cubicBezTo>
                      <a:pt x="302" y="184"/>
                      <a:pt x="291" y="182"/>
                      <a:pt x="295" y="184"/>
                    </a:cubicBezTo>
                    <a:cubicBezTo>
                      <a:pt x="298" y="186"/>
                      <a:pt x="288" y="183"/>
                      <a:pt x="291" y="185"/>
                    </a:cubicBezTo>
                    <a:cubicBezTo>
                      <a:pt x="294" y="186"/>
                      <a:pt x="291" y="185"/>
                      <a:pt x="290" y="187"/>
                    </a:cubicBezTo>
                    <a:cubicBezTo>
                      <a:pt x="289" y="189"/>
                      <a:pt x="290" y="188"/>
                      <a:pt x="290" y="189"/>
                    </a:cubicBezTo>
                    <a:cubicBezTo>
                      <a:pt x="289" y="190"/>
                      <a:pt x="291" y="190"/>
                      <a:pt x="292" y="190"/>
                    </a:cubicBezTo>
                    <a:cubicBezTo>
                      <a:pt x="292" y="190"/>
                      <a:pt x="295" y="191"/>
                      <a:pt x="294" y="190"/>
                    </a:cubicBezTo>
                    <a:cubicBezTo>
                      <a:pt x="293" y="189"/>
                      <a:pt x="296" y="189"/>
                      <a:pt x="295" y="189"/>
                    </a:cubicBezTo>
                    <a:cubicBezTo>
                      <a:pt x="294" y="188"/>
                      <a:pt x="298" y="189"/>
                      <a:pt x="297" y="188"/>
                    </a:cubicBezTo>
                    <a:cubicBezTo>
                      <a:pt x="295" y="187"/>
                      <a:pt x="302" y="191"/>
                      <a:pt x="301" y="189"/>
                    </a:cubicBezTo>
                    <a:cubicBezTo>
                      <a:pt x="300" y="188"/>
                      <a:pt x="299" y="186"/>
                      <a:pt x="300" y="187"/>
                    </a:cubicBezTo>
                    <a:cubicBezTo>
                      <a:pt x="301" y="188"/>
                      <a:pt x="302" y="189"/>
                      <a:pt x="303" y="188"/>
                    </a:cubicBezTo>
                    <a:cubicBezTo>
                      <a:pt x="305" y="187"/>
                      <a:pt x="301" y="189"/>
                      <a:pt x="303" y="190"/>
                    </a:cubicBezTo>
                    <a:cubicBezTo>
                      <a:pt x="305" y="190"/>
                      <a:pt x="307" y="190"/>
                      <a:pt x="308" y="191"/>
                    </a:cubicBezTo>
                    <a:cubicBezTo>
                      <a:pt x="309" y="192"/>
                      <a:pt x="310" y="193"/>
                      <a:pt x="311" y="192"/>
                    </a:cubicBezTo>
                    <a:cubicBezTo>
                      <a:pt x="312" y="191"/>
                      <a:pt x="310" y="193"/>
                      <a:pt x="312" y="193"/>
                    </a:cubicBezTo>
                    <a:cubicBezTo>
                      <a:pt x="315" y="193"/>
                      <a:pt x="317" y="195"/>
                      <a:pt x="317" y="194"/>
                    </a:cubicBezTo>
                    <a:cubicBezTo>
                      <a:pt x="318" y="191"/>
                      <a:pt x="317" y="193"/>
                      <a:pt x="318" y="193"/>
                    </a:cubicBezTo>
                    <a:cubicBezTo>
                      <a:pt x="319" y="193"/>
                      <a:pt x="320" y="192"/>
                      <a:pt x="321" y="193"/>
                    </a:cubicBezTo>
                    <a:cubicBezTo>
                      <a:pt x="321" y="194"/>
                      <a:pt x="326" y="195"/>
                      <a:pt x="327" y="194"/>
                    </a:cubicBezTo>
                    <a:cubicBezTo>
                      <a:pt x="328" y="194"/>
                      <a:pt x="330" y="196"/>
                      <a:pt x="331" y="195"/>
                    </a:cubicBezTo>
                    <a:cubicBezTo>
                      <a:pt x="332" y="194"/>
                      <a:pt x="330" y="194"/>
                      <a:pt x="331" y="193"/>
                    </a:cubicBezTo>
                    <a:cubicBezTo>
                      <a:pt x="332" y="193"/>
                      <a:pt x="332" y="192"/>
                      <a:pt x="330" y="192"/>
                    </a:cubicBezTo>
                    <a:cubicBezTo>
                      <a:pt x="328" y="192"/>
                      <a:pt x="330" y="190"/>
                      <a:pt x="327" y="190"/>
                    </a:cubicBezTo>
                    <a:cubicBezTo>
                      <a:pt x="326" y="191"/>
                      <a:pt x="328" y="189"/>
                      <a:pt x="324" y="188"/>
                    </a:cubicBezTo>
                    <a:cubicBezTo>
                      <a:pt x="327" y="189"/>
                      <a:pt x="329" y="190"/>
                      <a:pt x="330" y="189"/>
                    </a:cubicBezTo>
                    <a:cubicBezTo>
                      <a:pt x="330" y="188"/>
                      <a:pt x="332" y="190"/>
                      <a:pt x="333" y="190"/>
                    </a:cubicBezTo>
                    <a:cubicBezTo>
                      <a:pt x="333" y="189"/>
                      <a:pt x="335" y="190"/>
                      <a:pt x="336" y="190"/>
                    </a:cubicBezTo>
                    <a:cubicBezTo>
                      <a:pt x="336" y="189"/>
                      <a:pt x="337" y="189"/>
                      <a:pt x="336" y="188"/>
                    </a:cubicBezTo>
                    <a:cubicBezTo>
                      <a:pt x="335" y="188"/>
                      <a:pt x="337" y="187"/>
                      <a:pt x="336" y="186"/>
                    </a:cubicBezTo>
                    <a:cubicBezTo>
                      <a:pt x="334" y="186"/>
                      <a:pt x="338" y="186"/>
                      <a:pt x="335" y="185"/>
                    </a:cubicBezTo>
                    <a:cubicBezTo>
                      <a:pt x="333" y="184"/>
                      <a:pt x="334" y="183"/>
                      <a:pt x="332" y="183"/>
                    </a:cubicBezTo>
                    <a:cubicBezTo>
                      <a:pt x="330" y="183"/>
                      <a:pt x="329" y="183"/>
                      <a:pt x="331" y="182"/>
                    </a:cubicBezTo>
                    <a:cubicBezTo>
                      <a:pt x="332" y="182"/>
                      <a:pt x="329" y="180"/>
                      <a:pt x="331" y="181"/>
                    </a:cubicBezTo>
                    <a:cubicBezTo>
                      <a:pt x="335" y="182"/>
                      <a:pt x="331" y="178"/>
                      <a:pt x="332" y="179"/>
                    </a:cubicBezTo>
                    <a:cubicBezTo>
                      <a:pt x="334" y="180"/>
                      <a:pt x="333" y="180"/>
                      <a:pt x="335" y="180"/>
                    </a:cubicBezTo>
                    <a:cubicBezTo>
                      <a:pt x="336" y="179"/>
                      <a:pt x="337" y="179"/>
                      <a:pt x="337" y="180"/>
                    </a:cubicBezTo>
                    <a:cubicBezTo>
                      <a:pt x="337" y="182"/>
                      <a:pt x="338" y="180"/>
                      <a:pt x="338" y="181"/>
                    </a:cubicBezTo>
                    <a:cubicBezTo>
                      <a:pt x="339" y="181"/>
                      <a:pt x="340" y="180"/>
                      <a:pt x="341" y="179"/>
                    </a:cubicBezTo>
                    <a:cubicBezTo>
                      <a:pt x="342" y="178"/>
                      <a:pt x="339" y="181"/>
                      <a:pt x="341" y="182"/>
                    </a:cubicBezTo>
                    <a:cubicBezTo>
                      <a:pt x="343" y="182"/>
                      <a:pt x="341" y="183"/>
                      <a:pt x="342" y="183"/>
                    </a:cubicBezTo>
                    <a:cubicBezTo>
                      <a:pt x="343" y="182"/>
                      <a:pt x="342" y="185"/>
                      <a:pt x="344" y="184"/>
                    </a:cubicBezTo>
                    <a:cubicBezTo>
                      <a:pt x="346" y="184"/>
                      <a:pt x="345" y="183"/>
                      <a:pt x="344" y="182"/>
                    </a:cubicBezTo>
                    <a:cubicBezTo>
                      <a:pt x="344" y="181"/>
                      <a:pt x="347" y="183"/>
                      <a:pt x="346" y="181"/>
                    </a:cubicBezTo>
                    <a:cubicBezTo>
                      <a:pt x="345" y="180"/>
                      <a:pt x="348" y="183"/>
                      <a:pt x="347" y="180"/>
                    </a:cubicBezTo>
                    <a:cubicBezTo>
                      <a:pt x="346" y="178"/>
                      <a:pt x="350" y="181"/>
                      <a:pt x="349" y="180"/>
                    </a:cubicBezTo>
                    <a:cubicBezTo>
                      <a:pt x="349" y="178"/>
                      <a:pt x="353" y="180"/>
                      <a:pt x="352" y="178"/>
                    </a:cubicBezTo>
                    <a:cubicBezTo>
                      <a:pt x="351" y="177"/>
                      <a:pt x="356" y="179"/>
                      <a:pt x="355" y="177"/>
                    </a:cubicBezTo>
                    <a:cubicBezTo>
                      <a:pt x="354" y="175"/>
                      <a:pt x="360" y="178"/>
                      <a:pt x="359" y="177"/>
                    </a:cubicBezTo>
                    <a:cubicBezTo>
                      <a:pt x="358" y="175"/>
                      <a:pt x="362" y="176"/>
                      <a:pt x="360" y="175"/>
                    </a:cubicBezTo>
                    <a:close/>
                    <a:moveTo>
                      <a:pt x="468" y="1"/>
                    </a:moveTo>
                    <a:cubicBezTo>
                      <a:pt x="210" y="0"/>
                      <a:pt x="1" y="209"/>
                      <a:pt x="0" y="467"/>
                    </a:cubicBezTo>
                    <a:cubicBezTo>
                      <a:pt x="0" y="725"/>
                      <a:pt x="209" y="934"/>
                      <a:pt x="466" y="934"/>
                    </a:cubicBezTo>
                    <a:cubicBezTo>
                      <a:pt x="724" y="935"/>
                      <a:pt x="934" y="726"/>
                      <a:pt x="934" y="468"/>
                    </a:cubicBezTo>
                    <a:cubicBezTo>
                      <a:pt x="934" y="211"/>
                      <a:pt x="726" y="1"/>
                      <a:pt x="468" y="1"/>
                    </a:cubicBezTo>
                    <a:close/>
                    <a:moveTo>
                      <a:pt x="467" y="884"/>
                    </a:moveTo>
                    <a:cubicBezTo>
                      <a:pt x="236" y="884"/>
                      <a:pt x="50" y="697"/>
                      <a:pt x="51" y="467"/>
                    </a:cubicBezTo>
                    <a:cubicBezTo>
                      <a:pt x="51" y="237"/>
                      <a:pt x="238" y="51"/>
                      <a:pt x="468" y="51"/>
                    </a:cubicBezTo>
                    <a:cubicBezTo>
                      <a:pt x="698" y="51"/>
                      <a:pt x="884" y="238"/>
                      <a:pt x="884" y="468"/>
                    </a:cubicBezTo>
                    <a:cubicBezTo>
                      <a:pt x="883" y="698"/>
                      <a:pt x="697" y="884"/>
                      <a:pt x="467" y="884"/>
                    </a:cubicBezTo>
                    <a:close/>
                    <a:moveTo>
                      <a:pt x="596" y="306"/>
                    </a:moveTo>
                    <a:cubicBezTo>
                      <a:pt x="596" y="306"/>
                      <a:pt x="597" y="308"/>
                      <a:pt x="596" y="308"/>
                    </a:cubicBezTo>
                    <a:cubicBezTo>
                      <a:pt x="596" y="309"/>
                      <a:pt x="597" y="309"/>
                      <a:pt x="596" y="310"/>
                    </a:cubicBezTo>
                    <a:cubicBezTo>
                      <a:pt x="596" y="310"/>
                      <a:pt x="596" y="311"/>
                      <a:pt x="596" y="313"/>
                    </a:cubicBezTo>
                    <a:cubicBezTo>
                      <a:pt x="596" y="314"/>
                      <a:pt x="598" y="314"/>
                      <a:pt x="597" y="314"/>
                    </a:cubicBezTo>
                    <a:cubicBezTo>
                      <a:pt x="597" y="315"/>
                      <a:pt x="598" y="314"/>
                      <a:pt x="599" y="314"/>
                    </a:cubicBezTo>
                    <a:cubicBezTo>
                      <a:pt x="600" y="315"/>
                      <a:pt x="598" y="313"/>
                      <a:pt x="599" y="313"/>
                    </a:cubicBezTo>
                    <a:cubicBezTo>
                      <a:pt x="599" y="313"/>
                      <a:pt x="600" y="314"/>
                      <a:pt x="600" y="314"/>
                    </a:cubicBezTo>
                    <a:cubicBezTo>
                      <a:pt x="601" y="313"/>
                      <a:pt x="600" y="312"/>
                      <a:pt x="601" y="311"/>
                    </a:cubicBezTo>
                    <a:cubicBezTo>
                      <a:pt x="601" y="311"/>
                      <a:pt x="600" y="311"/>
                      <a:pt x="601" y="310"/>
                    </a:cubicBezTo>
                    <a:cubicBezTo>
                      <a:pt x="601" y="309"/>
                      <a:pt x="601" y="309"/>
                      <a:pt x="601" y="308"/>
                    </a:cubicBezTo>
                    <a:cubicBezTo>
                      <a:pt x="600" y="308"/>
                      <a:pt x="602" y="308"/>
                      <a:pt x="601" y="307"/>
                    </a:cubicBezTo>
                    <a:cubicBezTo>
                      <a:pt x="600" y="306"/>
                      <a:pt x="601" y="305"/>
                      <a:pt x="600" y="305"/>
                    </a:cubicBezTo>
                    <a:cubicBezTo>
                      <a:pt x="600" y="304"/>
                      <a:pt x="600" y="304"/>
                      <a:pt x="600" y="303"/>
                    </a:cubicBezTo>
                    <a:cubicBezTo>
                      <a:pt x="599" y="303"/>
                      <a:pt x="599" y="303"/>
                      <a:pt x="598" y="303"/>
                    </a:cubicBezTo>
                    <a:cubicBezTo>
                      <a:pt x="597" y="303"/>
                      <a:pt x="598" y="304"/>
                      <a:pt x="597" y="304"/>
                    </a:cubicBezTo>
                    <a:cubicBezTo>
                      <a:pt x="596" y="305"/>
                      <a:pt x="595" y="304"/>
                      <a:pt x="595" y="304"/>
                    </a:cubicBezTo>
                    <a:cubicBezTo>
                      <a:pt x="595" y="304"/>
                      <a:pt x="595" y="305"/>
                      <a:pt x="595" y="305"/>
                    </a:cubicBezTo>
                    <a:cubicBezTo>
                      <a:pt x="595" y="305"/>
                      <a:pt x="595" y="306"/>
                      <a:pt x="596" y="306"/>
                    </a:cubicBezTo>
                    <a:close/>
                    <a:moveTo>
                      <a:pt x="846" y="435"/>
                    </a:moveTo>
                    <a:cubicBezTo>
                      <a:pt x="845" y="424"/>
                      <a:pt x="844" y="414"/>
                      <a:pt x="842" y="403"/>
                    </a:cubicBezTo>
                    <a:cubicBezTo>
                      <a:pt x="842" y="403"/>
                      <a:pt x="842" y="403"/>
                      <a:pt x="842" y="403"/>
                    </a:cubicBezTo>
                    <a:cubicBezTo>
                      <a:pt x="842" y="402"/>
                      <a:pt x="840" y="402"/>
                      <a:pt x="838" y="400"/>
                    </a:cubicBezTo>
                    <a:cubicBezTo>
                      <a:pt x="836" y="397"/>
                      <a:pt x="838" y="395"/>
                      <a:pt x="837" y="395"/>
                    </a:cubicBezTo>
                    <a:cubicBezTo>
                      <a:pt x="835" y="396"/>
                      <a:pt x="838" y="392"/>
                      <a:pt x="836" y="392"/>
                    </a:cubicBezTo>
                    <a:cubicBezTo>
                      <a:pt x="834" y="392"/>
                      <a:pt x="836" y="393"/>
                      <a:pt x="833" y="395"/>
                    </a:cubicBezTo>
                    <a:cubicBezTo>
                      <a:pt x="831" y="396"/>
                      <a:pt x="833" y="397"/>
                      <a:pt x="828" y="400"/>
                    </a:cubicBezTo>
                    <a:cubicBezTo>
                      <a:pt x="826" y="402"/>
                      <a:pt x="828" y="403"/>
                      <a:pt x="827" y="402"/>
                    </a:cubicBezTo>
                    <a:cubicBezTo>
                      <a:pt x="826" y="402"/>
                      <a:pt x="827" y="403"/>
                      <a:pt x="825" y="403"/>
                    </a:cubicBezTo>
                    <a:cubicBezTo>
                      <a:pt x="824" y="402"/>
                      <a:pt x="825" y="403"/>
                      <a:pt x="823" y="403"/>
                    </a:cubicBezTo>
                    <a:cubicBezTo>
                      <a:pt x="821" y="403"/>
                      <a:pt x="824" y="403"/>
                      <a:pt x="821" y="403"/>
                    </a:cubicBezTo>
                    <a:cubicBezTo>
                      <a:pt x="817" y="403"/>
                      <a:pt x="816" y="404"/>
                      <a:pt x="816" y="404"/>
                    </a:cubicBezTo>
                    <a:cubicBezTo>
                      <a:pt x="814" y="403"/>
                      <a:pt x="815" y="400"/>
                      <a:pt x="814" y="400"/>
                    </a:cubicBezTo>
                    <a:cubicBezTo>
                      <a:pt x="813" y="401"/>
                      <a:pt x="813" y="401"/>
                      <a:pt x="814" y="400"/>
                    </a:cubicBezTo>
                    <a:cubicBezTo>
                      <a:pt x="815" y="399"/>
                      <a:pt x="813" y="400"/>
                      <a:pt x="814" y="399"/>
                    </a:cubicBezTo>
                    <a:cubicBezTo>
                      <a:pt x="815" y="398"/>
                      <a:pt x="812" y="396"/>
                      <a:pt x="813" y="395"/>
                    </a:cubicBezTo>
                    <a:cubicBezTo>
                      <a:pt x="815" y="394"/>
                      <a:pt x="812" y="392"/>
                      <a:pt x="811" y="392"/>
                    </a:cubicBezTo>
                    <a:cubicBezTo>
                      <a:pt x="810" y="391"/>
                      <a:pt x="810" y="392"/>
                      <a:pt x="809" y="393"/>
                    </a:cubicBezTo>
                    <a:cubicBezTo>
                      <a:pt x="809" y="394"/>
                      <a:pt x="809" y="392"/>
                      <a:pt x="809" y="393"/>
                    </a:cubicBezTo>
                    <a:cubicBezTo>
                      <a:pt x="808" y="393"/>
                      <a:pt x="808" y="394"/>
                      <a:pt x="810" y="397"/>
                    </a:cubicBezTo>
                    <a:cubicBezTo>
                      <a:pt x="808" y="396"/>
                      <a:pt x="807" y="395"/>
                      <a:pt x="807" y="394"/>
                    </a:cubicBezTo>
                    <a:cubicBezTo>
                      <a:pt x="807" y="393"/>
                      <a:pt x="805" y="392"/>
                      <a:pt x="805" y="390"/>
                    </a:cubicBezTo>
                    <a:cubicBezTo>
                      <a:pt x="806" y="388"/>
                      <a:pt x="805" y="388"/>
                      <a:pt x="804" y="388"/>
                    </a:cubicBezTo>
                    <a:cubicBezTo>
                      <a:pt x="804" y="386"/>
                      <a:pt x="804" y="387"/>
                      <a:pt x="802" y="385"/>
                    </a:cubicBezTo>
                    <a:cubicBezTo>
                      <a:pt x="800" y="383"/>
                      <a:pt x="799" y="384"/>
                      <a:pt x="800" y="383"/>
                    </a:cubicBezTo>
                    <a:cubicBezTo>
                      <a:pt x="801" y="383"/>
                      <a:pt x="799" y="382"/>
                      <a:pt x="798" y="383"/>
                    </a:cubicBezTo>
                    <a:cubicBezTo>
                      <a:pt x="798" y="382"/>
                      <a:pt x="798" y="382"/>
                      <a:pt x="795" y="377"/>
                    </a:cubicBezTo>
                    <a:cubicBezTo>
                      <a:pt x="793" y="373"/>
                      <a:pt x="792" y="373"/>
                      <a:pt x="791" y="373"/>
                    </a:cubicBezTo>
                    <a:cubicBezTo>
                      <a:pt x="790" y="371"/>
                      <a:pt x="794" y="371"/>
                      <a:pt x="793" y="370"/>
                    </a:cubicBezTo>
                    <a:cubicBezTo>
                      <a:pt x="793" y="370"/>
                      <a:pt x="794" y="368"/>
                      <a:pt x="791" y="368"/>
                    </a:cubicBezTo>
                    <a:cubicBezTo>
                      <a:pt x="792" y="367"/>
                      <a:pt x="792" y="366"/>
                      <a:pt x="793" y="368"/>
                    </a:cubicBezTo>
                    <a:cubicBezTo>
                      <a:pt x="795" y="370"/>
                      <a:pt x="794" y="368"/>
                      <a:pt x="795" y="368"/>
                    </a:cubicBezTo>
                    <a:cubicBezTo>
                      <a:pt x="797" y="367"/>
                      <a:pt x="795" y="367"/>
                      <a:pt x="796" y="366"/>
                    </a:cubicBezTo>
                    <a:cubicBezTo>
                      <a:pt x="796" y="367"/>
                      <a:pt x="796" y="367"/>
                      <a:pt x="798" y="368"/>
                    </a:cubicBezTo>
                    <a:cubicBezTo>
                      <a:pt x="800" y="370"/>
                      <a:pt x="800" y="365"/>
                      <a:pt x="803" y="370"/>
                    </a:cubicBezTo>
                    <a:cubicBezTo>
                      <a:pt x="805" y="374"/>
                      <a:pt x="806" y="372"/>
                      <a:pt x="806" y="373"/>
                    </a:cubicBezTo>
                    <a:cubicBezTo>
                      <a:pt x="806" y="375"/>
                      <a:pt x="809" y="375"/>
                      <a:pt x="809" y="378"/>
                    </a:cubicBezTo>
                    <a:cubicBezTo>
                      <a:pt x="810" y="380"/>
                      <a:pt x="810" y="379"/>
                      <a:pt x="811" y="380"/>
                    </a:cubicBezTo>
                    <a:cubicBezTo>
                      <a:pt x="813" y="381"/>
                      <a:pt x="813" y="380"/>
                      <a:pt x="814" y="381"/>
                    </a:cubicBezTo>
                    <a:cubicBezTo>
                      <a:pt x="815" y="383"/>
                      <a:pt x="815" y="381"/>
                      <a:pt x="816" y="383"/>
                    </a:cubicBezTo>
                    <a:cubicBezTo>
                      <a:pt x="817" y="385"/>
                      <a:pt x="817" y="383"/>
                      <a:pt x="819" y="386"/>
                    </a:cubicBezTo>
                    <a:cubicBezTo>
                      <a:pt x="821" y="389"/>
                      <a:pt x="822" y="386"/>
                      <a:pt x="824" y="388"/>
                    </a:cubicBezTo>
                    <a:cubicBezTo>
                      <a:pt x="827" y="389"/>
                      <a:pt x="828" y="387"/>
                      <a:pt x="830" y="387"/>
                    </a:cubicBezTo>
                    <a:cubicBezTo>
                      <a:pt x="832" y="388"/>
                      <a:pt x="832" y="385"/>
                      <a:pt x="836" y="386"/>
                    </a:cubicBezTo>
                    <a:cubicBezTo>
                      <a:pt x="840" y="387"/>
                      <a:pt x="838" y="388"/>
                      <a:pt x="840" y="390"/>
                    </a:cubicBezTo>
                    <a:cubicBezTo>
                      <a:pt x="824" y="312"/>
                      <a:pt x="784" y="243"/>
                      <a:pt x="728" y="191"/>
                    </a:cubicBezTo>
                    <a:cubicBezTo>
                      <a:pt x="729" y="192"/>
                      <a:pt x="729" y="191"/>
                      <a:pt x="728" y="192"/>
                    </a:cubicBezTo>
                    <a:cubicBezTo>
                      <a:pt x="728" y="194"/>
                      <a:pt x="728" y="192"/>
                      <a:pt x="727" y="193"/>
                    </a:cubicBezTo>
                    <a:cubicBezTo>
                      <a:pt x="725" y="193"/>
                      <a:pt x="725" y="192"/>
                      <a:pt x="725" y="193"/>
                    </a:cubicBezTo>
                    <a:cubicBezTo>
                      <a:pt x="724" y="193"/>
                      <a:pt x="723" y="192"/>
                      <a:pt x="722" y="193"/>
                    </a:cubicBezTo>
                    <a:cubicBezTo>
                      <a:pt x="722" y="193"/>
                      <a:pt x="721" y="192"/>
                      <a:pt x="719" y="191"/>
                    </a:cubicBezTo>
                    <a:cubicBezTo>
                      <a:pt x="718" y="191"/>
                      <a:pt x="716" y="189"/>
                      <a:pt x="718" y="190"/>
                    </a:cubicBezTo>
                    <a:cubicBezTo>
                      <a:pt x="721" y="190"/>
                      <a:pt x="719" y="189"/>
                      <a:pt x="718" y="188"/>
                    </a:cubicBezTo>
                    <a:cubicBezTo>
                      <a:pt x="716" y="188"/>
                      <a:pt x="718" y="187"/>
                      <a:pt x="716" y="187"/>
                    </a:cubicBezTo>
                    <a:cubicBezTo>
                      <a:pt x="712" y="186"/>
                      <a:pt x="710" y="185"/>
                      <a:pt x="710" y="185"/>
                    </a:cubicBezTo>
                    <a:cubicBezTo>
                      <a:pt x="709" y="186"/>
                      <a:pt x="711" y="186"/>
                      <a:pt x="713" y="188"/>
                    </a:cubicBezTo>
                    <a:cubicBezTo>
                      <a:pt x="715" y="191"/>
                      <a:pt x="713" y="191"/>
                      <a:pt x="715" y="191"/>
                    </a:cubicBezTo>
                    <a:cubicBezTo>
                      <a:pt x="716" y="191"/>
                      <a:pt x="716" y="191"/>
                      <a:pt x="716" y="192"/>
                    </a:cubicBezTo>
                    <a:cubicBezTo>
                      <a:pt x="716" y="193"/>
                      <a:pt x="717" y="196"/>
                      <a:pt x="716" y="195"/>
                    </a:cubicBezTo>
                    <a:cubicBezTo>
                      <a:pt x="715" y="194"/>
                      <a:pt x="712" y="196"/>
                      <a:pt x="714" y="195"/>
                    </a:cubicBezTo>
                    <a:cubicBezTo>
                      <a:pt x="715" y="193"/>
                      <a:pt x="712" y="194"/>
                      <a:pt x="711" y="194"/>
                    </a:cubicBezTo>
                    <a:cubicBezTo>
                      <a:pt x="709" y="194"/>
                      <a:pt x="711" y="192"/>
                      <a:pt x="706" y="193"/>
                    </a:cubicBezTo>
                    <a:cubicBezTo>
                      <a:pt x="704" y="194"/>
                      <a:pt x="704" y="194"/>
                      <a:pt x="703" y="194"/>
                    </a:cubicBezTo>
                    <a:cubicBezTo>
                      <a:pt x="701" y="196"/>
                      <a:pt x="701" y="195"/>
                      <a:pt x="701" y="196"/>
                    </a:cubicBezTo>
                    <a:cubicBezTo>
                      <a:pt x="700" y="197"/>
                      <a:pt x="707" y="198"/>
                      <a:pt x="707" y="199"/>
                    </a:cubicBezTo>
                    <a:cubicBezTo>
                      <a:pt x="706" y="200"/>
                      <a:pt x="705" y="199"/>
                      <a:pt x="704" y="199"/>
                    </a:cubicBezTo>
                    <a:cubicBezTo>
                      <a:pt x="701" y="200"/>
                      <a:pt x="702" y="198"/>
                      <a:pt x="697" y="199"/>
                    </a:cubicBezTo>
                    <a:cubicBezTo>
                      <a:pt x="695" y="199"/>
                      <a:pt x="699" y="198"/>
                      <a:pt x="696" y="198"/>
                    </a:cubicBezTo>
                    <a:cubicBezTo>
                      <a:pt x="693" y="198"/>
                      <a:pt x="693" y="197"/>
                      <a:pt x="693" y="198"/>
                    </a:cubicBezTo>
                    <a:cubicBezTo>
                      <a:pt x="692" y="198"/>
                      <a:pt x="691" y="198"/>
                      <a:pt x="692" y="199"/>
                    </a:cubicBezTo>
                    <a:cubicBezTo>
                      <a:pt x="694" y="199"/>
                      <a:pt x="691" y="200"/>
                      <a:pt x="695" y="200"/>
                    </a:cubicBezTo>
                    <a:cubicBezTo>
                      <a:pt x="698" y="200"/>
                      <a:pt x="699" y="201"/>
                      <a:pt x="698" y="201"/>
                    </a:cubicBezTo>
                    <a:cubicBezTo>
                      <a:pt x="697" y="201"/>
                      <a:pt x="697" y="203"/>
                      <a:pt x="697" y="202"/>
                    </a:cubicBezTo>
                    <a:cubicBezTo>
                      <a:pt x="695" y="201"/>
                      <a:pt x="692" y="202"/>
                      <a:pt x="691" y="201"/>
                    </a:cubicBezTo>
                    <a:cubicBezTo>
                      <a:pt x="690" y="200"/>
                      <a:pt x="689" y="200"/>
                      <a:pt x="687" y="200"/>
                    </a:cubicBezTo>
                    <a:cubicBezTo>
                      <a:pt x="683" y="199"/>
                      <a:pt x="687" y="200"/>
                      <a:pt x="686" y="199"/>
                    </a:cubicBezTo>
                    <a:cubicBezTo>
                      <a:pt x="684" y="198"/>
                      <a:pt x="686" y="198"/>
                      <a:pt x="685" y="197"/>
                    </a:cubicBezTo>
                    <a:cubicBezTo>
                      <a:pt x="683" y="197"/>
                      <a:pt x="684" y="197"/>
                      <a:pt x="684" y="196"/>
                    </a:cubicBezTo>
                    <a:cubicBezTo>
                      <a:pt x="683" y="196"/>
                      <a:pt x="684" y="196"/>
                      <a:pt x="684" y="195"/>
                    </a:cubicBezTo>
                    <a:cubicBezTo>
                      <a:pt x="684" y="194"/>
                      <a:pt x="683" y="195"/>
                      <a:pt x="682" y="194"/>
                    </a:cubicBezTo>
                    <a:cubicBezTo>
                      <a:pt x="680" y="193"/>
                      <a:pt x="680" y="194"/>
                      <a:pt x="678" y="193"/>
                    </a:cubicBezTo>
                    <a:cubicBezTo>
                      <a:pt x="675" y="192"/>
                      <a:pt x="679" y="193"/>
                      <a:pt x="676" y="192"/>
                    </a:cubicBezTo>
                    <a:cubicBezTo>
                      <a:pt x="674" y="191"/>
                      <a:pt x="675" y="191"/>
                      <a:pt x="675" y="191"/>
                    </a:cubicBezTo>
                    <a:cubicBezTo>
                      <a:pt x="675" y="191"/>
                      <a:pt x="671" y="191"/>
                      <a:pt x="671" y="190"/>
                    </a:cubicBezTo>
                    <a:cubicBezTo>
                      <a:pt x="671" y="189"/>
                      <a:pt x="671" y="190"/>
                      <a:pt x="673" y="190"/>
                    </a:cubicBezTo>
                    <a:cubicBezTo>
                      <a:pt x="675" y="190"/>
                      <a:pt x="675" y="191"/>
                      <a:pt x="675" y="190"/>
                    </a:cubicBezTo>
                    <a:cubicBezTo>
                      <a:pt x="677" y="190"/>
                      <a:pt x="676" y="191"/>
                      <a:pt x="677" y="191"/>
                    </a:cubicBezTo>
                    <a:cubicBezTo>
                      <a:pt x="678" y="190"/>
                      <a:pt x="678" y="192"/>
                      <a:pt x="679" y="191"/>
                    </a:cubicBezTo>
                    <a:cubicBezTo>
                      <a:pt x="681" y="190"/>
                      <a:pt x="678" y="192"/>
                      <a:pt x="689" y="193"/>
                    </a:cubicBezTo>
                    <a:cubicBezTo>
                      <a:pt x="698" y="194"/>
                      <a:pt x="699" y="195"/>
                      <a:pt x="700" y="195"/>
                    </a:cubicBezTo>
                    <a:cubicBezTo>
                      <a:pt x="703" y="194"/>
                      <a:pt x="703" y="192"/>
                      <a:pt x="704" y="192"/>
                    </a:cubicBezTo>
                    <a:cubicBezTo>
                      <a:pt x="705" y="192"/>
                      <a:pt x="704" y="192"/>
                      <a:pt x="704" y="191"/>
                    </a:cubicBezTo>
                    <a:cubicBezTo>
                      <a:pt x="705" y="191"/>
                      <a:pt x="702" y="189"/>
                      <a:pt x="702" y="189"/>
                    </a:cubicBezTo>
                    <a:cubicBezTo>
                      <a:pt x="701" y="189"/>
                      <a:pt x="701" y="188"/>
                      <a:pt x="700" y="188"/>
                    </a:cubicBezTo>
                    <a:cubicBezTo>
                      <a:pt x="699" y="188"/>
                      <a:pt x="696" y="186"/>
                      <a:pt x="693" y="186"/>
                    </a:cubicBezTo>
                    <a:cubicBezTo>
                      <a:pt x="691" y="187"/>
                      <a:pt x="685" y="184"/>
                      <a:pt x="684" y="184"/>
                    </a:cubicBezTo>
                    <a:cubicBezTo>
                      <a:pt x="682" y="185"/>
                      <a:pt x="677" y="182"/>
                      <a:pt x="675" y="182"/>
                    </a:cubicBezTo>
                    <a:cubicBezTo>
                      <a:pt x="672" y="183"/>
                      <a:pt x="671" y="182"/>
                      <a:pt x="670" y="183"/>
                    </a:cubicBezTo>
                    <a:cubicBezTo>
                      <a:pt x="670" y="183"/>
                      <a:pt x="669" y="182"/>
                      <a:pt x="669" y="183"/>
                    </a:cubicBezTo>
                    <a:cubicBezTo>
                      <a:pt x="668" y="183"/>
                      <a:pt x="666" y="182"/>
                      <a:pt x="665" y="182"/>
                    </a:cubicBezTo>
                    <a:cubicBezTo>
                      <a:pt x="664" y="181"/>
                      <a:pt x="668" y="182"/>
                      <a:pt x="668" y="182"/>
                    </a:cubicBezTo>
                    <a:cubicBezTo>
                      <a:pt x="667" y="181"/>
                      <a:pt x="663" y="180"/>
                      <a:pt x="664" y="181"/>
                    </a:cubicBezTo>
                    <a:cubicBezTo>
                      <a:pt x="665" y="183"/>
                      <a:pt x="663" y="180"/>
                      <a:pt x="661" y="181"/>
                    </a:cubicBezTo>
                    <a:cubicBezTo>
                      <a:pt x="659" y="181"/>
                      <a:pt x="659" y="180"/>
                      <a:pt x="657" y="180"/>
                    </a:cubicBezTo>
                    <a:cubicBezTo>
                      <a:pt x="658" y="180"/>
                      <a:pt x="662" y="181"/>
                      <a:pt x="661" y="180"/>
                    </a:cubicBezTo>
                    <a:cubicBezTo>
                      <a:pt x="660" y="178"/>
                      <a:pt x="659" y="178"/>
                      <a:pt x="658" y="178"/>
                    </a:cubicBezTo>
                    <a:cubicBezTo>
                      <a:pt x="657" y="179"/>
                      <a:pt x="657" y="176"/>
                      <a:pt x="655" y="178"/>
                    </a:cubicBezTo>
                    <a:cubicBezTo>
                      <a:pt x="655" y="179"/>
                      <a:pt x="655" y="178"/>
                      <a:pt x="654" y="178"/>
                    </a:cubicBezTo>
                    <a:cubicBezTo>
                      <a:pt x="653" y="179"/>
                      <a:pt x="655" y="177"/>
                      <a:pt x="653" y="176"/>
                    </a:cubicBezTo>
                    <a:cubicBezTo>
                      <a:pt x="651" y="176"/>
                      <a:pt x="653" y="178"/>
                      <a:pt x="651" y="178"/>
                    </a:cubicBezTo>
                    <a:cubicBezTo>
                      <a:pt x="650" y="179"/>
                      <a:pt x="651" y="176"/>
                      <a:pt x="651" y="176"/>
                    </a:cubicBezTo>
                    <a:cubicBezTo>
                      <a:pt x="650" y="177"/>
                      <a:pt x="650" y="178"/>
                      <a:pt x="648" y="179"/>
                    </a:cubicBezTo>
                    <a:cubicBezTo>
                      <a:pt x="646" y="180"/>
                      <a:pt x="650" y="175"/>
                      <a:pt x="648" y="176"/>
                    </a:cubicBezTo>
                    <a:cubicBezTo>
                      <a:pt x="646" y="176"/>
                      <a:pt x="647" y="174"/>
                      <a:pt x="645" y="176"/>
                    </a:cubicBezTo>
                    <a:cubicBezTo>
                      <a:pt x="642" y="178"/>
                      <a:pt x="646" y="176"/>
                      <a:pt x="644" y="179"/>
                    </a:cubicBezTo>
                    <a:cubicBezTo>
                      <a:pt x="643" y="176"/>
                      <a:pt x="642" y="176"/>
                      <a:pt x="641" y="178"/>
                    </a:cubicBezTo>
                    <a:cubicBezTo>
                      <a:pt x="639" y="176"/>
                      <a:pt x="639" y="179"/>
                      <a:pt x="637" y="179"/>
                    </a:cubicBezTo>
                    <a:cubicBezTo>
                      <a:pt x="636" y="179"/>
                      <a:pt x="635" y="179"/>
                      <a:pt x="634" y="179"/>
                    </a:cubicBezTo>
                    <a:cubicBezTo>
                      <a:pt x="632" y="178"/>
                      <a:pt x="633" y="179"/>
                      <a:pt x="631" y="179"/>
                    </a:cubicBezTo>
                    <a:cubicBezTo>
                      <a:pt x="630" y="179"/>
                      <a:pt x="632" y="180"/>
                      <a:pt x="629" y="180"/>
                    </a:cubicBezTo>
                    <a:cubicBezTo>
                      <a:pt x="627" y="180"/>
                      <a:pt x="627" y="181"/>
                      <a:pt x="626" y="180"/>
                    </a:cubicBezTo>
                    <a:cubicBezTo>
                      <a:pt x="624" y="180"/>
                      <a:pt x="624" y="181"/>
                      <a:pt x="623" y="181"/>
                    </a:cubicBezTo>
                    <a:cubicBezTo>
                      <a:pt x="622" y="180"/>
                      <a:pt x="619" y="182"/>
                      <a:pt x="618" y="182"/>
                    </a:cubicBezTo>
                    <a:cubicBezTo>
                      <a:pt x="617" y="181"/>
                      <a:pt x="618" y="183"/>
                      <a:pt x="617" y="183"/>
                    </a:cubicBezTo>
                    <a:cubicBezTo>
                      <a:pt x="615" y="183"/>
                      <a:pt x="616" y="183"/>
                      <a:pt x="614" y="184"/>
                    </a:cubicBezTo>
                    <a:cubicBezTo>
                      <a:pt x="613" y="184"/>
                      <a:pt x="613" y="185"/>
                      <a:pt x="612" y="185"/>
                    </a:cubicBezTo>
                    <a:cubicBezTo>
                      <a:pt x="611" y="186"/>
                      <a:pt x="613" y="187"/>
                      <a:pt x="610" y="187"/>
                    </a:cubicBezTo>
                    <a:cubicBezTo>
                      <a:pt x="608" y="187"/>
                      <a:pt x="609" y="187"/>
                      <a:pt x="608" y="187"/>
                    </a:cubicBezTo>
                    <a:cubicBezTo>
                      <a:pt x="606" y="188"/>
                      <a:pt x="607" y="188"/>
                      <a:pt x="605" y="189"/>
                    </a:cubicBezTo>
                    <a:cubicBezTo>
                      <a:pt x="604" y="189"/>
                      <a:pt x="605" y="190"/>
                      <a:pt x="604" y="190"/>
                    </a:cubicBezTo>
                    <a:cubicBezTo>
                      <a:pt x="603" y="190"/>
                      <a:pt x="604" y="191"/>
                      <a:pt x="603" y="191"/>
                    </a:cubicBezTo>
                    <a:cubicBezTo>
                      <a:pt x="601" y="192"/>
                      <a:pt x="602" y="193"/>
                      <a:pt x="600" y="193"/>
                    </a:cubicBezTo>
                    <a:cubicBezTo>
                      <a:pt x="598" y="194"/>
                      <a:pt x="599" y="195"/>
                      <a:pt x="598" y="195"/>
                    </a:cubicBezTo>
                    <a:cubicBezTo>
                      <a:pt x="596" y="196"/>
                      <a:pt x="597" y="197"/>
                      <a:pt x="596" y="197"/>
                    </a:cubicBezTo>
                    <a:cubicBezTo>
                      <a:pt x="595" y="197"/>
                      <a:pt x="595" y="198"/>
                      <a:pt x="593" y="198"/>
                    </a:cubicBezTo>
                    <a:cubicBezTo>
                      <a:pt x="592" y="199"/>
                      <a:pt x="594" y="199"/>
                      <a:pt x="593" y="199"/>
                    </a:cubicBezTo>
                    <a:cubicBezTo>
                      <a:pt x="594" y="200"/>
                      <a:pt x="594" y="200"/>
                      <a:pt x="597" y="199"/>
                    </a:cubicBezTo>
                    <a:cubicBezTo>
                      <a:pt x="596" y="200"/>
                      <a:pt x="595" y="200"/>
                      <a:pt x="596" y="201"/>
                    </a:cubicBezTo>
                    <a:cubicBezTo>
                      <a:pt x="594" y="200"/>
                      <a:pt x="595" y="201"/>
                      <a:pt x="593" y="200"/>
                    </a:cubicBezTo>
                    <a:cubicBezTo>
                      <a:pt x="591" y="199"/>
                      <a:pt x="592" y="199"/>
                      <a:pt x="591" y="200"/>
                    </a:cubicBezTo>
                    <a:cubicBezTo>
                      <a:pt x="591" y="199"/>
                      <a:pt x="589" y="200"/>
                      <a:pt x="589" y="201"/>
                    </a:cubicBezTo>
                    <a:cubicBezTo>
                      <a:pt x="588" y="200"/>
                      <a:pt x="586" y="201"/>
                      <a:pt x="586" y="202"/>
                    </a:cubicBezTo>
                    <a:cubicBezTo>
                      <a:pt x="585" y="201"/>
                      <a:pt x="585" y="201"/>
                      <a:pt x="583" y="202"/>
                    </a:cubicBezTo>
                    <a:cubicBezTo>
                      <a:pt x="582" y="202"/>
                      <a:pt x="582" y="202"/>
                      <a:pt x="583" y="203"/>
                    </a:cubicBezTo>
                    <a:cubicBezTo>
                      <a:pt x="582" y="202"/>
                      <a:pt x="581" y="203"/>
                      <a:pt x="580" y="203"/>
                    </a:cubicBezTo>
                    <a:cubicBezTo>
                      <a:pt x="579" y="204"/>
                      <a:pt x="578" y="204"/>
                      <a:pt x="577" y="205"/>
                    </a:cubicBezTo>
                    <a:cubicBezTo>
                      <a:pt x="576" y="206"/>
                      <a:pt x="576" y="205"/>
                      <a:pt x="575" y="205"/>
                    </a:cubicBezTo>
                    <a:cubicBezTo>
                      <a:pt x="574" y="206"/>
                      <a:pt x="574" y="207"/>
                      <a:pt x="576" y="207"/>
                    </a:cubicBezTo>
                    <a:cubicBezTo>
                      <a:pt x="573" y="207"/>
                      <a:pt x="573" y="209"/>
                      <a:pt x="575" y="209"/>
                    </a:cubicBezTo>
                    <a:cubicBezTo>
                      <a:pt x="576" y="209"/>
                      <a:pt x="576" y="208"/>
                      <a:pt x="578" y="209"/>
                    </a:cubicBezTo>
                    <a:cubicBezTo>
                      <a:pt x="580" y="209"/>
                      <a:pt x="578" y="208"/>
                      <a:pt x="580" y="209"/>
                    </a:cubicBezTo>
                    <a:cubicBezTo>
                      <a:pt x="582" y="209"/>
                      <a:pt x="583" y="208"/>
                      <a:pt x="583" y="208"/>
                    </a:cubicBezTo>
                    <a:cubicBezTo>
                      <a:pt x="583" y="208"/>
                      <a:pt x="583" y="210"/>
                      <a:pt x="581" y="209"/>
                    </a:cubicBezTo>
                    <a:cubicBezTo>
                      <a:pt x="579" y="209"/>
                      <a:pt x="579" y="210"/>
                      <a:pt x="578" y="209"/>
                    </a:cubicBezTo>
                    <a:cubicBezTo>
                      <a:pt x="577" y="209"/>
                      <a:pt x="576" y="209"/>
                      <a:pt x="574" y="209"/>
                    </a:cubicBezTo>
                    <a:cubicBezTo>
                      <a:pt x="572" y="209"/>
                      <a:pt x="575" y="210"/>
                      <a:pt x="574" y="210"/>
                    </a:cubicBezTo>
                    <a:cubicBezTo>
                      <a:pt x="573" y="211"/>
                      <a:pt x="574" y="211"/>
                      <a:pt x="576" y="211"/>
                    </a:cubicBezTo>
                    <a:cubicBezTo>
                      <a:pt x="575" y="212"/>
                      <a:pt x="574" y="211"/>
                      <a:pt x="574" y="212"/>
                    </a:cubicBezTo>
                    <a:cubicBezTo>
                      <a:pt x="574" y="214"/>
                      <a:pt x="575" y="212"/>
                      <a:pt x="575" y="212"/>
                    </a:cubicBezTo>
                    <a:cubicBezTo>
                      <a:pt x="575" y="214"/>
                      <a:pt x="576" y="212"/>
                      <a:pt x="576" y="213"/>
                    </a:cubicBezTo>
                    <a:cubicBezTo>
                      <a:pt x="576" y="214"/>
                      <a:pt x="577" y="213"/>
                      <a:pt x="577" y="214"/>
                    </a:cubicBezTo>
                    <a:cubicBezTo>
                      <a:pt x="578" y="214"/>
                      <a:pt x="577" y="215"/>
                      <a:pt x="576" y="214"/>
                    </a:cubicBezTo>
                    <a:cubicBezTo>
                      <a:pt x="575" y="213"/>
                      <a:pt x="575" y="215"/>
                      <a:pt x="575" y="217"/>
                    </a:cubicBezTo>
                    <a:cubicBezTo>
                      <a:pt x="577" y="215"/>
                      <a:pt x="575" y="217"/>
                      <a:pt x="577" y="216"/>
                    </a:cubicBezTo>
                    <a:cubicBezTo>
                      <a:pt x="578" y="216"/>
                      <a:pt x="577" y="216"/>
                      <a:pt x="580" y="215"/>
                    </a:cubicBezTo>
                    <a:cubicBezTo>
                      <a:pt x="578" y="217"/>
                      <a:pt x="577" y="216"/>
                      <a:pt x="579" y="218"/>
                    </a:cubicBezTo>
                    <a:cubicBezTo>
                      <a:pt x="577" y="218"/>
                      <a:pt x="577" y="216"/>
                      <a:pt x="576" y="218"/>
                    </a:cubicBezTo>
                    <a:cubicBezTo>
                      <a:pt x="575" y="219"/>
                      <a:pt x="577" y="219"/>
                      <a:pt x="578" y="220"/>
                    </a:cubicBezTo>
                    <a:cubicBezTo>
                      <a:pt x="578" y="221"/>
                      <a:pt x="579" y="222"/>
                      <a:pt x="581" y="221"/>
                    </a:cubicBezTo>
                    <a:cubicBezTo>
                      <a:pt x="579" y="222"/>
                      <a:pt x="580" y="222"/>
                      <a:pt x="583" y="223"/>
                    </a:cubicBezTo>
                    <a:cubicBezTo>
                      <a:pt x="581" y="224"/>
                      <a:pt x="583" y="222"/>
                      <a:pt x="584" y="223"/>
                    </a:cubicBezTo>
                    <a:cubicBezTo>
                      <a:pt x="586" y="224"/>
                      <a:pt x="585" y="223"/>
                      <a:pt x="588" y="223"/>
                    </a:cubicBezTo>
                    <a:cubicBezTo>
                      <a:pt x="590" y="223"/>
                      <a:pt x="590" y="222"/>
                      <a:pt x="591" y="221"/>
                    </a:cubicBezTo>
                    <a:cubicBezTo>
                      <a:pt x="592" y="221"/>
                      <a:pt x="593" y="220"/>
                      <a:pt x="592" y="219"/>
                    </a:cubicBezTo>
                    <a:cubicBezTo>
                      <a:pt x="594" y="220"/>
                      <a:pt x="594" y="219"/>
                      <a:pt x="595" y="219"/>
                    </a:cubicBezTo>
                    <a:cubicBezTo>
                      <a:pt x="596" y="219"/>
                      <a:pt x="596" y="218"/>
                      <a:pt x="595" y="217"/>
                    </a:cubicBezTo>
                    <a:cubicBezTo>
                      <a:pt x="596" y="218"/>
                      <a:pt x="596" y="216"/>
                      <a:pt x="596" y="215"/>
                    </a:cubicBezTo>
                    <a:cubicBezTo>
                      <a:pt x="596" y="216"/>
                      <a:pt x="596" y="217"/>
                      <a:pt x="597" y="218"/>
                    </a:cubicBezTo>
                    <a:cubicBezTo>
                      <a:pt x="597" y="220"/>
                      <a:pt x="598" y="218"/>
                      <a:pt x="599" y="219"/>
                    </a:cubicBezTo>
                    <a:cubicBezTo>
                      <a:pt x="597" y="219"/>
                      <a:pt x="599" y="219"/>
                      <a:pt x="600" y="221"/>
                    </a:cubicBezTo>
                    <a:cubicBezTo>
                      <a:pt x="600" y="223"/>
                      <a:pt x="601" y="221"/>
                      <a:pt x="601" y="223"/>
                    </a:cubicBezTo>
                    <a:cubicBezTo>
                      <a:pt x="601" y="224"/>
                      <a:pt x="602" y="222"/>
                      <a:pt x="602" y="224"/>
                    </a:cubicBezTo>
                    <a:cubicBezTo>
                      <a:pt x="603" y="226"/>
                      <a:pt x="602" y="223"/>
                      <a:pt x="603" y="225"/>
                    </a:cubicBezTo>
                    <a:cubicBezTo>
                      <a:pt x="604" y="226"/>
                      <a:pt x="604" y="227"/>
                      <a:pt x="605" y="228"/>
                    </a:cubicBezTo>
                    <a:cubicBezTo>
                      <a:pt x="607" y="229"/>
                      <a:pt x="605" y="229"/>
                      <a:pt x="607" y="229"/>
                    </a:cubicBezTo>
                    <a:cubicBezTo>
                      <a:pt x="608" y="230"/>
                      <a:pt x="607" y="231"/>
                      <a:pt x="606" y="230"/>
                    </a:cubicBezTo>
                    <a:cubicBezTo>
                      <a:pt x="606" y="231"/>
                      <a:pt x="606" y="231"/>
                      <a:pt x="607" y="232"/>
                    </a:cubicBezTo>
                    <a:cubicBezTo>
                      <a:pt x="609" y="233"/>
                      <a:pt x="608" y="236"/>
                      <a:pt x="611" y="234"/>
                    </a:cubicBezTo>
                    <a:cubicBezTo>
                      <a:pt x="612" y="234"/>
                      <a:pt x="614" y="235"/>
                      <a:pt x="615" y="234"/>
                    </a:cubicBezTo>
                    <a:cubicBezTo>
                      <a:pt x="615" y="233"/>
                      <a:pt x="614" y="235"/>
                      <a:pt x="615" y="232"/>
                    </a:cubicBezTo>
                    <a:cubicBezTo>
                      <a:pt x="616" y="230"/>
                      <a:pt x="616" y="232"/>
                      <a:pt x="616" y="231"/>
                    </a:cubicBezTo>
                    <a:cubicBezTo>
                      <a:pt x="617" y="230"/>
                      <a:pt x="618" y="232"/>
                      <a:pt x="619" y="232"/>
                    </a:cubicBezTo>
                    <a:cubicBezTo>
                      <a:pt x="621" y="232"/>
                      <a:pt x="621" y="230"/>
                      <a:pt x="621" y="229"/>
                    </a:cubicBezTo>
                    <a:cubicBezTo>
                      <a:pt x="622" y="228"/>
                      <a:pt x="621" y="227"/>
                      <a:pt x="622" y="226"/>
                    </a:cubicBezTo>
                    <a:cubicBezTo>
                      <a:pt x="623" y="224"/>
                      <a:pt x="621" y="223"/>
                      <a:pt x="622" y="223"/>
                    </a:cubicBezTo>
                    <a:cubicBezTo>
                      <a:pt x="623" y="222"/>
                      <a:pt x="622" y="222"/>
                      <a:pt x="622" y="221"/>
                    </a:cubicBezTo>
                    <a:cubicBezTo>
                      <a:pt x="623" y="220"/>
                      <a:pt x="623" y="220"/>
                      <a:pt x="620" y="220"/>
                    </a:cubicBezTo>
                    <a:cubicBezTo>
                      <a:pt x="621" y="219"/>
                      <a:pt x="626" y="221"/>
                      <a:pt x="624" y="219"/>
                    </a:cubicBezTo>
                    <a:cubicBezTo>
                      <a:pt x="625" y="219"/>
                      <a:pt x="626" y="220"/>
                      <a:pt x="626" y="219"/>
                    </a:cubicBezTo>
                    <a:cubicBezTo>
                      <a:pt x="627" y="218"/>
                      <a:pt x="627" y="220"/>
                      <a:pt x="629" y="217"/>
                    </a:cubicBezTo>
                    <a:cubicBezTo>
                      <a:pt x="626" y="218"/>
                      <a:pt x="627" y="217"/>
                      <a:pt x="624" y="216"/>
                    </a:cubicBezTo>
                    <a:cubicBezTo>
                      <a:pt x="624" y="216"/>
                      <a:pt x="625" y="216"/>
                      <a:pt x="626" y="217"/>
                    </a:cubicBezTo>
                    <a:cubicBezTo>
                      <a:pt x="627" y="217"/>
                      <a:pt x="628" y="216"/>
                      <a:pt x="628" y="216"/>
                    </a:cubicBezTo>
                    <a:cubicBezTo>
                      <a:pt x="629" y="216"/>
                      <a:pt x="629" y="215"/>
                      <a:pt x="627" y="215"/>
                    </a:cubicBezTo>
                    <a:cubicBezTo>
                      <a:pt x="625" y="214"/>
                      <a:pt x="626" y="214"/>
                      <a:pt x="625" y="213"/>
                    </a:cubicBezTo>
                    <a:cubicBezTo>
                      <a:pt x="623" y="213"/>
                      <a:pt x="626" y="215"/>
                      <a:pt x="623" y="213"/>
                    </a:cubicBezTo>
                    <a:cubicBezTo>
                      <a:pt x="620" y="211"/>
                      <a:pt x="622" y="210"/>
                      <a:pt x="622" y="209"/>
                    </a:cubicBezTo>
                    <a:cubicBezTo>
                      <a:pt x="621" y="208"/>
                      <a:pt x="622" y="207"/>
                      <a:pt x="622" y="205"/>
                    </a:cubicBezTo>
                    <a:cubicBezTo>
                      <a:pt x="621" y="203"/>
                      <a:pt x="623" y="206"/>
                      <a:pt x="623" y="205"/>
                    </a:cubicBezTo>
                    <a:cubicBezTo>
                      <a:pt x="624" y="203"/>
                      <a:pt x="624" y="205"/>
                      <a:pt x="625" y="204"/>
                    </a:cubicBezTo>
                    <a:cubicBezTo>
                      <a:pt x="626" y="203"/>
                      <a:pt x="627" y="204"/>
                      <a:pt x="628" y="203"/>
                    </a:cubicBezTo>
                    <a:cubicBezTo>
                      <a:pt x="629" y="202"/>
                      <a:pt x="629" y="204"/>
                      <a:pt x="630" y="202"/>
                    </a:cubicBezTo>
                    <a:cubicBezTo>
                      <a:pt x="631" y="201"/>
                      <a:pt x="632" y="203"/>
                      <a:pt x="633" y="201"/>
                    </a:cubicBezTo>
                    <a:cubicBezTo>
                      <a:pt x="634" y="199"/>
                      <a:pt x="634" y="200"/>
                      <a:pt x="635" y="199"/>
                    </a:cubicBezTo>
                    <a:cubicBezTo>
                      <a:pt x="636" y="197"/>
                      <a:pt x="634" y="197"/>
                      <a:pt x="635" y="196"/>
                    </a:cubicBezTo>
                    <a:cubicBezTo>
                      <a:pt x="636" y="195"/>
                      <a:pt x="637" y="196"/>
                      <a:pt x="637" y="195"/>
                    </a:cubicBezTo>
                    <a:cubicBezTo>
                      <a:pt x="637" y="194"/>
                      <a:pt x="637" y="195"/>
                      <a:pt x="638" y="195"/>
                    </a:cubicBezTo>
                    <a:cubicBezTo>
                      <a:pt x="640" y="194"/>
                      <a:pt x="641" y="197"/>
                      <a:pt x="641" y="195"/>
                    </a:cubicBezTo>
                    <a:cubicBezTo>
                      <a:pt x="641" y="195"/>
                      <a:pt x="642" y="196"/>
                      <a:pt x="643" y="195"/>
                    </a:cubicBezTo>
                    <a:cubicBezTo>
                      <a:pt x="643" y="195"/>
                      <a:pt x="643" y="195"/>
                      <a:pt x="644" y="195"/>
                    </a:cubicBezTo>
                    <a:cubicBezTo>
                      <a:pt x="645" y="196"/>
                      <a:pt x="649" y="196"/>
                      <a:pt x="649" y="197"/>
                    </a:cubicBezTo>
                    <a:cubicBezTo>
                      <a:pt x="649" y="199"/>
                      <a:pt x="650" y="199"/>
                      <a:pt x="649" y="199"/>
                    </a:cubicBezTo>
                    <a:cubicBezTo>
                      <a:pt x="648" y="200"/>
                      <a:pt x="649" y="198"/>
                      <a:pt x="648" y="199"/>
                    </a:cubicBezTo>
                    <a:cubicBezTo>
                      <a:pt x="647" y="200"/>
                      <a:pt x="647" y="200"/>
                      <a:pt x="646" y="200"/>
                    </a:cubicBezTo>
                    <a:cubicBezTo>
                      <a:pt x="645" y="200"/>
                      <a:pt x="645" y="201"/>
                      <a:pt x="644" y="201"/>
                    </a:cubicBezTo>
                    <a:cubicBezTo>
                      <a:pt x="643" y="201"/>
                      <a:pt x="643" y="202"/>
                      <a:pt x="643" y="202"/>
                    </a:cubicBezTo>
                    <a:cubicBezTo>
                      <a:pt x="642" y="202"/>
                      <a:pt x="642" y="203"/>
                      <a:pt x="642" y="202"/>
                    </a:cubicBezTo>
                    <a:cubicBezTo>
                      <a:pt x="640" y="201"/>
                      <a:pt x="641" y="204"/>
                      <a:pt x="640" y="203"/>
                    </a:cubicBezTo>
                    <a:cubicBezTo>
                      <a:pt x="639" y="203"/>
                      <a:pt x="639" y="205"/>
                      <a:pt x="638" y="204"/>
                    </a:cubicBezTo>
                    <a:cubicBezTo>
                      <a:pt x="638" y="204"/>
                      <a:pt x="638" y="204"/>
                      <a:pt x="637" y="204"/>
                    </a:cubicBezTo>
                    <a:cubicBezTo>
                      <a:pt x="637" y="204"/>
                      <a:pt x="636" y="205"/>
                      <a:pt x="637" y="205"/>
                    </a:cubicBezTo>
                    <a:cubicBezTo>
                      <a:pt x="637" y="205"/>
                      <a:pt x="636" y="206"/>
                      <a:pt x="636" y="205"/>
                    </a:cubicBezTo>
                    <a:cubicBezTo>
                      <a:pt x="636" y="205"/>
                      <a:pt x="635" y="206"/>
                      <a:pt x="636" y="206"/>
                    </a:cubicBezTo>
                    <a:cubicBezTo>
                      <a:pt x="637" y="207"/>
                      <a:pt x="635" y="206"/>
                      <a:pt x="636" y="207"/>
                    </a:cubicBezTo>
                    <a:cubicBezTo>
                      <a:pt x="637" y="208"/>
                      <a:pt x="635" y="208"/>
                      <a:pt x="636" y="208"/>
                    </a:cubicBezTo>
                    <a:cubicBezTo>
                      <a:pt x="637" y="209"/>
                      <a:pt x="636" y="209"/>
                      <a:pt x="637" y="209"/>
                    </a:cubicBezTo>
                    <a:cubicBezTo>
                      <a:pt x="637" y="210"/>
                      <a:pt x="637" y="210"/>
                      <a:pt x="637" y="210"/>
                    </a:cubicBezTo>
                    <a:cubicBezTo>
                      <a:pt x="638" y="211"/>
                      <a:pt x="637" y="211"/>
                      <a:pt x="638" y="212"/>
                    </a:cubicBezTo>
                    <a:cubicBezTo>
                      <a:pt x="638" y="213"/>
                      <a:pt x="637" y="214"/>
                      <a:pt x="639" y="213"/>
                    </a:cubicBezTo>
                    <a:cubicBezTo>
                      <a:pt x="641" y="213"/>
                      <a:pt x="638" y="216"/>
                      <a:pt x="642" y="214"/>
                    </a:cubicBezTo>
                    <a:cubicBezTo>
                      <a:pt x="642" y="215"/>
                      <a:pt x="641" y="216"/>
                      <a:pt x="643" y="216"/>
                    </a:cubicBezTo>
                    <a:cubicBezTo>
                      <a:pt x="644" y="215"/>
                      <a:pt x="642" y="217"/>
                      <a:pt x="643" y="217"/>
                    </a:cubicBezTo>
                    <a:cubicBezTo>
                      <a:pt x="643" y="217"/>
                      <a:pt x="644" y="216"/>
                      <a:pt x="646" y="216"/>
                    </a:cubicBezTo>
                    <a:cubicBezTo>
                      <a:pt x="647" y="216"/>
                      <a:pt x="645" y="216"/>
                      <a:pt x="648" y="215"/>
                    </a:cubicBezTo>
                    <a:cubicBezTo>
                      <a:pt x="650" y="215"/>
                      <a:pt x="650" y="216"/>
                      <a:pt x="651" y="215"/>
                    </a:cubicBezTo>
                    <a:cubicBezTo>
                      <a:pt x="652" y="214"/>
                      <a:pt x="652" y="216"/>
                      <a:pt x="654" y="215"/>
                    </a:cubicBezTo>
                    <a:cubicBezTo>
                      <a:pt x="655" y="214"/>
                      <a:pt x="656" y="216"/>
                      <a:pt x="659" y="214"/>
                    </a:cubicBezTo>
                    <a:cubicBezTo>
                      <a:pt x="660" y="213"/>
                      <a:pt x="660" y="215"/>
                      <a:pt x="664" y="215"/>
                    </a:cubicBezTo>
                    <a:cubicBezTo>
                      <a:pt x="667" y="213"/>
                      <a:pt x="666" y="215"/>
                      <a:pt x="665" y="215"/>
                    </a:cubicBezTo>
                    <a:cubicBezTo>
                      <a:pt x="665" y="215"/>
                      <a:pt x="667" y="216"/>
                      <a:pt x="668" y="216"/>
                    </a:cubicBezTo>
                    <a:cubicBezTo>
                      <a:pt x="669" y="215"/>
                      <a:pt x="670" y="217"/>
                      <a:pt x="671" y="216"/>
                    </a:cubicBezTo>
                    <a:cubicBezTo>
                      <a:pt x="673" y="216"/>
                      <a:pt x="673" y="217"/>
                      <a:pt x="674" y="217"/>
                    </a:cubicBezTo>
                    <a:cubicBezTo>
                      <a:pt x="675" y="217"/>
                      <a:pt x="674" y="218"/>
                      <a:pt x="673" y="218"/>
                    </a:cubicBezTo>
                    <a:cubicBezTo>
                      <a:pt x="671" y="218"/>
                      <a:pt x="670" y="217"/>
                      <a:pt x="670" y="218"/>
                    </a:cubicBezTo>
                    <a:cubicBezTo>
                      <a:pt x="669" y="220"/>
                      <a:pt x="667" y="217"/>
                      <a:pt x="667" y="219"/>
                    </a:cubicBezTo>
                    <a:cubicBezTo>
                      <a:pt x="667" y="220"/>
                      <a:pt x="666" y="218"/>
                      <a:pt x="666" y="218"/>
                    </a:cubicBezTo>
                    <a:cubicBezTo>
                      <a:pt x="665" y="219"/>
                      <a:pt x="666" y="219"/>
                      <a:pt x="666" y="220"/>
                    </a:cubicBezTo>
                    <a:cubicBezTo>
                      <a:pt x="666" y="220"/>
                      <a:pt x="665" y="220"/>
                      <a:pt x="664" y="220"/>
                    </a:cubicBezTo>
                    <a:cubicBezTo>
                      <a:pt x="662" y="219"/>
                      <a:pt x="662" y="221"/>
                      <a:pt x="660" y="219"/>
                    </a:cubicBezTo>
                    <a:cubicBezTo>
                      <a:pt x="658" y="218"/>
                      <a:pt x="659" y="219"/>
                      <a:pt x="657" y="218"/>
                    </a:cubicBezTo>
                    <a:cubicBezTo>
                      <a:pt x="656" y="218"/>
                      <a:pt x="657" y="219"/>
                      <a:pt x="656" y="218"/>
                    </a:cubicBezTo>
                    <a:cubicBezTo>
                      <a:pt x="655" y="218"/>
                      <a:pt x="655" y="219"/>
                      <a:pt x="654" y="218"/>
                    </a:cubicBezTo>
                    <a:cubicBezTo>
                      <a:pt x="653" y="218"/>
                      <a:pt x="654" y="219"/>
                      <a:pt x="653" y="219"/>
                    </a:cubicBezTo>
                    <a:cubicBezTo>
                      <a:pt x="651" y="218"/>
                      <a:pt x="652" y="219"/>
                      <a:pt x="650" y="219"/>
                    </a:cubicBezTo>
                    <a:cubicBezTo>
                      <a:pt x="649" y="220"/>
                      <a:pt x="650" y="220"/>
                      <a:pt x="650" y="220"/>
                    </a:cubicBezTo>
                    <a:cubicBezTo>
                      <a:pt x="649" y="221"/>
                      <a:pt x="651" y="222"/>
                      <a:pt x="651" y="222"/>
                    </a:cubicBezTo>
                    <a:cubicBezTo>
                      <a:pt x="651" y="222"/>
                      <a:pt x="650" y="222"/>
                      <a:pt x="650" y="222"/>
                    </a:cubicBezTo>
                    <a:cubicBezTo>
                      <a:pt x="650" y="223"/>
                      <a:pt x="652" y="223"/>
                      <a:pt x="652" y="224"/>
                    </a:cubicBezTo>
                    <a:cubicBezTo>
                      <a:pt x="652" y="224"/>
                      <a:pt x="653" y="225"/>
                      <a:pt x="653" y="224"/>
                    </a:cubicBezTo>
                    <a:cubicBezTo>
                      <a:pt x="653" y="223"/>
                      <a:pt x="654" y="224"/>
                      <a:pt x="654" y="225"/>
                    </a:cubicBezTo>
                    <a:cubicBezTo>
                      <a:pt x="654" y="226"/>
                      <a:pt x="655" y="227"/>
                      <a:pt x="655" y="228"/>
                    </a:cubicBezTo>
                    <a:cubicBezTo>
                      <a:pt x="654" y="230"/>
                      <a:pt x="653" y="229"/>
                      <a:pt x="653" y="229"/>
                    </a:cubicBezTo>
                    <a:cubicBezTo>
                      <a:pt x="652" y="230"/>
                      <a:pt x="652" y="229"/>
                      <a:pt x="651" y="229"/>
                    </a:cubicBezTo>
                    <a:cubicBezTo>
                      <a:pt x="650" y="229"/>
                      <a:pt x="650" y="227"/>
                      <a:pt x="649" y="227"/>
                    </a:cubicBezTo>
                    <a:cubicBezTo>
                      <a:pt x="648" y="227"/>
                      <a:pt x="648" y="226"/>
                      <a:pt x="647" y="226"/>
                    </a:cubicBezTo>
                    <a:cubicBezTo>
                      <a:pt x="647" y="226"/>
                      <a:pt x="647" y="224"/>
                      <a:pt x="646" y="225"/>
                    </a:cubicBezTo>
                    <a:cubicBezTo>
                      <a:pt x="644" y="227"/>
                      <a:pt x="644" y="226"/>
                      <a:pt x="643" y="227"/>
                    </a:cubicBezTo>
                    <a:cubicBezTo>
                      <a:pt x="642" y="229"/>
                      <a:pt x="644" y="229"/>
                      <a:pt x="643" y="230"/>
                    </a:cubicBezTo>
                    <a:cubicBezTo>
                      <a:pt x="641" y="232"/>
                      <a:pt x="642" y="232"/>
                      <a:pt x="643" y="234"/>
                    </a:cubicBezTo>
                    <a:cubicBezTo>
                      <a:pt x="642" y="236"/>
                      <a:pt x="643" y="236"/>
                      <a:pt x="643" y="237"/>
                    </a:cubicBezTo>
                    <a:cubicBezTo>
                      <a:pt x="641" y="240"/>
                      <a:pt x="643" y="235"/>
                      <a:pt x="642" y="237"/>
                    </a:cubicBezTo>
                    <a:cubicBezTo>
                      <a:pt x="641" y="237"/>
                      <a:pt x="640" y="238"/>
                      <a:pt x="640" y="238"/>
                    </a:cubicBezTo>
                    <a:cubicBezTo>
                      <a:pt x="639" y="238"/>
                      <a:pt x="639" y="238"/>
                      <a:pt x="638" y="238"/>
                    </a:cubicBezTo>
                    <a:cubicBezTo>
                      <a:pt x="638" y="238"/>
                      <a:pt x="638" y="238"/>
                      <a:pt x="638" y="238"/>
                    </a:cubicBezTo>
                    <a:cubicBezTo>
                      <a:pt x="638" y="239"/>
                      <a:pt x="638" y="238"/>
                      <a:pt x="638" y="239"/>
                    </a:cubicBezTo>
                    <a:cubicBezTo>
                      <a:pt x="638" y="239"/>
                      <a:pt x="640" y="239"/>
                      <a:pt x="639" y="239"/>
                    </a:cubicBezTo>
                    <a:cubicBezTo>
                      <a:pt x="639" y="239"/>
                      <a:pt x="638" y="239"/>
                      <a:pt x="638" y="239"/>
                    </a:cubicBezTo>
                    <a:cubicBezTo>
                      <a:pt x="638" y="240"/>
                      <a:pt x="637" y="241"/>
                      <a:pt x="637" y="240"/>
                    </a:cubicBezTo>
                    <a:cubicBezTo>
                      <a:pt x="637" y="240"/>
                      <a:pt x="637" y="241"/>
                      <a:pt x="637" y="240"/>
                    </a:cubicBezTo>
                    <a:cubicBezTo>
                      <a:pt x="637" y="240"/>
                      <a:pt x="637" y="240"/>
                      <a:pt x="638" y="239"/>
                    </a:cubicBezTo>
                    <a:cubicBezTo>
                      <a:pt x="638" y="239"/>
                      <a:pt x="638" y="239"/>
                      <a:pt x="637" y="239"/>
                    </a:cubicBezTo>
                    <a:cubicBezTo>
                      <a:pt x="637" y="239"/>
                      <a:pt x="637" y="240"/>
                      <a:pt x="637" y="240"/>
                    </a:cubicBezTo>
                    <a:cubicBezTo>
                      <a:pt x="636" y="240"/>
                      <a:pt x="635" y="240"/>
                      <a:pt x="635" y="240"/>
                    </a:cubicBezTo>
                    <a:cubicBezTo>
                      <a:pt x="634" y="239"/>
                      <a:pt x="634" y="239"/>
                      <a:pt x="634" y="239"/>
                    </a:cubicBezTo>
                    <a:cubicBezTo>
                      <a:pt x="634" y="238"/>
                      <a:pt x="635" y="239"/>
                      <a:pt x="635" y="239"/>
                    </a:cubicBezTo>
                    <a:cubicBezTo>
                      <a:pt x="635" y="239"/>
                      <a:pt x="635" y="239"/>
                      <a:pt x="636" y="239"/>
                    </a:cubicBezTo>
                    <a:cubicBezTo>
                      <a:pt x="636" y="239"/>
                      <a:pt x="635" y="238"/>
                      <a:pt x="634" y="238"/>
                    </a:cubicBezTo>
                    <a:cubicBezTo>
                      <a:pt x="633" y="237"/>
                      <a:pt x="631" y="237"/>
                      <a:pt x="629" y="237"/>
                    </a:cubicBezTo>
                    <a:cubicBezTo>
                      <a:pt x="627" y="238"/>
                      <a:pt x="627" y="238"/>
                      <a:pt x="626" y="239"/>
                    </a:cubicBezTo>
                    <a:cubicBezTo>
                      <a:pt x="625" y="240"/>
                      <a:pt x="624" y="239"/>
                      <a:pt x="622" y="239"/>
                    </a:cubicBezTo>
                    <a:cubicBezTo>
                      <a:pt x="620" y="239"/>
                      <a:pt x="619" y="240"/>
                      <a:pt x="618" y="240"/>
                    </a:cubicBezTo>
                    <a:cubicBezTo>
                      <a:pt x="616" y="240"/>
                      <a:pt x="617" y="241"/>
                      <a:pt x="616" y="241"/>
                    </a:cubicBezTo>
                    <a:cubicBezTo>
                      <a:pt x="616" y="241"/>
                      <a:pt x="616" y="241"/>
                      <a:pt x="616" y="241"/>
                    </a:cubicBezTo>
                    <a:cubicBezTo>
                      <a:pt x="614" y="241"/>
                      <a:pt x="615" y="241"/>
                      <a:pt x="614" y="240"/>
                    </a:cubicBezTo>
                    <a:cubicBezTo>
                      <a:pt x="613" y="240"/>
                      <a:pt x="614" y="239"/>
                      <a:pt x="613" y="239"/>
                    </a:cubicBezTo>
                    <a:cubicBezTo>
                      <a:pt x="612" y="238"/>
                      <a:pt x="613" y="240"/>
                      <a:pt x="612" y="240"/>
                    </a:cubicBezTo>
                    <a:cubicBezTo>
                      <a:pt x="611" y="239"/>
                      <a:pt x="611" y="239"/>
                      <a:pt x="610" y="239"/>
                    </a:cubicBezTo>
                    <a:cubicBezTo>
                      <a:pt x="610" y="239"/>
                      <a:pt x="609" y="240"/>
                      <a:pt x="609" y="240"/>
                    </a:cubicBezTo>
                    <a:cubicBezTo>
                      <a:pt x="608" y="240"/>
                      <a:pt x="608" y="240"/>
                      <a:pt x="609" y="239"/>
                    </a:cubicBezTo>
                    <a:cubicBezTo>
                      <a:pt x="609" y="239"/>
                      <a:pt x="609" y="239"/>
                      <a:pt x="609" y="239"/>
                    </a:cubicBezTo>
                    <a:cubicBezTo>
                      <a:pt x="610" y="239"/>
                      <a:pt x="610" y="239"/>
                      <a:pt x="609" y="239"/>
                    </a:cubicBezTo>
                    <a:cubicBezTo>
                      <a:pt x="608" y="239"/>
                      <a:pt x="608" y="240"/>
                      <a:pt x="607" y="240"/>
                    </a:cubicBezTo>
                    <a:cubicBezTo>
                      <a:pt x="606" y="240"/>
                      <a:pt x="605" y="241"/>
                      <a:pt x="605" y="240"/>
                    </a:cubicBezTo>
                    <a:cubicBezTo>
                      <a:pt x="604" y="240"/>
                      <a:pt x="604" y="240"/>
                      <a:pt x="603" y="240"/>
                    </a:cubicBezTo>
                    <a:cubicBezTo>
                      <a:pt x="603" y="241"/>
                      <a:pt x="602" y="240"/>
                      <a:pt x="601" y="240"/>
                    </a:cubicBezTo>
                    <a:cubicBezTo>
                      <a:pt x="600" y="240"/>
                      <a:pt x="600" y="240"/>
                      <a:pt x="599" y="240"/>
                    </a:cubicBezTo>
                    <a:cubicBezTo>
                      <a:pt x="598" y="239"/>
                      <a:pt x="602" y="240"/>
                      <a:pt x="599" y="238"/>
                    </a:cubicBezTo>
                    <a:cubicBezTo>
                      <a:pt x="599" y="238"/>
                      <a:pt x="598" y="238"/>
                      <a:pt x="598" y="238"/>
                    </a:cubicBezTo>
                    <a:cubicBezTo>
                      <a:pt x="598" y="238"/>
                      <a:pt x="597" y="238"/>
                      <a:pt x="597" y="238"/>
                    </a:cubicBezTo>
                    <a:cubicBezTo>
                      <a:pt x="597" y="237"/>
                      <a:pt x="596" y="238"/>
                      <a:pt x="596" y="238"/>
                    </a:cubicBezTo>
                    <a:cubicBezTo>
                      <a:pt x="596" y="237"/>
                      <a:pt x="595" y="237"/>
                      <a:pt x="595" y="237"/>
                    </a:cubicBezTo>
                    <a:cubicBezTo>
                      <a:pt x="595" y="237"/>
                      <a:pt x="595" y="236"/>
                      <a:pt x="595" y="236"/>
                    </a:cubicBezTo>
                    <a:cubicBezTo>
                      <a:pt x="595" y="236"/>
                      <a:pt x="595" y="236"/>
                      <a:pt x="594" y="236"/>
                    </a:cubicBezTo>
                    <a:cubicBezTo>
                      <a:pt x="594" y="235"/>
                      <a:pt x="593" y="234"/>
                      <a:pt x="594" y="234"/>
                    </a:cubicBezTo>
                    <a:cubicBezTo>
                      <a:pt x="595" y="234"/>
                      <a:pt x="594" y="233"/>
                      <a:pt x="595" y="233"/>
                    </a:cubicBezTo>
                    <a:cubicBezTo>
                      <a:pt x="596" y="233"/>
                      <a:pt x="595" y="232"/>
                      <a:pt x="596" y="232"/>
                    </a:cubicBezTo>
                    <a:cubicBezTo>
                      <a:pt x="597" y="232"/>
                      <a:pt x="596" y="231"/>
                      <a:pt x="597" y="231"/>
                    </a:cubicBezTo>
                    <a:cubicBezTo>
                      <a:pt x="598" y="231"/>
                      <a:pt x="599" y="231"/>
                      <a:pt x="598" y="230"/>
                    </a:cubicBezTo>
                    <a:cubicBezTo>
                      <a:pt x="598" y="229"/>
                      <a:pt x="595" y="230"/>
                      <a:pt x="596" y="230"/>
                    </a:cubicBezTo>
                    <a:cubicBezTo>
                      <a:pt x="596" y="229"/>
                      <a:pt x="595" y="229"/>
                      <a:pt x="595" y="229"/>
                    </a:cubicBezTo>
                    <a:cubicBezTo>
                      <a:pt x="596" y="229"/>
                      <a:pt x="595" y="228"/>
                      <a:pt x="595" y="228"/>
                    </a:cubicBezTo>
                    <a:cubicBezTo>
                      <a:pt x="595" y="227"/>
                      <a:pt x="594" y="227"/>
                      <a:pt x="593" y="227"/>
                    </a:cubicBezTo>
                    <a:cubicBezTo>
                      <a:pt x="593" y="226"/>
                      <a:pt x="594" y="227"/>
                      <a:pt x="593" y="227"/>
                    </a:cubicBezTo>
                    <a:cubicBezTo>
                      <a:pt x="592" y="227"/>
                      <a:pt x="592" y="228"/>
                      <a:pt x="592" y="228"/>
                    </a:cubicBezTo>
                    <a:cubicBezTo>
                      <a:pt x="592" y="229"/>
                      <a:pt x="591" y="228"/>
                      <a:pt x="592" y="228"/>
                    </a:cubicBezTo>
                    <a:cubicBezTo>
                      <a:pt x="592" y="227"/>
                      <a:pt x="592" y="227"/>
                      <a:pt x="591" y="227"/>
                    </a:cubicBezTo>
                    <a:cubicBezTo>
                      <a:pt x="590" y="228"/>
                      <a:pt x="590" y="228"/>
                      <a:pt x="591" y="228"/>
                    </a:cubicBezTo>
                    <a:cubicBezTo>
                      <a:pt x="591" y="229"/>
                      <a:pt x="590" y="229"/>
                      <a:pt x="590" y="228"/>
                    </a:cubicBezTo>
                    <a:cubicBezTo>
                      <a:pt x="589" y="228"/>
                      <a:pt x="589" y="227"/>
                      <a:pt x="588" y="228"/>
                    </a:cubicBezTo>
                    <a:cubicBezTo>
                      <a:pt x="588" y="228"/>
                      <a:pt x="588" y="229"/>
                      <a:pt x="589" y="229"/>
                    </a:cubicBezTo>
                    <a:cubicBezTo>
                      <a:pt x="589" y="230"/>
                      <a:pt x="589" y="230"/>
                      <a:pt x="589" y="230"/>
                    </a:cubicBezTo>
                    <a:cubicBezTo>
                      <a:pt x="589" y="231"/>
                      <a:pt x="589" y="231"/>
                      <a:pt x="589" y="231"/>
                    </a:cubicBezTo>
                    <a:cubicBezTo>
                      <a:pt x="589" y="232"/>
                      <a:pt x="589" y="231"/>
                      <a:pt x="590" y="232"/>
                    </a:cubicBezTo>
                    <a:cubicBezTo>
                      <a:pt x="590" y="233"/>
                      <a:pt x="590" y="233"/>
                      <a:pt x="590" y="233"/>
                    </a:cubicBezTo>
                    <a:cubicBezTo>
                      <a:pt x="589" y="233"/>
                      <a:pt x="590" y="234"/>
                      <a:pt x="590" y="234"/>
                    </a:cubicBezTo>
                    <a:cubicBezTo>
                      <a:pt x="590" y="234"/>
                      <a:pt x="591" y="234"/>
                      <a:pt x="591" y="235"/>
                    </a:cubicBezTo>
                    <a:cubicBezTo>
                      <a:pt x="591" y="235"/>
                      <a:pt x="592" y="235"/>
                      <a:pt x="591" y="236"/>
                    </a:cubicBezTo>
                    <a:cubicBezTo>
                      <a:pt x="591" y="236"/>
                      <a:pt x="591" y="236"/>
                      <a:pt x="591" y="236"/>
                    </a:cubicBezTo>
                    <a:cubicBezTo>
                      <a:pt x="591" y="237"/>
                      <a:pt x="592" y="237"/>
                      <a:pt x="592" y="238"/>
                    </a:cubicBezTo>
                    <a:cubicBezTo>
                      <a:pt x="593" y="238"/>
                      <a:pt x="592" y="238"/>
                      <a:pt x="592" y="238"/>
                    </a:cubicBezTo>
                    <a:cubicBezTo>
                      <a:pt x="592" y="239"/>
                      <a:pt x="593" y="238"/>
                      <a:pt x="593" y="239"/>
                    </a:cubicBezTo>
                    <a:cubicBezTo>
                      <a:pt x="593" y="239"/>
                      <a:pt x="593" y="239"/>
                      <a:pt x="593" y="239"/>
                    </a:cubicBezTo>
                    <a:cubicBezTo>
                      <a:pt x="594" y="239"/>
                      <a:pt x="593" y="240"/>
                      <a:pt x="593" y="240"/>
                    </a:cubicBezTo>
                    <a:cubicBezTo>
                      <a:pt x="593" y="240"/>
                      <a:pt x="594" y="240"/>
                      <a:pt x="594" y="240"/>
                    </a:cubicBezTo>
                    <a:cubicBezTo>
                      <a:pt x="595" y="241"/>
                      <a:pt x="596" y="241"/>
                      <a:pt x="596" y="242"/>
                    </a:cubicBezTo>
                    <a:cubicBezTo>
                      <a:pt x="595" y="242"/>
                      <a:pt x="595" y="241"/>
                      <a:pt x="595" y="241"/>
                    </a:cubicBezTo>
                    <a:cubicBezTo>
                      <a:pt x="594" y="240"/>
                      <a:pt x="594" y="241"/>
                      <a:pt x="593" y="241"/>
                    </a:cubicBezTo>
                    <a:cubicBezTo>
                      <a:pt x="592" y="240"/>
                      <a:pt x="592" y="241"/>
                      <a:pt x="592" y="242"/>
                    </a:cubicBezTo>
                    <a:cubicBezTo>
                      <a:pt x="592" y="242"/>
                      <a:pt x="592" y="242"/>
                      <a:pt x="592" y="243"/>
                    </a:cubicBezTo>
                    <a:cubicBezTo>
                      <a:pt x="592" y="242"/>
                      <a:pt x="591" y="242"/>
                      <a:pt x="591" y="242"/>
                    </a:cubicBezTo>
                    <a:cubicBezTo>
                      <a:pt x="590" y="243"/>
                      <a:pt x="591" y="243"/>
                      <a:pt x="591" y="243"/>
                    </a:cubicBezTo>
                    <a:cubicBezTo>
                      <a:pt x="590" y="243"/>
                      <a:pt x="590" y="243"/>
                      <a:pt x="590" y="243"/>
                    </a:cubicBezTo>
                    <a:cubicBezTo>
                      <a:pt x="590" y="242"/>
                      <a:pt x="590" y="243"/>
                      <a:pt x="590" y="242"/>
                    </a:cubicBezTo>
                    <a:cubicBezTo>
                      <a:pt x="590" y="242"/>
                      <a:pt x="589" y="242"/>
                      <a:pt x="588" y="242"/>
                    </a:cubicBezTo>
                    <a:cubicBezTo>
                      <a:pt x="587" y="243"/>
                      <a:pt x="588" y="242"/>
                      <a:pt x="586" y="243"/>
                    </a:cubicBezTo>
                    <a:cubicBezTo>
                      <a:pt x="585" y="243"/>
                      <a:pt x="586" y="243"/>
                      <a:pt x="585" y="244"/>
                    </a:cubicBezTo>
                    <a:cubicBezTo>
                      <a:pt x="585" y="244"/>
                      <a:pt x="585" y="245"/>
                      <a:pt x="585" y="244"/>
                    </a:cubicBezTo>
                    <a:cubicBezTo>
                      <a:pt x="585" y="244"/>
                      <a:pt x="585" y="244"/>
                      <a:pt x="585" y="243"/>
                    </a:cubicBezTo>
                    <a:cubicBezTo>
                      <a:pt x="584" y="243"/>
                      <a:pt x="584" y="244"/>
                      <a:pt x="583" y="243"/>
                    </a:cubicBezTo>
                    <a:cubicBezTo>
                      <a:pt x="583" y="243"/>
                      <a:pt x="582" y="243"/>
                      <a:pt x="581" y="243"/>
                    </a:cubicBezTo>
                    <a:cubicBezTo>
                      <a:pt x="581" y="244"/>
                      <a:pt x="581" y="244"/>
                      <a:pt x="580" y="244"/>
                    </a:cubicBezTo>
                    <a:cubicBezTo>
                      <a:pt x="580" y="245"/>
                      <a:pt x="580" y="245"/>
                      <a:pt x="581" y="245"/>
                    </a:cubicBezTo>
                    <a:cubicBezTo>
                      <a:pt x="582" y="245"/>
                      <a:pt x="581" y="246"/>
                      <a:pt x="581" y="246"/>
                    </a:cubicBezTo>
                    <a:cubicBezTo>
                      <a:pt x="581" y="247"/>
                      <a:pt x="581" y="247"/>
                      <a:pt x="581" y="247"/>
                    </a:cubicBezTo>
                    <a:cubicBezTo>
                      <a:pt x="580" y="247"/>
                      <a:pt x="580" y="247"/>
                      <a:pt x="580" y="248"/>
                    </a:cubicBezTo>
                    <a:cubicBezTo>
                      <a:pt x="580" y="248"/>
                      <a:pt x="578" y="248"/>
                      <a:pt x="579" y="248"/>
                    </a:cubicBezTo>
                    <a:cubicBezTo>
                      <a:pt x="579" y="248"/>
                      <a:pt x="579" y="247"/>
                      <a:pt x="579" y="247"/>
                    </a:cubicBezTo>
                    <a:cubicBezTo>
                      <a:pt x="580" y="247"/>
                      <a:pt x="579" y="246"/>
                      <a:pt x="579" y="246"/>
                    </a:cubicBezTo>
                    <a:cubicBezTo>
                      <a:pt x="579" y="247"/>
                      <a:pt x="579" y="246"/>
                      <a:pt x="579" y="245"/>
                    </a:cubicBezTo>
                    <a:cubicBezTo>
                      <a:pt x="579" y="245"/>
                      <a:pt x="578" y="246"/>
                      <a:pt x="578" y="245"/>
                    </a:cubicBezTo>
                    <a:cubicBezTo>
                      <a:pt x="578" y="244"/>
                      <a:pt x="578" y="244"/>
                      <a:pt x="578" y="245"/>
                    </a:cubicBezTo>
                    <a:cubicBezTo>
                      <a:pt x="577" y="245"/>
                      <a:pt x="577" y="246"/>
                      <a:pt x="577" y="247"/>
                    </a:cubicBezTo>
                    <a:cubicBezTo>
                      <a:pt x="576" y="248"/>
                      <a:pt x="576" y="249"/>
                      <a:pt x="575" y="249"/>
                    </a:cubicBezTo>
                    <a:cubicBezTo>
                      <a:pt x="575" y="250"/>
                      <a:pt x="576" y="250"/>
                      <a:pt x="576" y="250"/>
                    </a:cubicBezTo>
                    <a:cubicBezTo>
                      <a:pt x="577" y="251"/>
                      <a:pt x="576" y="251"/>
                      <a:pt x="575" y="251"/>
                    </a:cubicBezTo>
                    <a:cubicBezTo>
                      <a:pt x="575" y="251"/>
                      <a:pt x="576" y="251"/>
                      <a:pt x="576" y="251"/>
                    </a:cubicBezTo>
                    <a:cubicBezTo>
                      <a:pt x="577" y="251"/>
                      <a:pt x="576" y="251"/>
                      <a:pt x="577" y="252"/>
                    </a:cubicBezTo>
                    <a:cubicBezTo>
                      <a:pt x="576" y="251"/>
                      <a:pt x="576" y="252"/>
                      <a:pt x="576" y="252"/>
                    </a:cubicBezTo>
                    <a:cubicBezTo>
                      <a:pt x="575" y="251"/>
                      <a:pt x="575" y="252"/>
                      <a:pt x="574" y="252"/>
                    </a:cubicBezTo>
                    <a:cubicBezTo>
                      <a:pt x="574" y="252"/>
                      <a:pt x="574" y="251"/>
                      <a:pt x="573" y="251"/>
                    </a:cubicBezTo>
                    <a:cubicBezTo>
                      <a:pt x="572" y="252"/>
                      <a:pt x="571" y="252"/>
                      <a:pt x="570" y="253"/>
                    </a:cubicBezTo>
                    <a:cubicBezTo>
                      <a:pt x="569" y="253"/>
                      <a:pt x="569" y="254"/>
                      <a:pt x="568" y="254"/>
                    </a:cubicBezTo>
                    <a:cubicBezTo>
                      <a:pt x="567" y="254"/>
                      <a:pt x="567" y="254"/>
                      <a:pt x="566" y="254"/>
                    </a:cubicBezTo>
                    <a:cubicBezTo>
                      <a:pt x="565" y="254"/>
                      <a:pt x="565" y="255"/>
                      <a:pt x="565" y="255"/>
                    </a:cubicBezTo>
                    <a:cubicBezTo>
                      <a:pt x="565" y="255"/>
                      <a:pt x="564" y="255"/>
                      <a:pt x="564" y="256"/>
                    </a:cubicBezTo>
                    <a:cubicBezTo>
                      <a:pt x="565" y="256"/>
                      <a:pt x="564" y="256"/>
                      <a:pt x="564" y="257"/>
                    </a:cubicBezTo>
                    <a:cubicBezTo>
                      <a:pt x="564" y="258"/>
                      <a:pt x="563" y="258"/>
                      <a:pt x="561" y="258"/>
                    </a:cubicBezTo>
                    <a:cubicBezTo>
                      <a:pt x="560" y="258"/>
                      <a:pt x="560" y="258"/>
                      <a:pt x="559" y="259"/>
                    </a:cubicBezTo>
                    <a:cubicBezTo>
                      <a:pt x="559" y="259"/>
                      <a:pt x="558" y="259"/>
                      <a:pt x="558" y="259"/>
                    </a:cubicBezTo>
                    <a:cubicBezTo>
                      <a:pt x="558" y="260"/>
                      <a:pt x="557" y="260"/>
                      <a:pt x="558" y="260"/>
                    </a:cubicBezTo>
                    <a:cubicBezTo>
                      <a:pt x="559" y="261"/>
                      <a:pt x="558" y="261"/>
                      <a:pt x="557" y="260"/>
                    </a:cubicBezTo>
                    <a:cubicBezTo>
                      <a:pt x="556" y="260"/>
                      <a:pt x="556" y="261"/>
                      <a:pt x="555" y="261"/>
                    </a:cubicBezTo>
                    <a:cubicBezTo>
                      <a:pt x="554" y="261"/>
                      <a:pt x="554" y="261"/>
                      <a:pt x="554" y="262"/>
                    </a:cubicBezTo>
                    <a:cubicBezTo>
                      <a:pt x="553" y="262"/>
                      <a:pt x="553" y="261"/>
                      <a:pt x="553" y="261"/>
                    </a:cubicBezTo>
                    <a:cubicBezTo>
                      <a:pt x="553" y="260"/>
                      <a:pt x="552" y="260"/>
                      <a:pt x="552" y="259"/>
                    </a:cubicBezTo>
                    <a:cubicBezTo>
                      <a:pt x="552" y="259"/>
                      <a:pt x="551" y="259"/>
                      <a:pt x="551" y="259"/>
                    </a:cubicBezTo>
                    <a:cubicBezTo>
                      <a:pt x="550" y="259"/>
                      <a:pt x="550" y="259"/>
                      <a:pt x="550" y="259"/>
                    </a:cubicBezTo>
                    <a:cubicBezTo>
                      <a:pt x="550" y="259"/>
                      <a:pt x="550" y="260"/>
                      <a:pt x="550" y="261"/>
                    </a:cubicBezTo>
                    <a:cubicBezTo>
                      <a:pt x="551" y="261"/>
                      <a:pt x="551" y="262"/>
                      <a:pt x="551" y="262"/>
                    </a:cubicBezTo>
                    <a:cubicBezTo>
                      <a:pt x="550" y="263"/>
                      <a:pt x="551" y="263"/>
                      <a:pt x="550" y="264"/>
                    </a:cubicBezTo>
                    <a:cubicBezTo>
                      <a:pt x="550" y="264"/>
                      <a:pt x="551" y="265"/>
                      <a:pt x="550" y="265"/>
                    </a:cubicBezTo>
                    <a:cubicBezTo>
                      <a:pt x="549" y="265"/>
                      <a:pt x="548" y="265"/>
                      <a:pt x="548" y="264"/>
                    </a:cubicBezTo>
                    <a:cubicBezTo>
                      <a:pt x="548" y="264"/>
                      <a:pt x="547" y="264"/>
                      <a:pt x="547" y="264"/>
                    </a:cubicBezTo>
                    <a:cubicBezTo>
                      <a:pt x="547" y="264"/>
                      <a:pt x="546" y="264"/>
                      <a:pt x="545" y="264"/>
                    </a:cubicBezTo>
                    <a:cubicBezTo>
                      <a:pt x="545" y="265"/>
                      <a:pt x="545" y="264"/>
                      <a:pt x="545" y="263"/>
                    </a:cubicBezTo>
                    <a:cubicBezTo>
                      <a:pt x="544" y="263"/>
                      <a:pt x="544" y="263"/>
                      <a:pt x="543" y="263"/>
                    </a:cubicBezTo>
                    <a:cubicBezTo>
                      <a:pt x="542" y="263"/>
                      <a:pt x="542" y="263"/>
                      <a:pt x="542" y="264"/>
                    </a:cubicBezTo>
                    <a:cubicBezTo>
                      <a:pt x="542" y="264"/>
                      <a:pt x="541" y="264"/>
                      <a:pt x="540" y="264"/>
                    </a:cubicBezTo>
                    <a:cubicBezTo>
                      <a:pt x="539" y="264"/>
                      <a:pt x="538" y="264"/>
                      <a:pt x="538" y="264"/>
                    </a:cubicBezTo>
                    <a:cubicBezTo>
                      <a:pt x="538" y="265"/>
                      <a:pt x="538" y="265"/>
                      <a:pt x="538" y="265"/>
                    </a:cubicBezTo>
                    <a:cubicBezTo>
                      <a:pt x="538" y="265"/>
                      <a:pt x="540" y="266"/>
                      <a:pt x="539" y="266"/>
                    </a:cubicBezTo>
                    <a:cubicBezTo>
                      <a:pt x="539" y="266"/>
                      <a:pt x="540" y="266"/>
                      <a:pt x="540" y="266"/>
                    </a:cubicBezTo>
                    <a:cubicBezTo>
                      <a:pt x="539" y="266"/>
                      <a:pt x="538" y="267"/>
                      <a:pt x="539" y="267"/>
                    </a:cubicBezTo>
                    <a:cubicBezTo>
                      <a:pt x="540" y="267"/>
                      <a:pt x="539" y="268"/>
                      <a:pt x="540" y="268"/>
                    </a:cubicBezTo>
                    <a:cubicBezTo>
                      <a:pt x="541" y="268"/>
                      <a:pt x="542" y="267"/>
                      <a:pt x="542" y="268"/>
                    </a:cubicBezTo>
                    <a:cubicBezTo>
                      <a:pt x="543" y="269"/>
                      <a:pt x="544" y="269"/>
                      <a:pt x="544" y="269"/>
                    </a:cubicBezTo>
                    <a:cubicBezTo>
                      <a:pt x="545" y="271"/>
                      <a:pt x="545" y="269"/>
                      <a:pt x="546" y="269"/>
                    </a:cubicBezTo>
                    <a:cubicBezTo>
                      <a:pt x="547" y="269"/>
                      <a:pt x="547" y="270"/>
                      <a:pt x="547" y="270"/>
                    </a:cubicBezTo>
                    <a:cubicBezTo>
                      <a:pt x="548" y="270"/>
                      <a:pt x="549" y="271"/>
                      <a:pt x="548" y="271"/>
                    </a:cubicBezTo>
                    <a:cubicBezTo>
                      <a:pt x="548" y="271"/>
                      <a:pt x="548" y="272"/>
                      <a:pt x="549" y="272"/>
                    </a:cubicBezTo>
                    <a:cubicBezTo>
                      <a:pt x="550" y="272"/>
                      <a:pt x="550" y="272"/>
                      <a:pt x="549" y="272"/>
                    </a:cubicBezTo>
                    <a:cubicBezTo>
                      <a:pt x="549" y="272"/>
                      <a:pt x="550" y="272"/>
                      <a:pt x="549" y="273"/>
                    </a:cubicBezTo>
                    <a:cubicBezTo>
                      <a:pt x="549" y="273"/>
                      <a:pt x="549" y="274"/>
                      <a:pt x="550" y="275"/>
                    </a:cubicBezTo>
                    <a:cubicBezTo>
                      <a:pt x="551" y="275"/>
                      <a:pt x="551" y="275"/>
                      <a:pt x="553" y="276"/>
                    </a:cubicBezTo>
                    <a:cubicBezTo>
                      <a:pt x="554" y="276"/>
                      <a:pt x="553" y="277"/>
                      <a:pt x="554" y="277"/>
                    </a:cubicBezTo>
                    <a:cubicBezTo>
                      <a:pt x="555" y="276"/>
                      <a:pt x="554" y="277"/>
                      <a:pt x="554" y="278"/>
                    </a:cubicBezTo>
                    <a:cubicBezTo>
                      <a:pt x="555" y="279"/>
                      <a:pt x="555" y="278"/>
                      <a:pt x="554" y="279"/>
                    </a:cubicBezTo>
                    <a:cubicBezTo>
                      <a:pt x="553" y="281"/>
                      <a:pt x="555" y="280"/>
                      <a:pt x="556" y="283"/>
                    </a:cubicBezTo>
                    <a:cubicBezTo>
                      <a:pt x="555" y="282"/>
                      <a:pt x="554" y="280"/>
                      <a:pt x="554" y="282"/>
                    </a:cubicBezTo>
                    <a:cubicBezTo>
                      <a:pt x="553" y="283"/>
                      <a:pt x="553" y="285"/>
                      <a:pt x="553" y="286"/>
                    </a:cubicBezTo>
                    <a:cubicBezTo>
                      <a:pt x="552" y="287"/>
                      <a:pt x="552" y="289"/>
                      <a:pt x="551" y="290"/>
                    </a:cubicBezTo>
                    <a:cubicBezTo>
                      <a:pt x="551" y="291"/>
                      <a:pt x="551" y="291"/>
                      <a:pt x="550" y="291"/>
                    </a:cubicBezTo>
                    <a:cubicBezTo>
                      <a:pt x="550" y="291"/>
                      <a:pt x="550" y="291"/>
                      <a:pt x="550" y="291"/>
                    </a:cubicBezTo>
                    <a:cubicBezTo>
                      <a:pt x="549" y="291"/>
                      <a:pt x="549" y="291"/>
                      <a:pt x="548" y="291"/>
                    </a:cubicBezTo>
                    <a:cubicBezTo>
                      <a:pt x="547" y="291"/>
                      <a:pt x="546" y="291"/>
                      <a:pt x="546" y="291"/>
                    </a:cubicBezTo>
                    <a:cubicBezTo>
                      <a:pt x="546" y="291"/>
                      <a:pt x="544" y="291"/>
                      <a:pt x="544" y="291"/>
                    </a:cubicBezTo>
                    <a:cubicBezTo>
                      <a:pt x="543" y="290"/>
                      <a:pt x="543" y="292"/>
                      <a:pt x="542" y="291"/>
                    </a:cubicBezTo>
                    <a:cubicBezTo>
                      <a:pt x="541" y="291"/>
                      <a:pt x="541" y="291"/>
                      <a:pt x="541" y="291"/>
                    </a:cubicBezTo>
                    <a:cubicBezTo>
                      <a:pt x="540" y="290"/>
                      <a:pt x="539" y="291"/>
                      <a:pt x="537" y="291"/>
                    </a:cubicBezTo>
                    <a:cubicBezTo>
                      <a:pt x="535" y="291"/>
                      <a:pt x="533" y="291"/>
                      <a:pt x="532" y="290"/>
                    </a:cubicBezTo>
                    <a:cubicBezTo>
                      <a:pt x="531" y="290"/>
                      <a:pt x="531" y="290"/>
                      <a:pt x="531" y="290"/>
                    </a:cubicBezTo>
                    <a:cubicBezTo>
                      <a:pt x="531" y="290"/>
                      <a:pt x="531" y="290"/>
                      <a:pt x="530" y="290"/>
                    </a:cubicBezTo>
                    <a:cubicBezTo>
                      <a:pt x="529" y="291"/>
                      <a:pt x="527" y="291"/>
                      <a:pt x="526" y="291"/>
                    </a:cubicBezTo>
                    <a:cubicBezTo>
                      <a:pt x="525" y="290"/>
                      <a:pt x="523" y="290"/>
                      <a:pt x="523" y="290"/>
                    </a:cubicBezTo>
                    <a:cubicBezTo>
                      <a:pt x="524" y="289"/>
                      <a:pt x="523" y="290"/>
                      <a:pt x="523" y="289"/>
                    </a:cubicBezTo>
                    <a:cubicBezTo>
                      <a:pt x="523" y="289"/>
                      <a:pt x="522" y="290"/>
                      <a:pt x="521" y="290"/>
                    </a:cubicBezTo>
                    <a:cubicBezTo>
                      <a:pt x="521" y="290"/>
                      <a:pt x="521" y="290"/>
                      <a:pt x="521" y="291"/>
                    </a:cubicBezTo>
                    <a:cubicBezTo>
                      <a:pt x="522" y="291"/>
                      <a:pt x="521" y="291"/>
                      <a:pt x="521" y="291"/>
                    </a:cubicBezTo>
                    <a:cubicBezTo>
                      <a:pt x="520" y="291"/>
                      <a:pt x="520" y="292"/>
                      <a:pt x="519" y="291"/>
                    </a:cubicBezTo>
                    <a:cubicBezTo>
                      <a:pt x="519" y="291"/>
                      <a:pt x="518" y="292"/>
                      <a:pt x="517" y="292"/>
                    </a:cubicBezTo>
                    <a:cubicBezTo>
                      <a:pt x="517" y="293"/>
                      <a:pt x="518" y="293"/>
                      <a:pt x="517" y="293"/>
                    </a:cubicBezTo>
                    <a:cubicBezTo>
                      <a:pt x="517" y="293"/>
                      <a:pt x="519" y="293"/>
                      <a:pt x="518" y="294"/>
                    </a:cubicBezTo>
                    <a:cubicBezTo>
                      <a:pt x="518" y="295"/>
                      <a:pt x="518" y="294"/>
                      <a:pt x="519" y="295"/>
                    </a:cubicBezTo>
                    <a:cubicBezTo>
                      <a:pt x="519" y="296"/>
                      <a:pt x="518" y="297"/>
                      <a:pt x="519" y="297"/>
                    </a:cubicBezTo>
                    <a:cubicBezTo>
                      <a:pt x="520" y="296"/>
                      <a:pt x="519" y="297"/>
                      <a:pt x="518" y="297"/>
                    </a:cubicBezTo>
                    <a:cubicBezTo>
                      <a:pt x="518" y="297"/>
                      <a:pt x="518" y="298"/>
                      <a:pt x="519" y="298"/>
                    </a:cubicBezTo>
                    <a:cubicBezTo>
                      <a:pt x="519" y="299"/>
                      <a:pt x="519" y="299"/>
                      <a:pt x="519" y="299"/>
                    </a:cubicBezTo>
                    <a:cubicBezTo>
                      <a:pt x="518" y="300"/>
                      <a:pt x="519" y="300"/>
                      <a:pt x="519" y="300"/>
                    </a:cubicBezTo>
                    <a:cubicBezTo>
                      <a:pt x="518" y="301"/>
                      <a:pt x="519" y="301"/>
                      <a:pt x="519" y="302"/>
                    </a:cubicBezTo>
                    <a:cubicBezTo>
                      <a:pt x="518" y="304"/>
                      <a:pt x="518" y="305"/>
                      <a:pt x="518" y="306"/>
                    </a:cubicBezTo>
                    <a:cubicBezTo>
                      <a:pt x="517" y="307"/>
                      <a:pt x="517" y="307"/>
                      <a:pt x="517" y="309"/>
                    </a:cubicBezTo>
                    <a:cubicBezTo>
                      <a:pt x="516" y="310"/>
                      <a:pt x="517" y="309"/>
                      <a:pt x="516" y="311"/>
                    </a:cubicBezTo>
                    <a:cubicBezTo>
                      <a:pt x="516" y="313"/>
                      <a:pt x="516" y="312"/>
                      <a:pt x="515" y="312"/>
                    </a:cubicBezTo>
                    <a:cubicBezTo>
                      <a:pt x="515" y="312"/>
                      <a:pt x="515" y="314"/>
                      <a:pt x="515" y="315"/>
                    </a:cubicBezTo>
                    <a:cubicBezTo>
                      <a:pt x="515" y="316"/>
                      <a:pt x="515" y="316"/>
                      <a:pt x="515" y="316"/>
                    </a:cubicBezTo>
                    <a:cubicBezTo>
                      <a:pt x="516" y="316"/>
                      <a:pt x="516" y="315"/>
                      <a:pt x="516" y="316"/>
                    </a:cubicBezTo>
                    <a:cubicBezTo>
                      <a:pt x="516" y="317"/>
                      <a:pt x="516" y="316"/>
                      <a:pt x="516" y="317"/>
                    </a:cubicBezTo>
                    <a:cubicBezTo>
                      <a:pt x="515" y="318"/>
                      <a:pt x="517" y="317"/>
                      <a:pt x="518" y="317"/>
                    </a:cubicBezTo>
                    <a:cubicBezTo>
                      <a:pt x="517" y="317"/>
                      <a:pt x="517" y="317"/>
                      <a:pt x="517" y="318"/>
                    </a:cubicBezTo>
                    <a:cubicBezTo>
                      <a:pt x="518" y="319"/>
                      <a:pt x="517" y="320"/>
                      <a:pt x="517" y="321"/>
                    </a:cubicBezTo>
                    <a:cubicBezTo>
                      <a:pt x="517" y="322"/>
                      <a:pt x="518" y="320"/>
                      <a:pt x="518" y="321"/>
                    </a:cubicBezTo>
                    <a:cubicBezTo>
                      <a:pt x="517" y="322"/>
                      <a:pt x="517" y="322"/>
                      <a:pt x="517" y="323"/>
                    </a:cubicBezTo>
                    <a:cubicBezTo>
                      <a:pt x="516" y="323"/>
                      <a:pt x="517" y="324"/>
                      <a:pt x="516" y="324"/>
                    </a:cubicBezTo>
                    <a:cubicBezTo>
                      <a:pt x="515" y="325"/>
                      <a:pt x="516" y="325"/>
                      <a:pt x="516" y="325"/>
                    </a:cubicBezTo>
                    <a:cubicBezTo>
                      <a:pt x="517" y="325"/>
                      <a:pt x="518" y="325"/>
                      <a:pt x="518" y="325"/>
                    </a:cubicBezTo>
                    <a:cubicBezTo>
                      <a:pt x="519" y="325"/>
                      <a:pt x="519" y="325"/>
                      <a:pt x="519" y="325"/>
                    </a:cubicBezTo>
                    <a:cubicBezTo>
                      <a:pt x="520" y="326"/>
                      <a:pt x="520" y="325"/>
                      <a:pt x="522" y="325"/>
                    </a:cubicBezTo>
                    <a:cubicBezTo>
                      <a:pt x="523" y="325"/>
                      <a:pt x="523" y="325"/>
                      <a:pt x="523" y="324"/>
                    </a:cubicBezTo>
                    <a:cubicBezTo>
                      <a:pt x="523" y="324"/>
                      <a:pt x="524" y="325"/>
                      <a:pt x="525" y="325"/>
                    </a:cubicBezTo>
                    <a:cubicBezTo>
                      <a:pt x="525" y="325"/>
                      <a:pt x="527" y="325"/>
                      <a:pt x="527" y="325"/>
                    </a:cubicBezTo>
                    <a:cubicBezTo>
                      <a:pt x="528" y="324"/>
                      <a:pt x="527" y="325"/>
                      <a:pt x="528" y="325"/>
                    </a:cubicBezTo>
                    <a:cubicBezTo>
                      <a:pt x="528" y="325"/>
                      <a:pt x="530" y="326"/>
                      <a:pt x="530" y="326"/>
                    </a:cubicBezTo>
                    <a:cubicBezTo>
                      <a:pt x="531" y="327"/>
                      <a:pt x="531" y="327"/>
                      <a:pt x="531" y="327"/>
                    </a:cubicBezTo>
                    <a:cubicBezTo>
                      <a:pt x="532" y="326"/>
                      <a:pt x="531" y="327"/>
                      <a:pt x="531" y="327"/>
                    </a:cubicBezTo>
                    <a:cubicBezTo>
                      <a:pt x="532" y="328"/>
                      <a:pt x="532" y="328"/>
                      <a:pt x="532" y="328"/>
                    </a:cubicBezTo>
                    <a:cubicBezTo>
                      <a:pt x="531" y="328"/>
                      <a:pt x="532" y="329"/>
                      <a:pt x="532" y="329"/>
                    </a:cubicBezTo>
                    <a:cubicBezTo>
                      <a:pt x="532" y="329"/>
                      <a:pt x="533" y="330"/>
                      <a:pt x="534" y="330"/>
                    </a:cubicBezTo>
                    <a:cubicBezTo>
                      <a:pt x="534" y="330"/>
                      <a:pt x="534" y="330"/>
                      <a:pt x="535" y="330"/>
                    </a:cubicBezTo>
                    <a:cubicBezTo>
                      <a:pt x="536" y="330"/>
                      <a:pt x="535" y="329"/>
                      <a:pt x="537" y="329"/>
                    </a:cubicBezTo>
                    <a:cubicBezTo>
                      <a:pt x="539" y="328"/>
                      <a:pt x="540" y="328"/>
                      <a:pt x="541" y="328"/>
                    </a:cubicBezTo>
                    <a:cubicBezTo>
                      <a:pt x="541" y="328"/>
                      <a:pt x="541" y="328"/>
                      <a:pt x="543" y="327"/>
                    </a:cubicBezTo>
                    <a:cubicBezTo>
                      <a:pt x="544" y="326"/>
                      <a:pt x="545" y="327"/>
                      <a:pt x="546" y="326"/>
                    </a:cubicBezTo>
                    <a:cubicBezTo>
                      <a:pt x="547" y="326"/>
                      <a:pt x="548" y="326"/>
                      <a:pt x="548" y="326"/>
                    </a:cubicBezTo>
                    <a:cubicBezTo>
                      <a:pt x="549" y="326"/>
                      <a:pt x="549" y="325"/>
                      <a:pt x="550" y="326"/>
                    </a:cubicBezTo>
                    <a:cubicBezTo>
                      <a:pt x="550" y="326"/>
                      <a:pt x="551" y="324"/>
                      <a:pt x="551" y="323"/>
                    </a:cubicBezTo>
                    <a:cubicBezTo>
                      <a:pt x="552" y="323"/>
                      <a:pt x="553" y="322"/>
                      <a:pt x="553" y="322"/>
                    </a:cubicBezTo>
                    <a:cubicBezTo>
                      <a:pt x="554" y="321"/>
                      <a:pt x="554" y="321"/>
                      <a:pt x="555" y="321"/>
                    </a:cubicBezTo>
                    <a:cubicBezTo>
                      <a:pt x="556" y="321"/>
                      <a:pt x="556" y="321"/>
                      <a:pt x="556" y="320"/>
                    </a:cubicBezTo>
                    <a:cubicBezTo>
                      <a:pt x="557" y="320"/>
                      <a:pt x="556" y="320"/>
                      <a:pt x="556" y="320"/>
                    </a:cubicBezTo>
                    <a:cubicBezTo>
                      <a:pt x="556" y="320"/>
                      <a:pt x="556" y="319"/>
                      <a:pt x="556" y="319"/>
                    </a:cubicBezTo>
                    <a:cubicBezTo>
                      <a:pt x="557" y="319"/>
                      <a:pt x="556" y="317"/>
                      <a:pt x="557" y="318"/>
                    </a:cubicBezTo>
                    <a:cubicBezTo>
                      <a:pt x="557" y="318"/>
                      <a:pt x="557" y="316"/>
                      <a:pt x="558" y="316"/>
                    </a:cubicBezTo>
                    <a:cubicBezTo>
                      <a:pt x="558" y="316"/>
                      <a:pt x="559" y="315"/>
                      <a:pt x="558" y="314"/>
                    </a:cubicBezTo>
                    <a:cubicBezTo>
                      <a:pt x="557" y="314"/>
                      <a:pt x="557" y="314"/>
                      <a:pt x="557" y="314"/>
                    </a:cubicBezTo>
                    <a:cubicBezTo>
                      <a:pt x="556" y="313"/>
                      <a:pt x="555" y="312"/>
                      <a:pt x="557" y="310"/>
                    </a:cubicBezTo>
                    <a:cubicBezTo>
                      <a:pt x="557" y="309"/>
                      <a:pt x="558" y="309"/>
                      <a:pt x="558" y="309"/>
                    </a:cubicBezTo>
                    <a:cubicBezTo>
                      <a:pt x="560" y="307"/>
                      <a:pt x="561" y="306"/>
                      <a:pt x="561" y="306"/>
                    </a:cubicBezTo>
                    <a:cubicBezTo>
                      <a:pt x="561" y="307"/>
                      <a:pt x="561" y="307"/>
                      <a:pt x="562" y="306"/>
                    </a:cubicBezTo>
                    <a:cubicBezTo>
                      <a:pt x="562" y="305"/>
                      <a:pt x="561" y="305"/>
                      <a:pt x="562" y="305"/>
                    </a:cubicBezTo>
                    <a:cubicBezTo>
                      <a:pt x="562" y="304"/>
                      <a:pt x="566" y="303"/>
                      <a:pt x="567" y="302"/>
                    </a:cubicBezTo>
                    <a:cubicBezTo>
                      <a:pt x="568" y="302"/>
                      <a:pt x="568" y="302"/>
                      <a:pt x="568" y="301"/>
                    </a:cubicBezTo>
                    <a:cubicBezTo>
                      <a:pt x="569" y="301"/>
                      <a:pt x="570" y="300"/>
                      <a:pt x="571" y="300"/>
                    </a:cubicBezTo>
                    <a:cubicBezTo>
                      <a:pt x="572" y="300"/>
                      <a:pt x="572" y="299"/>
                      <a:pt x="572" y="299"/>
                    </a:cubicBezTo>
                    <a:cubicBezTo>
                      <a:pt x="573" y="300"/>
                      <a:pt x="572" y="297"/>
                      <a:pt x="573" y="297"/>
                    </a:cubicBezTo>
                    <a:cubicBezTo>
                      <a:pt x="573" y="298"/>
                      <a:pt x="571" y="297"/>
                      <a:pt x="572" y="297"/>
                    </a:cubicBezTo>
                    <a:cubicBezTo>
                      <a:pt x="573" y="297"/>
                      <a:pt x="573" y="296"/>
                      <a:pt x="572" y="296"/>
                    </a:cubicBezTo>
                    <a:cubicBezTo>
                      <a:pt x="572" y="296"/>
                      <a:pt x="571" y="295"/>
                      <a:pt x="571" y="295"/>
                    </a:cubicBezTo>
                    <a:cubicBezTo>
                      <a:pt x="571" y="295"/>
                      <a:pt x="572" y="296"/>
                      <a:pt x="572" y="296"/>
                    </a:cubicBezTo>
                    <a:cubicBezTo>
                      <a:pt x="572" y="295"/>
                      <a:pt x="572" y="295"/>
                      <a:pt x="572" y="295"/>
                    </a:cubicBezTo>
                    <a:cubicBezTo>
                      <a:pt x="573" y="294"/>
                      <a:pt x="572" y="294"/>
                      <a:pt x="574" y="293"/>
                    </a:cubicBezTo>
                    <a:cubicBezTo>
                      <a:pt x="575" y="292"/>
                      <a:pt x="576" y="291"/>
                      <a:pt x="576" y="291"/>
                    </a:cubicBezTo>
                    <a:cubicBezTo>
                      <a:pt x="577" y="292"/>
                      <a:pt x="577" y="292"/>
                      <a:pt x="578" y="291"/>
                    </a:cubicBezTo>
                    <a:cubicBezTo>
                      <a:pt x="579" y="291"/>
                      <a:pt x="579" y="291"/>
                      <a:pt x="580" y="291"/>
                    </a:cubicBezTo>
                    <a:cubicBezTo>
                      <a:pt x="581" y="290"/>
                      <a:pt x="581" y="291"/>
                      <a:pt x="581" y="291"/>
                    </a:cubicBezTo>
                    <a:cubicBezTo>
                      <a:pt x="582" y="291"/>
                      <a:pt x="583" y="292"/>
                      <a:pt x="583" y="292"/>
                    </a:cubicBezTo>
                    <a:cubicBezTo>
                      <a:pt x="583" y="293"/>
                      <a:pt x="585" y="293"/>
                      <a:pt x="585" y="293"/>
                    </a:cubicBezTo>
                    <a:cubicBezTo>
                      <a:pt x="586" y="293"/>
                      <a:pt x="586" y="293"/>
                      <a:pt x="587" y="292"/>
                    </a:cubicBezTo>
                    <a:cubicBezTo>
                      <a:pt x="588" y="291"/>
                      <a:pt x="588" y="291"/>
                      <a:pt x="588" y="291"/>
                    </a:cubicBezTo>
                    <a:cubicBezTo>
                      <a:pt x="588" y="291"/>
                      <a:pt x="588" y="290"/>
                      <a:pt x="589" y="290"/>
                    </a:cubicBezTo>
                    <a:cubicBezTo>
                      <a:pt x="590" y="290"/>
                      <a:pt x="590" y="290"/>
                      <a:pt x="591" y="290"/>
                    </a:cubicBezTo>
                    <a:cubicBezTo>
                      <a:pt x="591" y="289"/>
                      <a:pt x="591" y="289"/>
                      <a:pt x="591" y="289"/>
                    </a:cubicBezTo>
                    <a:cubicBezTo>
                      <a:pt x="591" y="290"/>
                      <a:pt x="591" y="290"/>
                      <a:pt x="591" y="290"/>
                    </a:cubicBezTo>
                    <a:cubicBezTo>
                      <a:pt x="592" y="289"/>
                      <a:pt x="594" y="289"/>
                      <a:pt x="595" y="287"/>
                    </a:cubicBezTo>
                    <a:cubicBezTo>
                      <a:pt x="596" y="286"/>
                      <a:pt x="598" y="286"/>
                      <a:pt x="601" y="288"/>
                    </a:cubicBezTo>
                    <a:cubicBezTo>
                      <a:pt x="604" y="289"/>
                      <a:pt x="603" y="290"/>
                      <a:pt x="604" y="291"/>
                    </a:cubicBezTo>
                    <a:cubicBezTo>
                      <a:pt x="606" y="292"/>
                      <a:pt x="605" y="293"/>
                      <a:pt x="606" y="293"/>
                    </a:cubicBezTo>
                    <a:cubicBezTo>
                      <a:pt x="607" y="293"/>
                      <a:pt x="608" y="295"/>
                      <a:pt x="608" y="296"/>
                    </a:cubicBezTo>
                    <a:cubicBezTo>
                      <a:pt x="609" y="297"/>
                      <a:pt x="609" y="297"/>
                      <a:pt x="610" y="297"/>
                    </a:cubicBezTo>
                    <a:cubicBezTo>
                      <a:pt x="611" y="297"/>
                      <a:pt x="611" y="298"/>
                      <a:pt x="611" y="298"/>
                    </a:cubicBezTo>
                    <a:cubicBezTo>
                      <a:pt x="612" y="299"/>
                      <a:pt x="613" y="299"/>
                      <a:pt x="613" y="300"/>
                    </a:cubicBezTo>
                    <a:cubicBezTo>
                      <a:pt x="613" y="300"/>
                      <a:pt x="614" y="301"/>
                      <a:pt x="614" y="301"/>
                    </a:cubicBezTo>
                    <a:cubicBezTo>
                      <a:pt x="615" y="301"/>
                      <a:pt x="616" y="303"/>
                      <a:pt x="617" y="303"/>
                    </a:cubicBezTo>
                    <a:cubicBezTo>
                      <a:pt x="618" y="304"/>
                      <a:pt x="619" y="304"/>
                      <a:pt x="620" y="304"/>
                    </a:cubicBezTo>
                    <a:cubicBezTo>
                      <a:pt x="620" y="304"/>
                      <a:pt x="621" y="306"/>
                      <a:pt x="622" y="305"/>
                    </a:cubicBezTo>
                    <a:cubicBezTo>
                      <a:pt x="623" y="305"/>
                      <a:pt x="623" y="307"/>
                      <a:pt x="624" y="307"/>
                    </a:cubicBezTo>
                    <a:cubicBezTo>
                      <a:pt x="624" y="306"/>
                      <a:pt x="626" y="307"/>
                      <a:pt x="626" y="308"/>
                    </a:cubicBezTo>
                    <a:cubicBezTo>
                      <a:pt x="625" y="308"/>
                      <a:pt x="626" y="309"/>
                      <a:pt x="627" y="309"/>
                    </a:cubicBezTo>
                    <a:cubicBezTo>
                      <a:pt x="628" y="309"/>
                      <a:pt x="628" y="310"/>
                      <a:pt x="629" y="309"/>
                    </a:cubicBezTo>
                    <a:cubicBezTo>
                      <a:pt x="630" y="309"/>
                      <a:pt x="629" y="309"/>
                      <a:pt x="630" y="311"/>
                    </a:cubicBezTo>
                    <a:cubicBezTo>
                      <a:pt x="630" y="312"/>
                      <a:pt x="631" y="313"/>
                      <a:pt x="632" y="314"/>
                    </a:cubicBezTo>
                    <a:cubicBezTo>
                      <a:pt x="632" y="315"/>
                      <a:pt x="633" y="315"/>
                      <a:pt x="631" y="316"/>
                    </a:cubicBezTo>
                    <a:cubicBezTo>
                      <a:pt x="630" y="317"/>
                      <a:pt x="632" y="317"/>
                      <a:pt x="631" y="319"/>
                    </a:cubicBezTo>
                    <a:cubicBezTo>
                      <a:pt x="630" y="320"/>
                      <a:pt x="631" y="321"/>
                      <a:pt x="632" y="321"/>
                    </a:cubicBezTo>
                    <a:cubicBezTo>
                      <a:pt x="633" y="321"/>
                      <a:pt x="634" y="320"/>
                      <a:pt x="634" y="319"/>
                    </a:cubicBezTo>
                    <a:cubicBezTo>
                      <a:pt x="635" y="317"/>
                      <a:pt x="636" y="317"/>
                      <a:pt x="636" y="316"/>
                    </a:cubicBezTo>
                    <a:cubicBezTo>
                      <a:pt x="636" y="316"/>
                      <a:pt x="636" y="315"/>
                      <a:pt x="636" y="315"/>
                    </a:cubicBezTo>
                    <a:cubicBezTo>
                      <a:pt x="636" y="314"/>
                      <a:pt x="637" y="315"/>
                      <a:pt x="638" y="314"/>
                    </a:cubicBezTo>
                    <a:cubicBezTo>
                      <a:pt x="638" y="313"/>
                      <a:pt x="637" y="313"/>
                      <a:pt x="637" y="313"/>
                    </a:cubicBezTo>
                    <a:cubicBezTo>
                      <a:pt x="636" y="312"/>
                      <a:pt x="636" y="311"/>
                      <a:pt x="635" y="311"/>
                    </a:cubicBezTo>
                    <a:cubicBezTo>
                      <a:pt x="634" y="311"/>
                      <a:pt x="635" y="311"/>
                      <a:pt x="635" y="310"/>
                    </a:cubicBezTo>
                    <a:cubicBezTo>
                      <a:pt x="635" y="310"/>
                      <a:pt x="635" y="310"/>
                      <a:pt x="635" y="309"/>
                    </a:cubicBezTo>
                    <a:cubicBezTo>
                      <a:pt x="635" y="309"/>
                      <a:pt x="635" y="308"/>
                      <a:pt x="636" y="308"/>
                    </a:cubicBezTo>
                    <a:cubicBezTo>
                      <a:pt x="636" y="307"/>
                      <a:pt x="636" y="307"/>
                      <a:pt x="637" y="308"/>
                    </a:cubicBezTo>
                    <a:cubicBezTo>
                      <a:pt x="637" y="308"/>
                      <a:pt x="638" y="308"/>
                      <a:pt x="639" y="308"/>
                    </a:cubicBezTo>
                    <a:cubicBezTo>
                      <a:pt x="640" y="309"/>
                      <a:pt x="640" y="310"/>
                      <a:pt x="641" y="310"/>
                    </a:cubicBezTo>
                    <a:cubicBezTo>
                      <a:pt x="642" y="310"/>
                      <a:pt x="641" y="309"/>
                      <a:pt x="641" y="309"/>
                    </a:cubicBezTo>
                    <a:cubicBezTo>
                      <a:pt x="642" y="309"/>
                      <a:pt x="641" y="308"/>
                      <a:pt x="640" y="307"/>
                    </a:cubicBezTo>
                    <a:cubicBezTo>
                      <a:pt x="639" y="306"/>
                      <a:pt x="638" y="306"/>
                      <a:pt x="638" y="306"/>
                    </a:cubicBezTo>
                    <a:cubicBezTo>
                      <a:pt x="637" y="306"/>
                      <a:pt x="637" y="305"/>
                      <a:pt x="635" y="304"/>
                    </a:cubicBezTo>
                    <a:cubicBezTo>
                      <a:pt x="634" y="303"/>
                      <a:pt x="633" y="303"/>
                      <a:pt x="631" y="302"/>
                    </a:cubicBezTo>
                    <a:cubicBezTo>
                      <a:pt x="629" y="301"/>
                      <a:pt x="630" y="301"/>
                      <a:pt x="631" y="301"/>
                    </a:cubicBezTo>
                    <a:cubicBezTo>
                      <a:pt x="631" y="301"/>
                      <a:pt x="631" y="300"/>
                      <a:pt x="630" y="300"/>
                    </a:cubicBezTo>
                    <a:cubicBezTo>
                      <a:pt x="629" y="299"/>
                      <a:pt x="628" y="300"/>
                      <a:pt x="627" y="299"/>
                    </a:cubicBezTo>
                    <a:cubicBezTo>
                      <a:pt x="626" y="299"/>
                      <a:pt x="626" y="299"/>
                      <a:pt x="625" y="299"/>
                    </a:cubicBezTo>
                    <a:cubicBezTo>
                      <a:pt x="623" y="298"/>
                      <a:pt x="623" y="298"/>
                      <a:pt x="622" y="296"/>
                    </a:cubicBezTo>
                    <a:cubicBezTo>
                      <a:pt x="620" y="295"/>
                      <a:pt x="620" y="293"/>
                      <a:pt x="619" y="292"/>
                    </a:cubicBezTo>
                    <a:cubicBezTo>
                      <a:pt x="619" y="291"/>
                      <a:pt x="618" y="290"/>
                      <a:pt x="617" y="289"/>
                    </a:cubicBezTo>
                    <a:cubicBezTo>
                      <a:pt x="616" y="288"/>
                      <a:pt x="615" y="289"/>
                      <a:pt x="614" y="288"/>
                    </a:cubicBezTo>
                    <a:cubicBezTo>
                      <a:pt x="613" y="287"/>
                      <a:pt x="614" y="286"/>
                      <a:pt x="613" y="285"/>
                    </a:cubicBezTo>
                    <a:cubicBezTo>
                      <a:pt x="613" y="284"/>
                      <a:pt x="613" y="284"/>
                      <a:pt x="613" y="284"/>
                    </a:cubicBezTo>
                    <a:cubicBezTo>
                      <a:pt x="614" y="284"/>
                      <a:pt x="614" y="283"/>
                      <a:pt x="613" y="282"/>
                    </a:cubicBezTo>
                    <a:cubicBezTo>
                      <a:pt x="612" y="281"/>
                      <a:pt x="614" y="281"/>
                      <a:pt x="616" y="281"/>
                    </a:cubicBezTo>
                    <a:cubicBezTo>
                      <a:pt x="617" y="281"/>
                      <a:pt x="617" y="281"/>
                      <a:pt x="617" y="280"/>
                    </a:cubicBezTo>
                    <a:cubicBezTo>
                      <a:pt x="618" y="279"/>
                      <a:pt x="618" y="281"/>
                      <a:pt x="618" y="281"/>
                    </a:cubicBezTo>
                    <a:cubicBezTo>
                      <a:pt x="619" y="280"/>
                      <a:pt x="619" y="281"/>
                      <a:pt x="618" y="281"/>
                    </a:cubicBezTo>
                    <a:cubicBezTo>
                      <a:pt x="618" y="282"/>
                      <a:pt x="619" y="283"/>
                      <a:pt x="619" y="284"/>
                    </a:cubicBezTo>
                    <a:cubicBezTo>
                      <a:pt x="620" y="285"/>
                      <a:pt x="620" y="285"/>
                      <a:pt x="621" y="284"/>
                    </a:cubicBezTo>
                    <a:cubicBezTo>
                      <a:pt x="621" y="284"/>
                      <a:pt x="621" y="283"/>
                      <a:pt x="622" y="282"/>
                    </a:cubicBezTo>
                    <a:cubicBezTo>
                      <a:pt x="621" y="283"/>
                      <a:pt x="623" y="283"/>
                      <a:pt x="623" y="285"/>
                    </a:cubicBezTo>
                    <a:cubicBezTo>
                      <a:pt x="623" y="286"/>
                      <a:pt x="624" y="286"/>
                      <a:pt x="626" y="287"/>
                    </a:cubicBezTo>
                    <a:cubicBezTo>
                      <a:pt x="627" y="288"/>
                      <a:pt x="627" y="287"/>
                      <a:pt x="626" y="288"/>
                    </a:cubicBezTo>
                    <a:cubicBezTo>
                      <a:pt x="625" y="288"/>
                      <a:pt x="626" y="289"/>
                      <a:pt x="629" y="290"/>
                    </a:cubicBezTo>
                    <a:cubicBezTo>
                      <a:pt x="631" y="291"/>
                      <a:pt x="630" y="291"/>
                      <a:pt x="631" y="292"/>
                    </a:cubicBezTo>
                    <a:cubicBezTo>
                      <a:pt x="633" y="293"/>
                      <a:pt x="632" y="291"/>
                      <a:pt x="633" y="292"/>
                    </a:cubicBezTo>
                    <a:cubicBezTo>
                      <a:pt x="634" y="293"/>
                      <a:pt x="635" y="294"/>
                      <a:pt x="636" y="294"/>
                    </a:cubicBezTo>
                    <a:cubicBezTo>
                      <a:pt x="637" y="295"/>
                      <a:pt x="635" y="294"/>
                      <a:pt x="636" y="295"/>
                    </a:cubicBezTo>
                    <a:cubicBezTo>
                      <a:pt x="637" y="295"/>
                      <a:pt x="638" y="295"/>
                      <a:pt x="640" y="296"/>
                    </a:cubicBezTo>
                    <a:cubicBezTo>
                      <a:pt x="640" y="296"/>
                      <a:pt x="640" y="296"/>
                      <a:pt x="641" y="296"/>
                    </a:cubicBezTo>
                    <a:cubicBezTo>
                      <a:pt x="641" y="296"/>
                      <a:pt x="642" y="296"/>
                      <a:pt x="642" y="296"/>
                    </a:cubicBezTo>
                    <a:cubicBezTo>
                      <a:pt x="641" y="296"/>
                      <a:pt x="640" y="296"/>
                      <a:pt x="641" y="297"/>
                    </a:cubicBezTo>
                    <a:cubicBezTo>
                      <a:pt x="642" y="297"/>
                      <a:pt x="642" y="298"/>
                      <a:pt x="643" y="298"/>
                    </a:cubicBezTo>
                    <a:cubicBezTo>
                      <a:pt x="644" y="298"/>
                      <a:pt x="644" y="298"/>
                      <a:pt x="645" y="299"/>
                    </a:cubicBezTo>
                    <a:cubicBezTo>
                      <a:pt x="645" y="299"/>
                      <a:pt x="645" y="299"/>
                      <a:pt x="646" y="299"/>
                    </a:cubicBezTo>
                    <a:cubicBezTo>
                      <a:pt x="646" y="299"/>
                      <a:pt x="646" y="300"/>
                      <a:pt x="645" y="300"/>
                    </a:cubicBezTo>
                    <a:cubicBezTo>
                      <a:pt x="645" y="300"/>
                      <a:pt x="646" y="301"/>
                      <a:pt x="646" y="302"/>
                    </a:cubicBezTo>
                    <a:cubicBezTo>
                      <a:pt x="646" y="303"/>
                      <a:pt x="646" y="303"/>
                      <a:pt x="647" y="303"/>
                    </a:cubicBezTo>
                    <a:cubicBezTo>
                      <a:pt x="647" y="303"/>
                      <a:pt x="647" y="304"/>
                      <a:pt x="646" y="304"/>
                    </a:cubicBezTo>
                    <a:cubicBezTo>
                      <a:pt x="646" y="305"/>
                      <a:pt x="646" y="305"/>
                      <a:pt x="646" y="306"/>
                    </a:cubicBezTo>
                    <a:cubicBezTo>
                      <a:pt x="646" y="307"/>
                      <a:pt x="647" y="307"/>
                      <a:pt x="648" y="307"/>
                    </a:cubicBezTo>
                    <a:cubicBezTo>
                      <a:pt x="648" y="308"/>
                      <a:pt x="648" y="308"/>
                      <a:pt x="647" y="307"/>
                    </a:cubicBezTo>
                    <a:cubicBezTo>
                      <a:pt x="646" y="306"/>
                      <a:pt x="646" y="307"/>
                      <a:pt x="646" y="308"/>
                    </a:cubicBezTo>
                    <a:cubicBezTo>
                      <a:pt x="647" y="308"/>
                      <a:pt x="646" y="308"/>
                      <a:pt x="647" y="309"/>
                    </a:cubicBezTo>
                    <a:cubicBezTo>
                      <a:pt x="648" y="310"/>
                      <a:pt x="649" y="310"/>
                      <a:pt x="649" y="310"/>
                    </a:cubicBezTo>
                    <a:cubicBezTo>
                      <a:pt x="649" y="311"/>
                      <a:pt x="651" y="312"/>
                      <a:pt x="651" y="312"/>
                    </a:cubicBezTo>
                    <a:cubicBezTo>
                      <a:pt x="651" y="312"/>
                      <a:pt x="651" y="313"/>
                      <a:pt x="651" y="313"/>
                    </a:cubicBezTo>
                    <a:cubicBezTo>
                      <a:pt x="652" y="313"/>
                      <a:pt x="653" y="313"/>
                      <a:pt x="653" y="314"/>
                    </a:cubicBezTo>
                    <a:cubicBezTo>
                      <a:pt x="653" y="315"/>
                      <a:pt x="654" y="314"/>
                      <a:pt x="654" y="315"/>
                    </a:cubicBezTo>
                    <a:cubicBezTo>
                      <a:pt x="654" y="316"/>
                      <a:pt x="655" y="316"/>
                      <a:pt x="655" y="317"/>
                    </a:cubicBezTo>
                    <a:cubicBezTo>
                      <a:pt x="656" y="317"/>
                      <a:pt x="656" y="317"/>
                      <a:pt x="656" y="316"/>
                    </a:cubicBezTo>
                    <a:cubicBezTo>
                      <a:pt x="656" y="315"/>
                      <a:pt x="656" y="317"/>
                      <a:pt x="657" y="316"/>
                    </a:cubicBezTo>
                    <a:cubicBezTo>
                      <a:pt x="657" y="316"/>
                      <a:pt x="657" y="316"/>
                      <a:pt x="657" y="317"/>
                    </a:cubicBezTo>
                    <a:cubicBezTo>
                      <a:pt x="658" y="317"/>
                      <a:pt x="658" y="317"/>
                      <a:pt x="657" y="317"/>
                    </a:cubicBezTo>
                    <a:cubicBezTo>
                      <a:pt x="656" y="317"/>
                      <a:pt x="656" y="317"/>
                      <a:pt x="656" y="317"/>
                    </a:cubicBezTo>
                    <a:cubicBezTo>
                      <a:pt x="656" y="318"/>
                      <a:pt x="657" y="318"/>
                      <a:pt x="657" y="319"/>
                    </a:cubicBezTo>
                    <a:cubicBezTo>
                      <a:pt x="657" y="320"/>
                      <a:pt x="658" y="320"/>
                      <a:pt x="658" y="319"/>
                    </a:cubicBezTo>
                    <a:cubicBezTo>
                      <a:pt x="659" y="318"/>
                      <a:pt x="659" y="320"/>
                      <a:pt x="661" y="319"/>
                    </a:cubicBezTo>
                    <a:cubicBezTo>
                      <a:pt x="661" y="319"/>
                      <a:pt x="662" y="319"/>
                      <a:pt x="663" y="320"/>
                    </a:cubicBezTo>
                    <a:cubicBezTo>
                      <a:pt x="664" y="321"/>
                      <a:pt x="664" y="320"/>
                      <a:pt x="665" y="320"/>
                    </a:cubicBezTo>
                    <a:cubicBezTo>
                      <a:pt x="666" y="320"/>
                      <a:pt x="664" y="320"/>
                      <a:pt x="665" y="321"/>
                    </a:cubicBezTo>
                    <a:cubicBezTo>
                      <a:pt x="665" y="322"/>
                      <a:pt x="664" y="321"/>
                      <a:pt x="663" y="320"/>
                    </a:cubicBezTo>
                    <a:cubicBezTo>
                      <a:pt x="662" y="320"/>
                      <a:pt x="663" y="321"/>
                      <a:pt x="661" y="320"/>
                    </a:cubicBezTo>
                    <a:cubicBezTo>
                      <a:pt x="660" y="319"/>
                      <a:pt x="660" y="320"/>
                      <a:pt x="659" y="320"/>
                    </a:cubicBezTo>
                    <a:cubicBezTo>
                      <a:pt x="658" y="319"/>
                      <a:pt x="658" y="321"/>
                      <a:pt x="657" y="321"/>
                    </a:cubicBezTo>
                    <a:cubicBezTo>
                      <a:pt x="657" y="321"/>
                      <a:pt x="656" y="321"/>
                      <a:pt x="657" y="322"/>
                    </a:cubicBezTo>
                    <a:cubicBezTo>
                      <a:pt x="658" y="322"/>
                      <a:pt x="658" y="322"/>
                      <a:pt x="658" y="323"/>
                    </a:cubicBezTo>
                    <a:cubicBezTo>
                      <a:pt x="659" y="322"/>
                      <a:pt x="661" y="325"/>
                      <a:pt x="660" y="325"/>
                    </a:cubicBezTo>
                    <a:cubicBezTo>
                      <a:pt x="658" y="326"/>
                      <a:pt x="661" y="326"/>
                      <a:pt x="662" y="327"/>
                    </a:cubicBezTo>
                    <a:cubicBezTo>
                      <a:pt x="663" y="328"/>
                      <a:pt x="663" y="329"/>
                      <a:pt x="663" y="328"/>
                    </a:cubicBezTo>
                    <a:cubicBezTo>
                      <a:pt x="664" y="327"/>
                      <a:pt x="664" y="328"/>
                      <a:pt x="664" y="329"/>
                    </a:cubicBezTo>
                    <a:cubicBezTo>
                      <a:pt x="664" y="330"/>
                      <a:pt x="665" y="329"/>
                      <a:pt x="665" y="329"/>
                    </a:cubicBezTo>
                    <a:cubicBezTo>
                      <a:pt x="665" y="328"/>
                      <a:pt x="665" y="328"/>
                      <a:pt x="666" y="329"/>
                    </a:cubicBezTo>
                    <a:cubicBezTo>
                      <a:pt x="667" y="330"/>
                      <a:pt x="666" y="329"/>
                      <a:pt x="666" y="328"/>
                    </a:cubicBezTo>
                    <a:cubicBezTo>
                      <a:pt x="666" y="328"/>
                      <a:pt x="666" y="328"/>
                      <a:pt x="666" y="327"/>
                    </a:cubicBezTo>
                    <a:cubicBezTo>
                      <a:pt x="665" y="326"/>
                      <a:pt x="666" y="326"/>
                      <a:pt x="665" y="325"/>
                    </a:cubicBezTo>
                    <a:cubicBezTo>
                      <a:pt x="665" y="325"/>
                      <a:pt x="664" y="324"/>
                      <a:pt x="665" y="324"/>
                    </a:cubicBezTo>
                    <a:cubicBezTo>
                      <a:pt x="665" y="325"/>
                      <a:pt x="666" y="324"/>
                      <a:pt x="666" y="325"/>
                    </a:cubicBezTo>
                    <a:cubicBezTo>
                      <a:pt x="666" y="326"/>
                      <a:pt x="666" y="324"/>
                      <a:pt x="667" y="324"/>
                    </a:cubicBezTo>
                    <a:cubicBezTo>
                      <a:pt x="668" y="324"/>
                      <a:pt x="667" y="324"/>
                      <a:pt x="667" y="323"/>
                    </a:cubicBezTo>
                    <a:cubicBezTo>
                      <a:pt x="666" y="323"/>
                      <a:pt x="667" y="323"/>
                      <a:pt x="666" y="322"/>
                    </a:cubicBezTo>
                    <a:cubicBezTo>
                      <a:pt x="665" y="322"/>
                      <a:pt x="667" y="322"/>
                      <a:pt x="668" y="322"/>
                    </a:cubicBezTo>
                    <a:cubicBezTo>
                      <a:pt x="669" y="322"/>
                      <a:pt x="669" y="322"/>
                      <a:pt x="669" y="322"/>
                    </a:cubicBezTo>
                    <a:cubicBezTo>
                      <a:pt x="669" y="322"/>
                      <a:pt x="670" y="324"/>
                      <a:pt x="670" y="323"/>
                    </a:cubicBezTo>
                    <a:cubicBezTo>
                      <a:pt x="670" y="321"/>
                      <a:pt x="671" y="322"/>
                      <a:pt x="670" y="321"/>
                    </a:cubicBezTo>
                    <a:cubicBezTo>
                      <a:pt x="669" y="320"/>
                      <a:pt x="669" y="319"/>
                      <a:pt x="668" y="319"/>
                    </a:cubicBezTo>
                    <a:cubicBezTo>
                      <a:pt x="667" y="319"/>
                      <a:pt x="667" y="319"/>
                      <a:pt x="666" y="318"/>
                    </a:cubicBezTo>
                    <a:cubicBezTo>
                      <a:pt x="666" y="318"/>
                      <a:pt x="665" y="317"/>
                      <a:pt x="664" y="318"/>
                    </a:cubicBezTo>
                    <a:cubicBezTo>
                      <a:pt x="663" y="318"/>
                      <a:pt x="665" y="316"/>
                      <a:pt x="664" y="316"/>
                    </a:cubicBezTo>
                    <a:cubicBezTo>
                      <a:pt x="664" y="316"/>
                      <a:pt x="664" y="315"/>
                      <a:pt x="663" y="315"/>
                    </a:cubicBezTo>
                    <a:cubicBezTo>
                      <a:pt x="663" y="315"/>
                      <a:pt x="662" y="315"/>
                      <a:pt x="663" y="315"/>
                    </a:cubicBezTo>
                    <a:cubicBezTo>
                      <a:pt x="664" y="314"/>
                      <a:pt x="664" y="315"/>
                      <a:pt x="663" y="314"/>
                    </a:cubicBezTo>
                    <a:cubicBezTo>
                      <a:pt x="662" y="313"/>
                      <a:pt x="663" y="313"/>
                      <a:pt x="664" y="313"/>
                    </a:cubicBezTo>
                    <a:cubicBezTo>
                      <a:pt x="664" y="313"/>
                      <a:pt x="664" y="314"/>
                      <a:pt x="664" y="314"/>
                    </a:cubicBezTo>
                    <a:cubicBezTo>
                      <a:pt x="664" y="314"/>
                      <a:pt x="664" y="315"/>
                      <a:pt x="665" y="314"/>
                    </a:cubicBezTo>
                    <a:cubicBezTo>
                      <a:pt x="665" y="314"/>
                      <a:pt x="665" y="314"/>
                      <a:pt x="664" y="312"/>
                    </a:cubicBezTo>
                    <a:cubicBezTo>
                      <a:pt x="663" y="311"/>
                      <a:pt x="663" y="312"/>
                      <a:pt x="663" y="311"/>
                    </a:cubicBezTo>
                    <a:cubicBezTo>
                      <a:pt x="662" y="311"/>
                      <a:pt x="662" y="310"/>
                      <a:pt x="662" y="310"/>
                    </a:cubicBezTo>
                    <a:cubicBezTo>
                      <a:pt x="662" y="309"/>
                      <a:pt x="663" y="309"/>
                      <a:pt x="662" y="308"/>
                    </a:cubicBezTo>
                    <a:cubicBezTo>
                      <a:pt x="663" y="308"/>
                      <a:pt x="663" y="308"/>
                      <a:pt x="663" y="309"/>
                    </a:cubicBezTo>
                    <a:cubicBezTo>
                      <a:pt x="663" y="310"/>
                      <a:pt x="664" y="309"/>
                      <a:pt x="665" y="309"/>
                    </a:cubicBezTo>
                    <a:cubicBezTo>
                      <a:pt x="665" y="310"/>
                      <a:pt x="664" y="310"/>
                      <a:pt x="665" y="310"/>
                    </a:cubicBezTo>
                    <a:cubicBezTo>
                      <a:pt x="666" y="311"/>
                      <a:pt x="666" y="310"/>
                      <a:pt x="666" y="310"/>
                    </a:cubicBezTo>
                    <a:cubicBezTo>
                      <a:pt x="665" y="310"/>
                      <a:pt x="666" y="310"/>
                      <a:pt x="667" y="310"/>
                    </a:cubicBezTo>
                    <a:cubicBezTo>
                      <a:pt x="667" y="311"/>
                      <a:pt x="667" y="310"/>
                      <a:pt x="666" y="310"/>
                    </a:cubicBezTo>
                    <a:cubicBezTo>
                      <a:pt x="666" y="309"/>
                      <a:pt x="667" y="309"/>
                      <a:pt x="667" y="310"/>
                    </a:cubicBezTo>
                    <a:cubicBezTo>
                      <a:pt x="668" y="310"/>
                      <a:pt x="668" y="309"/>
                      <a:pt x="667" y="309"/>
                    </a:cubicBezTo>
                    <a:cubicBezTo>
                      <a:pt x="667" y="309"/>
                      <a:pt x="667" y="308"/>
                      <a:pt x="667" y="308"/>
                    </a:cubicBezTo>
                    <a:cubicBezTo>
                      <a:pt x="667" y="307"/>
                      <a:pt x="668" y="308"/>
                      <a:pt x="669" y="307"/>
                    </a:cubicBezTo>
                    <a:cubicBezTo>
                      <a:pt x="669" y="306"/>
                      <a:pt x="670" y="307"/>
                      <a:pt x="670" y="306"/>
                    </a:cubicBezTo>
                    <a:cubicBezTo>
                      <a:pt x="671" y="306"/>
                      <a:pt x="672" y="306"/>
                      <a:pt x="672" y="306"/>
                    </a:cubicBezTo>
                    <a:cubicBezTo>
                      <a:pt x="671" y="307"/>
                      <a:pt x="672" y="306"/>
                      <a:pt x="673" y="307"/>
                    </a:cubicBezTo>
                    <a:cubicBezTo>
                      <a:pt x="674" y="307"/>
                      <a:pt x="677" y="306"/>
                      <a:pt x="676" y="306"/>
                    </a:cubicBezTo>
                    <a:cubicBezTo>
                      <a:pt x="676" y="307"/>
                      <a:pt x="677" y="307"/>
                      <a:pt x="678" y="307"/>
                    </a:cubicBezTo>
                    <a:cubicBezTo>
                      <a:pt x="678" y="308"/>
                      <a:pt x="678" y="309"/>
                      <a:pt x="679" y="309"/>
                    </a:cubicBezTo>
                    <a:cubicBezTo>
                      <a:pt x="680" y="308"/>
                      <a:pt x="680" y="308"/>
                      <a:pt x="681" y="307"/>
                    </a:cubicBezTo>
                    <a:cubicBezTo>
                      <a:pt x="682" y="307"/>
                      <a:pt x="682" y="308"/>
                      <a:pt x="681" y="308"/>
                    </a:cubicBezTo>
                    <a:cubicBezTo>
                      <a:pt x="680" y="308"/>
                      <a:pt x="680" y="309"/>
                      <a:pt x="679" y="309"/>
                    </a:cubicBezTo>
                    <a:cubicBezTo>
                      <a:pt x="678" y="310"/>
                      <a:pt x="680" y="310"/>
                      <a:pt x="681" y="309"/>
                    </a:cubicBezTo>
                    <a:cubicBezTo>
                      <a:pt x="681" y="309"/>
                      <a:pt x="682" y="308"/>
                      <a:pt x="684" y="308"/>
                    </a:cubicBezTo>
                    <a:cubicBezTo>
                      <a:pt x="685" y="307"/>
                      <a:pt x="684" y="307"/>
                      <a:pt x="685" y="306"/>
                    </a:cubicBezTo>
                    <a:cubicBezTo>
                      <a:pt x="685" y="306"/>
                      <a:pt x="685" y="305"/>
                      <a:pt x="686" y="305"/>
                    </a:cubicBezTo>
                    <a:cubicBezTo>
                      <a:pt x="687" y="305"/>
                      <a:pt x="688" y="306"/>
                      <a:pt x="688" y="306"/>
                    </a:cubicBezTo>
                    <a:cubicBezTo>
                      <a:pt x="689" y="305"/>
                      <a:pt x="690" y="307"/>
                      <a:pt x="691" y="305"/>
                    </a:cubicBezTo>
                    <a:cubicBezTo>
                      <a:pt x="691" y="304"/>
                      <a:pt x="690" y="305"/>
                      <a:pt x="689" y="304"/>
                    </a:cubicBezTo>
                    <a:cubicBezTo>
                      <a:pt x="687" y="303"/>
                      <a:pt x="685" y="302"/>
                      <a:pt x="685" y="301"/>
                    </a:cubicBezTo>
                    <a:cubicBezTo>
                      <a:pt x="684" y="300"/>
                      <a:pt x="685" y="300"/>
                      <a:pt x="684" y="300"/>
                    </a:cubicBezTo>
                    <a:cubicBezTo>
                      <a:pt x="684" y="300"/>
                      <a:pt x="685" y="300"/>
                      <a:pt x="684" y="299"/>
                    </a:cubicBezTo>
                    <a:cubicBezTo>
                      <a:pt x="684" y="299"/>
                      <a:pt x="683" y="298"/>
                      <a:pt x="683" y="298"/>
                    </a:cubicBezTo>
                    <a:cubicBezTo>
                      <a:pt x="684" y="298"/>
                      <a:pt x="682" y="298"/>
                      <a:pt x="683" y="297"/>
                    </a:cubicBezTo>
                    <a:cubicBezTo>
                      <a:pt x="683" y="297"/>
                      <a:pt x="682" y="296"/>
                      <a:pt x="683" y="296"/>
                    </a:cubicBezTo>
                    <a:cubicBezTo>
                      <a:pt x="684" y="296"/>
                      <a:pt x="684" y="297"/>
                      <a:pt x="684" y="296"/>
                    </a:cubicBezTo>
                    <a:cubicBezTo>
                      <a:pt x="684" y="294"/>
                      <a:pt x="685" y="294"/>
                      <a:pt x="685" y="293"/>
                    </a:cubicBezTo>
                    <a:cubicBezTo>
                      <a:pt x="685" y="292"/>
                      <a:pt x="686" y="293"/>
                      <a:pt x="686" y="293"/>
                    </a:cubicBezTo>
                    <a:cubicBezTo>
                      <a:pt x="686" y="293"/>
                      <a:pt x="687" y="293"/>
                      <a:pt x="686" y="292"/>
                    </a:cubicBezTo>
                    <a:cubicBezTo>
                      <a:pt x="686" y="291"/>
                      <a:pt x="686" y="292"/>
                      <a:pt x="686" y="290"/>
                    </a:cubicBezTo>
                    <a:cubicBezTo>
                      <a:pt x="686" y="290"/>
                      <a:pt x="686" y="289"/>
                      <a:pt x="686" y="289"/>
                    </a:cubicBezTo>
                    <a:cubicBezTo>
                      <a:pt x="686" y="288"/>
                      <a:pt x="686" y="288"/>
                      <a:pt x="686" y="287"/>
                    </a:cubicBezTo>
                    <a:cubicBezTo>
                      <a:pt x="687" y="286"/>
                      <a:pt x="686" y="287"/>
                      <a:pt x="687" y="286"/>
                    </a:cubicBezTo>
                    <a:cubicBezTo>
                      <a:pt x="687" y="285"/>
                      <a:pt x="686" y="285"/>
                      <a:pt x="687" y="285"/>
                    </a:cubicBezTo>
                    <a:cubicBezTo>
                      <a:pt x="688" y="284"/>
                      <a:pt x="687" y="285"/>
                      <a:pt x="687" y="286"/>
                    </a:cubicBezTo>
                    <a:cubicBezTo>
                      <a:pt x="687" y="286"/>
                      <a:pt x="688" y="285"/>
                      <a:pt x="688" y="285"/>
                    </a:cubicBezTo>
                    <a:cubicBezTo>
                      <a:pt x="688" y="285"/>
                      <a:pt x="689" y="285"/>
                      <a:pt x="689" y="285"/>
                    </a:cubicBezTo>
                    <a:cubicBezTo>
                      <a:pt x="689" y="284"/>
                      <a:pt x="689" y="283"/>
                      <a:pt x="689" y="283"/>
                    </a:cubicBezTo>
                    <a:cubicBezTo>
                      <a:pt x="689" y="283"/>
                      <a:pt x="689" y="284"/>
                      <a:pt x="689" y="283"/>
                    </a:cubicBezTo>
                    <a:cubicBezTo>
                      <a:pt x="691" y="282"/>
                      <a:pt x="689" y="283"/>
                      <a:pt x="690" y="281"/>
                    </a:cubicBezTo>
                    <a:cubicBezTo>
                      <a:pt x="690" y="280"/>
                      <a:pt x="691" y="280"/>
                      <a:pt x="691" y="280"/>
                    </a:cubicBezTo>
                    <a:cubicBezTo>
                      <a:pt x="692" y="279"/>
                      <a:pt x="692" y="280"/>
                      <a:pt x="691" y="279"/>
                    </a:cubicBezTo>
                    <a:cubicBezTo>
                      <a:pt x="690" y="278"/>
                      <a:pt x="691" y="278"/>
                      <a:pt x="692" y="278"/>
                    </a:cubicBezTo>
                    <a:cubicBezTo>
                      <a:pt x="692" y="279"/>
                      <a:pt x="692" y="280"/>
                      <a:pt x="693" y="279"/>
                    </a:cubicBezTo>
                    <a:cubicBezTo>
                      <a:pt x="695" y="278"/>
                      <a:pt x="695" y="278"/>
                      <a:pt x="696" y="277"/>
                    </a:cubicBezTo>
                    <a:cubicBezTo>
                      <a:pt x="698" y="277"/>
                      <a:pt x="697" y="277"/>
                      <a:pt x="700" y="277"/>
                    </a:cubicBezTo>
                    <a:cubicBezTo>
                      <a:pt x="702" y="278"/>
                      <a:pt x="702" y="278"/>
                      <a:pt x="702" y="278"/>
                    </a:cubicBezTo>
                    <a:cubicBezTo>
                      <a:pt x="702" y="278"/>
                      <a:pt x="700" y="278"/>
                      <a:pt x="699" y="278"/>
                    </a:cubicBezTo>
                    <a:cubicBezTo>
                      <a:pt x="698" y="277"/>
                      <a:pt x="698" y="278"/>
                      <a:pt x="699" y="278"/>
                    </a:cubicBezTo>
                    <a:cubicBezTo>
                      <a:pt x="702" y="279"/>
                      <a:pt x="697" y="278"/>
                      <a:pt x="699" y="279"/>
                    </a:cubicBezTo>
                    <a:cubicBezTo>
                      <a:pt x="700" y="280"/>
                      <a:pt x="699" y="279"/>
                      <a:pt x="701" y="280"/>
                    </a:cubicBezTo>
                    <a:cubicBezTo>
                      <a:pt x="702" y="281"/>
                      <a:pt x="703" y="280"/>
                      <a:pt x="704" y="281"/>
                    </a:cubicBezTo>
                    <a:cubicBezTo>
                      <a:pt x="704" y="281"/>
                      <a:pt x="705" y="280"/>
                      <a:pt x="705" y="280"/>
                    </a:cubicBezTo>
                    <a:cubicBezTo>
                      <a:pt x="705" y="280"/>
                      <a:pt x="705" y="281"/>
                      <a:pt x="706" y="281"/>
                    </a:cubicBezTo>
                    <a:cubicBezTo>
                      <a:pt x="704" y="282"/>
                      <a:pt x="704" y="282"/>
                      <a:pt x="703" y="283"/>
                    </a:cubicBezTo>
                    <a:cubicBezTo>
                      <a:pt x="703" y="283"/>
                      <a:pt x="703" y="284"/>
                      <a:pt x="703" y="284"/>
                    </a:cubicBezTo>
                    <a:cubicBezTo>
                      <a:pt x="707" y="283"/>
                      <a:pt x="705" y="285"/>
                      <a:pt x="707" y="286"/>
                    </a:cubicBezTo>
                    <a:cubicBezTo>
                      <a:pt x="709" y="286"/>
                      <a:pt x="706" y="288"/>
                      <a:pt x="707" y="288"/>
                    </a:cubicBezTo>
                    <a:cubicBezTo>
                      <a:pt x="712" y="290"/>
                      <a:pt x="710" y="287"/>
                      <a:pt x="712" y="287"/>
                    </a:cubicBezTo>
                    <a:cubicBezTo>
                      <a:pt x="714" y="286"/>
                      <a:pt x="714" y="287"/>
                      <a:pt x="715" y="286"/>
                    </a:cubicBezTo>
                    <a:cubicBezTo>
                      <a:pt x="716" y="285"/>
                      <a:pt x="718" y="286"/>
                      <a:pt x="719" y="286"/>
                    </a:cubicBezTo>
                    <a:cubicBezTo>
                      <a:pt x="720" y="285"/>
                      <a:pt x="720" y="286"/>
                      <a:pt x="720" y="285"/>
                    </a:cubicBezTo>
                    <a:cubicBezTo>
                      <a:pt x="719" y="285"/>
                      <a:pt x="721" y="285"/>
                      <a:pt x="720" y="285"/>
                    </a:cubicBezTo>
                    <a:cubicBezTo>
                      <a:pt x="718" y="284"/>
                      <a:pt x="717" y="284"/>
                      <a:pt x="716" y="284"/>
                    </a:cubicBezTo>
                    <a:cubicBezTo>
                      <a:pt x="715" y="285"/>
                      <a:pt x="714" y="284"/>
                      <a:pt x="712" y="284"/>
                    </a:cubicBezTo>
                    <a:cubicBezTo>
                      <a:pt x="714" y="283"/>
                      <a:pt x="710" y="282"/>
                      <a:pt x="710" y="282"/>
                    </a:cubicBezTo>
                    <a:cubicBezTo>
                      <a:pt x="709" y="281"/>
                      <a:pt x="709" y="281"/>
                      <a:pt x="708" y="281"/>
                    </a:cubicBezTo>
                    <a:cubicBezTo>
                      <a:pt x="707" y="281"/>
                      <a:pt x="707" y="280"/>
                      <a:pt x="707" y="280"/>
                    </a:cubicBezTo>
                    <a:cubicBezTo>
                      <a:pt x="708" y="280"/>
                      <a:pt x="707" y="281"/>
                      <a:pt x="709" y="280"/>
                    </a:cubicBezTo>
                    <a:cubicBezTo>
                      <a:pt x="711" y="280"/>
                      <a:pt x="712" y="280"/>
                      <a:pt x="711" y="280"/>
                    </a:cubicBezTo>
                    <a:cubicBezTo>
                      <a:pt x="710" y="280"/>
                      <a:pt x="708" y="281"/>
                      <a:pt x="710" y="281"/>
                    </a:cubicBezTo>
                    <a:cubicBezTo>
                      <a:pt x="712" y="281"/>
                      <a:pt x="712" y="279"/>
                      <a:pt x="714" y="280"/>
                    </a:cubicBezTo>
                    <a:cubicBezTo>
                      <a:pt x="716" y="280"/>
                      <a:pt x="715" y="281"/>
                      <a:pt x="717" y="279"/>
                    </a:cubicBezTo>
                    <a:cubicBezTo>
                      <a:pt x="719" y="277"/>
                      <a:pt x="718" y="280"/>
                      <a:pt x="720" y="278"/>
                    </a:cubicBezTo>
                    <a:cubicBezTo>
                      <a:pt x="721" y="276"/>
                      <a:pt x="721" y="278"/>
                      <a:pt x="722" y="277"/>
                    </a:cubicBezTo>
                    <a:cubicBezTo>
                      <a:pt x="723" y="277"/>
                      <a:pt x="723" y="276"/>
                      <a:pt x="724" y="276"/>
                    </a:cubicBezTo>
                    <a:cubicBezTo>
                      <a:pt x="729" y="275"/>
                      <a:pt x="729" y="275"/>
                      <a:pt x="728" y="277"/>
                    </a:cubicBezTo>
                    <a:cubicBezTo>
                      <a:pt x="724" y="281"/>
                      <a:pt x="721" y="276"/>
                      <a:pt x="725" y="280"/>
                    </a:cubicBezTo>
                    <a:cubicBezTo>
                      <a:pt x="729" y="284"/>
                      <a:pt x="725" y="280"/>
                      <a:pt x="724" y="283"/>
                    </a:cubicBezTo>
                    <a:cubicBezTo>
                      <a:pt x="723" y="286"/>
                      <a:pt x="720" y="284"/>
                      <a:pt x="721" y="286"/>
                    </a:cubicBezTo>
                    <a:cubicBezTo>
                      <a:pt x="722" y="288"/>
                      <a:pt x="728" y="288"/>
                      <a:pt x="733" y="292"/>
                    </a:cubicBezTo>
                    <a:cubicBezTo>
                      <a:pt x="735" y="294"/>
                      <a:pt x="735" y="292"/>
                      <a:pt x="740" y="295"/>
                    </a:cubicBezTo>
                    <a:cubicBezTo>
                      <a:pt x="743" y="298"/>
                      <a:pt x="743" y="296"/>
                      <a:pt x="744" y="298"/>
                    </a:cubicBezTo>
                    <a:cubicBezTo>
                      <a:pt x="745" y="299"/>
                      <a:pt x="746" y="298"/>
                      <a:pt x="746" y="301"/>
                    </a:cubicBezTo>
                    <a:cubicBezTo>
                      <a:pt x="746" y="303"/>
                      <a:pt x="746" y="303"/>
                      <a:pt x="746" y="304"/>
                    </a:cubicBezTo>
                    <a:cubicBezTo>
                      <a:pt x="741" y="310"/>
                      <a:pt x="738" y="305"/>
                      <a:pt x="735" y="306"/>
                    </a:cubicBezTo>
                    <a:cubicBezTo>
                      <a:pt x="731" y="308"/>
                      <a:pt x="729" y="306"/>
                      <a:pt x="728" y="306"/>
                    </a:cubicBezTo>
                    <a:cubicBezTo>
                      <a:pt x="726" y="306"/>
                      <a:pt x="729" y="305"/>
                      <a:pt x="725" y="305"/>
                    </a:cubicBezTo>
                    <a:cubicBezTo>
                      <a:pt x="722" y="304"/>
                      <a:pt x="724" y="303"/>
                      <a:pt x="721" y="303"/>
                    </a:cubicBezTo>
                    <a:cubicBezTo>
                      <a:pt x="718" y="303"/>
                      <a:pt x="718" y="300"/>
                      <a:pt x="716" y="301"/>
                    </a:cubicBezTo>
                    <a:cubicBezTo>
                      <a:pt x="714" y="303"/>
                      <a:pt x="711" y="301"/>
                      <a:pt x="708" y="302"/>
                    </a:cubicBezTo>
                    <a:cubicBezTo>
                      <a:pt x="705" y="304"/>
                      <a:pt x="703" y="303"/>
                      <a:pt x="701" y="305"/>
                    </a:cubicBezTo>
                    <a:cubicBezTo>
                      <a:pt x="699" y="308"/>
                      <a:pt x="692" y="303"/>
                      <a:pt x="691" y="305"/>
                    </a:cubicBezTo>
                    <a:cubicBezTo>
                      <a:pt x="690" y="307"/>
                      <a:pt x="693" y="306"/>
                      <a:pt x="696" y="307"/>
                    </a:cubicBezTo>
                    <a:cubicBezTo>
                      <a:pt x="695" y="308"/>
                      <a:pt x="690" y="307"/>
                      <a:pt x="692" y="308"/>
                    </a:cubicBezTo>
                    <a:cubicBezTo>
                      <a:pt x="694" y="309"/>
                      <a:pt x="688" y="309"/>
                      <a:pt x="687" y="309"/>
                    </a:cubicBezTo>
                    <a:cubicBezTo>
                      <a:pt x="686" y="308"/>
                      <a:pt x="685" y="310"/>
                      <a:pt x="685" y="309"/>
                    </a:cubicBezTo>
                    <a:cubicBezTo>
                      <a:pt x="684" y="308"/>
                      <a:pt x="683" y="309"/>
                      <a:pt x="681" y="310"/>
                    </a:cubicBezTo>
                    <a:cubicBezTo>
                      <a:pt x="680" y="311"/>
                      <a:pt x="679" y="310"/>
                      <a:pt x="679" y="311"/>
                    </a:cubicBezTo>
                    <a:cubicBezTo>
                      <a:pt x="681" y="313"/>
                      <a:pt x="677" y="313"/>
                      <a:pt x="682" y="313"/>
                    </a:cubicBezTo>
                    <a:cubicBezTo>
                      <a:pt x="679" y="314"/>
                      <a:pt x="683" y="315"/>
                      <a:pt x="682" y="315"/>
                    </a:cubicBezTo>
                    <a:cubicBezTo>
                      <a:pt x="681" y="316"/>
                      <a:pt x="683" y="316"/>
                      <a:pt x="682" y="316"/>
                    </a:cubicBezTo>
                    <a:cubicBezTo>
                      <a:pt x="681" y="317"/>
                      <a:pt x="684" y="318"/>
                      <a:pt x="683" y="318"/>
                    </a:cubicBezTo>
                    <a:cubicBezTo>
                      <a:pt x="681" y="318"/>
                      <a:pt x="683" y="320"/>
                      <a:pt x="681" y="318"/>
                    </a:cubicBezTo>
                    <a:cubicBezTo>
                      <a:pt x="681" y="317"/>
                      <a:pt x="679" y="318"/>
                      <a:pt x="681" y="319"/>
                    </a:cubicBezTo>
                    <a:cubicBezTo>
                      <a:pt x="682" y="320"/>
                      <a:pt x="680" y="322"/>
                      <a:pt x="681" y="321"/>
                    </a:cubicBezTo>
                    <a:cubicBezTo>
                      <a:pt x="683" y="320"/>
                      <a:pt x="683" y="321"/>
                      <a:pt x="684" y="322"/>
                    </a:cubicBezTo>
                    <a:cubicBezTo>
                      <a:pt x="687" y="323"/>
                      <a:pt x="684" y="325"/>
                      <a:pt x="686" y="325"/>
                    </a:cubicBezTo>
                    <a:cubicBezTo>
                      <a:pt x="687" y="325"/>
                      <a:pt x="687" y="326"/>
                      <a:pt x="688" y="326"/>
                    </a:cubicBezTo>
                    <a:cubicBezTo>
                      <a:pt x="689" y="325"/>
                      <a:pt x="689" y="327"/>
                      <a:pt x="688" y="327"/>
                    </a:cubicBezTo>
                    <a:cubicBezTo>
                      <a:pt x="687" y="326"/>
                      <a:pt x="687" y="328"/>
                      <a:pt x="687" y="328"/>
                    </a:cubicBezTo>
                    <a:cubicBezTo>
                      <a:pt x="687" y="328"/>
                      <a:pt x="691" y="328"/>
                      <a:pt x="691" y="328"/>
                    </a:cubicBezTo>
                    <a:cubicBezTo>
                      <a:pt x="691" y="329"/>
                      <a:pt x="687" y="328"/>
                      <a:pt x="688" y="329"/>
                    </a:cubicBezTo>
                    <a:cubicBezTo>
                      <a:pt x="688" y="330"/>
                      <a:pt x="690" y="329"/>
                      <a:pt x="691" y="330"/>
                    </a:cubicBezTo>
                    <a:cubicBezTo>
                      <a:pt x="691" y="330"/>
                      <a:pt x="694" y="329"/>
                      <a:pt x="694" y="329"/>
                    </a:cubicBezTo>
                    <a:cubicBezTo>
                      <a:pt x="694" y="329"/>
                      <a:pt x="697" y="329"/>
                      <a:pt x="696" y="330"/>
                    </a:cubicBezTo>
                    <a:cubicBezTo>
                      <a:pt x="695" y="331"/>
                      <a:pt x="699" y="334"/>
                      <a:pt x="699" y="333"/>
                    </a:cubicBezTo>
                    <a:cubicBezTo>
                      <a:pt x="700" y="332"/>
                      <a:pt x="704" y="332"/>
                      <a:pt x="703" y="330"/>
                    </a:cubicBezTo>
                    <a:cubicBezTo>
                      <a:pt x="703" y="329"/>
                      <a:pt x="705" y="329"/>
                      <a:pt x="707" y="330"/>
                    </a:cubicBezTo>
                    <a:cubicBezTo>
                      <a:pt x="709" y="331"/>
                      <a:pt x="710" y="330"/>
                      <a:pt x="712" y="333"/>
                    </a:cubicBezTo>
                    <a:cubicBezTo>
                      <a:pt x="713" y="334"/>
                      <a:pt x="717" y="333"/>
                      <a:pt x="717" y="333"/>
                    </a:cubicBezTo>
                    <a:cubicBezTo>
                      <a:pt x="717" y="333"/>
                      <a:pt x="717" y="332"/>
                      <a:pt x="720" y="330"/>
                    </a:cubicBezTo>
                    <a:cubicBezTo>
                      <a:pt x="722" y="328"/>
                      <a:pt x="722" y="331"/>
                      <a:pt x="725" y="331"/>
                    </a:cubicBezTo>
                    <a:cubicBezTo>
                      <a:pt x="725" y="331"/>
                      <a:pt x="726" y="329"/>
                      <a:pt x="727" y="330"/>
                    </a:cubicBezTo>
                    <a:cubicBezTo>
                      <a:pt x="728" y="333"/>
                      <a:pt x="725" y="331"/>
                      <a:pt x="726" y="333"/>
                    </a:cubicBezTo>
                    <a:cubicBezTo>
                      <a:pt x="727" y="334"/>
                      <a:pt x="724" y="334"/>
                      <a:pt x="727" y="335"/>
                    </a:cubicBezTo>
                    <a:cubicBezTo>
                      <a:pt x="730" y="337"/>
                      <a:pt x="725" y="336"/>
                      <a:pt x="729" y="342"/>
                    </a:cubicBezTo>
                    <a:cubicBezTo>
                      <a:pt x="729" y="344"/>
                      <a:pt x="727" y="344"/>
                      <a:pt x="727" y="345"/>
                    </a:cubicBezTo>
                    <a:cubicBezTo>
                      <a:pt x="727" y="347"/>
                      <a:pt x="725" y="347"/>
                      <a:pt x="725" y="349"/>
                    </a:cubicBezTo>
                    <a:cubicBezTo>
                      <a:pt x="725" y="351"/>
                      <a:pt x="725" y="351"/>
                      <a:pt x="725" y="353"/>
                    </a:cubicBezTo>
                    <a:cubicBezTo>
                      <a:pt x="725" y="356"/>
                      <a:pt x="724" y="355"/>
                      <a:pt x="723" y="358"/>
                    </a:cubicBezTo>
                    <a:cubicBezTo>
                      <a:pt x="720" y="362"/>
                      <a:pt x="718" y="359"/>
                      <a:pt x="716" y="360"/>
                    </a:cubicBezTo>
                    <a:cubicBezTo>
                      <a:pt x="713" y="360"/>
                      <a:pt x="712" y="359"/>
                      <a:pt x="709" y="358"/>
                    </a:cubicBezTo>
                    <a:cubicBezTo>
                      <a:pt x="707" y="357"/>
                      <a:pt x="708" y="359"/>
                      <a:pt x="706" y="358"/>
                    </a:cubicBezTo>
                    <a:cubicBezTo>
                      <a:pt x="706" y="358"/>
                      <a:pt x="701" y="358"/>
                      <a:pt x="701" y="359"/>
                    </a:cubicBezTo>
                    <a:cubicBezTo>
                      <a:pt x="702" y="360"/>
                      <a:pt x="700" y="360"/>
                      <a:pt x="698" y="361"/>
                    </a:cubicBezTo>
                    <a:cubicBezTo>
                      <a:pt x="696" y="363"/>
                      <a:pt x="697" y="360"/>
                      <a:pt x="695" y="360"/>
                    </a:cubicBezTo>
                    <a:cubicBezTo>
                      <a:pt x="692" y="360"/>
                      <a:pt x="695" y="358"/>
                      <a:pt x="693" y="359"/>
                    </a:cubicBezTo>
                    <a:cubicBezTo>
                      <a:pt x="692" y="360"/>
                      <a:pt x="690" y="359"/>
                      <a:pt x="689" y="358"/>
                    </a:cubicBezTo>
                    <a:cubicBezTo>
                      <a:pt x="687" y="357"/>
                      <a:pt x="682" y="356"/>
                      <a:pt x="681" y="357"/>
                    </a:cubicBezTo>
                    <a:cubicBezTo>
                      <a:pt x="679" y="358"/>
                      <a:pt x="678" y="356"/>
                      <a:pt x="677" y="356"/>
                    </a:cubicBezTo>
                    <a:cubicBezTo>
                      <a:pt x="677" y="356"/>
                      <a:pt x="677" y="357"/>
                      <a:pt x="677" y="357"/>
                    </a:cubicBezTo>
                    <a:cubicBezTo>
                      <a:pt x="677" y="357"/>
                      <a:pt x="677" y="356"/>
                      <a:pt x="677" y="356"/>
                    </a:cubicBezTo>
                    <a:cubicBezTo>
                      <a:pt x="676" y="355"/>
                      <a:pt x="677" y="354"/>
                      <a:pt x="675" y="355"/>
                    </a:cubicBezTo>
                    <a:cubicBezTo>
                      <a:pt x="672" y="355"/>
                      <a:pt x="675" y="353"/>
                      <a:pt x="672" y="354"/>
                    </a:cubicBezTo>
                    <a:cubicBezTo>
                      <a:pt x="667" y="354"/>
                      <a:pt x="673" y="353"/>
                      <a:pt x="668" y="351"/>
                    </a:cubicBezTo>
                    <a:cubicBezTo>
                      <a:pt x="662" y="350"/>
                      <a:pt x="665" y="351"/>
                      <a:pt x="664" y="351"/>
                    </a:cubicBezTo>
                    <a:cubicBezTo>
                      <a:pt x="661" y="350"/>
                      <a:pt x="665" y="350"/>
                      <a:pt x="661" y="350"/>
                    </a:cubicBezTo>
                    <a:cubicBezTo>
                      <a:pt x="657" y="349"/>
                      <a:pt x="657" y="351"/>
                      <a:pt x="655" y="352"/>
                    </a:cubicBezTo>
                    <a:cubicBezTo>
                      <a:pt x="652" y="354"/>
                      <a:pt x="653" y="356"/>
                      <a:pt x="654" y="356"/>
                    </a:cubicBezTo>
                    <a:cubicBezTo>
                      <a:pt x="656" y="357"/>
                      <a:pt x="654" y="363"/>
                      <a:pt x="651" y="363"/>
                    </a:cubicBezTo>
                    <a:cubicBezTo>
                      <a:pt x="648" y="363"/>
                      <a:pt x="650" y="363"/>
                      <a:pt x="645" y="360"/>
                    </a:cubicBezTo>
                    <a:cubicBezTo>
                      <a:pt x="641" y="357"/>
                      <a:pt x="639" y="358"/>
                      <a:pt x="637" y="358"/>
                    </a:cubicBezTo>
                    <a:cubicBezTo>
                      <a:pt x="635" y="357"/>
                      <a:pt x="632" y="359"/>
                      <a:pt x="631" y="354"/>
                    </a:cubicBezTo>
                    <a:cubicBezTo>
                      <a:pt x="630" y="350"/>
                      <a:pt x="630" y="353"/>
                      <a:pt x="627" y="351"/>
                    </a:cubicBezTo>
                    <a:cubicBezTo>
                      <a:pt x="625" y="348"/>
                      <a:pt x="624" y="351"/>
                      <a:pt x="621" y="349"/>
                    </a:cubicBezTo>
                    <a:cubicBezTo>
                      <a:pt x="619" y="347"/>
                      <a:pt x="618" y="350"/>
                      <a:pt x="615" y="349"/>
                    </a:cubicBezTo>
                    <a:cubicBezTo>
                      <a:pt x="613" y="348"/>
                      <a:pt x="611" y="347"/>
                      <a:pt x="611" y="347"/>
                    </a:cubicBezTo>
                    <a:cubicBezTo>
                      <a:pt x="610" y="348"/>
                      <a:pt x="610" y="348"/>
                      <a:pt x="610" y="349"/>
                    </a:cubicBezTo>
                    <a:cubicBezTo>
                      <a:pt x="610" y="348"/>
                      <a:pt x="610" y="348"/>
                      <a:pt x="611" y="347"/>
                    </a:cubicBezTo>
                    <a:cubicBezTo>
                      <a:pt x="609" y="346"/>
                      <a:pt x="609" y="346"/>
                      <a:pt x="608" y="345"/>
                    </a:cubicBezTo>
                    <a:cubicBezTo>
                      <a:pt x="606" y="344"/>
                      <a:pt x="610" y="345"/>
                      <a:pt x="608" y="344"/>
                    </a:cubicBezTo>
                    <a:cubicBezTo>
                      <a:pt x="606" y="343"/>
                      <a:pt x="608" y="343"/>
                      <a:pt x="607" y="344"/>
                    </a:cubicBezTo>
                    <a:cubicBezTo>
                      <a:pt x="606" y="345"/>
                      <a:pt x="603" y="344"/>
                      <a:pt x="604" y="341"/>
                    </a:cubicBezTo>
                    <a:cubicBezTo>
                      <a:pt x="605" y="339"/>
                      <a:pt x="606" y="342"/>
                      <a:pt x="609" y="338"/>
                    </a:cubicBezTo>
                    <a:cubicBezTo>
                      <a:pt x="611" y="335"/>
                      <a:pt x="608" y="335"/>
                      <a:pt x="609" y="334"/>
                    </a:cubicBezTo>
                    <a:cubicBezTo>
                      <a:pt x="609" y="332"/>
                      <a:pt x="607" y="333"/>
                      <a:pt x="606" y="330"/>
                    </a:cubicBezTo>
                    <a:cubicBezTo>
                      <a:pt x="606" y="327"/>
                      <a:pt x="607" y="329"/>
                      <a:pt x="607" y="327"/>
                    </a:cubicBezTo>
                    <a:cubicBezTo>
                      <a:pt x="607" y="325"/>
                      <a:pt x="608" y="327"/>
                      <a:pt x="608" y="326"/>
                    </a:cubicBezTo>
                    <a:cubicBezTo>
                      <a:pt x="608" y="324"/>
                      <a:pt x="607" y="325"/>
                      <a:pt x="605" y="326"/>
                    </a:cubicBezTo>
                    <a:cubicBezTo>
                      <a:pt x="602" y="327"/>
                      <a:pt x="605" y="326"/>
                      <a:pt x="604" y="325"/>
                    </a:cubicBezTo>
                    <a:cubicBezTo>
                      <a:pt x="602" y="325"/>
                      <a:pt x="605" y="324"/>
                      <a:pt x="604" y="324"/>
                    </a:cubicBezTo>
                    <a:cubicBezTo>
                      <a:pt x="603" y="323"/>
                      <a:pt x="603" y="322"/>
                      <a:pt x="601" y="323"/>
                    </a:cubicBezTo>
                    <a:cubicBezTo>
                      <a:pt x="598" y="324"/>
                      <a:pt x="599" y="323"/>
                      <a:pt x="596" y="325"/>
                    </a:cubicBezTo>
                    <a:cubicBezTo>
                      <a:pt x="592" y="324"/>
                      <a:pt x="594" y="325"/>
                      <a:pt x="593" y="324"/>
                    </a:cubicBezTo>
                    <a:cubicBezTo>
                      <a:pt x="590" y="323"/>
                      <a:pt x="592" y="324"/>
                      <a:pt x="591" y="325"/>
                    </a:cubicBezTo>
                    <a:cubicBezTo>
                      <a:pt x="590" y="325"/>
                      <a:pt x="590" y="322"/>
                      <a:pt x="589" y="324"/>
                    </a:cubicBezTo>
                    <a:cubicBezTo>
                      <a:pt x="588" y="325"/>
                      <a:pt x="587" y="324"/>
                      <a:pt x="585" y="326"/>
                    </a:cubicBezTo>
                    <a:cubicBezTo>
                      <a:pt x="584" y="327"/>
                      <a:pt x="585" y="324"/>
                      <a:pt x="583" y="325"/>
                    </a:cubicBezTo>
                    <a:cubicBezTo>
                      <a:pt x="580" y="325"/>
                      <a:pt x="579" y="324"/>
                      <a:pt x="578" y="325"/>
                    </a:cubicBezTo>
                    <a:cubicBezTo>
                      <a:pt x="576" y="326"/>
                      <a:pt x="577" y="325"/>
                      <a:pt x="575" y="326"/>
                    </a:cubicBezTo>
                    <a:cubicBezTo>
                      <a:pt x="573" y="327"/>
                      <a:pt x="575" y="326"/>
                      <a:pt x="570" y="326"/>
                    </a:cubicBezTo>
                    <a:cubicBezTo>
                      <a:pt x="565" y="326"/>
                      <a:pt x="567" y="327"/>
                      <a:pt x="565" y="327"/>
                    </a:cubicBezTo>
                    <a:cubicBezTo>
                      <a:pt x="563" y="327"/>
                      <a:pt x="561" y="330"/>
                      <a:pt x="560" y="330"/>
                    </a:cubicBezTo>
                    <a:cubicBezTo>
                      <a:pt x="558" y="330"/>
                      <a:pt x="559" y="334"/>
                      <a:pt x="556" y="331"/>
                    </a:cubicBezTo>
                    <a:cubicBezTo>
                      <a:pt x="554" y="330"/>
                      <a:pt x="556" y="333"/>
                      <a:pt x="553" y="332"/>
                    </a:cubicBezTo>
                    <a:cubicBezTo>
                      <a:pt x="551" y="332"/>
                      <a:pt x="552" y="335"/>
                      <a:pt x="551" y="335"/>
                    </a:cubicBezTo>
                    <a:cubicBezTo>
                      <a:pt x="548" y="334"/>
                      <a:pt x="550" y="335"/>
                      <a:pt x="548" y="335"/>
                    </a:cubicBezTo>
                    <a:cubicBezTo>
                      <a:pt x="548" y="335"/>
                      <a:pt x="547" y="335"/>
                      <a:pt x="547" y="335"/>
                    </a:cubicBezTo>
                    <a:cubicBezTo>
                      <a:pt x="544" y="335"/>
                      <a:pt x="546" y="332"/>
                      <a:pt x="545" y="333"/>
                    </a:cubicBezTo>
                    <a:cubicBezTo>
                      <a:pt x="543" y="336"/>
                      <a:pt x="543" y="334"/>
                      <a:pt x="542" y="334"/>
                    </a:cubicBezTo>
                    <a:cubicBezTo>
                      <a:pt x="540" y="334"/>
                      <a:pt x="538" y="333"/>
                      <a:pt x="537" y="333"/>
                    </a:cubicBezTo>
                    <a:cubicBezTo>
                      <a:pt x="536" y="333"/>
                      <a:pt x="535" y="332"/>
                      <a:pt x="535" y="331"/>
                    </a:cubicBezTo>
                    <a:cubicBezTo>
                      <a:pt x="535" y="331"/>
                      <a:pt x="533" y="330"/>
                      <a:pt x="532" y="332"/>
                    </a:cubicBezTo>
                    <a:cubicBezTo>
                      <a:pt x="531" y="334"/>
                      <a:pt x="530" y="333"/>
                      <a:pt x="528" y="338"/>
                    </a:cubicBezTo>
                    <a:cubicBezTo>
                      <a:pt x="523" y="348"/>
                      <a:pt x="518" y="343"/>
                      <a:pt x="517" y="348"/>
                    </a:cubicBezTo>
                    <a:cubicBezTo>
                      <a:pt x="515" y="354"/>
                      <a:pt x="514" y="350"/>
                      <a:pt x="512" y="358"/>
                    </a:cubicBezTo>
                    <a:cubicBezTo>
                      <a:pt x="510" y="362"/>
                      <a:pt x="514" y="361"/>
                      <a:pt x="514" y="363"/>
                    </a:cubicBezTo>
                    <a:cubicBezTo>
                      <a:pt x="513" y="368"/>
                      <a:pt x="506" y="369"/>
                      <a:pt x="505" y="372"/>
                    </a:cubicBezTo>
                    <a:cubicBezTo>
                      <a:pt x="504" y="376"/>
                      <a:pt x="498" y="372"/>
                      <a:pt x="495" y="377"/>
                    </a:cubicBezTo>
                    <a:cubicBezTo>
                      <a:pt x="494" y="380"/>
                      <a:pt x="494" y="379"/>
                      <a:pt x="493" y="382"/>
                    </a:cubicBezTo>
                    <a:cubicBezTo>
                      <a:pt x="491" y="389"/>
                      <a:pt x="490" y="381"/>
                      <a:pt x="487" y="390"/>
                    </a:cubicBezTo>
                    <a:cubicBezTo>
                      <a:pt x="485" y="397"/>
                      <a:pt x="480" y="398"/>
                      <a:pt x="479" y="405"/>
                    </a:cubicBezTo>
                    <a:cubicBezTo>
                      <a:pt x="478" y="411"/>
                      <a:pt x="477" y="411"/>
                      <a:pt x="475" y="415"/>
                    </a:cubicBezTo>
                    <a:cubicBezTo>
                      <a:pt x="473" y="419"/>
                      <a:pt x="476" y="415"/>
                      <a:pt x="476" y="417"/>
                    </a:cubicBezTo>
                    <a:cubicBezTo>
                      <a:pt x="475" y="419"/>
                      <a:pt x="475" y="421"/>
                      <a:pt x="476" y="420"/>
                    </a:cubicBezTo>
                    <a:cubicBezTo>
                      <a:pt x="477" y="420"/>
                      <a:pt x="478" y="423"/>
                      <a:pt x="478" y="424"/>
                    </a:cubicBezTo>
                    <a:cubicBezTo>
                      <a:pt x="478" y="425"/>
                      <a:pt x="478" y="425"/>
                      <a:pt x="477" y="426"/>
                    </a:cubicBezTo>
                    <a:cubicBezTo>
                      <a:pt x="476" y="428"/>
                      <a:pt x="476" y="428"/>
                      <a:pt x="478" y="428"/>
                    </a:cubicBezTo>
                    <a:cubicBezTo>
                      <a:pt x="479" y="428"/>
                      <a:pt x="476" y="429"/>
                      <a:pt x="477" y="430"/>
                    </a:cubicBezTo>
                    <a:cubicBezTo>
                      <a:pt x="480" y="434"/>
                      <a:pt x="479" y="437"/>
                      <a:pt x="479" y="440"/>
                    </a:cubicBezTo>
                    <a:cubicBezTo>
                      <a:pt x="479" y="444"/>
                      <a:pt x="476" y="443"/>
                      <a:pt x="477" y="447"/>
                    </a:cubicBezTo>
                    <a:cubicBezTo>
                      <a:pt x="476" y="450"/>
                      <a:pt x="477" y="450"/>
                      <a:pt x="474" y="453"/>
                    </a:cubicBezTo>
                    <a:cubicBezTo>
                      <a:pt x="472" y="457"/>
                      <a:pt x="472" y="456"/>
                      <a:pt x="471" y="457"/>
                    </a:cubicBezTo>
                    <a:cubicBezTo>
                      <a:pt x="470" y="459"/>
                      <a:pt x="468" y="459"/>
                      <a:pt x="470" y="459"/>
                    </a:cubicBezTo>
                    <a:cubicBezTo>
                      <a:pt x="473" y="460"/>
                      <a:pt x="470" y="460"/>
                      <a:pt x="472" y="461"/>
                    </a:cubicBezTo>
                    <a:cubicBezTo>
                      <a:pt x="474" y="461"/>
                      <a:pt x="472" y="461"/>
                      <a:pt x="473" y="462"/>
                    </a:cubicBezTo>
                    <a:cubicBezTo>
                      <a:pt x="474" y="463"/>
                      <a:pt x="474" y="461"/>
                      <a:pt x="476" y="462"/>
                    </a:cubicBezTo>
                    <a:cubicBezTo>
                      <a:pt x="475" y="462"/>
                      <a:pt x="473" y="462"/>
                      <a:pt x="474" y="463"/>
                    </a:cubicBezTo>
                    <a:cubicBezTo>
                      <a:pt x="476" y="465"/>
                      <a:pt x="474" y="463"/>
                      <a:pt x="475" y="465"/>
                    </a:cubicBezTo>
                    <a:cubicBezTo>
                      <a:pt x="476" y="467"/>
                      <a:pt x="475" y="468"/>
                      <a:pt x="477" y="467"/>
                    </a:cubicBezTo>
                    <a:cubicBezTo>
                      <a:pt x="478" y="467"/>
                      <a:pt x="475" y="466"/>
                      <a:pt x="481" y="466"/>
                    </a:cubicBezTo>
                    <a:cubicBezTo>
                      <a:pt x="476" y="466"/>
                      <a:pt x="479" y="467"/>
                      <a:pt x="477" y="468"/>
                    </a:cubicBezTo>
                    <a:cubicBezTo>
                      <a:pt x="475" y="468"/>
                      <a:pt x="475" y="467"/>
                      <a:pt x="475" y="469"/>
                    </a:cubicBezTo>
                    <a:cubicBezTo>
                      <a:pt x="475" y="469"/>
                      <a:pt x="474" y="472"/>
                      <a:pt x="475" y="471"/>
                    </a:cubicBezTo>
                    <a:cubicBezTo>
                      <a:pt x="477" y="470"/>
                      <a:pt x="477" y="471"/>
                      <a:pt x="478" y="470"/>
                    </a:cubicBezTo>
                    <a:cubicBezTo>
                      <a:pt x="480" y="469"/>
                      <a:pt x="479" y="470"/>
                      <a:pt x="480" y="470"/>
                    </a:cubicBezTo>
                    <a:cubicBezTo>
                      <a:pt x="482" y="470"/>
                      <a:pt x="482" y="471"/>
                      <a:pt x="483" y="470"/>
                    </a:cubicBezTo>
                    <a:cubicBezTo>
                      <a:pt x="484" y="470"/>
                      <a:pt x="483" y="471"/>
                      <a:pt x="482" y="471"/>
                    </a:cubicBezTo>
                    <a:cubicBezTo>
                      <a:pt x="480" y="470"/>
                      <a:pt x="481" y="471"/>
                      <a:pt x="480" y="471"/>
                    </a:cubicBezTo>
                    <a:cubicBezTo>
                      <a:pt x="478" y="470"/>
                      <a:pt x="479" y="471"/>
                      <a:pt x="478" y="471"/>
                    </a:cubicBezTo>
                    <a:cubicBezTo>
                      <a:pt x="475" y="471"/>
                      <a:pt x="477" y="472"/>
                      <a:pt x="476" y="472"/>
                    </a:cubicBezTo>
                    <a:cubicBezTo>
                      <a:pt x="474" y="472"/>
                      <a:pt x="475" y="473"/>
                      <a:pt x="475" y="473"/>
                    </a:cubicBezTo>
                    <a:cubicBezTo>
                      <a:pt x="476" y="474"/>
                      <a:pt x="476" y="474"/>
                      <a:pt x="477" y="474"/>
                    </a:cubicBezTo>
                    <a:cubicBezTo>
                      <a:pt x="476" y="474"/>
                      <a:pt x="475" y="474"/>
                      <a:pt x="477" y="475"/>
                    </a:cubicBezTo>
                    <a:cubicBezTo>
                      <a:pt x="478" y="476"/>
                      <a:pt x="478" y="474"/>
                      <a:pt x="479" y="475"/>
                    </a:cubicBezTo>
                    <a:cubicBezTo>
                      <a:pt x="479" y="475"/>
                      <a:pt x="478" y="475"/>
                      <a:pt x="478" y="476"/>
                    </a:cubicBezTo>
                    <a:cubicBezTo>
                      <a:pt x="479" y="476"/>
                      <a:pt x="482" y="474"/>
                      <a:pt x="482" y="475"/>
                    </a:cubicBezTo>
                    <a:cubicBezTo>
                      <a:pt x="483" y="476"/>
                      <a:pt x="481" y="475"/>
                      <a:pt x="479" y="476"/>
                    </a:cubicBezTo>
                    <a:cubicBezTo>
                      <a:pt x="479" y="477"/>
                      <a:pt x="479" y="478"/>
                      <a:pt x="480" y="478"/>
                    </a:cubicBezTo>
                    <a:cubicBezTo>
                      <a:pt x="481" y="477"/>
                      <a:pt x="480" y="476"/>
                      <a:pt x="482" y="476"/>
                    </a:cubicBezTo>
                    <a:cubicBezTo>
                      <a:pt x="481" y="477"/>
                      <a:pt x="483" y="478"/>
                      <a:pt x="482" y="478"/>
                    </a:cubicBezTo>
                    <a:cubicBezTo>
                      <a:pt x="481" y="477"/>
                      <a:pt x="481" y="479"/>
                      <a:pt x="481" y="479"/>
                    </a:cubicBezTo>
                    <a:cubicBezTo>
                      <a:pt x="482" y="479"/>
                      <a:pt x="480" y="479"/>
                      <a:pt x="482" y="480"/>
                    </a:cubicBezTo>
                    <a:cubicBezTo>
                      <a:pt x="481" y="481"/>
                      <a:pt x="483" y="484"/>
                      <a:pt x="484" y="483"/>
                    </a:cubicBezTo>
                    <a:cubicBezTo>
                      <a:pt x="484" y="484"/>
                      <a:pt x="486" y="485"/>
                      <a:pt x="486" y="486"/>
                    </a:cubicBezTo>
                    <a:cubicBezTo>
                      <a:pt x="485" y="487"/>
                      <a:pt x="486" y="489"/>
                      <a:pt x="488" y="489"/>
                    </a:cubicBezTo>
                    <a:cubicBezTo>
                      <a:pt x="487" y="489"/>
                      <a:pt x="490" y="493"/>
                      <a:pt x="491" y="492"/>
                    </a:cubicBezTo>
                    <a:cubicBezTo>
                      <a:pt x="491" y="493"/>
                      <a:pt x="489" y="494"/>
                      <a:pt x="491" y="494"/>
                    </a:cubicBezTo>
                    <a:cubicBezTo>
                      <a:pt x="490" y="495"/>
                      <a:pt x="492" y="495"/>
                      <a:pt x="491" y="495"/>
                    </a:cubicBezTo>
                    <a:cubicBezTo>
                      <a:pt x="490" y="496"/>
                      <a:pt x="493" y="497"/>
                      <a:pt x="492" y="497"/>
                    </a:cubicBezTo>
                    <a:cubicBezTo>
                      <a:pt x="491" y="497"/>
                      <a:pt x="492" y="498"/>
                      <a:pt x="491" y="497"/>
                    </a:cubicBezTo>
                    <a:cubicBezTo>
                      <a:pt x="490" y="497"/>
                      <a:pt x="491" y="499"/>
                      <a:pt x="492" y="499"/>
                    </a:cubicBezTo>
                    <a:cubicBezTo>
                      <a:pt x="492" y="499"/>
                      <a:pt x="493" y="501"/>
                      <a:pt x="493" y="501"/>
                    </a:cubicBezTo>
                    <a:cubicBezTo>
                      <a:pt x="492" y="501"/>
                      <a:pt x="492" y="501"/>
                      <a:pt x="494" y="502"/>
                    </a:cubicBezTo>
                    <a:cubicBezTo>
                      <a:pt x="495" y="504"/>
                      <a:pt x="496" y="501"/>
                      <a:pt x="495" y="502"/>
                    </a:cubicBezTo>
                    <a:cubicBezTo>
                      <a:pt x="495" y="503"/>
                      <a:pt x="497" y="503"/>
                      <a:pt x="496" y="503"/>
                    </a:cubicBezTo>
                    <a:cubicBezTo>
                      <a:pt x="495" y="504"/>
                      <a:pt x="498" y="504"/>
                      <a:pt x="495" y="504"/>
                    </a:cubicBezTo>
                    <a:cubicBezTo>
                      <a:pt x="494" y="504"/>
                      <a:pt x="498" y="507"/>
                      <a:pt x="500" y="506"/>
                    </a:cubicBezTo>
                    <a:cubicBezTo>
                      <a:pt x="503" y="508"/>
                      <a:pt x="499" y="507"/>
                      <a:pt x="501" y="508"/>
                    </a:cubicBezTo>
                    <a:cubicBezTo>
                      <a:pt x="503" y="509"/>
                      <a:pt x="503" y="511"/>
                      <a:pt x="505" y="511"/>
                    </a:cubicBezTo>
                    <a:cubicBezTo>
                      <a:pt x="504" y="511"/>
                      <a:pt x="504" y="512"/>
                      <a:pt x="508" y="514"/>
                    </a:cubicBezTo>
                    <a:cubicBezTo>
                      <a:pt x="511" y="516"/>
                      <a:pt x="510" y="517"/>
                      <a:pt x="512" y="518"/>
                    </a:cubicBezTo>
                    <a:cubicBezTo>
                      <a:pt x="513" y="518"/>
                      <a:pt x="511" y="518"/>
                      <a:pt x="513" y="519"/>
                    </a:cubicBezTo>
                    <a:cubicBezTo>
                      <a:pt x="518" y="520"/>
                      <a:pt x="515" y="522"/>
                      <a:pt x="519" y="521"/>
                    </a:cubicBezTo>
                    <a:cubicBezTo>
                      <a:pt x="519" y="522"/>
                      <a:pt x="519" y="523"/>
                      <a:pt x="521" y="523"/>
                    </a:cubicBezTo>
                    <a:cubicBezTo>
                      <a:pt x="525" y="521"/>
                      <a:pt x="527" y="521"/>
                      <a:pt x="527" y="518"/>
                    </a:cubicBezTo>
                    <a:cubicBezTo>
                      <a:pt x="528" y="521"/>
                      <a:pt x="530" y="519"/>
                      <a:pt x="536" y="518"/>
                    </a:cubicBezTo>
                    <a:cubicBezTo>
                      <a:pt x="538" y="518"/>
                      <a:pt x="541" y="518"/>
                      <a:pt x="541" y="518"/>
                    </a:cubicBezTo>
                    <a:cubicBezTo>
                      <a:pt x="541" y="517"/>
                      <a:pt x="539" y="518"/>
                      <a:pt x="538" y="517"/>
                    </a:cubicBezTo>
                    <a:cubicBezTo>
                      <a:pt x="538" y="517"/>
                      <a:pt x="540" y="517"/>
                      <a:pt x="540" y="517"/>
                    </a:cubicBezTo>
                    <a:cubicBezTo>
                      <a:pt x="543" y="516"/>
                      <a:pt x="540" y="518"/>
                      <a:pt x="544" y="518"/>
                    </a:cubicBezTo>
                    <a:cubicBezTo>
                      <a:pt x="544" y="518"/>
                      <a:pt x="546" y="518"/>
                      <a:pt x="548" y="518"/>
                    </a:cubicBezTo>
                    <a:cubicBezTo>
                      <a:pt x="551" y="518"/>
                      <a:pt x="550" y="520"/>
                      <a:pt x="552" y="520"/>
                    </a:cubicBezTo>
                    <a:cubicBezTo>
                      <a:pt x="553" y="520"/>
                      <a:pt x="552" y="519"/>
                      <a:pt x="555" y="519"/>
                    </a:cubicBezTo>
                    <a:cubicBezTo>
                      <a:pt x="559" y="518"/>
                      <a:pt x="559" y="518"/>
                      <a:pt x="561" y="517"/>
                    </a:cubicBezTo>
                    <a:cubicBezTo>
                      <a:pt x="563" y="516"/>
                      <a:pt x="563" y="516"/>
                      <a:pt x="562" y="515"/>
                    </a:cubicBezTo>
                    <a:cubicBezTo>
                      <a:pt x="563" y="515"/>
                      <a:pt x="563" y="518"/>
                      <a:pt x="565" y="514"/>
                    </a:cubicBezTo>
                    <a:cubicBezTo>
                      <a:pt x="567" y="514"/>
                      <a:pt x="568" y="514"/>
                      <a:pt x="570" y="513"/>
                    </a:cubicBezTo>
                    <a:cubicBezTo>
                      <a:pt x="571" y="513"/>
                      <a:pt x="572" y="512"/>
                      <a:pt x="571" y="512"/>
                    </a:cubicBezTo>
                    <a:cubicBezTo>
                      <a:pt x="570" y="512"/>
                      <a:pt x="573" y="511"/>
                      <a:pt x="572" y="512"/>
                    </a:cubicBezTo>
                    <a:cubicBezTo>
                      <a:pt x="572" y="512"/>
                      <a:pt x="572" y="512"/>
                      <a:pt x="574" y="512"/>
                    </a:cubicBezTo>
                    <a:cubicBezTo>
                      <a:pt x="578" y="512"/>
                      <a:pt x="575" y="511"/>
                      <a:pt x="578" y="511"/>
                    </a:cubicBezTo>
                    <a:cubicBezTo>
                      <a:pt x="576" y="512"/>
                      <a:pt x="579" y="512"/>
                      <a:pt x="580" y="512"/>
                    </a:cubicBezTo>
                    <a:cubicBezTo>
                      <a:pt x="583" y="512"/>
                      <a:pt x="586" y="514"/>
                      <a:pt x="585" y="515"/>
                    </a:cubicBezTo>
                    <a:cubicBezTo>
                      <a:pt x="585" y="517"/>
                      <a:pt x="586" y="516"/>
                      <a:pt x="586" y="516"/>
                    </a:cubicBezTo>
                    <a:cubicBezTo>
                      <a:pt x="586" y="516"/>
                      <a:pt x="585" y="517"/>
                      <a:pt x="585" y="517"/>
                    </a:cubicBezTo>
                    <a:cubicBezTo>
                      <a:pt x="586" y="517"/>
                      <a:pt x="585" y="519"/>
                      <a:pt x="586" y="518"/>
                    </a:cubicBezTo>
                    <a:cubicBezTo>
                      <a:pt x="587" y="518"/>
                      <a:pt x="586" y="517"/>
                      <a:pt x="588" y="517"/>
                    </a:cubicBezTo>
                    <a:cubicBezTo>
                      <a:pt x="586" y="518"/>
                      <a:pt x="587" y="518"/>
                      <a:pt x="587" y="519"/>
                    </a:cubicBezTo>
                    <a:cubicBezTo>
                      <a:pt x="586" y="519"/>
                      <a:pt x="585" y="519"/>
                      <a:pt x="586" y="520"/>
                    </a:cubicBezTo>
                    <a:cubicBezTo>
                      <a:pt x="588" y="521"/>
                      <a:pt x="586" y="521"/>
                      <a:pt x="588" y="521"/>
                    </a:cubicBezTo>
                    <a:cubicBezTo>
                      <a:pt x="590" y="523"/>
                      <a:pt x="591" y="524"/>
                      <a:pt x="592" y="524"/>
                    </a:cubicBezTo>
                    <a:cubicBezTo>
                      <a:pt x="593" y="523"/>
                      <a:pt x="592" y="524"/>
                      <a:pt x="593" y="524"/>
                    </a:cubicBezTo>
                    <a:cubicBezTo>
                      <a:pt x="594" y="523"/>
                      <a:pt x="594" y="524"/>
                      <a:pt x="595" y="523"/>
                    </a:cubicBezTo>
                    <a:cubicBezTo>
                      <a:pt x="596" y="523"/>
                      <a:pt x="595" y="522"/>
                      <a:pt x="596" y="522"/>
                    </a:cubicBezTo>
                    <a:cubicBezTo>
                      <a:pt x="597" y="523"/>
                      <a:pt x="598" y="523"/>
                      <a:pt x="598" y="522"/>
                    </a:cubicBezTo>
                    <a:cubicBezTo>
                      <a:pt x="600" y="523"/>
                      <a:pt x="601" y="522"/>
                      <a:pt x="600" y="521"/>
                    </a:cubicBezTo>
                    <a:cubicBezTo>
                      <a:pt x="600" y="522"/>
                      <a:pt x="602" y="522"/>
                      <a:pt x="602" y="522"/>
                    </a:cubicBezTo>
                    <a:cubicBezTo>
                      <a:pt x="602" y="522"/>
                      <a:pt x="602" y="522"/>
                      <a:pt x="602" y="522"/>
                    </a:cubicBezTo>
                    <a:cubicBezTo>
                      <a:pt x="603" y="523"/>
                      <a:pt x="603" y="523"/>
                      <a:pt x="603" y="522"/>
                    </a:cubicBezTo>
                    <a:cubicBezTo>
                      <a:pt x="603" y="521"/>
                      <a:pt x="603" y="524"/>
                      <a:pt x="605" y="525"/>
                    </a:cubicBezTo>
                    <a:cubicBezTo>
                      <a:pt x="607" y="526"/>
                      <a:pt x="607" y="524"/>
                      <a:pt x="607" y="525"/>
                    </a:cubicBezTo>
                    <a:cubicBezTo>
                      <a:pt x="607" y="525"/>
                      <a:pt x="609" y="524"/>
                      <a:pt x="608" y="525"/>
                    </a:cubicBezTo>
                    <a:cubicBezTo>
                      <a:pt x="606" y="526"/>
                      <a:pt x="610" y="526"/>
                      <a:pt x="607" y="526"/>
                    </a:cubicBezTo>
                    <a:cubicBezTo>
                      <a:pt x="605" y="526"/>
                      <a:pt x="608" y="527"/>
                      <a:pt x="608" y="528"/>
                    </a:cubicBezTo>
                    <a:cubicBezTo>
                      <a:pt x="607" y="529"/>
                      <a:pt x="609" y="529"/>
                      <a:pt x="608" y="531"/>
                    </a:cubicBezTo>
                    <a:cubicBezTo>
                      <a:pt x="608" y="533"/>
                      <a:pt x="608" y="534"/>
                      <a:pt x="608" y="537"/>
                    </a:cubicBezTo>
                    <a:cubicBezTo>
                      <a:pt x="608" y="537"/>
                      <a:pt x="607" y="538"/>
                      <a:pt x="607" y="539"/>
                    </a:cubicBezTo>
                    <a:cubicBezTo>
                      <a:pt x="608" y="540"/>
                      <a:pt x="605" y="541"/>
                      <a:pt x="605" y="543"/>
                    </a:cubicBezTo>
                    <a:cubicBezTo>
                      <a:pt x="606" y="544"/>
                      <a:pt x="607" y="543"/>
                      <a:pt x="609" y="544"/>
                    </a:cubicBezTo>
                    <a:cubicBezTo>
                      <a:pt x="606" y="545"/>
                      <a:pt x="609" y="547"/>
                      <a:pt x="606" y="547"/>
                    </a:cubicBezTo>
                    <a:cubicBezTo>
                      <a:pt x="605" y="547"/>
                      <a:pt x="607" y="549"/>
                      <a:pt x="608" y="549"/>
                    </a:cubicBezTo>
                    <a:cubicBezTo>
                      <a:pt x="609" y="549"/>
                      <a:pt x="609" y="550"/>
                      <a:pt x="608" y="550"/>
                    </a:cubicBezTo>
                    <a:cubicBezTo>
                      <a:pt x="606" y="549"/>
                      <a:pt x="606" y="548"/>
                      <a:pt x="606" y="548"/>
                    </a:cubicBezTo>
                    <a:cubicBezTo>
                      <a:pt x="605" y="548"/>
                      <a:pt x="606" y="551"/>
                      <a:pt x="605" y="552"/>
                    </a:cubicBezTo>
                    <a:cubicBezTo>
                      <a:pt x="604" y="553"/>
                      <a:pt x="605" y="555"/>
                      <a:pt x="602" y="554"/>
                    </a:cubicBezTo>
                    <a:cubicBezTo>
                      <a:pt x="601" y="553"/>
                      <a:pt x="604" y="560"/>
                      <a:pt x="604" y="560"/>
                    </a:cubicBezTo>
                    <a:cubicBezTo>
                      <a:pt x="606" y="559"/>
                      <a:pt x="605" y="561"/>
                      <a:pt x="605" y="561"/>
                    </a:cubicBezTo>
                    <a:cubicBezTo>
                      <a:pt x="604" y="561"/>
                      <a:pt x="605" y="563"/>
                      <a:pt x="606" y="564"/>
                    </a:cubicBezTo>
                    <a:cubicBezTo>
                      <a:pt x="607" y="565"/>
                      <a:pt x="606" y="564"/>
                      <a:pt x="606" y="564"/>
                    </a:cubicBezTo>
                    <a:cubicBezTo>
                      <a:pt x="606" y="564"/>
                      <a:pt x="610" y="568"/>
                      <a:pt x="610" y="569"/>
                    </a:cubicBezTo>
                    <a:cubicBezTo>
                      <a:pt x="610" y="570"/>
                      <a:pt x="614" y="572"/>
                      <a:pt x="613" y="572"/>
                    </a:cubicBezTo>
                    <a:cubicBezTo>
                      <a:pt x="611" y="574"/>
                      <a:pt x="614" y="573"/>
                      <a:pt x="614" y="574"/>
                    </a:cubicBezTo>
                    <a:cubicBezTo>
                      <a:pt x="613" y="575"/>
                      <a:pt x="615" y="574"/>
                      <a:pt x="617" y="579"/>
                    </a:cubicBezTo>
                    <a:cubicBezTo>
                      <a:pt x="618" y="580"/>
                      <a:pt x="618" y="581"/>
                      <a:pt x="619" y="580"/>
                    </a:cubicBezTo>
                    <a:cubicBezTo>
                      <a:pt x="620" y="580"/>
                      <a:pt x="621" y="581"/>
                      <a:pt x="619" y="581"/>
                    </a:cubicBezTo>
                    <a:cubicBezTo>
                      <a:pt x="616" y="580"/>
                      <a:pt x="620" y="583"/>
                      <a:pt x="619" y="584"/>
                    </a:cubicBezTo>
                    <a:cubicBezTo>
                      <a:pt x="619" y="584"/>
                      <a:pt x="620" y="586"/>
                      <a:pt x="619" y="586"/>
                    </a:cubicBezTo>
                    <a:cubicBezTo>
                      <a:pt x="618" y="586"/>
                      <a:pt x="620" y="587"/>
                      <a:pt x="620" y="587"/>
                    </a:cubicBezTo>
                    <a:cubicBezTo>
                      <a:pt x="620" y="588"/>
                      <a:pt x="621" y="589"/>
                      <a:pt x="622" y="588"/>
                    </a:cubicBezTo>
                    <a:cubicBezTo>
                      <a:pt x="624" y="587"/>
                      <a:pt x="624" y="588"/>
                      <a:pt x="625" y="588"/>
                    </a:cubicBezTo>
                    <a:cubicBezTo>
                      <a:pt x="625" y="589"/>
                      <a:pt x="623" y="589"/>
                      <a:pt x="621" y="589"/>
                    </a:cubicBezTo>
                    <a:cubicBezTo>
                      <a:pt x="619" y="590"/>
                      <a:pt x="622" y="591"/>
                      <a:pt x="623" y="594"/>
                    </a:cubicBezTo>
                    <a:cubicBezTo>
                      <a:pt x="623" y="598"/>
                      <a:pt x="626" y="601"/>
                      <a:pt x="625" y="605"/>
                    </a:cubicBezTo>
                    <a:cubicBezTo>
                      <a:pt x="623" y="610"/>
                      <a:pt x="625" y="607"/>
                      <a:pt x="625" y="609"/>
                    </a:cubicBezTo>
                    <a:cubicBezTo>
                      <a:pt x="624" y="613"/>
                      <a:pt x="629" y="616"/>
                      <a:pt x="627" y="622"/>
                    </a:cubicBezTo>
                    <a:cubicBezTo>
                      <a:pt x="625" y="628"/>
                      <a:pt x="625" y="624"/>
                      <a:pt x="623" y="628"/>
                    </a:cubicBezTo>
                    <a:cubicBezTo>
                      <a:pt x="621" y="632"/>
                      <a:pt x="622" y="628"/>
                      <a:pt x="619" y="634"/>
                    </a:cubicBezTo>
                    <a:cubicBezTo>
                      <a:pt x="616" y="640"/>
                      <a:pt x="618" y="650"/>
                      <a:pt x="616" y="651"/>
                    </a:cubicBezTo>
                    <a:cubicBezTo>
                      <a:pt x="614" y="653"/>
                      <a:pt x="616" y="650"/>
                      <a:pt x="615" y="660"/>
                    </a:cubicBezTo>
                    <a:cubicBezTo>
                      <a:pt x="615" y="667"/>
                      <a:pt x="620" y="671"/>
                      <a:pt x="620" y="675"/>
                    </a:cubicBezTo>
                    <a:cubicBezTo>
                      <a:pt x="619" y="681"/>
                      <a:pt x="628" y="692"/>
                      <a:pt x="628" y="694"/>
                    </a:cubicBezTo>
                    <a:cubicBezTo>
                      <a:pt x="626" y="698"/>
                      <a:pt x="628" y="695"/>
                      <a:pt x="627" y="699"/>
                    </a:cubicBezTo>
                    <a:cubicBezTo>
                      <a:pt x="626" y="703"/>
                      <a:pt x="630" y="716"/>
                      <a:pt x="630" y="718"/>
                    </a:cubicBezTo>
                    <a:cubicBezTo>
                      <a:pt x="629" y="719"/>
                      <a:pt x="631" y="723"/>
                      <a:pt x="632" y="726"/>
                    </a:cubicBezTo>
                    <a:cubicBezTo>
                      <a:pt x="633" y="727"/>
                      <a:pt x="634" y="727"/>
                      <a:pt x="634" y="728"/>
                    </a:cubicBezTo>
                    <a:cubicBezTo>
                      <a:pt x="636" y="729"/>
                      <a:pt x="634" y="739"/>
                      <a:pt x="639" y="743"/>
                    </a:cubicBezTo>
                    <a:cubicBezTo>
                      <a:pt x="643" y="745"/>
                      <a:pt x="640" y="747"/>
                      <a:pt x="640" y="750"/>
                    </a:cubicBezTo>
                    <a:cubicBezTo>
                      <a:pt x="641" y="752"/>
                      <a:pt x="640" y="752"/>
                      <a:pt x="639" y="753"/>
                    </a:cubicBezTo>
                    <a:cubicBezTo>
                      <a:pt x="641" y="755"/>
                      <a:pt x="638" y="756"/>
                      <a:pt x="640" y="757"/>
                    </a:cubicBezTo>
                    <a:cubicBezTo>
                      <a:pt x="643" y="759"/>
                      <a:pt x="639" y="761"/>
                      <a:pt x="643" y="762"/>
                    </a:cubicBezTo>
                    <a:cubicBezTo>
                      <a:pt x="643" y="762"/>
                      <a:pt x="642" y="761"/>
                      <a:pt x="643" y="760"/>
                    </a:cubicBezTo>
                    <a:cubicBezTo>
                      <a:pt x="644" y="759"/>
                      <a:pt x="646" y="765"/>
                      <a:pt x="651" y="762"/>
                    </a:cubicBezTo>
                    <a:cubicBezTo>
                      <a:pt x="654" y="760"/>
                      <a:pt x="654" y="762"/>
                      <a:pt x="655" y="761"/>
                    </a:cubicBezTo>
                    <a:cubicBezTo>
                      <a:pt x="657" y="761"/>
                      <a:pt x="658" y="761"/>
                      <a:pt x="659" y="760"/>
                    </a:cubicBezTo>
                    <a:cubicBezTo>
                      <a:pt x="660" y="758"/>
                      <a:pt x="662" y="760"/>
                      <a:pt x="663" y="759"/>
                    </a:cubicBezTo>
                    <a:cubicBezTo>
                      <a:pt x="664" y="759"/>
                      <a:pt x="667" y="759"/>
                      <a:pt x="668" y="760"/>
                    </a:cubicBezTo>
                    <a:cubicBezTo>
                      <a:pt x="671" y="761"/>
                      <a:pt x="669" y="758"/>
                      <a:pt x="672" y="759"/>
                    </a:cubicBezTo>
                    <a:cubicBezTo>
                      <a:pt x="675" y="760"/>
                      <a:pt x="674" y="757"/>
                      <a:pt x="677" y="756"/>
                    </a:cubicBezTo>
                    <a:cubicBezTo>
                      <a:pt x="684" y="755"/>
                      <a:pt x="685" y="750"/>
                      <a:pt x="688" y="748"/>
                    </a:cubicBezTo>
                    <a:cubicBezTo>
                      <a:pt x="690" y="747"/>
                      <a:pt x="692" y="741"/>
                      <a:pt x="695" y="741"/>
                    </a:cubicBezTo>
                    <a:cubicBezTo>
                      <a:pt x="699" y="739"/>
                      <a:pt x="703" y="725"/>
                      <a:pt x="707" y="725"/>
                    </a:cubicBezTo>
                    <a:cubicBezTo>
                      <a:pt x="711" y="724"/>
                      <a:pt x="711" y="723"/>
                      <a:pt x="714" y="713"/>
                    </a:cubicBezTo>
                    <a:cubicBezTo>
                      <a:pt x="715" y="710"/>
                      <a:pt x="710" y="709"/>
                      <a:pt x="719" y="706"/>
                    </a:cubicBezTo>
                    <a:cubicBezTo>
                      <a:pt x="726" y="703"/>
                      <a:pt x="728" y="698"/>
                      <a:pt x="728" y="697"/>
                    </a:cubicBezTo>
                    <a:cubicBezTo>
                      <a:pt x="728" y="694"/>
                      <a:pt x="731" y="693"/>
                      <a:pt x="730" y="690"/>
                    </a:cubicBezTo>
                    <a:cubicBezTo>
                      <a:pt x="729" y="688"/>
                      <a:pt x="730" y="686"/>
                      <a:pt x="730" y="685"/>
                    </a:cubicBezTo>
                    <a:cubicBezTo>
                      <a:pt x="728" y="681"/>
                      <a:pt x="729" y="679"/>
                      <a:pt x="728" y="679"/>
                    </a:cubicBezTo>
                    <a:cubicBezTo>
                      <a:pt x="726" y="678"/>
                      <a:pt x="728" y="672"/>
                      <a:pt x="732" y="670"/>
                    </a:cubicBezTo>
                    <a:cubicBezTo>
                      <a:pt x="736" y="668"/>
                      <a:pt x="740" y="660"/>
                      <a:pt x="745" y="659"/>
                    </a:cubicBezTo>
                    <a:cubicBezTo>
                      <a:pt x="749" y="659"/>
                      <a:pt x="748" y="657"/>
                      <a:pt x="749" y="657"/>
                    </a:cubicBezTo>
                    <a:cubicBezTo>
                      <a:pt x="752" y="657"/>
                      <a:pt x="756" y="653"/>
                      <a:pt x="757" y="650"/>
                    </a:cubicBezTo>
                    <a:cubicBezTo>
                      <a:pt x="760" y="647"/>
                      <a:pt x="759" y="650"/>
                      <a:pt x="761" y="646"/>
                    </a:cubicBezTo>
                    <a:cubicBezTo>
                      <a:pt x="764" y="641"/>
                      <a:pt x="764" y="643"/>
                      <a:pt x="762" y="637"/>
                    </a:cubicBezTo>
                    <a:cubicBezTo>
                      <a:pt x="761" y="632"/>
                      <a:pt x="764" y="631"/>
                      <a:pt x="763" y="627"/>
                    </a:cubicBezTo>
                    <a:cubicBezTo>
                      <a:pt x="762" y="624"/>
                      <a:pt x="764" y="623"/>
                      <a:pt x="764" y="621"/>
                    </a:cubicBezTo>
                    <a:cubicBezTo>
                      <a:pt x="763" y="619"/>
                      <a:pt x="765" y="617"/>
                      <a:pt x="763" y="615"/>
                    </a:cubicBezTo>
                    <a:cubicBezTo>
                      <a:pt x="762" y="613"/>
                      <a:pt x="761" y="613"/>
                      <a:pt x="761" y="610"/>
                    </a:cubicBezTo>
                    <a:cubicBezTo>
                      <a:pt x="761" y="604"/>
                      <a:pt x="757" y="604"/>
                      <a:pt x="759" y="601"/>
                    </a:cubicBezTo>
                    <a:cubicBezTo>
                      <a:pt x="762" y="598"/>
                      <a:pt x="759" y="599"/>
                      <a:pt x="761" y="597"/>
                    </a:cubicBezTo>
                    <a:cubicBezTo>
                      <a:pt x="764" y="593"/>
                      <a:pt x="755" y="593"/>
                      <a:pt x="759" y="587"/>
                    </a:cubicBezTo>
                    <a:cubicBezTo>
                      <a:pt x="762" y="582"/>
                      <a:pt x="760" y="582"/>
                      <a:pt x="762" y="579"/>
                    </a:cubicBezTo>
                    <a:cubicBezTo>
                      <a:pt x="763" y="578"/>
                      <a:pt x="763" y="580"/>
                      <a:pt x="763" y="577"/>
                    </a:cubicBezTo>
                    <a:cubicBezTo>
                      <a:pt x="764" y="575"/>
                      <a:pt x="765" y="575"/>
                      <a:pt x="765" y="572"/>
                    </a:cubicBezTo>
                    <a:cubicBezTo>
                      <a:pt x="766" y="568"/>
                      <a:pt x="766" y="570"/>
                      <a:pt x="766" y="567"/>
                    </a:cubicBezTo>
                    <a:cubicBezTo>
                      <a:pt x="766" y="563"/>
                      <a:pt x="769" y="564"/>
                      <a:pt x="774" y="559"/>
                    </a:cubicBezTo>
                    <a:cubicBezTo>
                      <a:pt x="775" y="558"/>
                      <a:pt x="775" y="558"/>
                      <a:pt x="777" y="554"/>
                    </a:cubicBezTo>
                    <a:cubicBezTo>
                      <a:pt x="779" y="549"/>
                      <a:pt x="783" y="549"/>
                      <a:pt x="786" y="544"/>
                    </a:cubicBezTo>
                    <a:cubicBezTo>
                      <a:pt x="789" y="539"/>
                      <a:pt x="791" y="540"/>
                      <a:pt x="796" y="534"/>
                    </a:cubicBezTo>
                    <a:cubicBezTo>
                      <a:pt x="800" y="529"/>
                      <a:pt x="804" y="526"/>
                      <a:pt x="805" y="522"/>
                    </a:cubicBezTo>
                    <a:cubicBezTo>
                      <a:pt x="806" y="518"/>
                      <a:pt x="812" y="517"/>
                      <a:pt x="812" y="510"/>
                    </a:cubicBezTo>
                    <a:cubicBezTo>
                      <a:pt x="812" y="505"/>
                      <a:pt x="817" y="500"/>
                      <a:pt x="817" y="496"/>
                    </a:cubicBezTo>
                    <a:cubicBezTo>
                      <a:pt x="817" y="495"/>
                      <a:pt x="817" y="497"/>
                      <a:pt x="819" y="491"/>
                    </a:cubicBezTo>
                    <a:cubicBezTo>
                      <a:pt x="821" y="487"/>
                      <a:pt x="819" y="490"/>
                      <a:pt x="820" y="488"/>
                    </a:cubicBezTo>
                    <a:cubicBezTo>
                      <a:pt x="821" y="485"/>
                      <a:pt x="819" y="483"/>
                      <a:pt x="820" y="483"/>
                    </a:cubicBezTo>
                    <a:cubicBezTo>
                      <a:pt x="822" y="484"/>
                      <a:pt x="819" y="482"/>
                      <a:pt x="820" y="478"/>
                    </a:cubicBezTo>
                    <a:cubicBezTo>
                      <a:pt x="820" y="476"/>
                      <a:pt x="818" y="477"/>
                      <a:pt x="816" y="477"/>
                    </a:cubicBezTo>
                    <a:cubicBezTo>
                      <a:pt x="815" y="477"/>
                      <a:pt x="811" y="481"/>
                      <a:pt x="808" y="481"/>
                    </a:cubicBezTo>
                    <a:cubicBezTo>
                      <a:pt x="805" y="480"/>
                      <a:pt x="808" y="482"/>
                      <a:pt x="803" y="481"/>
                    </a:cubicBezTo>
                    <a:cubicBezTo>
                      <a:pt x="799" y="481"/>
                      <a:pt x="800" y="484"/>
                      <a:pt x="796" y="483"/>
                    </a:cubicBezTo>
                    <a:cubicBezTo>
                      <a:pt x="792" y="483"/>
                      <a:pt x="792" y="484"/>
                      <a:pt x="789" y="485"/>
                    </a:cubicBezTo>
                    <a:cubicBezTo>
                      <a:pt x="786" y="486"/>
                      <a:pt x="781" y="481"/>
                      <a:pt x="780" y="479"/>
                    </a:cubicBezTo>
                    <a:cubicBezTo>
                      <a:pt x="780" y="479"/>
                      <a:pt x="780" y="479"/>
                      <a:pt x="780" y="479"/>
                    </a:cubicBezTo>
                    <a:cubicBezTo>
                      <a:pt x="779" y="478"/>
                      <a:pt x="779" y="479"/>
                      <a:pt x="777" y="479"/>
                    </a:cubicBezTo>
                    <a:cubicBezTo>
                      <a:pt x="775" y="479"/>
                      <a:pt x="777" y="479"/>
                      <a:pt x="778" y="478"/>
                    </a:cubicBezTo>
                    <a:cubicBezTo>
                      <a:pt x="779" y="478"/>
                      <a:pt x="780" y="479"/>
                      <a:pt x="781" y="476"/>
                    </a:cubicBezTo>
                    <a:cubicBezTo>
                      <a:pt x="782" y="473"/>
                      <a:pt x="779" y="472"/>
                      <a:pt x="777" y="470"/>
                    </a:cubicBezTo>
                    <a:cubicBezTo>
                      <a:pt x="777" y="469"/>
                      <a:pt x="777" y="469"/>
                      <a:pt x="776" y="469"/>
                    </a:cubicBezTo>
                    <a:cubicBezTo>
                      <a:pt x="775" y="469"/>
                      <a:pt x="776" y="467"/>
                      <a:pt x="774" y="465"/>
                    </a:cubicBezTo>
                    <a:cubicBezTo>
                      <a:pt x="771" y="463"/>
                      <a:pt x="770" y="459"/>
                      <a:pt x="767" y="459"/>
                    </a:cubicBezTo>
                    <a:cubicBezTo>
                      <a:pt x="766" y="459"/>
                      <a:pt x="766" y="457"/>
                      <a:pt x="764" y="457"/>
                    </a:cubicBezTo>
                    <a:cubicBezTo>
                      <a:pt x="761" y="457"/>
                      <a:pt x="762" y="453"/>
                      <a:pt x="761" y="454"/>
                    </a:cubicBezTo>
                    <a:cubicBezTo>
                      <a:pt x="760" y="455"/>
                      <a:pt x="759" y="455"/>
                      <a:pt x="758" y="449"/>
                    </a:cubicBezTo>
                    <a:cubicBezTo>
                      <a:pt x="756" y="443"/>
                      <a:pt x="755" y="443"/>
                      <a:pt x="752" y="437"/>
                    </a:cubicBezTo>
                    <a:cubicBezTo>
                      <a:pt x="751" y="435"/>
                      <a:pt x="750" y="434"/>
                      <a:pt x="750" y="435"/>
                    </a:cubicBezTo>
                    <a:cubicBezTo>
                      <a:pt x="749" y="436"/>
                      <a:pt x="749" y="433"/>
                      <a:pt x="747" y="434"/>
                    </a:cubicBezTo>
                    <a:cubicBezTo>
                      <a:pt x="746" y="434"/>
                      <a:pt x="746" y="431"/>
                      <a:pt x="745" y="430"/>
                    </a:cubicBezTo>
                    <a:cubicBezTo>
                      <a:pt x="745" y="429"/>
                      <a:pt x="744" y="422"/>
                      <a:pt x="745" y="422"/>
                    </a:cubicBezTo>
                    <a:cubicBezTo>
                      <a:pt x="746" y="421"/>
                      <a:pt x="742" y="417"/>
                      <a:pt x="742" y="415"/>
                    </a:cubicBezTo>
                    <a:cubicBezTo>
                      <a:pt x="742" y="413"/>
                      <a:pt x="741" y="414"/>
                      <a:pt x="737" y="410"/>
                    </a:cubicBezTo>
                    <a:cubicBezTo>
                      <a:pt x="735" y="407"/>
                      <a:pt x="738" y="410"/>
                      <a:pt x="735" y="406"/>
                    </a:cubicBezTo>
                    <a:cubicBezTo>
                      <a:pt x="732" y="402"/>
                      <a:pt x="738" y="405"/>
                      <a:pt x="735" y="403"/>
                    </a:cubicBezTo>
                    <a:cubicBezTo>
                      <a:pt x="733" y="400"/>
                      <a:pt x="731" y="400"/>
                      <a:pt x="730" y="396"/>
                    </a:cubicBezTo>
                    <a:cubicBezTo>
                      <a:pt x="729" y="393"/>
                      <a:pt x="727" y="393"/>
                      <a:pt x="723" y="386"/>
                    </a:cubicBezTo>
                    <a:cubicBezTo>
                      <a:pt x="721" y="382"/>
                      <a:pt x="726" y="385"/>
                      <a:pt x="722" y="382"/>
                    </a:cubicBezTo>
                    <a:cubicBezTo>
                      <a:pt x="719" y="379"/>
                      <a:pt x="723" y="382"/>
                      <a:pt x="720" y="379"/>
                    </a:cubicBezTo>
                    <a:cubicBezTo>
                      <a:pt x="718" y="376"/>
                      <a:pt x="718" y="375"/>
                      <a:pt x="717" y="374"/>
                    </a:cubicBezTo>
                    <a:cubicBezTo>
                      <a:pt x="715" y="371"/>
                      <a:pt x="717" y="372"/>
                      <a:pt x="715" y="368"/>
                    </a:cubicBezTo>
                    <a:cubicBezTo>
                      <a:pt x="713" y="366"/>
                      <a:pt x="715" y="366"/>
                      <a:pt x="713" y="362"/>
                    </a:cubicBezTo>
                    <a:cubicBezTo>
                      <a:pt x="714" y="364"/>
                      <a:pt x="714" y="367"/>
                      <a:pt x="716" y="368"/>
                    </a:cubicBezTo>
                    <a:cubicBezTo>
                      <a:pt x="718" y="369"/>
                      <a:pt x="717" y="370"/>
                      <a:pt x="719" y="373"/>
                    </a:cubicBezTo>
                    <a:cubicBezTo>
                      <a:pt x="721" y="375"/>
                      <a:pt x="721" y="376"/>
                      <a:pt x="724" y="379"/>
                    </a:cubicBezTo>
                    <a:cubicBezTo>
                      <a:pt x="726" y="381"/>
                      <a:pt x="726" y="382"/>
                      <a:pt x="727" y="379"/>
                    </a:cubicBezTo>
                    <a:cubicBezTo>
                      <a:pt x="729" y="377"/>
                      <a:pt x="726" y="377"/>
                      <a:pt x="727" y="374"/>
                    </a:cubicBezTo>
                    <a:cubicBezTo>
                      <a:pt x="728" y="372"/>
                      <a:pt x="727" y="371"/>
                      <a:pt x="728" y="369"/>
                    </a:cubicBezTo>
                    <a:cubicBezTo>
                      <a:pt x="728" y="369"/>
                      <a:pt x="729" y="370"/>
                      <a:pt x="728" y="371"/>
                    </a:cubicBezTo>
                    <a:cubicBezTo>
                      <a:pt x="728" y="373"/>
                      <a:pt x="729" y="373"/>
                      <a:pt x="729" y="375"/>
                    </a:cubicBezTo>
                    <a:cubicBezTo>
                      <a:pt x="728" y="377"/>
                      <a:pt x="730" y="375"/>
                      <a:pt x="731" y="378"/>
                    </a:cubicBezTo>
                    <a:cubicBezTo>
                      <a:pt x="732" y="382"/>
                      <a:pt x="735" y="382"/>
                      <a:pt x="734" y="383"/>
                    </a:cubicBezTo>
                    <a:cubicBezTo>
                      <a:pt x="733" y="384"/>
                      <a:pt x="736" y="385"/>
                      <a:pt x="740" y="393"/>
                    </a:cubicBezTo>
                    <a:cubicBezTo>
                      <a:pt x="744" y="399"/>
                      <a:pt x="740" y="394"/>
                      <a:pt x="743" y="400"/>
                    </a:cubicBezTo>
                    <a:cubicBezTo>
                      <a:pt x="744" y="402"/>
                      <a:pt x="747" y="401"/>
                      <a:pt x="748" y="403"/>
                    </a:cubicBezTo>
                    <a:cubicBezTo>
                      <a:pt x="749" y="404"/>
                      <a:pt x="750" y="404"/>
                      <a:pt x="750" y="405"/>
                    </a:cubicBezTo>
                    <a:cubicBezTo>
                      <a:pt x="750" y="409"/>
                      <a:pt x="753" y="413"/>
                      <a:pt x="755" y="417"/>
                    </a:cubicBezTo>
                    <a:cubicBezTo>
                      <a:pt x="757" y="421"/>
                      <a:pt x="753" y="418"/>
                      <a:pt x="755" y="420"/>
                    </a:cubicBezTo>
                    <a:cubicBezTo>
                      <a:pt x="756" y="422"/>
                      <a:pt x="754" y="422"/>
                      <a:pt x="758" y="425"/>
                    </a:cubicBezTo>
                    <a:cubicBezTo>
                      <a:pt x="766" y="431"/>
                      <a:pt x="764" y="433"/>
                      <a:pt x="767" y="436"/>
                    </a:cubicBezTo>
                    <a:cubicBezTo>
                      <a:pt x="771" y="440"/>
                      <a:pt x="771" y="440"/>
                      <a:pt x="773" y="444"/>
                    </a:cubicBezTo>
                    <a:cubicBezTo>
                      <a:pt x="775" y="448"/>
                      <a:pt x="773" y="447"/>
                      <a:pt x="775" y="448"/>
                    </a:cubicBezTo>
                    <a:cubicBezTo>
                      <a:pt x="777" y="449"/>
                      <a:pt x="774" y="449"/>
                      <a:pt x="776" y="450"/>
                    </a:cubicBezTo>
                    <a:cubicBezTo>
                      <a:pt x="777" y="460"/>
                      <a:pt x="778" y="458"/>
                      <a:pt x="778" y="459"/>
                    </a:cubicBezTo>
                    <a:cubicBezTo>
                      <a:pt x="778" y="462"/>
                      <a:pt x="780" y="464"/>
                      <a:pt x="780" y="466"/>
                    </a:cubicBezTo>
                    <a:cubicBezTo>
                      <a:pt x="779" y="468"/>
                      <a:pt x="780" y="469"/>
                      <a:pt x="781" y="470"/>
                    </a:cubicBezTo>
                    <a:cubicBezTo>
                      <a:pt x="781" y="471"/>
                      <a:pt x="788" y="472"/>
                      <a:pt x="788" y="470"/>
                    </a:cubicBezTo>
                    <a:cubicBezTo>
                      <a:pt x="789" y="468"/>
                      <a:pt x="789" y="471"/>
                      <a:pt x="792" y="468"/>
                    </a:cubicBezTo>
                    <a:cubicBezTo>
                      <a:pt x="794" y="466"/>
                      <a:pt x="799" y="468"/>
                      <a:pt x="801" y="465"/>
                    </a:cubicBezTo>
                    <a:cubicBezTo>
                      <a:pt x="802" y="463"/>
                      <a:pt x="807" y="465"/>
                      <a:pt x="809" y="461"/>
                    </a:cubicBezTo>
                    <a:cubicBezTo>
                      <a:pt x="811" y="458"/>
                      <a:pt x="819" y="457"/>
                      <a:pt x="820" y="456"/>
                    </a:cubicBezTo>
                    <a:cubicBezTo>
                      <a:pt x="821" y="455"/>
                      <a:pt x="827" y="454"/>
                      <a:pt x="825" y="453"/>
                    </a:cubicBezTo>
                    <a:cubicBezTo>
                      <a:pt x="822" y="451"/>
                      <a:pt x="827" y="449"/>
                      <a:pt x="829" y="448"/>
                    </a:cubicBezTo>
                    <a:cubicBezTo>
                      <a:pt x="831" y="447"/>
                      <a:pt x="831" y="448"/>
                      <a:pt x="832" y="447"/>
                    </a:cubicBezTo>
                    <a:cubicBezTo>
                      <a:pt x="834" y="445"/>
                      <a:pt x="837" y="447"/>
                      <a:pt x="839" y="444"/>
                    </a:cubicBezTo>
                    <a:cubicBezTo>
                      <a:pt x="841" y="442"/>
                      <a:pt x="839" y="442"/>
                      <a:pt x="840" y="441"/>
                    </a:cubicBezTo>
                    <a:cubicBezTo>
                      <a:pt x="841" y="440"/>
                      <a:pt x="847" y="441"/>
                      <a:pt x="845" y="438"/>
                    </a:cubicBezTo>
                    <a:cubicBezTo>
                      <a:pt x="845" y="437"/>
                      <a:pt x="845" y="436"/>
                      <a:pt x="846" y="435"/>
                    </a:cubicBezTo>
                    <a:close/>
                    <a:moveTo>
                      <a:pt x="595" y="297"/>
                    </a:moveTo>
                    <a:cubicBezTo>
                      <a:pt x="596" y="297"/>
                      <a:pt x="595" y="298"/>
                      <a:pt x="596" y="298"/>
                    </a:cubicBezTo>
                    <a:cubicBezTo>
                      <a:pt x="596" y="298"/>
                      <a:pt x="595" y="300"/>
                      <a:pt x="596" y="300"/>
                    </a:cubicBezTo>
                    <a:cubicBezTo>
                      <a:pt x="597" y="300"/>
                      <a:pt x="596" y="302"/>
                      <a:pt x="597" y="301"/>
                    </a:cubicBezTo>
                    <a:cubicBezTo>
                      <a:pt x="598" y="301"/>
                      <a:pt x="598" y="303"/>
                      <a:pt x="599" y="302"/>
                    </a:cubicBezTo>
                    <a:cubicBezTo>
                      <a:pt x="599" y="301"/>
                      <a:pt x="599" y="301"/>
                      <a:pt x="599" y="300"/>
                    </a:cubicBezTo>
                    <a:cubicBezTo>
                      <a:pt x="600" y="299"/>
                      <a:pt x="600" y="298"/>
                      <a:pt x="599" y="297"/>
                    </a:cubicBezTo>
                    <a:cubicBezTo>
                      <a:pt x="599" y="296"/>
                      <a:pt x="599" y="295"/>
                      <a:pt x="599" y="295"/>
                    </a:cubicBezTo>
                    <a:cubicBezTo>
                      <a:pt x="599" y="293"/>
                      <a:pt x="599" y="293"/>
                      <a:pt x="598" y="294"/>
                    </a:cubicBezTo>
                    <a:cubicBezTo>
                      <a:pt x="598" y="295"/>
                      <a:pt x="597" y="294"/>
                      <a:pt x="597" y="295"/>
                    </a:cubicBezTo>
                    <a:cubicBezTo>
                      <a:pt x="597" y="296"/>
                      <a:pt x="595" y="295"/>
                      <a:pt x="596" y="296"/>
                    </a:cubicBezTo>
                    <a:cubicBezTo>
                      <a:pt x="596" y="296"/>
                      <a:pt x="595" y="297"/>
                      <a:pt x="595" y="297"/>
                    </a:cubicBezTo>
                    <a:close/>
                    <a:moveTo>
                      <a:pt x="802" y="620"/>
                    </a:moveTo>
                    <a:cubicBezTo>
                      <a:pt x="801" y="621"/>
                      <a:pt x="801" y="622"/>
                      <a:pt x="801" y="623"/>
                    </a:cubicBezTo>
                    <a:cubicBezTo>
                      <a:pt x="802" y="624"/>
                      <a:pt x="799" y="625"/>
                      <a:pt x="798" y="628"/>
                    </a:cubicBezTo>
                    <a:cubicBezTo>
                      <a:pt x="798" y="630"/>
                      <a:pt x="798" y="627"/>
                      <a:pt x="796" y="628"/>
                    </a:cubicBezTo>
                    <a:cubicBezTo>
                      <a:pt x="794" y="629"/>
                      <a:pt x="797" y="631"/>
                      <a:pt x="796" y="631"/>
                    </a:cubicBezTo>
                    <a:cubicBezTo>
                      <a:pt x="794" y="631"/>
                      <a:pt x="796" y="631"/>
                      <a:pt x="793" y="635"/>
                    </a:cubicBezTo>
                    <a:cubicBezTo>
                      <a:pt x="790" y="639"/>
                      <a:pt x="792" y="635"/>
                      <a:pt x="791" y="636"/>
                    </a:cubicBezTo>
                    <a:cubicBezTo>
                      <a:pt x="790" y="637"/>
                      <a:pt x="788" y="637"/>
                      <a:pt x="788" y="640"/>
                    </a:cubicBezTo>
                    <a:cubicBezTo>
                      <a:pt x="788" y="643"/>
                      <a:pt x="782" y="639"/>
                      <a:pt x="781" y="642"/>
                    </a:cubicBezTo>
                    <a:cubicBezTo>
                      <a:pt x="780" y="645"/>
                      <a:pt x="778" y="641"/>
                      <a:pt x="777" y="645"/>
                    </a:cubicBezTo>
                    <a:cubicBezTo>
                      <a:pt x="776" y="649"/>
                      <a:pt x="774" y="649"/>
                      <a:pt x="774" y="654"/>
                    </a:cubicBezTo>
                    <a:cubicBezTo>
                      <a:pt x="775" y="659"/>
                      <a:pt x="773" y="659"/>
                      <a:pt x="774" y="663"/>
                    </a:cubicBezTo>
                    <a:cubicBezTo>
                      <a:pt x="775" y="666"/>
                      <a:pt x="773" y="665"/>
                      <a:pt x="772" y="669"/>
                    </a:cubicBezTo>
                    <a:cubicBezTo>
                      <a:pt x="771" y="673"/>
                      <a:pt x="769" y="670"/>
                      <a:pt x="767" y="677"/>
                    </a:cubicBezTo>
                    <a:cubicBezTo>
                      <a:pt x="764" y="684"/>
                      <a:pt x="768" y="683"/>
                      <a:pt x="768" y="690"/>
                    </a:cubicBezTo>
                    <a:cubicBezTo>
                      <a:pt x="767" y="693"/>
                      <a:pt x="769" y="695"/>
                      <a:pt x="772" y="696"/>
                    </a:cubicBezTo>
                    <a:cubicBezTo>
                      <a:pt x="784" y="679"/>
                      <a:pt x="795" y="662"/>
                      <a:pt x="805" y="643"/>
                    </a:cubicBezTo>
                    <a:cubicBezTo>
                      <a:pt x="804" y="642"/>
                      <a:pt x="804" y="640"/>
                      <a:pt x="805" y="639"/>
                    </a:cubicBezTo>
                    <a:cubicBezTo>
                      <a:pt x="805" y="638"/>
                      <a:pt x="806" y="639"/>
                      <a:pt x="807" y="639"/>
                    </a:cubicBezTo>
                    <a:cubicBezTo>
                      <a:pt x="807" y="638"/>
                      <a:pt x="808" y="637"/>
                      <a:pt x="808" y="637"/>
                    </a:cubicBezTo>
                    <a:cubicBezTo>
                      <a:pt x="808" y="632"/>
                      <a:pt x="806" y="621"/>
                      <a:pt x="806" y="621"/>
                    </a:cubicBezTo>
                    <a:cubicBezTo>
                      <a:pt x="803" y="622"/>
                      <a:pt x="807" y="616"/>
                      <a:pt x="802" y="620"/>
                    </a:cubicBezTo>
                    <a:close/>
                    <a:moveTo>
                      <a:pt x="228" y="743"/>
                    </a:moveTo>
                    <a:cubicBezTo>
                      <a:pt x="228" y="743"/>
                      <a:pt x="228" y="744"/>
                      <a:pt x="228" y="744"/>
                    </a:cubicBezTo>
                    <a:cubicBezTo>
                      <a:pt x="228" y="744"/>
                      <a:pt x="228" y="743"/>
                      <a:pt x="228" y="743"/>
                    </a:cubicBezTo>
                    <a:close/>
                    <a:moveTo>
                      <a:pt x="630" y="319"/>
                    </a:moveTo>
                    <a:cubicBezTo>
                      <a:pt x="630" y="318"/>
                      <a:pt x="629" y="319"/>
                      <a:pt x="629" y="319"/>
                    </a:cubicBezTo>
                    <a:cubicBezTo>
                      <a:pt x="628" y="318"/>
                      <a:pt x="628" y="320"/>
                      <a:pt x="627" y="319"/>
                    </a:cubicBezTo>
                    <a:cubicBezTo>
                      <a:pt x="626" y="318"/>
                      <a:pt x="626" y="320"/>
                      <a:pt x="625" y="319"/>
                    </a:cubicBezTo>
                    <a:cubicBezTo>
                      <a:pt x="624" y="319"/>
                      <a:pt x="623" y="320"/>
                      <a:pt x="622" y="320"/>
                    </a:cubicBezTo>
                    <a:cubicBezTo>
                      <a:pt x="622" y="319"/>
                      <a:pt x="622" y="320"/>
                      <a:pt x="621" y="319"/>
                    </a:cubicBezTo>
                    <a:cubicBezTo>
                      <a:pt x="620" y="319"/>
                      <a:pt x="619" y="320"/>
                      <a:pt x="618" y="319"/>
                    </a:cubicBezTo>
                    <a:cubicBezTo>
                      <a:pt x="617" y="319"/>
                      <a:pt x="617" y="319"/>
                      <a:pt x="616" y="320"/>
                    </a:cubicBezTo>
                    <a:cubicBezTo>
                      <a:pt x="615" y="321"/>
                      <a:pt x="616" y="322"/>
                      <a:pt x="617" y="322"/>
                    </a:cubicBezTo>
                    <a:cubicBezTo>
                      <a:pt x="618" y="322"/>
                      <a:pt x="619" y="323"/>
                      <a:pt x="620" y="323"/>
                    </a:cubicBezTo>
                    <a:cubicBezTo>
                      <a:pt x="621" y="323"/>
                      <a:pt x="621" y="325"/>
                      <a:pt x="622" y="325"/>
                    </a:cubicBezTo>
                    <a:cubicBezTo>
                      <a:pt x="624" y="324"/>
                      <a:pt x="625" y="325"/>
                      <a:pt x="625" y="326"/>
                    </a:cubicBezTo>
                    <a:cubicBezTo>
                      <a:pt x="626" y="326"/>
                      <a:pt x="626" y="326"/>
                      <a:pt x="628" y="326"/>
                    </a:cubicBezTo>
                    <a:cubicBezTo>
                      <a:pt x="628" y="327"/>
                      <a:pt x="628" y="326"/>
                      <a:pt x="628" y="325"/>
                    </a:cubicBezTo>
                    <a:cubicBezTo>
                      <a:pt x="629" y="324"/>
                      <a:pt x="628" y="323"/>
                      <a:pt x="628" y="323"/>
                    </a:cubicBezTo>
                    <a:cubicBezTo>
                      <a:pt x="629" y="322"/>
                      <a:pt x="628" y="322"/>
                      <a:pt x="629" y="321"/>
                    </a:cubicBezTo>
                    <a:cubicBezTo>
                      <a:pt x="630" y="321"/>
                      <a:pt x="630" y="320"/>
                      <a:pt x="630" y="319"/>
                    </a:cubicBezTo>
                    <a:close/>
                    <a:moveTo>
                      <a:pt x="600" y="233"/>
                    </a:moveTo>
                    <a:cubicBezTo>
                      <a:pt x="600" y="234"/>
                      <a:pt x="600" y="235"/>
                      <a:pt x="600" y="235"/>
                    </a:cubicBezTo>
                    <a:cubicBezTo>
                      <a:pt x="601" y="236"/>
                      <a:pt x="603" y="235"/>
                      <a:pt x="603" y="235"/>
                    </a:cubicBezTo>
                    <a:cubicBezTo>
                      <a:pt x="602" y="236"/>
                      <a:pt x="601" y="236"/>
                      <a:pt x="602" y="236"/>
                    </a:cubicBezTo>
                    <a:cubicBezTo>
                      <a:pt x="603" y="236"/>
                      <a:pt x="605" y="237"/>
                      <a:pt x="604" y="236"/>
                    </a:cubicBezTo>
                    <a:cubicBezTo>
                      <a:pt x="604" y="236"/>
                      <a:pt x="604" y="235"/>
                      <a:pt x="605" y="235"/>
                    </a:cubicBezTo>
                    <a:cubicBezTo>
                      <a:pt x="606" y="234"/>
                      <a:pt x="604" y="234"/>
                      <a:pt x="605" y="233"/>
                    </a:cubicBezTo>
                    <a:cubicBezTo>
                      <a:pt x="606" y="233"/>
                      <a:pt x="605" y="233"/>
                      <a:pt x="605" y="232"/>
                    </a:cubicBezTo>
                    <a:cubicBezTo>
                      <a:pt x="605" y="231"/>
                      <a:pt x="606" y="231"/>
                      <a:pt x="605" y="231"/>
                    </a:cubicBezTo>
                    <a:cubicBezTo>
                      <a:pt x="604" y="231"/>
                      <a:pt x="604" y="231"/>
                      <a:pt x="603" y="231"/>
                    </a:cubicBezTo>
                    <a:cubicBezTo>
                      <a:pt x="603" y="232"/>
                      <a:pt x="605" y="231"/>
                      <a:pt x="604" y="232"/>
                    </a:cubicBezTo>
                    <a:cubicBezTo>
                      <a:pt x="604" y="233"/>
                      <a:pt x="604" y="231"/>
                      <a:pt x="604" y="232"/>
                    </a:cubicBezTo>
                    <a:cubicBezTo>
                      <a:pt x="603" y="233"/>
                      <a:pt x="603" y="232"/>
                      <a:pt x="603" y="232"/>
                    </a:cubicBezTo>
                    <a:cubicBezTo>
                      <a:pt x="602" y="232"/>
                      <a:pt x="601" y="231"/>
                      <a:pt x="602" y="232"/>
                    </a:cubicBezTo>
                    <a:cubicBezTo>
                      <a:pt x="603" y="232"/>
                      <a:pt x="602" y="232"/>
                      <a:pt x="601" y="233"/>
                    </a:cubicBezTo>
                    <a:cubicBezTo>
                      <a:pt x="601" y="233"/>
                      <a:pt x="599" y="233"/>
                      <a:pt x="600" y="233"/>
                    </a:cubicBezTo>
                    <a:close/>
                    <a:moveTo>
                      <a:pt x="598" y="234"/>
                    </a:moveTo>
                    <a:cubicBezTo>
                      <a:pt x="598" y="234"/>
                      <a:pt x="596" y="234"/>
                      <a:pt x="595" y="234"/>
                    </a:cubicBezTo>
                    <a:cubicBezTo>
                      <a:pt x="594" y="234"/>
                      <a:pt x="595" y="235"/>
                      <a:pt x="595" y="235"/>
                    </a:cubicBezTo>
                    <a:cubicBezTo>
                      <a:pt x="595" y="235"/>
                      <a:pt x="596" y="235"/>
                      <a:pt x="596" y="236"/>
                    </a:cubicBezTo>
                    <a:cubicBezTo>
                      <a:pt x="597" y="236"/>
                      <a:pt x="598" y="236"/>
                      <a:pt x="599" y="236"/>
                    </a:cubicBezTo>
                    <a:cubicBezTo>
                      <a:pt x="599" y="235"/>
                      <a:pt x="599" y="235"/>
                      <a:pt x="599" y="234"/>
                    </a:cubicBezTo>
                    <a:cubicBezTo>
                      <a:pt x="598" y="234"/>
                      <a:pt x="598" y="235"/>
                      <a:pt x="598" y="234"/>
                    </a:cubicBezTo>
                    <a:close/>
                    <a:moveTo>
                      <a:pt x="172" y="403"/>
                    </a:moveTo>
                    <a:cubicBezTo>
                      <a:pt x="172" y="403"/>
                      <a:pt x="172" y="402"/>
                      <a:pt x="172" y="402"/>
                    </a:cubicBezTo>
                    <a:cubicBezTo>
                      <a:pt x="172" y="402"/>
                      <a:pt x="172" y="402"/>
                      <a:pt x="172" y="402"/>
                    </a:cubicBezTo>
                    <a:cubicBezTo>
                      <a:pt x="172" y="402"/>
                      <a:pt x="171" y="402"/>
                      <a:pt x="171" y="402"/>
                    </a:cubicBezTo>
                    <a:cubicBezTo>
                      <a:pt x="171" y="402"/>
                      <a:pt x="170" y="402"/>
                      <a:pt x="170" y="403"/>
                    </a:cubicBezTo>
                    <a:cubicBezTo>
                      <a:pt x="170" y="403"/>
                      <a:pt x="170" y="403"/>
                      <a:pt x="170" y="403"/>
                    </a:cubicBezTo>
                    <a:cubicBezTo>
                      <a:pt x="170" y="403"/>
                      <a:pt x="170" y="403"/>
                      <a:pt x="170" y="404"/>
                    </a:cubicBezTo>
                    <a:cubicBezTo>
                      <a:pt x="171" y="404"/>
                      <a:pt x="170" y="404"/>
                      <a:pt x="170" y="404"/>
                    </a:cubicBezTo>
                    <a:cubicBezTo>
                      <a:pt x="170" y="404"/>
                      <a:pt x="170" y="404"/>
                      <a:pt x="170" y="404"/>
                    </a:cubicBezTo>
                    <a:cubicBezTo>
                      <a:pt x="170" y="404"/>
                      <a:pt x="170" y="403"/>
                      <a:pt x="170" y="403"/>
                    </a:cubicBezTo>
                    <a:cubicBezTo>
                      <a:pt x="170" y="403"/>
                      <a:pt x="169" y="403"/>
                      <a:pt x="169" y="403"/>
                    </a:cubicBezTo>
                    <a:cubicBezTo>
                      <a:pt x="170" y="404"/>
                      <a:pt x="170" y="404"/>
                      <a:pt x="171" y="404"/>
                    </a:cubicBezTo>
                    <a:cubicBezTo>
                      <a:pt x="171" y="405"/>
                      <a:pt x="172" y="404"/>
                      <a:pt x="173" y="404"/>
                    </a:cubicBezTo>
                    <a:cubicBezTo>
                      <a:pt x="173" y="404"/>
                      <a:pt x="173" y="404"/>
                      <a:pt x="173" y="404"/>
                    </a:cubicBezTo>
                    <a:cubicBezTo>
                      <a:pt x="173" y="403"/>
                      <a:pt x="173" y="403"/>
                      <a:pt x="173" y="403"/>
                    </a:cubicBezTo>
                    <a:cubicBezTo>
                      <a:pt x="173" y="403"/>
                      <a:pt x="172" y="403"/>
                      <a:pt x="172" y="403"/>
                    </a:cubicBezTo>
                    <a:close/>
                    <a:moveTo>
                      <a:pt x="592" y="227"/>
                    </a:moveTo>
                    <a:cubicBezTo>
                      <a:pt x="593" y="227"/>
                      <a:pt x="593" y="226"/>
                      <a:pt x="593" y="226"/>
                    </a:cubicBezTo>
                    <a:cubicBezTo>
                      <a:pt x="594" y="227"/>
                      <a:pt x="595" y="227"/>
                      <a:pt x="595" y="227"/>
                    </a:cubicBezTo>
                    <a:cubicBezTo>
                      <a:pt x="596" y="228"/>
                      <a:pt x="595" y="227"/>
                      <a:pt x="596" y="227"/>
                    </a:cubicBezTo>
                    <a:cubicBezTo>
                      <a:pt x="596" y="227"/>
                      <a:pt x="596" y="226"/>
                      <a:pt x="596" y="225"/>
                    </a:cubicBezTo>
                    <a:cubicBezTo>
                      <a:pt x="595" y="225"/>
                      <a:pt x="596" y="224"/>
                      <a:pt x="596" y="224"/>
                    </a:cubicBezTo>
                    <a:cubicBezTo>
                      <a:pt x="595" y="224"/>
                      <a:pt x="595" y="225"/>
                      <a:pt x="594" y="225"/>
                    </a:cubicBezTo>
                    <a:cubicBezTo>
                      <a:pt x="593" y="225"/>
                      <a:pt x="593" y="225"/>
                      <a:pt x="592" y="226"/>
                    </a:cubicBezTo>
                    <a:cubicBezTo>
                      <a:pt x="592" y="227"/>
                      <a:pt x="591" y="226"/>
                      <a:pt x="591" y="226"/>
                    </a:cubicBezTo>
                    <a:cubicBezTo>
                      <a:pt x="591" y="226"/>
                      <a:pt x="590" y="226"/>
                      <a:pt x="590" y="226"/>
                    </a:cubicBezTo>
                    <a:cubicBezTo>
                      <a:pt x="590" y="227"/>
                      <a:pt x="589" y="227"/>
                      <a:pt x="589" y="227"/>
                    </a:cubicBezTo>
                    <a:cubicBezTo>
                      <a:pt x="590" y="227"/>
                      <a:pt x="590" y="227"/>
                      <a:pt x="590" y="228"/>
                    </a:cubicBezTo>
                    <a:cubicBezTo>
                      <a:pt x="591" y="229"/>
                      <a:pt x="590" y="227"/>
                      <a:pt x="591" y="227"/>
                    </a:cubicBezTo>
                    <a:cubicBezTo>
                      <a:pt x="591" y="226"/>
                      <a:pt x="592" y="227"/>
                      <a:pt x="592" y="227"/>
                    </a:cubicBezTo>
                    <a:close/>
                    <a:moveTo>
                      <a:pt x="272" y="191"/>
                    </a:moveTo>
                    <a:cubicBezTo>
                      <a:pt x="270" y="192"/>
                      <a:pt x="272" y="192"/>
                      <a:pt x="274" y="192"/>
                    </a:cubicBezTo>
                    <a:cubicBezTo>
                      <a:pt x="275" y="192"/>
                      <a:pt x="275" y="193"/>
                      <a:pt x="277" y="192"/>
                    </a:cubicBezTo>
                    <a:cubicBezTo>
                      <a:pt x="279" y="191"/>
                      <a:pt x="275" y="191"/>
                      <a:pt x="276" y="191"/>
                    </a:cubicBezTo>
                    <a:cubicBezTo>
                      <a:pt x="277" y="190"/>
                      <a:pt x="276" y="189"/>
                      <a:pt x="275" y="189"/>
                    </a:cubicBezTo>
                    <a:cubicBezTo>
                      <a:pt x="274" y="189"/>
                      <a:pt x="273" y="189"/>
                      <a:pt x="273" y="187"/>
                    </a:cubicBezTo>
                    <a:cubicBezTo>
                      <a:pt x="273" y="186"/>
                      <a:pt x="270" y="187"/>
                      <a:pt x="270" y="186"/>
                    </a:cubicBezTo>
                    <a:cubicBezTo>
                      <a:pt x="270" y="185"/>
                      <a:pt x="268" y="185"/>
                      <a:pt x="267" y="186"/>
                    </a:cubicBezTo>
                    <a:cubicBezTo>
                      <a:pt x="267" y="187"/>
                      <a:pt x="267" y="185"/>
                      <a:pt x="267" y="185"/>
                    </a:cubicBezTo>
                    <a:cubicBezTo>
                      <a:pt x="268" y="185"/>
                      <a:pt x="267" y="184"/>
                      <a:pt x="266" y="184"/>
                    </a:cubicBezTo>
                    <a:cubicBezTo>
                      <a:pt x="264" y="185"/>
                      <a:pt x="263" y="186"/>
                      <a:pt x="262" y="187"/>
                    </a:cubicBezTo>
                    <a:cubicBezTo>
                      <a:pt x="260" y="188"/>
                      <a:pt x="257" y="189"/>
                      <a:pt x="258" y="191"/>
                    </a:cubicBezTo>
                    <a:cubicBezTo>
                      <a:pt x="253" y="192"/>
                      <a:pt x="253" y="192"/>
                      <a:pt x="252" y="193"/>
                    </a:cubicBezTo>
                    <a:cubicBezTo>
                      <a:pt x="252" y="193"/>
                      <a:pt x="254" y="193"/>
                      <a:pt x="256" y="193"/>
                    </a:cubicBezTo>
                    <a:cubicBezTo>
                      <a:pt x="257" y="192"/>
                      <a:pt x="257" y="193"/>
                      <a:pt x="256" y="194"/>
                    </a:cubicBezTo>
                    <a:cubicBezTo>
                      <a:pt x="255" y="194"/>
                      <a:pt x="254" y="195"/>
                      <a:pt x="256" y="195"/>
                    </a:cubicBezTo>
                    <a:cubicBezTo>
                      <a:pt x="257" y="195"/>
                      <a:pt x="258" y="195"/>
                      <a:pt x="260" y="194"/>
                    </a:cubicBezTo>
                    <a:cubicBezTo>
                      <a:pt x="261" y="194"/>
                      <a:pt x="261" y="192"/>
                      <a:pt x="263" y="192"/>
                    </a:cubicBezTo>
                    <a:cubicBezTo>
                      <a:pt x="264" y="192"/>
                      <a:pt x="266" y="192"/>
                      <a:pt x="266" y="191"/>
                    </a:cubicBezTo>
                    <a:cubicBezTo>
                      <a:pt x="267" y="189"/>
                      <a:pt x="267" y="191"/>
                      <a:pt x="269" y="190"/>
                    </a:cubicBezTo>
                    <a:cubicBezTo>
                      <a:pt x="271" y="189"/>
                      <a:pt x="271" y="190"/>
                      <a:pt x="270" y="191"/>
                    </a:cubicBezTo>
                    <a:cubicBezTo>
                      <a:pt x="269" y="191"/>
                      <a:pt x="275" y="189"/>
                      <a:pt x="272" y="191"/>
                    </a:cubicBezTo>
                    <a:close/>
                    <a:moveTo>
                      <a:pt x="310" y="264"/>
                    </a:moveTo>
                    <a:cubicBezTo>
                      <a:pt x="311" y="264"/>
                      <a:pt x="309" y="264"/>
                      <a:pt x="308" y="264"/>
                    </a:cubicBezTo>
                    <a:cubicBezTo>
                      <a:pt x="307" y="264"/>
                      <a:pt x="306" y="264"/>
                      <a:pt x="305" y="264"/>
                    </a:cubicBezTo>
                    <a:cubicBezTo>
                      <a:pt x="305" y="264"/>
                      <a:pt x="304" y="265"/>
                      <a:pt x="304" y="264"/>
                    </a:cubicBezTo>
                    <a:cubicBezTo>
                      <a:pt x="304" y="263"/>
                      <a:pt x="303" y="264"/>
                      <a:pt x="302" y="263"/>
                    </a:cubicBezTo>
                    <a:cubicBezTo>
                      <a:pt x="302" y="262"/>
                      <a:pt x="301" y="263"/>
                      <a:pt x="301" y="264"/>
                    </a:cubicBezTo>
                    <a:cubicBezTo>
                      <a:pt x="302" y="265"/>
                      <a:pt x="302" y="265"/>
                      <a:pt x="302" y="264"/>
                    </a:cubicBezTo>
                    <a:cubicBezTo>
                      <a:pt x="303" y="264"/>
                      <a:pt x="302" y="264"/>
                      <a:pt x="302" y="265"/>
                    </a:cubicBezTo>
                    <a:cubicBezTo>
                      <a:pt x="302" y="265"/>
                      <a:pt x="302" y="265"/>
                      <a:pt x="303" y="265"/>
                    </a:cubicBezTo>
                    <a:cubicBezTo>
                      <a:pt x="304" y="265"/>
                      <a:pt x="304" y="265"/>
                      <a:pt x="303" y="265"/>
                    </a:cubicBezTo>
                    <a:cubicBezTo>
                      <a:pt x="303" y="266"/>
                      <a:pt x="304" y="266"/>
                      <a:pt x="305" y="266"/>
                    </a:cubicBezTo>
                    <a:cubicBezTo>
                      <a:pt x="306" y="266"/>
                      <a:pt x="306" y="266"/>
                      <a:pt x="306" y="266"/>
                    </a:cubicBezTo>
                    <a:cubicBezTo>
                      <a:pt x="306" y="265"/>
                      <a:pt x="306" y="266"/>
                      <a:pt x="307" y="266"/>
                    </a:cubicBezTo>
                    <a:cubicBezTo>
                      <a:pt x="307" y="266"/>
                      <a:pt x="307" y="267"/>
                      <a:pt x="308" y="266"/>
                    </a:cubicBezTo>
                    <a:cubicBezTo>
                      <a:pt x="310" y="265"/>
                      <a:pt x="307" y="265"/>
                      <a:pt x="308" y="265"/>
                    </a:cubicBezTo>
                    <a:cubicBezTo>
                      <a:pt x="309" y="265"/>
                      <a:pt x="309" y="265"/>
                      <a:pt x="310" y="264"/>
                    </a:cubicBezTo>
                    <a:close/>
                    <a:moveTo>
                      <a:pt x="318" y="264"/>
                    </a:moveTo>
                    <a:cubicBezTo>
                      <a:pt x="317" y="264"/>
                      <a:pt x="318" y="263"/>
                      <a:pt x="317" y="263"/>
                    </a:cubicBezTo>
                    <a:cubicBezTo>
                      <a:pt x="316" y="263"/>
                      <a:pt x="314" y="265"/>
                      <a:pt x="314" y="266"/>
                    </a:cubicBezTo>
                    <a:cubicBezTo>
                      <a:pt x="313" y="266"/>
                      <a:pt x="313" y="267"/>
                      <a:pt x="313" y="268"/>
                    </a:cubicBezTo>
                    <a:cubicBezTo>
                      <a:pt x="313" y="269"/>
                      <a:pt x="314" y="268"/>
                      <a:pt x="314" y="268"/>
                    </a:cubicBezTo>
                    <a:cubicBezTo>
                      <a:pt x="315" y="268"/>
                      <a:pt x="316" y="267"/>
                      <a:pt x="317" y="268"/>
                    </a:cubicBezTo>
                    <a:cubicBezTo>
                      <a:pt x="317" y="268"/>
                      <a:pt x="318" y="267"/>
                      <a:pt x="319" y="267"/>
                    </a:cubicBezTo>
                    <a:cubicBezTo>
                      <a:pt x="320" y="267"/>
                      <a:pt x="318" y="266"/>
                      <a:pt x="319" y="266"/>
                    </a:cubicBezTo>
                    <a:cubicBezTo>
                      <a:pt x="319" y="265"/>
                      <a:pt x="318" y="265"/>
                      <a:pt x="317" y="265"/>
                    </a:cubicBezTo>
                    <a:cubicBezTo>
                      <a:pt x="318" y="265"/>
                      <a:pt x="318" y="263"/>
                      <a:pt x="318" y="264"/>
                    </a:cubicBezTo>
                    <a:close/>
                    <a:moveTo>
                      <a:pt x="321" y="703"/>
                    </a:moveTo>
                    <a:cubicBezTo>
                      <a:pt x="318" y="700"/>
                      <a:pt x="317" y="697"/>
                      <a:pt x="317" y="694"/>
                    </a:cubicBezTo>
                    <a:cubicBezTo>
                      <a:pt x="320" y="544"/>
                      <a:pt x="320" y="544"/>
                      <a:pt x="320" y="544"/>
                    </a:cubicBezTo>
                    <a:cubicBezTo>
                      <a:pt x="319" y="544"/>
                      <a:pt x="319" y="543"/>
                      <a:pt x="319" y="543"/>
                    </a:cubicBezTo>
                    <a:cubicBezTo>
                      <a:pt x="319" y="543"/>
                      <a:pt x="319" y="543"/>
                      <a:pt x="320" y="543"/>
                    </a:cubicBezTo>
                    <a:cubicBezTo>
                      <a:pt x="320" y="523"/>
                      <a:pt x="320" y="523"/>
                      <a:pt x="320" y="523"/>
                    </a:cubicBezTo>
                    <a:cubicBezTo>
                      <a:pt x="320" y="520"/>
                      <a:pt x="321" y="517"/>
                      <a:pt x="323" y="515"/>
                    </a:cubicBezTo>
                    <a:cubicBezTo>
                      <a:pt x="323" y="513"/>
                      <a:pt x="323" y="512"/>
                      <a:pt x="323" y="511"/>
                    </a:cubicBezTo>
                    <a:cubicBezTo>
                      <a:pt x="322" y="508"/>
                      <a:pt x="323" y="513"/>
                      <a:pt x="321" y="510"/>
                    </a:cubicBezTo>
                    <a:cubicBezTo>
                      <a:pt x="320" y="507"/>
                      <a:pt x="319" y="508"/>
                      <a:pt x="319" y="508"/>
                    </a:cubicBezTo>
                    <a:cubicBezTo>
                      <a:pt x="319" y="506"/>
                      <a:pt x="318" y="507"/>
                      <a:pt x="318" y="505"/>
                    </a:cubicBezTo>
                    <a:cubicBezTo>
                      <a:pt x="317" y="504"/>
                      <a:pt x="317" y="505"/>
                      <a:pt x="316" y="504"/>
                    </a:cubicBezTo>
                    <a:cubicBezTo>
                      <a:pt x="315" y="502"/>
                      <a:pt x="315" y="504"/>
                      <a:pt x="314" y="502"/>
                    </a:cubicBezTo>
                    <a:cubicBezTo>
                      <a:pt x="313" y="500"/>
                      <a:pt x="311" y="501"/>
                      <a:pt x="310" y="500"/>
                    </a:cubicBezTo>
                    <a:cubicBezTo>
                      <a:pt x="309" y="499"/>
                      <a:pt x="308" y="499"/>
                      <a:pt x="308" y="499"/>
                    </a:cubicBezTo>
                    <a:cubicBezTo>
                      <a:pt x="308" y="499"/>
                      <a:pt x="304" y="498"/>
                      <a:pt x="304" y="498"/>
                    </a:cubicBezTo>
                    <a:cubicBezTo>
                      <a:pt x="303" y="499"/>
                      <a:pt x="302" y="498"/>
                      <a:pt x="301" y="499"/>
                    </a:cubicBezTo>
                    <a:cubicBezTo>
                      <a:pt x="300" y="499"/>
                      <a:pt x="300" y="498"/>
                      <a:pt x="298" y="499"/>
                    </a:cubicBezTo>
                    <a:cubicBezTo>
                      <a:pt x="296" y="500"/>
                      <a:pt x="293" y="496"/>
                      <a:pt x="291" y="498"/>
                    </a:cubicBezTo>
                    <a:cubicBezTo>
                      <a:pt x="290" y="500"/>
                      <a:pt x="289" y="501"/>
                      <a:pt x="289" y="501"/>
                    </a:cubicBezTo>
                    <a:cubicBezTo>
                      <a:pt x="289" y="501"/>
                      <a:pt x="292" y="496"/>
                      <a:pt x="290" y="496"/>
                    </a:cubicBezTo>
                    <a:cubicBezTo>
                      <a:pt x="288" y="495"/>
                      <a:pt x="290" y="495"/>
                      <a:pt x="288" y="493"/>
                    </a:cubicBezTo>
                    <a:cubicBezTo>
                      <a:pt x="285" y="491"/>
                      <a:pt x="286" y="492"/>
                      <a:pt x="285" y="492"/>
                    </a:cubicBezTo>
                    <a:cubicBezTo>
                      <a:pt x="286" y="489"/>
                      <a:pt x="286" y="489"/>
                      <a:pt x="283" y="486"/>
                    </a:cubicBezTo>
                    <a:cubicBezTo>
                      <a:pt x="280" y="483"/>
                      <a:pt x="279" y="482"/>
                      <a:pt x="277" y="483"/>
                    </a:cubicBezTo>
                    <a:cubicBezTo>
                      <a:pt x="274" y="480"/>
                      <a:pt x="275" y="483"/>
                      <a:pt x="271" y="481"/>
                    </a:cubicBezTo>
                    <a:cubicBezTo>
                      <a:pt x="275" y="482"/>
                      <a:pt x="274" y="481"/>
                      <a:pt x="274" y="480"/>
                    </a:cubicBezTo>
                    <a:cubicBezTo>
                      <a:pt x="274" y="479"/>
                      <a:pt x="272" y="479"/>
                      <a:pt x="273" y="479"/>
                    </a:cubicBezTo>
                    <a:cubicBezTo>
                      <a:pt x="274" y="478"/>
                      <a:pt x="272" y="479"/>
                      <a:pt x="272" y="478"/>
                    </a:cubicBezTo>
                    <a:cubicBezTo>
                      <a:pt x="272" y="476"/>
                      <a:pt x="269" y="475"/>
                      <a:pt x="269" y="474"/>
                    </a:cubicBezTo>
                    <a:cubicBezTo>
                      <a:pt x="268" y="473"/>
                      <a:pt x="266" y="472"/>
                      <a:pt x="265" y="473"/>
                    </a:cubicBezTo>
                    <a:cubicBezTo>
                      <a:pt x="263" y="470"/>
                      <a:pt x="264" y="469"/>
                      <a:pt x="263" y="469"/>
                    </a:cubicBezTo>
                    <a:cubicBezTo>
                      <a:pt x="262" y="469"/>
                      <a:pt x="261" y="469"/>
                      <a:pt x="263" y="469"/>
                    </a:cubicBezTo>
                    <a:cubicBezTo>
                      <a:pt x="266" y="469"/>
                      <a:pt x="268" y="468"/>
                      <a:pt x="268" y="468"/>
                    </a:cubicBezTo>
                    <a:cubicBezTo>
                      <a:pt x="268" y="468"/>
                      <a:pt x="267" y="468"/>
                      <a:pt x="265" y="468"/>
                    </a:cubicBezTo>
                    <a:cubicBezTo>
                      <a:pt x="262" y="467"/>
                      <a:pt x="263" y="468"/>
                      <a:pt x="260" y="468"/>
                    </a:cubicBezTo>
                    <a:cubicBezTo>
                      <a:pt x="257" y="467"/>
                      <a:pt x="255" y="468"/>
                      <a:pt x="260" y="468"/>
                    </a:cubicBezTo>
                    <a:cubicBezTo>
                      <a:pt x="256" y="469"/>
                      <a:pt x="260" y="470"/>
                      <a:pt x="255" y="471"/>
                    </a:cubicBezTo>
                    <a:cubicBezTo>
                      <a:pt x="249" y="471"/>
                      <a:pt x="248" y="470"/>
                      <a:pt x="249" y="469"/>
                    </a:cubicBezTo>
                    <a:cubicBezTo>
                      <a:pt x="249" y="468"/>
                      <a:pt x="245" y="468"/>
                      <a:pt x="241" y="468"/>
                    </a:cubicBezTo>
                    <a:cubicBezTo>
                      <a:pt x="237" y="469"/>
                      <a:pt x="235" y="467"/>
                      <a:pt x="236" y="467"/>
                    </a:cubicBezTo>
                    <a:cubicBezTo>
                      <a:pt x="238" y="466"/>
                      <a:pt x="236" y="465"/>
                      <a:pt x="235" y="464"/>
                    </a:cubicBezTo>
                    <a:cubicBezTo>
                      <a:pt x="233" y="463"/>
                      <a:pt x="234" y="464"/>
                      <a:pt x="232" y="464"/>
                    </a:cubicBezTo>
                    <a:cubicBezTo>
                      <a:pt x="230" y="463"/>
                      <a:pt x="229" y="464"/>
                      <a:pt x="229" y="461"/>
                    </a:cubicBezTo>
                    <a:cubicBezTo>
                      <a:pt x="229" y="459"/>
                      <a:pt x="226" y="459"/>
                      <a:pt x="226" y="461"/>
                    </a:cubicBezTo>
                    <a:cubicBezTo>
                      <a:pt x="226" y="462"/>
                      <a:pt x="226" y="463"/>
                      <a:pt x="228" y="462"/>
                    </a:cubicBezTo>
                    <a:cubicBezTo>
                      <a:pt x="229" y="462"/>
                      <a:pt x="229" y="464"/>
                      <a:pt x="228" y="463"/>
                    </a:cubicBezTo>
                    <a:cubicBezTo>
                      <a:pt x="227" y="463"/>
                      <a:pt x="228" y="464"/>
                      <a:pt x="226" y="465"/>
                    </a:cubicBezTo>
                    <a:cubicBezTo>
                      <a:pt x="224" y="465"/>
                      <a:pt x="223" y="465"/>
                      <a:pt x="221" y="467"/>
                    </a:cubicBezTo>
                    <a:cubicBezTo>
                      <a:pt x="220" y="469"/>
                      <a:pt x="221" y="469"/>
                      <a:pt x="220" y="470"/>
                    </a:cubicBezTo>
                    <a:cubicBezTo>
                      <a:pt x="219" y="471"/>
                      <a:pt x="221" y="472"/>
                      <a:pt x="221" y="472"/>
                    </a:cubicBezTo>
                    <a:cubicBezTo>
                      <a:pt x="221" y="472"/>
                      <a:pt x="222" y="473"/>
                      <a:pt x="222" y="476"/>
                    </a:cubicBezTo>
                    <a:cubicBezTo>
                      <a:pt x="222" y="477"/>
                      <a:pt x="218" y="479"/>
                      <a:pt x="218" y="477"/>
                    </a:cubicBezTo>
                    <a:cubicBezTo>
                      <a:pt x="218" y="475"/>
                      <a:pt x="215" y="476"/>
                      <a:pt x="216" y="473"/>
                    </a:cubicBezTo>
                    <a:cubicBezTo>
                      <a:pt x="216" y="471"/>
                      <a:pt x="220" y="472"/>
                      <a:pt x="219" y="470"/>
                    </a:cubicBezTo>
                    <a:cubicBezTo>
                      <a:pt x="217" y="467"/>
                      <a:pt x="221" y="471"/>
                      <a:pt x="220" y="467"/>
                    </a:cubicBezTo>
                    <a:cubicBezTo>
                      <a:pt x="219" y="467"/>
                      <a:pt x="216" y="464"/>
                      <a:pt x="219" y="463"/>
                    </a:cubicBezTo>
                    <a:cubicBezTo>
                      <a:pt x="221" y="462"/>
                      <a:pt x="220" y="462"/>
                      <a:pt x="220" y="462"/>
                    </a:cubicBezTo>
                    <a:cubicBezTo>
                      <a:pt x="222" y="460"/>
                      <a:pt x="222" y="459"/>
                      <a:pt x="220" y="459"/>
                    </a:cubicBezTo>
                    <a:cubicBezTo>
                      <a:pt x="218" y="458"/>
                      <a:pt x="219" y="459"/>
                      <a:pt x="217" y="459"/>
                    </a:cubicBezTo>
                    <a:cubicBezTo>
                      <a:pt x="214" y="459"/>
                      <a:pt x="219" y="460"/>
                      <a:pt x="214" y="462"/>
                    </a:cubicBezTo>
                    <a:cubicBezTo>
                      <a:pt x="209" y="465"/>
                      <a:pt x="209" y="465"/>
                      <a:pt x="207" y="465"/>
                    </a:cubicBezTo>
                    <a:cubicBezTo>
                      <a:pt x="206" y="465"/>
                      <a:pt x="204" y="468"/>
                      <a:pt x="204" y="468"/>
                    </a:cubicBezTo>
                    <a:cubicBezTo>
                      <a:pt x="202" y="468"/>
                      <a:pt x="206" y="466"/>
                      <a:pt x="202" y="467"/>
                    </a:cubicBezTo>
                    <a:cubicBezTo>
                      <a:pt x="200" y="468"/>
                      <a:pt x="200" y="470"/>
                      <a:pt x="198" y="470"/>
                    </a:cubicBezTo>
                    <a:cubicBezTo>
                      <a:pt x="197" y="471"/>
                      <a:pt x="199" y="473"/>
                      <a:pt x="197" y="474"/>
                    </a:cubicBezTo>
                    <a:cubicBezTo>
                      <a:pt x="197" y="476"/>
                      <a:pt x="199" y="475"/>
                      <a:pt x="197" y="477"/>
                    </a:cubicBezTo>
                    <a:cubicBezTo>
                      <a:pt x="197" y="477"/>
                      <a:pt x="195" y="476"/>
                      <a:pt x="194" y="479"/>
                    </a:cubicBezTo>
                    <a:cubicBezTo>
                      <a:pt x="193" y="482"/>
                      <a:pt x="192" y="481"/>
                      <a:pt x="191" y="481"/>
                    </a:cubicBezTo>
                    <a:cubicBezTo>
                      <a:pt x="191" y="482"/>
                      <a:pt x="193" y="482"/>
                      <a:pt x="192" y="483"/>
                    </a:cubicBezTo>
                    <a:cubicBezTo>
                      <a:pt x="192" y="484"/>
                      <a:pt x="191" y="483"/>
                      <a:pt x="192" y="485"/>
                    </a:cubicBezTo>
                    <a:cubicBezTo>
                      <a:pt x="190" y="481"/>
                      <a:pt x="189" y="482"/>
                      <a:pt x="189" y="481"/>
                    </a:cubicBezTo>
                    <a:cubicBezTo>
                      <a:pt x="187" y="479"/>
                      <a:pt x="187" y="480"/>
                      <a:pt x="186" y="479"/>
                    </a:cubicBezTo>
                    <a:cubicBezTo>
                      <a:pt x="185" y="478"/>
                      <a:pt x="188" y="479"/>
                      <a:pt x="185" y="477"/>
                    </a:cubicBezTo>
                    <a:cubicBezTo>
                      <a:pt x="182" y="476"/>
                      <a:pt x="183" y="477"/>
                      <a:pt x="181" y="476"/>
                    </a:cubicBezTo>
                    <a:cubicBezTo>
                      <a:pt x="181" y="476"/>
                      <a:pt x="179" y="476"/>
                      <a:pt x="179" y="476"/>
                    </a:cubicBezTo>
                    <a:cubicBezTo>
                      <a:pt x="178" y="477"/>
                      <a:pt x="177" y="477"/>
                      <a:pt x="177" y="478"/>
                    </a:cubicBezTo>
                    <a:cubicBezTo>
                      <a:pt x="178" y="479"/>
                      <a:pt x="180" y="479"/>
                      <a:pt x="178" y="479"/>
                    </a:cubicBezTo>
                    <a:cubicBezTo>
                      <a:pt x="177" y="479"/>
                      <a:pt x="176" y="480"/>
                      <a:pt x="176" y="480"/>
                    </a:cubicBezTo>
                    <a:cubicBezTo>
                      <a:pt x="176" y="480"/>
                      <a:pt x="176" y="480"/>
                      <a:pt x="176" y="479"/>
                    </a:cubicBezTo>
                    <a:cubicBezTo>
                      <a:pt x="177" y="477"/>
                      <a:pt x="176" y="477"/>
                      <a:pt x="176" y="478"/>
                    </a:cubicBezTo>
                    <a:cubicBezTo>
                      <a:pt x="175" y="479"/>
                      <a:pt x="173" y="478"/>
                      <a:pt x="172" y="479"/>
                    </a:cubicBezTo>
                    <a:cubicBezTo>
                      <a:pt x="171" y="480"/>
                      <a:pt x="167" y="480"/>
                      <a:pt x="167" y="479"/>
                    </a:cubicBezTo>
                    <a:cubicBezTo>
                      <a:pt x="167" y="479"/>
                      <a:pt x="165" y="478"/>
                      <a:pt x="165" y="478"/>
                    </a:cubicBezTo>
                    <a:cubicBezTo>
                      <a:pt x="164" y="478"/>
                      <a:pt x="166" y="479"/>
                      <a:pt x="164" y="479"/>
                    </a:cubicBezTo>
                    <a:cubicBezTo>
                      <a:pt x="163" y="478"/>
                      <a:pt x="165" y="478"/>
                      <a:pt x="164" y="477"/>
                    </a:cubicBezTo>
                    <a:cubicBezTo>
                      <a:pt x="164" y="477"/>
                      <a:pt x="163" y="477"/>
                      <a:pt x="164" y="477"/>
                    </a:cubicBezTo>
                    <a:cubicBezTo>
                      <a:pt x="165" y="476"/>
                      <a:pt x="163" y="476"/>
                      <a:pt x="162" y="475"/>
                    </a:cubicBezTo>
                    <a:cubicBezTo>
                      <a:pt x="161" y="474"/>
                      <a:pt x="159" y="472"/>
                      <a:pt x="159" y="470"/>
                    </a:cubicBezTo>
                    <a:cubicBezTo>
                      <a:pt x="159" y="468"/>
                      <a:pt x="158" y="469"/>
                      <a:pt x="159" y="468"/>
                    </a:cubicBezTo>
                    <a:cubicBezTo>
                      <a:pt x="158" y="467"/>
                      <a:pt x="157" y="464"/>
                      <a:pt x="159" y="464"/>
                    </a:cubicBezTo>
                    <a:cubicBezTo>
                      <a:pt x="160" y="463"/>
                      <a:pt x="159" y="461"/>
                      <a:pt x="159" y="461"/>
                    </a:cubicBezTo>
                    <a:cubicBezTo>
                      <a:pt x="158" y="461"/>
                      <a:pt x="159" y="459"/>
                      <a:pt x="159" y="459"/>
                    </a:cubicBezTo>
                    <a:cubicBezTo>
                      <a:pt x="160" y="460"/>
                      <a:pt x="159" y="459"/>
                      <a:pt x="159" y="458"/>
                    </a:cubicBezTo>
                    <a:cubicBezTo>
                      <a:pt x="159" y="457"/>
                      <a:pt x="160" y="457"/>
                      <a:pt x="159" y="457"/>
                    </a:cubicBezTo>
                    <a:cubicBezTo>
                      <a:pt x="158" y="458"/>
                      <a:pt x="160" y="457"/>
                      <a:pt x="160" y="456"/>
                    </a:cubicBezTo>
                    <a:cubicBezTo>
                      <a:pt x="160" y="455"/>
                      <a:pt x="160" y="454"/>
                      <a:pt x="160" y="452"/>
                    </a:cubicBezTo>
                    <a:cubicBezTo>
                      <a:pt x="161" y="450"/>
                      <a:pt x="162" y="449"/>
                      <a:pt x="161" y="449"/>
                    </a:cubicBezTo>
                    <a:cubicBezTo>
                      <a:pt x="162" y="449"/>
                      <a:pt x="163" y="445"/>
                      <a:pt x="162" y="444"/>
                    </a:cubicBezTo>
                    <a:cubicBezTo>
                      <a:pt x="160" y="444"/>
                      <a:pt x="164" y="443"/>
                      <a:pt x="163" y="442"/>
                    </a:cubicBezTo>
                    <a:cubicBezTo>
                      <a:pt x="162" y="442"/>
                      <a:pt x="163" y="441"/>
                      <a:pt x="160" y="440"/>
                    </a:cubicBezTo>
                    <a:cubicBezTo>
                      <a:pt x="157" y="438"/>
                      <a:pt x="161" y="441"/>
                      <a:pt x="158" y="440"/>
                    </a:cubicBezTo>
                    <a:cubicBezTo>
                      <a:pt x="156" y="439"/>
                      <a:pt x="155" y="440"/>
                      <a:pt x="157" y="439"/>
                    </a:cubicBezTo>
                    <a:cubicBezTo>
                      <a:pt x="158" y="438"/>
                      <a:pt x="160" y="439"/>
                      <a:pt x="157" y="438"/>
                    </a:cubicBezTo>
                    <a:cubicBezTo>
                      <a:pt x="154" y="437"/>
                      <a:pt x="154" y="438"/>
                      <a:pt x="153" y="437"/>
                    </a:cubicBezTo>
                    <a:cubicBezTo>
                      <a:pt x="153" y="437"/>
                      <a:pt x="154" y="438"/>
                      <a:pt x="152" y="437"/>
                    </a:cubicBezTo>
                    <a:cubicBezTo>
                      <a:pt x="150" y="436"/>
                      <a:pt x="144" y="439"/>
                      <a:pt x="142" y="438"/>
                    </a:cubicBezTo>
                    <a:cubicBezTo>
                      <a:pt x="139" y="436"/>
                      <a:pt x="140" y="438"/>
                      <a:pt x="140" y="438"/>
                    </a:cubicBezTo>
                    <a:cubicBezTo>
                      <a:pt x="138" y="438"/>
                      <a:pt x="139" y="439"/>
                      <a:pt x="137" y="438"/>
                    </a:cubicBezTo>
                    <a:cubicBezTo>
                      <a:pt x="135" y="437"/>
                      <a:pt x="135" y="439"/>
                      <a:pt x="135" y="437"/>
                    </a:cubicBezTo>
                    <a:cubicBezTo>
                      <a:pt x="135" y="435"/>
                      <a:pt x="136" y="436"/>
                      <a:pt x="138" y="434"/>
                    </a:cubicBezTo>
                    <a:cubicBezTo>
                      <a:pt x="139" y="433"/>
                      <a:pt x="140" y="431"/>
                      <a:pt x="140" y="429"/>
                    </a:cubicBezTo>
                    <a:cubicBezTo>
                      <a:pt x="140" y="427"/>
                      <a:pt x="143" y="423"/>
                      <a:pt x="140" y="424"/>
                    </a:cubicBezTo>
                    <a:cubicBezTo>
                      <a:pt x="140" y="423"/>
                      <a:pt x="141" y="423"/>
                      <a:pt x="142" y="422"/>
                    </a:cubicBezTo>
                    <a:cubicBezTo>
                      <a:pt x="141" y="424"/>
                      <a:pt x="143" y="423"/>
                      <a:pt x="142" y="426"/>
                    </a:cubicBezTo>
                    <a:cubicBezTo>
                      <a:pt x="144" y="426"/>
                      <a:pt x="142" y="423"/>
                      <a:pt x="143" y="423"/>
                    </a:cubicBezTo>
                    <a:cubicBezTo>
                      <a:pt x="144" y="422"/>
                      <a:pt x="144" y="418"/>
                      <a:pt x="146" y="416"/>
                    </a:cubicBezTo>
                    <a:cubicBezTo>
                      <a:pt x="148" y="414"/>
                      <a:pt x="147" y="414"/>
                      <a:pt x="147" y="414"/>
                    </a:cubicBezTo>
                    <a:cubicBezTo>
                      <a:pt x="146" y="415"/>
                      <a:pt x="146" y="414"/>
                      <a:pt x="147" y="414"/>
                    </a:cubicBezTo>
                    <a:cubicBezTo>
                      <a:pt x="149" y="414"/>
                      <a:pt x="148" y="412"/>
                      <a:pt x="149" y="411"/>
                    </a:cubicBezTo>
                    <a:cubicBezTo>
                      <a:pt x="150" y="409"/>
                      <a:pt x="152" y="409"/>
                      <a:pt x="151" y="407"/>
                    </a:cubicBezTo>
                    <a:cubicBezTo>
                      <a:pt x="150" y="405"/>
                      <a:pt x="151" y="407"/>
                      <a:pt x="150" y="405"/>
                    </a:cubicBezTo>
                    <a:cubicBezTo>
                      <a:pt x="148" y="403"/>
                      <a:pt x="149" y="405"/>
                      <a:pt x="146" y="405"/>
                    </a:cubicBezTo>
                    <a:cubicBezTo>
                      <a:pt x="143" y="404"/>
                      <a:pt x="141" y="406"/>
                      <a:pt x="140" y="405"/>
                    </a:cubicBezTo>
                    <a:cubicBezTo>
                      <a:pt x="139" y="405"/>
                      <a:pt x="132" y="406"/>
                      <a:pt x="132" y="408"/>
                    </a:cubicBezTo>
                    <a:cubicBezTo>
                      <a:pt x="132" y="411"/>
                      <a:pt x="132" y="414"/>
                      <a:pt x="131" y="414"/>
                    </a:cubicBezTo>
                    <a:cubicBezTo>
                      <a:pt x="129" y="414"/>
                      <a:pt x="130" y="418"/>
                      <a:pt x="129" y="418"/>
                    </a:cubicBezTo>
                    <a:cubicBezTo>
                      <a:pt x="125" y="420"/>
                      <a:pt x="129" y="419"/>
                      <a:pt x="126" y="421"/>
                    </a:cubicBezTo>
                    <a:cubicBezTo>
                      <a:pt x="124" y="422"/>
                      <a:pt x="124" y="421"/>
                      <a:pt x="125" y="420"/>
                    </a:cubicBezTo>
                    <a:cubicBezTo>
                      <a:pt x="127" y="420"/>
                      <a:pt x="126" y="419"/>
                      <a:pt x="124" y="420"/>
                    </a:cubicBezTo>
                    <a:cubicBezTo>
                      <a:pt x="123" y="421"/>
                      <a:pt x="122" y="420"/>
                      <a:pt x="120" y="421"/>
                    </a:cubicBezTo>
                    <a:cubicBezTo>
                      <a:pt x="117" y="423"/>
                      <a:pt x="115" y="422"/>
                      <a:pt x="113" y="423"/>
                    </a:cubicBezTo>
                    <a:cubicBezTo>
                      <a:pt x="111" y="425"/>
                      <a:pt x="109" y="423"/>
                      <a:pt x="108" y="423"/>
                    </a:cubicBezTo>
                    <a:cubicBezTo>
                      <a:pt x="107" y="423"/>
                      <a:pt x="108" y="422"/>
                      <a:pt x="106" y="422"/>
                    </a:cubicBezTo>
                    <a:cubicBezTo>
                      <a:pt x="103" y="422"/>
                      <a:pt x="105" y="420"/>
                      <a:pt x="104" y="419"/>
                    </a:cubicBezTo>
                    <a:cubicBezTo>
                      <a:pt x="102" y="419"/>
                      <a:pt x="104" y="419"/>
                      <a:pt x="102" y="416"/>
                    </a:cubicBezTo>
                    <a:cubicBezTo>
                      <a:pt x="101" y="413"/>
                      <a:pt x="99" y="409"/>
                      <a:pt x="100" y="407"/>
                    </a:cubicBezTo>
                    <a:cubicBezTo>
                      <a:pt x="102" y="405"/>
                      <a:pt x="97" y="403"/>
                      <a:pt x="100" y="400"/>
                    </a:cubicBezTo>
                    <a:cubicBezTo>
                      <a:pt x="102" y="396"/>
                      <a:pt x="101" y="390"/>
                      <a:pt x="104" y="386"/>
                    </a:cubicBezTo>
                    <a:cubicBezTo>
                      <a:pt x="107" y="383"/>
                      <a:pt x="106" y="382"/>
                      <a:pt x="106" y="381"/>
                    </a:cubicBezTo>
                    <a:cubicBezTo>
                      <a:pt x="107" y="378"/>
                      <a:pt x="108" y="378"/>
                      <a:pt x="107" y="377"/>
                    </a:cubicBezTo>
                    <a:cubicBezTo>
                      <a:pt x="106" y="376"/>
                      <a:pt x="108" y="376"/>
                      <a:pt x="108" y="374"/>
                    </a:cubicBezTo>
                    <a:cubicBezTo>
                      <a:pt x="109" y="372"/>
                      <a:pt x="108" y="372"/>
                      <a:pt x="109" y="372"/>
                    </a:cubicBezTo>
                    <a:cubicBezTo>
                      <a:pt x="111" y="372"/>
                      <a:pt x="109" y="371"/>
                      <a:pt x="111" y="371"/>
                    </a:cubicBezTo>
                    <a:cubicBezTo>
                      <a:pt x="111" y="372"/>
                      <a:pt x="112" y="370"/>
                      <a:pt x="113" y="369"/>
                    </a:cubicBezTo>
                    <a:cubicBezTo>
                      <a:pt x="114" y="369"/>
                      <a:pt x="115" y="367"/>
                      <a:pt x="115" y="367"/>
                    </a:cubicBezTo>
                    <a:cubicBezTo>
                      <a:pt x="117" y="368"/>
                      <a:pt x="116" y="365"/>
                      <a:pt x="117" y="365"/>
                    </a:cubicBezTo>
                    <a:cubicBezTo>
                      <a:pt x="117" y="366"/>
                      <a:pt x="117" y="364"/>
                      <a:pt x="118" y="365"/>
                    </a:cubicBezTo>
                    <a:cubicBezTo>
                      <a:pt x="118" y="365"/>
                      <a:pt x="119" y="364"/>
                      <a:pt x="120" y="364"/>
                    </a:cubicBezTo>
                    <a:cubicBezTo>
                      <a:pt x="121" y="365"/>
                      <a:pt x="121" y="363"/>
                      <a:pt x="123" y="362"/>
                    </a:cubicBezTo>
                    <a:cubicBezTo>
                      <a:pt x="127" y="361"/>
                      <a:pt x="124" y="361"/>
                      <a:pt x="125" y="360"/>
                    </a:cubicBezTo>
                    <a:cubicBezTo>
                      <a:pt x="126" y="360"/>
                      <a:pt x="124" y="360"/>
                      <a:pt x="127" y="358"/>
                    </a:cubicBezTo>
                    <a:cubicBezTo>
                      <a:pt x="125" y="360"/>
                      <a:pt x="127" y="360"/>
                      <a:pt x="126" y="361"/>
                    </a:cubicBezTo>
                    <a:cubicBezTo>
                      <a:pt x="125" y="362"/>
                      <a:pt x="127" y="360"/>
                      <a:pt x="130" y="359"/>
                    </a:cubicBezTo>
                    <a:cubicBezTo>
                      <a:pt x="135" y="355"/>
                      <a:pt x="136" y="360"/>
                      <a:pt x="139" y="359"/>
                    </a:cubicBezTo>
                    <a:cubicBezTo>
                      <a:pt x="140" y="359"/>
                      <a:pt x="140" y="358"/>
                      <a:pt x="141" y="359"/>
                    </a:cubicBezTo>
                    <a:cubicBezTo>
                      <a:pt x="142" y="360"/>
                      <a:pt x="142" y="359"/>
                      <a:pt x="142" y="360"/>
                    </a:cubicBezTo>
                    <a:cubicBezTo>
                      <a:pt x="143" y="361"/>
                      <a:pt x="146" y="360"/>
                      <a:pt x="147" y="361"/>
                    </a:cubicBezTo>
                    <a:cubicBezTo>
                      <a:pt x="148" y="362"/>
                      <a:pt x="148" y="360"/>
                      <a:pt x="149" y="361"/>
                    </a:cubicBezTo>
                    <a:cubicBezTo>
                      <a:pt x="150" y="361"/>
                      <a:pt x="149" y="362"/>
                      <a:pt x="151" y="361"/>
                    </a:cubicBezTo>
                    <a:cubicBezTo>
                      <a:pt x="153" y="361"/>
                      <a:pt x="150" y="360"/>
                      <a:pt x="151" y="359"/>
                    </a:cubicBezTo>
                    <a:cubicBezTo>
                      <a:pt x="151" y="359"/>
                      <a:pt x="149" y="359"/>
                      <a:pt x="150" y="358"/>
                    </a:cubicBezTo>
                    <a:cubicBezTo>
                      <a:pt x="151" y="356"/>
                      <a:pt x="146" y="358"/>
                      <a:pt x="147" y="355"/>
                    </a:cubicBezTo>
                    <a:cubicBezTo>
                      <a:pt x="148" y="353"/>
                      <a:pt x="149" y="357"/>
                      <a:pt x="152" y="355"/>
                    </a:cubicBezTo>
                    <a:cubicBezTo>
                      <a:pt x="153" y="355"/>
                      <a:pt x="155" y="356"/>
                      <a:pt x="155" y="355"/>
                    </a:cubicBezTo>
                    <a:cubicBezTo>
                      <a:pt x="155" y="353"/>
                      <a:pt x="156" y="353"/>
                      <a:pt x="156" y="353"/>
                    </a:cubicBezTo>
                    <a:cubicBezTo>
                      <a:pt x="156" y="353"/>
                      <a:pt x="155" y="356"/>
                      <a:pt x="157" y="355"/>
                    </a:cubicBezTo>
                    <a:cubicBezTo>
                      <a:pt x="159" y="354"/>
                      <a:pt x="159" y="354"/>
                      <a:pt x="159" y="354"/>
                    </a:cubicBezTo>
                    <a:cubicBezTo>
                      <a:pt x="160" y="355"/>
                      <a:pt x="165" y="354"/>
                      <a:pt x="164" y="354"/>
                    </a:cubicBezTo>
                    <a:cubicBezTo>
                      <a:pt x="162" y="353"/>
                      <a:pt x="167" y="353"/>
                      <a:pt x="168" y="353"/>
                    </a:cubicBezTo>
                    <a:cubicBezTo>
                      <a:pt x="169" y="354"/>
                      <a:pt x="161" y="353"/>
                      <a:pt x="166" y="355"/>
                    </a:cubicBezTo>
                    <a:cubicBezTo>
                      <a:pt x="171" y="356"/>
                      <a:pt x="172" y="356"/>
                      <a:pt x="171" y="357"/>
                    </a:cubicBezTo>
                    <a:cubicBezTo>
                      <a:pt x="170" y="357"/>
                      <a:pt x="171" y="358"/>
                      <a:pt x="172" y="357"/>
                    </a:cubicBezTo>
                    <a:cubicBezTo>
                      <a:pt x="174" y="356"/>
                      <a:pt x="173" y="358"/>
                      <a:pt x="176" y="356"/>
                    </a:cubicBezTo>
                    <a:cubicBezTo>
                      <a:pt x="179" y="354"/>
                      <a:pt x="179" y="357"/>
                      <a:pt x="180" y="357"/>
                    </a:cubicBezTo>
                    <a:cubicBezTo>
                      <a:pt x="182" y="357"/>
                      <a:pt x="180" y="359"/>
                      <a:pt x="182" y="360"/>
                    </a:cubicBezTo>
                    <a:cubicBezTo>
                      <a:pt x="184" y="361"/>
                      <a:pt x="180" y="366"/>
                      <a:pt x="181" y="367"/>
                    </a:cubicBezTo>
                    <a:cubicBezTo>
                      <a:pt x="181" y="369"/>
                      <a:pt x="179" y="368"/>
                      <a:pt x="181" y="373"/>
                    </a:cubicBezTo>
                    <a:cubicBezTo>
                      <a:pt x="182" y="372"/>
                      <a:pt x="183" y="372"/>
                      <a:pt x="182" y="373"/>
                    </a:cubicBezTo>
                    <a:cubicBezTo>
                      <a:pt x="181" y="374"/>
                      <a:pt x="182" y="375"/>
                      <a:pt x="182" y="376"/>
                    </a:cubicBezTo>
                    <a:cubicBezTo>
                      <a:pt x="182" y="379"/>
                      <a:pt x="184" y="378"/>
                      <a:pt x="184" y="379"/>
                    </a:cubicBezTo>
                    <a:cubicBezTo>
                      <a:pt x="184" y="380"/>
                      <a:pt x="187" y="381"/>
                      <a:pt x="186" y="381"/>
                    </a:cubicBezTo>
                    <a:cubicBezTo>
                      <a:pt x="184" y="381"/>
                      <a:pt x="186" y="383"/>
                      <a:pt x="184" y="382"/>
                    </a:cubicBezTo>
                    <a:cubicBezTo>
                      <a:pt x="183" y="381"/>
                      <a:pt x="184" y="384"/>
                      <a:pt x="186" y="383"/>
                    </a:cubicBezTo>
                    <a:cubicBezTo>
                      <a:pt x="188" y="382"/>
                      <a:pt x="187" y="383"/>
                      <a:pt x="188" y="382"/>
                    </a:cubicBezTo>
                    <a:cubicBezTo>
                      <a:pt x="189" y="381"/>
                      <a:pt x="189" y="383"/>
                      <a:pt x="190" y="382"/>
                    </a:cubicBezTo>
                    <a:cubicBezTo>
                      <a:pt x="191" y="381"/>
                      <a:pt x="189" y="382"/>
                      <a:pt x="190" y="379"/>
                    </a:cubicBezTo>
                    <a:cubicBezTo>
                      <a:pt x="192" y="376"/>
                      <a:pt x="193" y="373"/>
                      <a:pt x="192" y="372"/>
                    </a:cubicBezTo>
                    <a:cubicBezTo>
                      <a:pt x="192" y="371"/>
                      <a:pt x="191" y="369"/>
                      <a:pt x="191" y="366"/>
                    </a:cubicBezTo>
                    <a:cubicBezTo>
                      <a:pt x="191" y="363"/>
                      <a:pt x="191" y="369"/>
                      <a:pt x="192" y="369"/>
                    </a:cubicBezTo>
                    <a:cubicBezTo>
                      <a:pt x="192" y="369"/>
                      <a:pt x="191" y="365"/>
                      <a:pt x="191" y="363"/>
                    </a:cubicBezTo>
                    <a:cubicBezTo>
                      <a:pt x="191" y="361"/>
                      <a:pt x="191" y="364"/>
                      <a:pt x="191" y="361"/>
                    </a:cubicBezTo>
                    <a:cubicBezTo>
                      <a:pt x="190" y="359"/>
                      <a:pt x="190" y="354"/>
                      <a:pt x="191" y="353"/>
                    </a:cubicBezTo>
                    <a:cubicBezTo>
                      <a:pt x="192" y="352"/>
                      <a:pt x="189" y="352"/>
                      <a:pt x="195" y="345"/>
                    </a:cubicBezTo>
                    <a:cubicBezTo>
                      <a:pt x="197" y="342"/>
                      <a:pt x="198" y="344"/>
                      <a:pt x="198" y="343"/>
                    </a:cubicBezTo>
                    <a:cubicBezTo>
                      <a:pt x="197" y="342"/>
                      <a:pt x="199" y="342"/>
                      <a:pt x="198" y="341"/>
                    </a:cubicBezTo>
                    <a:cubicBezTo>
                      <a:pt x="197" y="339"/>
                      <a:pt x="199" y="342"/>
                      <a:pt x="201" y="340"/>
                    </a:cubicBezTo>
                    <a:cubicBezTo>
                      <a:pt x="201" y="339"/>
                      <a:pt x="201" y="342"/>
                      <a:pt x="204" y="339"/>
                    </a:cubicBezTo>
                    <a:cubicBezTo>
                      <a:pt x="206" y="337"/>
                      <a:pt x="205" y="339"/>
                      <a:pt x="207" y="336"/>
                    </a:cubicBezTo>
                    <a:cubicBezTo>
                      <a:pt x="208" y="335"/>
                      <a:pt x="210" y="333"/>
                      <a:pt x="212" y="334"/>
                    </a:cubicBezTo>
                    <a:cubicBezTo>
                      <a:pt x="213" y="334"/>
                      <a:pt x="216" y="330"/>
                      <a:pt x="217" y="330"/>
                    </a:cubicBezTo>
                    <a:cubicBezTo>
                      <a:pt x="218" y="331"/>
                      <a:pt x="218" y="328"/>
                      <a:pt x="221" y="328"/>
                    </a:cubicBezTo>
                    <a:cubicBezTo>
                      <a:pt x="224" y="328"/>
                      <a:pt x="223" y="326"/>
                      <a:pt x="224" y="326"/>
                    </a:cubicBezTo>
                    <a:cubicBezTo>
                      <a:pt x="225" y="325"/>
                      <a:pt x="221" y="327"/>
                      <a:pt x="223" y="325"/>
                    </a:cubicBezTo>
                    <a:cubicBezTo>
                      <a:pt x="225" y="324"/>
                      <a:pt x="221" y="323"/>
                      <a:pt x="224" y="324"/>
                    </a:cubicBezTo>
                    <a:cubicBezTo>
                      <a:pt x="227" y="325"/>
                      <a:pt x="226" y="324"/>
                      <a:pt x="227" y="323"/>
                    </a:cubicBezTo>
                    <a:cubicBezTo>
                      <a:pt x="228" y="323"/>
                      <a:pt x="228" y="321"/>
                      <a:pt x="227" y="322"/>
                    </a:cubicBezTo>
                    <a:cubicBezTo>
                      <a:pt x="226" y="323"/>
                      <a:pt x="227" y="322"/>
                      <a:pt x="225" y="322"/>
                    </a:cubicBezTo>
                    <a:cubicBezTo>
                      <a:pt x="223" y="322"/>
                      <a:pt x="224" y="321"/>
                      <a:pt x="224" y="321"/>
                    </a:cubicBezTo>
                    <a:cubicBezTo>
                      <a:pt x="225" y="322"/>
                      <a:pt x="226" y="321"/>
                      <a:pt x="227" y="321"/>
                    </a:cubicBezTo>
                    <a:cubicBezTo>
                      <a:pt x="229" y="321"/>
                      <a:pt x="229" y="319"/>
                      <a:pt x="228" y="317"/>
                    </a:cubicBezTo>
                    <a:cubicBezTo>
                      <a:pt x="228" y="315"/>
                      <a:pt x="229" y="312"/>
                      <a:pt x="227" y="313"/>
                    </a:cubicBezTo>
                    <a:cubicBezTo>
                      <a:pt x="229" y="312"/>
                      <a:pt x="227" y="312"/>
                      <a:pt x="226" y="311"/>
                    </a:cubicBezTo>
                    <a:cubicBezTo>
                      <a:pt x="228" y="311"/>
                      <a:pt x="227" y="311"/>
                      <a:pt x="228" y="311"/>
                    </a:cubicBezTo>
                    <a:cubicBezTo>
                      <a:pt x="227" y="309"/>
                      <a:pt x="229" y="309"/>
                      <a:pt x="226" y="308"/>
                    </a:cubicBezTo>
                    <a:cubicBezTo>
                      <a:pt x="227" y="309"/>
                      <a:pt x="229" y="309"/>
                      <a:pt x="228" y="307"/>
                    </a:cubicBezTo>
                    <a:cubicBezTo>
                      <a:pt x="228" y="308"/>
                      <a:pt x="228" y="305"/>
                      <a:pt x="229" y="304"/>
                    </a:cubicBezTo>
                    <a:cubicBezTo>
                      <a:pt x="231" y="303"/>
                      <a:pt x="233" y="303"/>
                      <a:pt x="231" y="304"/>
                    </a:cubicBezTo>
                    <a:cubicBezTo>
                      <a:pt x="229" y="306"/>
                      <a:pt x="231" y="305"/>
                      <a:pt x="230" y="306"/>
                    </a:cubicBezTo>
                    <a:cubicBezTo>
                      <a:pt x="229" y="308"/>
                      <a:pt x="231" y="308"/>
                      <a:pt x="230" y="309"/>
                    </a:cubicBezTo>
                    <a:cubicBezTo>
                      <a:pt x="229" y="310"/>
                      <a:pt x="232" y="310"/>
                      <a:pt x="231" y="312"/>
                    </a:cubicBezTo>
                    <a:cubicBezTo>
                      <a:pt x="229" y="313"/>
                      <a:pt x="229" y="314"/>
                      <a:pt x="230" y="313"/>
                    </a:cubicBezTo>
                    <a:cubicBezTo>
                      <a:pt x="232" y="313"/>
                      <a:pt x="233" y="309"/>
                      <a:pt x="234" y="308"/>
                    </a:cubicBezTo>
                    <a:cubicBezTo>
                      <a:pt x="236" y="307"/>
                      <a:pt x="233" y="312"/>
                      <a:pt x="233" y="311"/>
                    </a:cubicBezTo>
                    <a:cubicBezTo>
                      <a:pt x="234" y="310"/>
                      <a:pt x="237" y="307"/>
                      <a:pt x="235" y="306"/>
                    </a:cubicBezTo>
                    <a:cubicBezTo>
                      <a:pt x="234" y="305"/>
                      <a:pt x="236" y="305"/>
                      <a:pt x="234" y="304"/>
                    </a:cubicBezTo>
                    <a:cubicBezTo>
                      <a:pt x="233" y="303"/>
                      <a:pt x="234" y="303"/>
                      <a:pt x="234" y="302"/>
                    </a:cubicBezTo>
                    <a:cubicBezTo>
                      <a:pt x="234" y="304"/>
                      <a:pt x="235" y="303"/>
                      <a:pt x="236" y="305"/>
                    </a:cubicBezTo>
                    <a:cubicBezTo>
                      <a:pt x="236" y="307"/>
                      <a:pt x="236" y="305"/>
                      <a:pt x="237" y="304"/>
                    </a:cubicBezTo>
                    <a:cubicBezTo>
                      <a:pt x="239" y="302"/>
                      <a:pt x="239" y="304"/>
                      <a:pt x="240" y="302"/>
                    </a:cubicBezTo>
                    <a:cubicBezTo>
                      <a:pt x="241" y="300"/>
                      <a:pt x="240" y="302"/>
                      <a:pt x="242" y="301"/>
                    </a:cubicBezTo>
                    <a:cubicBezTo>
                      <a:pt x="241" y="300"/>
                      <a:pt x="241" y="300"/>
                      <a:pt x="241" y="299"/>
                    </a:cubicBezTo>
                    <a:cubicBezTo>
                      <a:pt x="242" y="300"/>
                      <a:pt x="242" y="301"/>
                      <a:pt x="243" y="300"/>
                    </a:cubicBezTo>
                    <a:cubicBezTo>
                      <a:pt x="244" y="299"/>
                      <a:pt x="244" y="299"/>
                      <a:pt x="246" y="298"/>
                    </a:cubicBezTo>
                    <a:cubicBezTo>
                      <a:pt x="248" y="296"/>
                      <a:pt x="245" y="297"/>
                      <a:pt x="246" y="296"/>
                    </a:cubicBezTo>
                    <a:cubicBezTo>
                      <a:pt x="247" y="296"/>
                      <a:pt x="247" y="295"/>
                      <a:pt x="248" y="295"/>
                    </a:cubicBezTo>
                    <a:cubicBezTo>
                      <a:pt x="249" y="294"/>
                      <a:pt x="249" y="292"/>
                      <a:pt x="253" y="292"/>
                    </a:cubicBezTo>
                    <a:cubicBezTo>
                      <a:pt x="257" y="292"/>
                      <a:pt x="255" y="291"/>
                      <a:pt x="257" y="292"/>
                    </a:cubicBezTo>
                    <a:cubicBezTo>
                      <a:pt x="258" y="292"/>
                      <a:pt x="261" y="290"/>
                      <a:pt x="261" y="290"/>
                    </a:cubicBezTo>
                    <a:cubicBezTo>
                      <a:pt x="261" y="290"/>
                      <a:pt x="264" y="288"/>
                      <a:pt x="265" y="290"/>
                    </a:cubicBezTo>
                    <a:cubicBezTo>
                      <a:pt x="267" y="287"/>
                      <a:pt x="264" y="290"/>
                      <a:pt x="264" y="288"/>
                    </a:cubicBezTo>
                    <a:cubicBezTo>
                      <a:pt x="263" y="286"/>
                      <a:pt x="263" y="286"/>
                      <a:pt x="265" y="284"/>
                    </a:cubicBezTo>
                    <a:cubicBezTo>
                      <a:pt x="266" y="282"/>
                      <a:pt x="266" y="284"/>
                      <a:pt x="268" y="281"/>
                    </a:cubicBezTo>
                    <a:cubicBezTo>
                      <a:pt x="269" y="279"/>
                      <a:pt x="271" y="280"/>
                      <a:pt x="273" y="278"/>
                    </a:cubicBezTo>
                    <a:cubicBezTo>
                      <a:pt x="275" y="277"/>
                      <a:pt x="275" y="280"/>
                      <a:pt x="277" y="276"/>
                    </a:cubicBezTo>
                    <a:cubicBezTo>
                      <a:pt x="277" y="275"/>
                      <a:pt x="277" y="279"/>
                      <a:pt x="278" y="276"/>
                    </a:cubicBezTo>
                    <a:cubicBezTo>
                      <a:pt x="279" y="274"/>
                      <a:pt x="282" y="276"/>
                      <a:pt x="282" y="276"/>
                    </a:cubicBezTo>
                    <a:cubicBezTo>
                      <a:pt x="282" y="276"/>
                      <a:pt x="289" y="273"/>
                      <a:pt x="288" y="272"/>
                    </a:cubicBezTo>
                    <a:cubicBezTo>
                      <a:pt x="288" y="271"/>
                      <a:pt x="289" y="273"/>
                      <a:pt x="293" y="271"/>
                    </a:cubicBezTo>
                    <a:cubicBezTo>
                      <a:pt x="297" y="269"/>
                      <a:pt x="297" y="269"/>
                      <a:pt x="296" y="268"/>
                    </a:cubicBezTo>
                    <a:cubicBezTo>
                      <a:pt x="299" y="269"/>
                      <a:pt x="294" y="271"/>
                      <a:pt x="294" y="271"/>
                    </a:cubicBezTo>
                    <a:cubicBezTo>
                      <a:pt x="295" y="272"/>
                      <a:pt x="297" y="270"/>
                      <a:pt x="298" y="271"/>
                    </a:cubicBezTo>
                    <a:cubicBezTo>
                      <a:pt x="300" y="271"/>
                      <a:pt x="301" y="271"/>
                      <a:pt x="303" y="271"/>
                    </a:cubicBezTo>
                    <a:cubicBezTo>
                      <a:pt x="299" y="272"/>
                      <a:pt x="298" y="271"/>
                      <a:pt x="298" y="272"/>
                    </a:cubicBezTo>
                    <a:cubicBezTo>
                      <a:pt x="299" y="272"/>
                      <a:pt x="295" y="271"/>
                      <a:pt x="292" y="273"/>
                    </a:cubicBezTo>
                    <a:cubicBezTo>
                      <a:pt x="289" y="276"/>
                      <a:pt x="287" y="278"/>
                      <a:pt x="288" y="278"/>
                    </a:cubicBezTo>
                    <a:cubicBezTo>
                      <a:pt x="289" y="279"/>
                      <a:pt x="288" y="280"/>
                      <a:pt x="289" y="280"/>
                    </a:cubicBezTo>
                    <a:cubicBezTo>
                      <a:pt x="290" y="280"/>
                      <a:pt x="290" y="278"/>
                      <a:pt x="290" y="279"/>
                    </a:cubicBezTo>
                    <a:cubicBezTo>
                      <a:pt x="291" y="280"/>
                      <a:pt x="293" y="278"/>
                      <a:pt x="295" y="277"/>
                    </a:cubicBezTo>
                    <a:cubicBezTo>
                      <a:pt x="297" y="276"/>
                      <a:pt x="294" y="275"/>
                      <a:pt x="297" y="275"/>
                    </a:cubicBezTo>
                    <a:cubicBezTo>
                      <a:pt x="300" y="275"/>
                      <a:pt x="298" y="273"/>
                      <a:pt x="301" y="274"/>
                    </a:cubicBezTo>
                    <a:cubicBezTo>
                      <a:pt x="304" y="275"/>
                      <a:pt x="302" y="273"/>
                      <a:pt x="304" y="273"/>
                    </a:cubicBezTo>
                    <a:cubicBezTo>
                      <a:pt x="306" y="274"/>
                      <a:pt x="307" y="272"/>
                      <a:pt x="309" y="271"/>
                    </a:cubicBezTo>
                    <a:cubicBezTo>
                      <a:pt x="311" y="271"/>
                      <a:pt x="312" y="269"/>
                      <a:pt x="312" y="269"/>
                    </a:cubicBezTo>
                    <a:cubicBezTo>
                      <a:pt x="312" y="269"/>
                      <a:pt x="312" y="268"/>
                      <a:pt x="311" y="268"/>
                    </a:cubicBezTo>
                    <a:cubicBezTo>
                      <a:pt x="308" y="270"/>
                      <a:pt x="312" y="267"/>
                      <a:pt x="308" y="268"/>
                    </a:cubicBezTo>
                    <a:cubicBezTo>
                      <a:pt x="305" y="270"/>
                      <a:pt x="309" y="268"/>
                      <a:pt x="305" y="268"/>
                    </a:cubicBezTo>
                    <a:cubicBezTo>
                      <a:pt x="301" y="268"/>
                      <a:pt x="303" y="266"/>
                      <a:pt x="300" y="266"/>
                    </a:cubicBezTo>
                    <a:cubicBezTo>
                      <a:pt x="300" y="263"/>
                      <a:pt x="299" y="260"/>
                      <a:pt x="297" y="261"/>
                    </a:cubicBezTo>
                    <a:cubicBezTo>
                      <a:pt x="300" y="260"/>
                      <a:pt x="301" y="258"/>
                      <a:pt x="300" y="258"/>
                    </a:cubicBezTo>
                    <a:cubicBezTo>
                      <a:pt x="300" y="257"/>
                      <a:pt x="298" y="258"/>
                      <a:pt x="298" y="258"/>
                    </a:cubicBezTo>
                    <a:cubicBezTo>
                      <a:pt x="297" y="257"/>
                      <a:pt x="297" y="257"/>
                      <a:pt x="296" y="257"/>
                    </a:cubicBezTo>
                    <a:cubicBezTo>
                      <a:pt x="299" y="256"/>
                      <a:pt x="298" y="258"/>
                      <a:pt x="301" y="256"/>
                    </a:cubicBezTo>
                    <a:cubicBezTo>
                      <a:pt x="304" y="254"/>
                      <a:pt x="304" y="255"/>
                      <a:pt x="305" y="254"/>
                    </a:cubicBezTo>
                    <a:cubicBezTo>
                      <a:pt x="306" y="254"/>
                      <a:pt x="304" y="254"/>
                      <a:pt x="304" y="253"/>
                    </a:cubicBezTo>
                    <a:cubicBezTo>
                      <a:pt x="305" y="253"/>
                      <a:pt x="305" y="254"/>
                      <a:pt x="305" y="253"/>
                    </a:cubicBezTo>
                    <a:cubicBezTo>
                      <a:pt x="306" y="252"/>
                      <a:pt x="303" y="251"/>
                      <a:pt x="298" y="252"/>
                    </a:cubicBezTo>
                    <a:cubicBezTo>
                      <a:pt x="293" y="253"/>
                      <a:pt x="280" y="258"/>
                      <a:pt x="277" y="260"/>
                    </a:cubicBezTo>
                    <a:cubicBezTo>
                      <a:pt x="273" y="263"/>
                      <a:pt x="273" y="263"/>
                      <a:pt x="271" y="263"/>
                    </a:cubicBezTo>
                    <a:cubicBezTo>
                      <a:pt x="275" y="261"/>
                      <a:pt x="274" y="261"/>
                      <a:pt x="276" y="260"/>
                    </a:cubicBezTo>
                    <a:cubicBezTo>
                      <a:pt x="278" y="259"/>
                      <a:pt x="284" y="254"/>
                      <a:pt x="287" y="253"/>
                    </a:cubicBezTo>
                    <a:cubicBezTo>
                      <a:pt x="289" y="253"/>
                      <a:pt x="289" y="251"/>
                      <a:pt x="289" y="252"/>
                    </a:cubicBezTo>
                    <a:cubicBezTo>
                      <a:pt x="291" y="253"/>
                      <a:pt x="291" y="251"/>
                      <a:pt x="293" y="250"/>
                    </a:cubicBezTo>
                    <a:cubicBezTo>
                      <a:pt x="296" y="249"/>
                      <a:pt x="299" y="249"/>
                      <a:pt x="299" y="248"/>
                    </a:cubicBezTo>
                    <a:cubicBezTo>
                      <a:pt x="299" y="247"/>
                      <a:pt x="301" y="246"/>
                      <a:pt x="309" y="245"/>
                    </a:cubicBezTo>
                    <a:cubicBezTo>
                      <a:pt x="321" y="244"/>
                      <a:pt x="316" y="246"/>
                      <a:pt x="321" y="245"/>
                    </a:cubicBezTo>
                    <a:cubicBezTo>
                      <a:pt x="327" y="244"/>
                      <a:pt x="323" y="247"/>
                      <a:pt x="330" y="244"/>
                    </a:cubicBezTo>
                    <a:cubicBezTo>
                      <a:pt x="334" y="242"/>
                      <a:pt x="335" y="243"/>
                      <a:pt x="335" y="243"/>
                    </a:cubicBezTo>
                    <a:cubicBezTo>
                      <a:pt x="335" y="243"/>
                      <a:pt x="335" y="243"/>
                      <a:pt x="335" y="242"/>
                    </a:cubicBezTo>
                    <a:cubicBezTo>
                      <a:pt x="337" y="240"/>
                      <a:pt x="338" y="242"/>
                      <a:pt x="338" y="241"/>
                    </a:cubicBezTo>
                    <a:cubicBezTo>
                      <a:pt x="337" y="240"/>
                      <a:pt x="338" y="240"/>
                      <a:pt x="341" y="239"/>
                    </a:cubicBezTo>
                    <a:cubicBezTo>
                      <a:pt x="346" y="236"/>
                      <a:pt x="342" y="240"/>
                      <a:pt x="347" y="237"/>
                    </a:cubicBezTo>
                    <a:cubicBezTo>
                      <a:pt x="352" y="235"/>
                      <a:pt x="347" y="234"/>
                      <a:pt x="348" y="233"/>
                    </a:cubicBezTo>
                    <a:cubicBezTo>
                      <a:pt x="350" y="233"/>
                      <a:pt x="346" y="232"/>
                      <a:pt x="348" y="232"/>
                    </a:cubicBezTo>
                    <a:cubicBezTo>
                      <a:pt x="350" y="231"/>
                      <a:pt x="349" y="229"/>
                      <a:pt x="347" y="229"/>
                    </a:cubicBezTo>
                    <a:cubicBezTo>
                      <a:pt x="345" y="229"/>
                      <a:pt x="345" y="230"/>
                      <a:pt x="345" y="230"/>
                    </a:cubicBezTo>
                    <a:cubicBezTo>
                      <a:pt x="344" y="229"/>
                      <a:pt x="346" y="229"/>
                      <a:pt x="345" y="228"/>
                    </a:cubicBezTo>
                    <a:cubicBezTo>
                      <a:pt x="343" y="227"/>
                      <a:pt x="342" y="227"/>
                      <a:pt x="340" y="228"/>
                    </a:cubicBezTo>
                    <a:cubicBezTo>
                      <a:pt x="337" y="230"/>
                      <a:pt x="334" y="231"/>
                      <a:pt x="331" y="230"/>
                    </a:cubicBezTo>
                    <a:cubicBezTo>
                      <a:pt x="336" y="228"/>
                      <a:pt x="330" y="228"/>
                      <a:pt x="335" y="228"/>
                    </a:cubicBezTo>
                    <a:cubicBezTo>
                      <a:pt x="339" y="228"/>
                      <a:pt x="340" y="227"/>
                      <a:pt x="344" y="227"/>
                    </a:cubicBezTo>
                    <a:cubicBezTo>
                      <a:pt x="347" y="226"/>
                      <a:pt x="343" y="225"/>
                      <a:pt x="342" y="225"/>
                    </a:cubicBezTo>
                    <a:cubicBezTo>
                      <a:pt x="340" y="226"/>
                      <a:pt x="341" y="224"/>
                      <a:pt x="339" y="224"/>
                    </a:cubicBezTo>
                    <a:cubicBezTo>
                      <a:pt x="338" y="224"/>
                      <a:pt x="340" y="223"/>
                      <a:pt x="337" y="223"/>
                    </a:cubicBezTo>
                    <a:cubicBezTo>
                      <a:pt x="335" y="224"/>
                      <a:pt x="338" y="221"/>
                      <a:pt x="336" y="222"/>
                    </a:cubicBezTo>
                    <a:cubicBezTo>
                      <a:pt x="333" y="223"/>
                      <a:pt x="336" y="220"/>
                      <a:pt x="334" y="219"/>
                    </a:cubicBezTo>
                    <a:cubicBezTo>
                      <a:pt x="332" y="217"/>
                      <a:pt x="337" y="215"/>
                      <a:pt x="334" y="215"/>
                    </a:cubicBezTo>
                    <a:cubicBezTo>
                      <a:pt x="332" y="216"/>
                      <a:pt x="331" y="216"/>
                      <a:pt x="330" y="216"/>
                    </a:cubicBezTo>
                    <a:cubicBezTo>
                      <a:pt x="334" y="215"/>
                      <a:pt x="336" y="213"/>
                      <a:pt x="333" y="212"/>
                    </a:cubicBezTo>
                    <a:cubicBezTo>
                      <a:pt x="334" y="210"/>
                      <a:pt x="331" y="210"/>
                      <a:pt x="332" y="208"/>
                    </a:cubicBezTo>
                    <a:cubicBezTo>
                      <a:pt x="332" y="207"/>
                      <a:pt x="330" y="207"/>
                      <a:pt x="331" y="206"/>
                    </a:cubicBezTo>
                    <a:cubicBezTo>
                      <a:pt x="331" y="205"/>
                      <a:pt x="330" y="205"/>
                      <a:pt x="330" y="204"/>
                    </a:cubicBezTo>
                    <a:cubicBezTo>
                      <a:pt x="330" y="203"/>
                      <a:pt x="329" y="203"/>
                      <a:pt x="328" y="202"/>
                    </a:cubicBezTo>
                    <a:cubicBezTo>
                      <a:pt x="327" y="200"/>
                      <a:pt x="327" y="203"/>
                      <a:pt x="324" y="204"/>
                    </a:cubicBezTo>
                    <a:cubicBezTo>
                      <a:pt x="322" y="205"/>
                      <a:pt x="325" y="207"/>
                      <a:pt x="322" y="208"/>
                    </a:cubicBezTo>
                    <a:cubicBezTo>
                      <a:pt x="320" y="208"/>
                      <a:pt x="320" y="210"/>
                      <a:pt x="320" y="210"/>
                    </a:cubicBezTo>
                    <a:cubicBezTo>
                      <a:pt x="319" y="211"/>
                      <a:pt x="320" y="207"/>
                      <a:pt x="318" y="209"/>
                    </a:cubicBezTo>
                    <a:cubicBezTo>
                      <a:pt x="317" y="211"/>
                      <a:pt x="314" y="211"/>
                      <a:pt x="313" y="213"/>
                    </a:cubicBezTo>
                    <a:cubicBezTo>
                      <a:pt x="313" y="212"/>
                      <a:pt x="311" y="213"/>
                      <a:pt x="312" y="212"/>
                    </a:cubicBezTo>
                    <a:cubicBezTo>
                      <a:pt x="313" y="210"/>
                      <a:pt x="308" y="211"/>
                      <a:pt x="305" y="214"/>
                    </a:cubicBezTo>
                    <a:cubicBezTo>
                      <a:pt x="306" y="213"/>
                      <a:pt x="304" y="213"/>
                      <a:pt x="303" y="213"/>
                    </a:cubicBezTo>
                    <a:cubicBezTo>
                      <a:pt x="305" y="212"/>
                      <a:pt x="305" y="212"/>
                      <a:pt x="306" y="211"/>
                    </a:cubicBezTo>
                    <a:cubicBezTo>
                      <a:pt x="305" y="212"/>
                      <a:pt x="306" y="213"/>
                      <a:pt x="309" y="210"/>
                    </a:cubicBezTo>
                    <a:cubicBezTo>
                      <a:pt x="311" y="209"/>
                      <a:pt x="309" y="208"/>
                      <a:pt x="305" y="210"/>
                    </a:cubicBezTo>
                    <a:cubicBezTo>
                      <a:pt x="304" y="208"/>
                      <a:pt x="310" y="208"/>
                      <a:pt x="309" y="205"/>
                    </a:cubicBezTo>
                    <a:cubicBezTo>
                      <a:pt x="309" y="205"/>
                      <a:pt x="307" y="205"/>
                      <a:pt x="307" y="205"/>
                    </a:cubicBezTo>
                    <a:cubicBezTo>
                      <a:pt x="314" y="204"/>
                      <a:pt x="306" y="203"/>
                      <a:pt x="311" y="202"/>
                    </a:cubicBezTo>
                    <a:cubicBezTo>
                      <a:pt x="314" y="201"/>
                      <a:pt x="313" y="201"/>
                      <a:pt x="313" y="200"/>
                    </a:cubicBezTo>
                    <a:cubicBezTo>
                      <a:pt x="312" y="200"/>
                      <a:pt x="311" y="201"/>
                      <a:pt x="310" y="201"/>
                    </a:cubicBezTo>
                    <a:cubicBezTo>
                      <a:pt x="309" y="200"/>
                      <a:pt x="311" y="200"/>
                      <a:pt x="310" y="199"/>
                    </a:cubicBezTo>
                    <a:cubicBezTo>
                      <a:pt x="308" y="198"/>
                      <a:pt x="309" y="200"/>
                      <a:pt x="307" y="199"/>
                    </a:cubicBezTo>
                    <a:cubicBezTo>
                      <a:pt x="306" y="198"/>
                      <a:pt x="304" y="199"/>
                      <a:pt x="305" y="196"/>
                    </a:cubicBezTo>
                    <a:cubicBezTo>
                      <a:pt x="298" y="191"/>
                      <a:pt x="300" y="197"/>
                      <a:pt x="294" y="195"/>
                    </a:cubicBezTo>
                    <a:cubicBezTo>
                      <a:pt x="292" y="194"/>
                      <a:pt x="288" y="193"/>
                      <a:pt x="285" y="194"/>
                    </a:cubicBezTo>
                    <a:cubicBezTo>
                      <a:pt x="282" y="195"/>
                      <a:pt x="284" y="198"/>
                      <a:pt x="281" y="200"/>
                    </a:cubicBezTo>
                    <a:cubicBezTo>
                      <a:pt x="277" y="203"/>
                      <a:pt x="284" y="201"/>
                      <a:pt x="279" y="203"/>
                    </a:cubicBezTo>
                    <a:cubicBezTo>
                      <a:pt x="276" y="205"/>
                      <a:pt x="280" y="205"/>
                      <a:pt x="278" y="206"/>
                    </a:cubicBezTo>
                    <a:cubicBezTo>
                      <a:pt x="275" y="207"/>
                      <a:pt x="278" y="206"/>
                      <a:pt x="275" y="207"/>
                    </a:cubicBezTo>
                    <a:cubicBezTo>
                      <a:pt x="269" y="209"/>
                      <a:pt x="273" y="210"/>
                      <a:pt x="271" y="210"/>
                    </a:cubicBezTo>
                    <a:cubicBezTo>
                      <a:pt x="269" y="212"/>
                      <a:pt x="279" y="212"/>
                      <a:pt x="271" y="221"/>
                    </a:cubicBezTo>
                    <a:cubicBezTo>
                      <a:pt x="263" y="228"/>
                      <a:pt x="254" y="228"/>
                      <a:pt x="253" y="228"/>
                    </a:cubicBezTo>
                    <a:cubicBezTo>
                      <a:pt x="252" y="230"/>
                      <a:pt x="254" y="229"/>
                      <a:pt x="254" y="230"/>
                    </a:cubicBezTo>
                    <a:cubicBezTo>
                      <a:pt x="254" y="232"/>
                      <a:pt x="255" y="228"/>
                      <a:pt x="255" y="234"/>
                    </a:cubicBezTo>
                    <a:cubicBezTo>
                      <a:pt x="255" y="235"/>
                      <a:pt x="254" y="235"/>
                      <a:pt x="254" y="237"/>
                    </a:cubicBezTo>
                    <a:cubicBezTo>
                      <a:pt x="254" y="241"/>
                      <a:pt x="249" y="240"/>
                      <a:pt x="249" y="241"/>
                    </a:cubicBezTo>
                    <a:cubicBezTo>
                      <a:pt x="249" y="243"/>
                      <a:pt x="249" y="243"/>
                      <a:pt x="251" y="243"/>
                    </a:cubicBezTo>
                    <a:cubicBezTo>
                      <a:pt x="249" y="243"/>
                      <a:pt x="248" y="244"/>
                      <a:pt x="250" y="245"/>
                    </a:cubicBezTo>
                    <a:cubicBezTo>
                      <a:pt x="247" y="244"/>
                      <a:pt x="249" y="241"/>
                      <a:pt x="247" y="242"/>
                    </a:cubicBezTo>
                    <a:cubicBezTo>
                      <a:pt x="245" y="243"/>
                      <a:pt x="243" y="243"/>
                      <a:pt x="244" y="244"/>
                    </a:cubicBezTo>
                    <a:cubicBezTo>
                      <a:pt x="245" y="245"/>
                      <a:pt x="242" y="244"/>
                      <a:pt x="242" y="244"/>
                    </a:cubicBezTo>
                    <a:cubicBezTo>
                      <a:pt x="241" y="245"/>
                      <a:pt x="243" y="240"/>
                      <a:pt x="241" y="241"/>
                    </a:cubicBezTo>
                    <a:cubicBezTo>
                      <a:pt x="240" y="242"/>
                      <a:pt x="239" y="242"/>
                      <a:pt x="238" y="243"/>
                    </a:cubicBezTo>
                    <a:cubicBezTo>
                      <a:pt x="239" y="241"/>
                      <a:pt x="242" y="241"/>
                      <a:pt x="240" y="240"/>
                    </a:cubicBezTo>
                    <a:cubicBezTo>
                      <a:pt x="239" y="240"/>
                      <a:pt x="242" y="236"/>
                      <a:pt x="237" y="235"/>
                    </a:cubicBezTo>
                    <a:cubicBezTo>
                      <a:pt x="240" y="235"/>
                      <a:pt x="239" y="235"/>
                      <a:pt x="240" y="233"/>
                    </a:cubicBezTo>
                    <a:cubicBezTo>
                      <a:pt x="240" y="231"/>
                      <a:pt x="237" y="233"/>
                      <a:pt x="236" y="231"/>
                    </a:cubicBezTo>
                    <a:cubicBezTo>
                      <a:pt x="238" y="231"/>
                      <a:pt x="238" y="232"/>
                      <a:pt x="239" y="231"/>
                    </a:cubicBezTo>
                    <a:cubicBezTo>
                      <a:pt x="240" y="230"/>
                      <a:pt x="240" y="232"/>
                      <a:pt x="241" y="230"/>
                    </a:cubicBezTo>
                    <a:cubicBezTo>
                      <a:pt x="242" y="229"/>
                      <a:pt x="239" y="230"/>
                      <a:pt x="242" y="228"/>
                    </a:cubicBezTo>
                    <a:cubicBezTo>
                      <a:pt x="245" y="226"/>
                      <a:pt x="241" y="227"/>
                      <a:pt x="240" y="226"/>
                    </a:cubicBezTo>
                    <a:cubicBezTo>
                      <a:pt x="239" y="225"/>
                      <a:pt x="232" y="227"/>
                      <a:pt x="232" y="226"/>
                    </a:cubicBezTo>
                    <a:cubicBezTo>
                      <a:pt x="233" y="223"/>
                      <a:pt x="231" y="225"/>
                      <a:pt x="229" y="223"/>
                    </a:cubicBezTo>
                    <a:cubicBezTo>
                      <a:pt x="227" y="222"/>
                      <a:pt x="226" y="224"/>
                      <a:pt x="226" y="222"/>
                    </a:cubicBezTo>
                    <a:cubicBezTo>
                      <a:pt x="226" y="220"/>
                      <a:pt x="219" y="221"/>
                      <a:pt x="219" y="219"/>
                    </a:cubicBezTo>
                    <a:cubicBezTo>
                      <a:pt x="218" y="217"/>
                      <a:pt x="213" y="220"/>
                      <a:pt x="211" y="220"/>
                    </a:cubicBezTo>
                    <a:cubicBezTo>
                      <a:pt x="209" y="220"/>
                      <a:pt x="210" y="220"/>
                      <a:pt x="208" y="220"/>
                    </a:cubicBezTo>
                    <a:cubicBezTo>
                      <a:pt x="211" y="218"/>
                      <a:pt x="210" y="221"/>
                      <a:pt x="213" y="218"/>
                    </a:cubicBezTo>
                    <a:cubicBezTo>
                      <a:pt x="214" y="218"/>
                      <a:pt x="213" y="216"/>
                      <a:pt x="213" y="215"/>
                    </a:cubicBezTo>
                    <a:cubicBezTo>
                      <a:pt x="213" y="215"/>
                      <a:pt x="213" y="213"/>
                      <a:pt x="211" y="213"/>
                    </a:cubicBezTo>
                    <a:cubicBezTo>
                      <a:pt x="210" y="213"/>
                      <a:pt x="209" y="213"/>
                      <a:pt x="208" y="214"/>
                    </a:cubicBezTo>
                    <a:cubicBezTo>
                      <a:pt x="208" y="212"/>
                      <a:pt x="208" y="212"/>
                      <a:pt x="207" y="213"/>
                    </a:cubicBezTo>
                    <a:cubicBezTo>
                      <a:pt x="210" y="211"/>
                      <a:pt x="208" y="209"/>
                      <a:pt x="211" y="208"/>
                    </a:cubicBezTo>
                    <a:cubicBezTo>
                      <a:pt x="215" y="206"/>
                      <a:pt x="211" y="206"/>
                      <a:pt x="214" y="206"/>
                    </a:cubicBezTo>
                    <a:cubicBezTo>
                      <a:pt x="217" y="205"/>
                      <a:pt x="213" y="205"/>
                      <a:pt x="216" y="204"/>
                    </a:cubicBezTo>
                    <a:cubicBezTo>
                      <a:pt x="222" y="202"/>
                      <a:pt x="218" y="201"/>
                      <a:pt x="221" y="201"/>
                    </a:cubicBezTo>
                    <a:cubicBezTo>
                      <a:pt x="222" y="202"/>
                      <a:pt x="226" y="199"/>
                      <a:pt x="228" y="198"/>
                    </a:cubicBezTo>
                    <a:cubicBezTo>
                      <a:pt x="229" y="198"/>
                      <a:pt x="228" y="197"/>
                      <a:pt x="233" y="196"/>
                    </a:cubicBezTo>
                    <a:cubicBezTo>
                      <a:pt x="236" y="196"/>
                      <a:pt x="229" y="194"/>
                      <a:pt x="236" y="195"/>
                    </a:cubicBezTo>
                    <a:cubicBezTo>
                      <a:pt x="240" y="195"/>
                      <a:pt x="240" y="194"/>
                      <a:pt x="240" y="193"/>
                    </a:cubicBezTo>
                    <a:cubicBezTo>
                      <a:pt x="239" y="192"/>
                      <a:pt x="238" y="191"/>
                      <a:pt x="234" y="193"/>
                    </a:cubicBezTo>
                    <a:cubicBezTo>
                      <a:pt x="236" y="192"/>
                      <a:pt x="236" y="192"/>
                      <a:pt x="232" y="192"/>
                    </a:cubicBezTo>
                    <a:cubicBezTo>
                      <a:pt x="240" y="191"/>
                      <a:pt x="240" y="192"/>
                      <a:pt x="242" y="192"/>
                    </a:cubicBezTo>
                    <a:cubicBezTo>
                      <a:pt x="244" y="191"/>
                      <a:pt x="245" y="192"/>
                      <a:pt x="245" y="190"/>
                    </a:cubicBezTo>
                    <a:cubicBezTo>
                      <a:pt x="247" y="192"/>
                      <a:pt x="248" y="191"/>
                      <a:pt x="250" y="191"/>
                    </a:cubicBezTo>
                    <a:cubicBezTo>
                      <a:pt x="253" y="191"/>
                      <a:pt x="254" y="189"/>
                      <a:pt x="258" y="188"/>
                    </a:cubicBezTo>
                    <a:cubicBezTo>
                      <a:pt x="261" y="186"/>
                      <a:pt x="258" y="187"/>
                      <a:pt x="255" y="186"/>
                    </a:cubicBezTo>
                    <a:cubicBezTo>
                      <a:pt x="252" y="186"/>
                      <a:pt x="254" y="184"/>
                      <a:pt x="250" y="184"/>
                    </a:cubicBezTo>
                    <a:cubicBezTo>
                      <a:pt x="255" y="183"/>
                      <a:pt x="252" y="186"/>
                      <a:pt x="256" y="186"/>
                    </a:cubicBezTo>
                    <a:cubicBezTo>
                      <a:pt x="260" y="186"/>
                      <a:pt x="258" y="186"/>
                      <a:pt x="263" y="184"/>
                    </a:cubicBezTo>
                    <a:cubicBezTo>
                      <a:pt x="272" y="182"/>
                      <a:pt x="262" y="182"/>
                      <a:pt x="266" y="181"/>
                    </a:cubicBezTo>
                    <a:cubicBezTo>
                      <a:pt x="272" y="179"/>
                      <a:pt x="268" y="183"/>
                      <a:pt x="272" y="182"/>
                    </a:cubicBezTo>
                    <a:cubicBezTo>
                      <a:pt x="274" y="181"/>
                      <a:pt x="275" y="183"/>
                      <a:pt x="274" y="180"/>
                    </a:cubicBezTo>
                    <a:cubicBezTo>
                      <a:pt x="273" y="180"/>
                      <a:pt x="273" y="179"/>
                      <a:pt x="273" y="179"/>
                    </a:cubicBezTo>
                    <a:cubicBezTo>
                      <a:pt x="274" y="179"/>
                      <a:pt x="275" y="182"/>
                      <a:pt x="277" y="181"/>
                    </a:cubicBezTo>
                    <a:cubicBezTo>
                      <a:pt x="279" y="180"/>
                      <a:pt x="279" y="181"/>
                      <a:pt x="281" y="180"/>
                    </a:cubicBezTo>
                    <a:cubicBezTo>
                      <a:pt x="284" y="179"/>
                      <a:pt x="284" y="181"/>
                      <a:pt x="288" y="179"/>
                    </a:cubicBezTo>
                    <a:cubicBezTo>
                      <a:pt x="292" y="176"/>
                      <a:pt x="288" y="177"/>
                      <a:pt x="290" y="175"/>
                    </a:cubicBezTo>
                    <a:cubicBezTo>
                      <a:pt x="290" y="174"/>
                      <a:pt x="289" y="173"/>
                      <a:pt x="291" y="173"/>
                    </a:cubicBezTo>
                    <a:cubicBezTo>
                      <a:pt x="293" y="174"/>
                      <a:pt x="292" y="173"/>
                      <a:pt x="294" y="172"/>
                    </a:cubicBezTo>
                    <a:cubicBezTo>
                      <a:pt x="295" y="172"/>
                      <a:pt x="293" y="171"/>
                      <a:pt x="291" y="170"/>
                    </a:cubicBezTo>
                    <a:cubicBezTo>
                      <a:pt x="290" y="169"/>
                      <a:pt x="288" y="170"/>
                      <a:pt x="285" y="169"/>
                    </a:cubicBezTo>
                    <a:cubicBezTo>
                      <a:pt x="282" y="168"/>
                      <a:pt x="278" y="171"/>
                      <a:pt x="281" y="172"/>
                    </a:cubicBezTo>
                    <a:cubicBezTo>
                      <a:pt x="279" y="172"/>
                      <a:pt x="279" y="172"/>
                      <a:pt x="277" y="174"/>
                    </a:cubicBezTo>
                    <a:cubicBezTo>
                      <a:pt x="276" y="175"/>
                      <a:pt x="273" y="174"/>
                      <a:pt x="268" y="178"/>
                    </a:cubicBezTo>
                    <a:cubicBezTo>
                      <a:pt x="269" y="176"/>
                      <a:pt x="267" y="176"/>
                      <a:pt x="269" y="174"/>
                    </a:cubicBezTo>
                    <a:cubicBezTo>
                      <a:pt x="271" y="173"/>
                      <a:pt x="268" y="170"/>
                      <a:pt x="266" y="172"/>
                    </a:cubicBezTo>
                    <a:cubicBezTo>
                      <a:pt x="265" y="174"/>
                      <a:pt x="263" y="173"/>
                      <a:pt x="261" y="174"/>
                    </a:cubicBezTo>
                    <a:cubicBezTo>
                      <a:pt x="264" y="171"/>
                      <a:pt x="262" y="171"/>
                      <a:pt x="260" y="171"/>
                    </a:cubicBezTo>
                    <a:cubicBezTo>
                      <a:pt x="264" y="169"/>
                      <a:pt x="259" y="169"/>
                      <a:pt x="261" y="168"/>
                    </a:cubicBezTo>
                    <a:cubicBezTo>
                      <a:pt x="263" y="167"/>
                      <a:pt x="262" y="169"/>
                      <a:pt x="264" y="168"/>
                    </a:cubicBezTo>
                    <a:cubicBezTo>
                      <a:pt x="266" y="167"/>
                      <a:pt x="262" y="167"/>
                      <a:pt x="263" y="165"/>
                    </a:cubicBezTo>
                    <a:cubicBezTo>
                      <a:pt x="264" y="164"/>
                      <a:pt x="261" y="162"/>
                      <a:pt x="258" y="163"/>
                    </a:cubicBezTo>
                    <a:cubicBezTo>
                      <a:pt x="253" y="165"/>
                      <a:pt x="258" y="164"/>
                      <a:pt x="256" y="165"/>
                    </a:cubicBezTo>
                    <a:cubicBezTo>
                      <a:pt x="254" y="166"/>
                      <a:pt x="255" y="164"/>
                      <a:pt x="254" y="166"/>
                    </a:cubicBezTo>
                    <a:cubicBezTo>
                      <a:pt x="252" y="167"/>
                      <a:pt x="250" y="167"/>
                      <a:pt x="250" y="168"/>
                    </a:cubicBezTo>
                    <a:cubicBezTo>
                      <a:pt x="251" y="170"/>
                      <a:pt x="244" y="169"/>
                      <a:pt x="246" y="172"/>
                    </a:cubicBezTo>
                    <a:cubicBezTo>
                      <a:pt x="249" y="174"/>
                      <a:pt x="248" y="172"/>
                      <a:pt x="250" y="173"/>
                    </a:cubicBezTo>
                    <a:cubicBezTo>
                      <a:pt x="251" y="174"/>
                      <a:pt x="255" y="171"/>
                      <a:pt x="256" y="172"/>
                    </a:cubicBezTo>
                    <a:cubicBezTo>
                      <a:pt x="257" y="172"/>
                      <a:pt x="253" y="174"/>
                      <a:pt x="252" y="174"/>
                    </a:cubicBezTo>
                    <a:cubicBezTo>
                      <a:pt x="251" y="173"/>
                      <a:pt x="248" y="175"/>
                      <a:pt x="249" y="175"/>
                    </a:cubicBezTo>
                    <a:cubicBezTo>
                      <a:pt x="250" y="176"/>
                      <a:pt x="250" y="174"/>
                      <a:pt x="251" y="175"/>
                    </a:cubicBezTo>
                    <a:cubicBezTo>
                      <a:pt x="252" y="175"/>
                      <a:pt x="250" y="176"/>
                      <a:pt x="247" y="176"/>
                    </a:cubicBezTo>
                    <a:cubicBezTo>
                      <a:pt x="243" y="177"/>
                      <a:pt x="243" y="175"/>
                      <a:pt x="241" y="176"/>
                    </a:cubicBezTo>
                    <a:cubicBezTo>
                      <a:pt x="239" y="178"/>
                      <a:pt x="241" y="178"/>
                      <a:pt x="237" y="179"/>
                    </a:cubicBezTo>
                    <a:cubicBezTo>
                      <a:pt x="240" y="177"/>
                      <a:pt x="238" y="178"/>
                      <a:pt x="239" y="176"/>
                    </a:cubicBezTo>
                    <a:cubicBezTo>
                      <a:pt x="241" y="175"/>
                      <a:pt x="239" y="176"/>
                      <a:pt x="238" y="175"/>
                    </a:cubicBezTo>
                    <a:cubicBezTo>
                      <a:pt x="236" y="173"/>
                      <a:pt x="238" y="176"/>
                      <a:pt x="234" y="175"/>
                    </a:cubicBezTo>
                    <a:cubicBezTo>
                      <a:pt x="235" y="178"/>
                      <a:pt x="237" y="176"/>
                      <a:pt x="237" y="177"/>
                    </a:cubicBezTo>
                    <a:cubicBezTo>
                      <a:pt x="237" y="179"/>
                      <a:pt x="236" y="178"/>
                      <a:pt x="235" y="177"/>
                    </a:cubicBezTo>
                    <a:cubicBezTo>
                      <a:pt x="233" y="175"/>
                      <a:pt x="234" y="177"/>
                      <a:pt x="232" y="177"/>
                    </a:cubicBezTo>
                    <a:cubicBezTo>
                      <a:pt x="229" y="177"/>
                      <a:pt x="230" y="179"/>
                      <a:pt x="228" y="177"/>
                    </a:cubicBezTo>
                    <a:cubicBezTo>
                      <a:pt x="226" y="176"/>
                      <a:pt x="223" y="177"/>
                      <a:pt x="221" y="178"/>
                    </a:cubicBezTo>
                    <a:cubicBezTo>
                      <a:pt x="213" y="184"/>
                      <a:pt x="206" y="190"/>
                      <a:pt x="199" y="197"/>
                    </a:cubicBezTo>
                    <a:cubicBezTo>
                      <a:pt x="194" y="203"/>
                      <a:pt x="189" y="208"/>
                      <a:pt x="184" y="214"/>
                    </a:cubicBezTo>
                    <a:cubicBezTo>
                      <a:pt x="178" y="221"/>
                      <a:pt x="173" y="227"/>
                      <a:pt x="168" y="234"/>
                    </a:cubicBezTo>
                    <a:cubicBezTo>
                      <a:pt x="163" y="240"/>
                      <a:pt x="158" y="247"/>
                      <a:pt x="153" y="254"/>
                    </a:cubicBezTo>
                    <a:cubicBezTo>
                      <a:pt x="148" y="260"/>
                      <a:pt x="144" y="267"/>
                      <a:pt x="139" y="274"/>
                    </a:cubicBezTo>
                    <a:cubicBezTo>
                      <a:pt x="111" y="323"/>
                      <a:pt x="93" y="378"/>
                      <a:pt x="88" y="437"/>
                    </a:cubicBezTo>
                    <a:cubicBezTo>
                      <a:pt x="89" y="437"/>
                      <a:pt x="90" y="437"/>
                      <a:pt x="90" y="438"/>
                    </a:cubicBezTo>
                    <a:cubicBezTo>
                      <a:pt x="91" y="439"/>
                      <a:pt x="94" y="440"/>
                      <a:pt x="95" y="439"/>
                    </a:cubicBezTo>
                    <a:cubicBezTo>
                      <a:pt x="99" y="442"/>
                      <a:pt x="98" y="439"/>
                      <a:pt x="101" y="439"/>
                    </a:cubicBezTo>
                    <a:cubicBezTo>
                      <a:pt x="104" y="439"/>
                      <a:pt x="102" y="438"/>
                      <a:pt x="105" y="438"/>
                    </a:cubicBezTo>
                    <a:cubicBezTo>
                      <a:pt x="107" y="438"/>
                      <a:pt x="104" y="438"/>
                      <a:pt x="105" y="437"/>
                    </a:cubicBezTo>
                    <a:cubicBezTo>
                      <a:pt x="106" y="436"/>
                      <a:pt x="106" y="437"/>
                      <a:pt x="107" y="437"/>
                    </a:cubicBezTo>
                    <a:cubicBezTo>
                      <a:pt x="108" y="436"/>
                      <a:pt x="108" y="438"/>
                      <a:pt x="107" y="438"/>
                    </a:cubicBezTo>
                    <a:cubicBezTo>
                      <a:pt x="108" y="439"/>
                      <a:pt x="109" y="437"/>
                      <a:pt x="113" y="441"/>
                    </a:cubicBezTo>
                    <a:cubicBezTo>
                      <a:pt x="117" y="444"/>
                      <a:pt x="116" y="445"/>
                      <a:pt x="117" y="446"/>
                    </a:cubicBezTo>
                    <a:cubicBezTo>
                      <a:pt x="120" y="451"/>
                      <a:pt x="121" y="450"/>
                      <a:pt x="126" y="451"/>
                    </a:cubicBezTo>
                    <a:cubicBezTo>
                      <a:pt x="128" y="452"/>
                      <a:pt x="126" y="452"/>
                      <a:pt x="129" y="452"/>
                    </a:cubicBezTo>
                    <a:cubicBezTo>
                      <a:pt x="133" y="453"/>
                      <a:pt x="132" y="455"/>
                      <a:pt x="138" y="453"/>
                    </a:cubicBezTo>
                    <a:cubicBezTo>
                      <a:pt x="140" y="452"/>
                      <a:pt x="139" y="454"/>
                      <a:pt x="140" y="454"/>
                    </a:cubicBezTo>
                    <a:cubicBezTo>
                      <a:pt x="141" y="454"/>
                      <a:pt x="141" y="455"/>
                      <a:pt x="141" y="455"/>
                    </a:cubicBezTo>
                    <a:cubicBezTo>
                      <a:pt x="140" y="454"/>
                      <a:pt x="138" y="454"/>
                      <a:pt x="140" y="456"/>
                    </a:cubicBezTo>
                    <a:cubicBezTo>
                      <a:pt x="142" y="458"/>
                      <a:pt x="141" y="463"/>
                      <a:pt x="144" y="464"/>
                    </a:cubicBezTo>
                    <a:cubicBezTo>
                      <a:pt x="147" y="466"/>
                      <a:pt x="145" y="466"/>
                      <a:pt x="147" y="468"/>
                    </a:cubicBezTo>
                    <a:cubicBezTo>
                      <a:pt x="147" y="469"/>
                      <a:pt x="146" y="469"/>
                      <a:pt x="145" y="469"/>
                    </a:cubicBezTo>
                    <a:cubicBezTo>
                      <a:pt x="144" y="469"/>
                      <a:pt x="147" y="469"/>
                      <a:pt x="147" y="470"/>
                    </a:cubicBezTo>
                    <a:cubicBezTo>
                      <a:pt x="146" y="471"/>
                      <a:pt x="147" y="472"/>
                      <a:pt x="147" y="472"/>
                    </a:cubicBezTo>
                    <a:cubicBezTo>
                      <a:pt x="146" y="474"/>
                      <a:pt x="146" y="474"/>
                      <a:pt x="148" y="475"/>
                    </a:cubicBezTo>
                    <a:cubicBezTo>
                      <a:pt x="151" y="476"/>
                      <a:pt x="150" y="475"/>
                      <a:pt x="150" y="474"/>
                    </a:cubicBezTo>
                    <a:cubicBezTo>
                      <a:pt x="149" y="474"/>
                      <a:pt x="148" y="473"/>
                      <a:pt x="150" y="474"/>
                    </a:cubicBezTo>
                    <a:cubicBezTo>
                      <a:pt x="153" y="475"/>
                      <a:pt x="150" y="475"/>
                      <a:pt x="152" y="476"/>
                    </a:cubicBezTo>
                    <a:cubicBezTo>
                      <a:pt x="154" y="477"/>
                      <a:pt x="154" y="478"/>
                      <a:pt x="157" y="479"/>
                    </a:cubicBezTo>
                    <a:cubicBezTo>
                      <a:pt x="156" y="480"/>
                      <a:pt x="157" y="481"/>
                      <a:pt x="157" y="481"/>
                    </a:cubicBezTo>
                    <a:cubicBezTo>
                      <a:pt x="156" y="482"/>
                      <a:pt x="156" y="482"/>
                      <a:pt x="157" y="482"/>
                    </a:cubicBezTo>
                    <a:cubicBezTo>
                      <a:pt x="158" y="483"/>
                      <a:pt x="159" y="483"/>
                      <a:pt x="158" y="482"/>
                    </a:cubicBezTo>
                    <a:cubicBezTo>
                      <a:pt x="157" y="481"/>
                      <a:pt x="158" y="481"/>
                      <a:pt x="159" y="482"/>
                    </a:cubicBezTo>
                    <a:cubicBezTo>
                      <a:pt x="160" y="482"/>
                      <a:pt x="158" y="483"/>
                      <a:pt x="159" y="483"/>
                    </a:cubicBezTo>
                    <a:cubicBezTo>
                      <a:pt x="160" y="483"/>
                      <a:pt x="160" y="484"/>
                      <a:pt x="160" y="485"/>
                    </a:cubicBezTo>
                    <a:cubicBezTo>
                      <a:pt x="160" y="485"/>
                      <a:pt x="161" y="485"/>
                      <a:pt x="161" y="484"/>
                    </a:cubicBezTo>
                    <a:cubicBezTo>
                      <a:pt x="161" y="483"/>
                      <a:pt x="162" y="484"/>
                      <a:pt x="162" y="483"/>
                    </a:cubicBezTo>
                    <a:cubicBezTo>
                      <a:pt x="163" y="483"/>
                      <a:pt x="162" y="484"/>
                      <a:pt x="164" y="484"/>
                    </a:cubicBezTo>
                    <a:cubicBezTo>
                      <a:pt x="166" y="484"/>
                      <a:pt x="166" y="485"/>
                      <a:pt x="167" y="486"/>
                    </a:cubicBezTo>
                    <a:cubicBezTo>
                      <a:pt x="168" y="487"/>
                      <a:pt x="168" y="488"/>
                      <a:pt x="169" y="488"/>
                    </a:cubicBezTo>
                    <a:cubicBezTo>
                      <a:pt x="170" y="488"/>
                      <a:pt x="169" y="487"/>
                      <a:pt x="170" y="486"/>
                    </a:cubicBezTo>
                    <a:cubicBezTo>
                      <a:pt x="169" y="487"/>
                      <a:pt x="170" y="488"/>
                      <a:pt x="171" y="489"/>
                    </a:cubicBezTo>
                    <a:cubicBezTo>
                      <a:pt x="171" y="490"/>
                      <a:pt x="173" y="490"/>
                      <a:pt x="174" y="489"/>
                    </a:cubicBezTo>
                    <a:cubicBezTo>
                      <a:pt x="175" y="487"/>
                      <a:pt x="173" y="488"/>
                      <a:pt x="174" y="487"/>
                    </a:cubicBezTo>
                    <a:cubicBezTo>
                      <a:pt x="174" y="486"/>
                      <a:pt x="172" y="486"/>
                      <a:pt x="173" y="485"/>
                    </a:cubicBezTo>
                    <a:cubicBezTo>
                      <a:pt x="176" y="482"/>
                      <a:pt x="177" y="482"/>
                      <a:pt x="177" y="482"/>
                    </a:cubicBezTo>
                    <a:cubicBezTo>
                      <a:pt x="176" y="481"/>
                      <a:pt x="177" y="481"/>
                      <a:pt x="179" y="481"/>
                    </a:cubicBezTo>
                    <a:cubicBezTo>
                      <a:pt x="183" y="480"/>
                      <a:pt x="181" y="483"/>
                      <a:pt x="183" y="482"/>
                    </a:cubicBezTo>
                    <a:cubicBezTo>
                      <a:pt x="185" y="482"/>
                      <a:pt x="184" y="483"/>
                      <a:pt x="184" y="484"/>
                    </a:cubicBezTo>
                    <a:cubicBezTo>
                      <a:pt x="186" y="483"/>
                      <a:pt x="186" y="483"/>
                      <a:pt x="187" y="482"/>
                    </a:cubicBezTo>
                    <a:cubicBezTo>
                      <a:pt x="187" y="484"/>
                      <a:pt x="187" y="484"/>
                      <a:pt x="186" y="484"/>
                    </a:cubicBezTo>
                    <a:cubicBezTo>
                      <a:pt x="186" y="484"/>
                      <a:pt x="185" y="484"/>
                      <a:pt x="185" y="485"/>
                    </a:cubicBezTo>
                    <a:cubicBezTo>
                      <a:pt x="183" y="486"/>
                      <a:pt x="185" y="487"/>
                      <a:pt x="184" y="488"/>
                    </a:cubicBezTo>
                    <a:cubicBezTo>
                      <a:pt x="184" y="490"/>
                      <a:pt x="185" y="489"/>
                      <a:pt x="185" y="490"/>
                    </a:cubicBezTo>
                    <a:cubicBezTo>
                      <a:pt x="185" y="491"/>
                      <a:pt x="185" y="490"/>
                      <a:pt x="185" y="491"/>
                    </a:cubicBezTo>
                    <a:cubicBezTo>
                      <a:pt x="185" y="492"/>
                      <a:pt x="186" y="491"/>
                      <a:pt x="187" y="493"/>
                    </a:cubicBezTo>
                    <a:cubicBezTo>
                      <a:pt x="187" y="493"/>
                      <a:pt x="188" y="492"/>
                      <a:pt x="188" y="495"/>
                    </a:cubicBezTo>
                    <a:cubicBezTo>
                      <a:pt x="188" y="496"/>
                      <a:pt x="187" y="494"/>
                      <a:pt x="188" y="497"/>
                    </a:cubicBezTo>
                    <a:cubicBezTo>
                      <a:pt x="189" y="499"/>
                      <a:pt x="187" y="499"/>
                      <a:pt x="187" y="500"/>
                    </a:cubicBezTo>
                    <a:cubicBezTo>
                      <a:pt x="186" y="501"/>
                      <a:pt x="187" y="499"/>
                      <a:pt x="188" y="502"/>
                    </a:cubicBezTo>
                    <a:cubicBezTo>
                      <a:pt x="188" y="504"/>
                      <a:pt x="189" y="507"/>
                      <a:pt x="188" y="508"/>
                    </a:cubicBezTo>
                    <a:cubicBezTo>
                      <a:pt x="188" y="509"/>
                      <a:pt x="187" y="510"/>
                      <a:pt x="189" y="511"/>
                    </a:cubicBezTo>
                    <a:cubicBezTo>
                      <a:pt x="190" y="512"/>
                      <a:pt x="189" y="511"/>
                      <a:pt x="190" y="511"/>
                    </a:cubicBezTo>
                    <a:cubicBezTo>
                      <a:pt x="191" y="511"/>
                      <a:pt x="189" y="511"/>
                      <a:pt x="191" y="512"/>
                    </a:cubicBezTo>
                    <a:cubicBezTo>
                      <a:pt x="189" y="513"/>
                      <a:pt x="186" y="517"/>
                      <a:pt x="186" y="517"/>
                    </a:cubicBezTo>
                    <a:cubicBezTo>
                      <a:pt x="187" y="519"/>
                      <a:pt x="183" y="518"/>
                      <a:pt x="181" y="520"/>
                    </a:cubicBezTo>
                    <a:cubicBezTo>
                      <a:pt x="180" y="522"/>
                      <a:pt x="183" y="522"/>
                      <a:pt x="182" y="524"/>
                    </a:cubicBezTo>
                    <a:cubicBezTo>
                      <a:pt x="182" y="525"/>
                      <a:pt x="181" y="523"/>
                      <a:pt x="179" y="526"/>
                    </a:cubicBezTo>
                    <a:cubicBezTo>
                      <a:pt x="177" y="528"/>
                      <a:pt x="180" y="526"/>
                      <a:pt x="179" y="527"/>
                    </a:cubicBezTo>
                    <a:cubicBezTo>
                      <a:pt x="178" y="529"/>
                      <a:pt x="177" y="528"/>
                      <a:pt x="176" y="529"/>
                    </a:cubicBezTo>
                    <a:cubicBezTo>
                      <a:pt x="175" y="531"/>
                      <a:pt x="174" y="529"/>
                      <a:pt x="173" y="531"/>
                    </a:cubicBezTo>
                    <a:cubicBezTo>
                      <a:pt x="173" y="532"/>
                      <a:pt x="175" y="530"/>
                      <a:pt x="174" y="533"/>
                    </a:cubicBezTo>
                    <a:cubicBezTo>
                      <a:pt x="172" y="535"/>
                      <a:pt x="175" y="533"/>
                      <a:pt x="173" y="537"/>
                    </a:cubicBezTo>
                    <a:cubicBezTo>
                      <a:pt x="171" y="540"/>
                      <a:pt x="169" y="543"/>
                      <a:pt x="171" y="543"/>
                    </a:cubicBezTo>
                    <a:cubicBezTo>
                      <a:pt x="172" y="543"/>
                      <a:pt x="170" y="544"/>
                      <a:pt x="172" y="544"/>
                    </a:cubicBezTo>
                    <a:cubicBezTo>
                      <a:pt x="170" y="544"/>
                      <a:pt x="172" y="545"/>
                      <a:pt x="171" y="546"/>
                    </a:cubicBezTo>
                    <a:cubicBezTo>
                      <a:pt x="169" y="547"/>
                      <a:pt x="172" y="547"/>
                      <a:pt x="171" y="548"/>
                    </a:cubicBezTo>
                    <a:cubicBezTo>
                      <a:pt x="171" y="548"/>
                      <a:pt x="173" y="548"/>
                      <a:pt x="172" y="549"/>
                    </a:cubicBezTo>
                    <a:cubicBezTo>
                      <a:pt x="170" y="550"/>
                      <a:pt x="172" y="549"/>
                      <a:pt x="172" y="550"/>
                    </a:cubicBezTo>
                    <a:cubicBezTo>
                      <a:pt x="173" y="552"/>
                      <a:pt x="173" y="551"/>
                      <a:pt x="173" y="550"/>
                    </a:cubicBezTo>
                    <a:cubicBezTo>
                      <a:pt x="173" y="549"/>
                      <a:pt x="175" y="548"/>
                      <a:pt x="175" y="549"/>
                    </a:cubicBezTo>
                    <a:cubicBezTo>
                      <a:pt x="175" y="550"/>
                      <a:pt x="177" y="550"/>
                      <a:pt x="175" y="552"/>
                    </a:cubicBezTo>
                    <a:cubicBezTo>
                      <a:pt x="173" y="555"/>
                      <a:pt x="173" y="557"/>
                      <a:pt x="172" y="556"/>
                    </a:cubicBezTo>
                    <a:cubicBezTo>
                      <a:pt x="171" y="556"/>
                      <a:pt x="168" y="559"/>
                      <a:pt x="169" y="559"/>
                    </a:cubicBezTo>
                    <a:cubicBezTo>
                      <a:pt x="170" y="560"/>
                      <a:pt x="168" y="560"/>
                      <a:pt x="169" y="562"/>
                    </a:cubicBezTo>
                    <a:cubicBezTo>
                      <a:pt x="169" y="563"/>
                      <a:pt x="166" y="561"/>
                      <a:pt x="169" y="565"/>
                    </a:cubicBezTo>
                    <a:cubicBezTo>
                      <a:pt x="172" y="568"/>
                      <a:pt x="169" y="567"/>
                      <a:pt x="171" y="569"/>
                    </a:cubicBezTo>
                    <a:cubicBezTo>
                      <a:pt x="171" y="569"/>
                      <a:pt x="170" y="571"/>
                      <a:pt x="172" y="574"/>
                    </a:cubicBezTo>
                    <a:cubicBezTo>
                      <a:pt x="177" y="578"/>
                      <a:pt x="177" y="577"/>
                      <a:pt x="178" y="579"/>
                    </a:cubicBezTo>
                    <a:cubicBezTo>
                      <a:pt x="179" y="581"/>
                      <a:pt x="181" y="582"/>
                      <a:pt x="182" y="584"/>
                    </a:cubicBezTo>
                    <a:cubicBezTo>
                      <a:pt x="182" y="585"/>
                      <a:pt x="183" y="583"/>
                      <a:pt x="185" y="588"/>
                    </a:cubicBezTo>
                    <a:cubicBezTo>
                      <a:pt x="186" y="593"/>
                      <a:pt x="189" y="597"/>
                      <a:pt x="191" y="601"/>
                    </a:cubicBezTo>
                    <a:cubicBezTo>
                      <a:pt x="192" y="605"/>
                      <a:pt x="194" y="605"/>
                      <a:pt x="194" y="608"/>
                    </a:cubicBezTo>
                    <a:cubicBezTo>
                      <a:pt x="195" y="611"/>
                      <a:pt x="197" y="610"/>
                      <a:pt x="196" y="612"/>
                    </a:cubicBezTo>
                    <a:cubicBezTo>
                      <a:pt x="195" y="614"/>
                      <a:pt x="199" y="617"/>
                      <a:pt x="199" y="619"/>
                    </a:cubicBezTo>
                    <a:cubicBezTo>
                      <a:pt x="199" y="620"/>
                      <a:pt x="196" y="617"/>
                      <a:pt x="197" y="619"/>
                    </a:cubicBezTo>
                    <a:cubicBezTo>
                      <a:pt x="198" y="621"/>
                      <a:pt x="201" y="622"/>
                      <a:pt x="203" y="624"/>
                    </a:cubicBezTo>
                    <a:cubicBezTo>
                      <a:pt x="204" y="627"/>
                      <a:pt x="206" y="627"/>
                      <a:pt x="208" y="629"/>
                    </a:cubicBezTo>
                    <a:cubicBezTo>
                      <a:pt x="210" y="632"/>
                      <a:pt x="213" y="631"/>
                      <a:pt x="217" y="634"/>
                    </a:cubicBezTo>
                    <a:cubicBezTo>
                      <a:pt x="218" y="635"/>
                      <a:pt x="227" y="638"/>
                      <a:pt x="228" y="641"/>
                    </a:cubicBezTo>
                    <a:cubicBezTo>
                      <a:pt x="229" y="643"/>
                      <a:pt x="231" y="644"/>
                      <a:pt x="233" y="646"/>
                    </a:cubicBezTo>
                    <a:cubicBezTo>
                      <a:pt x="234" y="646"/>
                      <a:pt x="233" y="646"/>
                      <a:pt x="235" y="649"/>
                    </a:cubicBezTo>
                    <a:cubicBezTo>
                      <a:pt x="236" y="651"/>
                      <a:pt x="234" y="650"/>
                      <a:pt x="236" y="653"/>
                    </a:cubicBezTo>
                    <a:cubicBezTo>
                      <a:pt x="237" y="654"/>
                      <a:pt x="237" y="656"/>
                      <a:pt x="238" y="659"/>
                    </a:cubicBezTo>
                    <a:cubicBezTo>
                      <a:pt x="239" y="661"/>
                      <a:pt x="236" y="658"/>
                      <a:pt x="238" y="661"/>
                    </a:cubicBezTo>
                    <a:cubicBezTo>
                      <a:pt x="239" y="665"/>
                      <a:pt x="240" y="663"/>
                      <a:pt x="239" y="667"/>
                    </a:cubicBezTo>
                    <a:cubicBezTo>
                      <a:pt x="238" y="670"/>
                      <a:pt x="240" y="666"/>
                      <a:pt x="240" y="670"/>
                    </a:cubicBezTo>
                    <a:cubicBezTo>
                      <a:pt x="240" y="676"/>
                      <a:pt x="237" y="673"/>
                      <a:pt x="239" y="675"/>
                    </a:cubicBezTo>
                    <a:cubicBezTo>
                      <a:pt x="241" y="678"/>
                      <a:pt x="240" y="678"/>
                      <a:pt x="241" y="681"/>
                    </a:cubicBezTo>
                    <a:cubicBezTo>
                      <a:pt x="243" y="684"/>
                      <a:pt x="240" y="683"/>
                      <a:pt x="242" y="685"/>
                    </a:cubicBezTo>
                    <a:cubicBezTo>
                      <a:pt x="243" y="686"/>
                      <a:pt x="242" y="686"/>
                      <a:pt x="242" y="691"/>
                    </a:cubicBezTo>
                    <a:cubicBezTo>
                      <a:pt x="242" y="694"/>
                      <a:pt x="242" y="697"/>
                      <a:pt x="242" y="702"/>
                    </a:cubicBezTo>
                    <a:cubicBezTo>
                      <a:pt x="241" y="710"/>
                      <a:pt x="244" y="706"/>
                      <a:pt x="244" y="709"/>
                    </a:cubicBezTo>
                    <a:cubicBezTo>
                      <a:pt x="244" y="711"/>
                      <a:pt x="245" y="709"/>
                      <a:pt x="245" y="711"/>
                    </a:cubicBezTo>
                    <a:cubicBezTo>
                      <a:pt x="245" y="712"/>
                      <a:pt x="244" y="710"/>
                      <a:pt x="244" y="711"/>
                    </a:cubicBezTo>
                    <a:cubicBezTo>
                      <a:pt x="243" y="712"/>
                      <a:pt x="244" y="712"/>
                      <a:pt x="244" y="712"/>
                    </a:cubicBezTo>
                    <a:cubicBezTo>
                      <a:pt x="244" y="713"/>
                      <a:pt x="242" y="711"/>
                      <a:pt x="243" y="712"/>
                    </a:cubicBezTo>
                    <a:cubicBezTo>
                      <a:pt x="243" y="714"/>
                      <a:pt x="244" y="720"/>
                      <a:pt x="247" y="725"/>
                    </a:cubicBezTo>
                    <a:cubicBezTo>
                      <a:pt x="249" y="729"/>
                      <a:pt x="248" y="729"/>
                      <a:pt x="250" y="732"/>
                    </a:cubicBezTo>
                    <a:cubicBezTo>
                      <a:pt x="251" y="735"/>
                      <a:pt x="249" y="735"/>
                      <a:pt x="250" y="739"/>
                    </a:cubicBezTo>
                    <a:cubicBezTo>
                      <a:pt x="251" y="743"/>
                      <a:pt x="247" y="740"/>
                      <a:pt x="249" y="743"/>
                    </a:cubicBezTo>
                    <a:cubicBezTo>
                      <a:pt x="250" y="746"/>
                      <a:pt x="248" y="744"/>
                      <a:pt x="249" y="747"/>
                    </a:cubicBezTo>
                    <a:cubicBezTo>
                      <a:pt x="250" y="748"/>
                      <a:pt x="248" y="747"/>
                      <a:pt x="249" y="750"/>
                    </a:cubicBezTo>
                    <a:cubicBezTo>
                      <a:pt x="251" y="753"/>
                      <a:pt x="248" y="752"/>
                      <a:pt x="248" y="751"/>
                    </a:cubicBezTo>
                    <a:cubicBezTo>
                      <a:pt x="248" y="750"/>
                      <a:pt x="248" y="749"/>
                      <a:pt x="247" y="751"/>
                    </a:cubicBezTo>
                    <a:cubicBezTo>
                      <a:pt x="247" y="752"/>
                      <a:pt x="247" y="753"/>
                      <a:pt x="249" y="755"/>
                    </a:cubicBezTo>
                    <a:cubicBezTo>
                      <a:pt x="252" y="757"/>
                      <a:pt x="250" y="757"/>
                      <a:pt x="251" y="757"/>
                    </a:cubicBezTo>
                    <a:cubicBezTo>
                      <a:pt x="252" y="758"/>
                      <a:pt x="251" y="760"/>
                      <a:pt x="253" y="762"/>
                    </a:cubicBezTo>
                    <a:cubicBezTo>
                      <a:pt x="257" y="768"/>
                      <a:pt x="251" y="766"/>
                      <a:pt x="254" y="769"/>
                    </a:cubicBezTo>
                    <a:cubicBezTo>
                      <a:pt x="256" y="772"/>
                      <a:pt x="254" y="773"/>
                      <a:pt x="256" y="776"/>
                    </a:cubicBezTo>
                    <a:cubicBezTo>
                      <a:pt x="256" y="776"/>
                      <a:pt x="256" y="774"/>
                      <a:pt x="257" y="776"/>
                    </a:cubicBezTo>
                    <a:cubicBezTo>
                      <a:pt x="258" y="776"/>
                      <a:pt x="258" y="774"/>
                      <a:pt x="259" y="776"/>
                    </a:cubicBezTo>
                    <a:cubicBezTo>
                      <a:pt x="261" y="777"/>
                      <a:pt x="260" y="777"/>
                      <a:pt x="261" y="779"/>
                    </a:cubicBezTo>
                    <a:cubicBezTo>
                      <a:pt x="263" y="780"/>
                      <a:pt x="260" y="780"/>
                      <a:pt x="262" y="782"/>
                    </a:cubicBezTo>
                    <a:cubicBezTo>
                      <a:pt x="262" y="782"/>
                      <a:pt x="262" y="782"/>
                      <a:pt x="262" y="782"/>
                    </a:cubicBezTo>
                    <a:cubicBezTo>
                      <a:pt x="269" y="786"/>
                      <a:pt x="275" y="791"/>
                      <a:pt x="281" y="795"/>
                    </a:cubicBezTo>
                    <a:cubicBezTo>
                      <a:pt x="288" y="799"/>
                      <a:pt x="294" y="803"/>
                      <a:pt x="301" y="807"/>
                    </a:cubicBezTo>
                    <a:cubicBezTo>
                      <a:pt x="301" y="807"/>
                      <a:pt x="302" y="807"/>
                      <a:pt x="301" y="805"/>
                    </a:cubicBezTo>
                    <a:cubicBezTo>
                      <a:pt x="298" y="801"/>
                      <a:pt x="298" y="806"/>
                      <a:pt x="295" y="802"/>
                    </a:cubicBezTo>
                    <a:cubicBezTo>
                      <a:pt x="293" y="800"/>
                      <a:pt x="291" y="801"/>
                      <a:pt x="292" y="797"/>
                    </a:cubicBezTo>
                    <a:cubicBezTo>
                      <a:pt x="292" y="795"/>
                      <a:pt x="294" y="795"/>
                      <a:pt x="294" y="794"/>
                    </a:cubicBezTo>
                    <a:cubicBezTo>
                      <a:pt x="295" y="793"/>
                      <a:pt x="299" y="794"/>
                      <a:pt x="298" y="792"/>
                    </a:cubicBezTo>
                    <a:cubicBezTo>
                      <a:pt x="296" y="790"/>
                      <a:pt x="300" y="791"/>
                      <a:pt x="298" y="788"/>
                    </a:cubicBezTo>
                    <a:cubicBezTo>
                      <a:pt x="297" y="786"/>
                      <a:pt x="299" y="787"/>
                      <a:pt x="298" y="785"/>
                    </a:cubicBezTo>
                    <a:cubicBezTo>
                      <a:pt x="297" y="783"/>
                      <a:pt x="300" y="784"/>
                      <a:pt x="300" y="783"/>
                    </a:cubicBezTo>
                    <a:cubicBezTo>
                      <a:pt x="299" y="783"/>
                      <a:pt x="296" y="782"/>
                      <a:pt x="296" y="782"/>
                    </a:cubicBezTo>
                    <a:cubicBezTo>
                      <a:pt x="296" y="782"/>
                      <a:pt x="300" y="781"/>
                      <a:pt x="300" y="782"/>
                    </a:cubicBezTo>
                    <a:cubicBezTo>
                      <a:pt x="300" y="783"/>
                      <a:pt x="302" y="782"/>
                      <a:pt x="301" y="781"/>
                    </a:cubicBezTo>
                    <a:cubicBezTo>
                      <a:pt x="301" y="780"/>
                      <a:pt x="303" y="779"/>
                      <a:pt x="300" y="779"/>
                    </a:cubicBezTo>
                    <a:cubicBezTo>
                      <a:pt x="297" y="779"/>
                      <a:pt x="301" y="779"/>
                      <a:pt x="299" y="780"/>
                    </a:cubicBezTo>
                    <a:cubicBezTo>
                      <a:pt x="298" y="781"/>
                      <a:pt x="297" y="780"/>
                      <a:pt x="297" y="780"/>
                    </a:cubicBezTo>
                    <a:cubicBezTo>
                      <a:pt x="292" y="780"/>
                      <a:pt x="298" y="777"/>
                      <a:pt x="293" y="774"/>
                    </a:cubicBezTo>
                    <a:cubicBezTo>
                      <a:pt x="290" y="772"/>
                      <a:pt x="295" y="771"/>
                      <a:pt x="294" y="772"/>
                    </a:cubicBezTo>
                    <a:cubicBezTo>
                      <a:pt x="293" y="773"/>
                      <a:pt x="295" y="772"/>
                      <a:pt x="298" y="774"/>
                    </a:cubicBezTo>
                    <a:cubicBezTo>
                      <a:pt x="300" y="775"/>
                      <a:pt x="306" y="772"/>
                      <a:pt x="304" y="771"/>
                    </a:cubicBezTo>
                    <a:cubicBezTo>
                      <a:pt x="303" y="770"/>
                      <a:pt x="303" y="767"/>
                      <a:pt x="304" y="767"/>
                    </a:cubicBezTo>
                    <a:cubicBezTo>
                      <a:pt x="305" y="767"/>
                      <a:pt x="306" y="766"/>
                      <a:pt x="304" y="765"/>
                    </a:cubicBezTo>
                    <a:cubicBezTo>
                      <a:pt x="303" y="765"/>
                      <a:pt x="304" y="763"/>
                      <a:pt x="303" y="763"/>
                    </a:cubicBezTo>
                    <a:cubicBezTo>
                      <a:pt x="301" y="763"/>
                      <a:pt x="302" y="761"/>
                      <a:pt x="303" y="761"/>
                    </a:cubicBezTo>
                    <a:cubicBezTo>
                      <a:pt x="304" y="760"/>
                      <a:pt x="303" y="762"/>
                      <a:pt x="305" y="762"/>
                    </a:cubicBezTo>
                    <a:cubicBezTo>
                      <a:pt x="305" y="762"/>
                      <a:pt x="309" y="764"/>
                      <a:pt x="316" y="760"/>
                    </a:cubicBezTo>
                    <a:cubicBezTo>
                      <a:pt x="319" y="759"/>
                      <a:pt x="321" y="760"/>
                      <a:pt x="323" y="754"/>
                    </a:cubicBezTo>
                    <a:cubicBezTo>
                      <a:pt x="324" y="752"/>
                      <a:pt x="325" y="753"/>
                      <a:pt x="324" y="749"/>
                    </a:cubicBezTo>
                    <a:cubicBezTo>
                      <a:pt x="324" y="748"/>
                      <a:pt x="320" y="750"/>
                      <a:pt x="320" y="744"/>
                    </a:cubicBezTo>
                    <a:cubicBezTo>
                      <a:pt x="320" y="740"/>
                      <a:pt x="308" y="738"/>
                      <a:pt x="310" y="737"/>
                    </a:cubicBezTo>
                    <a:cubicBezTo>
                      <a:pt x="313" y="736"/>
                      <a:pt x="308" y="736"/>
                      <a:pt x="310" y="731"/>
                    </a:cubicBezTo>
                    <a:cubicBezTo>
                      <a:pt x="311" y="739"/>
                      <a:pt x="316" y="736"/>
                      <a:pt x="318" y="738"/>
                    </a:cubicBezTo>
                    <a:cubicBezTo>
                      <a:pt x="319" y="739"/>
                      <a:pt x="320" y="737"/>
                      <a:pt x="323" y="739"/>
                    </a:cubicBezTo>
                    <a:cubicBezTo>
                      <a:pt x="325" y="741"/>
                      <a:pt x="331" y="740"/>
                      <a:pt x="333" y="736"/>
                    </a:cubicBezTo>
                    <a:cubicBezTo>
                      <a:pt x="342" y="730"/>
                      <a:pt x="335" y="730"/>
                      <a:pt x="340" y="727"/>
                    </a:cubicBezTo>
                    <a:cubicBezTo>
                      <a:pt x="344" y="724"/>
                      <a:pt x="341" y="721"/>
                      <a:pt x="343" y="717"/>
                    </a:cubicBezTo>
                    <a:cubicBezTo>
                      <a:pt x="346" y="714"/>
                      <a:pt x="341" y="713"/>
                      <a:pt x="347" y="709"/>
                    </a:cubicBezTo>
                    <a:cubicBezTo>
                      <a:pt x="347" y="709"/>
                      <a:pt x="347" y="709"/>
                      <a:pt x="347" y="709"/>
                    </a:cubicBezTo>
                    <a:cubicBezTo>
                      <a:pt x="330" y="708"/>
                      <a:pt x="330" y="708"/>
                      <a:pt x="330" y="708"/>
                    </a:cubicBezTo>
                    <a:cubicBezTo>
                      <a:pt x="326" y="707"/>
                      <a:pt x="323" y="706"/>
                      <a:pt x="321" y="703"/>
                    </a:cubicBezTo>
                    <a:close/>
                    <a:moveTo>
                      <a:pt x="246" y="424"/>
                    </a:moveTo>
                    <a:cubicBezTo>
                      <a:pt x="247" y="424"/>
                      <a:pt x="247" y="424"/>
                      <a:pt x="248" y="424"/>
                    </a:cubicBezTo>
                    <a:cubicBezTo>
                      <a:pt x="248" y="424"/>
                      <a:pt x="250" y="424"/>
                      <a:pt x="250" y="424"/>
                    </a:cubicBezTo>
                    <a:cubicBezTo>
                      <a:pt x="251" y="424"/>
                      <a:pt x="251" y="424"/>
                      <a:pt x="252" y="424"/>
                    </a:cubicBezTo>
                    <a:cubicBezTo>
                      <a:pt x="253" y="423"/>
                      <a:pt x="252" y="423"/>
                      <a:pt x="253" y="423"/>
                    </a:cubicBezTo>
                    <a:cubicBezTo>
                      <a:pt x="255" y="423"/>
                      <a:pt x="254" y="422"/>
                      <a:pt x="253" y="422"/>
                    </a:cubicBezTo>
                    <a:cubicBezTo>
                      <a:pt x="253" y="421"/>
                      <a:pt x="252" y="422"/>
                      <a:pt x="251" y="422"/>
                    </a:cubicBezTo>
                    <a:cubicBezTo>
                      <a:pt x="250" y="422"/>
                      <a:pt x="250" y="421"/>
                      <a:pt x="247" y="421"/>
                    </a:cubicBezTo>
                    <a:cubicBezTo>
                      <a:pt x="246" y="421"/>
                      <a:pt x="247" y="422"/>
                      <a:pt x="246" y="422"/>
                    </a:cubicBezTo>
                    <a:cubicBezTo>
                      <a:pt x="245" y="422"/>
                      <a:pt x="246" y="422"/>
                      <a:pt x="246" y="423"/>
                    </a:cubicBezTo>
                    <a:cubicBezTo>
                      <a:pt x="246" y="423"/>
                      <a:pt x="245" y="424"/>
                      <a:pt x="246" y="424"/>
                    </a:cubicBezTo>
                    <a:close/>
                    <a:moveTo>
                      <a:pt x="196" y="425"/>
                    </a:moveTo>
                    <a:cubicBezTo>
                      <a:pt x="196" y="426"/>
                      <a:pt x="197" y="425"/>
                      <a:pt x="197" y="425"/>
                    </a:cubicBezTo>
                    <a:cubicBezTo>
                      <a:pt x="196" y="424"/>
                      <a:pt x="197" y="424"/>
                      <a:pt x="197" y="425"/>
                    </a:cubicBezTo>
                    <a:cubicBezTo>
                      <a:pt x="198" y="425"/>
                      <a:pt x="199" y="425"/>
                      <a:pt x="200" y="425"/>
                    </a:cubicBezTo>
                    <a:cubicBezTo>
                      <a:pt x="200" y="425"/>
                      <a:pt x="201" y="424"/>
                      <a:pt x="201" y="424"/>
                    </a:cubicBezTo>
                    <a:cubicBezTo>
                      <a:pt x="201" y="424"/>
                      <a:pt x="200" y="423"/>
                      <a:pt x="199" y="423"/>
                    </a:cubicBezTo>
                    <a:cubicBezTo>
                      <a:pt x="198" y="423"/>
                      <a:pt x="198" y="422"/>
                      <a:pt x="197" y="421"/>
                    </a:cubicBezTo>
                    <a:cubicBezTo>
                      <a:pt x="197" y="421"/>
                      <a:pt x="196" y="421"/>
                      <a:pt x="194" y="421"/>
                    </a:cubicBezTo>
                    <a:cubicBezTo>
                      <a:pt x="193" y="421"/>
                      <a:pt x="193" y="421"/>
                      <a:pt x="192" y="421"/>
                    </a:cubicBezTo>
                    <a:cubicBezTo>
                      <a:pt x="192" y="421"/>
                      <a:pt x="192" y="420"/>
                      <a:pt x="190" y="421"/>
                    </a:cubicBezTo>
                    <a:cubicBezTo>
                      <a:pt x="189" y="422"/>
                      <a:pt x="190" y="422"/>
                      <a:pt x="191" y="422"/>
                    </a:cubicBezTo>
                    <a:cubicBezTo>
                      <a:pt x="192" y="422"/>
                      <a:pt x="191" y="423"/>
                      <a:pt x="192" y="423"/>
                    </a:cubicBezTo>
                    <a:cubicBezTo>
                      <a:pt x="192" y="424"/>
                      <a:pt x="192" y="425"/>
                      <a:pt x="193" y="425"/>
                    </a:cubicBezTo>
                    <a:cubicBezTo>
                      <a:pt x="194" y="425"/>
                      <a:pt x="194" y="425"/>
                      <a:pt x="195" y="426"/>
                    </a:cubicBezTo>
                    <a:cubicBezTo>
                      <a:pt x="195" y="426"/>
                      <a:pt x="195" y="426"/>
                      <a:pt x="195" y="425"/>
                    </a:cubicBezTo>
                    <a:cubicBezTo>
                      <a:pt x="195" y="425"/>
                      <a:pt x="195" y="425"/>
                      <a:pt x="196" y="425"/>
                    </a:cubicBezTo>
                    <a:close/>
                    <a:moveTo>
                      <a:pt x="205" y="413"/>
                    </a:moveTo>
                    <a:cubicBezTo>
                      <a:pt x="206" y="413"/>
                      <a:pt x="207" y="413"/>
                      <a:pt x="208" y="413"/>
                    </a:cubicBezTo>
                    <a:cubicBezTo>
                      <a:pt x="208" y="412"/>
                      <a:pt x="208" y="413"/>
                      <a:pt x="209" y="413"/>
                    </a:cubicBezTo>
                    <a:cubicBezTo>
                      <a:pt x="210" y="412"/>
                      <a:pt x="210" y="412"/>
                      <a:pt x="211" y="412"/>
                    </a:cubicBezTo>
                    <a:cubicBezTo>
                      <a:pt x="212" y="412"/>
                      <a:pt x="213" y="412"/>
                      <a:pt x="214" y="411"/>
                    </a:cubicBezTo>
                    <a:cubicBezTo>
                      <a:pt x="214" y="411"/>
                      <a:pt x="214" y="411"/>
                      <a:pt x="214" y="410"/>
                    </a:cubicBezTo>
                    <a:cubicBezTo>
                      <a:pt x="214" y="410"/>
                      <a:pt x="213" y="410"/>
                      <a:pt x="212" y="410"/>
                    </a:cubicBezTo>
                    <a:cubicBezTo>
                      <a:pt x="212" y="409"/>
                      <a:pt x="212" y="409"/>
                      <a:pt x="211" y="409"/>
                    </a:cubicBezTo>
                    <a:cubicBezTo>
                      <a:pt x="211" y="409"/>
                      <a:pt x="210" y="409"/>
                      <a:pt x="210" y="408"/>
                    </a:cubicBezTo>
                    <a:cubicBezTo>
                      <a:pt x="209" y="408"/>
                      <a:pt x="209" y="409"/>
                      <a:pt x="208" y="408"/>
                    </a:cubicBezTo>
                    <a:cubicBezTo>
                      <a:pt x="208" y="408"/>
                      <a:pt x="207" y="409"/>
                      <a:pt x="207" y="408"/>
                    </a:cubicBezTo>
                    <a:cubicBezTo>
                      <a:pt x="207" y="408"/>
                      <a:pt x="205" y="408"/>
                      <a:pt x="206" y="408"/>
                    </a:cubicBezTo>
                    <a:cubicBezTo>
                      <a:pt x="207" y="408"/>
                      <a:pt x="208" y="407"/>
                      <a:pt x="207" y="407"/>
                    </a:cubicBezTo>
                    <a:cubicBezTo>
                      <a:pt x="207" y="406"/>
                      <a:pt x="208" y="406"/>
                      <a:pt x="208" y="405"/>
                    </a:cubicBezTo>
                    <a:cubicBezTo>
                      <a:pt x="207" y="405"/>
                      <a:pt x="207" y="406"/>
                      <a:pt x="206" y="405"/>
                    </a:cubicBezTo>
                    <a:cubicBezTo>
                      <a:pt x="205" y="405"/>
                      <a:pt x="205" y="406"/>
                      <a:pt x="204" y="405"/>
                    </a:cubicBezTo>
                    <a:cubicBezTo>
                      <a:pt x="203" y="405"/>
                      <a:pt x="203" y="404"/>
                      <a:pt x="202" y="404"/>
                    </a:cubicBezTo>
                    <a:cubicBezTo>
                      <a:pt x="201" y="404"/>
                      <a:pt x="199" y="402"/>
                      <a:pt x="198" y="402"/>
                    </a:cubicBezTo>
                    <a:cubicBezTo>
                      <a:pt x="198" y="402"/>
                      <a:pt x="198" y="403"/>
                      <a:pt x="197" y="402"/>
                    </a:cubicBezTo>
                    <a:cubicBezTo>
                      <a:pt x="196" y="402"/>
                      <a:pt x="198" y="402"/>
                      <a:pt x="198" y="402"/>
                    </a:cubicBezTo>
                    <a:cubicBezTo>
                      <a:pt x="197" y="401"/>
                      <a:pt x="197" y="401"/>
                      <a:pt x="196" y="401"/>
                    </a:cubicBezTo>
                    <a:cubicBezTo>
                      <a:pt x="196" y="400"/>
                      <a:pt x="196" y="401"/>
                      <a:pt x="196" y="401"/>
                    </a:cubicBezTo>
                    <a:cubicBezTo>
                      <a:pt x="195" y="401"/>
                      <a:pt x="195" y="401"/>
                      <a:pt x="194" y="401"/>
                    </a:cubicBezTo>
                    <a:cubicBezTo>
                      <a:pt x="191" y="399"/>
                      <a:pt x="193" y="399"/>
                      <a:pt x="191" y="399"/>
                    </a:cubicBezTo>
                    <a:cubicBezTo>
                      <a:pt x="190" y="398"/>
                      <a:pt x="191" y="398"/>
                      <a:pt x="189" y="398"/>
                    </a:cubicBezTo>
                    <a:cubicBezTo>
                      <a:pt x="188" y="397"/>
                      <a:pt x="188" y="397"/>
                      <a:pt x="187" y="396"/>
                    </a:cubicBezTo>
                    <a:cubicBezTo>
                      <a:pt x="187" y="396"/>
                      <a:pt x="187" y="396"/>
                      <a:pt x="186" y="396"/>
                    </a:cubicBezTo>
                    <a:cubicBezTo>
                      <a:pt x="185" y="395"/>
                      <a:pt x="185" y="395"/>
                      <a:pt x="184" y="395"/>
                    </a:cubicBezTo>
                    <a:cubicBezTo>
                      <a:pt x="183" y="395"/>
                      <a:pt x="183" y="395"/>
                      <a:pt x="182" y="395"/>
                    </a:cubicBezTo>
                    <a:cubicBezTo>
                      <a:pt x="182" y="395"/>
                      <a:pt x="183" y="394"/>
                      <a:pt x="180" y="394"/>
                    </a:cubicBezTo>
                    <a:cubicBezTo>
                      <a:pt x="177" y="394"/>
                      <a:pt x="176" y="393"/>
                      <a:pt x="176" y="394"/>
                    </a:cubicBezTo>
                    <a:cubicBezTo>
                      <a:pt x="175" y="395"/>
                      <a:pt x="175" y="394"/>
                      <a:pt x="172" y="394"/>
                    </a:cubicBezTo>
                    <a:cubicBezTo>
                      <a:pt x="169" y="395"/>
                      <a:pt x="171" y="395"/>
                      <a:pt x="170" y="395"/>
                    </a:cubicBezTo>
                    <a:cubicBezTo>
                      <a:pt x="169" y="395"/>
                      <a:pt x="167" y="396"/>
                      <a:pt x="166" y="396"/>
                    </a:cubicBezTo>
                    <a:cubicBezTo>
                      <a:pt x="166" y="397"/>
                      <a:pt x="166" y="396"/>
                      <a:pt x="165" y="397"/>
                    </a:cubicBezTo>
                    <a:cubicBezTo>
                      <a:pt x="164" y="398"/>
                      <a:pt x="164" y="398"/>
                      <a:pt x="164" y="399"/>
                    </a:cubicBezTo>
                    <a:cubicBezTo>
                      <a:pt x="164" y="400"/>
                      <a:pt x="165" y="400"/>
                      <a:pt x="165" y="400"/>
                    </a:cubicBezTo>
                    <a:cubicBezTo>
                      <a:pt x="164" y="401"/>
                      <a:pt x="164" y="400"/>
                      <a:pt x="164" y="401"/>
                    </a:cubicBezTo>
                    <a:cubicBezTo>
                      <a:pt x="163" y="401"/>
                      <a:pt x="162" y="402"/>
                      <a:pt x="162" y="402"/>
                    </a:cubicBezTo>
                    <a:cubicBezTo>
                      <a:pt x="162" y="402"/>
                      <a:pt x="162" y="402"/>
                      <a:pt x="163" y="402"/>
                    </a:cubicBezTo>
                    <a:cubicBezTo>
                      <a:pt x="163" y="402"/>
                      <a:pt x="165" y="401"/>
                      <a:pt x="164" y="401"/>
                    </a:cubicBezTo>
                    <a:cubicBezTo>
                      <a:pt x="164" y="402"/>
                      <a:pt x="164" y="402"/>
                      <a:pt x="165" y="402"/>
                    </a:cubicBezTo>
                    <a:cubicBezTo>
                      <a:pt x="165" y="401"/>
                      <a:pt x="166" y="401"/>
                      <a:pt x="166" y="401"/>
                    </a:cubicBezTo>
                    <a:cubicBezTo>
                      <a:pt x="167" y="401"/>
                      <a:pt x="167" y="401"/>
                      <a:pt x="167" y="400"/>
                    </a:cubicBezTo>
                    <a:cubicBezTo>
                      <a:pt x="166" y="400"/>
                      <a:pt x="167" y="400"/>
                      <a:pt x="168" y="400"/>
                    </a:cubicBezTo>
                    <a:cubicBezTo>
                      <a:pt x="169" y="399"/>
                      <a:pt x="169" y="400"/>
                      <a:pt x="170" y="399"/>
                    </a:cubicBezTo>
                    <a:cubicBezTo>
                      <a:pt x="171" y="399"/>
                      <a:pt x="171" y="399"/>
                      <a:pt x="172" y="398"/>
                    </a:cubicBezTo>
                    <a:cubicBezTo>
                      <a:pt x="172" y="398"/>
                      <a:pt x="172" y="397"/>
                      <a:pt x="173" y="397"/>
                    </a:cubicBezTo>
                    <a:cubicBezTo>
                      <a:pt x="174" y="397"/>
                      <a:pt x="178" y="397"/>
                      <a:pt x="179" y="398"/>
                    </a:cubicBezTo>
                    <a:cubicBezTo>
                      <a:pt x="179" y="398"/>
                      <a:pt x="180" y="398"/>
                      <a:pt x="179" y="398"/>
                    </a:cubicBezTo>
                    <a:cubicBezTo>
                      <a:pt x="178" y="398"/>
                      <a:pt x="178" y="399"/>
                      <a:pt x="177" y="399"/>
                    </a:cubicBezTo>
                    <a:cubicBezTo>
                      <a:pt x="177" y="399"/>
                      <a:pt x="176" y="399"/>
                      <a:pt x="175" y="399"/>
                    </a:cubicBezTo>
                    <a:cubicBezTo>
                      <a:pt x="175" y="399"/>
                      <a:pt x="176" y="399"/>
                      <a:pt x="176" y="400"/>
                    </a:cubicBezTo>
                    <a:cubicBezTo>
                      <a:pt x="177" y="400"/>
                      <a:pt x="178" y="401"/>
                      <a:pt x="179" y="400"/>
                    </a:cubicBezTo>
                    <a:cubicBezTo>
                      <a:pt x="180" y="400"/>
                      <a:pt x="182" y="401"/>
                      <a:pt x="183" y="400"/>
                    </a:cubicBezTo>
                    <a:cubicBezTo>
                      <a:pt x="183" y="400"/>
                      <a:pt x="183" y="401"/>
                      <a:pt x="184" y="400"/>
                    </a:cubicBezTo>
                    <a:cubicBezTo>
                      <a:pt x="185" y="400"/>
                      <a:pt x="184" y="401"/>
                      <a:pt x="185" y="401"/>
                    </a:cubicBezTo>
                    <a:cubicBezTo>
                      <a:pt x="186" y="402"/>
                      <a:pt x="185" y="402"/>
                      <a:pt x="187" y="402"/>
                    </a:cubicBezTo>
                    <a:cubicBezTo>
                      <a:pt x="188" y="403"/>
                      <a:pt x="189" y="404"/>
                      <a:pt x="190" y="404"/>
                    </a:cubicBezTo>
                    <a:cubicBezTo>
                      <a:pt x="191" y="404"/>
                      <a:pt x="192" y="404"/>
                      <a:pt x="192" y="404"/>
                    </a:cubicBezTo>
                    <a:cubicBezTo>
                      <a:pt x="192" y="403"/>
                      <a:pt x="192" y="404"/>
                      <a:pt x="192" y="404"/>
                    </a:cubicBezTo>
                    <a:cubicBezTo>
                      <a:pt x="192" y="404"/>
                      <a:pt x="193" y="404"/>
                      <a:pt x="193" y="405"/>
                    </a:cubicBezTo>
                    <a:cubicBezTo>
                      <a:pt x="193" y="406"/>
                      <a:pt x="193" y="406"/>
                      <a:pt x="193" y="407"/>
                    </a:cubicBezTo>
                    <a:cubicBezTo>
                      <a:pt x="193" y="407"/>
                      <a:pt x="194" y="407"/>
                      <a:pt x="194" y="408"/>
                    </a:cubicBezTo>
                    <a:cubicBezTo>
                      <a:pt x="195" y="409"/>
                      <a:pt x="195" y="409"/>
                      <a:pt x="196" y="409"/>
                    </a:cubicBezTo>
                    <a:cubicBezTo>
                      <a:pt x="197" y="409"/>
                      <a:pt x="197" y="409"/>
                      <a:pt x="197" y="409"/>
                    </a:cubicBezTo>
                    <a:cubicBezTo>
                      <a:pt x="198" y="409"/>
                      <a:pt x="199" y="409"/>
                      <a:pt x="199" y="409"/>
                    </a:cubicBezTo>
                    <a:cubicBezTo>
                      <a:pt x="198" y="409"/>
                      <a:pt x="198" y="410"/>
                      <a:pt x="199" y="410"/>
                    </a:cubicBezTo>
                    <a:cubicBezTo>
                      <a:pt x="200" y="410"/>
                      <a:pt x="200" y="410"/>
                      <a:pt x="199" y="411"/>
                    </a:cubicBezTo>
                    <a:cubicBezTo>
                      <a:pt x="198" y="411"/>
                      <a:pt x="198" y="411"/>
                      <a:pt x="197" y="412"/>
                    </a:cubicBezTo>
                    <a:cubicBezTo>
                      <a:pt x="197" y="412"/>
                      <a:pt x="197" y="412"/>
                      <a:pt x="196" y="413"/>
                    </a:cubicBezTo>
                    <a:cubicBezTo>
                      <a:pt x="195" y="413"/>
                      <a:pt x="195" y="414"/>
                      <a:pt x="197" y="414"/>
                    </a:cubicBezTo>
                    <a:cubicBezTo>
                      <a:pt x="199" y="414"/>
                      <a:pt x="198" y="413"/>
                      <a:pt x="199" y="413"/>
                    </a:cubicBezTo>
                    <a:cubicBezTo>
                      <a:pt x="200" y="413"/>
                      <a:pt x="201" y="413"/>
                      <a:pt x="202" y="413"/>
                    </a:cubicBezTo>
                    <a:cubicBezTo>
                      <a:pt x="204" y="413"/>
                      <a:pt x="203" y="412"/>
                      <a:pt x="205" y="413"/>
                    </a:cubicBezTo>
                    <a:close/>
                    <a:moveTo>
                      <a:pt x="240" y="421"/>
                    </a:moveTo>
                    <a:cubicBezTo>
                      <a:pt x="241" y="422"/>
                      <a:pt x="242" y="420"/>
                      <a:pt x="241" y="419"/>
                    </a:cubicBezTo>
                    <a:cubicBezTo>
                      <a:pt x="240" y="419"/>
                      <a:pt x="239" y="418"/>
                      <a:pt x="238" y="417"/>
                    </a:cubicBezTo>
                    <a:cubicBezTo>
                      <a:pt x="237" y="417"/>
                      <a:pt x="236" y="416"/>
                      <a:pt x="235" y="417"/>
                    </a:cubicBezTo>
                    <a:cubicBezTo>
                      <a:pt x="234" y="417"/>
                      <a:pt x="234" y="416"/>
                      <a:pt x="233" y="416"/>
                    </a:cubicBezTo>
                    <a:cubicBezTo>
                      <a:pt x="234" y="416"/>
                      <a:pt x="235" y="416"/>
                      <a:pt x="235" y="416"/>
                    </a:cubicBezTo>
                    <a:cubicBezTo>
                      <a:pt x="236" y="416"/>
                      <a:pt x="237" y="415"/>
                      <a:pt x="236" y="415"/>
                    </a:cubicBezTo>
                    <a:cubicBezTo>
                      <a:pt x="235" y="415"/>
                      <a:pt x="233" y="415"/>
                      <a:pt x="233" y="415"/>
                    </a:cubicBezTo>
                    <a:cubicBezTo>
                      <a:pt x="233" y="415"/>
                      <a:pt x="234" y="414"/>
                      <a:pt x="233" y="414"/>
                    </a:cubicBezTo>
                    <a:cubicBezTo>
                      <a:pt x="232" y="413"/>
                      <a:pt x="232" y="414"/>
                      <a:pt x="231" y="414"/>
                    </a:cubicBezTo>
                    <a:cubicBezTo>
                      <a:pt x="230" y="413"/>
                      <a:pt x="230" y="413"/>
                      <a:pt x="230" y="413"/>
                    </a:cubicBezTo>
                    <a:cubicBezTo>
                      <a:pt x="229" y="413"/>
                      <a:pt x="229" y="412"/>
                      <a:pt x="228" y="412"/>
                    </a:cubicBezTo>
                    <a:cubicBezTo>
                      <a:pt x="226" y="413"/>
                      <a:pt x="226" y="412"/>
                      <a:pt x="225" y="413"/>
                    </a:cubicBezTo>
                    <a:cubicBezTo>
                      <a:pt x="224" y="413"/>
                      <a:pt x="224" y="413"/>
                      <a:pt x="224" y="413"/>
                    </a:cubicBezTo>
                    <a:cubicBezTo>
                      <a:pt x="223" y="413"/>
                      <a:pt x="223" y="413"/>
                      <a:pt x="222" y="413"/>
                    </a:cubicBezTo>
                    <a:cubicBezTo>
                      <a:pt x="222" y="413"/>
                      <a:pt x="222" y="413"/>
                      <a:pt x="221" y="413"/>
                    </a:cubicBezTo>
                    <a:cubicBezTo>
                      <a:pt x="221" y="413"/>
                      <a:pt x="220" y="413"/>
                      <a:pt x="219" y="413"/>
                    </a:cubicBezTo>
                    <a:cubicBezTo>
                      <a:pt x="219" y="412"/>
                      <a:pt x="219" y="413"/>
                      <a:pt x="218" y="413"/>
                    </a:cubicBezTo>
                    <a:cubicBezTo>
                      <a:pt x="218" y="412"/>
                      <a:pt x="216" y="412"/>
                      <a:pt x="216" y="413"/>
                    </a:cubicBezTo>
                    <a:cubicBezTo>
                      <a:pt x="216" y="413"/>
                      <a:pt x="215" y="414"/>
                      <a:pt x="217" y="414"/>
                    </a:cubicBezTo>
                    <a:cubicBezTo>
                      <a:pt x="218" y="414"/>
                      <a:pt x="218" y="414"/>
                      <a:pt x="218" y="415"/>
                    </a:cubicBezTo>
                    <a:cubicBezTo>
                      <a:pt x="217" y="416"/>
                      <a:pt x="218" y="416"/>
                      <a:pt x="218" y="416"/>
                    </a:cubicBezTo>
                    <a:cubicBezTo>
                      <a:pt x="218" y="416"/>
                      <a:pt x="217" y="416"/>
                      <a:pt x="218" y="417"/>
                    </a:cubicBezTo>
                    <a:cubicBezTo>
                      <a:pt x="219" y="418"/>
                      <a:pt x="218" y="418"/>
                      <a:pt x="219" y="419"/>
                    </a:cubicBezTo>
                    <a:cubicBezTo>
                      <a:pt x="220" y="419"/>
                      <a:pt x="220" y="420"/>
                      <a:pt x="220" y="420"/>
                    </a:cubicBezTo>
                    <a:cubicBezTo>
                      <a:pt x="220" y="420"/>
                      <a:pt x="219" y="419"/>
                      <a:pt x="218" y="420"/>
                    </a:cubicBezTo>
                    <a:cubicBezTo>
                      <a:pt x="217" y="420"/>
                      <a:pt x="217" y="420"/>
                      <a:pt x="216" y="420"/>
                    </a:cubicBezTo>
                    <a:cubicBezTo>
                      <a:pt x="215" y="420"/>
                      <a:pt x="214" y="421"/>
                      <a:pt x="214" y="420"/>
                    </a:cubicBezTo>
                    <a:cubicBezTo>
                      <a:pt x="214" y="420"/>
                      <a:pt x="213" y="420"/>
                      <a:pt x="212" y="420"/>
                    </a:cubicBezTo>
                    <a:cubicBezTo>
                      <a:pt x="212" y="420"/>
                      <a:pt x="210" y="420"/>
                      <a:pt x="210" y="421"/>
                    </a:cubicBezTo>
                    <a:cubicBezTo>
                      <a:pt x="211" y="421"/>
                      <a:pt x="210" y="422"/>
                      <a:pt x="210" y="422"/>
                    </a:cubicBezTo>
                    <a:cubicBezTo>
                      <a:pt x="211" y="422"/>
                      <a:pt x="212" y="422"/>
                      <a:pt x="212" y="423"/>
                    </a:cubicBezTo>
                    <a:cubicBezTo>
                      <a:pt x="212" y="423"/>
                      <a:pt x="213" y="423"/>
                      <a:pt x="213" y="423"/>
                    </a:cubicBezTo>
                    <a:cubicBezTo>
                      <a:pt x="213" y="422"/>
                      <a:pt x="214" y="422"/>
                      <a:pt x="215" y="422"/>
                    </a:cubicBezTo>
                    <a:cubicBezTo>
                      <a:pt x="216" y="422"/>
                      <a:pt x="216" y="423"/>
                      <a:pt x="218" y="423"/>
                    </a:cubicBezTo>
                    <a:cubicBezTo>
                      <a:pt x="219" y="422"/>
                      <a:pt x="220" y="422"/>
                      <a:pt x="221" y="422"/>
                    </a:cubicBezTo>
                    <a:cubicBezTo>
                      <a:pt x="222" y="423"/>
                      <a:pt x="222" y="423"/>
                      <a:pt x="223" y="423"/>
                    </a:cubicBezTo>
                    <a:cubicBezTo>
                      <a:pt x="223" y="423"/>
                      <a:pt x="223" y="423"/>
                      <a:pt x="223" y="424"/>
                    </a:cubicBezTo>
                    <a:cubicBezTo>
                      <a:pt x="223" y="424"/>
                      <a:pt x="222" y="425"/>
                      <a:pt x="223" y="425"/>
                    </a:cubicBezTo>
                    <a:cubicBezTo>
                      <a:pt x="223" y="425"/>
                      <a:pt x="224" y="424"/>
                      <a:pt x="224" y="425"/>
                    </a:cubicBezTo>
                    <a:cubicBezTo>
                      <a:pt x="224" y="425"/>
                      <a:pt x="225" y="425"/>
                      <a:pt x="226" y="425"/>
                    </a:cubicBezTo>
                    <a:cubicBezTo>
                      <a:pt x="226" y="424"/>
                      <a:pt x="226" y="423"/>
                      <a:pt x="227" y="423"/>
                    </a:cubicBezTo>
                    <a:cubicBezTo>
                      <a:pt x="228" y="423"/>
                      <a:pt x="229" y="423"/>
                      <a:pt x="228" y="422"/>
                    </a:cubicBezTo>
                    <a:cubicBezTo>
                      <a:pt x="227" y="422"/>
                      <a:pt x="229" y="422"/>
                      <a:pt x="229" y="422"/>
                    </a:cubicBezTo>
                    <a:cubicBezTo>
                      <a:pt x="229" y="421"/>
                      <a:pt x="229" y="422"/>
                      <a:pt x="230" y="422"/>
                    </a:cubicBezTo>
                    <a:cubicBezTo>
                      <a:pt x="231" y="422"/>
                      <a:pt x="231" y="422"/>
                      <a:pt x="232" y="421"/>
                    </a:cubicBezTo>
                    <a:cubicBezTo>
                      <a:pt x="232" y="421"/>
                      <a:pt x="233" y="422"/>
                      <a:pt x="233" y="421"/>
                    </a:cubicBezTo>
                    <a:cubicBezTo>
                      <a:pt x="234" y="421"/>
                      <a:pt x="235" y="421"/>
                      <a:pt x="236" y="421"/>
                    </a:cubicBezTo>
                    <a:cubicBezTo>
                      <a:pt x="236" y="421"/>
                      <a:pt x="237" y="422"/>
                      <a:pt x="238" y="422"/>
                    </a:cubicBezTo>
                    <a:cubicBezTo>
                      <a:pt x="238" y="423"/>
                      <a:pt x="238" y="422"/>
                      <a:pt x="239" y="422"/>
                    </a:cubicBezTo>
                    <a:cubicBezTo>
                      <a:pt x="239" y="421"/>
                      <a:pt x="239" y="421"/>
                      <a:pt x="240" y="4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0" name="Group 4"/>
            <p:cNvGrpSpPr>
              <a:grpSpLocks noChangeAspect="1"/>
            </p:cNvGrpSpPr>
            <p:nvPr/>
          </p:nvGrpSpPr>
          <p:grpSpPr bwMode="auto">
            <a:xfrm>
              <a:off x="7215386" y="2575588"/>
              <a:ext cx="684966" cy="720180"/>
              <a:chOff x="4078" y="1223"/>
              <a:chExt cx="1206" cy="1268"/>
            </a:xfrm>
          </p:grpSpPr>
          <p:sp>
            <p:nvSpPr>
              <p:cNvPr id="41" name="Freeform 6"/>
              <p:cNvSpPr>
                <a:spLocks noEditPoints="1"/>
              </p:cNvSpPr>
              <p:nvPr/>
            </p:nvSpPr>
            <p:spPr bwMode="auto">
              <a:xfrm>
                <a:off x="4621" y="1223"/>
                <a:ext cx="663" cy="1268"/>
              </a:xfrm>
              <a:custGeom>
                <a:avLst/>
                <a:gdLst>
                  <a:gd name="T0" fmla="*/ 1747 w 1991"/>
                  <a:gd name="T1" fmla="*/ 3289 h 3805"/>
                  <a:gd name="T2" fmla="*/ 1770 w 1991"/>
                  <a:gd name="T3" fmla="*/ 3420 h 3805"/>
                  <a:gd name="T4" fmla="*/ 245 w 1991"/>
                  <a:gd name="T5" fmla="*/ 3105 h 3805"/>
                  <a:gd name="T6" fmla="*/ 222 w 1991"/>
                  <a:gd name="T7" fmla="*/ 2973 h 3805"/>
                  <a:gd name="T8" fmla="*/ 222 w 1991"/>
                  <a:gd name="T9" fmla="*/ 2973 h 3805"/>
                  <a:gd name="T10" fmla="*/ 526 w 1991"/>
                  <a:gd name="T11" fmla="*/ 2704 h 3805"/>
                  <a:gd name="T12" fmla="*/ 549 w 1991"/>
                  <a:gd name="T13" fmla="*/ 2837 h 3805"/>
                  <a:gd name="T14" fmla="*/ 245 w 1991"/>
                  <a:gd name="T15" fmla="*/ 900 h 3805"/>
                  <a:gd name="T16" fmla="*/ 222 w 1991"/>
                  <a:gd name="T17" fmla="*/ 703 h 3805"/>
                  <a:gd name="T18" fmla="*/ 222 w 1991"/>
                  <a:gd name="T19" fmla="*/ 703 h 3805"/>
                  <a:gd name="T20" fmla="*/ 1747 w 1991"/>
                  <a:gd name="T21" fmla="*/ 411 h 3805"/>
                  <a:gd name="T22" fmla="*/ 1770 w 1991"/>
                  <a:gd name="T23" fmla="*/ 611 h 3805"/>
                  <a:gd name="T24" fmla="*/ 247 w 1991"/>
                  <a:gd name="T25" fmla="*/ 24 h 3805"/>
                  <a:gd name="T26" fmla="*/ 176 w 1991"/>
                  <a:gd name="T27" fmla="*/ 39 h 3805"/>
                  <a:gd name="T28" fmla="*/ 97 w 1991"/>
                  <a:gd name="T29" fmla="*/ 86 h 3805"/>
                  <a:gd name="T30" fmla="*/ 43 w 1991"/>
                  <a:gd name="T31" fmla="*/ 154 h 3805"/>
                  <a:gd name="T32" fmla="*/ 23 w 1991"/>
                  <a:gd name="T33" fmla="*/ 238 h 3805"/>
                  <a:gd name="T34" fmla="*/ 34 w 1991"/>
                  <a:gd name="T35" fmla="*/ 3629 h 3805"/>
                  <a:gd name="T36" fmla="*/ 65 w 1991"/>
                  <a:gd name="T37" fmla="*/ 3686 h 3805"/>
                  <a:gd name="T38" fmla="*/ 131 w 1991"/>
                  <a:gd name="T39" fmla="*/ 3744 h 3805"/>
                  <a:gd name="T40" fmla="*/ 220 w 1991"/>
                  <a:gd name="T41" fmla="*/ 3777 h 3805"/>
                  <a:gd name="T42" fmla="*/ 1718 w 1991"/>
                  <a:gd name="T43" fmla="*/ 3782 h 3805"/>
                  <a:gd name="T44" fmla="*/ 1790 w 1991"/>
                  <a:gd name="T45" fmla="*/ 3773 h 3805"/>
                  <a:gd name="T46" fmla="*/ 1877 w 1991"/>
                  <a:gd name="T47" fmla="*/ 3733 h 3805"/>
                  <a:gd name="T48" fmla="*/ 1938 w 1991"/>
                  <a:gd name="T49" fmla="*/ 3670 h 3805"/>
                  <a:gd name="T50" fmla="*/ 1964 w 1991"/>
                  <a:gd name="T51" fmla="*/ 3610 h 3805"/>
                  <a:gd name="T52" fmla="*/ 1967 w 1991"/>
                  <a:gd name="T53" fmla="*/ 214 h 3805"/>
                  <a:gd name="T54" fmla="*/ 1937 w 1991"/>
                  <a:gd name="T55" fmla="*/ 135 h 3805"/>
                  <a:gd name="T56" fmla="*/ 1894 w 1991"/>
                  <a:gd name="T57" fmla="*/ 86 h 3805"/>
                  <a:gd name="T58" fmla="*/ 1815 w 1991"/>
                  <a:gd name="T59" fmla="*/ 39 h 3805"/>
                  <a:gd name="T60" fmla="*/ 1744 w 1991"/>
                  <a:gd name="T61" fmla="*/ 24 h 3805"/>
                  <a:gd name="T62" fmla="*/ 1719 w 1991"/>
                  <a:gd name="T63" fmla="*/ 0 h 3805"/>
                  <a:gd name="T64" fmla="*/ 1800 w 1991"/>
                  <a:gd name="T65" fmla="*/ 11 h 3805"/>
                  <a:gd name="T66" fmla="*/ 1889 w 1991"/>
                  <a:gd name="T67" fmla="*/ 53 h 3805"/>
                  <a:gd name="T68" fmla="*/ 1943 w 1991"/>
                  <a:gd name="T69" fmla="*/ 104 h 3805"/>
                  <a:gd name="T70" fmla="*/ 1979 w 1991"/>
                  <a:gd name="T71" fmla="*/ 166 h 3805"/>
                  <a:gd name="T72" fmla="*/ 1991 w 1991"/>
                  <a:gd name="T73" fmla="*/ 236 h 3805"/>
                  <a:gd name="T74" fmla="*/ 1986 w 1991"/>
                  <a:gd name="T75" fmla="*/ 3617 h 3805"/>
                  <a:gd name="T76" fmla="*/ 1957 w 1991"/>
                  <a:gd name="T77" fmla="*/ 3683 h 3805"/>
                  <a:gd name="T78" fmla="*/ 1892 w 1991"/>
                  <a:gd name="T79" fmla="*/ 3750 h 3805"/>
                  <a:gd name="T80" fmla="*/ 1824 w 1991"/>
                  <a:gd name="T81" fmla="*/ 3787 h 3805"/>
                  <a:gd name="T82" fmla="*/ 1744 w 1991"/>
                  <a:gd name="T83" fmla="*/ 3804 h 3805"/>
                  <a:gd name="T84" fmla="*/ 220 w 1991"/>
                  <a:gd name="T85" fmla="*/ 3800 h 3805"/>
                  <a:gd name="T86" fmla="*/ 144 w 1991"/>
                  <a:gd name="T87" fmla="*/ 3776 h 3805"/>
                  <a:gd name="T88" fmla="*/ 81 w 1991"/>
                  <a:gd name="T89" fmla="*/ 3736 h 3805"/>
                  <a:gd name="T90" fmla="*/ 32 w 1991"/>
                  <a:gd name="T91" fmla="*/ 3679 h 3805"/>
                  <a:gd name="T92" fmla="*/ 6 w 1991"/>
                  <a:gd name="T93" fmla="*/ 3612 h 3805"/>
                  <a:gd name="T94" fmla="*/ 1 w 1991"/>
                  <a:gd name="T95" fmla="*/ 214 h 3805"/>
                  <a:gd name="T96" fmla="*/ 21 w 1991"/>
                  <a:gd name="T97" fmla="*/ 145 h 3805"/>
                  <a:gd name="T98" fmla="*/ 63 w 1991"/>
                  <a:gd name="T99" fmla="*/ 85 h 3805"/>
                  <a:gd name="T100" fmla="*/ 122 w 1991"/>
                  <a:gd name="T101" fmla="*/ 40 h 3805"/>
                  <a:gd name="T102" fmla="*/ 216 w 1991"/>
                  <a:gd name="T103" fmla="*/ 5 h 3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91" h="3805">
                    <a:moveTo>
                      <a:pt x="245" y="3289"/>
                    </a:moveTo>
                    <a:lnTo>
                      <a:pt x="245" y="3397"/>
                    </a:lnTo>
                    <a:lnTo>
                      <a:pt x="1747" y="3397"/>
                    </a:lnTo>
                    <a:lnTo>
                      <a:pt x="1747" y="3289"/>
                    </a:lnTo>
                    <a:lnTo>
                      <a:pt x="245" y="3289"/>
                    </a:lnTo>
                    <a:close/>
                    <a:moveTo>
                      <a:pt x="222" y="3266"/>
                    </a:moveTo>
                    <a:lnTo>
                      <a:pt x="1770" y="3266"/>
                    </a:lnTo>
                    <a:lnTo>
                      <a:pt x="1770" y="3420"/>
                    </a:lnTo>
                    <a:lnTo>
                      <a:pt x="222" y="3420"/>
                    </a:lnTo>
                    <a:lnTo>
                      <a:pt x="222" y="3266"/>
                    </a:lnTo>
                    <a:close/>
                    <a:moveTo>
                      <a:pt x="245" y="2997"/>
                    </a:moveTo>
                    <a:lnTo>
                      <a:pt x="245" y="3105"/>
                    </a:lnTo>
                    <a:lnTo>
                      <a:pt x="526" y="3105"/>
                    </a:lnTo>
                    <a:lnTo>
                      <a:pt x="526" y="2997"/>
                    </a:lnTo>
                    <a:lnTo>
                      <a:pt x="245" y="2997"/>
                    </a:lnTo>
                    <a:close/>
                    <a:moveTo>
                      <a:pt x="222" y="2973"/>
                    </a:moveTo>
                    <a:lnTo>
                      <a:pt x="549" y="2973"/>
                    </a:lnTo>
                    <a:lnTo>
                      <a:pt x="549" y="3128"/>
                    </a:lnTo>
                    <a:lnTo>
                      <a:pt x="222" y="3128"/>
                    </a:lnTo>
                    <a:lnTo>
                      <a:pt x="222" y="2973"/>
                    </a:lnTo>
                    <a:close/>
                    <a:moveTo>
                      <a:pt x="245" y="2704"/>
                    </a:moveTo>
                    <a:lnTo>
                      <a:pt x="245" y="2814"/>
                    </a:lnTo>
                    <a:lnTo>
                      <a:pt x="526" y="2814"/>
                    </a:lnTo>
                    <a:lnTo>
                      <a:pt x="526" y="2704"/>
                    </a:lnTo>
                    <a:lnTo>
                      <a:pt x="245" y="2704"/>
                    </a:lnTo>
                    <a:close/>
                    <a:moveTo>
                      <a:pt x="222" y="2681"/>
                    </a:moveTo>
                    <a:lnTo>
                      <a:pt x="549" y="2681"/>
                    </a:lnTo>
                    <a:lnTo>
                      <a:pt x="549" y="2837"/>
                    </a:lnTo>
                    <a:lnTo>
                      <a:pt x="222" y="2837"/>
                    </a:lnTo>
                    <a:lnTo>
                      <a:pt x="222" y="2681"/>
                    </a:lnTo>
                    <a:close/>
                    <a:moveTo>
                      <a:pt x="245" y="726"/>
                    </a:moveTo>
                    <a:lnTo>
                      <a:pt x="245" y="900"/>
                    </a:lnTo>
                    <a:lnTo>
                      <a:pt x="1747" y="900"/>
                    </a:lnTo>
                    <a:lnTo>
                      <a:pt x="1747" y="726"/>
                    </a:lnTo>
                    <a:lnTo>
                      <a:pt x="245" y="726"/>
                    </a:lnTo>
                    <a:close/>
                    <a:moveTo>
                      <a:pt x="222" y="703"/>
                    </a:moveTo>
                    <a:lnTo>
                      <a:pt x="1770" y="703"/>
                    </a:lnTo>
                    <a:lnTo>
                      <a:pt x="1770" y="924"/>
                    </a:lnTo>
                    <a:lnTo>
                      <a:pt x="222" y="924"/>
                    </a:lnTo>
                    <a:lnTo>
                      <a:pt x="222" y="703"/>
                    </a:lnTo>
                    <a:close/>
                    <a:moveTo>
                      <a:pt x="245" y="411"/>
                    </a:moveTo>
                    <a:lnTo>
                      <a:pt x="245" y="587"/>
                    </a:lnTo>
                    <a:lnTo>
                      <a:pt x="1747" y="587"/>
                    </a:lnTo>
                    <a:lnTo>
                      <a:pt x="1747" y="411"/>
                    </a:lnTo>
                    <a:lnTo>
                      <a:pt x="245" y="411"/>
                    </a:lnTo>
                    <a:close/>
                    <a:moveTo>
                      <a:pt x="222" y="388"/>
                    </a:moveTo>
                    <a:lnTo>
                      <a:pt x="1770" y="388"/>
                    </a:lnTo>
                    <a:lnTo>
                      <a:pt x="1770" y="611"/>
                    </a:lnTo>
                    <a:lnTo>
                      <a:pt x="222" y="611"/>
                    </a:lnTo>
                    <a:lnTo>
                      <a:pt x="222" y="388"/>
                    </a:lnTo>
                    <a:close/>
                    <a:moveTo>
                      <a:pt x="273" y="23"/>
                    </a:moveTo>
                    <a:lnTo>
                      <a:pt x="247" y="24"/>
                    </a:lnTo>
                    <a:lnTo>
                      <a:pt x="220" y="27"/>
                    </a:lnTo>
                    <a:lnTo>
                      <a:pt x="220" y="27"/>
                    </a:lnTo>
                    <a:lnTo>
                      <a:pt x="201" y="32"/>
                    </a:lnTo>
                    <a:lnTo>
                      <a:pt x="176" y="39"/>
                    </a:lnTo>
                    <a:lnTo>
                      <a:pt x="153" y="49"/>
                    </a:lnTo>
                    <a:lnTo>
                      <a:pt x="131" y="61"/>
                    </a:lnTo>
                    <a:lnTo>
                      <a:pt x="115" y="71"/>
                    </a:lnTo>
                    <a:lnTo>
                      <a:pt x="97" y="86"/>
                    </a:lnTo>
                    <a:lnTo>
                      <a:pt x="80" y="101"/>
                    </a:lnTo>
                    <a:lnTo>
                      <a:pt x="65" y="120"/>
                    </a:lnTo>
                    <a:lnTo>
                      <a:pt x="54" y="136"/>
                    </a:lnTo>
                    <a:lnTo>
                      <a:pt x="43" y="154"/>
                    </a:lnTo>
                    <a:lnTo>
                      <a:pt x="34" y="175"/>
                    </a:lnTo>
                    <a:lnTo>
                      <a:pt x="28" y="195"/>
                    </a:lnTo>
                    <a:lnTo>
                      <a:pt x="24" y="214"/>
                    </a:lnTo>
                    <a:lnTo>
                      <a:pt x="23" y="238"/>
                    </a:lnTo>
                    <a:lnTo>
                      <a:pt x="23" y="3567"/>
                    </a:lnTo>
                    <a:lnTo>
                      <a:pt x="24" y="3590"/>
                    </a:lnTo>
                    <a:lnTo>
                      <a:pt x="28" y="3610"/>
                    </a:lnTo>
                    <a:lnTo>
                      <a:pt x="34" y="3629"/>
                    </a:lnTo>
                    <a:lnTo>
                      <a:pt x="43" y="3650"/>
                    </a:lnTo>
                    <a:lnTo>
                      <a:pt x="54" y="3670"/>
                    </a:lnTo>
                    <a:lnTo>
                      <a:pt x="54" y="3670"/>
                    </a:lnTo>
                    <a:lnTo>
                      <a:pt x="65" y="3686"/>
                    </a:lnTo>
                    <a:lnTo>
                      <a:pt x="80" y="3703"/>
                    </a:lnTo>
                    <a:lnTo>
                      <a:pt x="97" y="3720"/>
                    </a:lnTo>
                    <a:lnTo>
                      <a:pt x="114" y="3733"/>
                    </a:lnTo>
                    <a:lnTo>
                      <a:pt x="131" y="3744"/>
                    </a:lnTo>
                    <a:lnTo>
                      <a:pt x="153" y="3755"/>
                    </a:lnTo>
                    <a:lnTo>
                      <a:pt x="176" y="3766"/>
                    </a:lnTo>
                    <a:lnTo>
                      <a:pt x="201" y="3773"/>
                    </a:lnTo>
                    <a:lnTo>
                      <a:pt x="220" y="3777"/>
                    </a:lnTo>
                    <a:lnTo>
                      <a:pt x="220" y="3777"/>
                    </a:lnTo>
                    <a:lnTo>
                      <a:pt x="247" y="3781"/>
                    </a:lnTo>
                    <a:lnTo>
                      <a:pt x="273" y="3782"/>
                    </a:lnTo>
                    <a:lnTo>
                      <a:pt x="1718" y="3782"/>
                    </a:lnTo>
                    <a:lnTo>
                      <a:pt x="1744" y="3781"/>
                    </a:lnTo>
                    <a:lnTo>
                      <a:pt x="1771" y="3777"/>
                    </a:lnTo>
                    <a:lnTo>
                      <a:pt x="1771" y="3777"/>
                    </a:lnTo>
                    <a:lnTo>
                      <a:pt x="1790" y="3773"/>
                    </a:lnTo>
                    <a:lnTo>
                      <a:pt x="1815" y="3766"/>
                    </a:lnTo>
                    <a:lnTo>
                      <a:pt x="1838" y="3755"/>
                    </a:lnTo>
                    <a:lnTo>
                      <a:pt x="1860" y="3744"/>
                    </a:lnTo>
                    <a:lnTo>
                      <a:pt x="1877" y="3733"/>
                    </a:lnTo>
                    <a:lnTo>
                      <a:pt x="1894" y="3720"/>
                    </a:lnTo>
                    <a:lnTo>
                      <a:pt x="1912" y="3703"/>
                    </a:lnTo>
                    <a:lnTo>
                      <a:pt x="1927" y="3686"/>
                    </a:lnTo>
                    <a:lnTo>
                      <a:pt x="1938" y="3670"/>
                    </a:lnTo>
                    <a:lnTo>
                      <a:pt x="1937" y="3670"/>
                    </a:lnTo>
                    <a:lnTo>
                      <a:pt x="1949" y="3650"/>
                    </a:lnTo>
                    <a:lnTo>
                      <a:pt x="1957" y="3629"/>
                    </a:lnTo>
                    <a:lnTo>
                      <a:pt x="1964" y="3610"/>
                    </a:lnTo>
                    <a:lnTo>
                      <a:pt x="1967" y="3590"/>
                    </a:lnTo>
                    <a:lnTo>
                      <a:pt x="1968" y="3567"/>
                    </a:lnTo>
                    <a:lnTo>
                      <a:pt x="1968" y="238"/>
                    </a:lnTo>
                    <a:lnTo>
                      <a:pt x="1967" y="214"/>
                    </a:lnTo>
                    <a:lnTo>
                      <a:pt x="1964" y="195"/>
                    </a:lnTo>
                    <a:lnTo>
                      <a:pt x="1957" y="175"/>
                    </a:lnTo>
                    <a:lnTo>
                      <a:pt x="1949" y="154"/>
                    </a:lnTo>
                    <a:lnTo>
                      <a:pt x="1937" y="135"/>
                    </a:lnTo>
                    <a:lnTo>
                      <a:pt x="1938" y="135"/>
                    </a:lnTo>
                    <a:lnTo>
                      <a:pt x="1927" y="120"/>
                    </a:lnTo>
                    <a:lnTo>
                      <a:pt x="1912" y="101"/>
                    </a:lnTo>
                    <a:lnTo>
                      <a:pt x="1894" y="86"/>
                    </a:lnTo>
                    <a:lnTo>
                      <a:pt x="1876" y="71"/>
                    </a:lnTo>
                    <a:lnTo>
                      <a:pt x="1860" y="61"/>
                    </a:lnTo>
                    <a:lnTo>
                      <a:pt x="1838" y="49"/>
                    </a:lnTo>
                    <a:lnTo>
                      <a:pt x="1815" y="39"/>
                    </a:lnTo>
                    <a:lnTo>
                      <a:pt x="1790" y="32"/>
                    </a:lnTo>
                    <a:lnTo>
                      <a:pt x="1771" y="27"/>
                    </a:lnTo>
                    <a:lnTo>
                      <a:pt x="1771" y="27"/>
                    </a:lnTo>
                    <a:lnTo>
                      <a:pt x="1744" y="24"/>
                    </a:lnTo>
                    <a:lnTo>
                      <a:pt x="1718" y="23"/>
                    </a:lnTo>
                    <a:lnTo>
                      <a:pt x="273" y="23"/>
                    </a:lnTo>
                    <a:close/>
                    <a:moveTo>
                      <a:pt x="272" y="0"/>
                    </a:moveTo>
                    <a:lnTo>
                      <a:pt x="1719" y="0"/>
                    </a:lnTo>
                    <a:lnTo>
                      <a:pt x="1744" y="1"/>
                    </a:lnTo>
                    <a:lnTo>
                      <a:pt x="1771" y="4"/>
                    </a:lnTo>
                    <a:lnTo>
                      <a:pt x="1775" y="5"/>
                    </a:lnTo>
                    <a:lnTo>
                      <a:pt x="1800" y="11"/>
                    </a:lnTo>
                    <a:lnTo>
                      <a:pt x="1824" y="18"/>
                    </a:lnTo>
                    <a:lnTo>
                      <a:pt x="1847" y="28"/>
                    </a:lnTo>
                    <a:lnTo>
                      <a:pt x="1869" y="40"/>
                    </a:lnTo>
                    <a:lnTo>
                      <a:pt x="1889" y="53"/>
                    </a:lnTo>
                    <a:lnTo>
                      <a:pt x="1892" y="55"/>
                    </a:lnTo>
                    <a:lnTo>
                      <a:pt x="1911" y="70"/>
                    </a:lnTo>
                    <a:lnTo>
                      <a:pt x="1928" y="85"/>
                    </a:lnTo>
                    <a:lnTo>
                      <a:pt x="1943" y="104"/>
                    </a:lnTo>
                    <a:lnTo>
                      <a:pt x="1957" y="122"/>
                    </a:lnTo>
                    <a:lnTo>
                      <a:pt x="1959" y="126"/>
                    </a:lnTo>
                    <a:lnTo>
                      <a:pt x="1971" y="145"/>
                    </a:lnTo>
                    <a:lnTo>
                      <a:pt x="1979" y="166"/>
                    </a:lnTo>
                    <a:lnTo>
                      <a:pt x="1986" y="188"/>
                    </a:lnTo>
                    <a:lnTo>
                      <a:pt x="1986" y="192"/>
                    </a:lnTo>
                    <a:lnTo>
                      <a:pt x="1990" y="214"/>
                    </a:lnTo>
                    <a:lnTo>
                      <a:pt x="1991" y="236"/>
                    </a:lnTo>
                    <a:lnTo>
                      <a:pt x="1991" y="3568"/>
                    </a:lnTo>
                    <a:lnTo>
                      <a:pt x="1990" y="3590"/>
                    </a:lnTo>
                    <a:lnTo>
                      <a:pt x="1986" y="3612"/>
                    </a:lnTo>
                    <a:lnTo>
                      <a:pt x="1986" y="3617"/>
                    </a:lnTo>
                    <a:lnTo>
                      <a:pt x="1979" y="3639"/>
                    </a:lnTo>
                    <a:lnTo>
                      <a:pt x="1971" y="3659"/>
                    </a:lnTo>
                    <a:lnTo>
                      <a:pt x="1959" y="3679"/>
                    </a:lnTo>
                    <a:lnTo>
                      <a:pt x="1957" y="3683"/>
                    </a:lnTo>
                    <a:lnTo>
                      <a:pt x="1943" y="3702"/>
                    </a:lnTo>
                    <a:lnTo>
                      <a:pt x="1928" y="3720"/>
                    </a:lnTo>
                    <a:lnTo>
                      <a:pt x="1911" y="3736"/>
                    </a:lnTo>
                    <a:lnTo>
                      <a:pt x="1892" y="3750"/>
                    </a:lnTo>
                    <a:lnTo>
                      <a:pt x="1889" y="3752"/>
                    </a:lnTo>
                    <a:lnTo>
                      <a:pt x="1869" y="3765"/>
                    </a:lnTo>
                    <a:lnTo>
                      <a:pt x="1847" y="3776"/>
                    </a:lnTo>
                    <a:lnTo>
                      <a:pt x="1824" y="3787"/>
                    </a:lnTo>
                    <a:lnTo>
                      <a:pt x="1800" y="3793"/>
                    </a:lnTo>
                    <a:lnTo>
                      <a:pt x="1775" y="3799"/>
                    </a:lnTo>
                    <a:lnTo>
                      <a:pt x="1771" y="3800"/>
                    </a:lnTo>
                    <a:lnTo>
                      <a:pt x="1744" y="3804"/>
                    </a:lnTo>
                    <a:lnTo>
                      <a:pt x="1718" y="3805"/>
                    </a:lnTo>
                    <a:lnTo>
                      <a:pt x="273" y="3805"/>
                    </a:lnTo>
                    <a:lnTo>
                      <a:pt x="247" y="3804"/>
                    </a:lnTo>
                    <a:lnTo>
                      <a:pt x="220" y="3800"/>
                    </a:lnTo>
                    <a:lnTo>
                      <a:pt x="216" y="3799"/>
                    </a:lnTo>
                    <a:lnTo>
                      <a:pt x="192" y="3793"/>
                    </a:lnTo>
                    <a:lnTo>
                      <a:pt x="167" y="3787"/>
                    </a:lnTo>
                    <a:lnTo>
                      <a:pt x="144" y="3776"/>
                    </a:lnTo>
                    <a:lnTo>
                      <a:pt x="122" y="3765"/>
                    </a:lnTo>
                    <a:lnTo>
                      <a:pt x="103" y="3752"/>
                    </a:lnTo>
                    <a:lnTo>
                      <a:pt x="99" y="3750"/>
                    </a:lnTo>
                    <a:lnTo>
                      <a:pt x="81" y="3736"/>
                    </a:lnTo>
                    <a:lnTo>
                      <a:pt x="63" y="3720"/>
                    </a:lnTo>
                    <a:lnTo>
                      <a:pt x="48" y="3702"/>
                    </a:lnTo>
                    <a:lnTo>
                      <a:pt x="36" y="3683"/>
                    </a:lnTo>
                    <a:lnTo>
                      <a:pt x="32" y="3679"/>
                    </a:lnTo>
                    <a:lnTo>
                      <a:pt x="21" y="3659"/>
                    </a:lnTo>
                    <a:lnTo>
                      <a:pt x="13" y="3639"/>
                    </a:lnTo>
                    <a:lnTo>
                      <a:pt x="6" y="3617"/>
                    </a:lnTo>
                    <a:lnTo>
                      <a:pt x="6" y="3612"/>
                    </a:lnTo>
                    <a:lnTo>
                      <a:pt x="1" y="3590"/>
                    </a:lnTo>
                    <a:lnTo>
                      <a:pt x="0" y="3567"/>
                    </a:lnTo>
                    <a:lnTo>
                      <a:pt x="0" y="238"/>
                    </a:lnTo>
                    <a:lnTo>
                      <a:pt x="1" y="214"/>
                    </a:lnTo>
                    <a:lnTo>
                      <a:pt x="6" y="192"/>
                    </a:lnTo>
                    <a:lnTo>
                      <a:pt x="6" y="188"/>
                    </a:lnTo>
                    <a:lnTo>
                      <a:pt x="13" y="166"/>
                    </a:lnTo>
                    <a:lnTo>
                      <a:pt x="21" y="145"/>
                    </a:lnTo>
                    <a:lnTo>
                      <a:pt x="32" y="126"/>
                    </a:lnTo>
                    <a:lnTo>
                      <a:pt x="36" y="122"/>
                    </a:lnTo>
                    <a:lnTo>
                      <a:pt x="48" y="104"/>
                    </a:lnTo>
                    <a:lnTo>
                      <a:pt x="63" y="85"/>
                    </a:lnTo>
                    <a:lnTo>
                      <a:pt x="81" y="70"/>
                    </a:lnTo>
                    <a:lnTo>
                      <a:pt x="99" y="55"/>
                    </a:lnTo>
                    <a:lnTo>
                      <a:pt x="103" y="53"/>
                    </a:lnTo>
                    <a:lnTo>
                      <a:pt x="122" y="40"/>
                    </a:lnTo>
                    <a:lnTo>
                      <a:pt x="144" y="28"/>
                    </a:lnTo>
                    <a:lnTo>
                      <a:pt x="167" y="18"/>
                    </a:lnTo>
                    <a:lnTo>
                      <a:pt x="192" y="11"/>
                    </a:lnTo>
                    <a:lnTo>
                      <a:pt x="216" y="5"/>
                    </a:lnTo>
                    <a:lnTo>
                      <a:pt x="220" y="4"/>
                    </a:lnTo>
                    <a:lnTo>
                      <a:pt x="247" y="1"/>
                    </a:lnTo>
                    <a:lnTo>
                      <a:pt x="272" y="0"/>
                    </a:lnTo>
                    <a:close/>
                  </a:path>
                </a:pathLst>
              </a:custGeom>
              <a:solidFill>
                <a:srgbClr val="2281FF"/>
              </a:solidFill>
              <a:ln w="127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7"/>
              <p:cNvSpPr>
                <a:spLocks/>
              </p:cNvSpPr>
              <p:nvPr/>
            </p:nvSpPr>
            <p:spPr bwMode="auto">
              <a:xfrm>
                <a:off x="4421" y="1807"/>
                <a:ext cx="519" cy="520"/>
              </a:xfrm>
              <a:custGeom>
                <a:avLst/>
                <a:gdLst>
                  <a:gd name="T0" fmla="*/ 855 w 1559"/>
                  <a:gd name="T1" fmla="*/ 3 h 1560"/>
                  <a:gd name="T2" fmla="*/ 998 w 1559"/>
                  <a:gd name="T3" fmla="*/ 31 h 1560"/>
                  <a:gd name="T4" fmla="*/ 1132 w 1559"/>
                  <a:gd name="T5" fmla="*/ 83 h 1560"/>
                  <a:gd name="T6" fmla="*/ 1251 w 1559"/>
                  <a:gd name="T7" fmla="*/ 158 h 1560"/>
                  <a:gd name="T8" fmla="*/ 1355 w 1559"/>
                  <a:gd name="T9" fmla="*/ 254 h 1560"/>
                  <a:gd name="T10" fmla="*/ 1440 w 1559"/>
                  <a:gd name="T11" fmla="*/ 366 h 1560"/>
                  <a:gd name="T12" fmla="*/ 1505 w 1559"/>
                  <a:gd name="T13" fmla="*/ 493 h 1560"/>
                  <a:gd name="T14" fmla="*/ 1545 w 1559"/>
                  <a:gd name="T15" fmla="*/ 631 h 1560"/>
                  <a:gd name="T16" fmla="*/ 1559 w 1559"/>
                  <a:gd name="T17" fmla="*/ 779 h 1560"/>
                  <a:gd name="T18" fmla="*/ 1545 w 1559"/>
                  <a:gd name="T19" fmla="*/ 928 h 1560"/>
                  <a:gd name="T20" fmla="*/ 1505 w 1559"/>
                  <a:gd name="T21" fmla="*/ 1067 h 1560"/>
                  <a:gd name="T22" fmla="*/ 1440 w 1559"/>
                  <a:gd name="T23" fmla="*/ 1194 h 1560"/>
                  <a:gd name="T24" fmla="*/ 1355 w 1559"/>
                  <a:gd name="T25" fmla="*/ 1306 h 1560"/>
                  <a:gd name="T26" fmla="*/ 1251 w 1559"/>
                  <a:gd name="T27" fmla="*/ 1400 h 1560"/>
                  <a:gd name="T28" fmla="*/ 1132 w 1559"/>
                  <a:gd name="T29" fmla="*/ 1476 h 1560"/>
                  <a:gd name="T30" fmla="*/ 998 w 1559"/>
                  <a:gd name="T31" fmla="*/ 1529 h 1560"/>
                  <a:gd name="T32" fmla="*/ 855 w 1559"/>
                  <a:gd name="T33" fmla="*/ 1556 h 1560"/>
                  <a:gd name="T34" fmla="*/ 705 w 1559"/>
                  <a:gd name="T35" fmla="*/ 1556 h 1560"/>
                  <a:gd name="T36" fmla="*/ 561 w 1559"/>
                  <a:gd name="T37" fmla="*/ 1529 h 1560"/>
                  <a:gd name="T38" fmla="*/ 428 w 1559"/>
                  <a:gd name="T39" fmla="*/ 1476 h 1560"/>
                  <a:gd name="T40" fmla="*/ 308 w 1559"/>
                  <a:gd name="T41" fmla="*/ 1400 h 1560"/>
                  <a:gd name="T42" fmla="*/ 204 w 1559"/>
                  <a:gd name="T43" fmla="*/ 1306 h 1560"/>
                  <a:gd name="T44" fmla="*/ 118 w 1559"/>
                  <a:gd name="T45" fmla="*/ 1194 h 1560"/>
                  <a:gd name="T46" fmla="*/ 54 w 1559"/>
                  <a:gd name="T47" fmla="*/ 1067 h 1560"/>
                  <a:gd name="T48" fmla="*/ 13 w 1559"/>
                  <a:gd name="T49" fmla="*/ 928 h 1560"/>
                  <a:gd name="T50" fmla="*/ 0 w 1559"/>
                  <a:gd name="T51" fmla="*/ 779 h 1560"/>
                  <a:gd name="T52" fmla="*/ 13 w 1559"/>
                  <a:gd name="T53" fmla="*/ 631 h 1560"/>
                  <a:gd name="T54" fmla="*/ 54 w 1559"/>
                  <a:gd name="T55" fmla="*/ 493 h 1560"/>
                  <a:gd name="T56" fmla="*/ 118 w 1559"/>
                  <a:gd name="T57" fmla="*/ 366 h 1560"/>
                  <a:gd name="T58" fmla="*/ 204 w 1559"/>
                  <a:gd name="T59" fmla="*/ 254 h 1560"/>
                  <a:gd name="T60" fmla="*/ 308 w 1559"/>
                  <a:gd name="T61" fmla="*/ 158 h 1560"/>
                  <a:gd name="T62" fmla="*/ 428 w 1559"/>
                  <a:gd name="T63" fmla="*/ 83 h 1560"/>
                  <a:gd name="T64" fmla="*/ 561 w 1559"/>
                  <a:gd name="T65" fmla="*/ 31 h 1560"/>
                  <a:gd name="T66" fmla="*/ 705 w 1559"/>
                  <a:gd name="T67" fmla="*/ 3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59" h="1560">
                    <a:moveTo>
                      <a:pt x="780" y="0"/>
                    </a:moveTo>
                    <a:lnTo>
                      <a:pt x="855" y="3"/>
                    </a:lnTo>
                    <a:lnTo>
                      <a:pt x="928" y="13"/>
                    </a:lnTo>
                    <a:lnTo>
                      <a:pt x="998" y="31"/>
                    </a:lnTo>
                    <a:lnTo>
                      <a:pt x="1066" y="54"/>
                    </a:lnTo>
                    <a:lnTo>
                      <a:pt x="1132" y="83"/>
                    </a:lnTo>
                    <a:lnTo>
                      <a:pt x="1193" y="119"/>
                    </a:lnTo>
                    <a:lnTo>
                      <a:pt x="1251" y="158"/>
                    </a:lnTo>
                    <a:lnTo>
                      <a:pt x="1305" y="203"/>
                    </a:lnTo>
                    <a:lnTo>
                      <a:pt x="1355" y="254"/>
                    </a:lnTo>
                    <a:lnTo>
                      <a:pt x="1401" y="307"/>
                    </a:lnTo>
                    <a:lnTo>
                      <a:pt x="1440" y="366"/>
                    </a:lnTo>
                    <a:lnTo>
                      <a:pt x="1476" y="427"/>
                    </a:lnTo>
                    <a:lnTo>
                      <a:pt x="1505" y="493"/>
                    </a:lnTo>
                    <a:lnTo>
                      <a:pt x="1528" y="561"/>
                    </a:lnTo>
                    <a:lnTo>
                      <a:pt x="1545" y="631"/>
                    </a:lnTo>
                    <a:lnTo>
                      <a:pt x="1556" y="704"/>
                    </a:lnTo>
                    <a:lnTo>
                      <a:pt x="1559" y="779"/>
                    </a:lnTo>
                    <a:lnTo>
                      <a:pt x="1556" y="854"/>
                    </a:lnTo>
                    <a:lnTo>
                      <a:pt x="1545" y="928"/>
                    </a:lnTo>
                    <a:lnTo>
                      <a:pt x="1528" y="999"/>
                    </a:lnTo>
                    <a:lnTo>
                      <a:pt x="1505" y="1067"/>
                    </a:lnTo>
                    <a:lnTo>
                      <a:pt x="1476" y="1131"/>
                    </a:lnTo>
                    <a:lnTo>
                      <a:pt x="1440" y="1194"/>
                    </a:lnTo>
                    <a:lnTo>
                      <a:pt x="1401" y="1252"/>
                    </a:lnTo>
                    <a:lnTo>
                      <a:pt x="1355" y="1306"/>
                    </a:lnTo>
                    <a:lnTo>
                      <a:pt x="1305" y="1355"/>
                    </a:lnTo>
                    <a:lnTo>
                      <a:pt x="1251" y="1400"/>
                    </a:lnTo>
                    <a:lnTo>
                      <a:pt x="1193" y="1441"/>
                    </a:lnTo>
                    <a:lnTo>
                      <a:pt x="1132" y="1476"/>
                    </a:lnTo>
                    <a:lnTo>
                      <a:pt x="1066" y="1504"/>
                    </a:lnTo>
                    <a:lnTo>
                      <a:pt x="998" y="1529"/>
                    </a:lnTo>
                    <a:lnTo>
                      <a:pt x="928" y="1545"/>
                    </a:lnTo>
                    <a:lnTo>
                      <a:pt x="855" y="1556"/>
                    </a:lnTo>
                    <a:lnTo>
                      <a:pt x="780" y="1560"/>
                    </a:lnTo>
                    <a:lnTo>
                      <a:pt x="705" y="1556"/>
                    </a:lnTo>
                    <a:lnTo>
                      <a:pt x="631" y="1545"/>
                    </a:lnTo>
                    <a:lnTo>
                      <a:pt x="561" y="1529"/>
                    </a:lnTo>
                    <a:lnTo>
                      <a:pt x="492" y="1504"/>
                    </a:lnTo>
                    <a:lnTo>
                      <a:pt x="428" y="1476"/>
                    </a:lnTo>
                    <a:lnTo>
                      <a:pt x="365" y="1441"/>
                    </a:lnTo>
                    <a:lnTo>
                      <a:pt x="308" y="1400"/>
                    </a:lnTo>
                    <a:lnTo>
                      <a:pt x="254" y="1355"/>
                    </a:lnTo>
                    <a:lnTo>
                      <a:pt x="204" y="1306"/>
                    </a:lnTo>
                    <a:lnTo>
                      <a:pt x="159" y="1252"/>
                    </a:lnTo>
                    <a:lnTo>
                      <a:pt x="118" y="1194"/>
                    </a:lnTo>
                    <a:lnTo>
                      <a:pt x="84" y="1131"/>
                    </a:lnTo>
                    <a:lnTo>
                      <a:pt x="54" y="1067"/>
                    </a:lnTo>
                    <a:lnTo>
                      <a:pt x="31" y="999"/>
                    </a:lnTo>
                    <a:lnTo>
                      <a:pt x="13" y="928"/>
                    </a:lnTo>
                    <a:lnTo>
                      <a:pt x="3" y="854"/>
                    </a:lnTo>
                    <a:lnTo>
                      <a:pt x="0" y="779"/>
                    </a:lnTo>
                    <a:lnTo>
                      <a:pt x="3" y="704"/>
                    </a:lnTo>
                    <a:lnTo>
                      <a:pt x="13" y="631"/>
                    </a:lnTo>
                    <a:lnTo>
                      <a:pt x="31" y="561"/>
                    </a:lnTo>
                    <a:lnTo>
                      <a:pt x="54" y="493"/>
                    </a:lnTo>
                    <a:lnTo>
                      <a:pt x="84" y="427"/>
                    </a:lnTo>
                    <a:lnTo>
                      <a:pt x="118" y="366"/>
                    </a:lnTo>
                    <a:lnTo>
                      <a:pt x="159" y="307"/>
                    </a:lnTo>
                    <a:lnTo>
                      <a:pt x="204" y="254"/>
                    </a:lnTo>
                    <a:lnTo>
                      <a:pt x="254" y="203"/>
                    </a:lnTo>
                    <a:lnTo>
                      <a:pt x="308" y="158"/>
                    </a:lnTo>
                    <a:lnTo>
                      <a:pt x="365" y="119"/>
                    </a:lnTo>
                    <a:lnTo>
                      <a:pt x="428" y="83"/>
                    </a:lnTo>
                    <a:lnTo>
                      <a:pt x="492" y="54"/>
                    </a:lnTo>
                    <a:lnTo>
                      <a:pt x="561" y="31"/>
                    </a:lnTo>
                    <a:lnTo>
                      <a:pt x="631" y="13"/>
                    </a:lnTo>
                    <a:lnTo>
                      <a:pt x="705" y="3"/>
                    </a:lnTo>
                    <a:lnTo>
                      <a:pt x="780"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8"/>
              <p:cNvSpPr>
                <a:spLocks noEditPoints="1"/>
              </p:cNvSpPr>
              <p:nvPr/>
            </p:nvSpPr>
            <p:spPr bwMode="auto">
              <a:xfrm>
                <a:off x="4561" y="2048"/>
                <a:ext cx="155" cy="206"/>
              </a:xfrm>
              <a:custGeom>
                <a:avLst/>
                <a:gdLst>
                  <a:gd name="T0" fmla="*/ 115 w 466"/>
                  <a:gd name="T1" fmla="*/ 132 h 617"/>
                  <a:gd name="T2" fmla="*/ 107 w 466"/>
                  <a:gd name="T3" fmla="*/ 138 h 617"/>
                  <a:gd name="T4" fmla="*/ 103 w 466"/>
                  <a:gd name="T5" fmla="*/ 149 h 617"/>
                  <a:gd name="T6" fmla="*/ 103 w 466"/>
                  <a:gd name="T7" fmla="*/ 152 h 617"/>
                  <a:gd name="T8" fmla="*/ 103 w 466"/>
                  <a:gd name="T9" fmla="*/ 163 h 617"/>
                  <a:gd name="T10" fmla="*/ 101 w 466"/>
                  <a:gd name="T11" fmla="*/ 197 h 617"/>
                  <a:gd name="T12" fmla="*/ 100 w 466"/>
                  <a:gd name="T13" fmla="*/ 269 h 617"/>
                  <a:gd name="T14" fmla="*/ 98 w 466"/>
                  <a:gd name="T15" fmla="*/ 395 h 617"/>
                  <a:gd name="T16" fmla="*/ 99 w 466"/>
                  <a:gd name="T17" fmla="*/ 458 h 617"/>
                  <a:gd name="T18" fmla="*/ 107 w 466"/>
                  <a:gd name="T19" fmla="*/ 470 h 617"/>
                  <a:gd name="T20" fmla="*/ 120 w 466"/>
                  <a:gd name="T21" fmla="*/ 475 h 617"/>
                  <a:gd name="T22" fmla="*/ 123 w 466"/>
                  <a:gd name="T23" fmla="*/ 475 h 617"/>
                  <a:gd name="T24" fmla="*/ 146 w 466"/>
                  <a:gd name="T25" fmla="*/ 477 h 617"/>
                  <a:gd name="T26" fmla="*/ 208 w 466"/>
                  <a:gd name="T27" fmla="*/ 480 h 617"/>
                  <a:gd name="T28" fmla="*/ 326 w 466"/>
                  <a:gd name="T29" fmla="*/ 487 h 617"/>
                  <a:gd name="T30" fmla="*/ 351 w 466"/>
                  <a:gd name="T31" fmla="*/ 478 h 617"/>
                  <a:gd name="T32" fmla="*/ 368 w 466"/>
                  <a:gd name="T33" fmla="*/ 166 h 617"/>
                  <a:gd name="T34" fmla="*/ 365 w 466"/>
                  <a:gd name="T35" fmla="*/ 152 h 617"/>
                  <a:gd name="T36" fmla="*/ 354 w 466"/>
                  <a:gd name="T37" fmla="*/ 142 h 617"/>
                  <a:gd name="T38" fmla="*/ 344 w 466"/>
                  <a:gd name="T39" fmla="*/ 140 h 617"/>
                  <a:gd name="T40" fmla="*/ 341 w 466"/>
                  <a:gd name="T41" fmla="*/ 140 h 617"/>
                  <a:gd name="T42" fmla="*/ 323 w 466"/>
                  <a:gd name="T43" fmla="*/ 138 h 617"/>
                  <a:gd name="T44" fmla="*/ 271 w 466"/>
                  <a:gd name="T45" fmla="*/ 136 h 617"/>
                  <a:gd name="T46" fmla="*/ 172 w 466"/>
                  <a:gd name="T47" fmla="*/ 133 h 617"/>
                  <a:gd name="T48" fmla="*/ 47 w 466"/>
                  <a:gd name="T49" fmla="*/ 0 h 617"/>
                  <a:gd name="T50" fmla="*/ 49 w 466"/>
                  <a:gd name="T51" fmla="*/ 0 h 617"/>
                  <a:gd name="T52" fmla="*/ 67 w 466"/>
                  <a:gd name="T53" fmla="*/ 1 h 617"/>
                  <a:gd name="T54" fmla="*/ 114 w 466"/>
                  <a:gd name="T55" fmla="*/ 2 h 617"/>
                  <a:gd name="T56" fmla="*/ 206 w 466"/>
                  <a:gd name="T57" fmla="*/ 7 h 617"/>
                  <a:gd name="T58" fmla="*/ 358 w 466"/>
                  <a:gd name="T59" fmla="*/ 13 h 617"/>
                  <a:gd name="T60" fmla="*/ 445 w 466"/>
                  <a:gd name="T61" fmla="*/ 22 h 617"/>
                  <a:gd name="T62" fmla="*/ 466 w 466"/>
                  <a:gd name="T63" fmla="*/ 51 h 617"/>
                  <a:gd name="T64" fmla="*/ 466 w 466"/>
                  <a:gd name="T65" fmla="*/ 63 h 617"/>
                  <a:gd name="T66" fmla="*/ 466 w 466"/>
                  <a:gd name="T67" fmla="*/ 71 h 617"/>
                  <a:gd name="T68" fmla="*/ 465 w 466"/>
                  <a:gd name="T69" fmla="*/ 100 h 617"/>
                  <a:gd name="T70" fmla="*/ 464 w 466"/>
                  <a:gd name="T71" fmla="*/ 159 h 617"/>
                  <a:gd name="T72" fmla="*/ 462 w 466"/>
                  <a:gd name="T73" fmla="*/ 262 h 617"/>
                  <a:gd name="T74" fmla="*/ 458 w 466"/>
                  <a:gd name="T75" fmla="*/ 420 h 617"/>
                  <a:gd name="T76" fmla="*/ 452 w 466"/>
                  <a:gd name="T77" fmla="*/ 576 h 617"/>
                  <a:gd name="T78" fmla="*/ 422 w 466"/>
                  <a:gd name="T79" fmla="*/ 611 h 617"/>
                  <a:gd name="T80" fmla="*/ 393 w 466"/>
                  <a:gd name="T81" fmla="*/ 617 h 617"/>
                  <a:gd name="T82" fmla="*/ 388 w 466"/>
                  <a:gd name="T83" fmla="*/ 615 h 617"/>
                  <a:gd name="T84" fmla="*/ 362 w 466"/>
                  <a:gd name="T85" fmla="*/ 614 h 617"/>
                  <a:gd name="T86" fmla="*/ 307 w 466"/>
                  <a:gd name="T87" fmla="*/ 611 h 617"/>
                  <a:gd name="T88" fmla="*/ 203 w 466"/>
                  <a:gd name="T89" fmla="*/ 605 h 617"/>
                  <a:gd name="T90" fmla="*/ 38 w 466"/>
                  <a:gd name="T91" fmla="*/ 596 h 617"/>
                  <a:gd name="T92" fmla="*/ 10 w 466"/>
                  <a:gd name="T93" fmla="*/ 581 h 617"/>
                  <a:gd name="T94" fmla="*/ 0 w 466"/>
                  <a:gd name="T95" fmla="*/ 553 h 617"/>
                  <a:gd name="T96" fmla="*/ 0 w 466"/>
                  <a:gd name="T97" fmla="*/ 548 h 617"/>
                  <a:gd name="T98" fmla="*/ 0 w 466"/>
                  <a:gd name="T99" fmla="*/ 528 h 617"/>
                  <a:gd name="T100" fmla="*/ 1 w 466"/>
                  <a:gd name="T101" fmla="*/ 478 h 617"/>
                  <a:gd name="T102" fmla="*/ 2 w 466"/>
                  <a:gd name="T103" fmla="*/ 388 h 617"/>
                  <a:gd name="T104" fmla="*/ 4 w 466"/>
                  <a:gd name="T105" fmla="*/ 246 h 617"/>
                  <a:gd name="T106" fmla="*/ 8 w 466"/>
                  <a:gd name="T107" fmla="*/ 38 h 617"/>
                  <a:gd name="T108" fmla="*/ 18 w 466"/>
                  <a:gd name="T109" fmla="*/ 1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6" h="617">
                    <a:moveTo>
                      <a:pt x="122" y="130"/>
                    </a:moveTo>
                    <a:lnTo>
                      <a:pt x="119" y="130"/>
                    </a:lnTo>
                    <a:lnTo>
                      <a:pt x="115" y="132"/>
                    </a:lnTo>
                    <a:lnTo>
                      <a:pt x="112" y="134"/>
                    </a:lnTo>
                    <a:lnTo>
                      <a:pt x="109" y="136"/>
                    </a:lnTo>
                    <a:lnTo>
                      <a:pt x="107" y="138"/>
                    </a:lnTo>
                    <a:lnTo>
                      <a:pt x="105" y="142"/>
                    </a:lnTo>
                    <a:lnTo>
                      <a:pt x="104" y="145"/>
                    </a:lnTo>
                    <a:lnTo>
                      <a:pt x="103" y="149"/>
                    </a:lnTo>
                    <a:lnTo>
                      <a:pt x="103" y="151"/>
                    </a:lnTo>
                    <a:lnTo>
                      <a:pt x="103" y="152"/>
                    </a:lnTo>
                    <a:lnTo>
                      <a:pt x="103" y="152"/>
                    </a:lnTo>
                    <a:lnTo>
                      <a:pt x="103" y="153"/>
                    </a:lnTo>
                    <a:lnTo>
                      <a:pt x="103" y="157"/>
                    </a:lnTo>
                    <a:lnTo>
                      <a:pt x="103" y="163"/>
                    </a:lnTo>
                    <a:lnTo>
                      <a:pt x="103" y="171"/>
                    </a:lnTo>
                    <a:lnTo>
                      <a:pt x="103" y="182"/>
                    </a:lnTo>
                    <a:lnTo>
                      <a:pt x="101" y="197"/>
                    </a:lnTo>
                    <a:lnTo>
                      <a:pt x="101" y="216"/>
                    </a:lnTo>
                    <a:lnTo>
                      <a:pt x="101" y="240"/>
                    </a:lnTo>
                    <a:lnTo>
                      <a:pt x="100" y="269"/>
                    </a:lnTo>
                    <a:lnTo>
                      <a:pt x="100" y="305"/>
                    </a:lnTo>
                    <a:lnTo>
                      <a:pt x="99" y="346"/>
                    </a:lnTo>
                    <a:lnTo>
                      <a:pt x="98" y="395"/>
                    </a:lnTo>
                    <a:lnTo>
                      <a:pt x="98" y="450"/>
                    </a:lnTo>
                    <a:lnTo>
                      <a:pt x="98" y="454"/>
                    </a:lnTo>
                    <a:lnTo>
                      <a:pt x="99" y="458"/>
                    </a:lnTo>
                    <a:lnTo>
                      <a:pt x="101" y="462"/>
                    </a:lnTo>
                    <a:lnTo>
                      <a:pt x="105" y="466"/>
                    </a:lnTo>
                    <a:lnTo>
                      <a:pt x="107" y="470"/>
                    </a:lnTo>
                    <a:lnTo>
                      <a:pt x="111" y="472"/>
                    </a:lnTo>
                    <a:lnTo>
                      <a:pt x="115" y="473"/>
                    </a:lnTo>
                    <a:lnTo>
                      <a:pt x="120" y="475"/>
                    </a:lnTo>
                    <a:lnTo>
                      <a:pt x="120" y="475"/>
                    </a:lnTo>
                    <a:lnTo>
                      <a:pt x="121" y="475"/>
                    </a:lnTo>
                    <a:lnTo>
                      <a:pt x="123" y="475"/>
                    </a:lnTo>
                    <a:lnTo>
                      <a:pt x="128" y="476"/>
                    </a:lnTo>
                    <a:lnTo>
                      <a:pt x="135" y="476"/>
                    </a:lnTo>
                    <a:lnTo>
                      <a:pt x="146" y="477"/>
                    </a:lnTo>
                    <a:lnTo>
                      <a:pt x="161" y="477"/>
                    </a:lnTo>
                    <a:lnTo>
                      <a:pt x="181" y="478"/>
                    </a:lnTo>
                    <a:lnTo>
                      <a:pt x="208" y="480"/>
                    </a:lnTo>
                    <a:lnTo>
                      <a:pt x="240" y="481"/>
                    </a:lnTo>
                    <a:lnTo>
                      <a:pt x="279" y="484"/>
                    </a:lnTo>
                    <a:lnTo>
                      <a:pt x="326" y="487"/>
                    </a:lnTo>
                    <a:lnTo>
                      <a:pt x="336" y="486"/>
                    </a:lnTo>
                    <a:lnTo>
                      <a:pt x="344" y="484"/>
                    </a:lnTo>
                    <a:lnTo>
                      <a:pt x="351" y="478"/>
                    </a:lnTo>
                    <a:lnTo>
                      <a:pt x="359" y="468"/>
                    </a:lnTo>
                    <a:lnTo>
                      <a:pt x="361" y="456"/>
                    </a:lnTo>
                    <a:lnTo>
                      <a:pt x="368" y="166"/>
                    </a:lnTo>
                    <a:lnTo>
                      <a:pt x="368" y="160"/>
                    </a:lnTo>
                    <a:lnTo>
                      <a:pt x="367" y="156"/>
                    </a:lnTo>
                    <a:lnTo>
                      <a:pt x="365" y="152"/>
                    </a:lnTo>
                    <a:lnTo>
                      <a:pt x="361" y="148"/>
                    </a:lnTo>
                    <a:lnTo>
                      <a:pt x="358" y="144"/>
                    </a:lnTo>
                    <a:lnTo>
                      <a:pt x="354" y="142"/>
                    </a:lnTo>
                    <a:lnTo>
                      <a:pt x="351" y="141"/>
                    </a:lnTo>
                    <a:lnTo>
                      <a:pt x="347" y="140"/>
                    </a:lnTo>
                    <a:lnTo>
                      <a:pt x="344" y="140"/>
                    </a:lnTo>
                    <a:lnTo>
                      <a:pt x="344" y="140"/>
                    </a:lnTo>
                    <a:lnTo>
                      <a:pt x="344" y="140"/>
                    </a:lnTo>
                    <a:lnTo>
                      <a:pt x="341" y="140"/>
                    </a:lnTo>
                    <a:lnTo>
                      <a:pt x="338" y="140"/>
                    </a:lnTo>
                    <a:lnTo>
                      <a:pt x="331" y="138"/>
                    </a:lnTo>
                    <a:lnTo>
                      <a:pt x="323" y="138"/>
                    </a:lnTo>
                    <a:lnTo>
                      <a:pt x="310" y="138"/>
                    </a:lnTo>
                    <a:lnTo>
                      <a:pt x="293" y="137"/>
                    </a:lnTo>
                    <a:lnTo>
                      <a:pt x="271" y="136"/>
                    </a:lnTo>
                    <a:lnTo>
                      <a:pt x="245" y="135"/>
                    </a:lnTo>
                    <a:lnTo>
                      <a:pt x="211" y="134"/>
                    </a:lnTo>
                    <a:lnTo>
                      <a:pt x="172" y="133"/>
                    </a:lnTo>
                    <a:lnTo>
                      <a:pt x="126" y="130"/>
                    </a:lnTo>
                    <a:lnTo>
                      <a:pt x="122" y="130"/>
                    </a:lnTo>
                    <a:close/>
                    <a:moveTo>
                      <a:pt x="47" y="0"/>
                    </a:moveTo>
                    <a:lnTo>
                      <a:pt x="47" y="0"/>
                    </a:lnTo>
                    <a:lnTo>
                      <a:pt x="47" y="0"/>
                    </a:lnTo>
                    <a:lnTo>
                      <a:pt x="49" y="0"/>
                    </a:lnTo>
                    <a:lnTo>
                      <a:pt x="53" y="0"/>
                    </a:lnTo>
                    <a:lnTo>
                      <a:pt x="59" y="0"/>
                    </a:lnTo>
                    <a:lnTo>
                      <a:pt x="67" y="1"/>
                    </a:lnTo>
                    <a:lnTo>
                      <a:pt x="78" y="1"/>
                    </a:lnTo>
                    <a:lnTo>
                      <a:pt x="94" y="2"/>
                    </a:lnTo>
                    <a:lnTo>
                      <a:pt x="114" y="2"/>
                    </a:lnTo>
                    <a:lnTo>
                      <a:pt x="139" y="3"/>
                    </a:lnTo>
                    <a:lnTo>
                      <a:pt x="169" y="4"/>
                    </a:lnTo>
                    <a:lnTo>
                      <a:pt x="206" y="7"/>
                    </a:lnTo>
                    <a:lnTo>
                      <a:pt x="249" y="8"/>
                    </a:lnTo>
                    <a:lnTo>
                      <a:pt x="300" y="10"/>
                    </a:lnTo>
                    <a:lnTo>
                      <a:pt x="358" y="13"/>
                    </a:lnTo>
                    <a:lnTo>
                      <a:pt x="425" y="15"/>
                    </a:lnTo>
                    <a:lnTo>
                      <a:pt x="435" y="18"/>
                    </a:lnTo>
                    <a:lnTo>
                      <a:pt x="445" y="22"/>
                    </a:lnTo>
                    <a:lnTo>
                      <a:pt x="455" y="30"/>
                    </a:lnTo>
                    <a:lnTo>
                      <a:pt x="462" y="40"/>
                    </a:lnTo>
                    <a:lnTo>
                      <a:pt x="466" y="51"/>
                    </a:lnTo>
                    <a:lnTo>
                      <a:pt x="466" y="62"/>
                    </a:lnTo>
                    <a:lnTo>
                      <a:pt x="466" y="62"/>
                    </a:lnTo>
                    <a:lnTo>
                      <a:pt x="466" y="63"/>
                    </a:lnTo>
                    <a:lnTo>
                      <a:pt x="466" y="65"/>
                    </a:lnTo>
                    <a:lnTo>
                      <a:pt x="466" y="67"/>
                    </a:lnTo>
                    <a:lnTo>
                      <a:pt x="466" y="71"/>
                    </a:lnTo>
                    <a:lnTo>
                      <a:pt x="466" y="78"/>
                    </a:lnTo>
                    <a:lnTo>
                      <a:pt x="466" y="88"/>
                    </a:lnTo>
                    <a:lnTo>
                      <a:pt x="465" y="100"/>
                    </a:lnTo>
                    <a:lnTo>
                      <a:pt x="465" y="115"/>
                    </a:lnTo>
                    <a:lnTo>
                      <a:pt x="465" y="135"/>
                    </a:lnTo>
                    <a:lnTo>
                      <a:pt x="464" y="159"/>
                    </a:lnTo>
                    <a:lnTo>
                      <a:pt x="464" y="188"/>
                    </a:lnTo>
                    <a:lnTo>
                      <a:pt x="463" y="223"/>
                    </a:lnTo>
                    <a:lnTo>
                      <a:pt x="462" y="262"/>
                    </a:lnTo>
                    <a:lnTo>
                      <a:pt x="460" y="308"/>
                    </a:lnTo>
                    <a:lnTo>
                      <a:pt x="459" y="361"/>
                    </a:lnTo>
                    <a:lnTo>
                      <a:pt x="458" y="420"/>
                    </a:lnTo>
                    <a:lnTo>
                      <a:pt x="456" y="487"/>
                    </a:lnTo>
                    <a:lnTo>
                      <a:pt x="455" y="562"/>
                    </a:lnTo>
                    <a:lnTo>
                      <a:pt x="452" y="576"/>
                    </a:lnTo>
                    <a:lnTo>
                      <a:pt x="445" y="590"/>
                    </a:lnTo>
                    <a:lnTo>
                      <a:pt x="435" y="603"/>
                    </a:lnTo>
                    <a:lnTo>
                      <a:pt x="422" y="611"/>
                    </a:lnTo>
                    <a:lnTo>
                      <a:pt x="408" y="615"/>
                    </a:lnTo>
                    <a:lnTo>
                      <a:pt x="393" y="617"/>
                    </a:lnTo>
                    <a:lnTo>
                      <a:pt x="393" y="617"/>
                    </a:lnTo>
                    <a:lnTo>
                      <a:pt x="392" y="617"/>
                    </a:lnTo>
                    <a:lnTo>
                      <a:pt x="391" y="617"/>
                    </a:lnTo>
                    <a:lnTo>
                      <a:pt x="388" y="615"/>
                    </a:lnTo>
                    <a:lnTo>
                      <a:pt x="382" y="615"/>
                    </a:lnTo>
                    <a:lnTo>
                      <a:pt x="374" y="615"/>
                    </a:lnTo>
                    <a:lnTo>
                      <a:pt x="362" y="614"/>
                    </a:lnTo>
                    <a:lnTo>
                      <a:pt x="348" y="613"/>
                    </a:lnTo>
                    <a:lnTo>
                      <a:pt x="330" y="612"/>
                    </a:lnTo>
                    <a:lnTo>
                      <a:pt x="307" y="611"/>
                    </a:lnTo>
                    <a:lnTo>
                      <a:pt x="278" y="610"/>
                    </a:lnTo>
                    <a:lnTo>
                      <a:pt x="243" y="607"/>
                    </a:lnTo>
                    <a:lnTo>
                      <a:pt x="203" y="605"/>
                    </a:lnTo>
                    <a:lnTo>
                      <a:pt x="156" y="603"/>
                    </a:lnTo>
                    <a:lnTo>
                      <a:pt x="100" y="599"/>
                    </a:lnTo>
                    <a:lnTo>
                      <a:pt x="38" y="596"/>
                    </a:lnTo>
                    <a:lnTo>
                      <a:pt x="27" y="592"/>
                    </a:lnTo>
                    <a:lnTo>
                      <a:pt x="18" y="589"/>
                    </a:lnTo>
                    <a:lnTo>
                      <a:pt x="10" y="581"/>
                    </a:lnTo>
                    <a:lnTo>
                      <a:pt x="2" y="567"/>
                    </a:lnTo>
                    <a:lnTo>
                      <a:pt x="0" y="553"/>
                    </a:lnTo>
                    <a:lnTo>
                      <a:pt x="0" y="553"/>
                    </a:lnTo>
                    <a:lnTo>
                      <a:pt x="0" y="553"/>
                    </a:lnTo>
                    <a:lnTo>
                      <a:pt x="0" y="551"/>
                    </a:lnTo>
                    <a:lnTo>
                      <a:pt x="0" y="548"/>
                    </a:lnTo>
                    <a:lnTo>
                      <a:pt x="0" y="544"/>
                    </a:lnTo>
                    <a:lnTo>
                      <a:pt x="0" y="537"/>
                    </a:lnTo>
                    <a:lnTo>
                      <a:pt x="0" y="528"/>
                    </a:lnTo>
                    <a:lnTo>
                      <a:pt x="0" y="515"/>
                    </a:lnTo>
                    <a:lnTo>
                      <a:pt x="1" y="499"/>
                    </a:lnTo>
                    <a:lnTo>
                      <a:pt x="1" y="478"/>
                    </a:lnTo>
                    <a:lnTo>
                      <a:pt x="1" y="454"/>
                    </a:lnTo>
                    <a:lnTo>
                      <a:pt x="2" y="424"/>
                    </a:lnTo>
                    <a:lnTo>
                      <a:pt x="2" y="388"/>
                    </a:lnTo>
                    <a:lnTo>
                      <a:pt x="3" y="347"/>
                    </a:lnTo>
                    <a:lnTo>
                      <a:pt x="4" y="300"/>
                    </a:lnTo>
                    <a:lnTo>
                      <a:pt x="4" y="246"/>
                    </a:lnTo>
                    <a:lnTo>
                      <a:pt x="6" y="185"/>
                    </a:lnTo>
                    <a:lnTo>
                      <a:pt x="7" y="115"/>
                    </a:lnTo>
                    <a:lnTo>
                      <a:pt x="8" y="38"/>
                    </a:lnTo>
                    <a:lnTo>
                      <a:pt x="9" y="28"/>
                    </a:lnTo>
                    <a:lnTo>
                      <a:pt x="12" y="18"/>
                    </a:lnTo>
                    <a:lnTo>
                      <a:pt x="18" y="10"/>
                    </a:lnTo>
                    <a:lnTo>
                      <a:pt x="32" y="2"/>
                    </a:lnTo>
                    <a:lnTo>
                      <a:pt x="47" y="0"/>
                    </a:lnTo>
                    <a:close/>
                  </a:path>
                </a:pathLst>
              </a:custGeom>
              <a:solidFill>
                <a:srgbClr val="0070C0"/>
              </a:solidFill>
              <a:ln w="0">
                <a:solidFill>
                  <a:srgbClr val="267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9"/>
              <p:cNvSpPr>
                <a:spLocks noEditPoints="1"/>
              </p:cNvSpPr>
              <p:nvPr/>
            </p:nvSpPr>
            <p:spPr bwMode="auto">
              <a:xfrm>
                <a:off x="4503" y="1922"/>
                <a:ext cx="385" cy="277"/>
              </a:xfrm>
              <a:custGeom>
                <a:avLst/>
                <a:gdLst>
                  <a:gd name="T0" fmla="*/ 1057 w 1154"/>
                  <a:gd name="T1" fmla="*/ 813 h 833"/>
                  <a:gd name="T2" fmla="*/ 1079 w 1154"/>
                  <a:gd name="T3" fmla="*/ 740 h 833"/>
                  <a:gd name="T4" fmla="*/ 1108 w 1154"/>
                  <a:gd name="T5" fmla="*/ 718 h 833"/>
                  <a:gd name="T6" fmla="*/ 42 w 1154"/>
                  <a:gd name="T7" fmla="*/ 492 h 833"/>
                  <a:gd name="T8" fmla="*/ 146 w 1154"/>
                  <a:gd name="T9" fmla="*/ 358 h 833"/>
                  <a:gd name="T10" fmla="*/ 60 w 1154"/>
                  <a:gd name="T11" fmla="*/ 361 h 833"/>
                  <a:gd name="T12" fmla="*/ 123 w 1154"/>
                  <a:gd name="T13" fmla="*/ 341 h 833"/>
                  <a:gd name="T14" fmla="*/ 132 w 1154"/>
                  <a:gd name="T15" fmla="*/ 354 h 833"/>
                  <a:gd name="T16" fmla="*/ 106 w 1154"/>
                  <a:gd name="T17" fmla="*/ 359 h 833"/>
                  <a:gd name="T18" fmla="*/ 90 w 1154"/>
                  <a:gd name="T19" fmla="*/ 351 h 833"/>
                  <a:gd name="T20" fmla="*/ 93 w 1154"/>
                  <a:gd name="T21" fmla="*/ 341 h 833"/>
                  <a:gd name="T22" fmla="*/ 17 w 1154"/>
                  <a:gd name="T23" fmla="*/ 320 h 833"/>
                  <a:gd name="T24" fmla="*/ 34 w 1154"/>
                  <a:gd name="T25" fmla="*/ 307 h 833"/>
                  <a:gd name="T26" fmla="*/ 62 w 1154"/>
                  <a:gd name="T27" fmla="*/ 320 h 833"/>
                  <a:gd name="T28" fmla="*/ 84 w 1154"/>
                  <a:gd name="T29" fmla="*/ 330 h 833"/>
                  <a:gd name="T30" fmla="*/ 62 w 1154"/>
                  <a:gd name="T31" fmla="*/ 341 h 833"/>
                  <a:gd name="T32" fmla="*/ 54 w 1154"/>
                  <a:gd name="T33" fmla="*/ 329 h 833"/>
                  <a:gd name="T34" fmla="*/ 23 w 1154"/>
                  <a:gd name="T35" fmla="*/ 315 h 833"/>
                  <a:gd name="T36" fmla="*/ 3 w 1154"/>
                  <a:gd name="T37" fmla="*/ 319 h 833"/>
                  <a:gd name="T38" fmla="*/ 23 w 1154"/>
                  <a:gd name="T39" fmla="*/ 307 h 833"/>
                  <a:gd name="T40" fmla="*/ 798 w 1154"/>
                  <a:gd name="T41" fmla="*/ 182 h 833"/>
                  <a:gd name="T42" fmla="*/ 817 w 1154"/>
                  <a:gd name="T43" fmla="*/ 174 h 833"/>
                  <a:gd name="T44" fmla="*/ 766 w 1154"/>
                  <a:gd name="T45" fmla="*/ 164 h 833"/>
                  <a:gd name="T46" fmla="*/ 757 w 1154"/>
                  <a:gd name="T47" fmla="*/ 149 h 833"/>
                  <a:gd name="T48" fmla="*/ 758 w 1154"/>
                  <a:gd name="T49" fmla="*/ 140 h 833"/>
                  <a:gd name="T50" fmla="*/ 272 w 1154"/>
                  <a:gd name="T51" fmla="*/ 81 h 833"/>
                  <a:gd name="T52" fmla="*/ 248 w 1154"/>
                  <a:gd name="T53" fmla="*/ 78 h 833"/>
                  <a:gd name="T54" fmla="*/ 244 w 1154"/>
                  <a:gd name="T55" fmla="*/ 80 h 833"/>
                  <a:gd name="T56" fmla="*/ 325 w 1154"/>
                  <a:gd name="T57" fmla="*/ 75 h 833"/>
                  <a:gd name="T58" fmla="*/ 288 w 1154"/>
                  <a:gd name="T59" fmla="*/ 62 h 833"/>
                  <a:gd name="T60" fmla="*/ 623 w 1154"/>
                  <a:gd name="T61" fmla="*/ 45 h 833"/>
                  <a:gd name="T62" fmla="*/ 322 w 1154"/>
                  <a:gd name="T63" fmla="*/ 36 h 833"/>
                  <a:gd name="T64" fmla="*/ 317 w 1154"/>
                  <a:gd name="T65" fmla="*/ 47 h 833"/>
                  <a:gd name="T66" fmla="*/ 332 w 1154"/>
                  <a:gd name="T67" fmla="*/ 55 h 833"/>
                  <a:gd name="T68" fmla="*/ 322 w 1154"/>
                  <a:gd name="T69" fmla="*/ 69 h 833"/>
                  <a:gd name="T70" fmla="*/ 310 w 1154"/>
                  <a:gd name="T71" fmla="*/ 69 h 833"/>
                  <a:gd name="T72" fmla="*/ 284 w 1154"/>
                  <a:gd name="T73" fmla="*/ 67 h 833"/>
                  <a:gd name="T74" fmla="*/ 300 w 1154"/>
                  <a:gd name="T75" fmla="*/ 53 h 833"/>
                  <a:gd name="T76" fmla="*/ 758 w 1154"/>
                  <a:gd name="T77" fmla="*/ 31 h 833"/>
                  <a:gd name="T78" fmla="*/ 650 w 1154"/>
                  <a:gd name="T79" fmla="*/ 28 h 833"/>
                  <a:gd name="T80" fmla="*/ 646 w 1154"/>
                  <a:gd name="T81" fmla="*/ 48 h 833"/>
                  <a:gd name="T82" fmla="*/ 620 w 1154"/>
                  <a:gd name="T83" fmla="*/ 53 h 833"/>
                  <a:gd name="T84" fmla="*/ 626 w 1154"/>
                  <a:gd name="T85" fmla="*/ 39 h 833"/>
                  <a:gd name="T86" fmla="*/ 631 w 1154"/>
                  <a:gd name="T87" fmla="*/ 33 h 833"/>
                  <a:gd name="T88" fmla="*/ 774 w 1154"/>
                  <a:gd name="T89" fmla="*/ 25 h 833"/>
                  <a:gd name="T90" fmla="*/ 770 w 1154"/>
                  <a:gd name="T91" fmla="*/ 23 h 833"/>
                  <a:gd name="T92" fmla="*/ 753 w 1154"/>
                  <a:gd name="T93" fmla="*/ 15 h 833"/>
                  <a:gd name="T94" fmla="*/ 748 w 1154"/>
                  <a:gd name="T95" fmla="*/ 17 h 833"/>
                  <a:gd name="T96" fmla="*/ 660 w 1154"/>
                  <a:gd name="T97" fmla="*/ 1 h 833"/>
                  <a:gd name="T98" fmla="*/ 680 w 1154"/>
                  <a:gd name="T99" fmla="*/ 8 h 833"/>
                  <a:gd name="T100" fmla="*/ 690 w 1154"/>
                  <a:gd name="T101" fmla="*/ 16 h 833"/>
                  <a:gd name="T102" fmla="*/ 682 w 1154"/>
                  <a:gd name="T103" fmla="*/ 31 h 833"/>
                  <a:gd name="T104" fmla="*/ 698 w 1154"/>
                  <a:gd name="T105" fmla="*/ 45 h 833"/>
                  <a:gd name="T106" fmla="*/ 693 w 1154"/>
                  <a:gd name="T107" fmla="*/ 60 h 833"/>
                  <a:gd name="T108" fmla="*/ 662 w 1154"/>
                  <a:gd name="T109" fmla="*/ 66 h 833"/>
                  <a:gd name="T110" fmla="*/ 658 w 1154"/>
                  <a:gd name="T111" fmla="*/ 59 h 833"/>
                  <a:gd name="T112" fmla="*/ 659 w 1154"/>
                  <a:gd name="T113" fmla="*/ 54 h 833"/>
                  <a:gd name="T114" fmla="*/ 660 w 1154"/>
                  <a:gd name="T115" fmla="*/ 45 h 833"/>
                  <a:gd name="T116" fmla="*/ 669 w 1154"/>
                  <a:gd name="T117" fmla="*/ 38 h 833"/>
                  <a:gd name="T118" fmla="*/ 660 w 1154"/>
                  <a:gd name="T119" fmla="*/ 33 h 833"/>
                  <a:gd name="T120" fmla="*/ 658 w 1154"/>
                  <a:gd name="T121" fmla="*/ 22 h 833"/>
                  <a:gd name="T122" fmla="*/ 653 w 1154"/>
                  <a:gd name="T123" fmla="*/ 11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4" h="833">
                    <a:moveTo>
                      <a:pt x="1123" y="697"/>
                    </a:moveTo>
                    <a:lnTo>
                      <a:pt x="1123" y="699"/>
                    </a:lnTo>
                    <a:lnTo>
                      <a:pt x="1123" y="700"/>
                    </a:lnTo>
                    <a:lnTo>
                      <a:pt x="1123" y="700"/>
                    </a:lnTo>
                    <a:lnTo>
                      <a:pt x="1123" y="701"/>
                    </a:lnTo>
                    <a:lnTo>
                      <a:pt x="1123" y="702"/>
                    </a:lnTo>
                    <a:lnTo>
                      <a:pt x="1124" y="702"/>
                    </a:lnTo>
                    <a:lnTo>
                      <a:pt x="1125" y="702"/>
                    </a:lnTo>
                    <a:lnTo>
                      <a:pt x="1126" y="706"/>
                    </a:lnTo>
                    <a:lnTo>
                      <a:pt x="1128" y="712"/>
                    </a:lnTo>
                    <a:lnTo>
                      <a:pt x="1129" y="722"/>
                    </a:lnTo>
                    <a:lnTo>
                      <a:pt x="1129" y="730"/>
                    </a:lnTo>
                    <a:lnTo>
                      <a:pt x="1129" y="730"/>
                    </a:lnTo>
                    <a:lnTo>
                      <a:pt x="1128" y="731"/>
                    </a:lnTo>
                    <a:lnTo>
                      <a:pt x="1128" y="732"/>
                    </a:lnTo>
                    <a:lnTo>
                      <a:pt x="1128" y="733"/>
                    </a:lnTo>
                    <a:lnTo>
                      <a:pt x="1125" y="733"/>
                    </a:lnTo>
                    <a:lnTo>
                      <a:pt x="1125" y="733"/>
                    </a:lnTo>
                    <a:lnTo>
                      <a:pt x="1124" y="733"/>
                    </a:lnTo>
                    <a:lnTo>
                      <a:pt x="1124" y="733"/>
                    </a:lnTo>
                    <a:lnTo>
                      <a:pt x="1123" y="736"/>
                    </a:lnTo>
                    <a:lnTo>
                      <a:pt x="1122" y="737"/>
                    </a:lnTo>
                    <a:lnTo>
                      <a:pt x="1123" y="739"/>
                    </a:lnTo>
                    <a:lnTo>
                      <a:pt x="1124" y="740"/>
                    </a:lnTo>
                    <a:lnTo>
                      <a:pt x="1096" y="788"/>
                    </a:lnTo>
                    <a:lnTo>
                      <a:pt x="1066" y="833"/>
                    </a:lnTo>
                    <a:lnTo>
                      <a:pt x="1063" y="831"/>
                    </a:lnTo>
                    <a:lnTo>
                      <a:pt x="1061" y="830"/>
                    </a:lnTo>
                    <a:lnTo>
                      <a:pt x="1059" y="828"/>
                    </a:lnTo>
                    <a:lnTo>
                      <a:pt x="1058" y="826"/>
                    </a:lnTo>
                    <a:lnTo>
                      <a:pt x="1059" y="822"/>
                    </a:lnTo>
                    <a:lnTo>
                      <a:pt x="1058" y="816"/>
                    </a:lnTo>
                    <a:lnTo>
                      <a:pt x="1057" y="813"/>
                    </a:lnTo>
                    <a:lnTo>
                      <a:pt x="1056" y="809"/>
                    </a:lnTo>
                    <a:lnTo>
                      <a:pt x="1055" y="806"/>
                    </a:lnTo>
                    <a:lnTo>
                      <a:pt x="1057" y="800"/>
                    </a:lnTo>
                    <a:lnTo>
                      <a:pt x="1058" y="796"/>
                    </a:lnTo>
                    <a:lnTo>
                      <a:pt x="1061" y="793"/>
                    </a:lnTo>
                    <a:lnTo>
                      <a:pt x="1062" y="791"/>
                    </a:lnTo>
                    <a:lnTo>
                      <a:pt x="1063" y="790"/>
                    </a:lnTo>
                    <a:lnTo>
                      <a:pt x="1064" y="790"/>
                    </a:lnTo>
                    <a:lnTo>
                      <a:pt x="1065" y="788"/>
                    </a:lnTo>
                    <a:lnTo>
                      <a:pt x="1066" y="785"/>
                    </a:lnTo>
                    <a:lnTo>
                      <a:pt x="1066" y="783"/>
                    </a:lnTo>
                    <a:lnTo>
                      <a:pt x="1067" y="781"/>
                    </a:lnTo>
                    <a:lnTo>
                      <a:pt x="1069" y="779"/>
                    </a:lnTo>
                    <a:lnTo>
                      <a:pt x="1070" y="778"/>
                    </a:lnTo>
                    <a:lnTo>
                      <a:pt x="1070" y="777"/>
                    </a:lnTo>
                    <a:lnTo>
                      <a:pt x="1070" y="775"/>
                    </a:lnTo>
                    <a:lnTo>
                      <a:pt x="1069" y="773"/>
                    </a:lnTo>
                    <a:lnTo>
                      <a:pt x="1069" y="770"/>
                    </a:lnTo>
                    <a:lnTo>
                      <a:pt x="1069" y="769"/>
                    </a:lnTo>
                    <a:lnTo>
                      <a:pt x="1070" y="767"/>
                    </a:lnTo>
                    <a:lnTo>
                      <a:pt x="1070" y="766"/>
                    </a:lnTo>
                    <a:lnTo>
                      <a:pt x="1070" y="763"/>
                    </a:lnTo>
                    <a:lnTo>
                      <a:pt x="1070" y="760"/>
                    </a:lnTo>
                    <a:lnTo>
                      <a:pt x="1070" y="756"/>
                    </a:lnTo>
                    <a:lnTo>
                      <a:pt x="1070" y="753"/>
                    </a:lnTo>
                    <a:lnTo>
                      <a:pt x="1071" y="751"/>
                    </a:lnTo>
                    <a:lnTo>
                      <a:pt x="1072" y="749"/>
                    </a:lnTo>
                    <a:lnTo>
                      <a:pt x="1073" y="747"/>
                    </a:lnTo>
                    <a:lnTo>
                      <a:pt x="1074" y="744"/>
                    </a:lnTo>
                    <a:lnTo>
                      <a:pt x="1076" y="741"/>
                    </a:lnTo>
                    <a:lnTo>
                      <a:pt x="1077" y="740"/>
                    </a:lnTo>
                    <a:lnTo>
                      <a:pt x="1078" y="740"/>
                    </a:lnTo>
                    <a:lnTo>
                      <a:pt x="1079" y="740"/>
                    </a:lnTo>
                    <a:lnTo>
                      <a:pt x="1080" y="741"/>
                    </a:lnTo>
                    <a:lnTo>
                      <a:pt x="1080" y="740"/>
                    </a:lnTo>
                    <a:lnTo>
                      <a:pt x="1081" y="739"/>
                    </a:lnTo>
                    <a:lnTo>
                      <a:pt x="1083" y="737"/>
                    </a:lnTo>
                    <a:lnTo>
                      <a:pt x="1085" y="737"/>
                    </a:lnTo>
                    <a:lnTo>
                      <a:pt x="1086" y="737"/>
                    </a:lnTo>
                    <a:lnTo>
                      <a:pt x="1088" y="737"/>
                    </a:lnTo>
                    <a:lnTo>
                      <a:pt x="1091" y="737"/>
                    </a:lnTo>
                    <a:lnTo>
                      <a:pt x="1092" y="737"/>
                    </a:lnTo>
                    <a:lnTo>
                      <a:pt x="1093" y="737"/>
                    </a:lnTo>
                    <a:lnTo>
                      <a:pt x="1094" y="736"/>
                    </a:lnTo>
                    <a:lnTo>
                      <a:pt x="1094" y="732"/>
                    </a:lnTo>
                    <a:lnTo>
                      <a:pt x="1095" y="731"/>
                    </a:lnTo>
                    <a:lnTo>
                      <a:pt x="1096" y="730"/>
                    </a:lnTo>
                    <a:lnTo>
                      <a:pt x="1098" y="729"/>
                    </a:lnTo>
                    <a:lnTo>
                      <a:pt x="1099" y="729"/>
                    </a:lnTo>
                    <a:lnTo>
                      <a:pt x="1100" y="727"/>
                    </a:lnTo>
                    <a:lnTo>
                      <a:pt x="1100" y="729"/>
                    </a:lnTo>
                    <a:lnTo>
                      <a:pt x="1100" y="729"/>
                    </a:lnTo>
                    <a:lnTo>
                      <a:pt x="1100" y="730"/>
                    </a:lnTo>
                    <a:lnTo>
                      <a:pt x="1100" y="730"/>
                    </a:lnTo>
                    <a:lnTo>
                      <a:pt x="1100" y="730"/>
                    </a:lnTo>
                    <a:lnTo>
                      <a:pt x="1101" y="729"/>
                    </a:lnTo>
                    <a:lnTo>
                      <a:pt x="1102" y="726"/>
                    </a:lnTo>
                    <a:lnTo>
                      <a:pt x="1104" y="724"/>
                    </a:lnTo>
                    <a:lnTo>
                      <a:pt x="1106" y="722"/>
                    </a:lnTo>
                    <a:lnTo>
                      <a:pt x="1106" y="721"/>
                    </a:lnTo>
                    <a:lnTo>
                      <a:pt x="1106" y="721"/>
                    </a:lnTo>
                    <a:lnTo>
                      <a:pt x="1107" y="719"/>
                    </a:lnTo>
                    <a:lnTo>
                      <a:pt x="1107" y="719"/>
                    </a:lnTo>
                    <a:lnTo>
                      <a:pt x="1108" y="719"/>
                    </a:lnTo>
                    <a:lnTo>
                      <a:pt x="1108" y="719"/>
                    </a:lnTo>
                    <a:lnTo>
                      <a:pt x="1108" y="718"/>
                    </a:lnTo>
                    <a:lnTo>
                      <a:pt x="1107" y="717"/>
                    </a:lnTo>
                    <a:lnTo>
                      <a:pt x="1107" y="716"/>
                    </a:lnTo>
                    <a:lnTo>
                      <a:pt x="1107" y="715"/>
                    </a:lnTo>
                    <a:lnTo>
                      <a:pt x="1108" y="715"/>
                    </a:lnTo>
                    <a:lnTo>
                      <a:pt x="1109" y="714"/>
                    </a:lnTo>
                    <a:lnTo>
                      <a:pt x="1110" y="715"/>
                    </a:lnTo>
                    <a:lnTo>
                      <a:pt x="1111" y="715"/>
                    </a:lnTo>
                    <a:lnTo>
                      <a:pt x="1111" y="716"/>
                    </a:lnTo>
                    <a:lnTo>
                      <a:pt x="1111" y="715"/>
                    </a:lnTo>
                    <a:lnTo>
                      <a:pt x="1111" y="715"/>
                    </a:lnTo>
                    <a:lnTo>
                      <a:pt x="1113" y="711"/>
                    </a:lnTo>
                    <a:lnTo>
                      <a:pt x="1115" y="709"/>
                    </a:lnTo>
                    <a:lnTo>
                      <a:pt x="1116" y="708"/>
                    </a:lnTo>
                    <a:lnTo>
                      <a:pt x="1117" y="707"/>
                    </a:lnTo>
                    <a:lnTo>
                      <a:pt x="1117" y="706"/>
                    </a:lnTo>
                    <a:lnTo>
                      <a:pt x="1117" y="703"/>
                    </a:lnTo>
                    <a:lnTo>
                      <a:pt x="1117" y="702"/>
                    </a:lnTo>
                    <a:lnTo>
                      <a:pt x="1118" y="700"/>
                    </a:lnTo>
                    <a:lnTo>
                      <a:pt x="1121" y="699"/>
                    </a:lnTo>
                    <a:lnTo>
                      <a:pt x="1122" y="697"/>
                    </a:lnTo>
                    <a:lnTo>
                      <a:pt x="1123" y="697"/>
                    </a:lnTo>
                    <a:close/>
                    <a:moveTo>
                      <a:pt x="777" y="603"/>
                    </a:moveTo>
                    <a:lnTo>
                      <a:pt x="777" y="603"/>
                    </a:lnTo>
                    <a:lnTo>
                      <a:pt x="777" y="603"/>
                    </a:lnTo>
                    <a:lnTo>
                      <a:pt x="777" y="603"/>
                    </a:lnTo>
                    <a:close/>
                    <a:moveTo>
                      <a:pt x="775" y="603"/>
                    </a:moveTo>
                    <a:lnTo>
                      <a:pt x="777" y="603"/>
                    </a:lnTo>
                    <a:lnTo>
                      <a:pt x="775" y="603"/>
                    </a:lnTo>
                    <a:lnTo>
                      <a:pt x="775" y="603"/>
                    </a:lnTo>
                    <a:close/>
                    <a:moveTo>
                      <a:pt x="42" y="492"/>
                    </a:moveTo>
                    <a:lnTo>
                      <a:pt x="42" y="492"/>
                    </a:lnTo>
                    <a:lnTo>
                      <a:pt x="42" y="492"/>
                    </a:lnTo>
                    <a:lnTo>
                      <a:pt x="42" y="492"/>
                    </a:lnTo>
                    <a:close/>
                    <a:moveTo>
                      <a:pt x="167" y="434"/>
                    </a:moveTo>
                    <a:lnTo>
                      <a:pt x="168" y="434"/>
                    </a:lnTo>
                    <a:lnTo>
                      <a:pt x="170" y="435"/>
                    </a:lnTo>
                    <a:lnTo>
                      <a:pt x="168" y="435"/>
                    </a:lnTo>
                    <a:lnTo>
                      <a:pt x="166" y="435"/>
                    </a:lnTo>
                    <a:lnTo>
                      <a:pt x="166" y="434"/>
                    </a:lnTo>
                    <a:lnTo>
                      <a:pt x="166" y="434"/>
                    </a:lnTo>
                    <a:lnTo>
                      <a:pt x="167" y="434"/>
                    </a:lnTo>
                    <a:close/>
                    <a:moveTo>
                      <a:pt x="149" y="353"/>
                    </a:moveTo>
                    <a:lnTo>
                      <a:pt x="151" y="353"/>
                    </a:lnTo>
                    <a:lnTo>
                      <a:pt x="152" y="353"/>
                    </a:lnTo>
                    <a:lnTo>
                      <a:pt x="153" y="354"/>
                    </a:lnTo>
                    <a:lnTo>
                      <a:pt x="154" y="354"/>
                    </a:lnTo>
                    <a:lnTo>
                      <a:pt x="155" y="354"/>
                    </a:lnTo>
                    <a:lnTo>
                      <a:pt x="157" y="354"/>
                    </a:lnTo>
                    <a:lnTo>
                      <a:pt x="158" y="354"/>
                    </a:lnTo>
                    <a:lnTo>
                      <a:pt x="158" y="354"/>
                    </a:lnTo>
                    <a:lnTo>
                      <a:pt x="159" y="354"/>
                    </a:lnTo>
                    <a:lnTo>
                      <a:pt x="160" y="356"/>
                    </a:lnTo>
                    <a:lnTo>
                      <a:pt x="160" y="356"/>
                    </a:lnTo>
                    <a:lnTo>
                      <a:pt x="160" y="356"/>
                    </a:lnTo>
                    <a:lnTo>
                      <a:pt x="160" y="357"/>
                    </a:lnTo>
                    <a:lnTo>
                      <a:pt x="159" y="357"/>
                    </a:lnTo>
                    <a:lnTo>
                      <a:pt x="158" y="357"/>
                    </a:lnTo>
                    <a:lnTo>
                      <a:pt x="158" y="357"/>
                    </a:lnTo>
                    <a:lnTo>
                      <a:pt x="158" y="358"/>
                    </a:lnTo>
                    <a:lnTo>
                      <a:pt x="157" y="358"/>
                    </a:lnTo>
                    <a:lnTo>
                      <a:pt x="155" y="358"/>
                    </a:lnTo>
                    <a:lnTo>
                      <a:pt x="154" y="358"/>
                    </a:lnTo>
                    <a:lnTo>
                      <a:pt x="153" y="358"/>
                    </a:lnTo>
                    <a:lnTo>
                      <a:pt x="149" y="358"/>
                    </a:lnTo>
                    <a:lnTo>
                      <a:pt x="147" y="358"/>
                    </a:lnTo>
                    <a:lnTo>
                      <a:pt x="146" y="358"/>
                    </a:lnTo>
                    <a:lnTo>
                      <a:pt x="145" y="358"/>
                    </a:lnTo>
                    <a:lnTo>
                      <a:pt x="146" y="358"/>
                    </a:lnTo>
                    <a:lnTo>
                      <a:pt x="146" y="357"/>
                    </a:lnTo>
                    <a:lnTo>
                      <a:pt x="146" y="357"/>
                    </a:lnTo>
                    <a:lnTo>
                      <a:pt x="146" y="356"/>
                    </a:lnTo>
                    <a:lnTo>
                      <a:pt x="146" y="356"/>
                    </a:lnTo>
                    <a:lnTo>
                      <a:pt x="145" y="354"/>
                    </a:lnTo>
                    <a:lnTo>
                      <a:pt x="146" y="354"/>
                    </a:lnTo>
                    <a:lnTo>
                      <a:pt x="147" y="354"/>
                    </a:lnTo>
                    <a:lnTo>
                      <a:pt x="147" y="353"/>
                    </a:lnTo>
                    <a:lnTo>
                      <a:pt x="149" y="353"/>
                    </a:lnTo>
                    <a:close/>
                    <a:moveTo>
                      <a:pt x="52" y="352"/>
                    </a:moveTo>
                    <a:lnTo>
                      <a:pt x="52" y="353"/>
                    </a:lnTo>
                    <a:lnTo>
                      <a:pt x="52" y="353"/>
                    </a:lnTo>
                    <a:lnTo>
                      <a:pt x="52" y="353"/>
                    </a:lnTo>
                    <a:lnTo>
                      <a:pt x="61" y="353"/>
                    </a:lnTo>
                    <a:lnTo>
                      <a:pt x="62" y="354"/>
                    </a:lnTo>
                    <a:lnTo>
                      <a:pt x="62" y="356"/>
                    </a:lnTo>
                    <a:lnTo>
                      <a:pt x="63" y="357"/>
                    </a:lnTo>
                    <a:lnTo>
                      <a:pt x="64" y="357"/>
                    </a:lnTo>
                    <a:lnTo>
                      <a:pt x="65" y="357"/>
                    </a:lnTo>
                    <a:lnTo>
                      <a:pt x="67" y="358"/>
                    </a:lnTo>
                    <a:lnTo>
                      <a:pt x="68" y="358"/>
                    </a:lnTo>
                    <a:lnTo>
                      <a:pt x="68" y="358"/>
                    </a:lnTo>
                    <a:lnTo>
                      <a:pt x="65" y="360"/>
                    </a:lnTo>
                    <a:lnTo>
                      <a:pt x="61" y="360"/>
                    </a:lnTo>
                    <a:lnTo>
                      <a:pt x="61" y="359"/>
                    </a:lnTo>
                    <a:lnTo>
                      <a:pt x="60" y="359"/>
                    </a:lnTo>
                    <a:lnTo>
                      <a:pt x="60" y="359"/>
                    </a:lnTo>
                    <a:lnTo>
                      <a:pt x="61" y="360"/>
                    </a:lnTo>
                    <a:lnTo>
                      <a:pt x="61" y="360"/>
                    </a:lnTo>
                    <a:lnTo>
                      <a:pt x="60" y="361"/>
                    </a:lnTo>
                    <a:lnTo>
                      <a:pt x="60" y="361"/>
                    </a:lnTo>
                    <a:lnTo>
                      <a:pt x="58" y="360"/>
                    </a:lnTo>
                    <a:lnTo>
                      <a:pt x="57" y="360"/>
                    </a:lnTo>
                    <a:lnTo>
                      <a:pt x="57" y="363"/>
                    </a:lnTo>
                    <a:lnTo>
                      <a:pt x="56" y="361"/>
                    </a:lnTo>
                    <a:lnTo>
                      <a:pt x="55" y="360"/>
                    </a:lnTo>
                    <a:lnTo>
                      <a:pt x="55" y="360"/>
                    </a:lnTo>
                    <a:lnTo>
                      <a:pt x="54" y="360"/>
                    </a:lnTo>
                    <a:lnTo>
                      <a:pt x="53" y="360"/>
                    </a:lnTo>
                    <a:lnTo>
                      <a:pt x="53" y="359"/>
                    </a:lnTo>
                    <a:lnTo>
                      <a:pt x="52" y="358"/>
                    </a:lnTo>
                    <a:lnTo>
                      <a:pt x="52" y="357"/>
                    </a:lnTo>
                    <a:lnTo>
                      <a:pt x="52" y="357"/>
                    </a:lnTo>
                    <a:lnTo>
                      <a:pt x="52" y="356"/>
                    </a:lnTo>
                    <a:lnTo>
                      <a:pt x="50" y="356"/>
                    </a:lnTo>
                    <a:lnTo>
                      <a:pt x="50" y="354"/>
                    </a:lnTo>
                    <a:lnTo>
                      <a:pt x="49" y="354"/>
                    </a:lnTo>
                    <a:lnTo>
                      <a:pt x="48" y="354"/>
                    </a:lnTo>
                    <a:lnTo>
                      <a:pt x="48" y="354"/>
                    </a:lnTo>
                    <a:lnTo>
                      <a:pt x="48" y="353"/>
                    </a:lnTo>
                    <a:lnTo>
                      <a:pt x="50" y="352"/>
                    </a:lnTo>
                    <a:lnTo>
                      <a:pt x="52" y="352"/>
                    </a:lnTo>
                    <a:close/>
                    <a:moveTo>
                      <a:pt x="115" y="337"/>
                    </a:moveTo>
                    <a:lnTo>
                      <a:pt x="116" y="338"/>
                    </a:lnTo>
                    <a:lnTo>
                      <a:pt x="116" y="338"/>
                    </a:lnTo>
                    <a:lnTo>
                      <a:pt x="117" y="339"/>
                    </a:lnTo>
                    <a:lnTo>
                      <a:pt x="118" y="339"/>
                    </a:lnTo>
                    <a:lnTo>
                      <a:pt x="118" y="339"/>
                    </a:lnTo>
                    <a:lnTo>
                      <a:pt x="118" y="339"/>
                    </a:lnTo>
                    <a:lnTo>
                      <a:pt x="120" y="341"/>
                    </a:lnTo>
                    <a:lnTo>
                      <a:pt x="120" y="341"/>
                    </a:lnTo>
                    <a:lnTo>
                      <a:pt x="121" y="341"/>
                    </a:lnTo>
                    <a:lnTo>
                      <a:pt x="122" y="341"/>
                    </a:lnTo>
                    <a:lnTo>
                      <a:pt x="123" y="341"/>
                    </a:lnTo>
                    <a:lnTo>
                      <a:pt x="123" y="341"/>
                    </a:lnTo>
                    <a:lnTo>
                      <a:pt x="124" y="342"/>
                    </a:lnTo>
                    <a:lnTo>
                      <a:pt x="124" y="342"/>
                    </a:lnTo>
                    <a:lnTo>
                      <a:pt x="124" y="343"/>
                    </a:lnTo>
                    <a:lnTo>
                      <a:pt x="123" y="343"/>
                    </a:lnTo>
                    <a:lnTo>
                      <a:pt x="129" y="343"/>
                    </a:lnTo>
                    <a:lnTo>
                      <a:pt x="130" y="343"/>
                    </a:lnTo>
                    <a:lnTo>
                      <a:pt x="129" y="344"/>
                    </a:lnTo>
                    <a:lnTo>
                      <a:pt x="129" y="344"/>
                    </a:lnTo>
                    <a:lnTo>
                      <a:pt x="127" y="344"/>
                    </a:lnTo>
                    <a:lnTo>
                      <a:pt x="123" y="344"/>
                    </a:lnTo>
                    <a:lnTo>
                      <a:pt x="124" y="345"/>
                    </a:lnTo>
                    <a:lnTo>
                      <a:pt x="125" y="345"/>
                    </a:lnTo>
                    <a:lnTo>
                      <a:pt x="127" y="346"/>
                    </a:lnTo>
                    <a:lnTo>
                      <a:pt x="127" y="346"/>
                    </a:lnTo>
                    <a:lnTo>
                      <a:pt x="129" y="345"/>
                    </a:lnTo>
                    <a:lnTo>
                      <a:pt x="130" y="345"/>
                    </a:lnTo>
                    <a:lnTo>
                      <a:pt x="131" y="346"/>
                    </a:lnTo>
                    <a:lnTo>
                      <a:pt x="132" y="346"/>
                    </a:lnTo>
                    <a:lnTo>
                      <a:pt x="133" y="348"/>
                    </a:lnTo>
                    <a:lnTo>
                      <a:pt x="136" y="349"/>
                    </a:lnTo>
                    <a:lnTo>
                      <a:pt x="138" y="350"/>
                    </a:lnTo>
                    <a:lnTo>
                      <a:pt x="138" y="351"/>
                    </a:lnTo>
                    <a:lnTo>
                      <a:pt x="138" y="353"/>
                    </a:lnTo>
                    <a:lnTo>
                      <a:pt x="137" y="353"/>
                    </a:lnTo>
                    <a:lnTo>
                      <a:pt x="136" y="353"/>
                    </a:lnTo>
                    <a:lnTo>
                      <a:pt x="135" y="353"/>
                    </a:lnTo>
                    <a:lnTo>
                      <a:pt x="135" y="353"/>
                    </a:lnTo>
                    <a:lnTo>
                      <a:pt x="133" y="354"/>
                    </a:lnTo>
                    <a:lnTo>
                      <a:pt x="133" y="356"/>
                    </a:lnTo>
                    <a:lnTo>
                      <a:pt x="132" y="356"/>
                    </a:lnTo>
                    <a:lnTo>
                      <a:pt x="132" y="356"/>
                    </a:lnTo>
                    <a:lnTo>
                      <a:pt x="132" y="354"/>
                    </a:lnTo>
                    <a:lnTo>
                      <a:pt x="131" y="354"/>
                    </a:lnTo>
                    <a:lnTo>
                      <a:pt x="130" y="354"/>
                    </a:lnTo>
                    <a:lnTo>
                      <a:pt x="129" y="353"/>
                    </a:lnTo>
                    <a:lnTo>
                      <a:pt x="129" y="353"/>
                    </a:lnTo>
                    <a:lnTo>
                      <a:pt x="123" y="353"/>
                    </a:lnTo>
                    <a:lnTo>
                      <a:pt x="123" y="354"/>
                    </a:lnTo>
                    <a:lnTo>
                      <a:pt x="123" y="354"/>
                    </a:lnTo>
                    <a:lnTo>
                      <a:pt x="122" y="353"/>
                    </a:lnTo>
                    <a:lnTo>
                      <a:pt x="122" y="353"/>
                    </a:lnTo>
                    <a:lnTo>
                      <a:pt x="121" y="354"/>
                    </a:lnTo>
                    <a:lnTo>
                      <a:pt x="120" y="354"/>
                    </a:lnTo>
                    <a:lnTo>
                      <a:pt x="120" y="354"/>
                    </a:lnTo>
                    <a:lnTo>
                      <a:pt x="118" y="354"/>
                    </a:lnTo>
                    <a:lnTo>
                      <a:pt x="117" y="354"/>
                    </a:lnTo>
                    <a:lnTo>
                      <a:pt x="117" y="354"/>
                    </a:lnTo>
                    <a:lnTo>
                      <a:pt x="116" y="354"/>
                    </a:lnTo>
                    <a:lnTo>
                      <a:pt x="116" y="354"/>
                    </a:lnTo>
                    <a:lnTo>
                      <a:pt x="115" y="354"/>
                    </a:lnTo>
                    <a:lnTo>
                      <a:pt x="115" y="356"/>
                    </a:lnTo>
                    <a:lnTo>
                      <a:pt x="115" y="357"/>
                    </a:lnTo>
                    <a:lnTo>
                      <a:pt x="114" y="357"/>
                    </a:lnTo>
                    <a:lnTo>
                      <a:pt x="113" y="357"/>
                    </a:lnTo>
                    <a:lnTo>
                      <a:pt x="112" y="357"/>
                    </a:lnTo>
                    <a:lnTo>
                      <a:pt x="112" y="358"/>
                    </a:lnTo>
                    <a:lnTo>
                      <a:pt x="112" y="359"/>
                    </a:lnTo>
                    <a:lnTo>
                      <a:pt x="112" y="360"/>
                    </a:lnTo>
                    <a:lnTo>
                      <a:pt x="108" y="360"/>
                    </a:lnTo>
                    <a:lnTo>
                      <a:pt x="108" y="359"/>
                    </a:lnTo>
                    <a:lnTo>
                      <a:pt x="107" y="359"/>
                    </a:lnTo>
                    <a:lnTo>
                      <a:pt x="106" y="360"/>
                    </a:lnTo>
                    <a:lnTo>
                      <a:pt x="106" y="360"/>
                    </a:lnTo>
                    <a:lnTo>
                      <a:pt x="106" y="360"/>
                    </a:lnTo>
                    <a:lnTo>
                      <a:pt x="106" y="359"/>
                    </a:lnTo>
                    <a:lnTo>
                      <a:pt x="106" y="359"/>
                    </a:lnTo>
                    <a:lnTo>
                      <a:pt x="106" y="358"/>
                    </a:lnTo>
                    <a:lnTo>
                      <a:pt x="106" y="357"/>
                    </a:lnTo>
                    <a:lnTo>
                      <a:pt x="105" y="357"/>
                    </a:lnTo>
                    <a:lnTo>
                      <a:pt x="105" y="357"/>
                    </a:lnTo>
                    <a:lnTo>
                      <a:pt x="103" y="356"/>
                    </a:lnTo>
                    <a:lnTo>
                      <a:pt x="102" y="354"/>
                    </a:lnTo>
                    <a:lnTo>
                      <a:pt x="101" y="356"/>
                    </a:lnTo>
                    <a:lnTo>
                      <a:pt x="99" y="356"/>
                    </a:lnTo>
                    <a:lnTo>
                      <a:pt x="98" y="357"/>
                    </a:lnTo>
                    <a:lnTo>
                      <a:pt x="95" y="357"/>
                    </a:lnTo>
                    <a:lnTo>
                      <a:pt x="94" y="356"/>
                    </a:lnTo>
                    <a:lnTo>
                      <a:pt x="93" y="356"/>
                    </a:lnTo>
                    <a:lnTo>
                      <a:pt x="92" y="354"/>
                    </a:lnTo>
                    <a:lnTo>
                      <a:pt x="91" y="354"/>
                    </a:lnTo>
                    <a:lnTo>
                      <a:pt x="90" y="356"/>
                    </a:lnTo>
                    <a:lnTo>
                      <a:pt x="88" y="356"/>
                    </a:lnTo>
                    <a:lnTo>
                      <a:pt x="88" y="357"/>
                    </a:lnTo>
                    <a:lnTo>
                      <a:pt x="87" y="357"/>
                    </a:lnTo>
                    <a:lnTo>
                      <a:pt x="86" y="356"/>
                    </a:lnTo>
                    <a:lnTo>
                      <a:pt x="86" y="356"/>
                    </a:lnTo>
                    <a:lnTo>
                      <a:pt x="85" y="354"/>
                    </a:lnTo>
                    <a:lnTo>
                      <a:pt x="84" y="354"/>
                    </a:lnTo>
                    <a:lnTo>
                      <a:pt x="84" y="354"/>
                    </a:lnTo>
                    <a:lnTo>
                      <a:pt x="84" y="354"/>
                    </a:lnTo>
                    <a:lnTo>
                      <a:pt x="84" y="353"/>
                    </a:lnTo>
                    <a:lnTo>
                      <a:pt x="84" y="353"/>
                    </a:lnTo>
                    <a:lnTo>
                      <a:pt x="84" y="352"/>
                    </a:lnTo>
                    <a:lnTo>
                      <a:pt x="85" y="352"/>
                    </a:lnTo>
                    <a:lnTo>
                      <a:pt x="86" y="351"/>
                    </a:lnTo>
                    <a:lnTo>
                      <a:pt x="87" y="351"/>
                    </a:lnTo>
                    <a:lnTo>
                      <a:pt x="88" y="351"/>
                    </a:lnTo>
                    <a:lnTo>
                      <a:pt x="90" y="351"/>
                    </a:lnTo>
                    <a:lnTo>
                      <a:pt x="91" y="351"/>
                    </a:lnTo>
                    <a:lnTo>
                      <a:pt x="91" y="352"/>
                    </a:lnTo>
                    <a:lnTo>
                      <a:pt x="92" y="352"/>
                    </a:lnTo>
                    <a:lnTo>
                      <a:pt x="93" y="352"/>
                    </a:lnTo>
                    <a:lnTo>
                      <a:pt x="94" y="351"/>
                    </a:lnTo>
                    <a:lnTo>
                      <a:pt x="95" y="351"/>
                    </a:lnTo>
                    <a:lnTo>
                      <a:pt x="97" y="351"/>
                    </a:lnTo>
                    <a:lnTo>
                      <a:pt x="98" y="351"/>
                    </a:lnTo>
                    <a:lnTo>
                      <a:pt x="99" y="351"/>
                    </a:lnTo>
                    <a:lnTo>
                      <a:pt x="100" y="351"/>
                    </a:lnTo>
                    <a:lnTo>
                      <a:pt x="100" y="351"/>
                    </a:lnTo>
                    <a:lnTo>
                      <a:pt x="101" y="351"/>
                    </a:lnTo>
                    <a:lnTo>
                      <a:pt x="101" y="351"/>
                    </a:lnTo>
                    <a:lnTo>
                      <a:pt x="101" y="351"/>
                    </a:lnTo>
                    <a:lnTo>
                      <a:pt x="100" y="350"/>
                    </a:lnTo>
                    <a:lnTo>
                      <a:pt x="99" y="350"/>
                    </a:lnTo>
                    <a:lnTo>
                      <a:pt x="99" y="349"/>
                    </a:lnTo>
                    <a:lnTo>
                      <a:pt x="98" y="348"/>
                    </a:lnTo>
                    <a:lnTo>
                      <a:pt x="98" y="348"/>
                    </a:lnTo>
                    <a:lnTo>
                      <a:pt x="98" y="346"/>
                    </a:lnTo>
                    <a:lnTo>
                      <a:pt x="97" y="345"/>
                    </a:lnTo>
                    <a:lnTo>
                      <a:pt x="97" y="345"/>
                    </a:lnTo>
                    <a:lnTo>
                      <a:pt x="97" y="344"/>
                    </a:lnTo>
                    <a:lnTo>
                      <a:pt x="98" y="344"/>
                    </a:lnTo>
                    <a:lnTo>
                      <a:pt x="97" y="344"/>
                    </a:lnTo>
                    <a:lnTo>
                      <a:pt x="97" y="344"/>
                    </a:lnTo>
                    <a:lnTo>
                      <a:pt x="97" y="344"/>
                    </a:lnTo>
                    <a:lnTo>
                      <a:pt x="98" y="343"/>
                    </a:lnTo>
                    <a:lnTo>
                      <a:pt x="98" y="342"/>
                    </a:lnTo>
                    <a:lnTo>
                      <a:pt x="97" y="341"/>
                    </a:lnTo>
                    <a:lnTo>
                      <a:pt x="95" y="341"/>
                    </a:lnTo>
                    <a:lnTo>
                      <a:pt x="94" y="341"/>
                    </a:lnTo>
                    <a:lnTo>
                      <a:pt x="93" y="341"/>
                    </a:lnTo>
                    <a:lnTo>
                      <a:pt x="93" y="339"/>
                    </a:lnTo>
                    <a:lnTo>
                      <a:pt x="94" y="339"/>
                    </a:lnTo>
                    <a:lnTo>
                      <a:pt x="94" y="339"/>
                    </a:lnTo>
                    <a:lnTo>
                      <a:pt x="94" y="338"/>
                    </a:lnTo>
                    <a:lnTo>
                      <a:pt x="95" y="338"/>
                    </a:lnTo>
                    <a:lnTo>
                      <a:pt x="97" y="338"/>
                    </a:lnTo>
                    <a:lnTo>
                      <a:pt x="98" y="339"/>
                    </a:lnTo>
                    <a:lnTo>
                      <a:pt x="99" y="339"/>
                    </a:lnTo>
                    <a:lnTo>
                      <a:pt x="99" y="338"/>
                    </a:lnTo>
                    <a:lnTo>
                      <a:pt x="99" y="338"/>
                    </a:lnTo>
                    <a:lnTo>
                      <a:pt x="99" y="339"/>
                    </a:lnTo>
                    <a:lnTo>
                      <a:pt x="101" y="339"/>
                    </a:lnTo>
                    <a:lnTo>
                      <a:pt x="102" y="339"/>
                    </a:lnTo>
                    <a:lnTo>
                      <a:pt x="102" y="339"/>
                    </a:lnTo>
                    <a:lnTo>
                      <a:pt x="103" y="339"/>
                    </a:lnTo>
                    <a:lnTo>
                      <a:pt x="105" y="339"/>
                    </a:lnTo>
                    <a:lnTo>
                      <a:pt x="105" y="339"/>
                    </a:lnTo>
                    <a:lnTo>
                      <a:pt x="106" y="339"/>
                    </a:lnTo>
                    <a:lnTo>
                      <a:pt x="107" y="339"/>
                    </a:lnTo>
                    <a:lnTo>
                      <a:pt x="108" y="339"/>
                    </a:lnTo>
                    <a:lnTo>
                      <a:pt x="108" y="339"/>
                    </a:lnTo>
                    <a:lnTo>
                      <a:pt x="108" y="339"/>
                    </a:lnTo>
                    <a:lnTo>
                      <a:pt x="109" y="339"/>
                    </a:lnTo>
                    <a:lnTo>
                      <a:pt x="110" y="338"/>
                    </a:lnTo>
                    <a:lnTo>
                      <a:pt x="112" y="338"/>
                    </a:lnTo>
                    <a:lnTo>
                      <a:pt x="112" y="338"/>
                    </a:lnTo>
                    <a:lnTo>
                      <a:pt x="113" y="338"/>
                    </a:lnTo>
                    <a:lnTo>
                      <a:pt x="115" y="337"/>
                    </a:lnTo>
                    <a:close/>
                    <a:moveTo>
                      <a:pt x="1154" y="322"/>
                    </a:moveTo>
                    <a:lnTo>
                      <a:pt x="1154" y="322"/>
                    </a:lnTo>
                    <a:lnTo>
                      <a:pt x="1154" y="322"/>
                    </a:lnTo>
                    <a:close/>
                    <a:moveTo>
                      <a:pt x="16" y="320"/>
                    </a:moveTo>
                    <a:lnTo>
                      <a:pt x="17" y="320"/>
                    </a:lnTo>
                    <a:lnTo>
                      <a:pt x="17" y="322"/>
                    </a:lnTo>
                    <a:lnTo>
                      <a:pt x="19" y="322"/>
                    </a:lnTo>
                    <a:lnTo>
                      <a:pt x="19" y="323"/>
                    </a:lnTo>
                    <a:lnTo>
                      <a:pt x="17" y="323"/>
                    </a:lnTo>
                    <a:lnTo>
                      <a:pt x="16" y="324"/>
                    </a:lnTo>
                    <a:lnTo>
                      <a:pt x="16" y="324"/>
                    </a:lnTo>
                    <a:lnTo>
                      <a:pt x="16" y="323"/>
                    </a:lnTo>
                    <a:lnTo>
                      <a:pt x="15" y="323"/>
                    </a:lnTo>
                    <a:lnTo>
                      <a:pt x="13" y="323"/>
                    </a:lnTo>
                    <a:lnTo>
                      <a:pt x="13" y="323"/>
                    </a:lnTo>
                    <a:lnTo>
                      <a:pt x="12" y="323"/>
                    </a:lnTo>
                    <a:lnTo>
                      <a:pt x="11" y="322"/>
                    </a:lnTo>
                    <a:lnTo>
                      <a:pt x="13" y="322"/>
                    </a:lnTo>
                    <a:lnTo>
                      <a:pt x="13" y="321"/>
                    </a:lnTo>
                    <a:lnTo>
                      <a:pt x="15" y="320"/>
                    </a:lnTo>
                    <a:lnTo>
                      <a:pt x="15" y="320"/>
                    </a:lnTo>
                    <a:lnTo>
                      <a:pt x="16" y="320"/>
                    </a:lnTo>
                    <a:close/>
                    <a:moveTo>
                      <a:pt x="3" y="319"/>
                    </a:moveTo>
                    <a:lnTo>
                      <a:pt x="3" y="319"/>
                    </a:lnTo>
                    <a:lnTo>
                      <a:pt x="2" y="320"/>
                    </a:lnTo>
                    <a:lnTo>
                      <a:pt x="2" y="320"/>
                    </a:lnTo>
                    <a:lnTo>
                      <a:pt x="1" y="320"/>
                    </a:lnTo>
                    <a:lnTo>
                      <a:pt x="0" y="320"/>
                    </a:lnTo>
                    <a:lnTo>
                      <a:pt x="0" y="320"/>
                    </a:lnTo>
                    <a:lnTo>
                      <a:pt x="1" y="320"/>
                    </a:lnTo>
                    <a:lnTo>
                      <a:pt x="2" y="319"/>
                    </a:lnTo>
                    <a:lnTo>
                      <a:pt x="3" y="319"/>
                    </a:lnTo>
                    <a:close/>
                    <a:moveTo>
                      <a:pt x="24" y="306"/>
                    </a:moveTo>
                    <a:lnTo>
                      <a:pt x="25" y="306"/>
                    </a:lnTo>
                    <a:lnTo>
                      <a:pt x="27" y="306"/>
                    </a:lnTo>
                    <a:lnTo>
                      <a:pt x="31" y="306"/>
                    </a:lnTo>
                    <a:lnTo>
                      <a:pt x="33" y="306"/>
                    </a:lnTo>
                    <a:lnTo>
                      <a:pt x="34" y="307"/>
                    </a:lnTo>
                    <a:lnTo>
                      <a:pt x="34" y="307"/>
                    </a:lnTo>
                    <a:lnTo>
                      <a:pt x="34" y="308"/>
                    </a:lnTo>
                    <a:lnTo>
                      <a:pt x="34" y="308"/>
                    </a:lnTo>
                    <a:lnTo>
                      <a:pt x="38" y="308"/>
                    </a:lnTo>
                    <a:lnTo>
                      <a:pt x="39" y="308"/>
                    </a:lnTo>
                    <a:lnTo>
                      <a:pt x="40" y="308"/>
                    </a:lnTo>
                    <a:lnTo>
                      <a:pt x="40" y="308"/>
                    </a:lnTo>
                    <a:lnTo>
                      <a:pt x="41" y="309"/>
                    </a:lnTo>
                    <a:lnTo>
                      <a:pt x="43" y="309"/>
                    </a:lnTo>
                    <a:lnTo>
                      <a:pt x="45" y="311"/>
                    </a:lnTo>
                    <a:lnTo>
                      <a:pt x="45" y="312"/>
                    </a:lnTo>
                    <a:lnTo>
                      <a:pt x="46" y="312"/>
                    </a:lnTo>
                    <a:lnTo>
                      <a:pt x="47" y="313"/>
                    </a:lnTo>
                    <a:lnTo>
                      <a:pt x="48" y="313"/>
                    </a:lnTo>
                    <a:lnTo>
                      <a:pt x="49" y="313"/>
                    </a:lnTo>
                    <a:lnTo>
                      <a:pt x="49" y="314"/>
                    </a:lnTo>
                    <a:lnTo>
                      <a:pt x="50" y="315"/>
                    </a:lnTo>
                    <a:lnTo>
                      <a:pt x="52" y="315"/>
                    </a:lnTo>
                    <a:lnTo>
                      <a:pt x="52" y="315"/>
                    </a:lnTo>
                    <a:lnTo>
                      <a:pt x="53" y="315"/>
                    </a:lnTo>
                    <a:lnTo>
                      <a:pt x="53" y="316"/>
                    </a:lnTo>
                    <a:lnTo>
                      <a:pt x="54" y="316"/>
                    </a:lnTo>
                    <a:lnTo>
                      <a:pt x="55" y="319"/>
                    </a:lnTo>
                    <a:lnTo>
                      <a:pt x="58" y="319"/>
                    </a:lnTo>
                    <a:lnTo>
                      <a:pt x="60" y="319"/>
                    </a:lnTo>
                    <a:lnTo>
                      <a:pt x="61" y="319"/>
                    </a:lnTo>
                    <a:lnTo>
                      <a:pt x="62" y="319"/>
                    </a:lnTo>
                    <a:lnTo>
                      <a:pt x="62" y="320"/>
                    </a:lnTo>
                    <a:lnTo>
                      <a:pt x="61" y="320"/>
                    </a:lnTo>
                    <a:lnTo>
                      <a:pt x="62" y="321"/>
                    </a:lnTo>
                    <a:lnTo>
                      <a:pt x="62" y="321"/>
                    </a:lnTo>
                    <a:lnTo>
                      <a:pt x="62" y="320"/>
                    </a:lnTo>
                    <a:lnTo>
                      <a:pt x="62" y="320"/>
                    </a:lnTo>
                    <a:lnTo>
                      <a:pt x="64" y="321"/>
                    </a:lnTo>
                    <a:lnTo>
                      <a:pt x="65" y="322"/>
                    </a:lnTo>
                    <a:lnTo>
                      <a:pt x="68" y="323"/>
                    </a:lnTo>
                    <a:lnTo>
                      <a:pt x="69" y="323"/>
                    </a:lnTo>
                    <a:lnTo>
                      <a:pt x="70" y="324"/>
                    </a:lnTo>
                    <a:lnTo>
                      <a:pt x="71" y="324"/>
                    </a:lnTo>
                    <a:lnTo>
                      <a:pt x="72" y="326"/>
                    </a:lnTo>
                    <a:lnTo>
                      <a:pt x="72" y="326"/>
                    </a:lnTo>
                    <a:lnTo>
                      <a:pt x="73" y="326"/>
                    </a:lnTo>
                    <a:lnTo>
                      <a:pt x="75" y="326"/>
                    </a:lnTo>
                    <a:lnTo>
                      <a:pt x="76" y="326"/>
                    </a:lnTo>
                    <a:lnTo>
                      <a:pt x="77" y="326"/>
                    </a:lnTo>
                    <a:lnTo>
                      <a:pt x="77" y="326"/>
                    </a:lnTo>
                    <a:lnTo>
                      <a:pt x="78" y="326"/>
                    </a:lnTo>
                    <a:lnTo>
                      <a:pt x="79" y="326"/>
                    </a:lnTo>
                    <a:lnTo>
                      <a:pt x="80" y="326"/>
                    </a:lnTo>
                    <a:lnTo>
                      <a:pt x="79" y="327"/>
                    </a:lnTo>
                    <a:lnTo>
                      <a:pt x="79" y="327"/>
                    </a:lnTo>
                    <a:lnTo>
                      <a:pt x="78" y="328"/>
                    </a:lnTo>
                    <a:lnTo>
                      <a:pt x="78" y="329"/>
                    </a:lnTo>
                    <a:lnTo>
                      <a:pt x="79" y="329"/>
                    </a:lnTo>
                    <a:lnTo>
                      <a:pt x="78" y="330"/>
                    </a:lnTo>
                    <a:lnTo>
                      <a:pt x="78" y="330"/>
                    </a:lnTo>
                    <a:lnTo>
                      <a:pt x="77" y="330"/>
                    </a:lnTo>
                    <a:lnTo>
                      <a:pt x="78" y="330"/>
                    </a:lnTo>
                    <a:lnTo>
                      <a:pt x="78" y="331"/>
                    </a:lnTo>
                    <a:lnTo>
                      <a:pt x="79" y="331"/>
                    </a:lnTo>
                    <a:lnTo>
                      <a:pt x="79" y="331"/>
                    </a:lnTo>
                    <a:lnTo>
                      <a:pt x="80" y="330"/>
                    </a:lnTo>
                    <a:lnTo>
                      <a:pt x="80" y="331"/>
                    </a:lnTo>
                    <a:lnTo>
                      <a:pt x="82" y="331"/>
                    </a:lnTo>
                    <a:lnTo>
                      <a:pt x="83" y="331"/>
                    </a:lnTo>
                    <a:lnTo>
                      <a:pt x="84" y="330"/>
                    </a:lnTo>
                    <a:lnTo>
                      <a:pt x="84" y="331"/>
                    </a:lnTo>
                    <a:lnTo>
                      <a:pt x="84" y="333"/>
                    </a:lnTo>
                    <a:lnTo>
                      <a:pt x="85" y="333"/>
                    </a:lnTo>
                    <a:lnTo>
                      <a:pt x="85" y="333"/>
                    </a:lnTo>
                    <a:lnTo>
                      <a:pt x="86" y="333"/>
                    </a:lnTo>
                    <a:lnTo>
                      <a:pt x="87" y="333"/>
                    </a:lnTo>
                    <a:lnTo>
                      <a:pt x="87" y="334"/>
                    </a:lnTo>
                    <a:lnTo>
                      <a:pt x="88" y="334"/>
                    </a:lnTo>
                    <a:lnTo>
                      <a:pt x="90" y="334"/>
                    </a:lnTo>
                    <a:lnTo>
                      <a:pt x="91" y="334"/>
                    </a:lnTo>
                    <a:lnTo>
                      <a:pt x="91" y="336"/>
                    </a:lnTo>
                    <a:lnTo>
                      <a:pt x="88" y="337"/>
                    </a:lnTo>
                    <a:lnTo>
                      <a:pt x="87" y="337"/>
                    </a:lnTo>
                    <a:lnTo>
                      <a:pt x="85" y="337"/>
                    </a:lnTo>
                    <a:lnTo>
                      <a:pt x="84" y="337"/>
                    </a:lnTo>
                    <a:lnTo>
                      <a:pt x="84" y="338"/>
                    </a:lnTo>
                    <a:lnTo>
                      <a:pt x="83" y="338"/>
                    </a:lnTo>
                    <a:lnTo>
                      <a:pt x="82" y="339"/>
                    </a:lnTo>
                    <a:lnTo>
                      <a:pt x="80" y="339"/>
                    </a:lnTo>
                    <a:lnTo>
                      <a:pt x="80" y="338"/>
                    </a:lnTo>
                    <a:lnTo>
                      <a:pt x="80" y="338"/>
                    </a:lnTo>
                    <a:lnTo>
                      <a:pt x="80" y="339"/>
                    </a:lnTo>
                    <a:lnTo>
                      <a:pt x="75" y="339"/>
                    </a:lnTo>
                    <a:lnTo>
                      <a:pt x="73" y="338"/>
                    </a:lnTo>
                    <a:lnTo>
                      <a:pt x="72" y="338"/>
                    </a:lnTo>
                    <a:lnTo>
                      <a:pt x="72" y="338"/>
                    </a:lnTo>
                    <a:lnTo>
                      <a:pt x="71" y="339"/>
                    </a:lnTo>
                    <a:lnTo>
                      <a:pt x="69" y="339"/>
                    </a:lnTo>
                    <a:lnTo>
                      <a:pt x="64" y="339"/>
                    </a:lnTo>
                    <a:lnTo>
                      <a:pt x="63" y="339"/>
                    </a:lnTo>
                    <a:lnTo>
                      <a:pt x="63" y="339"/>
                    </a:lnTo>
                    <a:lnTo>
                      <a:pt x="63" y="341"/>
                    </a:lnTo>
                    <a:lnTo>
                      <a:pt x="62" y="341"/>
                    </a:lnTo>
                    <a:lnTo>
                      <a:pt x="61" y="341"/>
                    </a:lnTo>
                    <a:lnTo>
                      <a:pt x="58" y="341"/>
                    </a:lnTo>
                    <a:lnTo>
                      <a:pt x="57" y="341"/>
                    </a:lnTo>
                    <a:lnTo>
                      <a:pt x="58" y="339"/>
                    </a:lnTo>
                    <a:lnTo>
                      <a:pt x="58" y="339"/>
                    </a:lnTo>
                    <a:lnTo>
                      <a:pt x="60" y="338"/>
                    </a:lnTo>
                    <a:lnTo>
                      <a:pt x="61" y="338"/>
                    </a:lnTo>
                    <a:lnTo>
                      <a:pt x="61" y="337"/>
                    </a:lnTo>
                    <a:lnTo>
                      <a:pt x="61" y="337"/>
                    </a:lnTo>
                    <a:lnTo>
                      <a:pt x="62" y="336"/>
                    </a:lnTo>
                    <a:lnTo>
                      <a:pt x="62" y="336"/>
                    </a:lnTo>
                    <a:lnTo>
                      <a:pt x="63" y="336"/>
                    </a:lnTo>
                    <a:lnTo>
                      <a:pt x="64" y="336"/>
                    </a:lnTo>
                    <a:lnTo>
                      <a:pt x="65" y="335"/>
                    </a:lnTo>
                    <a:lnTo>
                      <a:pt x="65" y="335"/>
                    </a:lnTo>
                    <a:lnTo>
                      <a:pt x="65" y="334"/>
                    </a:lnTo>
                    <a:lnTo>
                      <a:pt x="64" y="334"/>
                    </a:lnTo>
                    <a:lnTo>
                      <a:pt x="63" y="334"/>
                    </a:lnTo>
                    <a:lnTo>
                      <a:pt x="63" y="334"/>
                    </a:lnTo>
                    <a:lnTo>
                      <a:pt x="63" y="333"/>
                    </a:lnTo>
                    <a:lnTo>
                      <a:pt x="64" y="333"/>
                    </a:lnTo>
                    <a:lnTo>
                      <a:pt x="63" y="333"/>
                    </a:lnTo>
                    <a:lnTo>
                      <a:pt x="62" y="333"/>
                    </a:lnTo>
                    <a:lnTo>
                      <a:pt x="61" y="333"/>
                    </a:lnTo>
                    <a:lnTo>
                      <a:pt x="61" y="333"/>
                    </a:lnTo>
                    <a:lnTo>
                      <a:pt x="60" y="333"/>
                    </a:lnTo>
                    <a:lnTo>
                      <a:pt x="58" y="333"/>
                    </a:lnTo>
                    <a:lnTo>
                      <a:pt x="57" y="333"/>
                    </a:lnTo>
                    <a:lnTo>
                      <a:pt x="57" y="333"/>
                    </a:lnTo>
                    <a:lnTo>
                      <a:pt x="56" y="331"/>
                    </a:lnTo>
                    <a:lnTo>
                      <a:pt x="55" y="330"/>
                    </a:lnTo>
                    <a:lnTo>
                      <a:pt x="55" y="329"/>
                    </a:lnTo>
                    <a:lnTo>
                      <a:pt x="54" y="329"/>
                    </a:lnTo>
                    <a:lnTo>
                      <a:pt x="54" y="329"/>
                    </a:lnTo>
                    <a:lnTo>
                      <a:pt x="54" y="326"/>
                    </a:lnTo>
                    <a:lnTo>
                      <a:pt x="54" y="324"/>
                    </a:lnTo>
                    <a:lnTo>
                      <a:pt x="53" y="323"/>
                    </a:lnTo>
                    <a:lnTo>
                      <a:pt x="53" y="323"/>
                    </a:lnTo>
                    <a:lnTo>
                      <a:pt x="52" y="323"/>
                    </a:lnTo>
                    <a:lnTo>
                      <a:pt x="48" y="323"/>
                    </a:lnTo>
                    <a:lnTo>
                      <a:pt x="47" y="323"/>
                    </a:lnTo>
                    <a:lnTo>
                      <a:pt x="45" y="322"/>
                    </a:lnTo>
                    <a:lnTo>
                      <a:pt x="43" y="320"/>
                    </a:lnTo>
                    <a:lnTo>
                      <a:pt x="41" y="320"/>
                    </a:lnTo>
                    <a:lnTo>
                      <a:pt x="41" y="320"/>
                    </a:lnTo>
                    <a:lnTo>
                      <a:pt x="40" y="320"/>
                    </a:lnTo>
                    <a:lnTo>
                      <a:pt x="40" y="319"/>
                    </a:lnTo>
                    <a:lnTo>
                      <a:pt x="39" y="319"/>
                    </a:lnTo>
                    <a:lnTo>
                      <a:pt x="39" y="318"/>
                    </a:lnTo>
                    <a:lnTo>
                      <a:pt x="39" y="316"/>
                    </a:lnTo>
                    <a:lnTo>
                      <a:pt x="38" y="316"/>
                    </a:lnTo>
                    <a:lnTo>
                      <a:pt x="37" y="318"/>
                    </a:lnTo>
                    <a:lnTo>
                      <a:pt x="37" y="318"/>
                    </a:lnTo>
                    <a:lnTo>
                      <a:pt x="37" y="316"/>
                    </a:lnTo>
                    <a:lnTo>
                      <a:pt x="37" y="316"/>
                    </a:lnTo>
                    <a:lnTo>
                      <a:pt x="34" y="318"/>
                    </a:lnTo>
                    <a:lnTo>
                      <a:pt x="33" y="318"/>
                    </a:lnTo>
                    <a:lnTo>
                      <a:pt x="31" y="316"/>
                    </a:lnTo>
                    <a:lnTo>
                      <a:pt x="30" y="316"/>
                    </a:lnTo>
                    <a:lnTo>
                      <a:pt x="27" y="318"/>
                    </a:lnTo>
                    <a:lnTo>
                      <a:pt x="26" y="318"/>
                    </a:lnTo>
                    <a:lnTo>
                      <a:pt x="24" y="316"/>
                    </a:lnTo>
                    <a:lnTo>
                      <a:pt x="24" y="315"/>
                    </a:lnTo>
                    <a:lnTo>
                      <a:pt x="23" y="315"/>
                    </a:lnTo>
                    <a:lnTo>
                      <a:pt x="23" y="315"/>
                    </a:lnTo>
                    <a:lnTo>
                      <a:pt x="23" y="315"/>
                    </a:lnTo>
                    <a:lnTo>
                      <a:pt x="26" y="315"/>
                    </a:lnTo>
                    <a:lnTo>
                      <a:pt x="27" y="314"/>
                    </a:lnTo>
                    <a:lnTo>
                      <a:pt x="27" y="314"/>
                    </a:lnTo>
                    <a:lnTo>
                      <a:pt x="28" y="313"/>
                    </a:lnTo>
                    <a:lnTo>
                      <a:pt x="30" y="313"/>
                    </a:lnTo>
                    <a:lnTo>
                      <a:pt x="27" y="312"/>
                    </a:lnTo>
                    <a:lnTo>
                      <a:pt x="25" y="312"/>
                    </a:lnTo>
                    <a:lnTo>
                      <a:pt x="23" y="312"/>
                    </a:lnTo>
                    <a:lnTo>
                      <a:pt x="20" y="312"/>
                    </a:lnTo>
                    <a:lnTo>
                      <a:pt x="19" y="312"/>
                    </a:lnTo>
                    <a:lnTo>
                      <a:pt x="18" y="312"/>
                    </a:lnTo>
                    <a:lnTo>
                      <a:pt x="17" y="312"/>
                    </a:lnTo>
                    <a:lnTo>
                      <a:pt x="17" y="313"/>
                    </a:lnTo>
                    <a:lnTo>
                      <a:pt x="17" y="313"/>
                    </a:lnTo>
                    <a:lnTo>
                      <a:pt x="16" y="314"/>
                    </a:lnTo>
                    <a:lnTo>
                      <a:pt x="16" y="315"/>
                    </a:lnTo>
                    <a:lnTo>
                      <a:pt x="15" y="315"/>
                    </a:lnTo>
                    <a:lnTo>
                      <a:pt x="13" y="315"/>
                    </a:lnTo>
                    <a:lnTo>
                      <a:pt x="12" y="315"/>
                    </a:lnTo>
                    <a:lnTo>
                      <a:pt x="11" y="315"/>
                    </a:lnTo>
                    <a:lnTo>
                      <a:pt x="11" y="316"/>
                    </a:lnTo>
                    <a:lnTo>
                      <a:pt x="10" y="316"/>
                    </a:lnTo>
                    <a:lnTo>
                      <a:pt x="8" y="316"/>
                    </a:lnTo>
                    <a:lnTo>
                      <a:pt x="8" y="318"/>
                    </a:lnTo>
                    <a:lnTo>
                      <a:pt x="8" y="319"/>
                    </a:lnTo>
                    <a:lnTo>
                      <a:pt x="7" y="319"/>
                    </a:lnTo>
                    <a:lnTo>
                      <a:pt x="7" y="319"/>
                    </a:lnTo>
                    <a:lnTo>
                      <a:pt x="5" y="319"/>
                    </a:lnTo>
                    <a:lnTo>
                      <a:pt x="5" y="319"/>
                    </a:lnTo>
                    <a:lnTo>
                      <a:pt x="4" y="320"/>
                    </a:lnTo>
                    <a:lnTo>
                      <a:pt x="3" y="320"/>
                    </a:lnTo>
                    <a:lnTo>
                      <a:pt x="3" y="320"/>
                    </a:lnTo>
                    <a:lnTo>
                      <a:pt x="3" y="319"/>
                    </a:lnTo>
                    <a:lnTo>
                      <a:pt x="3" y="319"/>
                    </a:lnTo>
                    <a:lnTo>
                      <a:pt x="3" y="319"/>
                    </a:lnTo>
                    <a:lnTo>
                      <a:pt x="3" y="319"/>
                    </a:lnTo>
                    <a:lnTo>
                      <a:pt x="3" y="318"/>
                    </a:lnTo>
                    <a:lnTo>
                      <a:pt x="3" y="318"/>
                    </a:lnTo>
                    <a:lnTo>
                      <a:pt x="4" y="318"/>
                    </a:lnTo>
                    <a:lnTo>
                      <a:pt x="4" y="316"/>
                    </a:lnTo>
                    <a:lnTo>
                      <a:pt x="4" y="316"/>
                    </a:lnTo>
                    <a:lnTo>
                      <a:pt x="4" y="316"/>
                    </a:lnTo>
                    <a:lnTo>
                      <a:pt x="3" y="316"/>
                    </a:lnTo>
                    <a:lnTo>
                      <a:pt x="3" y="315"/>
                    </a:lnTo>
                    <a:lnTo>
                      <a:pt x="3" y="314"/>
                    </a:lnTo>
                    <a:lnTo>
                      <a:pt x="3" y="313"/>
                    </a:lnTo>
                    <a:lnTo>
                      <a:pt x="4" y="313"/>
                    </a:lnTo>
                    <a:lnTo>
                      <a:pt x="4" y="312"/>
                    </a:lnTo>
                    <a:lnTo>
                      <a:pt x="5" y="311"/>
                    </a:lnTo>
                    <a:lnTo>
                      <a:pt x="7" y="311"/>
                    </a:lnTo>
                    <a:lnTo>
                      <a:pt x="7" y="311"/>
                    </a:lnTo>
                    <a:lnTo>
                      <a:pt x="7" y="309"/>
                    </a:lnTo>
                    <a:lnTo>
                      <a:pt x="8" y="309"/>
                    </a:lnTo>
                    <a:lnTo>
                      <a:pt x="10" y="308"/>
                    </a:lnTo>
                    <a:lnTo>
                      <a:pt x="12" y="308"/>
                    </a:lnTo>
                    <a:lnTo>
                      <a:pt x="13" y="308"/>
                    </a:lnTo>
                    <a:lnTo>
                      <a:pt x="13" y="308"/>
                    </a:lnTo>
                    <a:lnTo>
                      <a:pt x="13" y="308"/>
                    </a:lnTo>
                    <a:lnTo>
                      <a:pt x="13" y="307"/>
                    </a:lnTo>
                    <a:lnTo>
                      <a:pt x="15" y="307"/>
                    </a:lnTo>
                    <a:lnTo>
                      <a:pt x="15" y="307"/>
                    </a:lnTo>
                    <a:lnTo>
                      <a:pt x="17" y="306"/>
                    </a:lnTo>
                    <a:lnTo>
                      <a:pt x="19" y="306"/>
                    </a:lnTo>
                    <a:lnTo>
                      <a:pt x="22" y="307"/>
                    </a:lnTo>
                    <a:lnTo>
                      <a:pt x="23" y="307"/>
                    </a:lnTo>
                    <a:lnTo>
                      <a:pt x="23" y="307"/>
                    </a:lnTo>
                    <a:lnTo>
                      <a:pt x="24" y="306"/>
                    </a:lnTo>
                    <a:lnTo>
                      <a:pt x="24" y="306"/>
                    </a:lnTo>
                    <a:close/>
                    <a:moveTo>
                      <a:pt x="778" y="218"/>
                    </a:moveTo>
                    <a:lnTo>
                      <a:pt x="778" y="218"/>
                    </a:lnTo>
                    <a:lnTo>
                      <a:pt x="778" y="218"/>
                    </a:lnTo>
                    <a:lnTo>
                      <a:pt x="778" y="218"/>
                    </a:lnTo>
                    <a:lnTo>
                      <a:pt x="778" y="218"/>
                    </a:lnTo>
                    <a:lnTo>
                      <a:pt x="778" y="218"/>
                    </a:lnTo>
                    <a:close/>
                    <a:moveTo>
                      <a:pt x="817" y="174"/>
                    </a:moveTo>
                    <a:lnTo>
                      <a:pt x="818" y="175"/>
                    </a:lnTo>
                    <a:lnTo>
                      <a:pt x="818" y="177"/>
                    </a:lnTo>
                    <a:lnTo>
                      <a:pt x="817" y="178"/>
                    </a:lnTo>
                    <a:lnTo>
                      <a:pt x="817" y="179"/>
                    </a:lnTo>
                    <a:lnTo>
                      <a:pt x="816" y="179"/>
                    </a:lnTo>
                    <a:lnTo>
                      <a:pt x="815" y="180"/>
                    </a:lnTo>
                    <a:lnTo>
                      <a:pt x="815" y="180"/>
                    </a:lnTo>
                    <a:lnTo>
                      <a:pt x="815" y="181"/>
                    </a:lnTo>
                    <a:lnTo>
                      <a:pt x="815" y="182"/>
                    </a:lnTo>
                    <a:lnTo>
                      <a:pt x="815" y="182"/>
                    </a:lnTo>
                    <a:lnTo>
                      <a:pt x="815" y="184"/>
                    </a:lnTo>
                    <a:lnTo>
                      <a:pt x="815" y="185"/>
                    </a:lnTo>
                    <a:lnTo>
                      <a:pt x="815" y="186"/>
                    </a:lnTo>
                    <a:lnTo>
                      <a:pt x="815" y="187"/>
                    </a:lnTo>
                    <a:lnTo>
                      <a:pt x="809" y="187"/>
                    </a:lnTo>
                    <a:lnTo>
                      <a:pt x="809" y="186"/>
                    </a:lnTo>
                    <a:lnTo>
                      <a:pt x="808" y="186"/>
                    </a:lnTo>
                    <a:lnTo>
                      <a:pt x="805" y="185"/>
                    </a:lnTo>
                    <a:lnTo>
                      <a:pt x="803" y="186"/>
                    </a:lnTo>
                    <a:lnTo>
                      <a:pt x="803" y="186"/>
                    </a:lnTo>
                    <a:lnTo>
                      <a:pt x="802" y="184"/>
                    </a:lnTo>
                    <a:lnTo>
                      <a:pt x="801" y="182"/>
                    </a:lnTo>
                    <a:lnTo>
                      <a:pt x="800" y="182"/>
                    </a:lnTo>
                    <a:lnTo>
                      <a:pt x="798" y="182"/>
                    </a:lnTo>
                    <a:lnTo>
                      <a:pt x="796" y="181"/>
                    </a:lnTo>
                    <a:lnTo>
                      <a:pt x="795" y="180"/>
                    </a:lnTo>
                    <a:lnTo>
                      <a:pt x="794" y="180"/>
                    </a:lnTo>
                    <a:lnTo>
                      <a:pt x="793" y="180"/>
                    </a:lnTo>
                    <a:lnTo>
                      <a:pt x="793" y="179"/>
                    </a:lnTo>
                    <a:lnTo>
                      <a:pt x="793" y="177"/>
                    </a:lnTo>
                    <a:lnTo>
                      <a:pt x="794" y="177"/>
                    </a:lnTo>
                    <a:lnTo>
                      <a:pt x="795" y="175"/>
                    </a:lnTo>
                    <a:lnTo>
                      <a:pt x="795" y="175"/>
                    </a:lnTo>
                    <a:lnTo>
                      <a:pt x="796" y="175"/>
                    </a:lnTo>
                    <a:lnTo>
                      <a:pt x="798" y="177"/>
                    </a:lnTo>
                    <a:lnTo>
                      <a:pt x="800" y="175"/>
                    </a:lnTo>
                    <a:lnTo>
                      <a:pt x="801" y="175"/>
                    </a:lnTo>
                    <a:lnTo>
                      <a:pt x="802" y="175"/>
                    </a:lnTo>
                    <a:lnTo>
                      <a:pt x="803" y="177"/>
                    </a:lnTo>
                    <a:lnTo>
                      <a:pt x="803" y="177"/>
                    </a:lnTo>
                    <a:lnTo>
                      <a:pt x="803" y="177"/>
                    </a:lnTo>
                    <a:lnTo>
                      <a:pt x="803" y="177"/>
                    </a:lnTo>
                    <a:lnTo>
                      <a:pt x="805" y="177"/>
                    </a:lnTo>
                    <a:lnTo>
                      <a:pt x="807" y="175"/>
                    </a:lnTo>
                    <a:lnTo>
                      <a:pt x="809" y="175"/>
                    </a:lnTo>
                    <a:lnTo>
                      <a:pt x="810" y="175"/>
                    </a:lnTo>
                    <a:lnTo>
                      <a:pt x="810" y="175"/>
                    </a:lnTo>
                    <a:lnTo>
                      <a:pt x="811" y="175"/>
                    </a:lnTo>
                    <a:lnTo>
                      <a:pt x="811" y="174"/>
                    </a:lnTo>
                    <a:lnTo>
                      <a:pt x="812" y="175"/>
                    </a:lnTo>
                    <a:lnTo>
                      <a:pt x="814" y="175"/>
                    </a:lnTo>
                    <a:lnTo>
                      <a:pt x="814" y="175"/>
                    </a:lnTo>
                    <a:lnTo>
                      <a:pt x="815" y="175"/>
                    </a:lnTo>
                    <a:lnTo>
                      <a:pt x="815" y="174"/>
                    </a:lnTo>
                    <a:lnTo>
                      <a:pt x="816" y="175"/>
                    </a:lnTo>
                    <a:lnTo>
                      <a:pt x="816" y="175"/>
                    </a:lnTo>
                    <a:lnTo>
                      <a:pt x="817" y="174"/>
                    </a:lnTo>
                    <a:lnTo>
                      <a:pt x="817" y="174"/>
                    </a:lnTo>
                    <a:close/>
                    <a:moveTo>
                      <a:pt x="880" y="159"/>
                    </a:moveTo>
                    <a:lnTo>
                      <a:pt x="883" y="159"/>
                    </a:lnTo>
                    <a:lnTo>
                      <a:pt x="883" y="160"/>
                    </a:lnTo>
                    <a:lnTo>
                      <a:pt x="882" y="160"/>
                    </a:lnTo>
                    <a:lnTo>
                      <a:pt x="882" y="160"/>
                    </a:lnTo>
                    <a:lnTo>
                      <a:pt x="880" y="159"/>
                    </a:lnTo>
                    <a:close/>
                    <a:moveTo>
                      <a:pt x="125" y="159"/>
                    </a:moveTo>
                    <a:lnTo>
                      <a:pt x="125" y="160"/>
                    </a:lnTo>
                    <a:lnTo>
                      <a:pt x="124" y="162"/>
                    </a:lnTo>
                    <a:lnTo>
                      <a:pt x="124" y="162"/>
                    </a:lnTo>
                    <a:lnTo>
                      <a:pt x="123" y="162"/>
                    </a:lnTo>
                    <a:lnTo>
                      <a:pt x="124" y="160"/>
                    </a:lnTo>
                    <a:lnTo>
                      <a:pt x="125" y="159"/>
                    </a:lnTo>
                    <a:close/>
                    <a:moveTo>
                      <a:pt x="762" y="148"/>
                    </a:moveTo>
                    <a:lnTo>
                      <a:pt x="765" y="148"/>
                    </a:lnTo>
                    <a:lnTo>
                      <a:pt x="765" y="151"/>
                    </a:lnTo>
                    <a:lnTo>
                      <a:pt x="766" y="151"/>
                    </a:lnTo>
                    <a:lnTo>
                      <a:pt x="766" y="152"/>
                    </a:lnTo>
                    <a:lnTo>
                      <a:pt x="766" y="154"/>
                    </a:lnTo>
                    <a:lnTo>
                      <a:pt x="767" y="155"/>
                    </a:lnTo>
                    <a:lnTo>
                      <a:pt x="767" y="156"/>
                    </a:lnTo>
                    <a:lnTo>
                      <a:pt x="767" y="156"/>
                    </a:lnTo>
                    <a:lnTo>
                      <a:pt x="766" y="156"/>
                    </a:lnTo>
                    <a:lnTo>
                      <a:pt x="766" y="156"/>
                    </a:lnTo>
                    <a:lnTo>
                      <a:pt x="767" y="156"/>
                    </a:lnTo>
                    <a:lnTo>
                      <a:pt x="767" y="159"/>
                    </a:lnTo>
                    <a:lnTo>
                      <a:pt x="766" y="160"/>
                    </a:lnTo>
                    <a:lnTo>
                      <a:pt x="766" y="162"/>
                    </a:lnTo>
                    <a:lnTo>
                      <a:pt x="766" y="162"/>
                    </a:lnTo>
                    <a:lnTo>
                      <a:pt x="767" y="162"/>
                    </a:lnTo>
                    <a:lnTo>
                      <a:pt x="766" y="163"/>
                    </a:lnTo>
                    <a:lnTo>
                      <a:pt x="766" y="164"/>
                    </a:lnTo>
                    <a:lnTo>
                      <a:pt x="766" y="165"/>
                    </a:lnTo>
                    <a:lnTo>
                      <a:pt x="765" y="166"/>
                    </a:lnTo>
                    <a:lnTo>
                      <a:pt x="764" y="165"/>
                    </a:lnTo>
                    <a:lnTo>
                      <a:pt x="763" y="165"/>
                    </a:lnTo>
                    <a:lnTo>
                      <a:pt x="763" y="166"/>
                    </a:lnTo>
                    <a:lnTo>
                      <a:pt x="764" y="166"/>
                    </a:lnTo>
                    <a:lnTo>
                      <a:pt x="764" y="167"/>
                    </a:lnTo>
                    <a:lnTo>
                      <a:pt x="764" y="167"/>
                    </a:lnTo>
                    <a:lnTo>
                      <a:pt x="764" y="166"/>
                    </a:lnTo>
                    <a:lnTo>
                      <a:pt x="763" y="167"/>
                    </a:lnTo>
                    <a:lnTo>
                      <a:pt x="762" y="167"/>
                    </a:lnTo>
                    <a:lnTo>
                      <a:pt x="760" y="167"/>
                    </a:lnTo>
                    <a:lnTo>
                      <a:pt x="760" y="166"/>
                    </a:lnTo>
                    <a:lnTo>
                      <a:pt x="760" y="166"/>
                    </a:lnTo>
                    <a:lnTo>
                      <a:pt x="759" y="166"/>
                    </a:lnTo>
                    <a:lnTo>
                      <a:pt x="759" y="166"/>
                    </a:lnTo>
                    <a:lnTo>
                      <a:pt x="758" y="165"/>
                    </a:lnTo>
                    <a:lnTo>
                      <a:pt x="758" y="159"/>
                    </a:lnTo>
                    <a:lnTo>
                      <a:pt x="759" y="158"/>
                    </a:lnTo>
                    <a:lnTo>
                      <a:pt x="759" y="158"/>
                    </a:lnTo>
                    <a:lnTo>
                      <a:pt x="758" y="157"/>
                    </a:lnTo>
                    <a:lnTo>
                      <a:pt x="758" y="156"/>
                    </a:lnTo>
                    <a:lnTo>
                      <a:pt x="759" y="156"/>
                    </a:lnTo>
                    <a:lnTo>
                      <a:pt x="759" y="155"/>
                    </a:lnTo>
                    <a:lnTo>
                      <a:pt x="759" y="154"/>
                    </a:lnTo>
                    <a:lnTo>
                      <a:pt x="758" y="154"/>
                    </a:lnTo>
                    <a:lnTo>
                      <a:pt x="758" y="152"/>
                    </a:lnTo>
                    <a:lnTo>
                      <a:pt x="757" y="152"/>
                    </a:lnTo>
                    <a:lnTo>
                      <a:pt x="757" y="152"/>
                    </a:lnTo>
                    <a:lnTo>
                      <a:pt x="757" y="151"/>
                    </a:lnTo>
                    <a:lnTo>
                      <a:pt x="757" y="151"/>
                    </a:lnTo>
                    <a:lnTo>
                      <a:pt x="757" y="149"/>
                    </a:lnTo>
                    <a:lnTo>
                      <a:pt x="757" y="149"/>
                    </a:lnTo>
                    <a:lnTo>
                      <a:pt x="758" y="150"/>
                    </a:lnTo>
                    <a:lnTo>
                      <a:pt x="758" y="150"/>
                    </a:lnTo>
                    <a:lnTo>
                      <a:pt x="760" y="149"/>
                    </a:lnTo>
                    <a:lnTo>
                      <a:pt x="760" y="149"/>
                    </a:lnTo>
                    <a:lnTo>
                      <a:pt x="760" y="148"/>
                    </a:lnTo>
                    <a:lnTo>
                      <a:pt x="762" y="148"/>
                    </a:lnTo>
                    <a:close/>
                    <a:moveTo>
                      <a:pt x="718" y="137"/>
                    </a:moveTo>
                    <a:lnTo>
                      <a:pt x="718" y="137"/>
                    </a:lnTo>
                    <a:lnTo>
                      <a:pt x="718" y="137"/>
                    </a:lnTo>
                    <a:lnTo>
                      <a:pt x="718" y="137"/>
                    </a:lnTo>
                    <a:lnTo>
                      <a:pt x="718" y="137"/>
                    </a:lnTo>
                    <a:close/>
                    <a:moveTo>
                      <a:pt x="763" y="130"/>
                    </a:moveTo>
                    <a:lnTo>
                      <a:pt x="764" y="132"/>
                    </a:lnTo>
                    <a:lnTo>
                      <a:pt x="764" y="134"/>
                    </a:lnTo>
                    <a:lnTo>
                      <a:pt x="764" y="137"/>
                    </a:lnTo>
                    <a:lnTo>
                      <a:pt x="765" y="138"/>
                    </a:lnTo>
                    <a:lnTo>
                      <a:pt x="765" y="141"/>
                    </a:lnTo>
                    <a:lnTo>
                      <a:pt x="764" y="142"/>
                    </a:lnTo>
                    <a:lnTo>
                      <a:pt x="764" y="145"/>
                    </a:lnTo>
                    <a:lnTo>
                      <a:pt x="763" y="147"/>
                    </a:lnTo>
                    <a:lnTo>
                      <a:pt x="762" y="145"/>
                    </a:lnTo>
                    <a:lnTo>
                      <a:pt x="762" y="145"/>
                    </a:lnTo>
                    <a:lnTo>
                      <a:pt x="760" y="144"/>
                    </a:lnTo>
                    <a:lnTo>
                      <a:pt x="760" y="144"/>
                    </a:lnTo>
                    <a:lnTo>
                      <a:pt x="759" y="144"/>
                    </a:lnTo>
                    <a:lnTo>
                      <a:pt x="759" y="144"/>
                    </a:lnTo>
                    <a:lnTo>
                      <a:pt x="759" y="143"/>
                    </a:lnTo>
                    <a:lnTo>
                      <a:pt x="759" y="143"/>
                    </a:lnTo>
                    <a:lnTo>
                      <a:pt x="758" y="142"/>
                    </a:lnTo>
                    <a:lnTo>
                      <a:pt x="758" y="142"/>
                    </a:lnTo>
                    <a:lnTo>
                      <a:pt x="757" y="141"/>
                    </a:lnTo>
                    <a:lnTo>
                      <a:pt x="758" y="140"/>
                    </a:lnTo>
                    <a:lnTo>
                      <a:pt x="758" y="140"/>
                    </a:lnTo>
                    <a:lnTo>
                      <a:pt x="758" y="138"/>
                    </a:lnTo>
                    <a:lnTo>
                      <a:pt x="757" y="138"/>
                    </a:lnTo>
                    <a:lnTo>
                      <a:pt x="757" y="137"/>
                    </a:lnTo>
                    <a:lnTo>
                      <a:pt x="757" y="137"/>
                    </a:lnTo>
                    <a:lnTo>
                      <a:pt x="757" y="137"/>
                    </a:lnTo>
                    <a:lnTo>
                      <a:pt x="758" y="135"/>
                    </a:lnTo>
                    <a:lnTo>
                      <a:pt x="758" y="135"/>
                    </a:lnTo>
                    <a:lnTo>
                      <a:pt x="758" y="134"/>
                    </a:lnTo>
                    <a:lnTo>
                      <a:pt x="759" y="134"/>
                    </a:lnTo>
                    <a:lnTo>
                      <a:pt x="759" y="134"/>
                    </a:lnTo>
                    <a:lnTo>
                      <a:pt x="760" y="134"/>
                    </a:lnTo>
                    <a:lnTo>
                      <a:pt x="760" y="133"/>
                    </a:lnTo>
                    <a:lnTo>
                      <a:pt x="762" y="133"/>
                    </a:lnTo>
                    <a:lnTo>
                      <a:pt x="762" y="132"/>
                    </a:lnTo>
                    <a:lnTo>
                      <a:pt x="763" y="130"/>
                    </a:lnTo>
                    <a:lnTo>
                      <a:pt x="763" y="130"/>
                    </a:lnTo>
                    <a:close/>
                    <a:moveTo>
                      <a:pt x="937" y="103"/>
                    </a:moveTo>
                    <a:lnTo>
                      <a:pt x="938" y="104"/>
                    </a:lnTo>
                    <a:lnTo>
                      <a:pt x="937" y="104"/>
                    </a:lnTo>
                    <a:lnTo>
                      <a:pt x="937" y="103"/>
                    </a:lnTo>
                    <a:lnTo>
                      <a:pt x="937" y="103"/>
                    </a:lnTo>
                    <a:close/>
                    <a:moveTo>
                      <a:pt x="272" y="78"/>
                    </a:moveTo>
                    <a:lnTo>
                      <a:pt x="272" y="80"/>
                    </a:lnTo>
                    <a:lnTo>
                      <a:pt x="272" y="80"/>
                    </a:lnTo>
                    <a:lnTo>
                      <a:pt x="272" y="78"/>
                    </a:lnTo>
                    <a:close/>
                    <a:moveTo>
                      <a:pt x="271" y="77"/>
                    </a:moveTo>
                    <a:lnTo>
                      <a:pt x="271" y="78"/>
                    </a:lnTo>
                    <a:lnTo>
                      <a:pt x="271" y="80"/>
                    </a:lnTo>
                    <a:lnTo>
                      <a:pt x="272" y="80"/>
                    </a:lnTo>
                    <a:lnTo>
                      <a:pt x="272" y="80"/>
                    </a:lnTo>
                    <a:lnTo>
                      <a:pt x="271" y="81"/>
                    </a:lnTo>
                    <a:lnTo>
                      <a:pt x="271" y="81"/>
                    </a:lnTo>
                    <a:lnTo>
                      <a:pt x="272" y="81"/>
                    </a:lnTo>
                    <a:lnTo>
                      <a:pt x="273" y="82"/>
                    </a:lnTo>
                    <a:lnTo>
                      <a:pt x="273" y="82"/>
                    </a:lnTo>
                    <a:lnTo>
                      <a:pt x="274" y="83"/>
                    </a:lnTo>
                    <a:lnTo>
                      <a:pt x="273" y="83"/>
                    </a:lnTo>
                    <a:lnTo>
                      <a:pt x="273" y="83"/>
                    </a:lnTo>
                    <a:lnTo>
                      <a:pt x="274" y="84"/>
                    </a:lnTo>
                    <a:lnTo>
                      <a:pt x="274" y="84"/>
                    </a:lnTo>
                    <a:lnTo>
                      <a:pt x="274" y="84"/>
                    </a:lnTo>
                    <a:lnTo>
                      <a:pt x="273" y="85"/>
                    </a:lnTo>
                    <a:lnTo>
                      <a:pt x="272" y="85"/>
                    </a:lnTo>
                    <a:lnTo>
                      <a:pt x="271" y="87"/>
                    </a:lnTo>
                    <a:lnTo>
                      <a:pt x="271" y="87"/>
                    </a:lnTo>
                    <a:lnTo>
                      <a:pt x="269" y="85"/>
                    </a:lnTo>
                    <a:lnTo>
                      <a:pt x="267" y="85"/>
                    </a:lnTo>
                    <a:lnTo>
                      <a:pt x="266" y="87"/>
                    </a:lnTo>
                    <a:lnTo>
                      <a:pt x="265" y="87"/>
                    </a:lnTo>
                    <a:lnTo>
                      <a:pt x="265" y="87"/>
                    </a:lnTo>
                    <a:lnTo>
                      <a:pt x="264" y="87"/>
                    </a:lnTo>
                    <a:lnTo>
                      <a:pt x="264" y="88"/>
                    </a:lnTo>
                    <a:lnTo>
                      <a:pt x="264" y="87"/>
                    </a:lnTo>
                    <a:lnTo>
                      <a:pt x="264" y="85"/>
                    </a:lnTo>
                    <a:lnTo>
                      <a:pt x="264" y="84"/>
                    </a:lnTo>
                    <a:lnTo>
                      <a:pt x="264" y="83"/>
                    </a:lnTo>
                    <a:lnTo>
                      <a:pt x="265" y="83"/>
                    </a:lnTo>
                    <a:lnTo>
                      <a:pt x="266" y="82"/>
                    </a:lnTo>
                    <a:lnTo>
                      <a:pt x="267" y="80"/>
                    </a:lnTo>
                    <a:lnTo>
                      <a:pt x="269" y="78"/>
                    </a:lnTo>
                    <a:lnTo>
                      <a:pt x="271" y="77"/>
                    </a:lnTo>
                    <a:close/>
                    <a:moveTo>
                      <a:pt x="244" y="77"/>
                    </a:moveTo>
                    <a:lnTo>
                      <a:pt x="244" y="77"/>
                    </a:lnTo>
                    <a:lnTo>
                      <a:pt x="245" y="78"/>
                    </a:lnTo>
                    <a:lnTo>
                      <a:pt x="247" y="78"/>
                    </a:lnTo>
                    <a:lnTo>
                      <a:pt x="248" y="78"/>
                    </a:lnTo>
                    <a:lnTo>
                      <a:pt x="248" y="80"/>
                    </a:lnTo>
                    <a:lnTo>
                      <a:pt x="248" y="80"/>
                    </a:lnTo>
                    <a:lnTo>
                      <a:pt x="249" y="80"/>
                    </a:lnTo>
                    <a:lnTo>
                      <a:pt x="249" y="80"/>
                    </a:lnTo>
                    <a:lnTo>
                      <a:pt x="249" y="80"/>
                    </a:lnTo>
                    <a:lnTo>
                      <a:pt x="258" y="80"/>
                    </a:lnTo>
                    <a:lnTo>
                      <a:pt x="257" y="81"/>
                    </a:lnTo>
                    <a:lnTo>
                      <a:pt x="256" y="81"/>
                    </a:lnTo>
                    <a:lnTo>
                      <a:pt x="256" y="81"/>
                    </a:lnTo>
                    <a:lnTo>
                      <a:pt x="255" y="81"/>
                    </a:lnTo>
                    <a:lnTo>
                      <a:pt x="255" y="81"/>
                    </a:lnTo>
                    <a:lnTo>
                      <a:pt x="255" y="81"/>
                    </a:lnTo>
                    <a:lnTo>
                      <a:pt x="256" y="82"/>
                    </a:lnTo>
                    <a:lnTo>
                      <a:pt x="256" y="82"/>
                    </a:lnTo>
                    <a:lnTo>
                      <a:pt x="256" y="82"/>
                    </a:lnTo>
                    <a:lnTo>
                      <a:pt x="255" y="83"/>
                    </a:lnTo>
                    <a:lnTo>
                      <a:pt x="254" y="84"/>
                    </a:lnTo>
                    <a:lnTo>
                      <a:pt x="254" y="83"/>
                    </a:lnTo>
                    <a:lnTo>
                      <a:pt x="252" y="83"/>
                    </a:lnTo>
                    <a:lnTo>
                      <a:pt x="252" y="83"/>
                    </a:lnTo>
                    <a:lnTo>
                      <a:pt x="252" y="83"/>
                    </a:lnTo>
                    <a:lnTo>
                      <a:pt x="251" y="82"/>
                    </a:lnTo>
                    <a:lnTo>
                      <a:pt x="251" y="82"/>
                    </a:lnTo>
                    <a:lnTo>
                      <a:pt x="251" y="83"/>
                    </a:lnTo>
                    <a:lnTo>
                      <a:pt x="251" y="83"/>
                    </a:lnTo>
                    <a:lnTo>
                      <a:pt x="251" y="83"/>
                    </a:lnTo>
                    <a:lnTo>
                      <a:pt x="249" y="83"/>
                    </a:lnTo>
                    <a:lnTo>
                      <a:pt x="248" y="83"/>
                    </a:lnTo>
                    <a:lnTo>
                      <a:pt x="247" y="83"/>
                    </a:lnTo>
                    <a:lnTo>
                      <a:pt x="247" y="82"/>
                    </a:lnTo>
                    <a:lnTo>
                      <a:pt x="245" y="81"/>
                    </a:lnTo>
                    <a:lnTo>
                      <a:pt x="244" y="81"/>
                    </a:lnTo>
                    <a:lnTo>
                      <a:pt x="244" y="80"/>
                    </a:lnTo>
                    <a:lnTo>
                      <a:pt x="244" y="80"/>
                    </a:lnTo>
                    <a:lnTo>
                      <a:pt x="245" y="80"/>
                    </a:lnTo>
                    <a:lnTo>
                      <a:pt x="244" y="80"/>
                    </a:lnTo>
                    <a:lnTo>
                      <a:pt x="244" y="81"/>
                    </a:lnTo>
                    <a:lnTo>
                      <a:pt x="244" y="81"/>
                    </a:lnTo>
                    <a:lnTo>
                      <a:pt x="243" y="81"/>
                    </a:lnTo>
                    <a:lnTo>
                      <a:pt x="242" y="80"/>
                    </a:lnTo>
                    <a:lnTo>
                      <a:pt x="243" y="78"/>
                    </a:lnTo>
                    <a:lnTo>
                      <a:pt x="243" y="77"/>
                    </a:lnTo>
                    <a:lnTo>
                      <a:pt x="244" y="77"/>
                    </a:lnTo>
                    <a:close/>
                    <a:moveTo>
                      <a:pt x="330" y="66"/>
                    </a:moveTo>
                    <a:lnTo>
                      <a:pt x="332" y="66"/>
                    </a:lnTo>
                    <a:lnTo>
                      <a:pt x="331" y="67"/>
                    </a:lnTo>
                    <a:lnTo>
                      <a:pt x="330" y="68"/>
                    </a:lnTo>
                    <a:lnTo>
                      <a:pt x="329" y="69"/>
                    </a:lnTo>
                    <a:lnTo>
                      <a:pt x="330" y="69"/>
                    </a:lnTo>
                    <a:lnTo>
                      <a:pt x="330" y="68"/>
                    </a:lnTo>
                    <a:lnTo>
                      <a:pt x="331" y="67"/>
                    </a:lnTo>
                    <a:lnTo>
                      <a:pt x="331" y="67"/>
                    </a:lnTo>
                    <a:lnTo>
                      <a:pt x="332" y="67"/>
                    </a:lnTo>
                    <a:lnTo>
                      <a:pt x="332" y="70"/>
                    </a:lnTo>
                    <a:lnTo>
                      <a:pt x="331" y="73"/>
                    </a:lnTo>
                    <a:lnTo>
                      <a:pt x="330" y="74"/>
                    </a:lnTo>
                    <a:lnTo>
                      <a:pt x="330" y="74"/>
                    </a:lnTo>
                    <a:lnTo>
                      <a:pt x="330" y="75"/>
                    </a:lnTo>
                    <a:lnTo>
                      <a:pt x="329" y="76"/>
                    </a:lnTo>
                    <a:lnTo>
                      <a:pt x="329" y="76"/>
                    </a:lnTo>
                    <a:lnTo>
                      <a:pt x="329" y="76"/>
                    </a:lnTo>
                    <a:lnTo>
                      <a:pt x="327" y="76"/>
                    </a:lnTo>
                    <a:lnTo>
                      <a:pt x="327" y="76"/>
                    </a:lnTo>
                    <a:lnTo>
                      <a:pt x="326" y="76"/>
                    </a:lnTo>
                    <a:lnTo>
                      <a:pt x="325" y="76"/>
                    </a:lnTo>
                    <a:lnTo>
                      <a:pt x="325" y="75"/>
                    </a:lnTo>
                    <a:lnTo>
                      <a:pt x="325" y="74"/>
                    </a:lnTo>
                    <a:lnTo>
                      <a:pt x="325" y="74"/>
                    </a:lnTo>
                    <a:lnTo>
                      <a:pt x="326" y="73"/>
                    </a:lnTo>
                    <a:lnTo>
                      <a:pt x="326" y="72"/>
                    </a:lnTo>
                    <a:lnTo>
                      <a:pt x="325" y="72"/>
                    </a:lnTo>
                    <a:lnTo>
                      <a:pt x="325" y="73"/>
                    </a:lnTo>
                    <a:lnTo>
                      <a:pt x="325" y="74"/>
                    </a:lnTo>
                    <a:lnTo>
                      <a:pt x="323" y="75"/>
                    </a:lnTo>
                    <a:lnTo>
                      <a:pt x="322" y="76"/>
                    </a:lnTo>
                    <a:lnTo>
                      <a:pt x="322" y="76"/>
                    </a:lnTo>
                    <a:lnTo>
                      <a:pt x="322" y="76"/>
                    </a:lnTo>
                    <a:lnTo>
                      <a:pt x="322" y="74"/>
                    </a:lnTo>
                    <a:lnTo>
                      <a:pt x="322" y="73"/>
                    </a:lnTo>
                    <a:lnTo>
                      <a:pt x="323" y="70"/>
                    </a:lnTo>
                    <a:lnTo>
                      <a:pt x="323" y="69"/>
                    </a:lnTo>
                    <a:lnTo>
                      <a:pt x="324" y="68"/>
                    </a:lnTo>
                    <a:lnTo>
                      <a:pt x="325" y="68"/>
                    </a:lnTo>
                    <a:lnTo>
                      <a:pt x="326" y="67"/>
                    </a:lnTo>
                    <a:lnTo>
                      <a:pt x="327" y="67"/>
                    </a:lnTo>
                    <a:lnTo>
                      <a:pt x="329" y="67"/>
                    </a:lnTo>
                    <a:lnTo>
                      <a:pt x="330" y="66"/>
                    </a:lnTo>
                    <a:lnTo>
                      <a:pt x="330" y="66"/>
                    </a:lnTo>
                    <a:close/>
                    <a:moveTo>
                      <a:pt x="289" y="62"/>
                    </a:moveTo>
                    <a:lnTo>
                      <a:pt x="289" y="63"/>
                    </a:lnTo>
                    <a:lnTo>
                      <a:pt x="288" y="63"/>
                    </a:lnTo>
                    <a:lnTo>
                      <a:pt x="288" y="63"/>
                    </a:lnTo>
                    <a:lnTo>
                      <a:pt x="287" y="65"/>
                    </a:lnTo>
                    <a:lnTo>
                      <a:pt x="287" y="65"/>
                    </a:lnTo>
                    <a:lnTo>
                      <a:pt x="286" y="63"/>
                    </a:lnTo>
                    <a:lnTo>
                      <a:pt x="287" y="63"/>
                    </a:lnTo>
                    <a:lnTo>
                      <a:pt x="287" y="63"/>
                    </a:lnTo>
                    <a:lnTo>
                      <a:pt x="287" y="63"/>
                    </a:lnTo>
                    <a:lnTo>
                      <a:pt x="288" y="62"/>
                    </a:lnTo>
                    <a:lnTo>
                      <a:pt x="289" y="62"/>
                    </a:lnTo>
                    <a:close/>
                    <a:moveTo>
                      <a:pt x="621" y="54"/>
                    </a:moveTo>
                    <a:lnTo>
                      <a:pt x="621" y="54"/>
                    </a:lnTo>
                    <a:lnTo>
                      <a:pt x="621" y="54"/>
                    </a:lnTo>
                    <a:lnTo>
                      <a:pt x="621" y="54"/>
                    </a:lnTo>
                    <a:close/>
                    <a:moveTo>
                      <a:pt x="622" y="54"/>
                    </a:moveTo>
                    <a:lnTo>
                      <a:pt x="622" y="54"/>
                    </a:lnTo>
                    <a:lnTo>
                      <a:pt x="621" y="54"/>
                    </a:lnTo>
                    <a:lnTo>
                      <a:pt x="622" y="54"/>
                    </a:lnTo>
                    <a:close/>
                    <a:moveTo>
                      <a:pt x="622" y="53"/>
                    </a:moveTo>
                    <a:lnTo>
                      <a:pt x="622" y="54"/>
                    </a:lnTo>
                    <a:lnTo>
                      <a:pt x="622" y="53"/>
                    </a:lnTo>
                    <a:lnTo>
                      <a:pt x="622" y="53"/>
                    </a:lnTo>
                    <a:close/>
                    <a:moveTo>
                      <a:pt x="618" y="48"/>
                    </a:moveTo>
                    <a:lnTo>
                      <a:pt x="618" y="48"/>
                    </a:lnTo>
                    <a:lnTo>
                      <a:pt x="618" y="48"/>
                    </a:lnTo>
                    <a:lnTo>
                      <a:pt x="617" y="48"/>
                    </a:lnTo>
                    <a:lnTo>
                      <a:pt x="617" y="48"/>
                    </a:lnTo>
                    <a:lnTo>
                      <a:pt x="618" y="48"/>
                    </a:lnTo>
                    <a:close/>
                    <a:moveTo>
                      <a:pt x="616" y="48"/>
                    </a:moveTo>
                    <a:lnTo>
                      <a:pt x="617" y="48"/>
                    </a:lnTo>
                    <a:lnTo>
                      <a:pt x="617" y="48"/>
                    </a:lnTo>
                    <a:lnTo>
                      <a:pt x="617" y="48"/>
                    </a:lnTo>
                    <a:lnTo>
                      <a:pt x="616" y="48"/>
                    </a:lnTo>
                    <a:lnTo>
                      <a:pt x="616" y="48"/>
                    </a:lnTo>
                    <a:close/>
                    <a:moveTo>
                      <a:pt x="621" y="47"/>
                    </a:moveTo>
                    <a:lnTo>
                      <a:pt x="621" y="47"/>
                    </a:lnTo>
                    <a:lnTo>
                      <a:pt x="622" y="47"/>
                    </a:lnTo>
                    <a:lnTo>
                      <a:pt x="622" y="48"/>
                    </a:lnTo>
                    <a:lnTo>
                      <a:pt x="620" y="48"/>
                    </a:lnTo>
                    <a:lnTo>
                      <a:pt x="621" y="47"/>
                    </a:lnTo>
                    <a:close/>
                    <a:moveTo>
                      <a:pt x="623" y="44"/>
                    </a:moveTo>
                    <a:lnTo>
                      <a:pt x="623" y="45"/>
                    </a:lnTo>
                    <a:lnTo>
                      <a:pt x="622" y="45"/>
                    </a:lnTo>
                    <a:lnTo>
                      <a:pt x="623" y="44"/>
                    </a:lnTo>
                    <a:lnTo>
                      <a:pt x="623" y="44"/>
                    </a:lnTo>
                    <a:lnTo>
                      <a:pt x="623" y="44"/>
                    </a:lnTo>
                    <a:close/>
                    <a:moveTo>
                      <a:pt x="629" y="44"/>
                    </a:moveTo>
                    <a:lnTo>
                      <a:pt x="628" y="44"/>
                    </a:lnTo>
                    <a:lnTo>
                      <a:pt x="628" y="45"/>
                    </a:lnTo>
                    <a:lnTo>
                      <a:pt x="625" y="45"/>
                    </a:lnTo>
                    <a:lnTo>
                      <a:pt x="625" y="45"/>
                    </a:lnTo>
                    <a:lnTo>
                      <a:pt x="626" y="45"/>
                    </a:lnTo>
                    <a:lnTo>
                      <a:pt x="626" y="45"/>
                    </a:lnTo>
                    <a:lnTo>
                      <a:pt x="628" y="45"/>
                    </a:lnTo>
                    <a:lnTo>
                      <a:pt x="629" y="45"/>
                    </a:lnTo>
                    <a:lnTo>
                      <a:pt x="629" y="44"/>
                    </a:lnTo>
                    <a:lnTo>
                      <a:pt x="629" y="44"/>
                    </a:lnTo>
                    <a:close/>
                    <a:moveTo>
                      <a:pt x="620" y="38"/>
                    </a:moveTo>
                    <a:lnTo>
                      <a:pt x="622" y="38"/>
                    </a:lnTo>
                    <a:lnTo>
                      <a:pt x="622" y="38"/>
                    </a:lnTo>
                    <a:lnTo>
                      <a:pt x="621" y="38"/>
                    </a:lnTo>
                    <a:lnTo>
                      <a:pt x="621" y="38"/>
                    </a:lnTo>
                    <a:lnTo>
                      <a:pt x="620" y="38"/>
                    </a:lnTo>
                    <a:close/>
                    <a:moveTo>
                      <a:pt x="830" y="36"/>
                    </a:moveTo>
                    <a:lnTo>
                      <a:pt x="832" y="36"/>
                    </a:lnTo>
                    <a:lnTo>
                      <a:pt x="831" y="37"/>
                    </a:lnTo>
                    <a:lnTo>
                      <a:pt x="830" y="37"/>
                    </a:lnTo>
                    <a:lnTo>
                      <a:pt x="830" y="38"/>
                    </a:lnTo>
                    <a:lnTo>
                      <a:pt x="830" y="38"/>
                    </a:lnTo>
                    <a:lnTo>
                      <a:pt x="830" y="36"/>
                    </a:lnTo>
                    <a:close/>
                    <a:moveTo>
                      <a:pt x="317" y="36"/>
                    </a:moveTo>
                    <a:lnTo>
                      <a:pt x="322" y="36"/>
                    </a:lnTo>
                    <a:lnTo>
                      <a:pt x="322" y="37"/>
                    </a:lnTo>
                    <a:lnTo>
                      <a:pt x="322" y="37"/>
                    </a:lnTo>
                    <a:lnTo>
                      <a:pt x="322" y="36"/>
                    </a:lnTo>
                    <a:lnTo>
                      <a:pt x="322" y="36"/>
                    </a:lnTo>
                    <a:lnTo>
                      <a:pt x="325" y="36"/>
                    </a:lnTo>
                    <a:lnTo>
                      <a:pt x="324" y="37"/>
                    </a:lnTo>
                    <a:lnTo>
                      <a:pt x="324" y="37"/>
                    </a:lnTo>
                    <a:lnTo>
                      <a:pt x="323" y="38"/>
                    </a:lnTo>
                    <a:lnTo>
                      <a:pt x="322" y="38"/>
                    </a:lnTo>
                    <a:lnTo>
                      <a:pt x="322" y="39"/>
                    </a:lnTo>
                    <a:lnTo>
                      <a:pt x="323" y="39"/>
                    </a:lnTo>
                    <a:lnTo>
                      <a:pt x="322" y="41"/>
                    </a:lnTo>
                    <a:lnTo>
                      <a:pt x="322" y="43"/>
                    </a:lnTo>
                    <a:lnTo>
                      <a:pt x="322" y="43"/>
                    </a:lnTo>
                    <a:lnTo>
                      <a:pt x="321" y="43"/>
                    </a:lnTo>
                    <a:lnTo>
                      <a:pt x="319" y="44"/>
                    </a:lnTo>
                    <a:lnTo>
                      <a:pt x="318" y="44"/>
                    </a:lnTo>
                    <a:lnTo>
                      <a:pt x="317" y="43"/>
                    </a:lnTo>
                    <a:lnTo>
                      <a:pt x="317" y="44"/>
                    </a:lnTo>
                    <a:lnTo>
                      <a:pt x="317" y="45"/>
                    </a:lnTo>
                    <a:lnTo>
                      <a:pt x="317" y="46"/>
                    </a:lnTo>
                    <a:lnTo>
                      <a:pt x="316" y="46"/>
                    </a:lnTo>
                    <a:lnTo>
                      <a:pt x="315" y="46"/>
                    </a:lnTo>
                    <a:lnTo>
                      <a:pt x="315" y="46"/>
                    </a:lnTo>
                    <a:lnTo>
                      <a:pt x="315" y="46"/>
                    </a:lnTo>
                    <a:lnTo>
                      <a:pt x="315" y="46"/>
                    </a:lnTo>
                    <a:lnTo>
                      <a:pt x="314" y="46"/>
                    </a:lnTo>
                    <a:lnTo>
                      <a:pt x="314" y="47"/>
                    </a:lnTo>
                    <a:lnTo>
                      <a:pt x="312" y="48"/>
                    </a:lnTo>
                    <a:lnTo>
                      <a:pt x="311" y="50"/>
                    </a:lnTo>
                    <a:lnTo>
                      <a:pt x="310" y="50"/>
                    </a:lnTo>
                    <a:lnTo>
                      <a:pt x="312" y="50"/>
                    </a:lnTo>
                    <a:lnTo>
                      <a:pt x="314" y="48"/>
                    </a:lnTo>
                    <a:lnTo>
                      <a:pt x="316" y="46"/>
                    </a:lnTo>
                    <a:lnTo>
                      <a:pt x="317" y="46"/>
                    </a:lnTo>
                    <a:lnTo>
                      <a:pt x="317" y="47"/>
                    </a:lnTo>
                    <a:lnTo>
                      <a:pt x="317" y="48"/>
                    </a:lnTo>
                    <a:lnTo>
                      <a:pt x="319" y="48"/>
                    </a:lnTo>
                    <a:lnTo>
                      <a:pt x="319" y="50"/>
                    </a:lnTo>
                    <a:lnTo>
                      <a:pt x="317" y="50"/>
                    </a:lnTo>
                    <a:lnTo>
                      <a:pt x="316" y="50"/>
                    </a:lnTo>
                    <a:lnTo>
                      <a:pt x="314" y="50"/>
                    </a:lnTo>
                    <a:lnTo>
                      <a:pt x="316" y="50"/>
                    </a:lnTo>
                    <a:lnTo>
                      <a:pt x="317" y="50"/>
                    </a:lnTo>
                    <a:lnTo>
                      <a:pt x="317" y="51"/>
                    </a:lnTo>
                    <a:lnTo>
                      <a:pt x="317" y="52"/>
                    </a:lnTo>
                    <a:lnTo>
                      <a:pt x="317" y="52"/>
                    </a:lnTo>
                    <a:lnTo>
                      <a:pt x="318" y="52"/>
                    </a:lnTo>
                    <a:lnTo>
                      <a:pt x="319" y="52"/>
                    </a:lnTo>
                    <a:lnTo>
                      <a:pt x="319" y="53"/>
                    </a:lnTo>
                    <a:lnTo>
                      <a:pt x="319" y="53"/>
                    </a:lnTo>
                    <a:lnTo>
                      <a:pt x="319" y="53"/>
                    </a:lnTo>
                    <a:lnTo>
                      <a:pt x="319" y="53"/>
                    </a:lnTo>
                    <a:lnTo>
                      <a:pt x="319" y="53"/>
                    </a:lnTo>
                    <a:lnTo>
                      <a:pt x="321" y="53"/>
                    </a:lnTo>
                    <a:lnTo>
                      <a:pt x="321" y="53"/>
                    </a:lnTo>
                    <a:lnTo>
                      <a:pt x="322" y="53"/>
                    </a:lnTo>
                    <a:lnTo>
                      <a:pt x="321" y="54"/>
                    </a:lnTo>
                    <a:lnTo>
                      <a:pt x="321" y="54"/>
                    </a:lnTo>
                    <a:lnTo>
                      <a:pt x="322" y="54"/>
                    </a:lnTo>
                    <a:lnTo>
                      <a:pt x="324" y="54"/>
                    </a:lnTo>
                    <a:lnTo>
                      <a:pt x="325" y="53"/>
                    </a:lnTo>
                    <a:lnTo>
                      <a:pt x="325" y="53"/>
                    </a:lnTo>
                    <a:lnTo>
                      <a:pt x="325" y="54"/>
                    </a:lnTo>
                    <a:lnTo>
                      <a:pt x="325" y="54"/>
                    </a:lnTo>
                    <a:lnTo>
                      <a:pt x="326" y="55"/>
                    </a:lnTo>
                    <a:lnTo>
                      <a:pt x="329" y="54"/>
                    </a:lnTo>
                    <a:lnTo>
                      <a:pt x="330" y="54"/>
                    </a:lnTo>
                    <a:lnTo>
                      <a:pt x="332" y="55"/>
                    </a:lnTo>
                    <a:lnTo>
                      <a:pt x="331" y="55"/>
                    </a:lnTo>
                    <a:lnTo>
                      <a:pt x="330" y="56"/>
                    </a:lnTo>
                    <a:lnTo>
                      <a:pt x="330" y="56"/>
                    </a:lnTo>
                    <a:lnTo>
                      <a:pt x="329" y="56"/>
                    </a:lnTo>
                    <a:lnTo>
                      <a:pt x="329" y="58"/>
                    </a:lnTo>
                    <a:lnTo>
                      <a:pt x="327" y="59"/>
                    </a:lnTo>
                    <a:lnTo>
                      <a:pt x="326" y="59"/>
                    </a:lnTo>
                    <a:lnTo>
                      <a:pt x="332" y="59"/>
                    </a:lnTo>
                    <a:lnTo>
                      <a:pt x="333" y="59"/>
                    </a:lnTo>
                    <a:lnTo>
                      <a:pt x="333" y="59"/>
                    </a:lnTo>
                    <a:lnTo>
                      <a:pt x="333" y="60"/>
                    </a:lnTo>
                    <a:lnTo>
                      <a:pt x="332" y="61"/>
                    </a:lnTo>
                    <a:lnTo>
                      <a:pt x="332" y="61"/>
                    </a:lnTo>
                    <a:lnTo>
                      <a:pt x="332" y="61"/>
                    </a:lnTo>
                    <a:lnTo>
                      <a:pt x="332" y="62"/>
                    </a:lnTo>
                    <a:lnTo>
                      <a:pt x="329" y="62"/>
                    </a:lnTo>
                    <a:lnTo>
                      <a:pt x="327" y="62"/>
                    </a:lnTo>
                    <a:lnTo>
                      <a:pt x="329" y="62"/>
                    </a:lnTo>
                    <a:lnTo>
                      <a:pt x="330" y="63"/>
                    </a:lnTo>
                    <a:lnTo>
                      <a:pt x="330" y="63"/>
                    </a:lnTo>
                    <a:lnTo>
                      <a:pt x="330" y="63"/>
                    </a:lnTo>
                    <a:lnTo>
                      <a:pt x="329" y="65"/>
                    </a:lnTo>
                    <a:lnTo>
                      <a:pt x="327" y="66"/>
                    </a:lnTo>
                    <a:lnTo>
                      <a:pt x="326" y="66"/>
                    </a:lnTo>
                    <a:lnTo>
                      <a:pt x="326" y="66"/>
                    </a:lnTo>
                    <a:lnTo>
                      <a:pt x="326" y="65"/>
                    </a:lnTo>
                    <a:lnTo>
                      <a:pt x="326" y="65"/>
                    </a:lnTo>
                    <a:lnTo>
                      <a:pt x="325" y="65"/>
                    </a:lnTo>
                    <a:lnTo>
                      <a:pt x="325" y="66"/>
                    </a:lnTo>
                    <a:lnTo>
                      <a:pt x="324" y="67"/>
                    </a:lnTo>
                    <a:lnTo>
                      <a:pt x="324" y="67"/>
                    </a:lnTo>
                    <a:lnTo>
                      <a:pt x="323" y="68"/>
                    </a:lnTo>
                    <a:lnTo>
                      <a:pt x="322" y="69"/>
                    </a:lnTo>
                    <a:lnTo>
                      <a:pt x="321" y="69"/>
                    </a:lnTo>
                    <a:lnTo>
                      <a:pt x="321" y="68"/>
                    </a:lnTo>
                    <a:lnTo>
                      <a:pt x="321" y="68"/>
                    </a:lnTo>
                    <a:lnTo>
                      <a:pt x="319" y="69"/>
                    </a:lnTo>
                    <a:lnTo>
                      <a:pt x="318" y="70"/>
                    </a:lnTo>
                    <a:lnTo>
                      <a:pt x="318" y="70"/>
                    </a:lnTo>
                    <a:lnTo>
                      <a:pt x="318" y="72"/>
                    </a:lnTo>
                    <a:lnTo>
                      <a:pt x="317" y="73"/>
                    </a:lnTo>
                    <a:lnTo>
                      <a:pt x="316" y="73"/>
                    </a:lnTo>
                    <a:lnTo>
                      <a:pt x="316" y="73"/>
                    </a:lnTo>
                    <a:lnTo>
                      <a:pt x="316" y="74"/>
                    </a:lnTo>
                    <a:lnTo>
                      <a:pt x="309" y="74"/>
                    </a:lnTo>
                    <a:lnTo>
                      <a:pt x="309" y="73"/>
                    </a:lnTo>
                    <a:lnTo>
                      <a:pt x="310" y="73"/>
                    </a:lnTo>
                    <a:lnTo>
                      <a:pt x="311" y="72"/>
                    </a:lnTo>
                    <a:lnTo>
                      <a:pt x="312" y="72"/>
                    </a:lnTo>
                    <a:lnTo>
                      <a:pt x="312" y="70"/>
                    </a:lnTo>
                    <a:lnTo>
                      <a:pt x="312" y="69"/>
                    </a:lnTo>
                    <a:lnTo>
                      <a:pt x="314" y="69"/>
                    </a:lnTo>
                    <a:lnTo>
                      <a:pt x="315" y="69"/>
                    </a:lnTo>
                    <a:lnTo>
                      <a:pt x="316" y="69"/>
                    </a:lnTo>
                    <a:lnTo>
                      <a:pt x="317" y="68"/>
                    </a:lnTo>
                    <a:lnTo>
                      <a:pt x="316" y="68"/>
                    </a:lnTo>
                    <a:lnTo>
                      <a:pt x="316" y="68"/>
                    </a:lnTo>
                    <a:lnTo>
                      <a:pt x="314" y="69"/>
                    </a:lnTo>
                    <a:lnTo>
                      <a:pt x="314" y="69"/>
                    </a:lnTo>
                    <a:lnTo>
                      <a:pt x="312" y="68"/>
                    </a:lnTo>
                    <a:lnTo>
                      <a:pt x="312" y="68"/>
                    </a:lnTo>
                    <a:lnTo>
                      <a:pt x="312" y="67"/>
                    </a:lnTo>
                    <a:lnTo>
                      <a:pt x="311" y="68"/>
                    </a:lnTo>
                    <a:lnTo>
                      <a:pt x="311" y="68"/>
                    </a:lnTo>
                    <a:lnTo>
                      <a:pt x="310" y="69"/>
                    </a:lnTo>
                    <a:lnTo>
                      <a:pt x="310" y="69"/>
                    </a:lnTo>
                    <a:lnTo>
                      <a:pt x="310" y="69"/>
                    </a:lnTo>
                    <a:lnTo>
                      <a:pt x="310" y="68"/>
                    </a:lnTo>
                    <a:lnTo>
                      <a:pt x="310" y="68"/>
                    </a:lnTo>
                    <a:lnTo>
                      <a:pt x="309" y="67"/>
                    </a:lnTo>
                    <a:lnTo>
                      <a:pt x="308" y="68"/>
                    </a:lnTo>
                    <a:lnTo>
                      <a:pt x="307" y="68"/>
                    </a:lnTo>
                    <a:lnTo>
                      <a:pt x="306" y="68"/>
                    </a:lnTo>
                    <a:lnTo>
                      <a:pt x="306" y="67"/>
                    </a:lnTo>
                    <a:lnTo>
                      <a:pt x="306" y="68"/>
                    </a:lnTo>
                    <a:lnTo>
                      <a:pt x="304" y="68"/>
                    </a:lnTo>
                    <a:lnTo>
                      <a:pt x="304" y="68"/>
                    </a:lnTo>
                    <a:lnTo>
                      <a:pt x="303" y="67"/>
                    </a:lnTo>
                    <a:lnTo>
                      <a:pt x="300" y="69"/>
                    </a:lnTo>
                    <a:lnTo>
                      <a:pt x="299" y="69"/>
                    </a:lnTo>
                    <a:lnTo>
                      <a:pt x="297" y="69"/>
                    </a:lnTo>
                    <a:lnTo>
                      <a:pt x="296" y="69"/>
                    </a:lnTo>
                    <a:lnTo>
                      <a:pt x="295" y="69"/>
                    </a:lnTo>
                    <a:lnTo>
                      <a:pt x="293" y="69"/>
                    </a:lnTo>
                    <a:lnTo>
                      <a:pt x="292" y="69"/>
                    </a:lnTo>
                    <a:lnTo>
                      <a:pt x="292" y="69"/>
                    </a:lnTo>
                    <a:lnTo>
                      <a:pt x="292" y="69"/>
                    </a:lnTo>
                    <a:lnTo>
                      <a:pt x="291" y="69"/>
                    </a:lnTo>
                    <a:lnTo>
                      <a:pt x="289" y="69"/>
                    </a:lnTo>
                    <a:lnTo>
                      <a:pt x="288" y="69"/>
                    </a:lnTo>
                    <a:lnTo>
                      <a:pt x="286" y="70"/>
                    </a:lnTo>
                    <a:lnTo>
                      <a:pt x="285" y="70"/>
                    </a:lnTo>
                    <a:lnTo>
                      <a:pt x="285" y="70"/>
                    </a:lnTo>
                    <a:lnTo>
                      <a:pt x="285" y="70"/>
                    </a:lnTo>
                    <a:lnTo>
                      <a:pt x="284" y="70"/>
                    </a:lnTo>
                    <a:lnTo>
                      <a:pt x="284" y="70"/>
                    </a:lnTo>
                    <a:lnTo>
                      <a:pt x="285" y="69"/>
                    </a:lnTo>
                    <a:lnTo>
                      <a:pt x="285" y="68"/>
                    </a:lnTo>
                    <a:lnTo>
                      <a:pt x="284" y="67"/>
                    </a:lnTo>
                    <a:lnTo>
                      <a:pt x="284" y="67"/>
                    </a:lnTo>
                    <a:lnTo>
                      <a:pt x="285" y="66"/>
                    </a:lnTo>
                    <a:lnTo>
                      <a:pt x="286" y="66"/>
                    </a:lnTo>
                    <a:lnTo>
                      <a:pt x="286" y="65"/>
                    </a:lnTo>
                    <a:lnTo>
                      <a:pt x="287" y="65"/>
                    </a:lnTo>
                    <a:lnTo>
                      <a:pt x="287" y="65"/>
                    </a:lnTo>
                    <a:lnTo>
                      <a:pt x="287" y="65"/>
                    </a:lnTo>
                    <a:lnTo>
                      <a:pt x="288" y="63"/>
                    </a:lnTo>
                    <a:lnTo>
                      <a:pt x="288" y="63"/>
                    </a:lnTo>
                    <a:lnTo>
                      <a:pt x="289" y="63"/>
                    </a:lnTo>
                    <a:lnTo>
                      <a:pt x="291" y="63"/>
                    </a:lnTo>
                    <a:lnTo>
                      <a:pt x="291" y="62"/>
                    </a:lnTo>
                    <a:lnTo>
                      <a:pt x="289" y="62"/>
                    </a:lnTo>
                    <a:lnTo>
                      <a:pt x="292" y="61"/>
                    </a:lnTo>
                    <a:lnTo>
                      <a:pt x="292" y="61"/>
                    </a:lnTo>
                    <a:lnTo>
                      <a:pt x="292" y="60"/>
                    </a:lnTo>
                    <a:lnTo>
                      <a:pt x="293" y="60"/>
                    </a:lnTo>
                    <a:lnTo>
                      <a:pt x="293" y="60"/>
                    </a:lnTo>
                    <a:lnTo>
                      <a:pt x="294" y="59"/>
                    </a:lnTo>
                    <a:lnTo>
                      <a:pt x="295" y="59"/>
                    </a:lnTo>
                    <a:lnTo>
                      <a:pt x="296" y="59"/>
                    </a:lnTo>
                    <a:lnTo>
                      <a:pt x="299" y="59"/>
                    </a:lnTo>
                    <a:lnTo>
                      <a:pt x="297" y="59"/>
                    </a:lnTo>
                    <a:lnTo>
                      <a:pt x="297" y="58"/>
                    </a:lnTo>
                    <a:lnTo>
                      <a:pt x="297" y="56"/>
                    </a:lnTo>
                    <a:lnTo>
                      <a:pt x="296" y="56"/>
                    </a:lnTo>
                    <a:lnTo>
                      <a:pt x="296" y="56"/>
                    </a:lnTo>
                    <a:lnTo>
                      <a:pt x="297" y="56"/>
                    </a:lnTo>
                    <a:lnTo>
                      <a:pt x="297" y="56"/>
                    </a:lnTo>
                    <a:lnTo>
                      <a:pt x="299" y="55"/>
                    </a:lnTo>
                    <a:lnTo>
                      <a:pt x="300" y="54"/>
                    </a:lnTo>
                    <a:lnTo>
                      <a:pt x="300" y="53"/>
                    </a:lnTo>
                    <a:lnTo>
                      <a:pt x="300" y="53"/>
                    </a:lnTo>
                    <a:lnTo>
                      <a:pt x="302" y="53"/>
                    </a:lnTo>
                    <a:lnTo>
                      <a:pt x="303" y="52"/>
                    </a:lnTo>
                    <a:lnTo>
                      <a:pt x="303" y="51"/>
                    </a:lnTo>
                    <a:lnTo>
                      <a:pt x="303" y="50"/>
                    </a:lnTo>
                    <a:lnTo>
                      <a:pt x="303" y="50"/>
                    </a:lnTo>
                    <a:lnTo>
                      <a:pt x="304" y="48"/>
                    </a:lnTo>
                    <a:lnTo>
                      <a:pt x="307" y="46"/>
                    </a:lnTo>
                    <a:lnTo>
                      <a:pt x="308" y="45"/>
                    </a:lnTo>
                    <a:lnTo>
                      <a:pt x="309" y="44"/>
                    </a:lnTo>
                    <a:lnTo>
                      <a:pt x="310" y="43"/>
                    </a:lnTo>
                    <a:lnTo>
                      <a:pt x="311" y="41"/>
                    </a:lnTo>
                    <a:lnTo>
                      <a:pt x="312" y="41"/>
                    </a:lnTo>
                    <a:lnTo>
                      <a:pt x="312" y="40"/>
                    </a:lnTo>
                    <a:lnTo>
                      <a:pt x="312" y="39"/>
                    </a:lnTo>
                    <a:lnTo>
                      <a:pt x="314" y="39"/>
                    </a:lnTo>
                    <a:lnTo>
                      <a:pt x="315" y="38"/>
                    </a:lnTo>
                    <a:lnTo>
                      <a:pt x="316" y="38"/>
                    </a:lnTo>
                    <a:lnTo>
                      <a:pt x="317" y="37"/>
                    </a:lnTo>
                    <a:lnTo>
                      <a:pt x="317" y="36"/>
                    </a:lnTo>
                    <a:close/>
                    <a:moveTo>
                      <a:pt x="655" y="29"/>
                    </a:moveTo>
                    <a:lnTo>
                      <a:pt x="656" y="31"/>
                    </a:lnTo>
                    <a:lnTo>
                      <a:pt x="655" y="30"/>
                    </a:lnTo>
                    <a:lnTo>
                      <a:pt x="654" y="30"/>
                    </a:lnTo>
                    <a:lnTo>
                      <a:pt x="654" y="29"/>
                    </a:lnTo>
                    <a:lnTo>
                      <a:pt x="655" y="29"/>
                    </a:lnTo>
                    <a:close/>
                    <a:moveTo>
                      <a:pt x="757" y="28"/>
                    </a:moveTo>
                    <a:lnTo>
                      <a:pt x="762" y="28"/>
                    </a:lnTo>
                    <a:lnTo>
                      <a:pt x="762" y="28"/>
                    </a:lnTo>
                    <a:lnTo>
                      <a:pt x="762" y="28"/>
                    </a:lnTo>
                    <a:lnTo>
                      <a:pt x="763" y="28"/>
                    </a:lnTo>
                    <a:lnTo>
                      <a:pt x="764" y="28"/>
                    </a:lnTo>
                    <a:lnTo>
                      <a:pt x="764" y="31"/>
                    </a:lnTo>
                    <a:lnTo>
                      <a:pt x="758" y="31"/>
                    </a:lnTo>
                    <a:lnTo>
                      <a:pt x="758" y="30"/>
                    </a:lnTo>
                    <a:lnTo>
                      <a:pt x="757" y="29"/>
                    </a:lnTo>
                    <a:lnTo>
                      <a:pt x="757" y="29"/>
                    </a:lnTo>
                    <a:lnTo>
                      <a:pt x="757" y="29"/>
                    </a:lnTo>
                    <a:lnTo>
                      <a:pt x="756" y="29"/>
                    </a:lnTo>
                    <a:lnTo>
                      <a:pt x="756" y="28"/>
                    </a:lnTo>
                    <a:lnTo>
                      <a:pt x="756" y="28"/>
                    </a:lnTo>
                    <a:lnTo>
                      <a:pt x="757" y="28"/>
                    </a:lnTo>
                    <a:close/>
                    <a:moveTo>
                      <a:pt x="638" y="24"/>
                    </a:moveTo>
                    <a:lnTo>
                      <a:pt x="639" y="25"/>
                    </a:lnTo>
                    <a:lnTo>
                      <a:pt x="639" y="28"/>
                    </a:lnTo>
                    <a:lnTo>
                      <a:pt x="640" y="26"/>
                    </a:lnTo>
                    <a:lnTo>
                      <a:pt x="640" y="25"/>
                    </a:lnTo>
                    <a:lnTo>
                      <a:pt x="639" y="25"/>
                    </a:lnTo>
                    <a:lnTo>
                      <a:pt x="639" y="25"/>
                    </a:lnTo>
                    <a:lnTo>
                      <a:pt x="640" y="25"/>
                    </a:lnTo>
                    <a:lnTo>
                      <a:pt x="640" y="24"/>
                    </a:lnTo>
                    <a:lnTo>
                      <a:pt x="641" y="24"/>
                    </a:lnTo>
                    <a:lnTo>
                      <a:pt x="641" y="25"/>
                    </a:lnTo>
                    <a:lnTo>
                      <a:pt x="643" y="25"/>
                    </a:lnTo>
                    <a:lnTo>
                      <a:pt x="641" y="25"/>
                    </a:lnTo>
                    <a:lnTo>
                      <a:pt x="641" y="26"/>
                    </a:lnTo>
                    <a:lnTo>
                      <a:pt x="641" y="26"/>
                    </a:lnTo>
                    <a:lnTo>
                      <a:pt x="641" y="28"/>
                    </a:lnTo>
                    <a:lnTo>
                      <a:pt x="641" y="28"/>
                    </a:lnTo>
                    <a:lnTo>
                      <a:pt x="641" y="26"/>
                    </a:lnTo>
                    <a:lnTo>
                      <a:pt x="643" y="26"/>
                    </a:lnTo>
                    <a:lnTo>
                      <a:pt x="643" y="25"/>
                    </a:lnTo>
                    <a:lnTo>
                      <a:pt x="648" y="25"/>
                    </a:lnTo>
                    <a:lnTo>
                      <a:pt x="648" y="25"/>
                    </a:lnTo>
                    <a:lnTo>
                      <a:pt x="648" y="26"/>
                    </a:lnTo>
                    <a:lnTo>
                      <a:pt x="650" y="26"/>
                    </a:lnTo>
                    <a:lnTo>
                      <a:pt x="650" y="28"/>
                    </a:lnTo>
                    <a:lnTo>
                      <a:pt x="650" y="29"/>
                    </a:lnTo>
                    <a:lnTo>
                      <a:pt x="651" y="29"/>
                    </a:lnTo>
                    <a:lnTo>
                      <a:pt x="652" y="29"/>
                    </a:lnTo>
                    <a:lnTo>
                      <a:pt x="652" y="29"/>
                    </a:lnTo>
                    <a:lnTo>
                      <a:pt x="652" y="29"/>
                    </a:lnTo>
                    <a:lnTo>
                      <a:pt x="651" y="30"/>
                    </a:lnTo>
                    <a:lnTo>
                      <a:pt x="650" y="31"/>
                    </a:lnTo>
                    <a:lnTo>
                      <a:pt x="652" y="31"/>
                    </a:lnTo>
                    <a:lnTo>
                      <a:pt x="652" y="31"/>
                    </a:lnTo>
                    <a:lnTo>
                      <a:pt x="652" y="32"/>
                    </a:lnTo>
                    <a:lnTo>
                      <a:pt x="652" y="32"/>
                    </a:lnTo>
                    <a:lnTo>
                      <a:pt x="652" y="32"/>
                    </a:lnTo>
                    <a:lnTo>
                      <a:pt x="652" y="33"/>
                    </a:lnTo>
                    <a:lnTo>
                      <a:pt x="651" y="35"/>
                    </a:lnTo>
                    <a:lnTo>
                      <a:pt x="650" y="35"/>
                    </a:lnTo>
                    <a:lnTo>
                      <a:pt x="648" y="36"/>
                    </a:lnTo>
                    <a:lnTo>
                      <a:pt x="648" y="35"/>
                    </a:lnTo>
                    <a:lnTo>
                      <a:pt x="647" y="36"/>
                    </a:lnTo>
                    <a:lnTo>
                      <a:pt x="647" y="36"/>
                    </a:lnTo>
                    <a:lnTo>
                      <a:pt x="646" y="36"/>
                    </a:lnTo>
                    <a:lnTo>
                      <a:pt x="646" y="38"/>
                    </a:lnTo>
                    <a:lnTo>
                      <a:pt x="648" y="39"/>
                    </a:lnTo>
                    <a:lnTo>
                      <a:pt x="647" y="39"/>
                    </a:lnTo>
                    <a:lnTo>
                      <a:pt x="647" y="39"/>
                    </a:lnTo>
                    <a:lnTo>
                      <a:pt x="647" y="40"/>
                    </a:lnTo>
                    <a:lnTo>
                      <a:pt x="648" y="41"/>
                    </a:lnTo>
                    <a:lnTo>
                      <a:pt x="648" y="45"/>
                    </a:lnTo>
                    <a:lnTo>
                      <a:pt x="647" y="46"/>
                    </a:lnTo>
                    <a:lnTo>
                      <a:pt x="647" y="46"/>
                    </a:lnTo>
                    <a:lnTo>
                      <a:pt x="647" y="46"/>
                    </a:lnTo>
                    <a:lnTo>
                      <a:pt x="646" y="46"/>
                    </a:lnTo>
                    <a:lnTo>
                      <a:pt x="646" y="48"/>
                    </a:lnTo>
                    <a:lnTo>
                      <a:pt x="646" y="48"/>
                    </a:lnTo>
                    <a:lnTo>
                      <a:pt x="646" y="48"/>
                    </a:lnTo>
                    <a:lnTo>
                      <a:pt x="646" y="50"/>
                    </a:lnTo>
                    <a:lnTo>
                      <a:pt x="646" y="50"/>
                    </a:lnTo>
                    <a:lnTo>
                      <a:pt x="643" y="50"/>
                    </a:lnTo>
                    <a:lnTo>
                      <a:pt x="643" y="50"/>
                    </a:lnTo>
                    <a:lnTo>
                      <a:pt x="641" y="50"/>
                    </a:lnTo>
                    <a:lnTo>
                      <a:pt x="641" y="50"/>
                    </a:lnTo>
                    <a:lnTo>
                      <a:pt x="641" y="50"/>
                    </a:lnTo>
                    <a:lnTo>
                      <a:pt x="636" y="50"/>
                    </a:lnTo>
                    <a:lnTo>
                      <a:pt x="636" y="50"/>
                    </a:lnTo>
                    <a:lnTo>
                      <a:pt x="636" y="51"/>
                    </a:lnTo>
                    <a:lnTo>
                      <a:pt x="635" y="51"/>
                    </a:lnTo>
                    <a:lnTo>
                      <a:pt x="635" y="52"/>
                    </a:lnTo>
                    <a:lnTo>
                      <a:pt x="632" y="52"/>
                    </a:lnTo>
                    <a:lnTo>
                      <a:pt x="631" y="52"/>
                    </a:lnTo>
                    <a:lnTo>
                      <a:pt x="631" y="52"/>
                    </a:lnTo>
                    <a:lnTo>
                      <a:pt x="631" y="53"/>
                    </a:lnTo>
                    <a:lnTo>
                      <a:pt x="631" y="53"/>
                    </a:lnTo>
                    <a:lnTo>
                      <a:pt x="628" y="53"/>
                    </a:lnTo>
                    <a:lnTo>
                      <a:pt x="626" y="53"/>
                    </a:lnTo>
                    <a:lnTo>
                      <a:pt x="625" y="54"/>
                    </a:lnTo>
                    <a:lnTo>
                      <a:pt x="624" y="54"/>
                    </a:lnTo>
                    <a:lnTo>
                      <a:pt x="623" y="53"/>
                    </a:lnTo>
                    <a:lnTo>
                      <a:pt x="622" y="53"/>
                    </a:lnTo>
                    <a:lnTo>
                      <a:pt x="622" y="53"/>
                    </a:lnTo>
                    <a:lnTo>
                      <a:pt x="622" y="53"/>
                    </a:lnTo>
                    <a:lnTo>
                      <a:pt x="623" y="52"/>
                    </a:lnTo>
                    <a:lnTo>
                      <a:pt x="624" y="52"/>
                    </a:lnTo>
                    <a:lnTo>
                      <a:pt x="623" y="52"/>
                    </a:lnTo>
                    <a:lnTo>
                      <a:pt x="623" y="52"/>
                    </a:lnTo>
                    <a:lnTo>
                      <a:pt x="622" y="52"/>
                    </a:lnTo>
                    <a:lnTo>
                      <a:pt x="621" y="53"/>
                    </a:lnTo>
                    <a:lnTo>
                      <a:pt x="620" y="53"/>
                    </a:lnTo>
                    <a:lnTo>
                      <a:pt x="620" y="53"/>
                    </a:lnTo>
                    <a:lnTo>
                      <a:pt x="618" y="53"/>
                    </a:lnTo>
                    <a:lnTo>
                      <a:pt x="620" y="53"/>
                    </a:lnTo>
                    <a:lnTo>
                      <a:pt x="620" y="52"/>
                    </a:lnTo>
                    <a:lnTo>
                      <a:pt x="620" y="51"/>
                    </a:lnTo>
                    <a:lnTo>
                      <a:pt x="618" y="51"/>
                    </a:lnTo>
                    <a:lnTo>
                      <a:pt x="618" y="51"/>
                    </a:lnTo>
                    <a:lnTo>
                      <a:pt x="618" y="52"/>
                    </a:lnTo>
                    <a:lnTo>
                      <a:pt x="617" y="52"/>
                    </a:lnTo>
                    <a:lnTo>
                      <a:pt x="616" y="51"/>
                    </a:lnTo>
                    <a:lnTo>
                      <a:pt x="616" y="50"/>
                    </a:lnTo>
                    <a:lnTo>
                      <a:pt x="620" y="50"/>
                    </a:lnTo>
                    <a:lnTo>
                      <a:pt x="621" y="48"/>
                    </a:lnTo>
                    <a:lnTo>
                      <a:pt x="622" y="48"/>
                    </a:lnTo>
                    <a:lnTo>
                      <a:pt x="622" y="48"/>
                    </a:lnTo>
                    <a:lnTo>
                      <a:pt x="622" y="48"/>
                    </a:lnTo>
                    <a:lnTo>
                      <a:pt x="622" y="46"/>
                    </a:lnTo>
                    <a:lnTo>
                      <a:pt x="623" y="46"/>
                    </a:lnTo>
                    <a:lnTo>
                      <a:pt x="623" y="45"/>
                    </a:lnTo>
                    <a:lnTo>
                      <a:pt x="623" y="45"/>
                    </a:lnTo>
                    <a:lnTo>
                      <a:pt x="623" y="45"/>
                    </a:lnTo>
                    <a:lnTo>
                      <a:pt x="624" y="44"/>
                    </a:lnTo>
                    <a:lnTo>
                      <a:pt x="625" y="44"/>
                    </a:lnTo>
                    <a:lnTo>
                      <a:pt x="625" y="43"/>
                    </a:lnTo>
                    <a:lnTo>
                      <a:pt x="625" y="43"/>
                    </a:lnTo>
                    <a:lnTo>
                      <a:pt x="625" y="41"/>
                    </a:lnTo>
                    <a:lnTo>
                      <a:pt x="625" y="41"/>
                    </a:lnTo>
                    <a:lnTo>
                      <a:pt x="628" y="41"/>
                    </a:lnTo>
                    <a:lnTo>
                      <a:pt x="628" y="40"/>
                    </a:lnTo>
                    <a:lnTo>
                      <a:pt x="629" y="40"/>
                    </a:lnTo>
                    <a:lnTo>
                      <a:pt x="628" y="39"/>
                    </a:lnTo>
                    <a:lnTo>
                      <a:pt x="628" y="39"/>
                    </a:lnTo>
                    <a:lnTo>
                      <a:pt x="626" y="39"/>
                    </a:lnTo>
                    <a:lnTo>
                      <a:pt x="625" y="40"/>
                    </a:lnTo>
                    <a:lnTo>
                      <a:pt x="625" y="40"/>
                    </a:lnTo>
                    <a:lnTo>
                      <a:pt x="624" y="40"/>
                    </a:lnTo>
                    <a:lnTo>
                      <a:pt x="623" y="39"/>
                    </a:lnTo>
                    <a:lnTo>
                      <a:pt x="622" y="39"/>
                    </a:lnTo>
                    <a:lnTo>
                      <a:pt x="623" y="39"/>
                    </a:lnTo>
                    <a:lnTo>
                      <a:pt x="623" y="38"/>
                    </a:lnTo>
                    <a:lnTo>
                      <a:pt x="623" y="38"/>
                    </a:lnTo>
                    <a:lnTo>
                      <a:pt x="622" y="38"/>
                    </a:lnTo>
                    <a:lnTo>
                      <a:pt x="623" y="38"/>
                    </a:lnTo>
                    <a:lnTo>
                      <a:pt x="623" y="37"/>
                    </a:lnTo>
                    <a:lnTo>
                      <a:pt x="622" y="36"/>
                    </a:lnTo>
                    <a:lnTo>
                      <a:pt x="623" y="36"/>
                    </a:lnTo>
                    <a:lnTo>
                      <a:pt x="623" y="36"/>
                    </a:lnTo>
                    <a:lnTo>
                      <a:pt x="624" y="36"/>
                    </a:lnTo>
                    <a:lnTo>
                      <a:pt x="625" y="36"/>
                    </a:lnTo>
                    <a:lnTo>
                      <a:pt x="624" y="35"/>
                    </a:lnTo>
                    <a:lnTo>
                      <a:pt x="623" y="35"/>
                    </a:lnTo>
                    <a:lnTo>
                      <a:pt x="623" y="33"/>
                    </a:lnTo>
                    <a:lnTo>
                      <a:pt x="623" y="33"/>
                    </a:lnTo>
                    <a:lnTo>
                      <a:pt x="623" y="32"/>
                    </a:lnTo>
                    <a:lnTo>
                      <a:pt x="622" y="32"/>
                    </a:lnTo>
                    <a:lnTo>
                      <a:pt x="623" y="31"/>
                    </a:lnTo>
                    <a:lnTo>
                      <a:pt x="623" y="31"/>
                    </a:lnTo>
                    <a:lnTo>
                      <a:pt x="623" y="31"/>
                    </a:lnTo>
                    <a:lnTo>
                      <a:pt x="623" y="31"/>
                    </a:lnTo>
                    <a:lnTo>
                      <a:pt x="625" y="31"/>
                    </a:lnTo>
                    <a:lnTo>
                      <a:pt x="626" y="31"/>
                    </a:lnTo>
                    <a:lnTo>
                      <a:pt x="626" y="32"/>
                    </a:lnTo>
                    <a:lnTo>
                      <a:pt x="628" y="32"/>
                    </a:lnTo>
                    <a:lnTo>
                      <a:pt x="632" y="32"/>
                    </a:lnTo>
                    <a:lnTo>
                      <a:pt x="631" y="32"/>
                    </a:lnTo>
                    <a:lnTo>
                      <a:pt x="631" y="33"/>
                    </a:lnTo>
                    <a:lnTo>
                      <a:pt x="632" y="33"/>
                    </a:lnTo>
                    <a:lnTo>
                      <a:pt x="632" y="32"/>
                    </a:lnTo>
                    <a:lnTo>
                      <a:pt x="632" y="31"/>
                    </a:lnTo>
                    <a:lnTo>
                      <a:pt x="633" y="31"/>
                    </a:lnTo>
                    <a:lnTo>
                      <a:pt x="633" y="31"/>
                    </a:lnTo>
                    <a:lnTo>
                      <a:pt x="635" y="31"/>
                    </a:lnTo>
                    <a:lnTo>
                      <a:pt x="635" y="30"/>
                    </a:lnTo>
                    <a:lnTo>
                      <a:pt x="635" y="30"/>
                    </a:lnTo>
                    <a:lnTo>
                      <a:pt x="635" y="30"/>
                    </a:lnTo>
                    <a:lnTo>
                      <a:pt x="635" y="30"/>
                    </a:lnTo>
                    <a:lnTo>
                      <a:pt x="635" y="31"/>
                    </a:lnTo>
                    <a:lnTo>
                      <a:pt x="633" y="31"/>
                    </a:lnTo>
                    <a:lnTo>
                      <a:pt x="632" y="30"/>
                    </a:lnTo>
                    <a:lnTo>
                      <a:pt x="631" y="30"/>
                    </a:lnTo>
                    <a:lnTo>
                      <a:pt x="631" y="29"/>
                    </a:lnTo>
                    <a:lnTo>
                      <a:pt x="632" y="29"/>
                    </a:lnTo>
                    <a:lnTo>
                      <a:pt x="632" y="29"/>
                    </a:lnTo>
                    <a:lnTo>
                      <a:pt x="632" y="28"/>
                    </a:lnTo>
                    <a:lnTo>
                      <a:pt x="635" y="28"/>
                    </a:lnTo>
                    <a:lnTo>
                      <a:pt x="635" y="25"/>
                    </a:lnTo>
                    <a:lnTo>
                      <a:pt x="638" y="25"/>
                    </a:lnTo>
                    <a:lnTo>
                      <a:pt x="638" y="25"/>
                    </a:lnTo>
                    <a:lnTo>
                      <a:pt x="638" y="24"/>
                    </a:lnTo>
                    <a:lnTo>
                      <a:pt x="638" y="24"/>
                    </a:lnTo>
                    <a:close/>
                    <a:moveTo>
                      <a:pt x="771" y="22"/>
                    </a:moveTo>
                    <a:lnTo>
                      <a:pt x="774" y="22"/>
                    </a:lnTo>
                    <a:lnTo>
                      <a:pt x="774" y="22"/>
                    </a:lnTo>
                    <a:lnTo>
                      <a:pt x="774" y="22"/>
                    </a:lnTo>
                    <a:lnTo>
                      <a:pt x="774" y="23"/>
                    </a:lnTo>
                    <a:lnTo>
                      <a:pt x="774" y="24"/>
                    </a:lnTo>
                    <a:lnTo>
                      <a:pt x="774" y="24"/>
                    </a:lnTo>
                    <a:lnTo>
                      <a:pt x="774" y="25"/>
                    </a:lnTo>
                    <a:lnTo>
                      <a:pt x="774" y="25"/>
                    </a:lnTo>
                    <a:lnTo>
                      <a:pt x="774" y="25"/>
                    </a:lnTo>
                    <a:lnTo>
                      <a:pt x="773" y="26"/>
                    </a:lnTo>
                    <a:lnTo>
                      <a:pt x="773" y="26"/>
                    </a:lnTo>
                    <a:lnTo>
                      <a:pt x="774" y="28"/>
                    </a:lnTo>
                    <a:lnTo>
                      <a:pt x="774" y="28"/>
                    </a:lnTo>
                    <a:lnTo>
                      <a:pt x="774" y="29"/>
                    </a:lnTo>
                    <a:lnTo>
                      <a:pt x="773" y="29"/>
                    </a:lnTo>
                    <a:lnTo>
                      <a:pt x="772" y="30"/>
                    </a:lnTo>
                    <a:lnTo>
                      <a:pt x="772" y="30"/>
                    </a:lnTo>
                    <a:lnTo>
                      <a:pt x="772" y="31"/>
                    </a:lnTo>
                    <a:lnTo>
                      <a:pt x="773" y="31"/>
                    </a:lnTo>
                    <a:lnTo>
                      <a:pt x="772" y="31"/>
                    </a:lnTo>
                    <a:lnTo>
                      <a:pt x="771" y="31"/>
                    </a:lnTo>
                    <a:lnTo>
                      <a:pt x="770" y="31"/>
                    </a:lnTo>
                    <a:lnTo>
                      <a:pt x="768" y="31"/>
                    </a:lnTo>
                    <a:lnTo>
                      <a:pt x="768" y="31"/>
                    </a:lnTo>
                    <a:lnTo>
                      <a:pt x="768" y="30"/>
                    </a:lnTo>
                    <a:lnTo>
                      <a:pt x="770" y="30"/>
                    </a:lnTo>
                    <a:lnTo>
                      <a:pt x="771" y="29"/>
                    </a:lnTo>
                    <a:lnTo>
                      <a:pt x="770" y="29"/>
                    </a:lnTo>
                    <a:lnTo>
                      <a:pt x="768" y="30"/>
                    </a:lnTo>
                    <a:lnTo>
                      <a:pt x="766" y="30"/>
                    </a:lnTo>
                    <a:lnTo>
                      <a:pt x="765" y="29"/>
                    </a:lnTo>
                    <a:lnTo>
                      <a:pt x="765" y="25"/>
                    </a:lnTo>
                    <a:lnTo>
                      <a:pt x="767" y="25"/>
                    </a:lnTo>
                    <a:lnTo>
                      <a:pt x="768" y="24"/>
                    </a:lnTo>
                    <a:lnTo>
                      <a:pt x="770" y="24"/>
                    </a:lnTo>
                    <a:lnTo>
                      <a:pt x="770" y="24"/>
                    </a:lnTo>
                    <a:lnTo>
                      <a:pt x="768" y="24"/>
                    </a:lnTo>
                    <a:lnTo>
                      <a:pt x="768" y="23"/>
                    </a:lnTo>
                    <a:lnTo>
                      <a:pt x="768" y="23"/>
                    </a:lnTo>
                    <a:lnTo>
                      <a:pt x="768" y="23"/>
                    </a:lnTo>
                    <a:lnTo>
                      <a:pt x="770" y="23"/>
                    </a:lnTo>
                    <a:lnTo>
                      <a:pt x="771" y="24"/>
                    </a:lnTo>
                    <a:lnTo>
                      <a:pt x="771" y="24"/>
                    </a:lnTo>
                    <a:lnTo>
                      <a:pt x="771" y="24"/>
                    </a:lnTo>
                    <a:lnTo>
                      <a:pt x="771" y="24"/>
                    </a:lnTo>
                    <a:lnTo>
                      <a:pt x="772" y="24"/>
                    </a:lnTo>
                    <a:lnTo>
                      <a:pt x="773" y="23"/>
                    </a:lnTo>
                    <a:lnTo>
                      <a:pt x="772" y="23"/>
                    </a:lnTo>
                    <a:lnTo>
                      <a:pt x="772" y="23"/>
                    </a:lnTo>
                    <a:lnTo>
                      <a:pt x="771" y="23"/>
                    </a:lnTo>
                    <a:lnTo>
                      <a:pt x="771" y="22"/>
                    </a:lnTo>
                    <a:close/>
                    <a:moveTo>
                      <a:pt x="652" y="21"/>
                    </a:moveTo>
                    <a:lnTo>
                      <a:pt x="653" y="21"/>
                    </a:lnTo>
                    <a:lnTo>
                      <a:pt x="653" y="22"/>
                    </a:lnTo>
                    <a:lnTo>
                      <a:pt x="653" y="22"/>
                    </a:lnTo>
                    <a:lnTo>
                      <a:pt x="652" y="23"/>
                    </a:lnTo>
                    <a:lnTo>
                      <a:pt x="652" y="24"/>
                    </a:lnTo>
                    <a:lnTo>
                      <a:pt x="652" y="25"/>
                    </a:lnTo>
                    <a:lnTo>
                      <a:pt x="652" y="25"/>
                    </a:lnTo>
                    <a:lnTo>
                      <a:pt x="651" y="25"/>
                    </a:lnTo>
                    <a:lnTo>
                      <a:pt x="651" y="24"/>
                    </a:lnTo>
                    <a:lnTo>
                      <a:pt x="652" y="24"/>
                    </a:lnTo>
                    <a:lnTo>
                      <a:pt x="652" y="23"/>
                    </a:lnTo>
                    <a:lnTo>
                      <a:pt x="652" y="22"/>
                    </a:lnTo>
                    <a:lnTo>
                      <a:pt x="652" y="21"/>
                    </a:lnTo>
                    <a:lnTo>
                      <a:pt x="652" y="21"/>
                    </a:lnTo>
                    <a:close/>
                    <a:moveTo>
                      <a:pt x="651" y="15"/>
                    </a:moveTo>
                    <a:lnTo>
                      <a:pt x="650" y="15"/>
                    </a:lnTo>
                    <a:lnTo>
                      <a:pt x="650" y="15"/>
                    </a:lnTo>
                    <a:lnTo>
                      <a:pt x="650" y="15"/>
                    </a:lnTo>
                    <a:lnTo>
                      <a:pt x="651" y="15"/>
                    </a:lnTo>
                    <a:close/>
                    <a:moveTo>
                      <a:pt x="753" y="14"/>
                    </a:moveTo>
                    <a:lnTo>
                      <a:pt x="753" y="14"/>
                    </a:lnTo>
                    <a:lnTo>
                      <a:pt x="753" y="15"/>
                    </a:lnTo>
                    <a:lnTo>
                      <a:pt x="753" y="15"/>
                    </a:lnTo>
                    <a:lnTo>
                      <a:pt x="753" y="14"/>
                    </a:lnTo>
                    <a:close/>
                    <a:moveTo>
                      <a:pt x="758" y="9"/>
                    </a:moveTo>
                    <a:lnTo>
                      <a:pt x="758" y="10"/>
                    </a:lnTo>
                    <a:lnTo>
                      <a:pt x="758" y="10"/>
                    </a:lnTo>
                    <a:lnTo>
                      <a:pt x="757" y="11"/>
                    </a:lnTo>
                    <a:lnTo>
                      <a:pt x="758" y="11"/>
                    </a:lnTo>
                    <a:lnTo>
                      <a:pt x="758" y="15"/>
                    </a:lnTo>
                    <a:lnTo>
                      <a:pt x="757" y="15"/>
                    </a:lnTo>
                    <a:lnTo>
                      <a:pt x="757" y="15"/>
                    </a:lnTo>
                    <a:lnTo>
                      <a:pt x="757" y="16"/>
                    </a:lnTo>
                    <a:lnTo>
                      <a:pt x="757" y="16"/>
                    </a:lnTo>
                    <a:lnTo>
                      <a:pt x="757" y="15"/>
                    </a:lnTo>
                    <a:lnTo>
                      <a:pt x="756" y="15"/>
                    </a:lnTo>
                    <a:lnTo>
                      <a:pt x="755" y="15"/>
                    </a:lnTo>
                    <a:lnTo>
                      <a:pt x="753" y="13"/>
                    </a:lnTo>
                    <a:lnTo>
                      <a:pt x="753" y="14"/>
                    </a:lnTo>
                    <a:lnTo>
                      <a:pt x="752" y="14"/>
                    </a:lnTo>
                    <a:lnTo>
                      <a:pt x="752" y="15"/>
                    </a:lnTo>
                    <a:lnTo>
                      <a:pt x="751" y="15"/>
                    </a:lnTo>
                    <a:lnTo>
                      <a:pt x="751" y="15"/>
                    </a:lnTo>
                    <a:lnTo>
                      <a:pt x="750" y="14"/>
                    </a:lnTo>
                    <a:lnTo>
                      <a:pt x="750" y="14"/>
                    </a:lnTo>
                    <a:lnTo>
                      <a:pt x="750" y="15"/>
                    </a:lnTo>
                    <a:lnTo>
                      <a:pt x="749" y="15"/>
                    </a:lnTo>
                    <a:lnTo>
                      <a:pt x="749" y="16"/>
                    </a:lnTo>
                    <a:lnTo>
                      <a:pt x="749" y="16"/>
                    </a:lnTo>
                    <a:lnTo>
                      <a:pt x="748" y="16"/>
                    </a:lnTo>
                    <a:lnTo>
                      <a:pt x="749" y="16"/>
                    </a:lnTo>
                    <a:lnTo>
                      <a:pt x="749" y="16"/>
                    </a:lnTo>
                    <a:lnTo>
                      <a:pt x="749" y="17"/>
                    </a:lnTo>
                    <a:lnTo>
                      <a:pt x="749" y="17"/>
                    </a:lnTo>
                    <a:lnTo>
                      <a:pt x="748" y="17"/>
                    </a:lnTo>
                    <a:lnTo>
                      <a:pt x="748" y="15"/>
                    </a:lnTo>
                    <a:lnTo>
                      <a:pt x="748" y="15"/>
                    </a:lnTo>
                    <a:lnTo>
                      <a:pt x="745" y="15"/>
                    </a:lnTo>
                    <a:lnTo>
                      <a:pt x="747" y="15"/>
                    </a:lnTo>
                    <a:lnTo>
                      <a:pt x="747" y="15"/>
                    </a:lnTo>
                    <a:lnTo>
                      <a:pt x="748" y="14"/>
                    </a:lnTo>
                    <a:lnTo>
                      <a:pt x="748" y="13"/>
                    </a:lnTo>
                    <a:lnTo>
                      <a:pt x="750" y="13"/>
                    </a:lnTo>
                    <a:lnTo>
                      <a:pt x="750" y="14"/>
                    </a:lnTo>
                    <a:lnTo>
                      <a:pt x="750" y="14"/>
                    </a:lnTo>
                    <a:lnTo>
                      <a:pt x="751" y="14"/>
                    </a:lnTo>
                    <a:lnTo>
                      <a:pt x="751" y="13"/>
                    </a:lnTo>
                    <a:lnTo>
                      <a:pt x="752" y="13"/>
                    </a:lnTo>
                    <a:lnTo>
                      <a:pt x="753" y="11"/>
                    </a:lnTo>
                    <a:lnTo>
                      <a:pt x="753" y="11"/>
                    </a:lnTo>
                    <a:lnTo>
                      <a:pt x="755" y="11"/>
                    </a:lnTo>
                    <a:lnTo>
                      <a:pt x="756" y="11"/>
                    </a:lnTo>
                    <a:lnTo>
                      <a:pt x="757" y="10"/>
                    </a:lnTo>
                    <a:lnTo>
                      <a:pt x="757" y="10"/>
                    </a:lnTo>
                    <a:lnTo>
                      <a:pt x="758" y="9"/>
                    </a:lnTo>
                    <a:close/>
                    <a:moveTo>
                      <a:pt x="735" y="8"/>
                    </a:moveTo>
                    <a:lnTo>
                      <a:pt x="735" y="8"/>
                    </a:lnTo>
                    <a:lnTo>
                      <a:pt x="734" y="8"/>
                    </a:lnTo>
                    <a:lnTo>
                      <a:pt x="734" y="8"/>
                    </a:lnTo>
                    <a:lnTo>
                      <a:pt x="734" y="8"/>
                    </a:lnTo>
                    <a:lnTo>
                      <a:pt x="735" y="8"/>
                    </a:lnTo>
                    <a:close/>
                    <a:moveTo>
                      <a:pt x="658" y="0"/>
                    </a:moveTo>
                    <a:lnTo>
                      <a:pt x="659" y="0"/>
                    </a:lnTo>
                    <a:lnTo>
                      <a:pt x="659" y="1"/>
                    </a:lnTo>
                    <a:lnTo>
                      <a:pt x="659" y="1"/>
                    </a:lnTo>
                    <a:lnTo>
                      <a:pt x="659" y="1"/>
                    </a:lnTo>
                    <a:lnTo>
                      <a:pt x="659" y="1"/>
                    </a:lnTo>
                    <a:lnTo>
                      <a:pt x="660" y="1"/>
                    </a:lnTo>
                    <a:lnTo>
                      <a:pt x="661" y="1"/>
                    </a:lnTo>
                    <a:lnTo>
                      <a:pt x="661" y="0"/>
                    </a:lnTo>
                    <a:lnTo>
                      <a:pt x="660" y="1"/>
                    </a:lnTo>
                    <a:lnTo>
                      <a:pt x="667" y="1"/>
                    </a:lnTo>
                    <a:lnTo>
                      <a:pt x="668" y="2"/>
                    </a:lnTo>
                    <a:lnTo>
                      <a:pt x="668" y="2"/>
                    </a:lnTo>
                    <a:lnTo>
                      <a:pt x="668" y="2"/>
                    </a:lnTo>
                    <a:lnTo>
                      <a:pt x="667" y="2"/>
                    </a:lnTo>
                    <a:lnTo>
                      <a:pt x="666" y="3"/>
                    </a:lnTo>
                    <a:lnTo>
                      <a:pt x="665" y="5"/>
                    </a:lnTo>
                    <a:lnTo>
                      <a:pt x="665" y="6"/>
                    </a:lnTo>
                    <a:lnTo>
                      <a:pt x="663" y="6"/>
                    </a:lnTo>
                    <a:lnTo>
                      <a:pt x="660" y="6"/>
                    </a:lnTo>
                    <a:lnTo>
                      <a:pt x="661" y="6"/>
                    </a:lnTo>
                    <a:lnTo>
                      <a:pt x="662" y="7"/>
                    </a:lnTo>
                    <a:lnTo>
                      <a:pt x="663" y="7"/>
                    </a:lnTo>
                    <a:lnTo>
                      <a:pt x="663" y="8"/>
                    </a:lnTo>
                    <a:lnTo>
                      <a:pt x="662" y="8"/>
                    </a:lnTo>
                    <a:lnTo>
                      <a:pt x="661" y="9"/>
                    </a:lnTo>
                    <a:lnTo>
                      <a:pt x="661" y="9"/>
                    </a:lnTo>
                    <a:lnTo>
                      <a:pt x="662" y="8"/>
                    </a:lnTo>
                    <a:lnTo>
                      <a:pt x="662" y="8"/>
                    </a:lnTo>
                    <a:lnTo>
                      <a:pt x="663" y="8"/>
                    </a:lnTo>
                    <a:lnTo>
                      <a:pt x="674" y="8"/>
                    </a:lnTo>
                    <a:lnTo>
                      <a:pt x="675" y="8"/>
                    </a:lnTo>
                    <a:lnTo>
                      <a:pt x="675" y="7"/>
                    </a:lnTo>
                    <a:lnTo>
                      <a:pt x="675" y="7"/>
                    </a:lnTo>
                    <a:lnTo>
                      <a:pt x="676" y="6"/>
                    </a:lnTo>
                    <a:lnTo>
                      <a:pt x="680" y="6"/>
                    </a:lnTo>
                    <a:lnTo>
                      <a:pt x="680" y="7"/>
                    </a:lnTo>
                    <a:lnTo>
                      <a:pt x="681" y="7"/>
                    </a:lnTo>
                    <a:lnTo>
                      <a:pt x="681" y="7"/>
                    </a:lnTo>
                    <a:lnTo>
                      <a:pt x="680" y="8"/>
                    </a:lnTo>
                    <a:lnTo>
                      <a:pt x="681" y="8"/>
                    </a:lnTo>
                    <a:lnTo>
                      <a:pt x="681" y="7"/>
                    </a:lnTo>
                    <a:lnTo>
                      <a:pt x="681" y="7"/>
                    </a:lnTo>
                    <a:lnTo>
                      <a:pt x="681" y="7"/>
                    </a:lnTo>
                    <a:lnTo>
                      <a:pt x="681" y="6"/>
                    </a:lnTo>
                    <a:lnTo>
                      <a:pt x="681" y="6"/>
                    </a:lnTo>
                    <a:lnTo>
                      <a:pt x="681" y="6"/>
                    </a:lnTo>
                    <a:lnTo>
                      <a:pt x="682" y="6"/>
                    </a:lnTo>
                    <a:lnTo>
                      <a:pt x="682" y="6"/>
                    </a:lnTo>
                    <a:lnTo>
                      <a:pt x="683" y="6"/>
                    </a:lnTo>
                    <a:lnTo>
                      <a:pt x="682" y="7"/>
                    </a:lnTo>
                    <a:lnTo>
                      <a:pt x="682" y="8"/>
                    </a:lnTo>
                    <a:lnTo>
                      <a:pt x="681" y="8"/>
                    </a:lnTo>
                    <a:lnTo>
                      <a:pt x="681" y="8"/>
                    </a:lnTo>
                    <a:lnTo>
                      <a:pt x="684" y="8"/>
                    </a:lnTo>
                    <a:lnTo>
                      <a:pt x="685" y="7"/>
                    </a:lnTo>
                    <a:lnTo>
                      <a:pt x="685" y="6"/>
                    </a:lnTo>
                    <a:lnTo>
                      <a:pt x="687" y="6"/>
                    </a:lnTo>
                    <a:lnTo>
                      <a:pt x="688" y="7"/>
                    </a:lnTo>
                    <a:lnTo>
                      <a:pt x="689" y="7"/>
                    </a:lnTo>
                    <a:lnTo>
                      <a:pt x="689" y="7"/>
                    </a:lnTo>
                    <a:lnTo>
                      <a:pt x="690" y="6"/>
                    </a:lnTo>
                    <a:lnTo>
                      <a:pt x="690" y="9"/>
                    </a:lnTo>
                    <a:lnTo>
                      <a:pt x="692" y="9"/>
                    </a:lnTo>
                    <a:lnTo>
                      <a:pt x="692" y="11"/>
                    </a:lnTo>
                    <a:lnTo>
                      <a:pt x="693" y="11"/>
                    </a:lnTo>
                    <a:lnTo>
                      <a:pt x="693" y="13"/>
                    </a:lnTo>
                    <a:lnTo>
                      <a:pt x="692" y="14"/>
                    </a:lnTo>
                    <a:lnTo>
                      <a:pt x="692" y="15"/>
                    </a:lnTo>
                    <a:lnTo>
                      <a:pt x="692" y="15"/>
                    </a:lnTo>
                    <a:lnTo>
                      <a:pt x="692" y="15"/>
                    </a:lnTo>
                    <a:lnTo>
                      <a:pt x="690" y="15"/>
                    </a:lnTo>
                    <a:lnTo>
                      <a:pt x="690" y="16"/>
                    </a:lnTo>
                    <a:lnTo>
                      <a:pt x="690" y="16"/>
                    </a:lnTo>
                    <a:lnTo>
                      <a:pt x="689" y="17"/>
                    </a:lnTo>
                    <a:lnTo>
                      <a:pt x="687" y="17"/>
                    </a:lnTo>
                    <a:lnTo>
                      <a:pt x="688" y="17"/>
                    </a:lnTo>
                    <a:lnTo>
                      <a:pt x="688" y="18"/>
                    </a:lnTo>
                    <a:lnTo>
                      <a:pt x="688" y="18"/>
                    </a:lnTo>
                    <a:lnTo>
                      <a:pt x="689" y="18"/>
                    </a:lnTo>
                    <a:lnTo>
                      <a:pt x="689" y="18"/>
                    </a:lnTo>
                    <a:lnTo>
                      <a:pt x="689" y="20"/>
                    </a:lnTo>
                    <a:lnTo>
                      <a:pt x="689" y="20"/>
                    </a:lnTo>
                    <a:lnTo>
                      <a:pt x="689" y="21"/>
                    </a:lnTo>
                    <a:lnTo>
                      <a:pt x="689" y="21"/>
                    </a:lnTo>
                    <a:lnTo>
                      <a:pt x="689" y="21"/>
                    </a:lnTo>
                    <a:lnTo>
                      <a:pt x="689" y="22"/>
                    </a:lnTo>
                    <a:lnTo>
                      <a:pt x="689" y="22"/>
                    </a:lnTo>
                    <a:lnTo>
                      <a:pt x="688" y="22"/>
                    </a:lnTo>
                    <a:lnTo>
                      <a:pt x="688" y="22"/>
                    </a:lnTo>
                    <a:lnTo>
                      <a:pt x="688" y="23"/>
                    </a:lnTo>
                    <a:lnTo>
                      <a:pt x="689" y="24"/>
                    </a:lnTo>
                    <a:lnTo>
                      <a:pt x="689" y="25"/>
                    </a:lnTo>
                    <a:lnTo>
                      <a:pt x="689" y="25"/>
                    </a:lnTo>
                    <a:lnTo>
                      <a:pt x="689" y="25"/>
                    </a:lnTo>
                    <a:lnTo>
                      <a:pt x="689" y="26"/>
                    </a:lnTo>
                    <a:lnTo>
                      <a:pt x="689" y="28"/>
                    </a:lnTo>
                    <a:lnTo>
                      <a:pt x="688" y="28"/>
                    </a:lnTo>
                    <a:lnTo>
                      <a:pt x="687" y="29"/>
                    </a:lnTo>
                    <a:lnTo>
                      <a:pt x="687" y="29"/>
                    </a:lnTo>
                    <a:lnTo>
                      <a:pt x="687" y="29"/>
                    </a:lnTo>
                    <a:lnTo>
                      <a:pt x="687" y="31"/>
                    </a:lnTo>
                    <a:lnTo>
                      <a:pt x="684" y="31"/>
                    </a:lnTo>
                    <a:lnTo>
                      <a:pt x="684" y="30"/>
                    </a:lnTo>
                    <a:lnTo>
                      <a:pt x="683" y="30"/>
                    </a:lnTo>
                    <a:lnTo>
                      <a:pt x="682" y="31"/>
                    </a:lnTo>
                    <a:lnTo>
                      <a:pt x="682" y="31"/>
                    </a:lnTo>
                    <a:lnTo>
                      <a:pt x="681" y="31"/>
                    </a:lnTo>
                    <a:lnTo>
                      <a:pt x="677" y="31"/>
                    </a:lnTo>
                    <a:lnTo>
                      <a:pt x="678" y="31"/>
                    </a:lnTo>
                    <a:lnTo>
                      <a:pt x="680" y="31"/>
                    </a:lnTo>
                    <a:lnTo>
                      <a:pt x="680" y="32"/>
                    </a:lnTo>
                    <a:lnTo>
                      <a:pt x="680" y="32"/>
                    </a:lnTo>
                    <a:lnTo>
                      <a:pt x="682" y="32"/>
                    </a:lnTo>
                    <a:lnTo>
                      <a:pt x="683" y="33"/>
                    </a:lnTo>
                    <a:lnTo>
                      <a:pt x="684" y="35"/>
                    </a:lnTo>
                    <a:lnTo>
                      <a:pt x="684" y="36"/>
                    </a:lnTo>
                    <a:lnTo>
                      <a:pt x="687" y="37"/>
                    </a:lnTo>
                    <a:lnTo>
                      <a:pt x="688" y="38"/>
                    </a:lnTo>
                    <a:lnTo>
                      <a:pt x="688" y="39"/>
                    </a:lnTo>
                    <a:lnTo>
                      <a:pt x="689" y="39"/>
                    </a:lnTo>
                    <a:lnTo>
                      <a:pt x="684" y="39"/>
                    </a:lnTo>
                    <a:lnTo>
                      <a:pt x="685" y="39"/>
                    </a:lnTo>
                    <a:lnTo>
                      <a:pt x="687" y="39"/>
                    </a:lnTo>
                    <a:lnTo>
                      <a:pt x="688" y="40"/>
                    </a:lnTo>
                    <a:lnTo>
                      <a:pt x="689" y="41"/>
                    </a:lnTo>
                    <a:lnTo>
                      <a:pt x="689" y="41"/>
                    </a:lnTo>
                    <a:lnTo>
                      <a:pt x="690" y="43"/>
                    </a:lnTo>
                    <a:lnTo>
                      <a:pt x="689" y="44"/>
                    </a:lnTo>
                    <a:lnTo>
                      <a:pt x="689" y="45"/>
                    </a:lnTo>
                    <a:lnTo>
                      <a:pt x="689" y="46"/>
                    </a:lnTo>
                    <a:lnTo>
                      <a:pt x="690" y="46"/>
                    </a:lnTo>
                    <a:lnTo>
                      <a:pt x="690" y="46"/>
                    </a:lnTo>
                    <a:lnTo>
                      <a:pt x="690" y="45"/>
                    </a:lnTo>
                    <a:lnTo>
                      <a:pt x="692" y="44"/>
                    </a:lnTo>
                    <a:lnTo>
                      <a:pt x="693" y="44"/>
                    </a:lnTo>
                    <a:lnTo>
                      <a:pt x="696" y="45"/>
                    </a:lnTo>
                    <a:lnTo>
                      <a:pt x="697" y="45"/>
                    </a:lnTo>
                    <a:lnTo>
                      <a:pt x="698" y="45"/>
                    </a:lnTo>
                    <a:lnTo>
                      <a:pt x="699" y="46"/>
                    </a:lnTo>
                    <a:lnTo>
                      <a:pt x="699" y="48"/>
                    </a:lnTo>
                    <a:lnTo>
                      <a:pt x="699" y="50"/>
                    </a:lnTo>
                    <a:lnTo>
                      <a:pt x="698" y="51"/>
                    </a:lnTo>
                    <a:lnTo>
                      <a:pt x="698" y="51"/>
                    </a:lnTo>
                    <a:lnTo>
                      <a:pt x="698" y="51"/>
                    </a:lnTo>
                    <a:lnTo>
                      <a:pt x="698" y="51"/>
                    </a:lnTo>
                    <a:lnTo>
                      <a:pt x="699" y="52"/>
                    </a:lnTo>
                    <a:lnTo>
                      <a:pt x="696" y="52"/>
                    </a:lnTo>
                    <a:lnTo>
                      <a:pt x="696" y="52"/>
                    </a:lnTo>
                    <a:lnTo>
                      <a:pt x="696" y="52"/>
                    </a:lnTo>
                    <a:lnTo>
                      <a:pt x="696" y="53"/>
                    </a:lnTo>
                    <a:lnTo>
                      <a:pt x="696" y="53"/>
                    </a:lnTo>
                    <a:lnTo>
                      <a:pt x="693" y="53"/>
                    </a:lnTo>
                    <a:lnTo>
                      <a:pt x="693" y="53"/>
                    </a:lnTo>
                    <a:lnTo>
                      <a:pt x="693" y="53"/>
                    </a:lnTo>
                    <a:lnTo>
                      <a:pt x="693" y="54"/>
                    </a:lnTo>
                    <a:lnTo>
                      <a:pt x="693" y="54"/>
                    </a:lnTo>
                    <a:lnTo>
                      <a:pt x="693" y="55"/>
                    </a:lnTo>
                    <a:lnTo>
                      <a:pt x="692" y="55"/>
                    </a:lnTo>
                    <a:lnTo>
                      <a:pt x="691" y="55"/>
                    </a:lnTo>
                    <a:lnTo>
                      <a:pt x="690" y="55"/>
                    </a:lnTo>
                    <a:lnTo>
                      <a:pt x="690" y="56"/>
                    </a:lnTo>
                    <a:lnTo>
                      <a:pt x="690" y="56"/>
                    </a:lnTo>
                    <a:lnTo>
                      <a:pt x="699" y="56"/>
                    </a:lnTo>
                    <a:lnTo>
                      <a:pt x="698" y="56"/>
                    </a:lnTo>
                    <a:lnTo>
                      <a:pt x="698" y="58"/>
                    </a:lnTo>
                    <a:lnTo>
                      <a:pt x="698" y="59"/>
                    </a:lnTo>
                    <a:lnTo>
                      <a:pt x="697" y="59"/>
                    </a:lnTo>
                    <a:lnTo>
                      <a:pt x="696" y="60"/>
                    </a:lnTo>
                    <a:lnTo>
                      <a:pt x="696" y="60"/>
                    </a:lnTo>
                    <a:lnTo>
                      <a:pt x="695" y="60"/>
                    </a:lnTo>
                    <a:lnTo>
                      <a:pt x="693" y="60"/>
                    </a:lnTo>
                    <a:lnTo>
                      <a:pt x="692" y="60"/>
                    </a:lnTo>
                    <a:lnTo>
                      <a:pt x="692" y="61"/>
                    </a:lnTo>
                    <a:lnTo>
                      <a:pt x="691" y="61"/>
                    </a:lnTo>
                    <a:lnTo>
                      <a:pt x="690" y="61"/>
                    </a:lnTo>
                    <a:lnTo>
                      <a:pt x="689" y="60"/>
                    </a:lnTo>
                    <a:lnTo>
                      <a:pt x="685" y="60"/>
                    </a:lnTo>
                    <a:lnTo>
                      <a:pt x="683" y="61"/>
                    </a:lnTo>
                    <a:lnTo>
                      <a:pt x="682" y="62"/>
                    </a:lnTo>
                    <a:lnTo>
                      <a:pt x="681" y="62"/>
                    </a:lnTo>
                    <a:lnTo>
                      <a:pt x="681" y="61"/>
                    </a:lnTo>
                    <a:lnTo>
                      <a:pt x="681" y="61"/>
                    </a:lnTo>
                    <a:lnTo>
                      <a:pt x="681" y="61"/>
                    </a:lnTo>
                    <a:lnTo>
                      <a:pt x="680" y="60"/>
                    </a:lnTo>
                    <a:lnTo>
                      <a:pt x="680" y="60"/>
                    </a:lnTo>
                    <a:lnTo>
                      <a:pt x="678" y="60"/>
                    </a:lnTo>
                    <a:lnTo>
                      <a:pt x="678" y="60"/>
                    </a:lnTo>
                    <a:lnTo>
                      <a:pt x="677" y="60"/>
                    </a:lnTo>
                    <a:lnTo>
                      <a:pt x="678" y="60"/>
                    </a:lnTo>
                    <a:lnTo>
                      <a:pt x="678" y="61"/>
                    </a:lnTo>
                    <a:lnTo>
                      <a:pt x="678" y="62"/>
                    </a:lnTo>
                    <a:lnTo>
                      <a:pt x="677" y="62"/>
                    </a:lnTo>
                    <a:lnTo>
                      <a:pt x="674" y="62"/>
                    </a:lnTo>
                    <a:lnTo>
                      <a:pt x="675" y="62"/>
                    </a:lnTo>
                    <a:lnTo>
                      <a:pt x="675" y="62"/>
                    </a:lnTo>
                    <a:lnTo>
                      <a:pt x="674" y="62"/>
                    </a:lnTo>
                    <a:lnTo>
                      <a:pt x="673" y="62"/>
                    </a:lnTo>
                    <a:lnTo>
                      <a:pt x="672" y="62"/>
                    </a:lnTo>
                    <a:lnTo>
                      <a:pt x="672" y="62"/>
                    </a:lnTo>
                    <a:lnTo>
                      <a:pt x="670" y="62"/>
                    </a:lnTo>
                    <a:lnTo>
                      <a:pt x="670" y="62"/>
                    </a:lnTo>
                    <a:lnTo>
                      <a:pt x="663" y="62"/>
                    </a:lnTo>
                    <a:lnTo>
                      <a:pt x="663" y="66"/>
                    </a:lnTo>
                    <a:lnTo>
                      <a:pt x="662" y="66"/>
                    </a:lnTo>
                    <a:lnTo>
                      <a:pt x="661" y="66"/>
                    </a:lnTo>
                    <a:lnTo>
                      <a:pt x="661" y="65"/>
                    </a:lnTo>
                    <a:lnTo>
                      <a:pt x="660" y="63"/>
                    </a:lnTo>
                    <a:lnTo>
                      <a:pt x="659" y="63"/>
                    </a:lnTo>
                    <a:lnTo>
                      <a:pt x="659" y="63"/>
                    </a:lnTo>
                    <a:lnTo>
                      <a:pt x="659" y="65"/>
                    </a:lnTo>
                    <a:lnTo>
                      <a:pt x="658" y="65"/>
                    </a:lnTo>
                    <a:lnTo>
                      <a:pt x="656" y="65"/>
                    </a:lnTo>
                    <a:lnTo>
                      <a:pt x="655" y="63"/>
                    </a:lnTo>
                    <a:lnTo>
                      <a:pt x="655" y="65"/>
                    </a:lnTo>
                    <a:lnTo>
                      <a:pt x="655" y="65"/>
                    </a:lnTo>
                    <a:lnTo>
                      <a:pt x="654" y="66"/>
                    </a:lnTo>
                    <a:lnTo>
                      <a:pt x="653" y="66"/>
                    </a:lnTo>
                    <a:lnTo>
                      <a:pt x="653" y="66"/>
                    </a:lnTo>
                    <a:lnTo>
                      <a:pt x="653" y="66"/>
                    </a:lnTo>
                    <a:lnTo>
                      <a:pt x="653" y="66"/>
                    </a:lnTo>
                    <a:lnTo>
                      <a:pt x="653" y="67"/>
                    </a:lnTo>
                    <a:lnTo>
                      <a:pt x="652" y="67"/>
                    </a:lnTo>
                    <a:lnTo>
                      <a:pt x="652" y="67"/>
                    </a:lnTo>
                    <a:lnTo>
                      <a:pt x="651" y="66"/>
                    </a:lnTo>
                    <a:lnTo>
                      <a:pt x="650" y="66"/>
                    </a:lnTo>
                    <a:lnTo>
                      <a:pt x="651" y="65"/>
                    </a:lnTo>
                    <a:lnTo>
                      <a:pt x="652" y="63"/>
                    </a:lnTo>
                    <a:lnTo>
                      <a:pt x="652" y="63"/>
                    </a:lnTo>
                    <a:lnTo>
                      <a:pt x="653" y="63"/>
                    </a:lnTo>
                    <a:lnTo>
                      <a:pt x="654" y="62"/>
                    </a:lnTo>
                    <a:lnTo>
                      <a:pt x="655" y="62"/>
                    </a:lnTo>
                    <a:lnTo>
                      <a:pt x="655" y="61"/>
                    </a:lnTo>
                    <a:lnTo>
                      <a:pt x="656" y="60"/>
                    </a:lnTo>
                    <a:lnTo>
                      <a:pt x="658" y="60"/>
                    </a:lnTo>
                    <a:lnTo>
                      <a:pt x="658" y="60"/>
                    </a:lnTo>
                    <a:lnTo>
                      <a:pt x="656" y="59"/>
                    </a:lnTo>
                    <a:lnTo>
                      <a:pt x="658" y="59"/>
                    </a:lnTo>
                    <a:lnTo>
                      <a:pt x="659" y="59"/>
                    </a:lnTo>
                    <a:lnTo>
                      <a:pt x="659" y="59"/>
                    </a:lnTo>
                    <a:lnTo>
                      <a:pt x="659" y="59"/>
                    </a:lnTo>
                    <a:lnTo>
                      <a:pt x="659" y="58"/>
                    </a:lnTo>
                    <a:lnTo>
                      <a:pt x="659" y="56"/>
                    </a:lnTo>
                    <a:lnTo>
                      <a:pt x="661" y="56"/>
                    </a:lnTo>
                    <a:lnTo>
                      <a:pt x="662" y="56"/>
                    </a:lnTo>
                    <a:lnTo>
                      <a:pt x="662" y="56"/>
                    </a:lnTo>
                    <a:lnTo>
                      <a:pt x="663" y="56"/>
                    </a:lnTo>
                    <a:lnTo>
                      <a:pt x="663" y="56"/>
                    </a:lnTo>
                    <a:lnTo>
                      <a:pt x="665" y="56"/>
                    </a:lnTo>
                    <a:lnTo>
                      <a:pt x="665" y="58"/>
                    </a:lnTo>
                    <a:lnTo>
                      <a:pt x="666" y="58"/>
                    </a:lnTo>
                    <a:lnTo>
                      <a:pt x="667" y="58"/>
                    </a:lnTo>
                    <a:lnTo>
                      <a:pt x="667" y="56"/>
                    </a:lnTo>
                    <a:lnTo>
                      <a:pt x="669" y="55"/>
                    </a:lnTo>
                    <a:lnTo>
                      <a:pt x="670" y="55"/>
                    </a:lnTo>
                    <a:lnTo>
                      <a:pt x="670" y="55"/>
                    </a:lnTo>
                    <a:lnTo>
                      <a:pt x="670" y="54"/>
                    </a:lnTo>
                    <a:lnTo>
                      <a:pt x="670" y="53"/>
                    </a:lnTo>
                    <a:lnTo>
                      <a:pt x="669" y="54"/>
                    </a:lnTo>
                    <a:lnTo>
                      <a:pt x="669" y="55"/>
                    </a:lnTo>
                    <a:lnTo>
                      <a:pt x="668" y="55"/>
                    </a:lnTo>
                    <a:lnTo>
                      <a:pt x="667" y="55"/>
                    </a:lnTo>
                    <a:lnTo>
                      <a:pt x="667" y="55"/>
                    </a:lnTo>
                    <a:lnTo>
                      <a:pt x="666" y="56"/>
                    </a:lnTo>
                    <a:lnTo>
                      <a:pt x="666" y="56"/>
                    </a:lnTo>
                    <a:lnTo>
                      <a:pt x="663" y="56"/>
                    </a:lnTo>
                    <a:lnTo>
                      <a:pt x="662" y="55"/>
                    </a:lnTo>
                    <a:lnTo>
                      <a:pt x="662" y="55"/>
                    </a:lnTo>
                    <a:lnTo>
                      <a:pt x="662" y="55"/>
                    </a:lnTo>
                    <a:lnTo>
                      <a:pt x="660" y="55"/>
                    </a:lnTo>
                    <a:lnTo>
                      <a:pt x="659" y="54"/>
                    </a:lnTo>
                    <a:lnTo>
                      <a:pt x="659" y="54"/>
                    </a:lnTo>
                    <a:lnTo>
                      <a:pt x="659" y="53"/>
                    </a:lnTo>
                    <a:lnTo>
                      <a:pt x="659" y="53"/>
                    </a:lnTo>
                    <a:lnTo>
                      <a:pt x="660" y="54"/>
                    </a:lnTo>
                    <a:lnTo>
                      <a:pt x="660" y="54"/>
                    </a:lnTo>
                    <a:lnTo>
                      <a:pt x="660" y="53"/>
                    </a:lnTo>
                    <a:lnTo>
                      <a:pt x="659" y="53"/>
                    </a:lnTo>
                    <a:lnTo>
                      <a:pt x="656" y="53"/>
                    </a:lnTo>
                    <a:lnTo>
                      <a:pt x="655" y="53"/>
                    </a:lnTo>
                    <a:lnTo>
                      <a:pt x="655" y="54"/>
                    </a:lnTo>
                    <a:lnTo>
                      <a:pt x="654" y="54"/>
                    </a:lnTo>
                    <a:lnTo>
                      <a:pt x="654" y="54"/>
                    </a:lnTo>
                    <a:lnTo>
                      <a:pt x="655" y="53"/>
                    </a:lnTo>
                    <a:lnTo>
                      <a:pt x="653" y="53"/>
                    </a:lnTo>
                    <a:lnTo>
                      <a:pt x="653" y="52"/>
                    </a:lnTo>
                    <a:lnTo>
                      <a:pt x="653" y="52"/>
                    </a:lnTo>
                    <a:lnTo>
                      <a:pt x="653" y="52"/>
                    </a:lnTo>
                    <a:lnTo>
                      <a:pt x="653" y="52"/>
                    </a:lnTo>
                    <a:lnTo>
                      <a:pt x="654" y="51"/>
                    </a:lnTo>
                    <a:lnTo>
                      <a:pt x="655" y="51"/>
                    </a:lnTo>
                    <a:lnTo>
                      <a:pt x="655" y="50"/>
                    </a:lnTo>
                    <a:lnTo>
                      <a:pt x="656" y="50"/>
                    </a:lnTo>
                    <a:lnTo>
                      <a:pt x="658" y="50"/>
                    </a:lnTo>
                    <a:lnTo>
                      <a:pt x="659" y="50"/>
                    </a:lnTo>
                    <a:lnTo>
                      <a:pt x="660" y="50"/>
                    </a:lnTo>
                    <a:lnTo>
                      <a:pt x="660" y="48"/>
                    </a:lnTo>
                    <a:lnTo>
                      <a:pt x="660" y="47"/>
                    </a:lnTo>
                    <a:lnTo>
                      <a:pt x="660" y="46"/>
                    </a:lnTo>
                    <a:lnTo>
                      <a:pt x="660" y="46"/>
                    </a:lnTo>
                    <a:lnTo>
                      <a:pt x="660" y="46"/>
                    </a:lnTo>
                    <a:lnTo>
                      <a:pt x="661" y="46"/>
                    </a:lnTo>
                    <a:lnTo>
                      <a:pt x="661" y="45"/>
                    </a:lnTo>
                    <a:lnTo>
                      <a:pt x="660" y="45"/>
                    </a:lnTo>
                    <a:lnTo>
                      <a:pt x="660" y="45"/>
                    </a:lnTo>
                    <a:lnTo>
                      <a:pt x="660" y="45"/>
                    </a:lnTo>
                    <a:lnTo>
                      <a:pt x="659" y="45"/>
                    </a:lnTo>
                    <a:lnTo>
                      <a:pt x="658" y="45"/>
                    </a:lnTo>
                    <a:lnTo>
                      <a:pt x="656" y="45"/>
                    </a:lnTo>
                    <a:lnTo>
                      <a:pt x="656" y="45"/>
                    </a:lnTo>
                    <a:lnTo>
                      <a:pt x="656" y="45"/>
                    </a:lnTo>
                    <a:lnTo>
                      <a:pt x="658" y="44"/>
                    </a:lnTo>
                    <a:lnTo>
                      <a:pt x="659" y="44"/>
                    </a:lnTo>
                    <a:lnTo>
                      <a:pt x="659" y="43"/>
                    </a:lnTo>
                    <a:lnTo>
                      <a:pt x="660" y="43"/>
                    </a:lnTo>
                    <a:lnTo>
                      <a:pt x="660" y="43"/>
                    </a:lnTo>
                    <a:lnTo>
                      <a:pt x="659" y="41"/>
                    </a:lnTo>
                    <a:lnTo>
                      <a:pt x="658" y="41"/>
                    </a:lnTo>
                    <a:lnTo>
                      <a:pt x="656" y="41"/>
                    </a:lnTo>
                    <a:lnTo>
                      <a:pt x="656" y="41"/>
                    </a:lnTo>
                    <a:lnTo>
                      <a:pt x="656" y="41"/>
                    </a:lnTo>
                    <a:lnTo>
                      <a:pt x="659" y="40"/>
                    </a:lnTo>
                    <a:lnTo>
                      <a:pt x="660" y="40"/>
                    </a:lnTo>
                    <a:lnTo>
                      <a:pt x="660" y="40"/>
                    </a:lnTo>
                    <a:lnTo>
                      <a:pt x="660" y="40"/>
                    </a:lnTo>
                    <a:lnTo>
                      <a:pt x="660" y="41"/>
                    </a:lnTo>
                    <a:lnTo>
                      <a:pt x="660" y="41"/>
                    </a:lnTo>
                    <a:lnTo>
                      <a:pt x="660" y="41"/>
                    </a:lnTo>
                    <a:lnTo>
                      <a:pt x="661" y="41"/>
                    </a:lnTo>
                    <a:lnTo>
                      <a:pt x="662" y="41"/>
                    </a:lnTo>
                    <a:lnTo>
                      <a:pt x="667" y="41"/>
                    </a:lnTo>
                    <a:lnTo>
                      <a:pt x="668" y="41"/>
                    </a:lnTo>
                    <a:lnTo>
                      <a:pt x="668" y="41"/>
                    </a:lnTo>
                    <a:lnTo>
                      <a:pt x="669" y="41"/>
                    </a:lnTo>
                    <a:lnTo>
                      <a:pt x="669" y="41"/>
                    </a:lnTo>
                    <a:lnTo>
                      <a:pt x="667" y="39"/>
                    </a:lnTo>
                    <a:lnTo>
                      <a:pt x="669" y="38"/>
                    </a:lnTo>
                    <a:lnTo>
                      <a:pt x="669" y="38"/>
                    </a:lnTo>
                    <a:lnTo>
                      <a:pt x="668" y="38"/>
                    </a:lnTo>
                    <a:lnTo>
                      <a:pt x="668" y="38"/>
                    </a:lnTo>
                    <a:lnTo>
                      <a:pt x="667" y="38"/>
                    </a:lnTo>
                    <a:lnTo>
                      <a:pt x="668" y="37"/>
                    </a:lnTo>
                    <a:lnTo>
                      <a:pt x="669" y="36"/>
                    </a:lnTo>
                    <a:lnTo>
                      <a:pt x="669" y="35"/>
                    </a:lnTo>
                    <a:lnTo>
                      <a:pt x="669" y="35"/>
                    </a:lnTo>
                    <a:lnTo>
                      <a:pt x="668" y="35"/>
                    </a:lnTo>
                    <a:lnTo>
                      <a:pt x="668" y="35"/>
                    </a:lnTo>
                    <a:lnTo>
                      <a:pt x="667" y="35"/>
                    </a:lnTo>
                    <a:lnTo>
                      <a:pt x="667" y="35"/>
                    </a:lnTo>
                    <a:lnTo>
                      <a:pt x="666" y="35"/>
                    </a:lnTo>
                    <a:lnTo>
                      <a:pt x="666" y="36"/>
                    </a:lnTo>
                    <a:lnTo>
                      <a:pt x="665" y="35"/>
                    </a:lnTo>
                    <a:lnTo>
                      <a:pt x="663" y="35"/>
                    </a:lnTo>
                    <a:lnTo>
                      <a:pt x="663" y="35"/>
                    </a:lnTo>
                    <a:lnTo>
                      <a:pt x="662" y="36"/>
                    </a:lnTo>
                    <a:lnTo>
                      <a:pt x="661" y="36"/>
                    </a:lnTo>
                    <a:lnTo>
                      <a:pt x="661" y="35"/>
                    </a:lnTo>
                    <a:lnTo>
                      <a:pt x="662" y="35"/>
                    </a:lnTo>
                    <a:lnTo>
                      <a:pt x="662" y="35"/>
                    </a:lnTo>
                    <a:lnTo>
                      <a:pt x="662" y="33"/>
                    </a:lnTo>
                    <a:lnTo>
                      <a:pt x="663" y="33"/>
                    </a:lnTo>
                    <a:lnTo>
                      <a:pt x="663" y="33"/>
                    </a:lnTo>
                    <a:lnTo>
                      <a:pt x="665" y="32"/>
                    </a:lnTo>
                    <a:lnTo>
                      <a:pt x="663" y="32"/>
                    </a:lnTo>
                    <a:lnTo>
                      <a:pt x="662" y="33"/>
                    </a:lnTo>
                    <a:lnTo>
                      <a:pt x="662" y="33"/>
                    </a:lnTo>
                    <a:lnTo>
                      <a:pt x="662" y="33"/>
                    </a:lnTo>
                    <a:lnTo>
                      <a:pt x="662" y="35"/>
                    </a:lnTo>
                    <a:lnTo>
                      <a:pt x="661" y="35"/>
                    </a:lnTo>
                    <a:lnTo>
                      <a:pt x="660" y="33"/>
                    </a:lnTo>
                    <a:lnTo>
                      <a:pt x="660" y="33"/>
                    </a:lnTo>
                    <a:lnTo>
                      <a:pt x="660" y="32"/>
                    </a:lnTo>
                    <a:lnTo>
                      <a:pt x="659" y="32"/>
                    </a:lnTo>
                    <a:lnTo>
                      <a:pt x="659" y="32"/>
                    </a:lnTo>
                    <a:lnTo>
                      <a:pt x="658" y="32"/>
                    </a:lnTo>
                    <a:lnTo>
                      <a:pt x="658" y="31"/>
                    </a:lnTo>
                    <a:lnTo>
                      <a:pt x="659" y="31"/>
                    </a:lnTo>
                    <a:lnTo>
                      <a:pt x="660" y="31"/>
                    </a:lnTo>
                    <a:lnTo>
                      <a:pt x="660" y="31"/>
                    </a:lnTo>
                    <a:lnTo>
                      <a:pt x="660" y="30"/>
                    </a:lnTo>
                    <a:lnTo>
                      <a:pt x="659" y="30"/>
                    </a:lnTo>
                    <a:lnTo>
                      <a:pt x="659" y="29"/>
                    </a:lnTo>
                    <a:lnTo>
                      <a:pt x="659" y="31"/>
                    </a:lnTo>
                    <a:lnTo>
                      <a:pt x="658" y="30"/>
                    </a:lnTo>
                    <a:lnTo>
                      <a:pt x="656" y="29"/>
                    </a:lnTo>
                    <a:lnTo>
                      <a:pt x="656" y="29"/>
                    </a:lnTo>
                    <a:lnTo>
                      <a:pt x="655" y="29"/>
                    </a:lnTo>
                    <a:lnTo>
                      <a:pt x="655" y="29"/>
                    </a:lnTo>
                    <a:lnTo>
                      <a:pt x="655" y="28"/>
                    </a:lnTo>
                    <a:lnTo>
                      <a:pt x="655" y="28"/>
                    </a:lnTo>
                    <a:lnTo>
                      <a:pt x="655" y="28"/>
                    </a:lnTo>
                    <a:lnTo>
                      <a:pt x="656" y="26"/>
                    </a:lnTo>
                    <a:lnTo>
                      <a:pt x="656" y="25"/>
                    </a:lnTo>
                    <a:lnTo>
                      <a:pt x="658" y="25"/>
                    </a:lnTo>
                    <a:lnTo>
                      <a:pt x="659" y="25"/>
                    </a:lnTo>
                    <a:lnTo>
                      <a:pt x="658" y="24"/>
                    </a:lnTo>
                    <a:lnTo>
                      <a:pt x="658" y="24"/>
                    </a:lnTo>
                    <a:lnTo>
                      <a:pt x="656" y="23"/>
                    </a:lnTo>
                    <a:lnTo>
                      <a:pt x="656" y="23"/>
                    </a:lnTo>
                    <a:lnTo>
                      <a:pt x="656" y="22"/>
                    </a:lnTo>
                    <a:lnTo>
                      <a:pt x="656" y="21"/>
                    </a:lnTo>
                    <a:lnTo>
                      <a:pt x="658" y="21"/>
                    </a:lnTo>
                    <a:lnTo>
                      <a:pt x="658" y="22"/>
                    </a:lnTo>
                    <a:lnTo>
                      <a:pt x="659" y="22"/>
                    </a:lnTo>
                    <a:lnTo>
                      <a:pt x="659" y="22"/>
                    </a:lnTo>
                    <a:lnTo>
                      <a:pt x="659" y="22"/>
                    </a:lnTo>
                    <a:lnTo>
                      <a:pt x="658" y="21"/>
                    </a:lnTo>
                    <a:lnTo>
                      <a:pt x="658" y="21"/>
                    </a:lnTo>
                    <a:lnTo>
                      <a:pt x="656" y="21"/>
                    </a:lnTo>
                    <a:lnTo>
                      <a:pt x="656" y="18"/>
                    </a:lnTo>
                    <a:lnTo>
                      <a:pt x="656" y="20"/>
                    </a:lnTo>
                    <a:lnTo>
                      <a:pt x="656" y="21"/>
                    </a:lnTo>
                    <a:lnTo>
                      <a:pt x="655" y="22"/>
                    </a:lnTo>
                    <a:lnTo>
                      <a:pt x="654" y="22"/>
                    </a:lnTo>
                    <a:lnTo>
                      <a:pt x="653" y="21"/>
                    </a:lnTo>
                    <a:lnTo>
                      <a:pt x="653" y="18"/>
                    </a:lnTo>
                    <a:lnTo>
                      <a:pt x="653" y="17"/>
                    </a:lnTo>
                    <a:lnTo>
                      <a:pt x="653" y="17"/>
                    </a:lnTo>
                    <a:lnTo>
                      <a:pt x="653" y="17"/>
                    </a:lnTo>
                    <a:lnTo>
                      <a:pt x="654" y="16"/>
                    </a:lnTo>
                    <a:lnTo>
                      <a:pt x="653" y="16"/>
                    </a:lnTo>
                    <a:lnTo>
                      <a:pt x="653" y="16"/>
                    </a:lnTo>
                    <a:lnTo>
                      <a:pt x="652" y="16"/>
                    </a:lnTo>
                    <a:lnTo>
                      <a:pt x="652" y="15"/>
                    </a:lnTo>
                    <a:lnTo>
                      <a:pt x="652" y="14"/>
                    </a:lnTo>
                    <a:lnTo>
                      <a:pt x="652" y="14"/>
                    </a:lnTo>
                    <a:lnTo>
                      <a:pt x="651" y="14"/>
                    </a:lnTo>
                    <a:lnTo>
                      <a:pt x="651" y="15"/>
                    </a:lnTo>
                    <a:lnTo>
                      <a:pt x="651" y="14"/>
                    </a:lnTo>
                    <a:lnTo>
                      <a:pt x="652" y="14"/>
                    </a:lnTo>
                    <a:lnTo>
                      <a:pt x="652" y="14"/>
                    </a:lnTo>
                    <a:lnTo>
                      <a:pt x="653" y="13"/>
                    </a:lnTo>
                    <a:lnTo>
                      <a:pt x="653" y="13"/>
                    </a:lnTo>
                    <a:lnTo>
                      <a:pt x="653" y="13"/>
                    </a:lnTo>
                    <a:lnTo>
                      <a:pt x="653" y="11"/>
                    </a:lnTo>
                    <a:lnTo>
                      <a:pt x="653" y="11"/>
                    </a:lnTo>
                    <a:lnTo>
                      <a:pt x="654" y="11"/>
                    </a:lnTo>
                    <a:lnTo>
                      <a:pt x="654" y="11"/>
                    </a:lnTo>
                    <a:lnTo>
                      <a:pt x="653" y="11"/>
                    </a:lnTo>
                    <a:lnTo>
                      <a:pt x="653" y="10"/>
                    </a:lnTo>
                    <a:lnTo>
                      <a:pt x="653" y="9"/>
                    </a:lnTo>
                    <a:lnTo>
                      <a:pt x="654" y="9"/>
                    </a:lnTo>
                    <a:lnTo>
                      <a:pt x="653" y="9"/>
                    </a:lnTo>
                    <a:lnTo>
                      <a:pt x="653" y="8"/>
                    </a:lnTo>
                    <a:lnTo>
                      <a:pt x="653" y="8"/>
                    </a:lnTo>
                    <a:lnTo>
                      <a:pt x="653" y="8"/>
                    </a:lnTo>
                    <a:lnTo>
                      <a:pt x="652" y="6"/>
                    </a:lnTo>
                    <a:lnTo>
                      <a:pt x="653" y="6"/>
                    </a:lnTo>
                    <a:lnTo>
                      <a:pt x="653" y="6"/>
                    </a:lnTo>
                    <a:lnTo>
                      <a:pt x="654" y="6"/>
                    </a:lnTo>
                    <a:lnTo>
                      <a:pt x="655" y="6"/>
                    </a:lnTo>
                    <a:lnTo>
                      <a:pt x="656" y="6"/>
                    </a:lnTo>
                    <a:lnTo>
                      <a:pt x="656" y="6"/>
                    </a:lnTo>
                    <a:lnTo>
                      <a:pt x="655" y="6"/>
                    </a:lnTo>
                    <a:lnTo>
                      <a:pt x="655" y="5"/>
                    </a:lnTo>
                    <a:lnTo>
                      <a:pt x="654" y="5"/>
                    </a:lnTo>
                    <a:lnTo>
                      <a:pt x="655" y="5"/>
                    </a:lnTo>
                    <a:lnTo>
                      <a:pt x="655" y="5"/>
                    </a:lnTo>
                    <a:lnTo>
                      <a:pt x="654" y="3"/>
                    </a:lnTo>
                    <a:lnTo>
                      <a:pt x="654" y="3"/>
                    </a:lnTo>
                    <a:lnTo>
                      <a:pt x="655" y="2"/>
                    </a:lnTo>
                    <a:lnTo>
                      <a:pt x="656" y="2"/>
                    </a:lnTo>
                    <a:lnTo>
                      <a:pt x="658" y="2"/>
                    </a:lnTo>
                    <a:lnTo>
                      <a:pt x="656" y="2"/>
                    </a:lnTo>
                    <a:lnTo>
                      <a:pt x="656" y="1"/>
                    </a:lnTo>
                    <a:lnTo>
                      <a:pt x="656" y="1"/>
                    </a:lnTo>
                    <a:lnTo>
                      <a:pt x="656" y="1"/>
                    </a:lnTo>
                    <a:lnTo>
                      <a:pt x="658" y="0"/>
                    </a:lnTo>
                    <a:close/>
                  </a:path>
                </a:pathLst>
              </a:custGeom>
              <a:solidFill>
                <a:srgbClr val="267FFF"/>
              </a:solidFill>
              <a:ln w="0">
                <a:solidFill>
                  <a:srgbClr val="267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0"/>
              <p:cNvSpPr>
                <a:spLocks noEditPoints="1"/>
              </p:cNvSpPr>
              <p:nvPr/>
            </p:nvSpPr>
            <p:spPr bwMode="auto">
              <a:xfrm>
                <a:off x="4555" y="1897"/>
                <a:ext cx="347" cy="341"/>
              </a:xfrm>
              <a:custGeom>
                <a:avLst/>
                <a:gdLst>
                  <a:gd name="T0" fmla="*/ 7 w 1039"/>
                  <a:gd name="T1" fmla="*/ 32 h 1024"/>
                  <a:gd name="T2" fmla="*/ 452 w 1039"/>
                  <a:gd name="T3" fmla="*/ 8 h 1024"/>
                  <a:gd name="T4" fmla="*/ 424 w 1039"/>
                  <a:gd name="T5" fmla="*/ 17 h 1024"/>
                  <a:gd name="T6" fmla="*/ 704 w 1039"/>
                  <a:gd name="T7" fmla="*/ 4 h 1024"/>
                  <a:gd name="T8" fmla="*/ 790 w 1039"/>
                  <a:gd name="T9" fmla="*/ 29 h 1024"/>
                  <a:gd name="T10" fmla="*/ 758 w 1039"/>
                  <a:gd name="T11" fmla="*/ 43 h 1024"/>
                  <a:gd name="T12" fmla="*/ 808 w 1039"/>
                  <a:gd name="T13" fmla="*/ 34 h 1024"/>
                  <a:gd name="T14" fmla="*/ 1010 w 1039"/>
                  <a:gd name="T15" fmla="*/ 369 h 1024"/>
                  <a:gd name="T16" fmla="*/ 942 w 1039"/>
                  <a:gd name="T17" fmla="*/ 344 h 1024"/>
                  <a:gd name="T18" fmla="*/ 1003 w 1039"/>
                  <a:gd name="T19" fmla="*/ 397 h 1024"/>
                  <a:gd name="T20" fmla="*/ 992 w 1039"/>
                  <a:gd name="T21" fmla="*/ 490 h 1024"/>
                  <a:gd name="T22" fmla="*/ 879 w 1039"/>
                  <a:gd name="T23" fmla="*/ 425 h 1024"/>
                  <a:gd name="T24" fmla="*/ 808 w 1039"/>
                  <a:gd name="T25" fmla="*/ 330 h 1024"/>
                  <a:gd name="T26" fmla="*/ 862 w 1039"/>
                  <a:gd name="T27" fmla="*/ 442 h 1024"/>
                  <a:gd name="T28" fmla="*/ 951 w 1039"/>
                  <a:gd name="T29" fmla="*/ 537 h 1024"/>
                  <a:gd name="T30" fmla="*/ 906 w 1039"/>
                  <a:gd name="T31" fmla="*/ 674 h 1024"/>
                  <a:gd name="T32" fmla="*/ 887 w 1039"/>
                  <a:gd name="T33" fmla="*/ 824 h 1024"/>
                  <a:gd name="T34" fmla="*/ 730 w 1039"/>
                  <a:gd name="T35" fmla="*/ 1018 h 1024"/>
                  <a:gd name="T36" fmla="*/ 657 w 1039"/>
                  <a:gd name="T37" fmla="*/ 906 h 1024"/>
                  <a:gd name="T38" fmla="*/ 641 w 1039"/>
                  <a:gd name="T39" fmla="*/ 711 h 1024"/>
                  <a:gd name="T40" fmla="*/ 622 w 1039"/>
                  <a:gd name="T41" fmla="*/ 651 h 1024"/>
                  <a:gd name="T42" fmla="*/ 595 w 1039"/>
                  <a:gd name="T43" fmla="*/ 607 h 1024"/>
                  <a:gd name="T44" fmla="*/ 536 w 1039"/>
                  <a:gd name="T45" fmla="*/ 597 h 1024"/>
                  <a:gd name="T46" fmla="*/ 424 w 1039"/>
                  <a:gd name="T47" fmla="*/ 574 h 1024"/>
                  <a:gd name="T48" fmla="*/ 401 w 1039"/>
                  <a:gd name="T49" fmla="*/ 524 h 1024"/>
                  <a:gd name="T50" fmla="*/ 390 w 1039"/>
                  <a:gd name="T51" fmla="*/ 510 h 1024"/>
                  <a:gd name="T52" fmla="*/ 394 w 1039"/>
                  <a:gd name="T53" fmla="*/ 441 h 1024"/>
                  <a:gd name="T54" fmla="*/ 472 w 1039"/>
                  <a:gd name="T55" fmla="*/ 294 h 1024"/>
                  <a:gd name="T56" fmla="*/ 568 w 1039"/>
                  <a:gd name="T57" fmla="*/ 262 h 1024"/>
                  <a:gd name="T58" fmla="*/ 625 w 1039"/>
                  <a:gd name="T59" fmla="*/ 279 h 1024"/>
                  <a:gd name="T60" fmla="*/ 704 w 1039"/>
                  <a:gd name="T61" fmla="*/ 308 h 1024"/>
                  <a:gd name="T62" fmla="*/ 796 w 1039"/>
                  <a:gd name="T63" fmla="*/ 319 h 1024"/>
                  <a:gd name="T64" fmla="*/ 786 w 1039"/>
                  <a:gd name="T65" fmla="*/ 272 h 1024"/>
                  <a:gd name="T66" fmla="*/ 750 w 1039"/>
                  <a:gd name="T67" fmla="*/ 242 h 1024"/>
                  <a:gd name="T68" fmla="*/ 838 w 1039"/>
                  <a:gd name="T69" fmla="*/ 230 h 1024"/>
                  <a:gd name="T70" fmla="*/ 804 w 1039"/>
                  <a:gd name="T71" fmla="*/ 182 h 1024"/>
                  <a:gd name="T72" fmla="*/ 785 w 1039"/>
                  <a:gd name="T73" fmla="*/ 182 h 1024"/>
                  <a:gd name="T74" fmla="*/ 752 w 1039"/>
                  <a:gd name="T75" fmla="*/ 211 h 1024"/>
                  <a:gd name="T76" fmla="*/ 729 w 1039"/>
                  <a:gd name="T77" fmla="*/ 229 h 1024"/>
                  <a:gd name="T78" fmla="*/ 730 w 1039"/>
                  <a:gd name="T79" fmla="*/ 257 h 1024"/>
                  <a:gd name="T80" fmla="*/ 720 w 1039"/>
                  <a:gd name="T81" fmla="*/ 254 h 1024"/>
                  <a:gd name="T82" fmla="*/ 689 w 1039"/>
                  <a:gd name="T83" fmla="*/ 222 h 1024"/>
                  <a:gd name="T84" fmla="*/ 637 w 1039"/>
                  <a:gd name="T85" fmla="*/ 183 h 1024"/>
                  <a:gd name="T86" fmla="*/ 672 w 1039"/>
                  <a:gd name="T87" fmla="*/ 239 h 1024"/>
                  <a:gd name="T88" fmla="*/ 618 w 1039"/>
                  <a:gd name="T89" fmla="*/ 205 h 1024"/>
                  <a:gd name="T90" fmla="*/ 542 w 1039"/>
                  <a:gd name="T91" fmla="*/ 225 h 1024"/>
                  <a:gd name="T92" fmla="*/ 489 w 1039"/>
                  <a:gd name="T93" fmla="*/ 265 h 1024"/>
                  <a:gd name="T94" fmla="*/ 465 w 1039"/>
                  <a:gd name="T95" fmla="*/ 225 h 1024"/>
                  <a:gd name="T96" fmla="*/ 523 w 1039"/>
                  <a:gd name="T97" fmla="*/ 200 h 1024"/>
                  <a:gd name="T98" fmla="*/ 499 w 1039"/>
                  <a:gd name="T99" fmla="*/ 155 h 1024"/>
                  <a:gd name="T100" fmla="*/ 560 w 1039"/>
                  <a:gd name="T101" fmla="*/ 133 h 1024"/>
                  <a:gd name="T102" fmla="*/ 594 w 1039"/>
                  <a:gd name="T103" fmla="*/ 116 h 1024"/>
                  <a:gd name="T104" fmla="*/ 600 w 1039"/>
                  <a:gd name="T105" fmla="*/ 93 h 1024"/>
                  <a:gd name="T106" fmla="*/ 636 w 1039"/>
                  <a:gd name="T107" fmla="*/ 114 h 1024"/>
                  <a:gd name="T108" fmla="*/ 696 w 1039"/>
                  <a:gd name="T109" fmla="*/ 92 h 1024"/>
                  <a:gd name="T110" fmla="*/ 738 w 1039"/>
                  <a:gd name="T111" fmla="*/ 74 h 1024"/>
                  <a:gd name="T112" fmla="*/ 673 w 1039"/>
                  <a:gd name="T113" fmla="*/ 59 h 1024"/>
                  <a:gd name="T114" fmla="*/ 672 w 1039"/>
                  <a:gd name="T115" fmla="*/ 34 h 1024"/>
                  <a:gd name="T116" fmla="*/ 655 w 1039"/>
                  <a:gd name="T117" fmla="*/ 76 h 1024"/>
                  <a:gd name="T118" fmla="*/ 613 w 1039"/>
                  <a:gd name="T119" fmla="*/ 85 h 1024"/>
                  <a:gd name="T120" fmla="*/ 568 w 1039"/>
                  <a:gd name="T121" fmla="*/ 70 h 1024"/>
                  <a:gd name="T122" fmla="*/ 571 w 1039"/>
                  <a:gd name="T123" fmla="*/ 50 h 1024"/>
                  <a:gd name="T124" fmla="*/ 630 w 1039"/>
                  <a:gd name="T125" fmla="*/ 16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9" h="1024">
                    <a:moveTo>
                      <a:pt x="832" y="28"/>
                    </a:moveTo>
                    <a:lnTo>
                      <a:pt x="833" y="28"/>
                    </a:lnTo>
                    <a:lnTo>
                      <a:pt x="833" y="28"/>
                    </a:lnTo>
                    <a:lnTo>
                      <a:pt x="833" y="28"/>
                    </a:lnTo>
                    <a:lnTo>
                      <a:pt x="833" y="28"/>
                    </a:lnTo>
                    <a:lnTo>
                      <a:pt x="832" y="28"/>
                    </a:lnTo>
                    <a:close/>
                    <a:moveTo>
                      <a:pt x="32" y="26"/>
                    </a:moveTo>
                    <a:lnTo>
                      <a:pt x="31" y="28"/>
                    </a:lnTo>
                    <a:lnTo>
                      <a:pt x="31" y="28"/>
                    </a:lnTo>
                    <a:lnTo>
                      <a:pt x="32" y="26"/>
                    </a:lnTo>
                    <a:close/>
                    <a:moveTo>
                      <a:pt x="24" y="15"/>
                    </a:moveTo>
                    <a:lnTo>
                      <a:pt x="25" y="15"/>
                    </a:lnTo>
                    <a:lnTo>
                      <a:pt x="26" y="16"/>
                    </a:lnTo>
                    <a:lnTo>
                      <a:pt x="27" y="16"/>
                    </a:lnTo>
                    <a:lnTo>
                      <a:pt x="26" y="17"/>
                    </a:lnTo>
                    <a:lnTo>
                      <a:pt x="26" y="18"/>
                    </a:lnTo>
                    <a:lnTo>
                      <a:pt x="27" y="17"/>
                    </a:lnTo>
                    <a:lnTo>
                      <a:pt x="30" y="17"/>
                    </a:lnTo>
                    <a:lnTo>
                      <a:pt x="31" y="17"/>
                    </a:lnTo>
                    <a:lnTo>
                      <a:pt x="31" y="18"/>
                    </a:lnTo>
                    <a:lnTo>
                      <a:pt x="32" y="19"/>
                    </a:lnTo>
                    <a:lnTo>
                      <a:pt x="33" y="19"/>
                    </a:lnTo>
                    <a:lnTo>
                      <a:pt x="34" y="19"/>
                    </a:lnTo>
                    <a:lnTo>
                      <a:pt x="37" y="19"/>
                    </a:lnTo>
                    <a:lnTo>
                      <a:pt x="37" y="21"/>
                    </a:lnTo>
                    <a:lnTo>
                      <a:pt x="37" y="22"/>
                    </a:lnTo>
                    <a:lnTo>
                      <a:pt x="38" y="23"/>
                    </a:lnTo>
                    <a:lnTo>
                      <a:pt x="39" y="24"/>
                    </a:lnTo>
                    <a:lnTo>
                      <a:pt x="40" y="24"/>
                    </a:lnTo>
                    <a:lnTo>
                      <a:pt x="41" y="24"/>
                    </a:lnTo>
                    <a:lnTo>
                      <a:pt x="42" y="25"/>
                    </a:lnTo>
                    <a:lnTo>
                      <a:pt x="42" y="26"/>
                    </a:lnTo>
                    <a:lnTo>
                      <a:pt x="42" y="28"/>
                    </a:lnTo>
                    <a:lnTo>
                      <a:pt x="41" y="28"/>
                    </a:lnTo>
                    <a:lnTo>
                      <a:pt x="42" y="28"/>
                    </a:lnTo>
                    <a:lnTo>
                      <a:pt x="43" y="28"/>
                    </a:lnTo>
                    <a:lnTo>
                      <a:pt x="45" y="28"/>
                    </a:lnTo>
                    <a:lnTo>
                      <a:pt x="45" y="29"/>
                    </a:lnTo>
                    <a:lnTo>
                      <a:pt x="43" y="29"/>
                    </a:lnTo>
                    <a:lnTo>
                      <a:pt x="42" y="30"/>
                    </a:lnTo>
                    <a:lnTo>
                      <a:pt x="41" y="30"/>
                    </a:lnTo>
                    <a:lnTo>
                      <a:pt x="40" y="30"/>
                    </a:lnTo>
                    <a:lnTo>
                      <a:pt x="39" y="29"/>
                    </a:lnTo>
                    <a:lnTo>
                      <a:pt x="38" y="29"/>
                    </a:lnTo>
                    <a:lnTo>
                      <a:pt x="37" y="29"/>
                    </a:lnTo>
                    <a:lnTo>
                      <a:pt x="34" y="29"/>
                    </a:lnTo>
                    <a:lnTo>
                      <a:pt x="33" y="29"/>
                    </a:lnTo>
                    <a:lnTo>
                      <a:pt x="33" y="28"/>
                    </a:lnTo>
                    <a:lnTo>
                      <a:pt x="34" y="28"/>
                    </a:lnTo>
                    <a:lnTo>
                      <a:pt x="37" y="26"/>
                    </a:lnTo>
                    <a:lnTo>
                      <a:pt x="37" y="25"/>
                    </a:lnTo>
                    <a:lnTo>
                      <a:pt x="35" y="25"/>
                    </a:lnTo>
                    <a:lnTo>
                      <a:pt x="34" y="25"/>
                    </a:lnTo>
                    <a:lnTo>
                      <a:pt x="33" y="26"/>
                    </a:lnTo>
                    <a:lnTo>
                      <a:pt x="32" y="26"/>
                    </a:lnTo>
                    <a:lnTo>
                      <a:pt x="32" y="26"/>
                    </a:lnTo>
                    <a:lnTo>
                      <a:pt x="32" y="26"/>
                    </a:lnTo>
                    <a:lnTo>
                      <a:pt x="32" y="25"/>
                    </a:lnTo>
                    <a:lnTo>
                      <a:pt x="32" y="25"/>
                    </a:lnTo>
                    <a:lnTo>
                      <a:pt x="31" y="25"/>
                    </a:lnTo>
                    <a:lnTo>
                      <a:pt x="30" y="25"/>
                    </a:lnTo>
                    <a:lnTo>
                      <a:pt x="27" y="26"/>
                    </a:lnTo>
                    <a:lnTo>
                      <a:pt x="26" y="25"/>
                    </a:lnTo>
                    <a:lnTo>
                      <a:pt x="26" y="25"/>
                    </a:lnTo>
                    <a:lnTo>
                      <a:pt x="25" y="25"/>
                    </a:lnTo>
                    <a:lnTo>
                      <a:pt x="24" y="28"/>
                    </a:lnTo>
                    <a:lnTo>
                      <a:pt x="24" y="29"/>
                    </a:lnTo>
                    <a:lnTo>
                      <a:pt x="23" y="29"/>
                    </a:lnTo>
                    <a:lnTo>
                      <a:pt x="20" y="29"/>
                    </a:lnTo>
                    <a:lnTo>
                      <a:pt x="19" y="29"/>
                    </a:lnTo>
                    <a:lnTo>
                      <a:pt x="17" y="29"/>
                    </a:lnTo>
                    <a:lnTo>
                      <a:pt x="16" y="30"/>
                    </a:lnTo>
                    <a:lnTo>
                      <a:pt x="16" y="31"/>
                    </a:lnTo>
                    <a:lnTo>
                      <a:pt x="15" y="32"/>
                    </a:lnTo>
                    <a:lnTo>
                      <a:pt x="13" y="32"/>
                    </a:lnTo>
                    <a:lnTo>
                      <a:pt x="11" y="33"/>
                    </a:lnTo>
                    <a:lnTo>
                      <a:pt x="10" y="33"/>
                    </a:lnTo>
                    <a:lnTo>
                      <a:pt x="8" y="34"/>
                    </a:lnTo>
                    <a:lnTo>
                      <a:pt x="7" y="34"/>
                    </a:lnTo>
                    <a:lnTo>
                      <a:pt x="5" y="34"/>
                    </a:lnTo>
                    <a:lnTo>
                      <a:pt x="4" y="33"/>
                    </a:lnTo>
                    <a:lnTo>
                      <a:pt x="5" y="33"/>
                    </a:lnTo>
                    <a:lnTo>
                      <a:pt x="5" y="32"/>
                    </a:lnTo>
                    <a:lnTo>
                      <a:pt x="7" y="32"/>
                    </a:lnTo>
                    <a:lnTo>
                      <a:pt x="8" y="31"/>
                    </a:lnTo>
                    <a:lnTo>
                      <a:pt x="8" y="30"/>
                    </a:lnTo>
                    <a:lnTo>
                      <a:pt x="8" y="30"/>
                    </a:lnTo>
                    <a:lnTo>
                      <a:pt x="7" y="31"/>
                    </a:lnTo>
                    <a:lnTo>
                      <a:pt x="0" y="31"/>
                    </a:lnTo>
                    <a:lnTo>
                      <a:pt x="1" y="30"/>
                    </a:lnTo>
                    <a:lnTo>
                      <a:pt x="2" y="30"/>
                    </a:lnTo>
                    <a:lnTo>
                      <a:pt x="2" y="29"/>
                    </a:lnTo>
                    <a:lnTo>
                      <a:pt x="4" y="29"/>
                    </a:lnTo>
                    <a:lnTo>
                      <a:pt x="7" y="28"/>
                    </a:lnTo>
                    <a:lnTo>
                      <a:pt x="10" y="28"/>
                    </a:lnTo>
                    <a:lnTo>
                      <a:pt x="10" y="25"/>
                    </a:lnTo>
                    <a:lnTo>
                      <a:pt x="11" y="24"/>
                    </a:lnTo>
                    <a:lnTo>
                      <a:pt x="12" y="23"/>
                    </a:lnTo>
                    <a:lnTo>
                      <a:pt x="15" y="22"/>
                    </a:lnTo>
                    <a:lnTo>
                      <a:pt x="17" y="21"/>
                    </a:lnTo>
                    <a:lnTo>
                      <a:pt x="19" y="18"/>
                    </a:lnTo>
                    <a:lnTo>
                      <a:pt x="22" y="17"/>
                    </a:lnTo>
                    <a:lnTo>
                      <a:pt x="24" y="15"/>
                    </a:lnTo>
                    <a:close/>
                    <a:moveTo>
                      <a:pt x="416" y="10"/>
                    </a:moveTo>
                    <a:lnTo>
                      <a:pt x="416" y="10"/>
                    </a:lnTo>
                    <a:lnTo>
                      <a:pt x="418" y="11"/>
                    </a:lnTo>
                    <a:lnTo>
                      <a:pt x="414" y="11"/>
                    </a:lnTo>
                    <a:lnTo>
                      <a:pt x="415" y="10"/>
                    </a:lnTo>
                    <a:lnTo>
                      <a:pt x="416" y="10"/>
                    </a:lnTo>
                    <a:close/>
                    <a:moveTo>
                      <a:pt x="428" y="4"/>
                    </a:moveTo>
                    <a:lnTo>
                      <a:pt x="429" y="4"/>
                    </a:lnTo>
                    <a:lnTo>
                      <a:pt x="429" y="6"/>
                    </a:lnTo>
                    <a:lnTo>
                      <a:pt x="429" y="6"/>
                    </a:lnTo>
                    <a:lnTo>
                      <a:pt x="430" y="7"/>
                    </a:lnTo>
                    <a:lnTo>
                      <a:pt x="431" y="7"/>
                    </a:lnTo>
                    <a:lnTo>
                      <a:pt x="431" y="8"/>
                    </a:lnTo>
                    <a:lnTo>
                      <a:pt x="433" y="8"/>
                    </a:lnTo>
                    <a:lnTo>
                      <a:pt x="434" y="8"/>
                    </a:lnTo>
                    <a:lnTo>
                      <a:pt x="434" y="10"/>
                    </a:lnTo>
                    <a:lnTo>
                      <a:pt x="430" y="10"/>
                    </a:lnTo>
                    <a:lnTo>
                      <a:pt x="431" y="10"/>
                    </a:lnTo>
                    <a:lnTo>
                      <a:pt x="431" y="10"/>
                    </a:lnTo>
                    <a:lnTo>
                      <a:pt x="433" y="11"/>
                    </a:lnTo>
                    <a:lnTo>
                      <a:pt x="434" y="11"/>
                    </a:lnTo>
                    <a:lnTo>
                      <a:pt x="434" y="11"/>
                    </a:lnTo>
                    <a:lnTo>
                      <a:pt x="433" y="13"/>
                    </a:lnTo>
                    <a:lnTo>
                      <a:pt x="433" y="13"/>
                    </a:lnTo>
                    <a:lnTo>
                      <a:pt x="434" y="14"/>
                    </a:lnTo>
                    <a:lnTo>
                      <a:pt x="434" y="13"/>
                    </a:lnTo>
                    <a:lnTo>
                      <a:pt x="434" y="11"/>
                    </a:lnTo>
                    <a:lnTo>
                      <a:pt x="435" y="11"/>
                    </a:lnTo>
                    <a:lnTo>
                      <a:pt x="435" y="11"/>
                    </a:lnTo>
                    <a:lnTo>
                      <a:pt x="435" y="11"/>
                    </a:lnTo>
                    <a:lnTo>
                      <a:pt x="435" y="10"/>
                    </a:lnTo>
                    <a:lnTo>
                      <a:pt x="436" y="10"/>
                    </a:lnTo>
                    <a:lnTo>
                      <a:pt x="437" y="10"/>
                    </a:lnTo>
                    <a:lnTo>
                      <a:pt x="437" y="11"/>
                    </a:lnTo>
                    <a:lnTo>
                      <a:pt x="438" y="11"/>
                    </a:lnTo>
                    <a:lnTo>
                      <a:pt x="438" y="11"/>
                    </a:lnTo>
                    <a:lnTo>
                      <a:pt x="438" y="10"/>
                    </a:lnTo>
                    <a:lnTo>
                      <a:pt x="438" y="8"/>
                    </a:lnTo>
                    <a:lnTo>
                      <a:pt x="439" y="7"/>
                    </a:lnTo>
                    <a:lnTo>
                      <a:pt x="441" y="7"/>
                    </a:lnTo>
                    <a:lnTo>
                      <a:pt x="442" y="7"/>
                    </a:lnTo>
                    <a:lnTo>
                      <a:pt x="442" y="8"/>
                    </a:lnTo>
                    <a:lnTo>
                      <a:pt x="442" y="8"/>
                    </a:lnTo>
                    <a:lnTo>
                      <a:pt x="442" y="9"/>
                    </a:lnTo>
                    <a:lnTo>
                      <a:pt x="443" y="9"/>
                    </a:lnTo>
                    <a:lnTo>
                      <a:pt x="444" y="10"/>
                    </a:lnTo>
                    <a:lnTo>
                      <a:pt x="444" y="9"/>
                    </a:lnTo>
                    <a:lnTo>
                      <a:pt x="444" y="8"/>
                    </a:lnTo>
                    <a:lnTo>
                      <a:pt x="444" y="8"/>
                    </a:lnTo>
                    <a:lnTo>
                      <a:pt x="444" y="8"/>
                    </a:lnTo>
                    <a:lnTo>
                      <a:pt x="445" y="8"/>
                    </a:lnTo>
                    <a:lnTo>
                      <a:pt x="446" y="7"/>
                    </a:lnTo>
                    <a:lnTo>
                      <a:pt x="448" y="7"/>
                    </a:lnTo>
                    <a:lnTo>
                      <a:pt x="448" y="7"/>
                    </a:lnTo>
                    <a:lnTo>
                      <a:pt x="449" y="7"/>
                    </a:lnTo>
                    <a:lnTo>
                      <a:pt x="449" y="8"/>
                    </a:lnTo>
                    <a:lnTo>
                      <a:pt x="450" y="8"/>
                    </a:lnTo>
                    <a:lnTo>
                      <a:pt x="451" y="8"/>
                    </a:lnTo>
                    <a:lnTo>
                      <a:pt x="451" y="8"/>
                    </a:lnTo>
                    <a:lnTo>
                      <a:pt x="451" y="9"/>
                    </a:lnTo>
                    <a:lnTo>
                      <a:pt x="452" y="9"/>
                    </a:lnTo>
                    <a:lnTo>
                      <a:pt x="452" y="10"/>
                    </a:lnTo>
                    <a:lnTo>
                      <a:pt x="453" y="9"/>
                    </a:lnTo>
                    <a:lnTo>
                      <a:pt x="453" y="9"/>
                    </a:lnTo>
                    <a:lnTo>
                      <a:pt x="452" y="8"/>
                    </a:lnTo>
                    <a:lnTo>
                      <a:pt x="451" y="8"/>
                    </a:lnTo>
                    <a:lnTo>
                      <a:pt x="452" y="7"/>
                    </a:lnTo>
                    <a:lnTo>
                      <a:pt x="453" y="7"/>
                    </a:lnTo>
                    <a:lnTo>
                      <a:pt x="454" y="8"/>
                    </a:lnTo>
                    <a:lnTo>
                      <a:pt x="456" y="8"/>
                    </a:lnTo>
                    <a:lnTo>
                      <a:pt x="457" y="8"/>
                    </a:lnTo>
                    <a:lnTo>
                      <a:pt x="458" y="7"/>
                    </a:lnTo>
                    <a:lnTo>
                      <a:pt x="458" y="7"/>
                    </a:lnTo>
                    <a:lnTo>
                      <a:pt x="458" y="7"/>
                    </a:lnTo>
                    <a:lnTo>
                      <a:pt x="461" y="7"/>
                    </a:lnTo>
                    <a:lnTo>
                      <a:pt x="461" y="4"/>
                    </a:lnTo>
                    <a:lnTo>
                      <a:pt x="466" y="4"/>
                    </a:lnTo>
                    <a:lnTo>
                      <a:pt x="466" y="7"/>
                    </a:lnTo>
                    <a:lnTo>
                      <a:pt x="468" y="7"/>
                    </a:lnTo>
                    <a:lnTo>
                      <a:pt x="471" y="4"/>
                    </a:lnTo>
                    <a:lnTo>
                      <a:pt x="472" y="4"/>
                    </a:lnTo>
                    <a:lnTo>
                      <a:pt x="474" y="4"/>
                    </a:lnTo>
                    <a:lnTo>
                      <a:pt x="472" y="6"/>
                    </a:lnTo>
                    <a:lnTo>
                      <a:pt x="472" y="6"/>
                    </a:lnTo>
                    <a:lnTo>
                      <a:pt x="471" y="6"/>
                    </a:lnTo>
                    <a:lnTo>
                      <a:pt x="472" y="7"/>
                    </a:lnTo>
                    <a:lnTo>
                      <a:pt x="473" y="7"/>
                    </a:lnTo>
                    <a:lnTo>
                      <a:pt x="473" y="8"/>
                    </a:lnTo>
                    <a:lnTo>
                      <a:pt x="472" y="8"/>
                    </a:lnTo>
                    <a:lnTo>
                      <a:pt x="472" y="8"/>
                    </a:lnTo>
                    <a:lnTo>
                      <a:pt x="474" y="8"/>
                    </a:lnTo>
                    <a:lnTo>
                      <a:pt x="474" y="8"/>
                    </a:lnTo>
                    <a:lnTo>
                      <a:pt x="474" y="9"/>
                    </a:lnTo>
                    <a:lnTo>
                      <a:pt x="474" y="9"/>
                    </a:lnTo>
                    <a:lnTo>
                      <a:pt x="475" y="10"/>
                    </a:lnTo>
                    <a:lnTo>
                      <a:pt x="478" y="10"/>
                    </a:lnTo>
                    <a:lnTo>
                      <a:pt x="478" y="10"/>
                    </a:lnTo>
                    <a:lnTo>
                      <a:pt x="478" y="10"/>
                    </a:lnTo>
                    <a:lnTo>
                      <a:pt x="476" y="11"/>
                    </a:lnTo>
                    <a:lnTo>
                      <a:pt x="475" y="11"/>
                    </a:lnTo>
                    <a:lnTo>
                      <a:pt x="479" y="11"/>
                    </a:lnTo>
                    <a:lnTo>
                      <a:pt x="479" y="14"/>
                    </a:lnTo>
                    <a:lnTo>
                      <a:pt x="478" y="14"/>
                    </a:lnTo>
                    <a:lnTo>
                      <a:pt x="478" y="14"/>
                    </a:lnTo>
                    <a:lnTo>
                      <a:pt x="476" y="14"/>
                    </a:lnTo>
                    <a:lnTo>
                      <a:pt x="476" y="14"/>
                    </a:lnTo>
                    <a:lnTo>
                      <a:pt x="475" y="15"/>
                    </a:lnTo>
                    <a:lnTo>
                      <a:pt x="474" y="15"/>
                    </a:lnTo>
                    <a:lnTo>
                      <a:pt x="473" y="15"/>
                    </a:lnTo>
                    <a:lnTo>
                      <a:pt x="473" y="16"/>
                    </a:lnTo>
                    <a:lnTo>
                      <a:pt x="473" y="16"/>
                    </a:lnTo>
                    <a:lnTo>
                      <a:pt x="474" y="17"/>
                    </a:lnTo>
                    <a:lnTo>
                      <a:pt x="472" y="17"/>
                    </a:lnTo>
                    <a:lnTo>
                      <a:pt x="472" y="17"/>
                    </a:lnTo>
                    <a:lnTo>
                      <a:pt x="471" y="17"/>
                    </a:lnTo>
                    <a:lnTo>
                      <a:pt x="471" y="17"/>
                    </a:lnTo>
                    <a:lnTo>
                      <a:pt x="471" y="18"/>
                    </a:lnTo>
                    <a:lnTo>
                      <a:pt x="465" y="18"/>
                    </a:lnTo>
                    <a:lnTo>
                      <a:pt x="464" y="19"/>
                    </a:lnTo>
                    <a:lnTo>
                      <a:pt x="461" y="21"/>
                    </a:lnTo>
                    <a:lnTo>
                      <a:pt x="461" y="21"/>
                    </a:lnTo>
                    <a:lnTo>
                      <a:pt x="459" y="21"/>
                    </a:lnTo>
                    <a:lnTo>
                      <a:pt x="459" y="21"/>
                    </a:lnTo>
                    <a:lnTo>
                      <a:pt x="459" y="22"/>
                    </a:lnTo>
                    <a:lnTo>
                      <a:pt x="458" y="22"/>
                    </a:lnTo>
                    <a:lnTo>
                      <a:pt x="458" y="22"/>
                    </a:lnTo>
                    <a:lnTo>
                      <a:pt x="452" y="22"/>
                    </a:lnTo>
                    <a:lnTo>
                      <a:pt x="451" y="22"/>
                    </a:lnTo>
                    <a:lnTo>
                      <a:pt x="450" y="23"/>
                    </a:lnTo>
                    <a:lnTo>
                      <a:pt x="449" y="24"/>
                    </a:lnTo>
                    <a:lnTo>
                      <a:pt x="448" y="24"/>
                    </a:lnTo>
                    <a:lnTo>
                      <a:pt x="445" y="24"/>
                    </a:lnTo>
                    <a:lnTo>
                      <a:pt x="444" y="25"/>
                    </a:lnTo>
                    <a:lnTo>
                      <a:pt x="443" y="25"/>
                    </a:lnTo>
                    <a:lnTo>
                      <a:pt x="441" y="24"/>
                    </a:lnTo>
                    <a:lnTo>
                      <a:pt x="439" y="24"/>
                    </a:lnTo>
                    <a:lnTo>
                      <a:pt x="437" y="24"/>
                    </a:lnTo>
                    <a:lnTo>
                      <a:pt x="435" y="23"/>
                    </a:lnTo>
                    <a:lnTo>
                      <a:pt x="434" y="23"/>
                    </a:lnTo>
                    <a:lnTo>
                      <a:pt x="433" y="23"/>
                    </a:lnTo>
                    <a:lnTo>
                      <a:pt x="430" y="22"/>
                    </a:lnTo>
                    <a:lnTo>
                      <a:pt x="428" y="22"/>
                    </a:lnTo>
                    <a:lnTo>
                      <a:pt x="421" y="22"/>
                    </a:lnTo>
                    <a:lnTo>
                      <a:pt x="422" y="21"/>
                    </a:lnTo>
                    <a:lnTo>
                      <a:pt x="424" y="21"/>
                    </a:lnTo>
                    <a:lnTo>
                      <a:pt x="426" y="19"/>
                    </a:lnTo>
                    <a:lnTo>
                      <a:pt x="427" y="18"/>
                    </a:lnTo>
                    <a:lnTo>
                      <a:pt x="426" y="17"/>
                    </a:lnTo>
                    <a:lnTo>
                      <a:pt x="424" y="17"/>
                    </a:lnTo>
                    <a:lnTo>
                      <a:pt x="424" y="17"/>
                    </a:lnTo>
                    <a:lnTo>
                      <a:pt x="423" y="16"/>
                    </a:lnTo>
                    <a:lnTo>
                      <a:pt x="421" y="16"/>
                    </a:lnTo>
                    <a:lnTo>
                      <a:pt x="419" y="16"/>
                    </a:lnTo>
                    <a:lnTo>
                      <a:pt x="418" y="17"/>
                    </a:lnTo>
                    <a:lnTo>
                      <a:pt x="416" y="17"/>
                    </a:lnTo>
                    <a:lnTo>
                      <a:pt x="416" y="15"/>
                    </a:lnTo>
                    <a:lnTo>
                      <a:pt x="423" y="15"/>
                    </a:lnTo>
                    <a:lnTo>
                      <a:pt x="424" y="15"/>
                    </a:lnTo>
                    <a:lnTo>
                      <a:pt x="426" y="15"/>
                    </a:lnTo>
                    <a:lnTo>
                      <a:pt x="428" y="14"/>
                    </a:lnTo>
                    <a:lnTo>
                      <a:pt x="428" y="14"/>
                    </a:lnTo>
                    <a:lnTo>
                      <a:pt x="428" y="14"/>
                    </a:lnTo>
                    <a:lnTo>
                      <a:pt x="429" y="14"/>
                    </a:lnTo>
                    <a:lnTo>
                      <a:pt x="428" y="14"/>
                    </a:lnTo>
                    <a:lnTo>
                      <a:pt x="428" y="14"/>
                    </a:lnTo>
                    <a:lnTo>
                      <a:pt x="428" y="14"/>
                    </a:lnTo>
                    <a:lnTo>
                      <a:pt x="427" y="14"/>
                    </a:lnTo>
                    <a:lnTo>
                      <a:pt x="427" y="14"/>
                    </a:lnTo>
                    <a:lnTo>
                      <a:pt x="424" y="14"/>
                    </a:lnTo>
                    <a:lnTo>
                      <a:pt x="426" y="13"/>
                    </a:lnTo>
                    <a:lnTo>
                      <a:pt x="427" y="13"/>
                    </a:lnTo>
                    <a:lnTo>
                      <a:pt x="428" y="11"/>
                    </a:lnTo>
                    <a:lnTo>
                      <a:pt x="430" y="11"/>
                    </a:lnTo>
                    <a:lnTo>
                      <a:pt x="418" y="11"/>
                    </a:lnTo>
                    <a:lnTo>
                      <a:pt x="418" y="10"/>
                    </a:lnTo>
                    <a:lnTo>
                      <a:pt x="421" y="10"/>
                    </a:lnTo>
                    <a:lnTo>
                      <a:pt x="420" y="9"/>
                    </a:lnTo>
                    <a:lnTo>
                      <a:pt x="420" y="9"/>
                    </a:lnTo>
                    <a:lnTo>
                      <a:pt x="420" y="8"/>
                    </a:lnTo>
                    <a:lnTo>
                      <a:pt x="421" y="8"/>
                    </a:lnTo>
                    <a:lnTo>
                      <a:pt x="421" y="7"/>
                    </a:lnTo>
                    <a:lnTo>
                      <a:pt x="422" y="7"/>
                    </a:lnTo>
                    <a:lnTo>
                      <a:pt x="422" y="7"/>
                    </a:lnTo>
                    <a:lnTo>
                      <a:pt x="423" y="7"/>
                    </a:lnTo>
                    <a:lnTo>
                      <a:pt x="424" y="7"/>
                    </a:lnTo>
                    <a:lnTo>
                      <a:pt x="426" y="8"/>
                    </a:lnTo>
                    <a:lnTo>
                      <a:pt x="426" y="9"/>
                    </a:lnTo>
                    <a:lnTo>
                      <a:pt x="427" y="10"/>
                    </a:lnTo>
                    <a:lnTo>
                      <a:pt x="428" y="9"/>
                    </a:lnTo>
                    <a:lnTo>
                      <a:pt x="428" y="8"/>
                    </a:lnTo>
                    <a:lnTo>
                      <a:pt x="428" y="8"/>
                    </a:lnTo>
                    <a:lnTo>
                      <a:pt x="427" y="8"/>
                    </a:lnTo>
                    <a:lnTo>
                      <a:pt x="427" y="7"/>
                    </a:lnTo>
                    <a:lnTo>
                      <a:pt x="424" y="7"/>
                    </a:lnTo>
                    <a:lnTo>
                      <a:pt x="424" y="6"/>
                    </a:lnTo>
                    <a:lnTo>
                      <a:pt x="426" y="4"/>
                    </a:lnTo>
                    <a:lnTo>
                      <a:pt x="427" y="4"/>
                    </a:lnTo>
                    <a:lnTo>
                      <a:pt x="428" y="4"/>
                    </a:lnTo>
                    <a:close/>
                    <a:moveTo>
                      <a:pt x="689" y="0"/>
                    </a:moveTo>
                    <a:lnTo>
                      <a:pt x="690" y="0"/>
                    </a:lnTo>
                    <a:lnTo>
                      <a:pt x="690" y="0"/>
                    </a:lnTo>
                    <a:lnTo>
                      <a:pt x="691" y="1"/>
                    </a:lnTo>
                    <a:lnTo>
                      <a:pt x="692" y="1"/>
                    </a:lnTo>
                    <a:lnTo>
                      <a:pt x="693" y="1"/>
                    </a:lnTo>
                    <a:lnTo>
                      <a:pt x="693" y="1"/>
                    </a:lnTo>
                    <a:lnTo>
                      <a:pt x="692" y="2"/>
                    </a:lnTo>
                    <a:lnTo>
                      <a:pt x="692" y="3"/>
                    </a:lnTo>
                    <a:lnTo>
                      <a:pt x="691" y="4"/>
                    </a:lnTo>
                    <a:lnTo>
                      <a:pt x="691" y="6"/>
                    </a:lnTo>
                    <a:lnTo>
                      <a:pt x="691" y="7"/>
                    </a:lnTo>
                    <a:lnTo>
                      <a:pt x="692" y="7"/>
                    </a:lnTo>
                    <a:lnTo>
                      <a:pt x="695" y="4"/>
                    </a:lnTo>
                    <a:lnTo>
                      <a:pt x="696" y="3"/>
                    </a:lnTo>
                    <a:lnTo>
                      <a:pt x="696" y="2"/>
                    </a:lnTo>
                    <a:lnTo>
                      <a:pt x="697" y="1"/>
                    </a:lnTo>
                    <a:lnTo>
                      <a:pt x="697" y="1"/>
                    </a:lnTo>
                    <a:lnTo>
                      <a:pt x="697" y="2"/>
                    </a:lnTo>
                    <a:lnTo>
                      <a:pt x="697" y="3"/>
                    </a:lnTo>
                    <a:lnTo>
                      <a:pt x="697" y="4"/>
                    </a:lnTo>
                    <a:lnTo>
                      <a:pt x="697" y="4"/>
                    </a:lnTo>
                    <a:lnTo>
                      <a:pt x="697" y="4"/>
                    </a:lnTo>
                    <a:lnTo>
                      <a:pt x="698" y="4"/>
                    </a:lnTo>
                    <a:lnTo>
                      <a:pt x="699" y="3"/>
                    </a:lnTo>
                    <a:lnTo>
                      <a:pt x="699" y="2"/>
                    </a:lnTo>
                    <a:lnTo>
                      <a:pt x="699" y="1"/>
                    </a:lnTo>
                    <a:lnTo>
                      <a:pt x="700" y="1"/>
                    </a:lnTo>
                    <a:lnTo>
                      <a:pt x="702" y="2"/>
                    </a:lnTo>
                    <a:lnTo>
                      <a:pt x="703" y="3"/>
                    </a:lnTo>
                    <a:lnTo>
                      <a:pt x="703" y="4"/>
                    </a:lnTo>
                    <a:lnTo>
                      <a:pt x="703" y="4"/>
                    </a:lnTo>
                    <a:lnTo>
                      <a:pt x="702" y="4"/>
                    </a:lnTo>
                    <a:lnTo>
                      <a:pt x="703" y="4"/>
                    </a:lnTo>
                    <a:lnTo>
                      <a:pt x="704" y="4"/>
                    </a:lnTo>
                    <a:lnTo>
                      <a:pt x="704" y="6"/>
                    </a:lnTo>
                    <a:lnTo>
                      <a:pt x="704" y="6"/>
                    </a:lnTo>
                    <a:lnTo>
                      <a:pt x="704" y="4"/>
                    </a:lnTo>
                    <a:lnTo>
                      <a:pt x="706" y="3"/>
                    </a:lnTo>
                    <a:lnTo>
                      <a:pt x="707" y="3"/>
                    </a:lnTo>
                    <a:lnTo>
                      <a:pt x="707" y="3"/>
                    </a:lnTo>
                    <a:lnTo>
                      <a:pt x="708" y="4"/>
                    </a:lnTo>
                    <a:lnTo>
                      <a:pt x="708" y="4"/>
                    </a:lnTo>
                    <a:lnTo>
                      <a:pt x="710" y="4"/>
                    </a:lnTo>
                    <a:lnTo>
                      <a:pt x="711" y="4"/>
                    </a:lnTo>
                    <a:lnTo>
                      <a:pt x="712" y="4"/>
                    </a:lnTo>
                    <a:lnTo>
                      <a:pt x="713" y="6"/>
                    </a:lnTo>
                    <a:lnTo>
                      <a:pt x="715" y="8"/>
                    </a:lnTo>
                    <a:lnTo>
                      <a:pt x="715" y="9"/>
                    </a:lnTo>
                    <a:lnTo>
                      <a:pt x="714" y="9"/>
                    </a:lnTo>
                    <a:lnTo>
                      <a:pt x="713" y="9"/>
                    </a:lnTo>
                    <a:lnTo>
                      <a:pt x="711" y="8"/>
                    </a:lnTo>
                    <a:lnTo>
                      <a:pt x="710" y="8"/>
                    </a:lnTo>
                    <a:lnTo>
                      <a:pt x="707" y="8"/>
                    </a:lnTo>
                    <a:lnTo>
                      <a:pt x="710" y="8"/>
                    </a:lnTo>
                    <a:lnTo>
                      <a:pt x="711" y="9"/>
                    </a:lnTo>
                    <a:lnTo>
                      <a:pt x="713" y="9"/>
                    </a:lnTo>
                    <a:lnTo>
                      <a:pt x="715" y="10"/>
                    </a:lnTo>
                    <a:lnTo>
                      <a:pt x="717" y="9"/>
                    </a:lnTo>
                    <a:lnTo>
                      <a:pt x="718" y="9"/>
                    </a:lnTo>
                    <a:lnTo>
                      <a:pt x="719" y="10"/>
                    </a:lnTo>
                    <a:lnTo>
                      <a:pt x="720" y="10"/>
                    </a:lnTo>
                    <a:lnTo>
                      <a:pt x="720" y="11"/>
                    </a:lnTo>
                    <a:lnTo>
                      <a:pt x="720" y="10"/>
                    </a:lnTo>
                    <a:lnTo>
                      <a:pt x="720" y="10"/>
                    </a:lnTo>
                    <a:lnTo>
                      <a:pt x="720" y="9"/>
                    </a:lnTo>
                    <a:lnTo>
                      <a:pt x="721" y="9"/>
                    </a:lnTo>
                    <a:lnTo>
                      <a:pt x="722" y="9"/>
                    </a:lnTo>
                    <a:lnTo>
                      <a:pt x="725" y="10"/>
                    </a:lnTo>
                    <a:lnTo>
                      <a:pt x="726" y="10"/>
                    </a:lnTo>
                    <a:lnTo>
                      <a:pt x="727" y="11"/>
                    </a:lnTo>
                    <a:lnTo>
                      <a:pt x="727" y="11"/>
                    </a:lnTo>
                    <a:lnTo>
                      <a:pt x="726" y="11"/>
                    </a:lnTo>
                    <a:lnTo>
                      <a:pt x="723" y="10"/>
                    </a:lnTo>
                    <a:lnTo>
                      <a:pt x="722" y="10"/>
                    </a:lnTo>
                    <a:lnTo>
                      <a:pt x="721" y="11"/>
                    </a:lnTo>
                    <a:lnTo>
                      <a:pt x="722" y="11"/>
                    </a:lnTo>
                    <a:lnTo>
                      <a:pt x="723" y="11"/>
                    </a:lnTo>
                    <a:lnTo>
                      <a:pt x="726" y="13"/>
                    </a:lnTo>
                    <a:lnTo>
                      <a:pt x="727" y="13"/>
                    </a:lnTo>
                    <a:lnTo>
                      <a:pt x="729" y="14"/>
                    </a:lnTo>
                    <a:lnTo>
                      <a:pt x="729" y="13"/>
                    </a:lnTo>
                    <a:lnTo>
                      <a:pt x="729" y="13"/>
                    </a:lnTo>
                    <a:lnTo>
                      <a:pt x="730" y="13"/>
                    </a:lnTo>
                    <a:lnTo>
                      <a:pt x="730" y="14"/>
                    </a:lnTo>
                    <a:lnTo>
                      <a:pt x="732" y="13"/>
                    </a:lnTo>
                    <a:lnTo>
                      <a:pt x="733" y="13"/>
                    </a:lnTo>
                    <a:lnTo>
                      <a:pt x="735" y="13"/>
                    </a:lnTo>
                    <a:lnTo>
                      <a:pt x="736" y="13"/>
                    </a:lnTo>
                    <a:lnTo>
                      <a:pt x="740" y="11"/>
                    </a:lnTo>
                    <a:lnTo>
                      <a:pt x="742" y="11"/>
                    </a:lnTo>
                    <a:lnTo>
                      <a:pt x="744" y="13"/>
                    </a:lnTo>
                    <a:lnTo>
                      <a:pt x="748" y="14"/>
                    </a:lnTo>
                    <a:lnTo>
                      <a:pt x="750" y="15"/>
                    </a:lnTo>
                    <a:lnTo>
                      <a:pt x="752" y="15"/>
                    </a:lnTo>
                    <a:lnTo>
                      <a:pt x="755" y="15"/>
                    </a:lnTo>
                    <a:lnTo>
                      <a:pt x="756" y="15"/>
                    </a:lnTo>
                    <a:lnTo>
                      <a:pt x="758" y="16"/>
                    </a:lnTo>
                    <a:lnTo>
                      <a:pt x="760" y="17"/>
                    </a:lnTo>
                    <a:lnTo>
                      <a:pt x="764" y="18"/>
                    </a:lnTo>
                    <a:lnTo>
                      <a:pt x="766" y="18"/>
                    </a:lnTo>
                    <a:lnTo>
                      <a:pt x="768" y="18"/>
                    </a:lnTo>
                    <a:lnTo>
                      <a:pt x="771" y="18"/>
                    </a:lnTo>
                    <a:lnTo>
                      <a:pt x="774" y="18"/>
                    </a:lnTo>
                    <a:lnTo>
                      <a:pt x="777" y="19"/>
                    </a:lnTo>
                    <a:lnTo>
                      <a:pt x="779" y="21"/>
                    </a:lnTo>
                    <a:lnTo>
                      <a:pt x="781" y="22"/>
                    </a:lnTo>
                    <a:lnTo>
                      <a:pt x="784" y="22"/>
                    </a:lnTo>
                    <a:lnTo>
                      <a:pt x="784" y="22"/>
                    </a:lnTo>
                    <a:lnTo>
                      <a:pt x="785" y="23"/>
                    </a:lnTo>
                    <a:lnTo>
                      <a:pt x="786" y="23"/>
                    </a:lnTo>
                    <a:lnTo>
                      <a:pt x="787" y="24"/>
                    </a:lnTo>
                    <a:lnTo>
                      <a:pt x="787" y="24"/>
                    </a:lnTo>
                    <a:lnTo>
                      <a:pt x="788" y="24"/>
                    </a:lnTo>
                    <a:lnTo>
                      <a:pt x="789" y="25"/>
                    </a:lnTo>
                    <a:lnTo>
                      <a:pt x="790" y="26"/>
                    </a:lnTo>
                    <a:lnTo>
                      <a:pt x="790" y="26"/>
                    </a:lnTo>
                    <a:lnTo>
                      <a:pt x="790" y="28"/>
                    </a:lnTo>
                    <a:lnTo>
                      <a:pt x="790" y="29"/>
                    </a:lnTo>
                    <a:lnTo>
                      <a:pt x="790" y="29"/>
                    </a:lnTo>
                    <a:lnTo>
                      <a:pt x="790" y="29"/>
                    </a:lnTo>
                    <a:lnTo>
                      <a:pt x="790" y="29"/>
                    </a:lnTo>
                    <a:lnTo>
                      <a:pt x="789" y="29"/>
                    </a:lnTo>
                    <a:lnTo>
                      <a:pt x="788" y="30"/>
                    </a:lnTo>
                    <a:lnTo>
                      <a:pt x="787" y="31"/>
                    </a:lnTo>
                    <a:lnTo>
                      <a:pt x="786" y="33"/>
                    </a:lnTo>
                    <a:lnTo>
                      <a:pt x="784" y="34"/>
                    </a:lnTo>
                    <a:lnTo>
                      <a:pt x="781" y="33"/>
                    </a:lnTo>
                    <a:lnTo>
                      <a:pt x="779" y="33"/>
                    </a:lnTo>
                    <a:lnTo>
                      <a:pt x="773" y="32"/>
                    </a:lnTo>
                    <a:lnTo>
                      <a:pt x="764" y="31"/>
                    </a:lnTo>
                    <a:lnTo>
                      <a:pt x="758" y="30"/>
                    </a:lnTo>
                    <a:lnTo>
                      <a:pt x="755" y="29"/>
                    </a:lnTo>
                    <a:lnTo>
                      <a:pt x="751" y="29"/>
                    </a:lnTo>
                    <a:lnTo>
                      <a:pt x="750" y="28"/>
                    </a:lnTo>
                    <a:lnTo>
                      <a:pt x="749" y="28"/>
                    </a:lnTo>
                    <a:lnTo>
                      <a:pt x="748" y="26"/>
                    </a:lnTo>
                    <a:lnTo>
                      <a:pt x="748" y="26"/>
                    </a:lnTo>
                    <a:lnTo>
                      <a:pt x="748" y="26"/>
                    </a:lnTo>
                    <a:lnTo>
                      <a:pt x="747" y="28"/>
                    </a:lnTo>
                    <a:lnTo>
                      <a:pt x="745" y="28"/>
                    </a:lnTo>
                    <a:lnTo>
                      <a:pt x="744" y="28"/>
                    </a:lnTo>
                    <a:lnTo>
                      <a:pt x="744" y="26"/>
                    </a:lnTo>
                    <a:lnTo>
                      <a:pt x="743" y="26"/>
                    </a:lnTo>
                    <a:lnTo>
                      <a:pt x="743" y="28"/>
                    </a:lnTo>
                    <a:lnTo>
                      <a:pt x="742" y="26"/>
                    </a:lnTo>
                    <a:lnTo>
                      <a:pt x="742" y="26"/>
                    </a:lnTo>
                    <a:lnTo>
                      <a:pt x="742" y="26"/>
                    </a:lnTo>
                    <a:lnTo>
                      <a:pt x="741" y="25"/>
                    </a:lnTo>
                    <a:lnTo>
                      <a:pt x="740" y="25"/>
                    </a:lnTo>
                    <a:lnTo>
                      <a:pt x="740" y="26"/>
                    </a:lnTo>
                    <a:lnTo>
                      <a:pt x="738" y="26"/>
                    </a:lnTo>
                    <a:lnTo>
                      <a:pt x="737" y="25"/>
                    </a:lnTo>
                    <a:lnTo>
                      <a:pt x="736" y="25"/>
                    </a:lnTo>
                    <a:lnTo>
                      <a:pt x="734" y="25"/>
                    </a:lnTo>
                    <a:lnTo>
                      <a:pt x="733" y="25"/>
                    </a:lnTo>
                    <a:lnTo>
                      <a:pt x="733" y="24"/>
                    </a:lnTo>
                    <a:lnTo>
                      <a:pt x="733" y="25"/>
                    </a:lnTo>
                    <a:lnTo>
                      <a:pt x="733" y="26"/>
                    </a:lnTo>
                    <a:lnTo>
                      <a:pt x="735" y="26"/>
                    </a:lnTo>
                    <a:lnTo>
                      <a:pt x="737" y="28"/>
                    </a:lnTo>
                    <a:lnTo>
                      <a:pt x="738" y="28"/>
                    </a:lnTo>
                    <a:lnTo>
                      <a:pt x="740" y="28"/>
                    </a:lnTo>
                    <a:lnTo>
                      <a:pt x="740" y="28"/>
                    </a:lnTo>
                    <a:lnTo>
                      <a:pt x="738" y="28"/>
                    </a:lnTo>
                    <a:lnTo>
                      <a:pt x="738" y="28"/>
                    </a:lnTo>
                    <a:lnTo>
                      <a:pt x="740" y="28"/>
                    </a:lnTo>
                    <a:lnTo>
                      <a:pt x="741" y="29"/>
                    </a:lnTo>
                    <a:lnTo>
                      <a:pt x="743" y="30"/>
                    </a:lnTo>
                    <a:lnTo>
                      <a:pt x="743" y="30"/>
                    </a:lnTo>
                    <a:lnTo>
                      <a:pt x="743" y="30"/>
                    </a:lnTo>
                    <a:lnTo>
                      <a:pt x="743" y="30"/>
                    </a:lnTo>
                    <a:lnTo>
                      <a:pt x="742" y="30"/>
                    </a:lnTo>
                    <a:lnTo>
                      <a:pt x="743" y="30"/>
                    </a:lnTo>
                    <a:lnTo>
                      <a:pt x="744" y="31"/>
                    </a:lnTo>
                    <a:lnTo>
                      <a:pt x="747" y="31"/>
                    </a:lnTo>
                    <a:lnTo>
                      <a:pt x="748" y="31"/>
                    </a:lnTo>
                    <a:lnTo>
                      <a:pt x="749" y="31"/>
                    </a:lnTo>
                    <a:lnTo>
                      <a:pt x="750" y="32"/>
                    </a:lnTo>
                    <a:lnTo>
                      <a:pt x="751" y="32"/>
                    </a:lnTo>
                    <a:lnTo>
                      <a:pt x="752" y="33"/>
                    </a:lnTo>
                    <a:lnTo>
                      <a:pt x="753" y="33"/>
                    </a:lnTo>
                    <a:lnTo>
                      <a:pt x="755" y="33"/>
                    </a:lnTo>
                    <a:lnTo>
                      <a:pt x="755" y="34"/>
                    </a:lnTo>
                    <a:lnTo>
                      <a:pt x="755" y="36"/>
                    </a:lnTo>
                    <a:lnTo>
                      <a:pt x="755" y="36"/>
                    </a:lnTo>
                    <a:lnTo>
                      <a:pt x="755" y="36"/>
                    </a:lnTo>
                    <a:lnTo>
                      <a:pt x="755" y="36"/>
                    </a:lnTo>
                    <a:lnTo>
                      <a:pt x="755" y="37"/>
                    </a:lnTo>
                    <a:lnTo>
                      <a:pt x="755" y="37"/>
                    </a:lnTo>
                    <a:lnTo>
                      <a:pt x="755" y="38"/>
                    </a:lnTo>
                    <a:lnTo>
                      <a:pt x="757" y="38"/>
                    </a:lnTo>
                    <a:lnTo>
                      <a:pt x="757" y="38"/>
                    </a:lnTo>
                    <a:lnTo>
                      <a:pt x="757" y="39"/>
                    </a:lnTo>
                    <a:lnTo>
                      <a:pt x="757" y="39"/>
                    </a:lnTo>
                    <a:lnTo>
                      <a:pt x="757" y="40"/>
                    </a:lnTo>
                    <a:lnTo>
                      <a:pt x="758" y="41"/>
                    </a:lnTo>
                    <a:lnTo>
                      <a:pt x="759" y="41"/>
                    </a:lnTo>
                    <a:lnTo>
                      <a:pt x="758" y="41"/>
                    </a:lnTo>
                    <a:lnTo>
                      <a:pt x="758" y="41"/>
                    </a:lnTo>
                    <a:lnTo>
                      <a:pt x="757" y="41"/>
                    </a:lnTo>
                    <a:lnTo>
                      <a:pt x="757" y="43"/>
                    </a:lnTo>
                    <a:lnTo>
                      <a:pt x="758" y="43"/>
                    </a:lnTo>
                    <a:lnTo>
                      <a:pt x="760" y="43"/>
                    </a:lnTo>
                    <a:lnTo>
                      <a:pt x="763" y="43"/>
                    </a:lnTo>
                    <a:lnTo>
                      <a:pt x="765" y="44"/>
                    </a:lnTo>
                    <a:lnTo>
                      <a:pt x="767" y="45"/>
                    </a:lnTo>
                    <a:lnTo>
                      <a:pt x="768" y="45"/>
                    </a:lnTo>
                    <a:lnTo>
                      <a:pt x="771" y="45"/>
                    </a:lnTo>
                    <a:lnTo>
                      <a:pt x="773" y="45"/>
                    </a:lnTo>
                    <a:lnTo>
                      <a:pt x="775" y="46"/>
                    </a:lnTo>
                    <a:lnTo>
                      <a:pt x="778" y="46"/>
                    </a:lnTo>
                    <a:lnTo>
                      <a:pt x="778" y="47"/>
                    </a:lnTo>
                    <a:lnTo>
                      <a:pt x="778" y="46"/>
                    </a:lnTo>
                    <a:lnTo>
                      <a:pt x="779" y="45"/>
                    </a:lnTo>
                    <a:lnTo>
                      <a:pt x="780" y="45"/>
                    </a:lnTo>
                    <a:lnTo>
                      <a:pt x="780" y="44"/>
                    </a:lnTo>
                    <a:lnTo>
                      <a:pt x="780" y="44"/>
                    </a:lnTo>
                    <a:lnTo>
                      <a:pt x="778" y="43"/>
                    </a:lnTo>
                    <a:lnTo>
                      <a:pt x="774" y="43"/>
                    </a:lnTo>
                    <a:lnTo>
                      <a:pt x="772" y="43"/>
                    </a:lnTo>
                    <a:lnTo>
                      <a:pt x="771" y="43"/>
                    </a:lnTo>
                    <a:lnTo>
                      <a:pt x="771" y="43"/>
                    </a:lnTo>
                    <a:lnTo>
                      <a:pt x="771" y="41"/>
                    </a:lnTo>
                    <a:lnTo>
                      <a:pt x="771" y="41"/>
                    </a:lnTo>
                    <a:lnTo>
                      <a:pt x="770" y="41"/>
                    </a:lnTo>
                    <a:lnTo>
                      <a:pt x="768" y="41"/>
                    </a:lnTo>
                    <a:lnTo>
                      <a:pt x="768" y="40"/>
                    </a:lnTo>
                    <a:lnTo>
                      <a:pt x="768" y="39"/>
                    </a:lnTo>
                    <a:lnTo>
                      <a:pt x="770" y="39"/>
                    </a:lnTo>
                    <a:lnTo>
                      <a:pt x="771" y="39"/>
                    </a:lnTo>
                    <a:lnTo>
                      <a:pt x="771" y="39"/>
                    </a:lnTo>
                    <a:lnTo>
                      <a:pt x="771" y="39"/>
                    </a:lnTo>
                    <a:lnTo>
                      <a:pt x="772" y="39"/>
                    </a:lnTo>
                    <a:lnTo>
                      <a:pt x="773" y="39"/>
                    </a:lnTo>
                    <a:lnTo>
                      <a:pt x="777" y="39"/>
                    </a:lnTo>
                    <a:lnTo>
                      <a:pt x="778" y="39"/>
                    </a:lnTo>
                    <a:lnTo>
                      <a:pt x="778" y="39"/>
                    </a:lnTo>
                    <a:lnTo>
                      <a:pt x="778" y="40"/>
                    </a:lnTo>
                    <a:lnTo>
                      <a:pt x="778" y="40"/>
                    </a:lnTo>
                    <a:lnTo>
                      <a:pt x="777" y="40"/>
                    </a:lnTo>
                    <a:lnTo>
                      <a:pt x="777" y="41"/>
                    </a:lnTo>
                    <a:lnTo>
                      <a:pt x="778" y="41"/>
                    </a:lnTo>
                    <a:lnTo>
                      <a:pt x="781" y="40"/>
                    </a:lnTo>
                    <a:lnTo>
                      <a:pt x="784" y="40"/>
                    </a:lnTo>
                    <a:lnTo>
                      <a:pt x="785" y="41"/>
                    </a:lnTo>
                    <a:lnTo>
                      <a:pt x="786" y="41"/>
                    </a:lnTo>
                    <a:lnTo>
                      <a:pt x="787" y="41"/>
                    </a:lnTo>
                    <a:lnTo>
                      <a:pt x="788" y="41"/>
                    </a:lnTo>
                    <a:lnTo>
                      <a:pt x="790" y="41"/>
                    </a:lnTo>
                    <a:lnTo>
                      <a:pt x="792" y="41"/>
                    </a:lnTo>
                    <a:lnTo>
                      <a:pt x="793" y="41"/>
                    </a:lnTo>
                    <a:lnTo>
                      <a:pt x="794" y="41"/>
                    </a:lnTo>
                    <a:lnTo>
                      <a:pt x="795" y="41"/>
                    </a:lnTo>
                    <a:lnTo>
                      <a:pt x="795" y="40"/>
                    </a:lnTo>
                    <a:lnTo>
                      <a:pt x="793" y="39"/>
                    </a:lnTo>
                    <a:lnTo>
                      <a:pt x="790" y="39"/>
                    </a:lnTo>
                    <a:lnTo>
                      <a:pt x="788" y="38"/>
                    </a:lnTo>
                    <a:lnTo>
                      <a:pt x="786" y="37"/>
                    </a:lnTo>
                    <a:lnTo>
                      <a:pt x="785" y="37"/>
                    </a:lnTo>
                    <a:lnTo>
                      <a:pt x="785" y="36"/>
                    </a:lnTo>
                    <a:lnTo>
                      <a:pt x="785" y="36"/>
                    </a:lnTo>
                    <a:lnTo>
                      <a:pt x="785" y="34"/>
                    </a:lnTo>
                    <a:lnTo>
                      <a:pt x="786" y="34"/>
                    </a:lnTo>
                    <a:lnTo>
                      <a:pt x="787" y="33"/>
                    </a:lnTo>
                    <a:lnTo>
                      <a:pt x="788" y="32"/>
                    </a:lnTo>
                    <a:lnTo>
                      <a:pt x="789" y="32"/>
                    </a:lnTo>
                    <a:lnTo>
                      <a:pt x="790" y="32"/>
                    </a:lnTo>
                    <a:lnTo>
                      <a:pt x="792" y="32"/>
                    </a:lnTo>
                    <a:lnTo>
                      <a:pt x="794" y="31"/>
                    </a:lnTo>
                    <a:lnTo>
                      <a:pt x="796" y="30"/>
                    </a:lnTo>
                    <a:lnTo>
                      <a:pt x="799" y="30"/>
                    </a:lnTo>
                    <a:lnTo>
                      <a:pt x="800" y="31"/>
                    </a:lnTo>
                    <a:lnTo>
                      <a:pt x="800" y="31"/>
                    </a:lnTo>
                    <a:lnTo>
                      <a:pt x="801" y="32"/>
                    </a:lnTo>
                    <a:lnTo>
                      <a:pt x="801" y="32"/>
                    </a:lnTo>
                    <a:lnTo>
                      <a:pt x="802" y="32"/>
                    </a:lnTo>
                    <a:lnTo>
                      <a:pt x="803" y="32"/>
                    </a:lnTo>
                    <a:lnTo>
                      <a:pt x="804" y="32"/>
                    </a:lnTo>
                    <a:lnTo>
                      <a:pt x="807" y="32"/>
                    </a:lnTo>
                    <a:lnTo>
                      <a:pt x="808" y="32"/>
                    </a:lnTo>
                    <a:lnTo>
                      <a:pt x="808" y="33"/>
                    </a:lnTo>
                    <a:lnTo>
                      <a:pt x="808" y="34"/>
                    </a:lnTo>
                    <a:lnTo>
                      <a:pt x="807" y="34"/>
                    </a:lnTo>
                    <a:lnTo>
                      <a:pt x="807" y="34"/>
                    </a:lnTo>
                    <a:lnTo>
                      <a:pt x="807" y="34"/>
                    </a:lnTo>
                    <a:lnTo>
                      <a:pt x="808" y="34"/>
                    </a:lnTo>
                    <a:lnTo>
                      <a:pt x="808" y="34"/>
                    </a:lnTo>
                    <a:lnTo>
                      <a:pt x="808" y="34"/>
                    </a:lnTo>
                    <a:lnTo>
                      <a:pt x="809" y="33"/>
                    </a:lnTo>
                    <a:lnTo>
                      <a:pt x="810" y="33"/>
                    </a:lnTo>
                    <a:lnTo>
                      <a:pt x="811" y="34"/>
                    </a:lnTo>
                    <a:lnTo>
                      <a:pt x="811" y="34"/>
                    </a:lnTo>
                    <a:lnTo>
                      <a:pt x="811" y="34"/>
                    </a:lnTo>
                    <a:lnTo>
                      <a:pt x="811" y="33"/>
                    </a:lnTo>
                    <a:lnTo>
                      <a:pt x="811" y="31"/>
                    </a:lnTo>
                    <a:lnTo>
                      <a:pt x="811" y="30"/>
                    </a:lnTo>
                    <a:lnTo>
                      <a:pt x="811" y="29"/>
                    </a:lnTo>
                    <a:lnTo>
                      <a:pt x="811" y="28"/>
                    </a:lnTo>
                    <a:lnTo>
                      <a:pt x="810" y="28"/>
                    </a:lnTo>
                    <a:lnTo>
                      <a:pt x="809" y="28"/>
                    </a:lnTo>
                    <a:lnTo>
                      <a:pt x="808" y="28"/>
                    </a:lnTo>
                    <a:lnTo>
                      <a:pt x="808" y="26"/>
                    </a:lnTo>
                    <a:lnTo>
                      <a:pt x="808" y="26"/>
                    </a:lnTo>
                    <a:lnTo>
                      <a:pt x="808" y="25"/>
                    </a:lnTo>
                    <a:lnTo>
                      <a:pt x="807" y="24"/>
                    </a:lnTo>
                    <a:lnTo>
                      <a:pt x="805" y="22"/>
                    </a:lnTo>
                    <a:lnTo>
                      <a:pt x="803" y="21"/>
                    </a:lnTo>
                    <a:lnTo>
                      <a:pt x="802" y="19"/>
                    </a:lnTo>
                    <a:lnTo>
                      <a:pt x="801" y="18"/>
                    </a:lnTo>
                    <a:lnTo>
                      <a:pt x="800" y="17"/>
                    </a:lnTo>
                    <a:lnTo>
                      <a:pt x="801" y="17"/>
                    </a:lnTo>
                    <a:lnTo>
                      <a:pt x="801" y="17"/>
                    </a:lnTo>
                    <a:lnTo>
                      <a:pt x="803" y="18"/>
                    </a:lnTo>
                    <a:lnTo>
                      <a:pt x="807" y="18"/>
                    </a:lnTo>
                    <a:lnTo>
                      <a:pt x="811" y="21"/>
                    </a:lnTo>
                    <a:lnTo>
                      <a:pt x="812" y="21"/>
                    </a:lnTo>
                    <a:lnTo>
                      <a:pt x="812" y="21"/>
                    </a:lnTo>
                    <a:lnTo>
                      <a:pt x="812" y="22"/>
                    </a:lnTo>
                    <a:lnTo>
                      <a:pt x="814" y="22"/>
                    </a:lnTo>
                    <a:lnTo>
                      <a:pt x="815" y="22"/>
                    </a:lnTo>
                    <a:lnTo>
                      <a:pt x="816" y="23"/>
                    </a:lnTo>
                    <a:lnTo>
                      <a:pt x="817" y="24"/>
                    </a:lnTo>
                    <a:lnTo>
                      <a:pt x="817" y="24"/>
                    </a:lnTo>
                    <a:lnTo>
                      <a:pt x="817" y="25"/>
                    </a:lnTo>
                    <a:lnTo>
                      <a:pt x="817" y="25"/>
                    </a:lnTo>
                    <a:lnTo>
                      <a:pt x="815" y="25"/>
                    </a:lnTo>
                    <a:lnTo>
                      <a:pt x="814" y="25"/>
                    </a:lnTo>
                    <a:lnTo>
                      <a:pt x="814" y="25"/>
                    </a:lnTo>
                    <a:lnTo>
                      <a:pt x="814" y="25"/>
                    </a:lnTo>
                    <a:lnTo>
                      <a:pt x="815" y="26"/>
                    </a:lnTo>
                    <a:lnTo>
                      <a:pt x="815" y="26"/>
                    </a:lnTo>
                    <a:lnTo>
                      <a:pt x="816" y="28"/>
                    </a:lnTo>
                    <a:lnTo>
                      <a:pt x="818" y="29"/>
                    </a:lnTo>
                    <a:lnTo>
                      <a:pt x="820" y="30"/>
                    </a:lnTo>
                    <a:lnTo>
                      <a:pt x="822" y="30"/>
                    </a:lnTo>
                    <a:lnTo>
                      <a:pt x="822" y="31"/>
                    </a:lnTo>
                    <a:lnTo>
                      <a:pt x="823" y="30"/>
                    </a:lnTo>
                    <a:lnTo>
                      <a:pt x="824" y="30"/>
                    </a:lnTo>
                    <a:lnTo>
                      <a:pt x="825" y="30"/>
                    </a:lnTo>
                    <a:lnTo>
                      <a:pt x="826" y="31"/>
                    </a:lnTo>
                    <a:lnTo>
                      <a:pt x="826" y="30"/>
                    </a:lnTo>
                    <a:lnTo>
                      <a:pt x="827" y="30"/>
                    </a:lnTo>
                    <a:lnTo>
                      <a:pt x="829" y="30"/>
                    </a:lnTo>
                    <a:lnTo>
                      <a:pt x="830" y="31"/>
                    </a:lnTo>
                    <a:lnTo>
                      <a:pt x="831" y="30"/>
                    </a:lnTo>
                    <a:lnTo>
                      <a:pt x="832" y="30"/>
                    </a:lnTo>
                    <a:lnTo>
                      <a:pt x="832" y="31"/>
                    </a:lnTo>
                    <a:lnTo>
                      <a:pt x="832" y="30"/>
                    </a:lnTo>
                    <a:lnTo>
                      <a:pt x="832" y="29"/>
                    </a:lnTo>
                    <a:lnTo>
                      <a:pt x="833" y="28"/>
                    </a:lnTo>
                    <a:lnTo>
                      <a:pt x="872" y="68"/>
                    </a:lnTo>
                    <a:lnTo>
                      <a:pt x="908" y="112"/>
                    </a:lnTo>
                    <a:lnTo>
                      <a:pt x="942" y="159"/>
                    </a:lnTo>
                    <a:lnTo>
                      <a:pt x="969" y="209"/>
                    </a:lnTo>
                    <a:lnTo>
                      <a:pt x="994" y="262"/>
                    </a:lnTo>
                    <a:lnTo>
                      <a:pt x="1013" y="317"/>
                    </a:lnTo>
                    <a:lnTo>
                      <a:pt x="1028" y="374"/>
                    </a:lnTo>
                    <a:lnTo>
                      <a:pt x="1026" y="373"/>
                    </a:lnTo>
                    <a:lnTo>
                      <a:pt x="1026" y="372"/>
                    </a:lnTo>
                    <a:lnTo>
                      <a:pt x="1026" y="371"/>
                    </a:lnTo>
                    <a:lnTo>
                      <a:pt x="1025" y="369"/>
                    </a:lnTo>
                    <a:lnTo>
                      <a:pt x="1024" y="368"/>
                    </a:lnTo>
                    <a:lnTo>
                      <a:pt x="1021" y="367"/>
                    </a:lnTo>
                    <a:lnTo>
                      <a:pt x="1018" y="367"/>
                    </a:lnTo>
                    <a:lnTo>
                      <a:pt x="1017" y="367"/>
                    </a:lnTo>
                    <a:lnTo>
                      <a:pt x="1014" y="368"/>
                    </a:lnTo>
                    <a:lnTo>
                      <a:pt x="1013" y="368"/>
                    </a:lnTo>
                    <a:lnTo>
                      <a:pt x="1012" y="369"/>
                    </a:lnTo>
                    <a:lnTo>
                      <a:pt x="1012" y="369"/>
                    </a:lnTo>
                    <a:lnTo>
                      <a:pt x="1010" y="369"/>
                    </a:lnTo>
                    <a:lnTo>
                      <a:pt x="1009" y="369"/>
                    </a:lnTo>
                    <a:lnTo>
                      <a:pt x="1006" y="371"/>
                    </a:lnTo>
                    <a:lnTo>
                      <a:pt x="1005" y="371"/>
                    </a:lnTo>
                    <a:lnTo>
                      <a:pt x="1003" y="372"/>
                    </a:lnTo>
                    <a:lnTo>
                      <a:pt x="999" y="371"/>
                    </a:lnTo>
                    <a:lnTo>
                      <a:pt x="998" y="369"/>
                    </a:lnTo>
                    <a:lnTo>
                      <a:pt x="997" y="369"/>
                    </a:lnTo>
                    <a:lnTo>
                      <a:pt x="996" y="369"/>
                    </a:lnTo>
                    <a:lnTo>
                      <a:pt x="994" y="369"/>
                    </a:lnTo>
                    <a:lnTo>
                      <a:pt x="992" y="369"/>
                    </a:lnTo>
                    <a:lnTo>
                      <a:pt x="991" y="367"/>
                    </a:lnTo>
                    <a:lnTo>
                      <a:pt x="989" y="365"/>
                    </a:lnTo>
                    <a:lnTo>
                      <a:pt x="989" y="365"/>
                    </a:lnTo>
                    <a:lnTo>
                      <a:pt x="988" y="364"/>
                    </a:lnTo>
                    <a:lnTo>
                      <a:pt x="987" y="364"/>
                    </a:lnTo>
                    <a:lnTo>
                      <a:pt x="987" y="364"/>
                    </a:lnTo>
                    <a:lnTo>
                      <a:pt x="986" y="362"/>
                    </a:lnTo>
                    <a:lnTo>
                      <a:pt x="984" y="360"/>
                    </a:lnTo>
                    <a:lnTo>
                      <a:pt x="984" y="360"/>
                    </a:lnTo>
                    <a:lnTo>
                      <a:pt x="983" y="360"/>
                    </a:lnTo>
                    <a:lnTo>
                      <a:pt x="983" y="360"/>
                    </a:lnTo>
                    <a:lnTo>
                      <a:pt x="982" y="359"/>
                    </a:lnTo>
                    <a:lnTo>
                      <a:pt x="981" y="358"/>
                    </a:lnTo>
                    <a:lnTo>
                      <a:pt x="981" y="358"/>
                    </a:lnTo>
                    <a:lnTo>
                      <a:pt x="980" y="358"/>
                    </a:lnTo>
                    <a:lnTo>
                      <a:pt x="979" y="358"/>
                    </a:lnTo>
                    <a:lnTo>
                      <a:pt x="977" y="357"/>
                    </a:lnTo>
                    <a:lnTo>
                      <a:pt x="976" y="356"/>
                    </a:lnTo>
                    <a:lnTo>
                      <a:pt x="975" y="356"/>
                    </a:lnTo>
                    <a:lnTo>
                      <a:pt x="975" y="356"/>
                    </a:lnTo>
                    <a:lnTo>
                      <a:pt x="974" y="354"/>
                    </a:lnTo>
                    <a:lnTo>
                      <a:pt x="974" y="353"/>
                    </a:lnTo>
                    <a:lnTo>
                      <a:pt x="973" y="351"/>
                    </a:lnTo>
                    <a:lnTo>
                      <a:pt x="972" y="350"/>
                    </a:lnTo>
                    <a:lnTo>
                      <a:pt x="971" y="349"/>
                    </a:lnTo>
                    <a:lnTo>
                      <a:pt x="969" y="347"/>
                    </a:lnTo>
                    <a:lnTo>
                      <a:pt x="968" y="346"/>
                    </a:lnTo>
                    <a:lnTo>
                      <a:pt x="968" y="344"/>
                    </a:lnTo>
                    <a:lnTo>
                      <a:pt x="968" y="344"/>
                    </a:lnTo>
                    <a:lnTo>
                      <a:pt x="968" y="344"/>
                    </a:lnTo>
                    <a:lnTo>
                      <a:pt x="967" y="344"/>
                    </a:lnTo>
                    <a:lnTo>
                      <a:pt x="966" y="343"/>
                    </a:lnTo>
                    <a:lnTo>
                      <a:pt x="965" y="342"/>
                    </a:lnTo>
                    <a:lnTo>
                      <a:pt x="964" y="339"/>
                    </a:lnTo>
                    <a:lnTo>
                      <a:pt x="961" y="337"/>
                    </a:lnTo>
                    <a:lnTo>
                      <a:pt x="960" y="336"/>
                    </a:lnTo>
                    <a:lnTo>
                      <a:pt x="959" y="335"/>
                    </a:lnTo>
                    <a:lnTo>
                      <a:pt x="958" y="336"/>
                    </a:lnTo>
                    <a:lnTo>
                      <a:pt x="958" y="336"/>
                    </a:lnTo>
                    <a:lnTo>
                      <a:pt x="957" y="337"/>
                    </a:lnTo>
                    <a:lnTo>
                      <a:pt x="956" y="337"/>
                    </a:lnTo>
                    <a:lnTo>
                      <a:pt x="954" y="336"/>
                    </a:lnTo>
                    <a:lnTo>
                      <a:pt x="952" y="335"/>
                    </a:lnTo>
                    <a:lnTo>
                      <a:pt x="951" y="334"/>
                    </a:lnTo>
                    <a:lnTo>
                      <a:pt x="951" y="334"/>
                    </a:lnTo>
                    <a:lnTo>
                      <a:pt x="951" y="332"/>
                    </a:lnTo>
                    <a:lnTo>
                      <a:pt x="950" y="334"/>
                    </a:lnTo>
                    <a:lnTo>
                      <a:pt x="951" y="334"/>
                    </a:lnTo>
                    <a:lnTo>
                      <a:pt x="951" y="335"/>
                    </a:lnTo>
                    <a:lnTo>
                      <a:pt x="951" y="335"/>
                    </a:lnTo>
                    <a:lnTo>
                      <a:pt x="949" y="336"/>
                    </a:lnTo>
                    <a:lnTo>
                      <a:pt x="949" y="336"/>
                    </a:lnTo>
                    <a:lnTo>
                      <a:pt x="949" y="337"/>
                    </a:lnTo>
                    <a:lnTo>
                      <a:pt x="947" y="337"/>
                    </a:lnTo>
                    <a:lnTo>
                      <a:pt x="947" y="337"/>
                    </a:lnTo>
                    <a:lnTo>
                      <a:pt x="947" y="337"/>
                    </a:lnTo>
                    <a:lnTo>
                      <a:pt x="945" y="336"/>
                    </a:lnTo>
                    <a:lnTo>
                      <a:pt x="945" y="335"/>
                    </a:lnTo>
                    <a:lnTo>
                      <a:pt x="944" y="334"/>
                    </a:lnTo>
                    <a:lnTo>
                      <a:pt x="944" y="334"/>
                    </a:lnTo>
                    <a:lnTo>
                      <a:pt x="943" y="335"/>
                    </a:lnTo>
                    <a:lnTo>
                      <a:pt x="942" y="336"/>
                    </a:lnTo>
                    <a:lnTo>
                      <a:pt x="944" y="336"/>
                    </a:lnTo>
                    <a:lnTo>
                      <a:pt x="945" y="337"/>
                    </a:lnTo>
                    <a:lnTo>
                      <a:pt x="946" y="337"/>
                    </a:lnTo>
                    <a:lnTo>
                      <a:pt x="946" y="338"/>
                    </a:lnTo>
                    <a:lnTo>
                      <a:pt x="945" y="339"/>
                    </a:lnTo>
                    <a:lnTo>
                      <a:pt x="945" y="339"/>
                    </a:lnTo>
                    <a:lnTo>
                      <a:pt x="946" y="341"/>
                    </a:lnTo>
                    <a:lnTo>
                      <a:pt x="945" y="341"/>
                    </a:lnTo>
                    <a:lnTo>
                      <a:pt x="944" y="342"/>
                    </a:lnTo>
                    <a:lnTo>
                      <a:pt x="943" y="342"/>
                    </a:lnTo>
                    <a:lnTo>
                      <a:pt x="942" y="343"/>
                    </a:lnTo>
                    <a:lnTo>
                      <a:pt x="942" y="344"/>
                    </a:lnTo>
                    <a:lnTo>
                      <a:pt x="943" y="345"/>
                    </a:lnTo>
                    <a:lnTo>
                      <a:pt x="944" y="345"/>
                    </a:lnTo>
                    <a:lnTo>
                      <a:pt x="945" y="346"/>
                    </a:lnTo>
                    <a:lnTo>
                      <a:pt x="947" y="349"/>
                    </a:lnTo>
                    <a:lnTo>
                      <a:pt x="949" y="352"/>
                    </a:lnTo>
                    <a:lnTo>
                      <a:pt x="951" y="354"/>
                    </a:lnTo>
                    <a:lnTo>
                      <a:pt x="952" y="357"/>
                    </a:lnTo>
                    <a:lnTo>
                      <a:pt x="953" y="359"/>
                    </a:lnTo>
                    <a:lnTo>
                      <a:pt x="954" y="360"/>
                    </a:lnTo>
                    <a:lnTo>
                      <a:pt x="954" y="360"/>
                    </a:lnTo>
                    <a:lnTo>
                      <a:pt x="954" y="361"/>
                    </a:lnTo>
                    <a:lnTo>
                      <a:pt x="954" y="362"/>
                    </a:lnTo>
                    <a:lnTo>
                      <a:pt x="956" y="361"/>
                    </a:lnTo>
                    <a:lnTo>
                      <a:pt x="957" y="361"/>
                    </a:lnTo>
                    <a:lnTo>
                      <a:pt x="958" y="361"/>
                    </a:lnTo>
                    <a:lnTo>
                      <a:pt x="958" y="361"/>
                    </a:lnTo>
                    <a:lnTo>
                      <a:pt x="958" y="362"/>
                    </a:lnTo>
                    <a:lnTo>
                      <a:pt x="957" y="362"/>
                    </a:lnTo>
                    <a:lnTo>
                      <a:pt x="958" y="362"/>
                    </a:lnTo>
                    <a:lnTo>
                      <a:pt x="958" y="364"/>
                    </a:lnTo>
                    <a:lnTo>
                      <a:pt x="959" y="364"/>
                    </a:lnTo>
                    <a:lnTo>
                      <a:pt x="961" y="366"/>
                    </a:lnTo>
                    <a:lnTo>
                      <a:pt x="964" y="367"/>
                    </a:lnTo>
                    <a:lnTo>
                      <a:pt x="964" y="368"/>
                    </a:lnTo>
                    <a:lnTo>
                      <a:pt x="965" y="368"/>
                    </a:lnTo>
                    <a:lnTo>
                      <a:pt x="965" y="369"/>
                    </a:lnTo>
                    <a:lnTo>
                      <a:pt x="965" y="371"/>
                    </a:lnTo>
                    <a:lnTo>
                      <a:pt x="966" y="371"/>
                    </a:lnTo>
                    <a:lnTo>
                      <a:pt x="967" y="371"/>
                    </a:lnTo>
                    <a:lnTo>
                      <a:pt x="967" y="372"/>
                    </a:lnTo>
                    <a:lnTo>
                      <a:pt x="967" y="373"/>
                    </a:lnTo>
                    <a:lnTo>
                      <a:pt x="967" y="374"/>
                    </a:lnTo>
                    <a:lnTo>
                      <a:pt x="967" y="376"/>
                    </a:lnTo>
                    <a:lnTo>
                      <a:pt x="968" y="379"/>
                    </a:lnTo>
                    <a:lnTo>
                      <a:pt x="969" y="380"/>
                    </a:lnTo>
                    <a:lnTo>
                      <a:pt x="971" y="381"/>
                    </a:lnTo>
                    <a:lnTo>
                      <a:pt x="971" y="383"/>
                    </a:lnTo>
                    <a:lnTo>
                      <a:pt x="973" y="384"/>
                    </a:lnTo>
                    <a:lnTo>
                      <a:pt x="975" y="387"/>
                    </a:lnTo>
                    <a:lnTo>
                      <a:pt x="974" y="383"/>
                    </a:lnTo>
                    <a:lnTo>
                      <a:pt x="973" y="382"/>
                    </a:lnTo>
                    <a:lnTo>
                      <a:pt x="973" y="380"/>
                    </a:lnTo>
                    <a:lnTo>
                      <a:pt x="973" y="380"/>
                    </a:lnTo>
                    <a:lnTo>
                      <a:pt x="974" y="380"/>
                    </a:lnTo>
                    <a:lnTo>
                      <a:pt x="975" y="379"/>
                    </a:lnTo>
                    <a:lnTo>
                      <a:pt x="975" y="377"/>
                    </a:lnTo>
                    <a:lnTo>
                      <a:pt x="976" y="377"/>
                    </a:lnTo>
                    <a:lnTo>
                      <a:pt x="977" y="377"/>
                    </a:lnTo>
                    <a:lnTo>
                      <a:pt x="979" y="377"/>
                    </a:lnTo>
                    <a:lnTo>
                      <a:pt x="980" y="379"/>
                    </a:lnTo>
                    <a:lnTo>
                      <a:pt x="981" y="380"/>
                    </a:lnTo>
                    <a:lnTo>
                      <a:pt x="982" y="381"/>
                    </a:lnTo>
                    <a:lnTo>
                      <a:pt x="982" y="382"/>
                    </a:lnTo>
                    <a:lnTo>
                      <a:pt x="981" y="383"/>
                    </a:lnTo>
                    <a:lnTo>
                      <a:pt x="980" y="384"/>
                    </a:lnTo>
                    <a:lnTo>
                      <a:pt x="981" y="386"/>
                    </a:lnTo>
                    <a:lnTo>
                      <a:pt x="982" y="387"/>
                    </a:lnTo>
                    <a:lnTo>
                      <a:pt x="982" y="389"/>
                    </a:lnTo>
                    <a:lnTo>
                      <a:pt x="982" y="390"/>
                    </a:lnTo>
                    <a:lnTo>
                      <a:pt x="982" y="390"/>
                    </a:lnTo>
                    <a:lnTo>
                      <a:pt x="982" y="390"/>
                    </a:lnTo>
                    <a:lnTo>
                      <a:pt x="982" y="390"/>
                    </a:lnTo>
                    <a:lnTo>
                      <a:pt x="983" y="391"/>
                    </a:lnTo>
                    <a:lnTo>
                      <a:pt x="982" y="391"/>
                    </a:lnTo>
                    <a:lnTo>
                      <a:pt x="983" y="393"/>
                    </a:lnTo>
                    <a:lnTo>
                      <a:pt x="983" y="394"/>
                    </a:lnTo>
                    <a:lnTo>
                      <a:pt x="983" y="396"/>
                    </a:lnTo>
                    <a:lnTo>
                      <a:pt x="984" y="397"/>
                    </a:lnTo>
                    <a:lnTo>
                      <a:pt x="986" y="398"/>
                    </a:lnTo>
                    <a:lnTo>
                      <a:pt x="986" y="398"/>
                    </a:lnTo>
                    <a:lnTo>
                      <a:pt x="987" y="398"/>
                    </a:lnTo>
                    <a:lnTo>
                      <a:pt x="989" y="397"/>
                    </a:lnTo>
                    <a:lnTo>
                      <a:pt x="991" y="397"/>
                    </a:lnTo>
                    <a:lnTo>
                      <a:pt x="995" y="397"/>
                    </a:lnTo>
                    <a:lnTo>
                      <a:pt x="996" y="397"/>
                    </a:lnTo>
                    <a:lnTo>
                      <a:pt x="997" y="397"/>
                    </a:lnTo>
                    <a:lnTo>
                      <a:pt x="997" y="397"/>
                    </a:lnTo>
                    <a:lnTo>
                      <a:pt x="998" y="397"/>
                    </a:lnTo>
                    <a:lnTo>
                      <a:pt x="999" y="397"/>
                    </a:lnTo>
                    <a:lnTo>
                      <a:pt x="1001" y="396"/>
                    </a:lnTo>
                    <a:lnTo>
                      <a:pt x="1001" y="396"/>
                    </a:lnTo>
                    <a:lnTo>
                      <a:pt x="1001" y="396"/>
                    </a:lnTo>
                    <a:lnTo>
                      <a:pt x="1002" y="397"/>
                    </a:lnTo>
                    <a:lnTo>
                      <a:pt x="1003" y="397"/>
                    </a:lnTo>
                    <a:lnTo>
                      <a:pt x="1004" y="396"/>
                    </a:lnTo>
                    <a:lnTo>
                      <a:pt x="1004" y="396"/>
                    </a:lnTo>
                    <a:lnTo>
                      <a:pt x="1004" y="395"/>
                    </a:lnTo>
                    <a:lnTo>
                      <a:pt x="1005" y="395"/>
                    </a:lnTo>
                    <a:lnTo>
                      <a:pt x="1005" y="396"/>
                    </a:lnTo>
                    <a:lnTo>
                      <a:pt x="1005" y="396"/>
                    </a:lnTo>
                    <a:lnTo>
                      <a:pt x="1005" y="396"/>
                    </a:lnTo>
                    <a:lnTo>
                      <a:pt x="1005" y="396"/>
                    </a:lnTo>
                    <a:lnTo>
                      <a:pt x="1005" y="395"/>
                    </a:lnTo>
                    <a:lnTo>
                      <a:pt x="1005" y="394"/>
                    </a:lnTo>
                    <a:lnTo>
                      <a:pt x="1006" y="391"/>
                    </a:lnTo>
                    <a:lnTo>
                      <a:pt x="1010" y="389"/>
                    </a:lnTo>
                    <a:lnTo>
                      <a:pt x="1012" y="388"/>
                    </a:lnTo>
                    <a:lnTo>
                      <a:pt x="1013" y="387"/>
                    </a:lnTo>
                    <a:lnTo>
                      <a:pt x="1013" y="386"/>
                    </a:lnTo>
                    <a:lnTo>
                      <a:pt x="1013" y="384"/>
                    </a:lnTo>
                    <a:lnTo>
                      <a:pt x="1014" y="383"/>
                    </a:lnTo>
                    <a:lnTo>
                      <a:pt x="1016" y="383"/>
                    </a:lnTo>
                    <a:lnTo>
                      <a:pt x="1018" y="381"/>
                    </a:lnTo>
                    <a:lnTo>
                      <a:pt x="1018" y="380"/>
                    </a:lnTo>
                    <a:lnTo>
                      <a:pt x="1019" y="379"/>
                    </a:lnTo>
                    <a:lnTo>
                      <a:pt x="1019" y="379"/>
                    </a:lnTo>
                    <a:lnTo>
                      <a:pt x="1019" y="377"/>
                    </a:lnTo>
                    <a:lnTo>
                      <a:pt x="1021" y="377"/>
                    </a:lnTo>
                    <a:lnTo>
                      <a:pt x="1021" y="379"/>
                    </a:lnTo>
                    <a:lnTo>
                      <a:pt x="1022" y="379"/>
                    </a:lnTo>
                    <a:lnTo>
                      <a:pt x="1021" y="380"/>
                    </a:lnTo>
                    <a:lnTo>
                      <a:pt x="1021" y="382"/>
                    </a:lnTo>
                    <a:lnTo>
                      <a:pt x="1021" y="382"/>
                    </a:lnTo>
                    <a:lnTo>
                      <a:pt x="1021" y="383"/>
                    </a:lnTo>
                    <a:lnTo>
                      <a:pt x="1022" y="383"/>
                    </a:lnTo>
                    <a:lnTo>
                      <a:pt x="1022" y="383"/>
                    </a:lnTo>
                    <a:lnTo>
                      <a:pt x="1022" y="384"/>
                    </a:lnTo>
                    <a:lnTo>
                      <a:pt x="1022" y="387"/>
                    </a:lnTo>
                    <a:lnTo>
                      <a:pt x="1022" y="389"/>
                    </a:lnTo>
                    <a:lnTo>
                      <a:pt x="1025" y="391"/>
                    </a:lnTo>
                    <a:lnTo>
                      <a:pt x="1027" y="394"/>
                    </a:lnTo>
                    <a:lnTo>
                      <a:pt x="1029" y="395"/>
                    </a:lnTo>
                    <a:lnTo>
                      <a:pt x="1031" y="396"/>
                    </a:lnTo>
                    <a:lnTo>
                      <a:pt x="1032" y="397"/>
                    </a:lnTo>
                    <a:lnTo>
                      <a:pt x="1035" y="425"/>
                    </a:lnTo>
                    <a:lnTo>
                      <a:pt x="1039" y="453"/>
                    </a:lnTo>
                    <a:lnTo>
                      <a:pt x="1037" y="455"/>
                    </a:lnTo>
                    <a:lnTo>
                      <a:pt x="1036" y="456"/>
                    </a:lnTo>
                    <a:lnTo>
                      <a:pt x="1036" y="458"/>
                    </a:lnTo>
                    <a:lnTo>
                      <a:pt x="1037" y="459"/>
                    </a:lnTo>
                    <a:lnTo>
                      <a:pt x="1036" y="461"/>
                    </a:lnTo>
                    <a:lnTo>
                      <a:pt x="1035" y="462"/>
                    </a:lnTo>
                    <a:lnTo>
                      <a:pt x="1034" y="462"/>
                    </a:lnTo>
                    <a:lnTo>
                      <a:pt x="1032" y="462"/>
                    </a:lnTo>
                    <a:lnTo>
                      <a:pt x="1031" y="462"/>
                    </a:lnTo>
                    <a:lnTo>
                      <a:pt x="1028" y="463"/>
                    </a:lnTo>
                    <a:lnTo>
                      <a:pt x="1028" y="463"/>
                    </a:lnTo>
                    <a:lnTo>
                      <a:pt x="1027" y="464"/>
                    </a:lnTo>
                    <a:lnTo>
                      <a:pt x="1027" y="464"/>
                    </a:lnTo>
                    <a:lnTo>
                      <a:pt x="1027" y="465"/>
                    </a:lnTo>
                    <a:lnTo>
                      <a:pt x="1027" y="465"/>
                    </a:lnTo>
                    <a:lnTo>
                      <a:pt x="1027" y="466"/>
                    </a:lnTo>
                    <a:lnTo>
                      <a:pt x="1026" y="469"/>
                    </a:lnTo>
                    <a:lnTo>
                      <a:pt x="1024" y="470"/>
                    </a:lnTo>
                    <a:lnTo>
                      <a:pt x="1022" y="471"/>
                    </a:lnTo>
                    <a:lnTo>
                      <a:pt x="1020" y="472"/>
                    </a:lnTo>
                    <a:lnTo>
                      <a:pt x="1018" y="472"/>
                    </a:lnTo>
                    <a:lnTo>
                      <a:pt x="1016" y="472"/>
                    </a:lnTo>
                    <a:lnTo>
                      <a:pt x="1013" y="473"/>
                    </a:lnTo>
                    <a:lnTo>
                      <a:pt x="1013" y="475"/>
                    </a:lnTo>
                    <a:lnTo>
                      <a:pt x="1012" y="475"/>
                    </a:lnTo>
                    <a:lnTo>
                      <a:pt x="1011" y="475"/>
                    </a:lnTo>
                    <a:lnTo>
                      <a:pt x="1010" y="475"/>
                    </a:lnTo>
                    <a:lnTo>
                      <a:pt x="1009" y="476"/>
                    </a:lnTo>
                    <a:lnTo>
                      <a:pt x="1006" y="476"/>
                    </a:lnTo>
                    <a:lnTo>
                      <a:pt x="1005" y="477"/>
                    </a:lnTo>
                    <a:lnTo>
                      <a:pt x="1003" y="478"/>
                    </a:lnTo>
                    <a:lnTo>
                      <a:pt x="1001" y="480"/>
                    </a:lnTo>
                    <a:lnTo>
                      <a:pt x="1001" y="481"/>
                    </a:lnTo>
                    <a:lnTo>
                      <a:pt x="1001" y="483"/>
                    </a:lnTo>
                    <a:lnTo>
                      <a:pt x="1002" y="484"/>
                    </a:lnTo>
                    <a:lnTo>
                      <a:pt x="1002" y="485"/>
                    </a:lnTo>
                    <a:lnTo>
                      <a:pt x="1002" y="486"/>
                    </a:lnTo>
                    <a:lnTo>
                      <a:pt x="1001" y="486"/>
                    </a:lnTo>
                    <a:lnTo>
                      <a:pt x="998" y="487"/>
                    </a:lnTo>
                    <a:lnTo>
                      <a:pt x="996" y="488"/>
                    </a:lnTo>
                    <a:lnTo>
                      <a:pt x="994" y="488"/>
                    </a:lnTo>
                    <a:lnTo>
                      <a:pt x="992" y="490"/>
                    </a:lnTo>
                    <a:lnTo>
                      <a:pt x="989" y="491"/>
                    </a:lnTo>
                    <a:lnTo>
                      <a:pt x="984" y="492"/>
                    </a:lnTo>
                    <a:lnTo>
                      <a:pt x="977" y="494"/>
                    </a:lnTo>
                    <a:lnTo>
                      <a:pt x="974" y="498"/>
                    </a:lnTo>
                    <a:lnTo>
                      <a:pt x="972" y="500"/>
                    </a:lnTo>
                    <a:lnTo>
                      <a:pt x="969" y="502"/>
                    </a:lnTo>
                    <a:lnTo>
                      <a:pt x="967" y="502"/>
                    </a:lnTo>
                    <a:lnTo>
                      <a:pt x="965" y="503"/>
                    </a:lnTo>
                    <a:lnTo>
                      <a:pt x="962" y="503"/>
                    </a:lnTo>
                    <a:lnTo>
                      <a:pt x="960" y="503"/>
                    </a:lnTo>
                    <a:lnTo>
                      <a:pt x="960" y="505"/>
                    </a:lnTo>
                    <a:lnTo>
                      <a:pt x="958" y="507"/>
                    </a:lnTo>
                    <a:lnTo>
                      <a:pt x="956" y="508"/>
                    </a:lnTo>
                    <a:lnTo>
                      <a:pt x="953" y="508"/>
                    </a:lnTo>
                    <a:lnTo>
                      <a:pt x="951" y="508"/>
                    </a:lnTo>
                    <a:lnTo>
                      <a:pt x="947" y="509"/>
                    </a:lnTo>
                    <a:lnTo>
                      <a:pt x="945" y="509"/>
                    </a:lnTo>
                    <a:lnTo>
                      <a:pt x="944" y="510"/>
                    </a:lnTo>
                    <a:lnTo>
                      <a:pt x="942" y="511"/>
                    </a:lnTo>
                    <a:lnTo>
                      <a:pt x="941" y="513"/>
                    </a:lnTo>
                    <a:lnTo>
                      <a:pt x="939" y="513"/>
                    </a:lnTo>
                    <a:lnTo>
                      <a:pt x="938" y="513"/>
                    </a:lnTo>
                    <a:lnTo>
                      <a:pt x="938" y="513"/>
                    </a:lnTo>
                    <a:lnTo>
                      <a:pt x="937" y="513"/>
                    </a:lnTo>
                    <a:lnTo>
                      <a:pt x="937" y="514"/>
                    </a:lnTo>
                    <a:lnTo>
                      <a:pt x="936" y="515"/>
                    </a:lnTo>
                    <a:lnTo>
                      <a:pt x="935" y="516"/>
                    </a:lnTo>
                    <a:lnTo>
                      <a:pt x="932" y="516"/>
                    </a:lnTo>
                    <a:lnTo>
                      <a:pt x="929" y="516"/>
                    </a:lnTo>
                    <a:lnTo>
                      <a:pt x="927" y="515"/>
                    </a:lnTo>
                    <a:lnTo>
                      <a:pt x="926" y="515"/>
                    </a:lnTo>
                    <a:lnTo>
                      <a:pt x="924" y="514"/>
                    </a:lnTo>
                    <a:lnTo>
                      <a:pt x="923" y="513"/>
                    </a:lnTo>
                    <a:lnTo>
                      <a:pt x="922" y="510"/>
                    </a:lnTo>
                    <a:lnTo>
                      <a:pt x="922" y="509"/>
                    </a:lnTo>
                    <a:lnTo>
                      <a:pt x="923" y="507"/>
                    </a:lnTo>
                    <a:lnTo>
                      <a:pt x="922" y="505"/>
                    </a:lnTo>
                    <a:lnTo>
                      <a:pt x="921" y="501"/>
                    </a:lnTo>
                    <a:lnTo>
                      <a:pt x="920" y="498"/>
                    </a:lnTo>
                    <a:lnTo>
                      <a:pt x="920" y="494"/>
                    </a:lnTo>
                    <a:lnTo>
                      <a:pt x="920" y="494"/>
                    </a:lnTo>
                    <a:lnTo>
                      <a:pt x="919" y="494"/>
                    </a:lnTo>
                    <a:lnTo>
                      <a:pt x="919" y="493"/>
                    </a:lnTo>
                    <a:lnTo>
                      <a:pt x="919" y="493"/>
                    </a:lnTo>
                    <a:lnTo>
                      <a:pt x="917" y="491"/>
                    </a:lnTo>
                    <a:lnTo>
                      <a:pt x="917" y="488"/>
                    </a:lnTo>
                    <a:lnTo>
                      <a:pt x="916" y="485"/>
                    </a:lnTo>
                    <a:lnTo>
                      <a:pt x="916" y="479"/>
                    </a:lnTo>
                    <a:lnTo>
                      <a:pt x="915" y="478"/>
                    </a:lnTo>
                    <a:lnTo>
                      <a:pt x="915" y="478"/>
                    </a:lnTo>
                    <a:lnTo>
                      <a:pt x="915" y="477"/>
                    </a:lnTo>
                    <a:lnTo>
                      <a:pt x="915" y="477"/>
                    </a:lnTo>
                    <a:lnTo>
                      <a:pt x="915" y="476"/>
                    </a:lnTo>
                    <a:lnTo>
                      <a:pt x="914" y="476"/>
                    </a:lnTo>
                    <a:lnTo>
                      <a:pt x="913" y="475"/>
                    </a:lnTo>
                    <a:lnTo>
                      <a:pt x="913" y="475"/>
                    </a:lnTo>
                    <a:lnTo>
                      <a:pt x="913" y="475"/>
                    </a:lnTo>
                    <a:lnTo>
                      <a:pt x="913" y="473"/>
                    </a:lnTo>
                    <a:lnTo>
                      <a:pt x="913" y="472"/>
                    </a:lnTo>
                    <a:lnTo>
                      <a:pt x="912" y="471"/>
                    </a:lnTo>
                    <a:lnTo>
                      <a:pt x="910" y="469"/>
                    </a:lnTo>
                    <a:lnTo>
                      <a:pt x="909" y="465"/>
                    </a:lnTo>
                    <a:lnTo>
                      <a:pt x="908" y="464"/>
                    </a:lnTo>
                    <a:lnTo>
                      <a:pt x="907" y="462"/>
                    </a:lnTo>
                    <a:lnTo>
                      <a:pt x="906" y="461"/>
                    </a:lnTo>
                    <a:lnTo>
                      <a:pt x="905" y="459"/>
                    </a:lnTo>
                    <a:lnTo>
                      <a:pt x="902" y="457"/>
                    </a:lnTo>
                    <a:lnTo>
                      <a:pt x="900" y="455"/>
                    </a:lnTo>
                    <a:lnTo>
                      <a:pt x="898" y="450"/>
                    </a:lnTo>
                    <a:lnTo>
                      <a:pt x="895" y="447"/>
                    </a:lnTo>
                    <a:lnTo>
                      <a:pt x="892" y="442"/>
                    </a:lnTo>
                    <a:lnTo>
                      <a:pt x="884" y="435"/>
                    </a:lnTo>
                    <a:lnTo>
                      <a:pt x="882" y="433"/>
                    </a:lnTo>
                    <a:lnTo>
                      <a:pt x="880" y="432"/>
                    </a:lnTo>
                    <a:lnTo>
                      <a:pt x="880" y="431"/>
                    </a:lnTo>
                    <a:lnTo>
                      <a:pt x="879" y="429"/>
                    </a:lnTo>
                    <a:lnTo>
                      <a:pt x="879" y="428"/>
                    </a:lnTo>
                    <a:lnTo>
                      <a:pt x="879" y="428"/>
                    </a:lnTo>
                    <a:lnTo>
                      <a:pt x="879" y="426"/>
                    </a:lnTo>
                    <a:lnTo>
                      <a:pt x="878" y="426"/>
                    </a:lnTo>
                    <a:lnTo>
                      <a:pt x="878" y="425"/>
                    </a:lnTo>
                    <a:lnTo>
                      <a:pt x="878" y="425"/>
                    </a:lnTo>
                    <a:lnTo>
                      <a:pt x="879" y="425"/>
                    </a:lnTo>
                    <a:lnTo>
                      <a:pt x="879" y="425"/>
                    </a:lnTo>
                    <a:lnTo>
                      <a:pt x="880" y="425"/>
                    </a:lnTo>
                    <a:lnTo>
                      <a:pt x="880" y="424"/>
                    </a:lnTo>
                    <a:lnTo>
                      <a:pt x="879" y="421"/>
                    </a:lnTo>
                    <a:lnTo>
                      <a:pt x="874" y="411"/>
                    </a:lnTo>
                    <a:lnTo>
                      <a:pt x="870" y="401"/>
                    </a:lnTo>
                    <a:lnTo>
                      <a:pt x="870" y="399"/>
                    </a:lnTo>
                    <a:lnTo>
                      <a:pt x="869" y="398"/>
                    </a:lnTo>
                    <a:lnTo>
                      <a:pt x="868" y="398"/>
                    </a:lnTo>
                    <a:lnTo>
                      <a:pt x="867" y="397"/>
                    </a:lnTo>
                    <a:lnTo>
                      <a:pt x="865" y="395"/>
                    </a:lnTo>
                    <a:lnTo>
                      <a:pt x="863" y="395"/>
                    </a:lnTo>
                    <a:lnTo>
                      <a:pt x="862" y="394"/>
                    </a:lnTo>
                    <a:lnTo>
                      <a:pt x="860" y="394"/>
                    </a:lnTo>
                    <a:lnTo>
                      <a:pt x="859" y="391"/>
                    </a:lnTo>
                    <a:lnTo>
                      <a:pt x="857" y="389"/>
                    </a:lnTo>
                    <a:lnTo>
                      <a:pt x="856" y="388"/>
                    </a:lnTo>
                    <a:lnTo>
                      <a:pt x="856" y="387"/>
                    </a:lnTo>
                    <a:lnTo>
                      <a:pt x="856" y="386"/>
                    </a:lnTo>
                    <a:lnTo>
                      <a:pt x="856" y="386"/>
                    </a:lnTo>
                    <a:lnTo>
                      <a:pt x="856" y="386"/>
                    </a:lnTo>
                    <a:lnTo>
                      <a:pt x="856" y="384"/>
                    </a:lnTo>
                    <a:lnTo>
                      <a:pt x="856" y="383"/>
                    </a:lnTo>
                    <a:lnTo>
                      <a:pt x="855" y="382"/>
                    </a:lnTo>
                    <a:lnTo>
                      <a:pt x="853" y="380"/>
                    </a:lnTo>
                    <a:lnTo>
                      <a:pt x="850" y="374"/>
                    </a:lnTo>
                    <a:lnTo>
                      <a:pt x="847" y="371"/>
                    </a:lnTo>
                    <a:lnTo>
                      <a:pt x="846" y="367"/>
                    </a:lnTo>
                    <a:lnTo>
                      <a:pt x="844" y="365"/>
                    </a:lnTo>
                    <a:lnTo>
                      <a:pt x="842" y="364"/>
                    </a:lnTo>
                    <a:lnTo>
                      <a:pt x="842" y="362"/>
                    </a:lnTo>
                    <a:lnTo>
                      <a:pt x="842" y="362"/>
                    </a:lnTo>
                    <a:lnTo>
                      <a:pt x="842" y="361"/>
                    </a:lnTo>
                    <a:lnTo>
                      <a:pt x="842" y="360"/>
                    </a:lnTo>
                    <a:lnTo>
                      <a:pt x="841" y="359"/>
                    </a:lnTo>
                    <a:lnTo>
                      <a:pt x="840" y="358"/>
                    </a:lnTo>
                    <a:lnTo>
                      <a:pt x="838" y="357"/>
                    </a:lnTo>
                    <a:lnTo>
                      <a:pt x="838" y="353"/>
                    </a:lnTo>
                    <a:lnTo>
                      <a:pt x="837" y="351"/>
                    </a:lnTo>
                    <a:lnTo>
                      <a:pt x="835" y="350"/>
                    </a:lnTo>
                    <a:lnTo>
                      <a:pt x="834" y="350"/>
                    </a:lnTo>
                    <a:lnTo>
                      <a:pt x="833" y="350"/>
                    </a:lnTo>
                    <a:lnTo>
                      <a:pt x="833" y="350"/>
                    </a:lnTo>
                    <a:lnTo>
                      <a:pt x="833" y="347"/>
                    </a:lnTo>
                    <a:lnTo>
                      <a:pt x="833" y="346"/>
                    </a:lnTo>
                    <a:lnTo>
                      <a:pt x="833" y="344"/>
                    </a:lnTo>
                    <a:lnTo>
                      <a:pt x="832" y="343"/>
                    </a:lnTo>
                    <a:lnTo>
                      <a:pt x="832" y="341"/>
                    </a:lnTo>
                    <a:lnTo>
                      <a:pt x="833" y="339"/>
                    </a:lnTo>
                    <a:lnTo>
                      <a:pt x="833" y="338"/>
                    </a:lnTo>
                    <a:lnTo>
                      <a:pt x="832" y="338"/>
                    </a:lnTo>
                    <a:lnTo>
                      <a:pt x="832" y="337"/>
                    </a:lnTo>
                    <a:lnTo>
                      <a:pt x="831" y="339"/>
                    </a:lnTo>
                    <a:lnTo>
                      <a:pt x="831" y="342"/>
                    </a:lnTo>
                    <a:lnTo>
                      <a:pt x="831" y="344"/>
                    </a:lnTo>
                    <a:lnTo>
                      <a:pt x="830" y="346"/>
                    </a:lnTo>
                    <a:lnTo>
                      <a:pt x="830" y="349"/>
                    </a:lnTo>
                    <a:lnTo>
                      <a:pt x="830" y="350"/>
                    </a:lnTo>
                    <a:lnTo>
                      <a:pt x="831" y="351"/>
                    </a:lnTo>
                    <a:lnTo>
                      <a:pt x="831" y="352"/>
                    </a:lnTo>
                    <a:lnTo>
                      <a:pt x="831" y="353"/>
                    </a:lnTo>
                    <a:lnTo>
                      <a:pt x="830" y="356"/>
                    </a:lnTo>
                    <a:lnTo>
                      <a:pt x="830" y="358"/>
                    </a:lnTo>
                    <a:lnTo>
                      <a:pt x="829" y="358"/>
                    </a:lnTo>
                    <a:lnTo>
                      <a:pt x="827" y="358"/>
                    </a:lnTo>
                    <a:lnTo>
                      <a:pt x="826" y="357"/>
                    </a:lnTo>
                    <a:lnTo>
                      <a:pt x="825" y="356"/>
                    </a:lnTo>
                    <a:lnTo>
                      <a:pt x="823" y="352"/>
                    </a:lnTo>
                    <a:lnTo>
                      <a:pt x="820" y="350"/>
                    </a:lnTo>
                    <a:lnTo>
                      <a:pt x="819" y="349"/>
                    </a:lnTo>
                    <a:lnTo>
                      <a:pt x="818" y="346"/>
                    </a:lnTo>
                    <a:lnTo>
                      <a:pt x="816" y="344"/>
                    </a:lnTo>
                    <a:lnTo>
                      <a:pt x="815" y="342"/>
                    </a:lnTo>
                    <a:lnTo>
                      <a:pt x="814" y="339"/>
                    </a:lnTo>
                    <a:lnTo>
                      <a:pt x="814" y="338"/>
                    </a:lnTo>
                    <a:lnTo>
                      <a:pt x="812" y="337"/>
                    </a:lnTo>
                    <a:lnTo>
                      <a:pt x="811" y="336"/>
                    </a:lnTo>
                    <a:lnTo>
                      <a:pt x="809" y="335"/>
                    </a:lnTo>
                    <a:lnTo>
                      <a:pt x="808" y="332"/>
                    </a:lnTo>
                    <a:lnTo>
                      <a:pt x="808" y="330"/>
                    </a:lnTo>
                    <a:lnTo>
                      <a:pt x="808" y="330"/>
                    </a:lnTo>
                    <a:lnTo>
                      <a:pt x="807" y="328"/>
                    </a:lnTo>
                    <a:lnTo>
                      <a:pt x="805" y="326"/>
                    </a:lnTo>
                    <a:lnTo>
                      <a:pt x="807" y="328"/>
                    </a:lnTo>
                    <a:lnTo>
                      <a:pt x="808" y="330"/>
                    </a:lnTo>
                    <a:lnTo>
                      <a:pt x="808" y="330"/>
                    </a:lnTo>
                    <a:lnTo>
                      <a:pt x="808" y="331"/>
                    </a:lnTo>
                    <a:lnTo>
                      <a:pt x="808" y="332"/>
                    </a:lnTo>
                    <a:lnTo>
                      <a:pt x="808" y="334"/>
                    </a:lnTo>
                    <a:lnTo>
                      <a:pt x="808" y="335"/>
                    </a:lnTo>
                    <a:lnTo>
                      <a:pt x="809" y="336"/>
                    </a:lnTo>
                    <a:lnTo>
                      <a:pt x="810" y="338"/>
                    </a:lnTo>
                    <a:lnTo>
                      <a:pt x="811" y="341"/>
                    </a:lnTo>
                    <a:lnTo>
                      <a:pt x="811" y="342"/>
                    </a:lnTo>
                    <a:lnTo>
                      <a:pt x="811" y="342"/>
                    </a:lnTo>
                    <a:lnTo>
                      <a:pt x="811" y="343"/>
                    </a:lnTo>
                    <a:lnTo>
                      <a:pt x="811" y="344"/>
                    </a:lnTo>
                    <a:lnTo>
                      <a:pt x="812" y="346"/>
                    </a:lnTo>
                    <a:lnTo>
                      <a:pt x="814" y="347"/>
                    </a:lnTo>
                    <a:lnTo>
                      <a:pt x="815" y="349"/>
                    </a:lnTo>
                    <a:lnTo>
                      <a:pt x="815" y="350"/>
                    </a:lnTo>
                    <a:lnTo>
                      <a:pt x="816" y="352"/>
                    </a:lnTo>
                    <a:lnTo>
                      <a:pt x="818" y="356"/>
                    </a:lnTo>
                    <a:lnTo>
                      <a:pt x="819" y="357"/>
                    </a:lnTo>
                    <a:lnTo>
                      <a:pt x="820" y="358"/>
                    </a:lnTo>
                    <a:lnTo>
                      <a:pt x="820" y="358"/>
                    </a:lnTo>
                    <a:lnTo>
                      <a:pt x="819" y="358"/>
                    </a:lnTo>
                    <a:lnTo>
                      <a:pt x="819" y="358"/>
                    </a:lnTo>
                    <a:lnTo>
                      <a:pt x="819" y="358"/>
                    </a:lnTo>
                    <a:lnTo>
                      <a:pt x="820" y="359"/>
                    </a:lnTo>
                    <a:lnTo>
                      <a:pt x="822" y="360"/>
                    </a:lnTo>
                    <a:lnTo>
                      <a:pt x="823" y="361"/>
                    </a:lnTo>
                    <a:lnTo>
                      <a:pt x="824" y="362"/>
                    </a:lnTo>
                    <a:lnTo>
                      <a:pt x="824" y="362"/>
                    </a:lnTo>
                    <a:lnTo>
                      <a:pt x="824" y="362"/>
                    </a:lnTo>
                    <a:lnTo>
                      <a:pt x="824" y="364"/>
                    </a:lnTo>
                    <a:lnTo>
                      <a:pt x="823" y="364"/>
                    </a:lnTo>
                    <a:lnTo>
                      <a:pt x="823" y="364"/>
                    </a:lnTo>
                    <a:lnTo>
                      <a:pt x="823" y="365"/>
                    </a:lnTo>
                    <a:lnTo>
                      <a:pt x="823" y="367"/>
                    </a:lnTo>
                    <a:lnTo>
                      <a:pt x="826" y="372"/>
                    </a:lnTo>
                    <a:lnTo>
                      <a:pt x="829" y="375"/>
                    </a:lnTo>
                    <a:lnTo>
                      <a:pt x="831" y="377"/>
                    </a:lnTo>
                    <a:lnTo>
                      <a:pt x="832" y="380"/>
                    </a:lnTo>
                    <a:lnTo>
                      <a:pt x="833" y="381"/>
                    </a:lnTo>
                    <a:lnTo>
                      <a:pt x="834" y="382"/>
                    </a:lnTo>
                    <a:lnTo>
                      <a:pt x="835" y="384"/>
                    </a:lnTo>
                    <a:lnTo>
                      <a:pt x="837" y="388"/>
                    </a:lnTo>
                    <a:lnTo>
                      <a:pt x="838" y="390"/>
                    </a:lnTo>
                    <a:lnTo>
                      <a:pt x="840" y="393"/>
                    </a:lnTo>
                    <a:lnTo>
                      <a:pt x="842" y="395"/>
                    </a:lnTo>
                    <a:lnTo>
                      <a:pt x="845" y="397"/>
                    </a:lnTo>
                    <a:lnTo>
                      <a:pt x="846" y="398"/>
                    </a:lnTo>
                    <a:lnTo>
                      <a:pt x="846" y="398"/>
                    </a:lnTo>
                    <a:lnTo>
                      <a:pt x="846" y="398"/>
                    </a:lnTo>
                    <a:lnTo>
                      <a:pt x="845" y="398"/>
                    </a:lnTo>
                    <a:lnTo>
                      <a:pt x="844" y="398"/>
                    </a:lnTo>
                    <a:lnTo>
                      <a:pt x="844" y="398"/>
                    </a:lnTo>
                    <a:lnTo>
                      <a:pt x="842" y="399"/>
                    </a:lnTo>
                    <a:lnTo>
                      <a:pt x="844" y="401"/>
                    </a:lnTo>
                    <a:lnTo>
                      <a:pt x="845" y="402"/>
                    </a:lnTo>
                    <a:lnTo>
                      <a:pt x="846" y="404"/>
                    </a:lnTo>
                    <a:lnTo>
                      <a:pt x="847" y="405"/>
                    </a:lnTo>
                    <a:lnTo>
                      <a:pt x="847" y="406"/>
                    </a:lnTo>
                    <a:lnTo>
                      <a:pt x="847" y="406"/>
                    </a:lnTo>
                    <a:lnTo>
                      <a:pt x="847" y="406"/>
                    </a:lnTo>
                    <a:lnTo>
                      <a:pt x="846" y="406"/>
                    </a:lnTo>
                    <a:lnTo>
                      <a:pt x="847" y="408"/>
                    </a:lnTo>
                    <a:lnTo>
                      <a:pt x="848" y="409"/>
                    </a:lnTo>
                    <a:lnTo>
                      <a:pt x="850" y="411"/>
                    </a:lnTo>
                    <a:lnTo>
                      <a:pt x="853" y="413"/>
                    </a:lnTo>
                    <a:lnTo>
                      <a:pt x="854" y="414"/>
                    </a:lnTo>
                    <a:lnTo>
                      <a:pt x="855" y="416"/>
                    </a:lnTo>
                    <a:lnTo>
                      <a:pt x="856" y="416"/>
                    </a:lnTo>
                    <a:lnTo>
                      <a:pt x="856" y="417"/>
                    </a:lnTo>
                    <a:lnTo>
                      <a:pt x="856" y="418"/>
                    </a:lnTo>
                    <a:lnTo>
                      <a:pt x="857" y="419"/>
                    </a:lnTo>
                    <a:lnTo>
                      <a:pt x="857" y="421"/>
                    </a:lnTo>
                    <a:lnTo>
                      <a:pt x="859" y="424"/>
                    </a:lnTo>
                    <a:lnTo>
                      <a:pt x="861" y="426"/>
                    </a:lnTo>
                    <a:lnTo>
                      <a:pt x="861" y="427"/>
                    </a:lnTo>
                    <a:lnTo>
                      <a:pt x="862" y="429"/>
                    </a:lnTo>
                    <a:lnTo>
                      <a:pt x="862" y="429"/>
                    </a:lnTo>
                    <a:lnTo>
                      <a:pt x="861" y="431"/>
                    </a:lnTo>
                    <a:lnTo>
                      <a:pt x="861" y="433"/>
                    </a:lnTo>
                    <a:lnTo>
                      <a:pt x="861" y="435"/>
                    </a:lnTo>
                    <a:lnTo>
                      <a:pt x="861" y="438"/>
                    </a:lnTo>
                    <a:lnTo>
                      <a:pt x="861" y="440"/>
                    </a:lnTo>
                    <a:lnTo>
                      <a:pt x="862" y="442"/>
                    </a:lnTo>
                    <a:lnTo>
                      <a:pt x="862" y="444"/>
                    </a:lnTo>
                    <a:lnTo>
                      <a:pt x="862" y="446"/>
                    </a:lnTo>
                    <a:lnTo>
                      <a:pt x="863" y="447"/>
                    </a:lnTo>
                    <a:lnTo>
                      <a:pt x="863" y="449"/>
                    </a:lnTo>
                    <a:lnTo>
                      <a:pt x="864" y="450"/>
                    </a:lnTo>
                    <a:lnTo>
                      <a:pt x="865" y="451"/>
                    </a:lnTo>
                    <a:lnTo>
                      <a:pt x="867" y="450"/>
                    </a:lnTo>
                    <a:lnTo>
                      <a:pt x="868" y="451"/>
                    </a:lnTo>
                    <a:lnTo>
                      <a:pt x="869" y="451"/>
                    </a:lnTo>
                    <a:lnTo>
                      <a:pt x="869" y="453"/>
                    </a:lnTo>
                    <a:lnTo>
                      <a:pt x="870" y="453"/>
                    </a:lnTo>
                    <a:lnTo>
                      <a:pt x="870" y="453"/>
                    </a:lnTo>
                    <a:lnTo>
                      <a:pt x="871" y="453"/>
                    </a:lnTo>
                    <a:lnTo>
                      <a:pt x="871" y="453"/>
                    </a:lnTo>
                    <a:lnTo>
                      <a:pt x="872" y="454"/>
                    </a:lnTo>
                    <a:lnTo>
                      <a:pt x="874" y="456"/>
                    </a:lnTo>
                    <a:lnTo>
                      <a:pt x="877" y="462"/>
                    </a:lnTo>
                    <a:lnTo>
                      <a:pt x="879" y="466"/>
                    </a:lnTo>
                    <a:lnTo>
                      <a:pt x="882" y="471"/>
                    </a:lnTo>
                    <a:lnTo>
                      <a:pt x="884" y="477"/>
                    </a:lnTo>
                    <a:lnTo>
                      <a:pt x="885" y="481"/>
                    </a:lnTo>
                    <a:lnTo>
                      <a:pt x="886" y="485"/>
                    </a:lnTo>
                    <a:lnTo>
                      <a:pt x="887" y="486"/>
                    </a:lnTo>
                    <a:lnTo>
                      <a:pt x="887" y="487"/>
                    </a:lnTo>
                    <a:lnTo>
                      <a:pt x="889" y="486"/>
                    </a:lnTo>
                    <a:lnTo>
                      <a:pt x="890" y="486"/>
                    </a:lnTo>
                    <a:lnTo>
                      <a:pt x="890" y="486"/>
                    </a:lnTo>
                    <a:lnTo>
                      <a:pt x="891" y="486"/>
                    </a:lnTo>
                    <a:lnTo>
                      <a:pt x="891" y="487"/>
                    </a:lnTo>
                    <a:lnTo>
                      <a:pt x="891" y="488"/>
                    </a:lnTo>
                    <a:lnTo>
                      <a:pt x="892" y="490"/>
                    </a:lnTo>
                    <a:lnTo>
                      <a:pt x="893" y="491"/>
                    </a:lnTo>
                    <a:lnTo>
                      <a:pt x="894" y="491"/>
                    </a:lnTo>
                    <a:lnTo>
                      <a:pt x="897" y="492"/>
                    </a:lnTo>
                    <a:lnTo>
                      <a:pt x="898" y="492"/>
                    </a:lnTo>
                    <a:lnTo>
                      <a:pt x="899" y="493"/>
                    </a:lnTo>
                    <a:lnTo>
                      <a:pt x="899" y="494"/>
                    </a:lnTo>
                    <a:lnTo>
                      <a:pt x="900" y="494"/>
                    </a:lnTo>
                    <a:lnTo>
                      <a:pt x="902" y="495"/>
                    </a:lnTo>
                    <a:lnTo>
                      <a:pt x="905" y="496"/>
                    </a:lnTo>
                    <a:lnTo>
                      <a:pt x="906" y="499"/>
                    </a:lnTo>
                    <a:lnTo>
                      <a:pt x="908" y="501"/>
                    </a:lnTo>
                    <a:lnTo>
                      <a:pt x="910" y="503"/>
                    </a:lnTo>
                    <a:lnTo>
                      <a:pt x="913" y="505"/>
                    </a:lnTo>
                    <a:lnTo>
                      <a:pt x="914" y="507"/>
                    </a:lnTo>
                    <a:lnTo>
                      <a:pt x="915" y="509"/>
                    </a:lnTo>
                    <a:lnTo>
                      <a:pt x="915" y="510"/>
                    </a:lnTo>
                    <a:lnTo>
                      <a:pt x="915" y="511"/>
                    </a:lnTo>
                    <a:lnTo>
                      <a:pt x="916" y="511"/>
                    </a:lnTo>
                    <a:lnTo>
                      <a:pt x="917" y="511"/>
                    </a:lnTo>
                    <a:lnTo>
                      <a:pt x="917" y="513"/>
                    </a:lnTo>
                    <a:lnTo>
                      <a:pt x="917" y="514"/>
                    </a:lnTo>
                    <a:lnTo>
                      <a:pt x="920" y="515"/>
                    </a:lnTo>
                    <a:lnTo>
                      <a:pt x="921" y="517"/>
                    </a:lnTo>
                    <a:lnTo>
                      <a:pt x="923" y="518"/>
                    </a:lnTo>
                    <a:lnTo>
                      <a:pt x="924" y="520"/>
                    </a:lnTo>
                    <a:lnTo>
                      <a:pt x="926" y="522"/>
                    </a:lnTo>
                    <a:lnTo>
                      <a:pt x="924" y="524"/>
                    </a:lnTo>
                    <a:lnTo>
                      <a:pt x="923" y="526"/>
                    </a:lnTo>
                    <a:lnTo>
                      <a:pt x="922" y="528"/>
                    </a:lnTo>
                    <a:lnTo>
                      <a:pt x="921" y="528"/>
                    </a:lnTo>
                    <a:lnTo>
                      <a:pt x="921" y="528"/>
                    </a:lnTo>
                    <a:lnTo>
                      <a:pt x="920" y="528"/>
                    </a:lnTo>
                    <a:lnTo>
                      <a:pt x="919" y="529"/>
                    </a:lnTo>
                    <a:lnTo>
                      <a:pt x="917" y="529"/>
                    </a:lnTo>
                    <a:lnTo>
                      <a:pt x="916" y="529"/>
                    </a:lnTo>
                    <a:lnTo>
                      <a:pt x="916" y="530"/>
                    </a:lnTo>
                    <a:lnTo>
                      <a:pt x="917" y="530"/>
                    </a:lnTo>
                    <a:lnTo>
                      <a:pt x="920" y="529"/>
                    </a:lnTo>
                    <a:lnTo>
                      <a:pt x="921" y="529"/>
                    </a:lnTo>
                    <a:lnTo>
                      <a:pt x="922" y="529"/>
                    </a:lnTo>
                    <a:lnTo>
                      <a:pt x="923" y="530"/>
                    </a:lnTo>
                    <a:lnTo>
                      <a:pt x="924" y="531"/>
                    </a:lnTo>
                    <a:lnTo>
                      <a:pt x="926" y="533"/>
                    </a:lnTo>
                    <a:lnTo>
                      <a:pt x="928" y="536"/>
                    </a:lnTo>
                    <a:lnTo>
                      <a:pt x="931" y="538"/>
                    </a:lnTo>
                    <a:lnTo>
                      <a:pt x="934" y="539"/>
                    </a:lnTo>
                    <a:lnTo>
                      <a:pt x="936" y="540"/>
                    </a:lnTo>
                    <a:lnTo>
                      <a:pt x="938" y="540"/>
                    </a:lnTo>
                    <a:lnTo>
                      <a:pt x="942" y="539"/>
                    </a:lnTo>
                    <a:lnTo>
                      <a:pt x="943" y="538"/>
                    </a:lnTo>
                    <a:lnTo>
                      <a:pt x="945" y="537"/>
                    </a:lnTo>
                    <a:lnTo>
                      <a:pt x="947" y="537"/>
                    </a:lnTo>
                    <a:lnTo>
                      <a:pt x="951" y="537"/>
                    </a:lnTo>
                    <a:lnTo>
                      <a:pt x="953" y="537"/>
                    </a:lnTo>
                    <a:lnTo>
                      <a:pt x="956" y="537"/>
                    </a:lnTo>
                    <a:lnTo>
                      <a:pt x="957" y="536"/>
                    </a:lnTo>
                    <a:lnTo>
                      <a:pt x="958" y="535"/>
                    </a:lnTo>
                    <a:lnTo>
                      <a:pt x="959" y="533"/>
                    </a:lnTo>
                    <a:lnTo>
                      <a:pt x="960" y="533"/>
                    </a:lnTo>
                    <a:lnTo>
                      <a:pt x="964" y="533"/>
                    </a:lnTo>
                    <a:lnTo>
                      <a:pt x="966" y="533"/>
                    </a:lnTo>
                    <a:lnTo>
                      <a:pt x="967" y="533"/>
                    </a:lnTo>
                    <a:lnTo>
                      <a:pt x="968" y="533"/>
                    </a:lnTo>
                    <a:lnTo>
                      <a:pt x="968" y="533"/>
                    </a:lnTo>
                    <a:lnTo>
                      <a:pt x="969" y="532"/>
                    </a:lnTo>
                    <a:lnTo>
                      <a:pt x="969" y="532"/>
                    </a:lnTo>
                    <a:lnTo>
                      <a:pt x="971" y="532"/>
                    </a:lnTo>
                    <a:lnTo>
                      <a:pt x="972" y="533"/>
                    </a:lnTo>
                    <a:lnTo>
                      <a:pt x="974" y="532"/>
                    </a:lnTo>
                    <a:lnTo>
                      <a:pt x="977" y="531"/>
                    </a:lnTo>
                    <a:lnTo>
                      <a:pt x="980" y="530"/>
                    </a:lnTo>
                    <a:lnTo>
                      <a:pt x="982" y="528"/>
                    </a:lnTo>
                    <a:lnTo>
                      <a:pt x="984" y="526"/>
                    </a:lnTo>
                    <a:lnTo>
                      <a:pt x="986" y="526"/>
                    </a:lnTo>
                    <a:lnTo>
                      <a:pt x="988" y="525"/>
                    </a:lnTo>
                    <a:lnTo>
                      <a:pt x="990" y="525"/>
                    </a:lnTo>
                    <a:lnTo>
                      <a:pt x="991" y="525"/>
                    </a:lnTo>
                    <a:lnTo>
                      <a:pt x="992" y="526"/>
                    </a:lnTo>
                    <a:lnTo>
                      <a:pt x="992" y="528"/>
                    </a:lnTo>
                    <a:lnTo>
                      <a:pt x="992" y="530"/>
                    </a:lnTo>
                    <a:lnTo>
                      <a:pt x="992" y="532"/>
                    </a:lnTo>
                    <a:lnTo>
                      <a:pt x="994" y="535"/>
                    </a:lnTo>
                    <a:lnTo>
                      <a:pt x="994" y="536"/>
                    </a:lnTo>
                    <a:lnTo>
                      <a:pt x="994" y="537"/>
                    </a:lnTo>
                    <a:lnTo>
                      <a:pt x="994" y="537"/>
                    </a:lnTo>
                    <a:lnTo>
                      <a:pt x="992" y="537"/>
                    </a:lnTo>
                    <a:lnTo>
                      <a:pt x="992" y="537"/>
                    </a:lnTo>
                    <a:lnTo>
                      <a:pt x="992" y="538"/>
                    </a:lnTo>
                    <a:lnTo>
                      <a:pt x="994" y="540"/>
                    </a:lnTo>
                    <a:lnTo>
                      <a:pt x="994" y="543"/>
                    </a:lnTo>
                    <a:lnTo>
                      <a:pt x="992" y="545"/>
                    </a:lnTo>
                    <a:lnTo>
                      <a:pt x="992" y="546"/>
                    </a:lnTo>
                    <a:lnTo>
                      <a:pt x="992" y="546"/>
                    </a:lnTo>
                    <a:lnTo>
                      <a:pt x="992" y="546"/>
                    </a:lnTo>
                    <a:lnTo>
                      <a:pt x="992" y="546"/>
                    </a:lnTo>
                    <a:lnTo>
                      <a:pt x="992" y="546"/>
                    </a:lnTo>
                    <a:lnTo>
                      <a:pt x="992" y="547"/>
                    </a:lnTo>
                    <a:lnTo>
                      <a:pt x="992" y="548"/>
                    </a:lnTo>
                    <a:lnTo>
                      <a:pt x="991" y="551"/>
                    </a:lnTo>
                    <a:lnTo>
                      <a:pt x="990" y="554"/>
                    </a:lnTo>
                    <a:lnTo>
                      <a:pt x="989" y="557"/>
                    </a:lnTo>
                    <a:lnTo>
                      <a:pt x="988" y="558"/>
                    </a:lnTo>
                    <a:lnTo>
                      <a:pt x="988" y="558"/>
                    </a:lnTo>
                    <a:lnTo>
                      <a:pt x="988" y="559"/>
                    </a:lnTo>
                    <a:lnTo>
                      <a:pt x="988" y="559"/>
                    </a:lnTo>
                    <a:lnTo>
                      <a:pt x="988" y="559"/>
                    </a:lnTo>
                    <a:lnTo>
                      <a:pt x="986" y="567"/>
                    </a:lnTo>
                    <a:lnTo>
                      <a:pt x="981" y="575"/>
                    </a:lnTo>
                    <a:lnTo>
                      <a:pt x="979" y="583"/>
                    </a:lnTo>
                    <a:lnTo>
                      <a:pt x="977" y="591"/>
                    </a:lnTo>
                    <a:lnTo>
                      <a:pt x="973" y="596"/>
                    </a:lnTo>
                    <a:lnTo>
                      <a:pt x="969" y="600"/>
                    </a:lnTo>
                    <a:lnTo>
                      <a:pt x="967" y="604"/>
                    </a:lnTo>
                    <a:lnTo>
                      <a:pt x="964" y="611"/>
                    </a:lnTo>
                    <a:lnTo>
                      <a:pt x="958" y="618"/>
                    </a:lnTo>
                    <a:lnTo>
                      <a:pt x="951" y="626"/>
                    </a:lnTo>
                    <a:lnTo>
                      <a:pt x="947" y="629"/>
                    </a:lnTo>
                    <a:lnTo>
                      <a:pt x="944" y="632"/>
                    </a:lnTo>
                    <a:lnTo>
                      <a:pt x="942" y="634"/>
                    </a:lnTo>
                    <a:lnTo>
                      <a:pt x="939" y="635"/>
                    </a:lnTo>
                    <a:lnTo>
                      <a:pt x="937" y="637"/>
                    </a:lnTo>
                    <a:lnTo>
                      <a:pt x="936" y="640"/>
                    </a:lnTo>
                    <a:lnTo>
                      <a:pt x="934" y="643"/>
                    </a:lnTo>
                    <a:lnTo>
                      <a:pt x="930" y="647"/>
                    </a:lnTo>
                    <a:lnTo>
                      <a:pt x="928" y="649"/>
                    </a:lnTo>
                    <a:lnTo>
                      <a:pt x="924" y="651"/>
                    </a:lnTo>
                    <a:lnTo>
                      <a:pt x="922" y="654"/>
                    </a:lnTo>
                    <a:lnTo>
                      <a:pt x="920" y="657"/>
                    </a:lnTo>
                    <a:lnTo>
                      <a:pt x="917" y="660"/>
                    </a:lnTo>
                    <a:lnTo>
                      <a:pt x="916" y="663"/>
                    </a:lnTo>
                    <a:lnTo>
                      <a:pt x="915" y="665"/>
                    </a:lnTo>
                    <a:lnTo>
                      <a:pt x="914" y="666"/>
                    </a:lnTo>
                    <a:lnTo>
                      <a:pt x="914" y="667"/>
                    </a:lnTo>
                    <a:lnTo>
                      <a:pt x="913" y="669"/>
                    </a:lnTo>
                    <a:lnTo>
                      <a:pt x="913" y="669"/>
                    </a:lnTo>
                    <a:lnTo>
                      <a:pt x="909" y="672"/>
                    </a:lnTo>
                    <a:lnTo>
                      <a:pt x="906" y="674"/>
                    </a:lnTo>
                    <a:lnTo>
                      <a:pt x="904" y="675"/>
                    </a:lnTo>
                    <a:lnTo>
                      <a:pt x="901" y="678"/>
                    </a:lnTo>
                    <a:lnTo>
                      <a:pt x="900" y="679"/>
                    </a:lnTo>
                    <a:lnTo>
                      <a:pt x="899" y="680"/>
                    </a:lnTo>
                    <a:lnTo>
                      <a:pt x="899" y="682"/>
                    </a:lnTo>
                    <a:lnTo>
                      <a:pt x="899" y="685"/>
                    </a:lnTo>
                    <a:lnTo>
                      <a:pt x="898" y="686"/>
                    </a:lnTo>
                    <a:lnTo>
                      <a:pt x="898" y="687"/>
                    </a:lnTo>
                    <a:lnTo>
                      <a:pt x="898" y="687"/>
                    </a:lnTo>
                    <a:lnTo>
                      <a:pt x="898" y="689"/>
                    </a:lnTo>
                    <a:lnTo>
                      <a:pt x="897" y="692"/>
                    </a:lnTo>
                    <a:lnTo>
                      <a:pt x="897" y="694"/>
                    </a:lnTo>
                    <a:lnTo>
                      <a:pt x="895" y="696"/>
                    </a:lnTo>
                    <a:lnTo>
                      <a:pt x="895" y="697"/>
                    </a:lnTo>
                    <a:lnTo>
                      <a:pt x="894" y="699"/>
                    </a:lnTo>
                    <a:lnTo>
                      <a:pt x="893" y="701"/>
                    </a:lnTo>
                    <a:lnTo>
                      <a:pt x="893" y="702"/>
                    </a:lnTo>
                    <a:lnTo>
                      <a:pt x="893" y="703"/>
                    </a:lnTo>
                    <a:lnTo>
                      <a:pt x="893" y="703"/>
                    </a:lnTo>
                    <a:lnTo>
                      <a:pt x="892" y="703"/>
                    </a:lnTo>
                    <a:lnTo>
                      <a:pt x="891" y="704"/>
                    </a:lnTo>
                    <a:lnTo>
                      <a:pt x="890" y="705"/>
                    </a:lnTo>
                    <a:lnTo>
                      <a:pt x="890" y="708"/>
                    </a:lnTo>
                    <a:lnTo>
                      <a:pt x="890" y="709"/>
                    </a:lnTo>
                    <a:lnTo>
                      <a:pt x="890" y="710"/>
                    </a:lnTo>
                    <a:lnTo>
                      <a:pt x="889" y="712"/>
                    </a:lnTo>
                    <a:lnTo>
                      <a:pt x="887" y="715"/>
                    </a:lnTo>
                    <a:lnTo>
                      <a:pt x="886" y="718"/>
                    </a:lnTo>
                    <a:lnTo>
                      <a:pt x="885" y="720"/>
                    </a:lnTo>
                    <a:lnTo>
                      <a:pt x="884" y="723"/>
                    </a:lnTo>
                    <a:lnTo>
                      <a:pt x="885" y="725"/>
                    </a:lnTo>
                    <a:lnTo>
                      <a:pt x="886" y="726"/>
                    </a:lnTo>
                    <a:lnTo>
                      <a:pt x="887" y="727"/>
                    </a:lnTo>
                    <a:lnTo>
                      <a:pt x="889" y="729"/>
                    </a:lnTo>
                    <a:lnTo>
                      <a:pt x="890" y="731"/>
                    </a:lnTo>
                    <a:lnTo>
                      <a:pt x="891" y="732"/>
                    </a:lnTo>
                    <a:lnTo>
                      <a:pt x="891" y="733"/>
                    </a:lnTo>
                    <a:lnTo>
                      <a:pt x="890" y="736"/>
                    </a:lnTo>
                    <a:lnTo>
                      <a:pt x="889" y="737"/>
                    </a:lnTo>
                    <a:lnTo>
                      <a:pt x="889" y="737"/>
                    </a:lnTo>
                    <a:lnTo>
                      <a:pt x="889" y="738"/>
                    </a:lnTo>
                    <a:lnTo>
                      <a:pt x="889" y="738"/>
                    </a:lnTo>
                    <a:lnTo>
                      <a:pt x="889" y="739"/>
                    </a:lnTo>
                    <a:lnTo>
                      <a:pt x="887" y="740"/>
                    </a:lnTo>
                    <a:lnTo>
                      <a:pt x="886" y="742"/>
                    </a:lnTo>
                    <a:lnTo>
                      <a:pt x="885" y="744"/>
                    </a:lnTo>
                    <a:lnTo>
                      <a:pt x="885" y="746"/>
                    </a:lnTo>
                    <a:lnTo>
                      <a:pt x="886" y="747"/>
                    </a:lnTo>
                    <a:lnTo>
                      <a:pt x="887" y="749"/>
                    </a:lnTo>
                    <a:lnTo>
                      <a:pt x="889" y="751"/>
                    </a:lnTo>
                    <a:lnTo>
                      <a:pt x="890" y="754"/>
                    </a:lnTo>
                    <a:lnTo>
                      <a:pt x="890" y="757"/>
                    </a:lnTo>
                    <a:lnTo>
                      <a:pt x="890" y="761"/>
                    </a:lnTo>
                    <a:lnTo>
                      <a:pt x="891" y="762"/>
                    </a:lnTo>
                    <a:lnTo>
                      <a:pt x="891" y="763"/>
                    </a:lnTo>
                    <a:lnTo>
                      <a:pt x="892" y="764"/>
                    </a:lnTo>
                    <a:lnTo>
                      <a:pt x="893" y="767"/>
                    </a:lnTo>
                    <a:lnTo>
                      <a:pt x="894" y="769"/>
                    </a:lnTo>
                    <a:lnTo>
                      <a:pt x="894" y="771"/>
                    </a:lnTo>
                    <a:lnTo>
                      <a:pt x="894" y="772"/>
                    </a:lnTo>
                    <a:lnTo>
                      <a:pt x="894" y="775"/>
                    </a:lnTo>
                    <a:lnTo>
                      <a:pt x="894" y="777"/>
                    </a:lnTo>
                    <a:lnTo>
                      <a:pt x="894" y="779"/>
                    </a:lnTo>
                    <a:lnTo>
                      <a:pt x="894" y="781"/>
                    </a:lnTo>
                    <a:lnTo>
                      <a:pt x="893" y="783"/>
                    </a:lnTo>
                    <a:lnTo>
                      <a:pt x="893" y="785"/>
                    </a:lnTo>
                    <a:lnTo>
                      <a:pt x="893" y="787"/>
                    </a:lnTo>
                    <a:lnTo>
                      <a:pt x="893" y="790"/>
                    </a:lnTo>
                    <a:lnTo>
                      <a:pt x="893" y="792"/>
                    </a:lnTo>
                    <a:lnTo>
                      <a:pt x="893" y="794"/>
                    </a:lnTo>
                    <a:lnTo>
                      <a:pt x="892" y="797"/>
                    </a:lnTo>
                    <a:lnTo>
                      <a:pt x="891" y="799"/>
                    </a:lnTo>
                    <a:lnTo>
                      <a:pt x="891" y="801"/>
                    </a:lnTo>
                    <a:lnTo>
                      <a:pt x="891" y="805"/>
                    </a:lnTo>
                    <a:lnTo>
                      <a:pt x="893" y="808"/>
                    </a:lnTo>
                    <a:lnTo>
                      <a:pt x="893" y="811"/>
                    </a:lnTo>
                    <a:lnTo>
                      <a:pt x="894" y="813"/>
                    </a:lnTo>
                    <a:lnTo>
                      <a:pt x="893" y="814"/>
                    </a:lnTo>
                    <a:lnTo>
                      <a:pt x="893" y="815"/>
                    </a:lnTo>
                    <a:lnTo>
                      <a:pt x="892" y="818"/>
                    </a:lnTo>
                    <a:lnTo>
                      <a:pt x="890" y="821"/>
                    </a:lnTo>
                    <a:lnTo>
                      <a:pt x="889" y="823"/>
                    </a:lnTo>
                    <a:lnTo>
                      <a:pt x="887" y="824"/>
                    </a:lnTo>
                    <a:lnTo>
                      <a:pt x="887" y="824"/>
                    </a:lnTo>
                    <a:lnTo>
                      <a:pt x="886" y="824"/>
                    </a:lnTo>
                    <a:lnTo>
                      <a:pt x="886" y="826"/>
                    </a:lnTo>
                    <a:lnTo>
                      <a:pt x="884" y="826"/>
                    </a:lnTo>
                    <a:lnTo>
                      <a:pt x="883" y="828"/>
                    </a:lnTo>
                    <a:lnTo>
                      <a:pt x="880" y="831"/>
                    </a:lnTo>
                    <a:lnTo>
                      <a:pt x="878" y="834"/>
                    </a:lnTo>
                    <a:lnTo>
                      <a:pt x="876" y="837"/>
                    </a:lnTo>
                    <a:lnTo>
                      <a:pt x="872" y="839"/>
                    </a:lnTo>
                    <a:lnTo>
                      <a:pt x="869" y="839"/>
                    </a:lnTo>
                    <a:lnTo>
                      <a:pt x="868" y="841"/>
                    </a:lnTo>
                    <a:lnTo>
                      <a:pt x="868" y="841"/>
                    </a:lnTo>
                    <a:lnTo>
                      <a:pt x="867" y="842"/>
                    </a:lnTo>
                    <a:lnTo>
                      <a:pt x="867" y="843"/>
                    </a:lnTo>
                    <a:lnTo>
                      <a:pt x="864" y="843"/>
                    </a:lnTo>
                    <a:lnTo>
                      <a:pt x="862" y="843"/>
                    </a:lnTo>
                    <a:lnTo>
                      <a:pt x="855" y="846"/>
                    </a:lnTo>
                    <a:lnTo>
                      <a:pt x="849" y="852"/>
                    </a:lnTo>
                    <a:lnTo>
                      <a:pt x="845" y="858"/>
                    </a:lnTo>
                    <a:lnTo>
                      <a:pt x="839" y="863"/>
                    </a:lnTo>
                    <a:lnTo>
                      <a:pt x="837" y="865"/>
                    </a:lnTo>
                    <a:lnTo>
                      <a:pt x="834" y="867"/>
                    </a:lnTo>
                    <a:lnTo>
                      <a:pt x="832" y="869"/>
                    </a:lnTo>
                    <a:lnTo>
                      <a:pt x="831" y="873"/>
                    </a:lnTo>
                    <a:lnTo>
                      <a:pt x="831" y="875"/>
                    </a:lnTo>
                    <a:lnTo>
                      <a:pt x="831" y="876"/>
                    </a:lnTo>
                    <a:lnTo>
                      <a:pt x="832" y="879"/>
                    </a:lnTo>
                    <a:lnTo>
                      <a:pt x="833" y="879"/>
                    </a:lnTo>
                    <a:lnTo>
                      <a:pt x="833" y="880"/>
                    </a:lnTo>
                    <a:lnTo>
                      <a:pt x="833" y="882"/>
                    </a:lnTo>
                    <a:lnTo>
                      <a:pt x="834" y="884"/>
                    </a:lnTo>
                    <a:lnTo>
                      <a:pt x="835" y="889"/>
                    </a:lnTo>
                    <a:lnTo>
                      <a:pt x="835" y="890"/>
                    </a:lnTo>
                    <a:lnTo>
                      <a:pt x="834" y="893"/>
                    </a:lnTo>
                    <a:lnTo>
                      <a:pt x="834" y="895"/>
                    </a:lnTo>
                    <a:lnTo>
                      <a:pt x="835" y="897"/>
                    </a:lnTo>
                    <a:lnTo>
                      <a:pt x="835" y="900"/>
                    </a:lnTo>
                    <a:lnTo>
                      <a:pt x="835" y="902"/>
                    </a:lnTo>
                    <a:lnTo>
                      <a:pt x="834" y="903"/>
                    </a:lnTo>
                    <a:lnTo>
                      <a:pt x="833" y="905"/>
                    </a:lnTo>
                    <a:lnTo>
                      <a:pt x="832" y="908"/>
                    </a:lnTo>
                    <a:lnTo>
                      <a:pt x="832" y="910"/>
                    </a:lnTo>
                    <a:lnTo>
                      <a:pt x="832" y="911"/>
                    </a:lnTo>
                    <a:lnTo>
                      <a:pt x="831" y="913"/>
                    </a:lnTo>
                    <a:lnTo>
                      <a:pt x="829" y="916"/>
                    </a:lnTo>
                    <a:lnTo>
                      <a:pt x="826" y="919"/>
                    </a:lnTo>
                    <a:lnTo>
                      <a:pt x="822" y="923"/>
                    </a:lnTo>
                    <a:lnTo>
                      <a:pt x="816" y="925"/>
                    </a:lnTo>
                    <a:lnTo>
                      <a:pt x="812" y="927"/>
                    </a:lnTo>
                    <a:lnTo>
                      <a:pt x="809" y="928"/>
                    </a:lnTo>
                    <a:lnTo>
                      <a:pt x="808" y="930"/>
                    </a:lnTo>
                    <a:lnTo>
                      <a:pt x="807" y="931"/>
                    </a:lnTo>
                    <a:lnTo>
                      <a:pt x="807" y="932"/>
                    </a:lnTo>
                    <a:lnTo>
                      <a:pt x="807" y="933"/>
                    </a:lnTo>
                    <a:lnTo>
                      <a:pt x="808" y="934"/>
                    </a:lnTo>
                    <a:lnTo>
                      <a:pt x="808" y="935"/>
                    </a:lnTo>
                    <a:lnTo>
                      <a:pt x="808" y="938"/>
                    </a:lnTo>
                    <a:lnTo>
                      <a:pt x="804" y="948"/>
                    </a:lnTo>
                    <a:lnTo>
                      <a:pt x="802" y="954"/>
                    </a:lnTo>
                    <a:lnTo>
                      <a:pt x="800" y="957"/>
                    </a:lnTo>
                    <a:lnTo>
                      <a:pt x="795" y="958"/>
                    </a:lnTo>
                    <a:lnTo>
                      <a:pt x="790" y="962"/>
                    </a:lnTo>
                    <a:lnTo>
                      <a:pt x="785" y="971"/>
                    </a:lnTo>
                    <a:lnTo>
                      <a:pt x="780" y="980"/>
                    </a:lnTo>
                    <a:lnTo>
                      <a:pt x="774" y="986"/>
                    </a:lnTo>
                    <a:lnTo>
                      <a:pt x="772" y="987"/>
                    </a:lnTo>
                    <a:lnTo>
                      <a:pt x="770" y="990"/>
                    </a:lnTo>
                    <a:lnTo>
                      <a:pt x="767" y="992"/>
                    </a:lnTo>
                    <a:lnTo>
                      <a:pt x="765" y="994"/>
                    </a:lnTo>
                    <a:lnTo>
                      <a:pt x="764" y="997"/>
                    </a:lnTo>
                    <a:lnTo>
                      <a:pt x="762" y="999"/>
                    </a:lnTo>
                    <a:lnTo>
                      <a:pt x="758" y="1002"/>
                    </a:lnTo>
                    <a:lnTo>
                      <a:pt x="755" y="1006"/>
                    </a:lnTo>
                    <a:lnTo>
                      <a:pt x="750" y="1010"/>
                    </a:lnTo>
                    <a:lnTo>
                      <a:pt x="743" y="1013"/>
                    </a:lnTo>
                    <a:lnTo>
                      <a:pt x="741" y="1014"/>
                    </a:lnTo>
                    <a:lnTo>
                      <a:pt x="740" y="1015"/>
                    </a:lnTo>
                    <a:lnTo>
                      <a:pt x="738" y="1016"/>
                    </a:lnTo>
                    <a:lnTo>
                      <a:pt x="738" y="1017"/>
                    </a:lnTo>
                    <a:lnTo>
                      <a:pt x="737" y="1017"/>
                    </a:lnTo>
                    <a:lnTo>
                      <a:pt x="736" y="1018"/>
                    </a:lnTo>
                    <a:lnTo>
                      <a:pt x="734" y="1017"/>
                    </a:lnTo>
                    <a:lnTo>
                      <a:pt x="733" y="1017"/>
                    </a:lnTo>
                    <a:lnTo>
                      <a:pt x="732" y="1017"/>
                    </a:lnTo>
                    <a:lnTo>
                      <a:pt x="730" y="1018"/>
                    </a:lnTo>
                    <a:lnTo>
                      <a:pt x="730" y="1018"/>
                    </a:lnTo>
                    <a:lnTo>
                      <a:pt x="730" y="1020"/>
                    </a:lnTo>
                    <a:lnTo>
                      <a:pt x="729" y="1020"/>
                    </a:lnTo>
                    <a:lnTo>
                      <a:pt x="727" y="1020"/>
                    </a:lnTo>
                    <a:lnTo>
                      <a:pt x="726" y="1018"/>
                    </a:lnTo>
                    <a:lnTo>
                      <a:pt x="722" y="1018"/>
                    </a:lnTo>
                    <a:lnTo>
                      <a:pt x="720" y="1017"/>
                    </a:lnTo>
                    <a:lnTo>
                      <a:pt x="719" y="1017"/>
                    </a:lnTo>
                    <a:lnTo>
                      <a:pt x="717" y="1018"/>
                    </a:lnTo>
                    <a:lnTo>
                      <a:pt x="715" y="1018"/>
                    </a:lnTo>
                    <a:lnTo>
                      <a:pt x="714" y="1017"/>
                    </a:lnTo>
                    <a:lnTo>
                      <a:pt x="713" y="1018"/>
                    </a:lnTo>
                    <a:lnTo>
                      <a:pt x="711" y="1020"/>
                    </a:lnTo>
                    <a:lnTo>
                      <a:pt x="710" y="1021"/>
                    </a:lnTo>
                    <a:lnTo>
                      <a:pt x="707" y="1021"/>
                    </a:lnTo>
                    <a:lnTo>
                      <a:pt x="704" y="1021"/>
                    </a:lnTo>
                    <a:lnTo>
                      <a:pt x="704" y="1022"/>
                    </a:lnTo>
                    <a:lnTo>
                      <a:pt x="703" y="1022"/>
                    </a:lnTo>
                    <a:lnTo>
                      <a:pt x="703" y="1022"/>
                    </a:lnTo>
                    <a:lnTo>
                      <a:pt x="702" y="1021"/>
                    </a:lnTo>
                    <a:lnTo>
                      <a:pt x="699" y="1022"/>
                    </a:lnTo>
                    <a:lnTo>
                      <a:pt x="697" y="1023"/>
                    </a:lnTo>
                    <a:lnTo>
                      <a:pt x="695" y="1024"/>
                    </a:lnTo>
                    <a:lnTo>
                      <a:pt x="692" y="1024"/>
                    </a:lnTo>
                    <a:lnTo>
                      <a:pt x="690" y="1024"/>
                    </a:lnTo>
                    <a:lnTo>
                      <a:pt x="688" y="1023"/>
                    </a:lnTo>
                    <a:lnTo>
                      <a:pt x="687" y="1021"/>
                    </a:lnTo>
                    <a:lnTo>
                      <a:pt x="685" y="1020"/>
                    </a:lnTo>
                    <a:lnTo>
                      <a:pt x="684" y="1020"/>
                    </a:lnTo>
                    <a:lnTo>
                      <a:pt x="683" y="1020"/>
                    </a:lnTo>
                    <a:lnTo>
                      <a:pt x="683" y="1021"/>
                    </a:lnTo>
                    <a:lnTo>
                      <a:pt x="683" y="1022"/>
                    </a:lnTo>
                    <a:lnTo>
                      <a:pt x="683" y="1023"/>
                    </a:lnTo>
                    <a:lnTo>
                      <a:pt x="683" y="1023"/>
                    </a:lnTo>
                    <a:lnTo>
                      <a:pt x="681" y="1022"/>
                    </a:lnTo>
                    <a:lnTo>
                      <a:pt x="681" y="1021"/>
                    </a:lnTo>
                    <a:lnTo>
                      <a:pt x="680" y="1020"/>
                    </a:lnTo>
                    <a:lnTo>
                      <a:pt x="681" y="1018"/>
                    </a:lnTo>
                    <a:lnTo>
                      <a:pt x="681" y="1017"/>
                    </a:lnTo>
                    <a:lnTo>
                      <a:pt x="680" y="1016"/>
                    </a:lnTo>
                    <a:lnTo>
                      <a:pt x="678" y="1014"/>
                    </a:lnTo>
                    <a:lnTo>
                      <a:pt x="677" y="1014"/>
                    </a:lnTo>
                    <a:lnTo>
                      <a:pt x="677" y="1013"/>
                    </a:lnTo>
                    <a:lnTo>
                      <a:pt x="677" y="1012"/>
                    </a:lnTo>
                    <a:lnTo>
                      <a:pt x="677" y="1010"/>
                    </a:lnTo>
                    <a:lnTo>
                      <a:pt x="677" y="1009"/>
                    </a:lnTo>
                    <a:lnTo>
                      <a:pt x="676" y="1007"/>
                    </a:lnTo>
                    <a:lnTo>
                      <a:pt x="677" y="1007"/>
                    </a:lnTo>
                    <a:lnTo>
                      <a:pt x="678" y="1006"/>
                    </a:lnTo>
                    <a:lnTo>
                      <a:pt x="678" y="1005"/>
                    </a:lnTo>
                    <a:lnTo>
                      <a:pt x="678" y="1003"/>
                    </a:lnTo>
                    <a:lnTo>
                      <a:pt x="678" y="1002"/>
                    </a:lnTo>
                    <a:lnTo>
                      <a:pt x="678" y="1000"/>
                    </a:lnTo>
                    <a:lnTo>
                      <a:pt x="680" y="998"/>
                    </a:lnTo>
                    <a:lnTo>
                      <a:pt x="680" y="995"/>
                    </a:lnTo>
                    <a:lnTo>
                      <a:pt x="680" y="993"/>
                    </a:lnTo>
                    <a:lnTo>
                      <a:pt x="678" y="992"/>
                    </a:lnTo>
                    <a:lnTo>
                      <a:pt x="676" y="990"/>
                    </a:lnTo>
                    <a:lnTo>
                      <a:pt x="672" y="983"/>
                    </a:lnTo>
                    <a:lnTo>
                      <a:pt x="670" y="975"/>
                    </a:lnTo>
                    <a:lnTo>
                      <a:pt x="669" y="968"/>
                    </a:lnTo>
                    <a:lnTo>
                      <a:pt x="668" y="964"/>
                    </a:lnTo>
                    <a:lnTo>
                      <a:pt x="667" y="963"/>
                    </a:lnTo>
                    <a:lnTo>
                      <a:pt x="667" y="962"/>
                    </a:lnTo>
                    <a:lnTo>
                      <a:pt x="666" y="961"/>
                    </a:lnTo>
                    <a:lnTo>
                      <a:pt x="665" y="961"/>
                    </a:lnTo>
                    <a:lnTo>
                      <a:pt x="663" y="957"/>
                    </a:lnTo>
                    <a:lnTo>
                      <a:pt x="662" y="955"/>
                    </a:lnTo>
                    <a:lnTo>
                      <a:pt x="661" y="951"/>
                    </a:lnTo>
                    <a:lnTo>
                      <a:pt x="660" y="949"/>
                    </a:lnTo>
                    <a:lnTo>
                      <a:pt x="660" y="948"/>
                    </a:lnTo>
                    <a:lnTo>
                      <a:pt x="661" y="946"/>
                    </a:lnTo>
                    <a:lnTo>
                      <a:pt x="660" y="942"/>
                    </a:lnTo>
                    <a:lnTo>
                      <a:pt x="659" y="935"/>
                    </a:lnTo>
                    <a:lnTo>
                      <a:pt x="657" y="927"/>
                    </a:lnTo>
                    <a:lnTo>
                      <a:pt x="655" y="919"/>
                    </a:lnTo>
                    <a:lnTo>
                      <a:pt x="655" y="913"/>
                    </a:lnTo>
                    <a:lnTo>
                      <a:pt x="655" y="911"/>
                    </a:lnTo>
                    <a:lnTo>
                      <a:pt x="655" y="910"/>
                    </a:lnTo>
                    <a:lnTo>
                      <a:pt x="655" y="909"/>
                    </a:lnTo>
                    <a:lnTo>
                      <a:pt x="655" y="909"/>
                    </a:lnTo>
                    <a:lnTo>
                      <a:pt x="655" y="909"/>
                    </a:lnTo>
                    <a:lnTo>
                      <a:pt x="655" y="908"/>
                    </a:lnTo>
                    <a:lnTo>
                      <a:pt x="657" y="906"/>
                    </a:lnTo>
                    <a:lnTo>
                      <a:pt x="658" y="904"/>
                    </a:lnTo>
                    <a:lnTo>
                      <a:pt x="655" y="901"/>
                    </a:lnTo>
                    <a:lnTo>
                      <a:pt x="652" y="894"/>
                    </a:lnTo>
                    <a:lnTo>
                      <a:pt x="647" y="887"/>
                    </a:lnTo>
                    <a:lnTo>
                      <a:pt x="644" y="879"/>
                    </a:lnTo>
                    <a:lnTo>
                      <a:pt x="643" y="872"/>
                    </a:lnTo>
                    <a:lnTo>
                      <a:pt x="641" y="866"/>
                    </a:lnTo>
                    <a:lnTo>
                      <a:pt x="639" y="860"/>
                    </a:lnTo>
                    <a:lnTo>
                      <a:pt x="636" y="853"/>
                    </a:lnTo>
                    <a:lnTo>
                      <a:pt x="635" y="845"/>
                    </a:lnTo>
                    <a:lnTo>
                      <a:pt x="635" y="841"/>
                    </a:lnTo>
                    <a:lnTo>
                      <a:pt x="635" y="836"/>
                    </a:lnTo>
                    <a:lnTo>
                      <a:pt x="635" y="834"/>
                    </a:lnTo>
                    <a:lnTo>
                      <a:pt x="635" y="833"/>
                    </a:lnTo>
                    <a:lnTo>
                      <a:pt x="635" y="831"/>
                    </a:lnTo>
                    <a:lnTo>
                      <a:pt x="635" y="831"/>
                    </a:lnTo>
                    <a:lnTo>
                      <a:pt x="635" y="830"/>
                    </a:lnTo>
                    <a:lnTo>
                      <a:pt x="636" y="830"/>
                    </a:lnTo>
                    <a:lnTo>
                      <a:pt x="636" y="829"/>
                    </a:lnTo>
                    <a:lnTo>
                      <a:pt x="638" y="826"/>
                    </a:lnTo>
                    <a:lnTo>
                      <a:pt x="638" y="818"/>
                    </a:lnTo>
                    <a:lnTo>
                      <a:pt x="639" y="808"/>
                    </a:lnTo>
                    <a:lnTo>
                      <a:pt x="641" y="800"/>
                    </a:lnTo>
                    <a:lnTo>
                      <a:pt x="643" y="797"/>
                    </a:lnTo>
                    <a:lnTo>
                      <a:pt x="644" y="794"/>
                    </a:lnTo>
                    <a:lnTo>
                      <a:pt x="645" y="793"/>
                    </a:lnTo>
                    <a:lnTo>
                      <a:pt x="646" y="793"/>
                    </a:lnTo>
                    <a:lnTo>
                      <a:pt x="646" y="793"/>
                    </a:lnTo>
                    <a:lnTo>
                      <a:pt x="646" y="792"/>
                    </a:lnTo>
                    <a:lnTo>
                      <a:pt x="647" y="791"/>
                    </a:lnTo>
                    <a:lnTo>
                      <a:pt x="648" y="790"/>
                    </a:lnTo>
                    <a:lnTo>
                      <a:pt x="650" y="787"/>
                    </a:lnTo>
                    <a:lnTo>
                      <a:pt x="651" y="786"/>
                    </a:lnTo>
                    <a:lnTo>
                      <a:pt x="651" y="785"/>
                    </a:lnTo>
                    <a:lnTo>
                      <a:pt x="652" y="785"/>
                    </a:lnTo>
                    <a:lnTo>
                      <a:pt x="653" y="785"/>
                    </a:lnTo>
                    <a:lnTo>
                      <a:pt x="653" y="784"/>
                    </a:lnTo>
                    <a:lnTo>
                      <a:pt x="654" y="782"/>
                    </a:lnTo>
                    <a:lnTo>
                      <a:pt x="655" y="778"/>
                    </a:lnTo>
                    <a:lnTo>
                      <a:pt x="657" y="771"/>
                    </a:lnTo>
                    <a:lnTo>
                      <a:pt x="654" y="767"/>
                    </a:lnTo>
                    <a:lnTo>
                      <a:pt x="652" y="761"/>
                    </a:lnTo>
                    <a:lnTo>
                      <a:pt x="652" y="756"/>
                    </a:lnTo>
                    <a:lnTo>
                      <a:pt x="652" y="755"/>
                    </a:lnTo>
                    <a:lnTo>
                      <a:pt x="652" y="755"/>
                    </a:lnTo>
                    <a:lnTo>
                      <a:pt x="651" y="755"/>
                    </a:lnTo>
                    <a:lnTo>
                      <a:pt x="651" y="755"/>
                    </a:lnTo>
                    <a:lnTo>
                      <a:pt x="651" y="754"/>
                    </a:lnTo>
                    <a:lnTo>
                      <a:pt x="651" y="754"/>
                    </a:lnTo>
                    <a:lnTo>
                      <a:pt x="651" y="752"/>
                    </a:lnTo>
                    <a:lnTo>
                      <a:pt x="652" y="749"/>
                    </a:lnTo>
                    <a:lnTo>
                      <a:pt x="652" y="742"/>
                    </a:lnTo>
                    <a:lnTo>
                      <a:pt x="650" y="737"/>
                    </a:lnTo>
                    <a:lnTo>
                      <a:pt x="648" y="730"/>
                    </a:lnTo>
                    <a:lnTo>
                      <a:pt x="647" y="727"/>
                    </a:lnTo>
                    <a:lnTo>
                      <a:pt x="645" y="725"/>
                    </a:lnTo>
                    <a:lnTo>
                      <a:pt x="644" y="724"/>
                    </a:lnTo>
                    <a:lnTo>
                      <a:pt x="644" y="723"/>
                    </a:lnTo>
                    <a:lnTo>
                      <a:pt x="645" y="722"/>
                    </a:lnTo>
                    <a:lnTo>
                      <a:pt x="647" y="722"/>
                    </a:lnTo>
                    <a:lnTo>
                      <a:pt x="650" y="720"/>
                    </a:lnTo>
                    <a:lnTo>
                      <a:pt x="651" y="720"/>
                    </a:lnTo>
                    <a:lnTo>
                      <a:pt x="652" y="719"/>
                    </a:lnTo>
                    <a:lnTo>
                      <a:pt x="651" y="719"/>
                    </a:lnTo>
                    <a:lnTo>
                      <a:pt x="651" y="719"/>
                    </a:lnTo>
                    <a:lnTo>
                      <a:pt x="650" y="718"/>
                    </a:lnTo>
                    <a:lnTo>
                      <a:pt x="648" y="719"/>
                    </a:lnTo>
                    <a:lnTo>
                      <a:pt x="646" y="719"/>
                    </a:lnTo>
                    <a:lnTo>
                      <a:pt x="645" y="720"/>
                    </a:lnTo>
                    <a:lnTo>
                      <a:pt x="644" y="720"/>
                    </a:lnTo>
                    <a:lnTo>
                      <a:pt x="644" y="719"/>
                    </a:lnTo>
                    <a:lnTo>
                      <a:pt x="643" y="718"/>
                    </a:lnTo>
                    <a:lnTo>
                      <a:pt x="643" y="717"/>
                    </a:lnTo>
                    <a:lnTo>
                      <a:pt x="641" y="717"/>
                    </a:lnTo>
                    <a:lnTo>
                      <a:pt x="641" y="717"/>
                    </a:lnTo>
                    <a:lnTo>
                      <a:pt x="640" y="716"/>
                    </a:lnTo>
                    <a:lnTo>
                      <a:pt x="641" y="716"/>
                    </a:lnTo>
                    <a:lnTo>
                      <a:pt x="643" y="716"/>
                    </a:lnTo>
                    <a:lnTo>
                      <a:pt x="643" y="715"/>
                    </a:lnTo>
                    <a:lnTo>
                      <a:pt x="641" y="714"/>
                    </a:lnTo>
                    <a:lnTo>
                      <a:pt x="641" y="712"/>
                    </a:lnTo>
                    <a:lnTo>
                      <a:pt x="641" y="712"/>
                    </a:lnTo>
                    <a:lnTo>
                      <a:pt x="641" y="711"/>
                    </a:lnTo>
                    <a:lnTo>
                      <a:pt x="641" y="711"/>
                    </a:lnTo>
                    <a:lnTo>
                      <a:pt x="640" y="710"/>
                    </a:lnTo>
                    <a:lnTo>
                      <a:pt x="640" y="709"/>
                    </a:lnTo>
                    <a:lnTo>
                      <a:pt x="639" y="708"/>
                    </a:lnTo>
                    <a:lnTo>
                      <a:pt x="639" y="707"/>
                    </a:lnTo>
                    <a:lnTo>
                      <a:pt x="640" y="707"/>
                    </a:lnTo>
                    <a:lnTo>
                      <a:pt x="641" y="708"/>
                    </a:lnTo>
                    <a:lnTo>
                      <a:pt x="643" y="707"/>
                    </a:lnTo>
                    <a:lnTo>
                      <a:pt x="644" y="707"/>
                    </a:lnTo>
                    <a:lnTo>
                      <a:pt x="643" y="707"/>
                    </a:lnTo>
                    <a:lnTo>
                      <a:pt x="643" y="705"/>
                    </a:lnTo>
                    <a:lnTo>
                      <a:pt x="641" y="705"/>
                    </a:lnTo>
                    <a:lnTo>
                      <a:pt x="640" y="707"/>
                    </a:lnTo>
                    <a:lnTo>
                      <a:pt x="639" y="705"/>
                    </a:lnTo>
                    <a:lnTo>
                      <a:pt x="639" y="705"/>
                    </a:lnTo>
                    <a:lnTo>
                      <a:pt x="638" y="704"/>
                    </a:lnTo>
                    <a:lnTo>
                      <a:pt x="636" y="700"/>
                    </a:lnTo>
                    <a:lnTo>
                      <a:pt x="635" y="699"/>
                    </a:lnTo>
                    <a:lnTo>
                      <a:pt x="633" y="697"/>
                    </a:lnTo>
                    <a:lnTo>
                      <a:pt x="632" y="696"/>
                    </a:lnTo>
                    <a:lnTo>
                      <a:pt x="632" y="696"/>
                    </a:lnTo>
                    <a:lnTo>
                      <a:pt x="632" y="695"/>
                    </a:lnTo>
                    <a:lnTo>
                      <a:pt x="632" y="695"/>
                    </a:lnTo>
                    <a:lnTo>
                      <a:pt x="632" y="694"/>
                    </a:lnTo>
                    <a:lnTo>
                      <a:pt x="631" y="694"/>
                    </a:lnTo>
                    <a:lnTo>
                      <a:pt x="630" y="694"/>
                    </a:lnTo>
                    <a:lnTo>
                      <a:pt x="630" y="694"/>
                    </a:lnTo>
                    <a:lnTo>
                      <a:pt x="630" y="693"/>
                    </a:lnTo>
                    <a:lnTo>
                      <a:pt x="631" y="692"/>
                    </a:lnTo>
                    <a:lnTo>
                      <a:pt x="631" y="692"/>
                    </a:lnTo>
                    <a:lnTo>
                      <a:pt x="630" y="690"/>
                    </a:lnTo>
                    <a:lnTo>
                      <a:pt x="629" y="689"/>
                    </a:lnTo>
                    <a:lnTo>
                      <a:pt x="628" y="688"/>
                    </a:lnTo>
                    <a:lnTo>
                      <a:pt x="626" y="687"/>
                    </a:lnTo>
                    <a:lnTo>
                      <a:pt x="625" y="686"/>
                    </a:lnTo>
                    <a:lnTo>
                      <a:pt x="625" y="686"/>
                    </a:lnTo>
                    <a:lnTo>
                      <a:pt x="624" y="684"/>
                    </a:lnTo>
                    <a:lnTo>
                      <a:pt x="623" y="682"/>
                    </a:lnTo>
                    <a:lnTo>
                      <a:pt x="622" y="680"/>
                    </a:lnTo>
                    <a:lnTo>
                      <a:pt x="620" y="679"/>
                    </a:lnTo>
                    <a:lnTo>
                      <a:pt x="620" y="678"/>
                    </a:lnTo>
                    <a:lnTo>
                      <a:pt x="620" y="678"/>
                    </a:lnTo>
                    <a:lnTo>
                      <a:pt x="620" y="679"/>
                    </a:lnTo>
                    <a:lnTo>
                      <a:pt x="620" y="678"/>
                    </a:lnTo>
                    <a:lnTo>
                      <a:pt x="620" y="678"/>
                    </a:lnTo>
                    <a:lnTo>
                      <a:pt x="620" y="678"/>
                    </a:lnTo>
                    <a:lnTo>
                      <a:pt x="618" y="678"/>
                    </a:lnTo>
                    <a:lnTo>
                      <a:pt x="617" y="677"/>
                    </a:lnTo>
                    <a:lnTo>
                      <a:pt x="617" y="675"/>
                    </a:lnTo>
                    <a:lnTo>
                      <a:pt x="616" y="674"/>
                    </a:lnTo>
                    <a:lnTo>
                      <a:pt x="616" y="673"/>
                    </a:lnTo>
                    <a:lnTo>
                      <a:pt x="617" y="672"/>
                    </a:lnTo>
                    <a:lnTo>
                      <a:pt x="617" y="672"/>
                    </a:lnTo>
                    <a:lnTo>
                      <a:pt x="617" y="672"/>
                    </a:lnTo>
                    <a:lnTo>
                      <a:pt x="617" y="671"/>
                    </a:lnTo>
                    <a:lnTo>
                      <a:pt x="617" y="671"/>
                    </a:lnTo>
                    <a:lnTo>
                      <a:pt x="616" y="670"/>
                    </a:lnTo>
                    <a:lnTo>
                      <a:pt x="615" y="671"/>
                    </a:lnTo>
                    <a:lnTo>
                      <a:pt x="615" y="670"/>
                    </a:lnTo>
                    <a:lnTo>
                      <a:pt x="615" y="669"/>
                    </a:lnTo>
                    <a:lnTo>
                      <a:pt x="614" y="667"/>
                    </a:lnTo>
                    <a:lnTo>
                      <a:pt x="613" y="665"/>
                    </a:lnTo>
                    <a:lnTo>
                      <a:pt x="611" y="663"/>
                    </a:lnTo>
                    <a:lnTo>
                      <a:pt x="611" y="662"/>
                    </a:lnTo>
                    <a:lnTo>
                      <a:pt x="611" y="660"/>
                    </a:lnTo>
                    <a:lnTo>
                      <a:pt x="611" y="660"/>
                    </a:lnTo>
                    <a:lnTo>
                      <a:pt x="614" y="660"/>
                    </a:lnTo>
                    <a:lnTo>
                      <a:pt x="615" y="660"/>
                    </a:lnTo>
                    <a:lnTo>
                      <a:pt x="616" y="659"/>
                    </a:lnTo>
                    <a:lnTo>
                      <a:pt x="616" y="659"/>
                    </a:lnTo>
                    <a:lnTo>
                      <a:pt x="616" y="658"/>
                    </a:lnTo>
                    <a:lnTo>
                      <a:pt x="617" y="657"/>
                    </a:lnTo>
                    <a:lnTo>
                      <a:pt x="617" y="656"/>
                    </a:lnTo>
                    <a:lnTo>
                      <a:pt x="617" y="654"/>
                    </a:lnTo>
                    <a:lnTo>
                      <a:pt x="617" y="651"/>
                    </a:lnTo>
                    <a:lnTo>
                      <a:pt x="618" y="650"/>
                    </a:lnTo>
                    <a:lnTo>
                      <a:pt x="618" y="650"/>
                    </a:lnTo>
                    <a:lnTo>
                      <a:pt x="618" y="650"/>
                    </a:lnTo>
                    <a:lnTo>
                      <a:pt x="620" y="651"/>
                    </a:lnTo>
                    <a:lnTo>
                      <a:pt x="621" y="652"/>
                    </a:lnTo>
                    <a:lnTo>
                      <a:pt x="622" y="654"/>
                    </a:lnTo>
                    <a:lnTo>
                      <a:pt x="623" y="654"/>
                    </a:lnTo>
                    <a:lnTo>
                      <a:pt x="623" y="652"/>
                    </a:lnTo>
                    <a:lnTo>
                      <a:pt x="623" y="651"/>
                    </a:lnTo>
                    <a:lnTo>
                      <a:pt x="622" y="651"/>
                    </a:lnTo>
                    <a:lnTo>
                      <a:pt x="621" y="651"/>
                    </a:lnTo>
                    <a:lnTo>
                      <a:pt x="620" y="650"/>
                    </a:lnTo>
                    <a:lnTo>
                      <a:pt x="618" y="649"/>
                    </a:lnTo>
                    <a:lnTo>
                      <a:pt x="618" y="649"/>
                    </a:lnTo>
                    <a:lnTo>
                      <a:pt x="618" y="648"/>
                    </a:lnTo>
                    <a:lnTo>
                      <a:pt x="621" y="648"/>
                    </a:lnTo>
                    <a:lnTo>
                      <a:pt x="621" y="648"/>
                    </a:lnTo>
                    <a:lnTo>
                      <a:pt x="621" y="647"/>
                    </a:lnTo>
                    <a:lnTo>
                      <a:pt x="622" y="645"/>
                    </a:lnTo>
                    <a:lnTo>
                      <a:pt x="622" y="644"/>
                    </a:lnTo>
                    <a:lnTo>
                      <a:pt x="622" y="643"/>
                    </a:lnTo>
                    <a:lnTo>
                      <a:pt x="624" y="643"/>
                    </a:lnTo>
                    <a:lnTo>
                      <a:pt x="622" y="642"/>
                    </a:lnTo>
                    <a:lnTo>
                      <a:pt x="620" y="642"/>
                    </a:lnTo>
                    <a:lnTo>
                      <a:pt x="618" y="642"/>
                    </a:lnTo>
                    <a:lnTo>
                      <a:pt x="617" y="641"/>
                    </a:lnTo>
                    <a:lnTo>
                      <a:pt x="617" y="640"/>
                    </a:lnTo>
                    <a:lnTo>
                      <a:pt x="618" y="637"/>
                    </a:lnTo>
                    <a:lnTo>
                      <a:pt x="620" y="636"/>
                    </a:lnTo>
                    <a:lnTo>
                      <a:pt x="621" y="635"/>
                    </a:lnTo>
                    <a:lnTo>
                      <a:pt x="621" y="634"/>
                    </a:lnTo>
                    <a:lnTo>
                      <a:pt x="621" y="633"/>
                    </a:lnTo>
                    <a:lnTo>
                      <a:pt x="622" y="632"/>
                    </a:lnTo>
                    <a:lnTo>
                      <a:pt x="622" y="630"/>
                    </a:lnTo>
                    <a:lnTo>
                      <a:pt x="622" y="630"/>
                    </a:lnTo>
                    <a:lnTo>
                      <a:pt x="622" y="620"/>
                    </a:lnTo>
                    <a:lnTo>
                      <a:pt x="623" y="619"/>
                    </a:lnTo>
                    <a:lnTo>
                      <a:pt x="622" y="618"/>
                    </a:lnTo>
                    <a:lnTo>
                      <a:pt x="622" y="617"/>
                    </a:lnTo>
                    <a:lnTo>
                      <a:pt x="622" y="615"/>
                    </a:lnTo>
                    <a:lnTo>
                      <a:pt x="622" y="615"/>
                    </a:lnTo>
                    <a:lnTo>
                      <a:pt x="622" y="614"/>
                    </a:lnTo>
                    <a:lnTo>
                      <a:pt x="621" y="613"/>
                    </a:lnTo>
                    <a:lnTo>
                      <a:pt x="620" y="612"/>
                    </a:lnTo>
                    <a:lnTo>
                      <a:pt x="620" y="612"/>
                    </a:lnTo>
                    <a:lnTo>
                      <a:pt x="620" y="612"/>
                    </a:lnTo>
                    <a:lnTo>
                      <a:pt x="621" y="612"/>
                    </a:lnTo>
                    <a:lnTo>
                      <a:pt x="622" y="612"/>
                    </a:lnTo>
                    <a:lnTo>
                      <a:pt x="622" y="611"/>
                    </a:lnTo>
                    <a:lnTo>
                      <a:pt x="622" y="611"/>
                    </a:lnTo>
                    <a:lnTo>
                      <a:pt x="622" y="611"/>
                    </a:lnTo>
                    <a:lnTo>
                      <a:pt x="621" y="611"/>
                    </a:lnTo>
                    <a:lnTo>
                      <a:pt x="622" y="610"/>
                    </a:lnTo>
                    <a:lnTo>
                      <a:pt x="623" y="608"/>
                    </a:lnTo>
                    <a:lnTo>
                      <a:pt x="622" y="608"/>
                    </a:lnTo>
                    <a:lnTo>
                      <a:pt x="622" y="610"/>
                    </a:lnTo>
                    <a:lnTo>
                      <a:pt x="621" y="610"/>
                    </a:lnTo>
                    <a:lnTo>
                      <a:pt x="621" y="610"/>
                    </a:lnTo>
                    <a:lnTo>
                      <a:pt x="621" y="610"/>
                    </a:lnTo>
                    <a:lnTo>
                      <a:pt x="621" y="610"/>
                    </a:lnTo>
                    <a:lnTo>
                      <a:pt x="620" y="610"/>
                    </a:lnTo>
                    <a:lnTo>
                      <a:pt x="618" y="610"/>
                    </a:lnTo>
                    <a:lnTo>
                      <a:pt x="617" y="610"/>
                    </a:lnTo>
                    <a:lnTo>
                      <a:pt x="615" y="608"/>
                    </a:lnTo>
                    <a:lnTo>
                      <a:pt x="614" y="606"/>
                    </a:lnTo>
                    <a:lnTo>
                      <a:pt x="614" y="605"/>
                    </a:lnTo>
                    <a:lnTo>
                      <a:pt x="614" y="604"/>
                    </a:lnTo>
                    <a:lnTo>
                      <a:pt x="614" y="604"/>
                    </a:lnTo>
                    <a:lnTo>
                      <a:pt x="614" y="605"/>
                    </a:lnTo>
                    <a:lnTo>
                      <a:pt x="613" y="606"/>
                    </a:lnTo>
                    <a:lnTo>
                      <a:pt x="613" y="605"/>
                    </a:lnTo>
                    <a:lnTo>
                      <a:pt x="611" y="604"/>
                    </a:lnTo>
                    <a:lnTo>
                      <a:pt x="611" y="604"/>
                    </a:lnTo>
                    <a:lnTo>
                      <a:pt x="610" y="604"/>
                    </a:lnTo>
                    <a:lnTo>
                      <a:pt x="609" y="604"/>
                    </a:lnTo>
                    <a:lnTo>
                      <a:pt x="608" y="603"/>
                    </a:lnTo>
                    <a:lnTo>
                      <a:pt x="609" y="604"/>
                    </a:lnTo>
                    <a:lnTo>
                      <a:pt x="609" y="604"/>
                    </a:lnTo>
                    <a:lnTo>
                      <a:pt x="609" y="604"/>
                    </a:lnTo>
                    <a:lnTo>
                      <a:pt x="608" y="605"/>
                    </a:lnTo>
                    <a:lnTo>
                      <a:pt x="607" y="605"/>
                    </a:lnTo>
                    <a:lnTo>
                      <a:pt x="605" y="604"/>
                    </a:lnTo>
                    <a:lnTo>
                      <a:pt x="605" y="605"/>
                    </a:lnTo>
                    <a:lnTo>
                      <a:pt x="603" y="606"/>
                    </a:lnTo>
                    <a:lnTo>
                      <a:pt x="602" y="605"/>
                    </a:lnTo>
                    <a:lnTo>
                      <a:pt x="601" y="604"/>
                    </a:lnTo>
                    <a:lnTo>
                      <a:pt x="600" y="605"/>
                    </a:lnTo>
                    <a:lnTo>
                      <a:pt x="600" y="606"/>
                    </a:lnTo>
                    <a:lnTo>
                      <a:pt x="600" y="606"/>
                    </a:lnTo>
                    <a:lnTo>
                      <a:pt x="599" y="607"/>
                    </a:lnTo>
                    <a:lnTo>
                      <a:pt x="598" y="607"/>
                    </a:lnTo>
                    <a:lnTo>
                      <a:pt x="596" y="607"/>
                    </a:lnTo>
                    <a:lnTo>
                      <a:pt x="596" y="607"/>
                    </a:lnTo>
                    <a:lnTo>
                      <a:pt x="595" y="607"/>
                    </a:lnTo>
                    <a:lnTo>
                      <a:pt x="595" y="607"/>
                    </a:lnTo>
                    <a:lnTo>
                      <a:pt x="595" y="607"/>
                    </a:lnTo>
                    <a:lnTo>
                      <a:pt x="595" y="607"/>
                    </a:lnTo>
                    <a:lnTo>
                      <a:pt x="594" y="607"/>
                    </a:lnTo>
                    <a:lnTo>
                      <a:pt x="593" y="607"/>
                    </a:lnTo>
                    <a:lnTo>
                      <a:pt x="592" y="606"/>
                    </a:lnTo>
                    <a:lnTo>
                      <a:pt x="590" y="605"/>
                    </a:lnTo>
                    <a:lnTo>
                      <a:pt x="587" y="603"/>
                    </a:lnTo>
                    <a:lnTo>
                      <a:pt x="586" y="603"/>
                    </a:lnTo>
                    <a:lnTo>
                      <a:pt x="585" y="603"/>
                    </a:lnTo>
                    <a:lnTo>
                      <a:pt x="585" y="603"/>
                    </a:lnTo>
                    <a:lnTo>
                      <a:pt x="585" y="602"/>
                    </a:lnTo>
                    <a:lnTo>
                      <a:pt x="584" y="600"/>
                    </a:lnTo>
                    <a:lnTo>
                      <a:pt x="583" y="600"/>
                    </a:lnTo>
                    <a:lnTo>
                      <a:pt x="584" y="599"/>
                    </a:lnTo>
                    <a:lnTo>
                      <a:pt x="584" y="599"/>
                    </a:lnTo>
                    <a:lnTo>
                      <a:pt x="585" y="599"/>
                    </a:lnTo>
                    <a:lnTo>
                      <a:pt x="585" y="598"/>
                    </a:lnTo>
                    <a:lnTo>
                      <a:pt x="585" y="598"/>
                    </a:lnTo>
                    <a:lnTo>
                      <a:pt x="585" y="597"/>
                    </a:lnTo>
                    <a:lnTo>
                      <a:pt x="586" y="597"/>
                    </a:lnTo>
                    <a:lnTo>
                      <a:pt x="587" y="596"/>
                    </a:lnTo>
                    <a:lnTo>
                      <a:pt x="586" y="596"/>
                    </a:lnTo>
                    <a:lnTo>
                      <a:pt x="585" y="596"/>
                    </a:lnTo>
                    <a:lnTo>
                      <a:pt x="585" y="597"/>
                    </a:lnTo>
                    <a:lnTo>
                      <a:pt x="585" y="597"/>
                    </a:lnTo>
                    <a:lnTo>
                      <a:pt x="584" y="597"/>
                    </a:lnTo>
                    <a:lnTo>
                      <a:pt x="583" y="598"/>
                    </a:lnTo>
                    <a:lnTo>
                      <a:pt x="583" y="598"/>
                    </a:lnTo>
                    <a:lnTo>
                      <a:pt x="583" y="597"/>
                    </a:lnTo>
                    <a:lnTo>
                      <a:pt x="583" y="596"/>
                    </a:lnTo>
                    <a:lnTo>
                      <a:pt x="581" y="596"/>
                    </a:lnTo>
                    <a:lnTo>
                      <a:pt x="584" y="593"/>
                    </a:lnTo>
                    <a:lnTo>
                      <a:pt x="584" y="595"/>
                    </a:lnTo>
                    <a:lnTo>
                      <a:pt x="583" y="595"/>
                    </a:lnTo>
                    <a:lnTo>
                      <a:pt x="583" y="595"/>
                    </a:lnTo>
                    <a:lnTo>
                      <a:pt x="583" y="593"/>
                    </a:lnTo>
                    <a:lnTo>
                      <a:pt x="581" y="592"/>
                    </a:lnTo>
                    <a:lnTo>
                      <a:pt x="583" y="591"/>
                    </a:lnTo>
                    <a:lnTo>
                      <a:pt x="581" y="590"/>
                    </a:lnTo>
                    <a:lnTo>
                      <a:pt x="579" y="589"/>
                    </a:lnTo>
                    <a:lnTo>
                      <a:pt x="577" y="588"/>
                    </a:lnTo>
                    <a:lnTo>
                      <a:pt x="573" y="587"/>
                    </a:lnTo>
                    <a:lnTo>
                      <a:pt x="572" y="587"/>
                    </a:lnTo>
                    <a:lnTo>
                      <a:pt x="571" y="587"/>
                    </a:lnTo>
                    <a:lnTo>
                      <a:pt x="570" y="587"/>
                    </a:lnTo>
                    <a:lnTo>
                      <a:pt x="569" y="587"/>
                    </a:lnTo>
                    <a:lnTo>
                      <a:pt x="569" y="585"/>
                    </a:lnTo>
                    <a:lnTo>
                      <a:pt x="570" y="585"/>
                    </a:lnTo>
                    <a:lnTo>
                      <a:pt x="568" y="585"/>
                    </a:lnTo>
                    <a:lnTo>
                      <a:pt x="568" y="585"/>
                    </a:lnTo>
                    <a:lnTo>
                      <a:pt x="566" y="585"/>
                    </a:lnTo>
                    <a:lnTo>
                      <a:pt x="566" y="587"/>
                    </a:lnTo>
                    <a:lnTo>
                      <a:pt x="566" y="587"/>
                    </a:lnTo>
                    <a:lnTo>
                      <a:pt x="565" y="587"/>
                    </a:lnTo>
                    <a:lnTo>
                      <a:pt x="563" y="587"/>
                    </a:lnTo>
                    <a:lnTo>
                      <a:pt x="560" y="587"/>
                    </a:lnTo>
                    <a:lnTo>
                      <a:pt x="560" y="587"/>
                    </a:lnTo>
                    <a:lnTo>
                      <a:pt x="560" y="587"/>
                    </a:lnTo>
                    <a:lnTo>
                      <a:pt x="558" y="587"/>
                    </a:lnTo>
                    <a:lnTo>
                      <a:pt x="557" y="587"/>
                    </a:lnTo>
                    <a:lnTo>
                      <a:pt x="557" y="587"/>
                    </a:lnTo>
                    <a:lnTo>
                      <a:pt x="557" y="587"/>
                    </a:lnTo>
                    <a:lnTo>
                      <a:pt x="558" y="588"/>
                    </a:lnTo>
                    <a:lnTo>
                      <a:pt x="558" y="588"/>
                    </a:lnTo>
                    <a:lnTo>
                      <a:pt x="557" y="589"/>
                    </a:lnTo>
                    <a:lnTo>
                      <a:pt x="556" y="589"/>
                    </a:lnTo>
                    <a:lnTo>
                      <a:pt x="554" y="590"/>
                    </a:lnTo>
                    <a:lnTo>
                      <a:pt x="551" y="590"/>
                    </a:lnTo>
                    <a:lnTo>
                      <a:pt x="549" y="590"/>
                    </a:lnTo>
                    <a:lnTo>
                      <a:pt x="547" y="590"/>
                    </a:lnTo>
                    <a:lnTo>
                      <a:pt x="546" y="592"/>
                    </a:lnTo>
                    <a:lnTo>
                      <a:pt x="545" y="593"/>
                    </a:lnTo>
                    <a:lnTo>
                      <a:pt x="545" y="595"/>
                    </a:lnTo>
                    <a:lnTo>
                      <a:pt x="543" y="593"/>
                    </a:lnTo>
                    <a:lnTo>
                      <a:pt x="543" y="593"/>
                    </a:lnTo>
                    <a:lnTo>
                      <a:pt x="542" y="592"/>
                    </a:lnTo>
                    <a:lnTo>
                      <a:pt x="542" y="592"/>
                    </a:lnTo>
                    <a:lnTo>
                      <a:pt x="542" y="593"/>
                    </a:lnTo>
                    <a:lnTo>
                      <a:pt x="543" y="593"/>
                    </a:lnTo>
                    <a:lnTo>
                      <a:pt x="542" y="595"/>
                    </a:lnTo>
                    <a:lnTo>
                      <a:pt x="540" y="596"/>
                    </a:lnTo>
                    <a:lnTo>
                      <a:pt x="539" y="597"/>
                    </a:lnTo>
                    <a:lnTo>
                      <a:pt x="536" y="597"/>
                    </a:lnTo>
                    <a:lnTo>
                      <a:pt x="535" y="598"/>
                    </a:lnTo>
                    <a:lnTo>
                      <a:pt x="533" y="598"/>
                    </a:lnTo>
                    <a:lnTo>
                      <a:pt x="530" y="599"/>
                    </a:lnTo>
                    <a:lnTo>
                      <a:pt x="527" y="599"/>
                    </a:lnTo>
                    <a:lnTo>
                      <a:pt x="526" y="599"/>
                    </a:lnTo>
                    <a:lnTo>
                      <a:pt x="525" y="600"/>
                    </a:lnTo>
                    <a:lnTo>
                      <a:pt x="525" y="600"/>
                    </a:lnTo>
                    <a:lnTo>
                      <a:pt x="524" y="600"/>
                    </a:lnTo>
                    <a:lnTo>
                      <a:pt x="523" y="600"/>
                    </a:lnTo>
                    <a:lnTo>
                      <a:pt x="523" y="600"/>
                    </a:lnTo>
                    <a:lnTo>
                      <a:pt x="521" y="599"/>
                    </a:lnTo>
                    <a:lnTo>
                      <a:pt x="520" y="598"/>
                    </a:lnTo>
                    <a:lnTo>
                      <a:pt x="519" y="598"/>
                    </a:lnTo>
                    <a:lnTo>
                      <a:pt x="517" y="597"/>
                    </a:lnTo>
                    <a:lnTo>
                      <a:pt x="510" y="597"/>
                    </a:lnTo>
                    <a:lnTo>
                      <a:pt x="508" y="597"/>
                    </a:lnTo>
                    <a:lnTo>
                      <a:pt x="506" y="597"/>
                    </a:lnTo>
                    <a:lnTo>
                      <a:pt x="506" y="596"/>
                    </a:lnTo>
                    <a:lnTo>
                      <a:pt x="506" y="596"/>
                    </a:lnTo>
                    <a:lnTo>
                      <a:pt x="505" y="596"/>
                    </a:lnTo>
                    <a:lnTo>
                      <a:pt x="505" y="596"/>
                    </a:lnTo>
                    <a:lnTo>
                      <a:pt x="503" y="596"/>
                    </a:lnTo>
                    <a:lnTo>
                      <a:pt x="499" y="596"/>
                    </a:lnTo>
                    <a:lnTo>
                      <a:pt x="501" y="597"/>
                    </a:lnTo>
                    <a:lnTo>
                      <a:pt x="503" y="597"/>
                    </a:lnTo>
                    <a:lnTo>
                      <a:pt x="504" y="597"/>
                    </a:lnTo>
                    <a:lnTo>
                      <a:pt x="504" y="597"/>
                    </a:lnTo>
                    <a:lnTo>
                      <a:pt x="505" y="597"/>
                    </a:lnTo>
                    <a:lnTo>
                      <a:pt x="496" y="597"/>
                    </a:lnTo>
                    <a:lnTo>
                      <a:pt x="491" y="598"/>
                    </a:lnTo>
                    <a:lnTo>
                      <a:pt x="488" y="599"/>
                    </a:lnTo>
                    <a:lnTo>
                      <a:pt x="486" y="600"/>
                    </a:lnTo>
                    <a:lnTo>
                      <a:pt x="483" y="600"/>
                    </a:lnTo>
                    <a:lnTo>
                      <a:pt x="482" y="599"/>
                    </a:lnTo>
                    <a:lnTo>
                      <a:pt x="481" y="597"/>
                    </a:lnTo>
                    <a:lnTo>
                      <a:pt x="480" y="600"/>
                    </a:lnTo>
                    <a:lnTo>
                      <a:pt x="479" y="602"/>
                    </a:lnTo>
                    <a:lnTo>
                      <a:pt x="476" y="603"/>
                    </a:lnTo>
                    <a:lnTo>
                      <a:pt x="474" y="604"/>
                    </a:lnTo>
                    <a:lnTo>
                      <a:pt x="471" y="606"/>
                    </a:lnTo>
                    <a:lnTo>
                      <a:pt x="468" y="606"/>
                    </a:lnTo>
                    <a:lnTo>
                      <a:pt x="467" y="605"/>
                    </a:lnTo>
                    <a:lnTo>
                      <a:pt x="467" y="604"/>
                    </a:lnTo>
                    <a:lnTo>
                      <a:pt x="466" y="603"/>
                    </a:lnTo>
                    <a:lnTo>
                      <a:pt x="464" y="603"/>
                    </a:lnTo>
                    <a:lnTo>
                      <a:pt x="463" y="603"/>
                    </a:lnTo>
                    <a:lnTo>
                      <a:pt x="463" y="603"/>
                    </a:lnTo>
                    <a:lnTo>
                      <a:pt x="461" y="602"/>
                    </a:lnTo>
                    <a:lnTo>
                      <a:pt x="460" y="600"/>
                    </a:lnTo>
                    <a:lnTo>
                      <a:pt x="459" y="600"/>
                    </a:lnTo>
                    <a:lnTo>
                      <a:pt x="456" y="599"/>
                    </a:lnTo>
                    <a:lnTo>
                      <a:pt x="454" y="598"/>
                    </a:lnTo>
                    <a:lnTo>
                      <a:pt x="454" y="598"/>
                    </a:lnTo>
                    <a:lnTo>
                      <a:pt x="454" y="598"/>
                    </a:lnTo>
                    <a:lnTo>
                      <a:pt x="454" y="597"/>
                    </a:lnTo>
                    <a:lnTo>
                      <a:pt x="454" y="597"/>
                    </a:lnTo>
                    <a:lnTo>
                      <a:pt x="453" y="597"/>
                    </a:lnTo>
                    <a:lnTo>
                      <a:pt x="452" y="596"/>
                    </a:lnTo>
                    <a:lnTo>
                      <a:pt x="451" y="593"/>
                    </a:lnTo>
                    <a:lnTo>
                      <a:pt x="450" y="592"/>
                    </a:lnTo>
                    <a:lnTo>
                      <a:pt x="448" y="590"/>
                    </a:lnTo>
                    <a:lnTo>
                      <a:pt x="444" y="589"/>
                    </a:lnTo>
                    <a:lnTo>
                      <a:pt x="442" y="587"/>
                    </a:lnTo>
                    <a:lnTo>
                      <a:pt x="441" y="587"/>
                    </a:lnTo>
                    <a:lnTo>
                      <a:pt x="442" y="585"/>
                    </a:lnTo>
                    <a:lnTo>
                      <a:pt x="442" y="585"/>
                    </a:lnTo>
                    <a:lnTo>
                      <a:pt x="441" y="585"/>
                    </a:lnTo>
                    <a:lnTo>
                      <a:pt x="439" y="584"/>
                    </a:lnTo>
                    <a:lnTo>
                      <a:pt x="438" y="583"/>
                    </a:lnTo>
                    <a:lnTo>
                      <a:pt x="437" y="581"/>
                    </a:lnTo>
                    <a:lnTo>
                      <a:pt x="435" y="580"/>
                    </a:lnTo>
                    <a:lnTo>
                      <a:pt x="434" y="580"/>
                    </a:lnTo>
                    <a:lnTo>
                      <a:pt x="434" y="580"/>
                    </a:lnTo>
                    <a:lnTo>
                      <a:pt x="435" y="578"/>
                    </a:lnTo>
                    <a:lnTo>
                      <a:pt x="435" y="578"/>
                    </a:lnTo>
                    <a:lnTo>
                      <a:pt x="435" y="578"/>
                    </a:lnTo>
                    <a:lnTo>
                      <a:pt x="435" y="577"/>
                    </a:lnTo>
                    <a:lnTo>
                      <a:pt x="434" y="576"/>
                    </a:lnTo>
                    <a:lnTo>
                      <a:pt x="431" y="577"/>
                    </a:lnTo>
                    <a:lnTo>
                      <a:pt x="430" y="576"/>
                    </a:lnTo>
                    <a:lnTo>
                      <a:pt x="428" y="576"/>
                    </a:lnTo>
                    <a:lnTo>
                      <a:pt x="427" y="575"/>
                    </a:lnTo>
                    <a:lnTo>
                      <a:pt x="424" y="574"/>
                    </a:lnTo>
                    <a:lnTo>
                      <a:pt x="424" y="574"/>
                    </a:lnTo>
                    <a:lnTo>
                      <a:pt x="424" y="573"/>
                    </a:lnTo>
                    <a:lnTo>
                      <a:pt x="427" y="573"/>
                    </a:lnTo>
                    <a:lnTo>
                      <a:pt x="427" y="573"/>
                    </a:lnTo>
                    <a:lnTo>
                      <a:pt x="427" y="573"/>
                    </a:lnTo>
                    <a:lnTo>
                      <a:pt x="427" y="573"/>
                    </a:lnTo>
                    <a:lnTo>
                      <a:pt x="426" y="572"/>
                    </a:lnTo>
                    <a:lnTo>
                      <a:pt x="427" y="572"/>
                    </a:lnTo>
                    <a:lnTo>
                      <a:pt x="427" y="572"/>
                    </a:lnTo>
                    <a:lnTo>
                      <a:pt x="426" y="572"/>
                    </a:lnTo>
                    <a:lnTo>
                      <a:pt x="426" y="570"/>
                    </a:lnTo>
                    <a:lnTo>
                      <a:pt x="424" y="570"/>
                    </a:lnTo>
                    <a:lnTo>
                      <a:pt x="426" y="570"/>
                    </a:lnTo>
                    <a:lnTo>
                      <a:pt x="426" y="569"/>
                    </a:lnTo>
                    <a:lnTo>
                      <a:pt x="426" y="569"/>
                    </a:lnTo>
                    <a:lnTo>
                      <a:pt x="424" y="569"/>
                    </a:lnTo>
                    <a:lnTo>
                      <a:pt x="424" y="570"/>
                    </a:lnTo>
                    <a:lnTo>
                      <a:pt x="424" y="570"/>
                    </a:lnTo>
                    <a:lnTo>
                      <a:pt x="423" y="570"/>
                    </a:lnTo>
                    <a:lnTo>
                      <a:pt x="423" y="569"/>
                    </a:lnTo>
                    <a:lnTo>
                      <a:pt x="421" y="568"/>
                    </a:lnTo>
                    <a:lnTo>
                      <a:pt x="420" y="568"/>
                    </a:lnTo>
                    <a:lnTo>
                      <a:pt x="420" y="568"/>
                    </a:lnTo>
                    <a:lnTo>
                      <a:pt x="421" y="568"/>
                    </a:lnTo>
                    <a:lnTo>
                      <a:pt x="420" y="565"/>
                    </a:lnTo>
                    <a:lnTo>
                      <a:pt x="419" y="563"/>
                    </a:lnTo>
                    <a:lnTo>
                      <a:pt x="418" y="563"/>
                    </a:lnTo>
                    <a:lnTo>
                      <a:pt x="418" y="562"/>
                    </a:lnTo>
                    <a:lnTo>
                      <a:pt x="418" y="561"/>
                    </a:lnTo>
                    <a:lnTo>
                      <a:pt x="418" y="561"/>
                    </a:lnTo>
                    <a:lnTo>
                      <a:pt x="419" y="561"/>
                    </a:lnTo>
                    <a:lnTo>
                      <a:pt x="419" y="561"/>
                    </a:lnTo>
                    <a:lnTo>
                      <a:pt x="419" y="561"/>
                    </a:lnTo>
                    <a:lnTo>
                      <a:pt x="419" y="561"/>
                    </a:lnTo>
                    <a:lnTo>
                      <a:pt x="420" y="561"/>
                    </a:lnTo>
                    <a:lnTo>
                      <a:pt x="420" y="561"/>
                    </a:lnTo>
                    <a:lnTo>
                      <a:pt x="419" y="560"/>
                    </a:lnTo>
                    <a:lnTo>
                      <a:pt x="418" y="559"/>
                    </a:lnTo>
                    <a:lnTo>
                      <a:pt x="418" y="559"/>
                    </a:lnTo>
                    <a:lnTo>
                      <a:pt x="418" y="558"/>
                    </a:lnTo>
                    <a:lnTo>
                      <a:pt x="419" y="558"/>
                    </a:lnTo>
                    <a:lnTo>
                      <a:pt x="418" y="558"/>
                    </a:lnTo>
                    <a:lnTo>
                      <a:pt x="418" y="557"/>
                    </a:lnTo>
                    <a:lnTo>
                      <a:pt x="418" y="557"/>
                    </a:lnTo>
                    <a:lnTo>
                      <a:pt x="418" y="555"/>
                    </a:lnTo>
                    <a:lnTo>
                      <a:pt x="416" y="555"/>
                    </a:lnTo>
                    <a:lnTo>
                      <a:pt x="416" y="555"/>
                    </a:lnTo>
                    <a:lnTo>
                      <a:pt x="416" y="554"/>
                    </a:lnTo>
                    <a:lnTo>
                      <a:pt x="418" y="553"/>
                    </a:lnTo>
                    <a:lnTo>
                      <a:pt x="418" y="552"/>
                    </a:lnTo>
                    <a:lnTo>
                      <a:pt x="416" y="552"/>
                    </a:lnTo>
                    <a:lnTo>
                      <a:pt x="415" y="552"/>
                    </a:lnTo>
                    <a:lnTo>
                      <a:pt x="414" y="551"/>
                    </a:lnTo>
                    <a:lnTo>
                      <a:pt x="413" y="550"/>
                    </a:lnTo>
                    <a:lnTo>
                      <a:pt x="413" y="548"/>
                    </a:lnTo>
                    <a:lnTo>
                      <a:pt x="412" y="547"/>
                    </a:lnTo>
                    <a:lnTo>
                      <a:pt x="413" y="547"/>
                    </a:lnTo>
                    <a:lnTo>
                      <a:pt x="411" y="546"/>
                    </a:lnTo>
                    <a:lnTo>
                      <a:pt x="408" y="545"/>
                    </a:lnTo>
                    <a:lnTo>
                      <a:pt x="408" y="543"/>
                    </a:lnTo>
                    <a:lnTo>
                      <a:pt x="409" y="541"/>
                    </a:lnTo>
                    <a:lnTo>
                      <a:pt x="408" y="540"/>
                    </a:lnTo>
                    <a:lnTo>
                      <a:pt x="407" y="539"/>
                    </a:lnTo>
                    <a:lnTo>
                      <a:pt x="406" y="538"/>
                    </a:lnTo>
                    <a:lnTo>
                      <a:pt x="405" y="537"/>
                    </a:lnTo>
                    <a:lnTo>
                      <a:pt x="404" y="537"/>
                    </a:lnTo>
                    <a:lnTo>
                      <a:pt x="403" y="536"/>
                    </a:lnTo>
                    <a:lnTo>
                      <a:pt x="401" y="535"/>
                    </a:lnTo>
                    <a:lnTo>
                      <a:pt x="401" y="532"/>
                    </a:lnTo>
                    <a:lnTo>
                      <a:pt x="401" y="531"/>
                    </a:lnTo>
                    <a:lnTo>
                      <a:pt x="400" y="530"/>
                    </a:lnTo>
                    <a:lnTo>
                      <a:pt x="400" y="530"/>
                    </a:lnTo>
                    <a:lnTo>
                      <a:pt x="400" y="530"/>
                    </a:lnTo>
                    <a:lnTo>
                      <a:pt x="400" y="530"/>
                    </a:lnTo>
                    <a:lnTo>
                      <a:pt x="400" y="530"/>
                    </a:lnTo>
                    <a:lnTo>
                      <a:pt x="400" y="529"/>
                    </a:lnTo>
                    <a:lnTo>
                      <a:pt x="400" y="529"/>
                    </a:lnTo>
                    <a:lnTo>
                      <a:pt x="400" y="528"/>
                    </a:lnTo>
                    <a:lnTo>
                      <a:pt x="401" y="528"/>
                    </a:lnTo>
                    <a:lnTo>
                      <a:pt x="401" y="528"/>
                    </a:lnTo>
                    <a:lnTo>
                      <a:pt x="403" y="528"/>
                    </a:lnTo>
                    <a:lnTo>
                      <a:pt x="403" y="526"/>
                    </a:lnTo>
                    <a:lnTo>
                      <a:pt x="401" y="526"/>
                    </a:lnTo>
                    <a:lnTo>
                      <a:pt x="401" y="525"/>
                    </a:lnTo>
                    <a:lnTo>
                      <a:pt x="401" y="524"/>
                    </a:lnTo>
                    <a:lnTo>
                      <a:pt x="400" y="524"/>
                    </a:lnTo>
                    <a:lnTo>
                      <a:pt x="400" y="525"/>
                    </a:lnTo>
                    <a:lnTo>
                      <a:pt x="399" y="525"/>
                    </a:lnTo>
                    <a:lnTo>
                      <a:pt x="399" y="526"/>
                    </a:lnTo>
                    <a:lnTo>
                      <a:pt x="398" y="528"/>
                    </a:lnTo>
                    <a:lnTo>
                      <a:pt x="398" y="528"/>
                    </a:lnTo>
                    <a:lnTo>
                      <a:pt x="397" y="526"/>
                    </a:lnTo>
                    <a:lnTo>
                      <a:pt x="397" y="525"/>
                    </a:lnTo>
                    <a:lnTo>
                      <a:pt x="397" y="524"/>
                    </a:lnTo>
                    <a:lnTo>
                      <a:pt x="399" y="523"/>
                    </a:lnTo>
                    <a:lnTo>
                      <a:pt x="400" y="523"/>
                    </a:lnTo>
                    <a:lnTo>
                      <a:pt x="401" y="523"/>
                    </a:lnTo>
                    <a:lnTo>
                      <a:pt x="403" y="523"/>
                    </a:lnTo>
                    <a:lnTo>
                      <a:pt x="401" y="522"/>
                    </a:lnTo>
                    <a:lnTo>
                      <a:pt x="401" y="522"/>
                    </a:lnTo>
                    <a:lnTo>
                      <a:pt x="400" y="522"/>
                    </a:lnTo>
                    <a:lnTo>
                      <a:pt x="399" y="523"/>
                    </a:lnTo>
                    <a:lnTo>
                      <a:pt x="398" y="523"/>
                    </a:lnTo>
                    <a:lnTo>
                      <a:pt x="396" y="524"/>
                    </a:lnTo>
                    <a:lnTo>
                      <a:pt x="394" y="524"/>
                    </a:lnTo>
                    <a:lnTo>
                      <a:pt x="396" y="523"/>
                    </a:lnTo>
                    <a:lnTo>
                      <a:pt x="396" y="523"/>
                    </a:lnTo>
                    <a:lnTo>
                      <a:pt x="397" y="523"/>
                    </a:lnTo>
                    <a:lnTo>
                      <a:pt x="397" y="522"/>
                    </a:lnTo>
                    <a:lnTo>
                      <a:pt x="396" y="522"/>
                    </a:lnTo>
                    <a:lnTo>
                      <a:pt x="396" y="522"/>
                    </a:lnTo>
                    <a:lnTo>
                      <a:pt x="394" y="523"/>
                    </a:lnTo>
                    <a:lnTo>
                      <a:pt x="394" y="523"/>
                    </a:lnTo>
                    <a:lnTo>
                      <a:pt x="393" y="522"/>
                    </a:lnTo>
                    <a:lnTo>
                      <a:pt x="392" y="522"/>
                    </a:lnTo>
                    <a:lnTo>
                      <a:pt x="391" y="521"/>
                    </a:lnTo>
                    <a:lnTo>
                      <a:pt x="391" y="521"/>
                    </a:lnTo>
                    <a:lnTo>
                      <a:pt x="392" y="521"/>
                    </a:lnTo>
                    <a:lnTo>
                      <a:pt x="393" y="521"/>
                    </a:lnTo>
                    <a:lnTo>
                      <a:pt x="392" y="521"/>
                    </a:lnTo>
                    <a:lnTo>
                      <a:pt x="391" y="521"/>
                    </a:lnTo>
                    <a:lnTo>
                      <a:pt x="391" y="520"/>
                    </a:lnTo>
                    <a:lnTo>
                      <a:pt x="390" y="518"/>
                    </a:lnTo>
                    <a:lnTo>
                      <a:pt x="390" y="518"/>
                    </a:lnTo>
                    <a:lnTo>
                      <a:pt x="390" y="518"/>
                    </a:lnTo>
                    <a:lnTo>
                      <a:pt x="390" y="517"/>
                    </a:lnTo>
                    <a:lnTo>
                      <a:pt x="390" y="517"/>
                    </a:lnTo>
                    <a:lnTo>
                      <a:pt x="391" y="517"/>
                    </a:lnTo>
                    <a:lnTo>
                      <a:pt x="392" y="517"/>
                    </a:lnTo>
                    <a:lnTo>
                      <a:pt x="392" y="517"/>
                    </a:lnTo>
                    <a:lnTo>
                      <a:pt x="392" y="516"/>
                    </a:lnTo>
                    <a:lnTo>
                      <a:pt x="392" y="516"/>
                    </a:lnTo>
                    <a:lnTo>
                      <a:pt x="393" y="516"/>
                    </a:lnTo>
                    <a:lnTo>
                      <a:pt x="394" y="515"/>
                    </a:lnTo>
                    <a:lnTo>
                      <a:pt x="396" y="515"/>
                    </a:lnTo>
                    <a:lnTo>
                      <a:pt x="396" y="515"/>
                    </a:lnTo>
                    <a:lnTo>
                      <a:pt x="396" y="515"/>
                    </a:lnTo>
                    <a:lnTo>
                      <a:pt x="397" y="515"/>
                    </a:lnTo>
                    <a:lnTo>
                      <a:pt x="398" y="515"/>
                    </a:lnTo>
                    <a:lnTo>
                      <a:pt x="399" y="515"/>
                    </a:lnTo>
                    <a:lnTo>
                      <a:pt x="399" y="515"/>
                    </a:lnTo>
                    <a:lnTo>
                      <a:pt x="400" y="515"/>
                    </a:lnTo>
                    <a:lnTo>
                      <a:pt x="400" y="515"/>
                    </a:lnTo>
                    <a:lnTo>
                      <a:pt x="401" y="515"/>
                    </a:lnTo>
                    <a:lnTo>
                      <a:pt x="404" y="515"/>
                    </a:lnTo>
                    <a:lnTo>
                      <a:pt x="404" y="515"/>
                    </a:lnTo>
                    <a:lnTo>
                      <a:pt x="405" y="514"/>
                    </a:lnTo>
                    <a:lnTo>
                      <a:pt x="404" y="514"/>
                    </a:lnTo>
                    <a:lnTo>
                      <a:pt x="403" y="515"/>
                    </a:lnTo>
                    <a:lnTo>
                      <a:pt x="401" y="515"/>
                    </a:lnTo>
                    <a:lnTo>
                      <a:pt x="400" y="514"/>
                    </a:lnTo>
                    <a:lnTo>
                      <a:pt x="398" y="514"/>
                    </a:lnTo>
                    <a:lnTo>
                      <a:pt x="398" y="514"/>
                    </a:lnTo>
                    <a:lnTo>
                      <a:pt x="398" y="514"/>
                    </a:lnTo>
                    <a:lnTo>
                      <a:pt x="397" y="513"/>
                    </a:lnTo>
                    <a:lnTo>
                      <a:pt x="397" y="513"/>
                    </a:lnTo>
                    <a:lnTo>
                      <a:pt x="394" y="514"/>
                    </a:lnTo>
                    <a:lnTo>
                      <a:pt x="394" y="515"/>
                    </a:lnTo>
                    <a:lnTo>
                      <a:pt x="393" y="515"/>
                    </a:lnTo>
                    <a:lnTo>
                      <a:pt x="392" y="515"/>
                    </a:lnTo>
                    <a:lnTo>
                      <a:pt x="391" y="515"/>
                    </a:lnTo>
                    <a:lnTo>
                      <a:pt x="390" y="515"/>
                    </a:lnTo>
                    <a:lnTo>
                      <a:pt x="389" y="516"/>
                    </a:lnTo>
                    <a:lnTo>
                      <a:pt x="389" y="515"/>
                    </a:lnTo>
                    <a:lnTo>
                      <a:pt x="389" y="515"/>
                    </a:lnTo>
                    <a:lnTo>
                      <a:pt x="390" y="514"/>
                    </a:lnTo>
                    <a:lnTo>
                      <a:pt x="390" y="513"/>
                    </a:lnTo>
                    <a:lnTo>
                      <a:pt x="390" y="511"/>
                    </a:lnTo>
                    <a:lnTo>
                      <a:pt x="390" y="510"/>
                    </a:lnTo>
                    <a:lnTo>
                      <a:pt x="390" y="510"/>
                    </a:lnTo>
                    <a:lnTo>
                      <a:pt x="391" y="510"/>
                    </a:lnTo>
                    <a:lnTo>
                      <a:pt x="393" y="510"/>
                    </a:lnTo>
                    <a:lnTo>
                      <a:pt x="394" y="509"/>
                    </a:lnTo>
                    <a:lnTo>
                      <a:pt x="394" y="509"/>
                    </a:lnTo>
                    <a:lnTo>
                      <a:pt x="394" y="508"/>
                    </a:lnTo>
                    <a:lnTo>
                      <a:pt x="394" y="508"/>
                    </a:lnTo>
                    <a:lnTo>
                      <a:pt x="396" y="507"/>
                    </a:lnTo>
                    <a:lnTo>
                      <a:pt x="397" y="507"/>
                    </a:lnTo>
                    <a:lnTo>
                      <a:pt x="400" y="507"/>
                    </a:lnTo>
                    <a:lnTo>
                      <a:pt x="397" y="507"/>
                    </a:lnTo>
                    <a:lnTo>
                      <a:pt x="394" y="507"/>
                    </a:lnTo>
                    <a:lnTo>
                      <a:pt x="393" y="508"/>
                    </a:lnTo>
                    <a:lnTo>
                      <a:pt x="393" y="508"/>
                    </a:lnTo>
                    <a:lnTo>
                      <a:pt x="393" y="508"/>
                    </a:lnTo>
                    <a:lnTo>
                      <a:pt x="393" y="508"/>
                    </a:lnTo>
                    <a:lnTo>
                      <a:pt x="393" y="508"/>
                    </a:lnTo>
                    <a:lnTo>
                      <a:pt x="392" y="509"/>
                    </a:lnTo>
                    <a:lnTo>
                      <a:pt x="391" y="509"/>
                    </a:lnTo>
                    <a:lnTo>
                      <a:pt x="391" y="508"/>
                    </a:lnTo>
                    <a:lnTo>
                      <a:pt x="390" y="507"/>
                    </a:lnTo>
                    <a:lnTo>
                      <a:pt x="390" y="505"/>
                    </a:lnTo>
                    <a:lnTo>
                      <a:pt x="389" y="503"/>
                    </a:lnTo>
                    <a:lnTo>
                      <a:pt x="389" y="503"/>
                    </a:lnTo>
                    <a:lnTo>
                      <a:pt x="390" y="503"/>
                    </a:lnTo>
                    <a:lnTo>
                      <a:pt x="390" y="503"/>
                    </a:lnTo>
                    <a:lnTo>
                      <a:pt x="390" y="503"/>
                    </a:lnTo>
                    <a:lnTo>
                      <a:pt x="389" y="502"/>
                    </a:lnTo>
                    <a:lnTo>
                      <a:pt x="388" y="501"/>
                    </a:lnTo>
                    <a:lnTo>
                      <a:pt x="388" y="501"/>
                    </a:lnTo>
                    <a:lnTo>
                      <a:pt x="388" y="500"/>
                    </a:lnTo>
                    <a:lnTo>
                      <a:pt x="389" y="500"/>
                    </a:lnTo>
                    <a:lnTo>
                      <a:pt x="390" y="500"/>
                    </a:lnTo>
                    <a:lnTo>
                      <a:pt x="391" y="500"/>
                    </a:lnTo>
                    <a:lnTo>
                      <a:pt x="390" y="499"/>
                    </a:lnTo>
                    <a:lnTo>
                      <a:pt x="389" y="500"/>
                    </a:lnTo>
                    <a:lnTo>
                      <a:pt x="388" y="500"/>
                    </a:lnTo>
                    <a:lnTo>
                      <a:pt x="388" y="500"/>
                    </a:lnTo>
                    <a:lnTo>
                      <a:pt x="386" y="500"/>
                    </a:lnTo>
                    <a:lnTo>
                      <a:pt x="385" y="499"/>
                    </a:lnTo>
                    <a:lnTo>
                      <a:pt x="386" y="499"/>
                    </a:lnTo>
                    <a:lnTo>
                      <a:pt x="386" y="498"/>
                    </a:lnTo>
                    <a:lnTo>
                      <a:pt x="385" y="498"/>
                    </a:lnTo>
                    <a:lnTo>
                      <a:pt x="384" y="498"/>
                    </a:lnTo>
                    <a:lnTo>
                      <a:pt x="383" y="498"/>
                    </a:lnTo>
                    <a:lnTo>
                      <a:pt x="383" y="496"/>
                    </a:lnTo>
                    <a:lnTo>
                      <a:pt x="383" y="496"/>
                    </a:lnTo>
                    <a:lnTo>
                      <a:pt x="383" y="495"/>
                    </a:lnTo>
                    <a:lnTo>
                      <a:pt x="383" y="495"/>
                    </a:lnTo>
                    <a:lnTo>
                      <a:pt x="381" y="494"/>
                    </a:lnTo>
                    <a:lnTo>
                      <a:pt x="379" y="494"/>
                    </a:lnTo>
                    <a:lnTo>
                      <a:pt x="379" y="494"/>
                    </a:lnTo>
                    <a:lnTo>
                      <a:pt x="381" y="494"/>
                    </a:lnTo>
                    <a:lnTo>
                      <a:pt x="382" y="493"/>
                    </a:lnTo>
                    <a:lnTo>
                      <a:pt x="383" y="491"/>
                    </a:lnTo>
                    <a:lnTo>
                      <a:pt x="383" y="491"/>
                    </a:lnTo>
                    <a:lnTo>
                      <a:pt x="384" y="490"/>
                    </a:lnTo>
                    <a:lnTo>
                      <a:pt x="384" y="490"/>
                    </a:lnTo>
                    <a:lnTo>
                      <a:pt x="385" y="488"/>
                    </a:lnTo>
                    <a:lnTo>
                      <a:pt x="386" y="487"/>
                    </a:lnTo>
                    <a:lnTo>
                      <a:pt x="388" y="484"/>
                    </a:lnTo>
                    <a:lnTo>
                      <a:pt x="390" y="481"/>
                    </a:lnTo>
                    <a:lnTo>
                      <a:pt x="391" y="480"/>
                    </a:lnTo>
                    <a:lnTo>
                      <a:pt x="392" y="479"/>
                    </a:lnTo>
                    <a:lnTo>
                      <a:pt x="392" y="478"/>
                    </a:lnTo>
                    <a:lnTo>
                      <a:pt x="392" y="476"/>
                    </a:lnTo>
                    <a:lnTo>
                      <a:pt x="393" y="473"/>
                    </a:lnTo>
                    <a:lnTo>
                      <a:pt x="393" y="471"/>
                    </a:lnTo>
                    <a:lnTo>
                      <a:pt x="393" y="470"/>
                    </a:lnTo>
                    <a:lnTo>
                      <a:pt x="393" y="468"/>
                    </a:lnTo>
                    <a:lnTo>
                      <a:pt x="394" y="466"/>
                    </a:lnTo>
                    <a:lnTo>
                      <a:pt x="396" y="465"/>
                    </a:lnTo>
                    <a:lnTo>
                      <a:pt x="397" y="464"/>
                    </a:lnTo>
                    <a:lnTo>
                      <a:pt x="397" y="462"/>
                    </a:lnTo>
                    <a:lnTo>
                      <a:pt x="397" y="458"/>
                    </a:lnTo>
                    <a:lnTo>
                      <a:pt x="397" y="455"/>
                    </a:lnTo>
                    <a:lnTo>
                      <a:pt x="397" y="451"/>
                    </a:lnTo>
                    <a:lnTo>
                      <a:pt x="396" y="448"/>
                    </a:lnTo>
                    <a:lnTo>
                      <a:pt x="393" y="444"/>
                    </a:lnTo>
                    <a:lnTo>
                      <a:pt x="393" y="443"/>
                    </a:lnTo>
                    <a:lnTo>
                      <a:pt x="393" y="442"/>
                    </a:lnTo>
                    <a:lnTo>
                      <a:pt x="394" y="441"/>
                    </a:lnTo>
                    <a:lnTo>
                      <a:pt x="396" y="441"/>
                    </a:lnTo>
                    <a:lnTo>
                      <a:pt x="394" y="441"/>
                    </a:lnTo>
                    <a:lnTo>
                      <a:pt x="393" y="440"/>
                    </a:lnTo>
                    <a:lnTo>
                      <a:pt x="392" y="440"/>
                    </a:lnTo>
                    <a:lnTo>
                      <a:pt x="392" y="439"/>
                    </a:lnTo>
                    <a:lnTo>
                      <a:pt x="393" y="438"/>
                    </a:lnTo>
                    <a:lnTo>
                      <a:pt x="394" y="436"/>
                    </a:lnTo>
                    <a:lnTo>
                      <a:pt x="394" y="435"/>
                    </a:lnTo>
                    <a:lnTo>
                      <a:pt x="394" y="434"/>
                    </a:lnTo>
                    <a:lnTo>
                      <a:pt x="394" y="433"/>
                    </a:lnTo>
                    <a:lnTo>
                      <a:pt x="394" y="432"/>
                    </a:lnTo>
                    <a:lnTo>
                      <a:pt x="393" y="429"/>
                    </a:lnTo>
                    <a:lnTo>
                      <a:pt x="392" y="427"/>
                    </a:lnTo>
                    <a:lnTo>
                      <a:pt x="391" y="426"/>
                    </a:lnTo>
                    <a:lnTo>
                      <a:pt x="391" y="427"/>
                    </a:lnTo>
                    <a:lnTo>
                      <a:pt x="390" y="426"/>
                    </a:lnTo>
                    <a:lnTo>
                      <a:pt x="390" y="425"/>
                    </a:lnTo>
                    <a:lnTo>
                      <a:pt x="391" y="424"/>
                    </a:lnTo>
                    <a:lnTo>
                      <a:pt x="391" y="421"/>
                    </a:lnTo>
                    <a:lnTo>
                      <a:pt x="391" y="420"/>
                    </a:lnTo>
                    <a:lnTo>
                      <a:pt x="391" y="420"/>
                    </a:lnTo>
                    <a:lnTo>
                      <a:pt x="390" y="420"/>
                    </a:lnTo>
                    <a:lnTo>
                      <a:pt x="389" y="421"/>
                    </a:lnTo>
                    <a:lnTo>
                      <a:pt x="389" y="421"/>
                    </a:lnTo>
                    <a:lnTo>
                      <a:pt x="389" y="420"/>
                    </a:lnTo>
                    <a:lnTo>
                      <a:pt x="389" y="420"/>
                    </a:lnTo>
                    <a:lnTo>
                      <a:pt x="390" y="418"/>
                    </a:lnTo>
                    <a:lnTo>
                      <a:pt x="391" y="414"/>
                    </a:lnTo>
                    <a:lnTo>
                      <a:pt x="392" y="412"/>
                    </a:lnTo>
                    <a:lnTo>
                      <a:pt x="393" y="410"/>
                    </a:lnTo>
                    <a:lnTo>
                      <a:pt x="394" y="408"/>
                    </a:lnTo>
                    <a:lnTo>
                      <a:pt x="396" y="405"/>
                    </a:lnTo>
                    <a:lnTo>
                      <a:pt x="397" y="401"/>
                    </a:lnTo>
                    <a:lnTo>
                      <a:pt x="399" y="393"/>
                    </a:lnTo>
                    <a:lnTo>
                      <a:pt x="403" y="387"/>
                    </a:lnTo>
                    <a:lnTo>
                      <a:pt x="407" y="382"/>
                    </a:lnTo>
                    <a:lnTo>
                      <a:pt x="411" y="374"/>
                    </a:lnTo>
                    <a:lnTo>
                      <a:pt x="412" y="371"/>
                    </a:lnTo>
                    <a:lnTo>
                      <a:pt x="413" y="368"/>
                    </a:lnTo>
                    <a:lnTo>
                      <a:pt x="414" y="367"/>
                    </a:lnTo>
                    <a:lnTo>
                      <a:pt x="415" y="366"/>
                    </a:lnTo>
                    <a:lnTo>
                      <a:pt x="416" y="366"/>
                    </a:lnTo>
                    <a:lnTo>
                      <a:pt x="418" y="366"/>
                    </a:lnTo>
                    <a:lnTo>
                      <a:pt x="419" y="366"/>
                    </a:lnTo>
                    <a:lnTo>
                      <a:pt x="419" y="365"/>
                    </a:lnTo>
                    <a:lnTo>
                      <a:pt x="420" y="364"/>
                    </a:lnTo>
                    <a:lnTo>
                      <a:pt x="421" y="360"/>
                    </a:lnTo>
                    <a:lnTo>
                      <a:pt x="422" y="358"/>
                    </a:lnTo>
                    <a:lnTo>
                      <a:pt x="422" y="357"/>
                    </a:lnTo>
                    <a:lnTo>
                      <a:pt x="423" y="356"/>
                    </a:lnTo>
                    <a:lnTo>
                      <a:pt x="423" y="354"/>
                    </a:lnTo>
                    <a:lnTo>
                      <a:pt x="424" y="352"/>
                    </a:lnTo>
                    <a:lnTo>
                      <a:pt x="427" y="349"/>
                    </a:lnTo>
                    <a:lnTo>
                      <a:pt x="429" y="347"/>
                    </a:lnTo>
                    <a:lnTo>
                      <a:pt x="433" y="346"/>
                    </a:lnTo>
                    <a:lnTo>
                      <a:pt x="435" y="346"/>
                    </a:lnTo>
                    <a:lnTo>
                      <a:pt x="437" y="346"/>
                    </a:lnTo>
                    <a:lnTo>
                      <a:pt x="439" y="346"/>
                    </a:lnTo>
                    <a:lnTo>
                      <a:pt x="441" y="345"/>
                    </a:lnTo>
                    <a:lnTo>
                      <a:pt x="442" y="343"/>
                    </a:lnTo>
                    <a:lnTo>
                      <a:pt x="443" y="341"/>
                    </a:lnTo>
                    <a:lnTo>
                      <a:pt x="445" y="339"/>
                    </a:lnTo>
                    <a:lnTo>
                      <a:pt x="449" y="337"/>
                    </a:lnTo>
                    <a:lnTo>
                      <a:pt x="451" y="335"/>
                    </a:lnTo>
                    <a:lnTo>
                      <a:pt x="454" y="334"/>
                    </a:lnTo>
                    <a:lnTo>
                      <a:pt x="457" y="330"/>
                    </a:lnTo>
                    <a:lnTo>
                      <a:pt x="458" y="327"/>
                    </a:lnTo>
                    <a:lnTo>
                      <a:pt x="458" y="326"/>
                    </a:lnTo>
                    <a:lnTo>
                      <a:pt x="457" y="326"/>
                    </a:lnTo>
                    <a:lnTo>
                      <a:pt x="456" y="324"/>
                    </a:lnTo>
                    <a:lnTo>
                      <a:pt x="454" y="324"/>
                    </a:lnTo>
                    <a:lnTo>
                      <a:pt x="454" y="323"/>
                    </a:lnTo>
                    <a:lnTo>
                      <a:pt x="453" y="322"/>
                    </a:lnTo>
                    <a:lnTo>
                      <a:pt x="453" y="321"/>
                    </a:lnTo>
                    <a:lnTo>
                      <a:pt x="454" y="319"/>
                    </a:lnTo>
                    <a:lnTo>
                      <a:pt x="456" y="314"/>
                    </a:lnTo>
                    <a:lnTo>
                      <a:pt x="457" y="312"/>
                    </a:lnTo>
                    <a:lnTo>
                      <a:pt x="458" y="309"/>
                    </a:lnTo>
                    <a:lnTo>
                      <a:pt x="459" y="308"/>
                    </a:lnTo>
                    <a:lnTo>
                      <a:pt x="460" y="307"/>
                    </a:lnTo>
                    <a:lnTo>
                      <a:pt x="460" y="306"/>
                    </a:lnTo>
                    <a:lnTo>
                      <a:pt x="461" y="304"/>
                    </a:lnTo>
                    <a:lnTo>
                      <a:pt x="463" y="301"/>
                    </a:lnTo>
                    <a:lnTo>
                      <a:pt x="465" y="298"/>
                    </a:lnTo>
                    <a:lnTo>
                      <a:pt x="468" y="295"/>
                    </a:lnTo>
                    <a:lnTo>
                      <a:pt x="472" y="294"/>
                    </a:lnTo>
                    <a:lnTo>
                      <a:pt x="478" y="291"/>
                    </a:lnTo>
                    <a:lnTo>
                      <a:pt x="482" y="284"/>
                    </a:lnTo>
                    <a:lnTo>
                      <a:pt x="484" y="280"/>
                    </a:lnTo>
                    <a:lnTo>
                      <a:pt x="486" y="278"/>
                    </a:lnTo>
                    <a:lnTo>
                      <a:pt x="487" y="276"/>
                    </a:lnTo>
                    <a:lnTo>
                      <a:pt x="488" y="276"/>
                    </a:lnTo>
                    <a:lnTo>
                      <a:pt x="488" y="275"/>
                    </a:lnTo>
                    <a:lnTo>
                      <a:pt x="489" y="274"/>
                    </a:lnTo>
                    <a:lnTo>
                      <a:pt x="490" y="271"/>
                    </a:lnTo>
                    <a:lnTo>
                      <a:pt x="491" y="271"/>
                    </a:lnTo>
                    <a:lnTo>
                      <a:pt x="494" y="271"/>
                    </a:lnTo>
                    <a:lnTo>
                      <a:pt x="494" y="271"/>
                    </a:lnTo>
                    <a:lnTo>
                      <a:pt x="495" y="271"/>
                    </a:lnTo>
                    <a:lnTo>
                      <a:pt x="495" y="272"/>
                    </a:lnTo>
                    <a:lnTo>
                      <a:pt x="496" y="275"/>
                    </a:lnTo>
                    <a:lnTo>
                      <a:pt x="498" y="275"/>
                    </a:lnTo>
                    <a:lnTo>
                      <a:pt x="499" y="275"/>
                    </a:lnTo>
                    <a:lnTo>
                      <a:pt x="502" y="276"/>
                    </a:lnTo>
                    <a:lnTo>
                      <a:pt x="504" y="276"/>
                    </a:lnTo>
                    <a:lnTo>
                      <a:pt x="506" y="277"/>
                    </a:lnTo>
                    <a:lnTo>
                      <a:pt x="508" y="277"/>
                    </a:lnTo>
                    <a:lnTo>
                      <a:pt x="508" y="277"/>
                    </a:lnTo>
                    <a:lnTo>
                      <a:pt x="509" y="278"/>
                    </a:lnTo>
                    <a:lnTo>
                      <a:pt x="510" y="277"/>
                    </a:lnTo>
                    <a:lnTo>
                      <a:pt x="511" y="277"/>
                    </a:lnTo>
                    <a:lnTo>
                      <a:pt x="512" y="275"/>
                    </a:lnTo>
                    <a:lnTo>
                      <a:pt x="512" y="275"/>
                    </a:lnTo>
                    <a:lnTo>
                      <a:pt x="512" y="275"/>
                    </a:lnTo>
                    <a:lnTo>
                      <a:pt x="512" y="276"/>
                    </a:lnTo>
                    <a:lnTo>
                      <a:pt x="512" y="276"/>
                    </a:lnTo>
                    <a:lnTo>
                      <a:pt x="513" y="277"/>
                    </a:lnTo>
                    <a:lnTo>
                      <a:pt x="513" y="278"/>
                    </a:lnTo>
                    <a:lnTo>
                      <a:pt x="516" y="278"/>
                    </a:lnTo>
                    <a:lnTo>
                      <a:pt x="517" y="278"/>
                    </a:lnTo>
                    <a:lnTo>
                      <a:pt x="518" y="278"/>
                    </a:lnTo>
                    <a:lnTo>
                      <a:pt x="519" y="278"/>
                    </a:lnTo>
                    <a:lnTo>
                      <a:pt x="519" y="278"/>
                    </a:lnTo>
                    <a:lnTo>
                      <a:pt x="519" y="277"/>
                    </a:lnTo>
                    <a:lnTo>
                      <a:pt x="520" y="278"/>
                    </a:lnTo>
                    <a:lnTo>
                      <a:pt x="523" y="278"/>
                    </a:lnTo>
                    <a:lnTo>
                      <a:pt x="523" y="278"/>
                    </a:lnTo>
                    <a:lnTo>
                      <a:pt x="524" y="277"/>
                    </a:lnTo>
                    <a:lnTo>
                      <a:pt x="524" y="276"/>
                    </a:lnTo>
                    <a:lnTo>
                      <a:pt x="524" y="275"/>
                    </a:lnTo>
                    <a:lnTo>
                      <a:pt x="525" y="274"/>
                    </a:lnTo>
                    <a:lnTo>
                      <a:pt x="526" y="274"/>
                    </a:lnTo>
                    <a:lnTo>
                      <a:pt x="527" y="274"/>
                    </a:lnTo>
                    <a:lnTo>
                      <a:pt x="528" y="274"/>
                    </a:lnTo>
                    <a:lnTo>
                      <a:pt x="530" y="272"/>
                    </a:lnTo>
                    <a:lnTo>
                      <a:pt x="530" y="271"/>
                    </a:lnTo>
                    <a:lnTo>
                      <a:pt x="530" y="271"/>
                    </a:lnTo>
                    <a:lnTo>
                      <a:pt x="531" y="271"/>
                    </a:lnTo>
                    <a:lnTo>
                      <a:pt x="532" y="271"/>
                    </a:lnTo>
                    <a:lnTo>
                      <a:pt x="533" y="272"/>
                    </a:lnTo>
                    <a:lnTo>
                      <a:pt x="534" y="274"/>
                    </a:lnTo>
                    <a:lnTo>
                      <a:pt x="535" y="274"/>
                    </a:lnTo>
                    <a:lnTo>
                      <a:pt x="535" y="272"/>
                    </a:lnTo>
                    <a:lnTo>
                      <a:pt x="536" y="271"/>
                    </a:lnTo>
                    <a:lnTo>
                      <a:pt x="536" y="270"/>
                    </a:lnTo>
                    <a:lnTo>
                      <a:pt x="538" y="270"/>
                    </a:lnTo>
                    <a:lnTo>
                      <a:pt x="539" y="270"/>
                    </a:lnTo>
                    <a:lnTo>
                      <a:pt x="540" y="269"/>
                    </a:lnTo>
                    <a:lnTo>
                      <a:pt x="541" y="268"/>
                    </a:lnTo>
                    <a:lnTo>
                      <a:pt x="543" y="267"/>
                    </a:lnTo>
                    <a:lnTo>
                      <a:pt x="545" y="264"/>
                    </a:lnTo>
                    <a:lnTo>
                      <a:pt x="547" y="264"/>
                    </a:lnTo>
                    <a:lnTo>
                      <a:pt x="548" y="264"/>
                    </a:lnTo>
                    <a:lnTo>
                      <a:pt x="549" y="264"/>
                    </a:lnTo>
                    <a:lnTo>
                      <a:pt x="549" y="263"/>
                    </a:lnTo>
                    <a:lnTo>
                      <a:pt x="550" y="263"/>
                    </a:lnTo>
                    <a:lnTo>
                      <a:pt x="550" y="263"/>
                    </a:lnTo>
                    <a:lnTo>
                      <a:pt x="553" y="263"/>
                    </a:lnTo>
                    <a:lnTo>
                      <a:pt x="556" y="262"/>
                    </a:lnTo>
                    <a:lnTo>
                      <a:pt x="558" y="263"/>
                    </a:lnTo>
                    <a:lnTo>
                      <a:pt x="561" y="263"/>
                    </a:lnTo>
                    <a:lnTo>
                      <a:pt x="562" y="263"/>
                    </a:lnTo>
                    <a:lnTo>
                      <a:pt x="562" y="263"/>
                    </a:lnTo>
                    <a:lnTo>
                      <a:pt x="563" y="263"/>
                    </a:lnTo>
                    <a:lnTo>
                      <a:pt x="563" y="263"/>
                    </a:lnTo>
                    <a:lnTo>
                      <a:pt x="564" y="262"/>
                    </a:lnTo>
                    <a:lnTo>
                      <a:pt x="566" y="262"/>
                    </a:lnTo>
                    <a:lnTo>
                      <a:pt x="566" y="262"/>
                    </a:lnTo>
                    <a:lnTo>
                      <a:pt x="568" y="262"/>
                    </a:lnTo>
                    <a:lnTo>
                      <a:pt x="568" y="262"/>
                    </a:lnTo>
                    <a:lnTo>
                      <a:pt x="570" y="261"/>
                    </a:lnTo>
                    <a:lnTo>
                      <a:pt x="571" y="260"/>
                    </a:lnTo>
                    <a:lnTo>
                      <a:pt x="572" y="260"/>
                    </a:lnTo>
                    <a:lnTo>
                      <a:pt x="576" y="261"/>
                    </a:lnTo>
                    <a:lnTo>
                      <a:pt x="578" y="261"/>
                    </a:lnTo>
                    <a:lnTo>
                      <a:pt x="580" y="261"/>
                    </a:lnTo>
                    <a:lnTo>
                      <a:pt x="580" y="261"/>
                    </a:lnTo>
                    <a:lnTo>
                      <a:pt x="580" y="262"/>
                    </a:lnTo>
                    <a:lnTo>
                      <a:pt x="581" y="262"/>
                    </a:lnTo>
                    <a:lnTo>
                      <a:pt x="581" y="263"/>
                    </a:lnTo>
                    <a:lnTo>
                      <a:pt x="581" y="262"/>
                    </a:lnTo>
                    <a:lnTo>
                      <a:pt x="584" y="261"/>
                    </a:lnTo>
                    <a:lnTo>
                      <a:pt x="585" y="261"/>
                    </a:lnTo>
                    <a:lnTo>
                      <a:pt x="587" y="260"/>
                    </a:lnTo>
                    <a:lnTo>
                      <a:pt x="588" y="260"/>
                    </a:lnTo>
                    <a:lnTo>
                      <a:pt x="588" y="259"/>
                    </a:lnTo>
                    <a:lnTo>
                      <a:pt x="590" y="259"/>
                    </a:lnTo>
                    <a:lnTo>
                      <a:pt x="591" y="259"/>
                    </a:lnTo>
                    <a:lnTo>
                      <a:pt x="591" y="259"/>
                    </a:lnTo>
                    <a:lnTo>
                      <a:pt x="591" y="260"/>
                    </a:lnTo>
                    <a:lnTo>
                      <a:pt x="592" y="261"/>
                    </a:lnTo>
                    <a:lnTo>
                      <a:pt x="593" y="261"/>
                    </a:lnTo>
                    <a:lnTo>
                      <a:pt x="593" y="260"/>
                    </a:lnTo>
                    <a:lnTo>
                      <a:pt x="593" y="260"/>
                    </a:lnTo>
                    <a:lnTo>
                      <a:pt x="593" y="259"/>
                    </a:lnTo>
                    <a:lnTo>
                      <a:pt x="593" y="259"/>
                    </a:lnTo>
                    <a:lnTo>
                      <a:pt x="594" y="259"/>
                    </a:lnTo>
                    <a:lnTo>
                      <a:pt x="596" y="259"/>
                    </a:lnTo>
                    <a:lnTo>
                      <a:pt x="596" y="260"/>
                    </a:lnTo>
                    <a:lnTo>
                      <a:pt x="596" y="260"/>
                    </a:lnTo>
                    <a:lnTo>
                      <a:pt x="596" y="260"/>
                    </a:lnTo>
                    <a:lnTo>
                      <a:pt x="596" y="260"/>
                    </a:lnTo>
                    <a:lnTo>
                      <a:pt x="598" y="260"/>
                    </a:lnTo>
                    <a:lnTo>
                      <a:pt x="599" y="261"/>
                    </a:lnTo>
                    <a:lnTo>
                      <a:pt x="601" y="261"/>
                    </a:lnTo>
                    <a:lnTo>
                      <a:pt x="603" y="260"/>
                    </a:lnTo>
                    <a:lnTo>
                      <a:pt x="605" y="259"/>
                    </a:lnTo>
                    <a:lnTo>
                      <a:pt x="606" y="259"/>
                    </a:lnTo>
                    <a:lnTo>
                      <a:pt x="607" y="259"/>
                    </a:lnTo>
                    <a:lnTo>
                      <a:pt x="608" y="259"/>
                    </a:lnTo>
                    <a:lnTo>
                      <a:pt x="610" y="257"/>
                    </a:lnTo>
                    <a:lnTo>
                      <a:pt x="611" y="256"/>
                    </a:lnTo>
                    <a:lnTo>
                      <a:pt x="613" y="256"/>
                    </a:lnTo>
                    <a:lnTo>
                      <a:pt x="614" y="257"/>
                    </a:lnTo>
                    <a:lnTo>
                      <a:pt x="614" y="259"/>
                    </a:lnTo>
                    <a:lnTo>
                      <a:pt x="615" y="259"/>
                    </a:lnTo>
                    <a:lnTo>
                      <a:pt x="616" y="260"/>
                    </a:lnTo>
                    <a:lnTo>
                      <a:pt x="615" y="260"/>
                    </a:lnTo>
                    <a:lnTo>
                      <a:pt x="615" y="260"/>
                    </a:lnTo>
                    <a:lnTo>
                      <a:pt x="614" y="261"/>
                    </a:lnTo>
                    <a:lnTo>
                      <a:pt x="614" y="261"/>
                    </a:lnTo>
                    <a:lnTo>
                      <a:pt x="615" y="261"/>
                    </a:lnTo>
                    <a:lnTo>
                      <a:pt x="616" y="262"/>
                    </a:lnTo>
                    <a:lnTo>
                      <a:pt x="615" y="262"/>
                    </a:lnTo>
                    <a:lnTo>
                      <a:pt x="615" y="263"/>
                    </a:lnTo>
                    <a:lnTo>
                      <a:pt x="615" y="263"/>
                    </a:lnTo>
                    <a:lnTo>
                      <a:pt x="615" y="263"/>
                    </a:lnTo>
                    <a:lnTo>
                      <a:pt x="615" y="263"/>
                    </a:lnTo>
                    <a:lnTo>
                      <a:pt x="617" y="262"/>
                    </a:lnTo>
                    <a:lnTo>
                      <a:pt x="618" y="262"/>
                    </a:lnTo>
                    <a:lnTo>
                      <a:pt x="621" y="261"/>
                    </a:lnTo>
                    <a:lnTo>
                      <a:pt x="622" y="261"/>
                    </a:lnTo>
                    <a:lnTo>
                      <a:pt x="622" y="261"/>
                    </a:lnTo>
                    <a:lnTo>
                      <a:pt x="622" y="262"/>
                    </a:lnTo>
                    <a:lnTo>
                      <a:pt x="622" y="263"/>
                    </a:lnTo>
                    <a:lnTo>
                      <a:pt x="622" y="263"/>
                    </a:lnTo>
                    <a:lnTo>
                      <a:pt x="621" y="263"/>
                    </a:lnTo>
                    <a:lnTo>
                      <a:pt x="621" y="263"/>
                    </a:lnTo>
                    <a:lnTo>
                      <a:pt x="621" y="264"/>
                    </a:lnTo>
                    <a:lnTo>
                      <a:pt x="621" y="265"/>
                    </a:lnTo>
                    <a:lnTo>
                      <a:pt x="620" y="267"/>
                    </a:lnTo>
                    <a:lnTo>
                      <a:pt x="620" y="267"/>
                    </a:lnTo>
                    <a:lnTo>
                      <a:pt x="620" y="267"/>
                    </a:lnTo>
                    <a:lnTo>
                      <a:pt x="618" y="268"/>
                    </a:lnTo>
                    <a:lnTo>
                      <a:pt x="618" y="270"/>
                    </a:lnTo>
                    <a:lnTo>
                      <a:pt x="620" y="272"/>
                    </a:lnTo>
                    <a:lnTo>
                      <a:pt x="621" y="274"/>
                    </a:lnTo>
                    <a:lnTo>
                      <a:pt x="623" y="274"/>
                    </a:lnTo>
                    <a:lnTo>
                      <a:pt x="623" y="275"/>
                    </a:lnTo>
                    <a:lnTo>
                      <a:pt x="624" y="277"/>
                    </a:lnTo>
                    <a:lnTo>
                      <a:pt x="623" y="277"/>
                    </a:lnTo>
                    <a:lnTo>
                      <a:pt x="624" y="278"/>
                    </a:lnTo>
                    <a:lnTo>
                      <a:pt x="624" y="278"/>
                    </a:lnTo>
                    <a:lnTo>
                      <a:pt x="625" y="279"/>
                    </a:lnTo>
                    <a:lnTo>
                      <a:pt x="625" y="280"/>
                    </a:lnTo>
                    <a:lnTo>
                      <a:pt x="625" y="282"/>
                    </a:lnTo>
                    <a:lnTo>
                      <a:pt x="624" y="284"/>
                    </a:lnTo>
                    <a:lnTo>
                      <a:pt x="622" y="286"/>
                    </a:lnTo>
                    <a:lnTo>
                      <a:pt x="621" y="287"/>
                    </a:lnTo>
                    <a:lnTo>
                      <a:pt x="618" y="287"/>
                    </a:lnTo>
                    <a:lnTo>
                      <a:pt x="617" y="287"/>
                    </a:lnTo>
                    <a:lnTo>
                      <a:pt x="617" y="287"/>
                    </a:lnTo>
                    <a:lnTo>
                      <a:pt x="616" y="287"/>
                    </a:lnTo>
                    <a:lnTo>
                      <a:pt x="615" y="289"/>
                    </a:lnTo>
                    <a:lnTo>
                      <a:pt x="615" y="291"/>
                    </a:lnTo>
                    <a:lnTo>
                      <a:pt x="615" y="293"/>
                    </a:lnTo>
                    <a:lnTo>
                      <a:pt x="616" y="294"/>
                    </a:lnTo>
                    <a:lnTo>
                      <a:pt x="618" y="294"/>
                    </a:lnTo>
                    <a:lnTo>
                      <a:pt x="620" y="294"/>
                    </a:lnTo>
                    <a:lnTo>
                      <a:pt x="621" y="294"/>
                    </a:lnTo>
                    <a:lnTo>
                      <a:pt x="621" y="293"/>
                    </a:lnTo>
                    <a:lnTo>
                      <a:pt x="622" y="294"/>
                    </a:lnTo>
                    <a:lnTo>
                      <a:pt x="623" y="294"/>
                    </a:lnTo>
                    <a:lnTo>
                      <a:pt x="623" y="294"/>
                    </a:lnTo>
                    <a:lnTo>
                      <a:pt x="623" y="294"/>
                    </a:lnTo>
                    <a:lnTo>
                      <a:pt x="622" y="294"/>
                    </a:lnTo>
                    <a:lnTo>
                      <a:pt x="621" y="294"/>
                    </a:lnTo>
                    <a:lnTo>
                      <a:pt x="621" y="295"/>
                    </a:lnTo>
                    <a:lnTo>
                      <a:pt x="622" y="295"/>
                    </a:lnTo>
                    <a:lnTo>
                      <a:pt x="623" y="297"/>
                    </a:lnTo>
                    <a:lnTo>
                      <a:pt x="624" y="298"/>
                    </a:lnTo>
                    <a:lnTo>
                      <a:pt x="625" y="298"/>
                    </a:lnTo>
                    <a:lnTo>
                      <a:pt x="628" y="299"/>
                    </a:lnTo>
                    <a:lnTo>
                      <a:pt x="628" y="299"/>
                    </a:lnTo>
                    <a:lnTo>
                      <a:pt x="630" y="300"/>
                    </a:lnTo>
                    <a:lnTo>
                      <a:pt x="632" y="301"/>
                    </a:lnTo>
                    <a:lnTo>
                      <a:pt x="635" y="302"/>
                    </a:lnTo>
                    <a:lnTo>
                      <a:pt x="637" y="304"/>
                    </a:lnTo>
                    <a:lnTo>
                      <a:pt x="639" y="302"/>
                    </a:lnTo>
                    <a:lnTo>
                      <a:pt x="640" y="302"/>
                    </a:lnTo>
                    <a:lnTo>
                      <a:pt x="641" y="301"/>
                    </a:lnTo>
                    <a:lnTo>
                      <a:pt x="644" y="301"/>
                    </a:lnTo>
                    <a:lnTo>
                      <a:pt x="645" y="302"/>
                    </a:lnTo>
                    <a:lnTo>
                      <a:pt x="647" y="304"/>
                    </a:lnTo>
                    <a:lnTo>
                      <a:pt x="650" y="304"/>
                    </a:lnTo>
                    <a:lnTo>
                      <a:pt x="651" y="304"/>
                    </a:lnTo>
                    <a:lnTo>
                      <a:pt x="652" y="304"/>
                    </a:lnTo>
                    <a:lnTo>
                      <a:pt x="654" y="305"/>
                    </a:lnTo>
                    <a:lnTo>
                      <a:pt x="655" y="306"/>
                    </a:lnTo>
                    <a:lnTo>
                      <a:pt x="658" y="307"/>
                    </a:lnTo>
                    <a:lnTo>
                      <a:pt x="659" y="307"/>
                    </a:lnTo>
                    <a:lnTo>
                      <a:pt x="660" y="307"/>
                    </a:lnTo>
                    <a:lnTo>
                      <a:pt x="661" y="307"/>
                    </a:lnTo>
                    <a:lnTo>
                      <a:pt x="661" y="308"/>
                    </a:lnTo>
                    <a:lnTo>
                      <a:pt x="662" y="309"/>
                    </a:lnTo>
                    <a:lnTo>
                      <a:pt x="662" y="312"/>
                    </a:lnTo>
                    <a:lnTo>
                      <a:pt x="663" y="314"/>
                    </a:lnTo>
                    <a:lnTo>
                      <a:pt x="665" y="316"/>
                    </a:lnTo>
                    <a:lnTo>
                      <a:pt x="666" y="317"/>
                    </a:lnTo>
                    <a:lnTo>
                      <a:pt x="668" y="317"/>
                    </a:lnTo>
                    <a:lnTo>
                      <a:pt x="669" y="317"/>
                    </a:lnTo>
                    <a:lnTo>
                      <a:pt x="672" y="317"/>
                    </a:lnTo>
                    <a:lnTo>
                      <a:pt x="673" y="319"/>
                    </a:lnTo>
                    <a:lnTo>
                      <a:pt x="675" y="319"/>
                    </a:lnTo>
                    <a:lnTo>
                      <a:pt x="676" y="319"/>
                    </a:lnTo>
                    <a:lnTo>
                      <a:pt x="678" y="319"/>
                    </a:lnTo>
                    <a:lnTo>
                      <a:pt x="681" y="319"/>
                    </a:lnTo>
                    <a:lnTo>
                      <a:pt x="683" y="320"/>
                    </a:lnTo>
                    <a:lnTo>
                      <a:pt x="687" y="322"/>
                    </a:lnTo>
                    <a:lnTo>
                      <a:pt x="690" y="324"/>
                    </a:lnTo>
                    <a:lnTo>
                      <a:pt x="692" y="326"/>
                    </a:lnTo>
                    <a:lnTo>
                      <a:pt x="693" y="327"/>
                    </a:lnTo>
                    <a:lnTo>
                      <a:pt x="693" y="327"/>
                    </a:lnTo>
                    <a:lnTo>
                      <a:pt x="695" y="327"/>
                    </a:lnTo>
                    <a:lnTo>
                      <a:pt x="696" y="327"/>
                    </a:lnTo>
                    <a:lnTo>
                      <a:pt x="697" y="327"/>
                    </a:lnTo>
                    <a:lnTo>
                      <a:pt x="699" y="327"/>
                    </a:lnTo>
                    <a:lnTo>
                      <a:pt x="702" y="326"/>
                    </a:lnTo>
                    <a:lnTo>
                      <a:pt x="703" y="323"/>
                    </a:lnTo>
                    <a:lnTo>
                      <a:pt x="704" y="321"/>
                    </a:lnTo>
                    <a:lnTo>
                      <a:pt x="704" y="319"/>
                    </a:lnTo>
                    <a:lnTo>
                      <a:pt x="704" y="316"/>
                    </a:lnTo>
                    <a:lnTo>
                      <a:pt x="703" y="315"/>
                    </a:lnTo>
                    <a:lnTo>
                      <a:pt x="702" y="314"/>
                    </a:lnTo>
                    <a:lnTo>
                      <a:pt x="700" y="314"/>
                    </a:lnTo>
                    <a:lnTo>
                      <a:pt x="700" y="312"/>
                    </a:lnTo>
                    <a:lnTo>
                      <a:pt x="702" y="311"/>
                    </a:lnTo>
                    <a:lnTo>
                      <a:pt x="704" y="308"/>
                    </a:lnTo>
                    <a:lnTo>
                      <a:pt x="706" y="307"/>
                    </a:lnTo>
                    <a:lnTo>
                      <a:pt x="707" y="306"/>
                    </a:lnTo>
                    <a:lnTo>
                      <a:pt x="708" y="305"/>
                    </a:lnTo>
                    <a:lnTo>
                      <a:pt x="710" y="305"/>
                    </a:lnTo>
                    <a:lnTo>
                      <a:pt x="712" y="304"/>
                    </a:lnTo>
                    <a:lnTo>
                      <a:pt x="715" y="305"/>
                    </a:lnTo>
                    <a:lnTo>
                      <a:pt x="717" y="305"/>
                    </a:lnTo>
                    <a:lnTo>
                      <a:pt x="718" y="305"/>
                    </a:lnTo>
                    <a:lnTo>
                      <a:pt x="718" y="305"/>
                    </a:lnTo>
                    <a:lnTo>
                      <a:pt x="718" y="305"/>
                    </a:lnTo>
                    <a:lnTo>
                      <a:pt x="718" y="305"/>
                    </a:lnTo>
                    <a:lnTo>
                      <a:pt x="719" y="306"/>
                    </a:lnTo>
                    <a:lnTo>
                      <a:pt x="720" y="306"/>
                    </a:lnTo>
                    <a:lnTo>
                      <a:pt x="720" y="306"/>
                    </a:lnTo>
                    <a:lnTo>
                      <a:pt x="720" y="306"/>
                    </a:lnTo>
                    <a:lnTo>
                      <a:pt x="720" y="306"/>
                    </a:lnTo>
                    <a:lnTo>
                      <a:pt x="720" y="306"/>
                    </a:lnTo>
                    <a:lnTo>
                      <a:pt x="721" y="306"/>
                    </a:lnTo>
                    <a:lnTo>
                      <a:pt x="722" y="306"/>
                    </a:lnTo>
                    <a:lnTo>
                      <a:pt x="723" y="306"/>
                    </a:lnTo>
                    <a:lnTo>
                      <a:pt x="727" y="306"/>
                    </a:lnTo>
                    <a:lnTo>
                      <a:pt x="729" y="307"/>
                    </a:lnTo>
                    <a:lnTo>
                      <a:pt x="730" y="308"/>
                    </a:lnTo>
                    <a:lnTo>
                      <a:pt x="730" y="309"/>
                    </a:lnTo>
                    <a:lnTo>
                      <a:pt x="730" y="311"/>
                    </a:lnTo>
                    <a:lnTo>
                      <a:pt x="730" y="311"/>
                    </a:lnTo>
                    <a:lnTo>
                      <a:pt x="730" y="311"/>
                    </a:lnTo>
                    <a:lnTo>
                      <a:pt x="732" y="312"/>
                    </a:lnTo>
                    <a:lnTo>
                      <a:pt x="734" y="312"/>
                    </a:lnTo>
                    <a:lnTo>
                      <a:pt x="736" y="311"/>
                    </a:lnTo>
                    <a:lnTo>
                      <a:pt x="736" y="311"/>
                    </a:lnTo>
                    <a:lnTo>
                      <a:pt x="736" y="312"/>
                    </a:lnTo>
                    <a:lnTo>
                      <a:pt x="736" y="312"/>
                    </a:lnTo>
                    <a:lnTo>
                      <a:pt x="737" y="313"/>
                    </a:lnTo>
                    <a:lnTo>
                      <a:pt x="737" y="313"/>
                    </a:lnTo>
                    <a:lnTo>
                      <a:pt x="740" y="313"/>
                    </a:lnTo>
                    <a:lnTo>
                      <a:pt x="741" y="313"/>
                    </a:lnTo>
                    <a:lnTo>
                      <a:pt x="742" y="313"/>
                    </a:lnTo>
                    <a:lnTo>
                      <a:pt x="742" y="313"/>
                    </a:lnTo>
                    <a:lnTo>
                      <a:pt x="742" y="314"/>
                    </a:lnTo>
                    <a:lnTo>
                      <a:pt x="743" y="315"/>
                    </a:lnTo>
                    <a:lnTo>
                      <a:pt x="744" y="315"/>
                    </a:lnTo>
                    <a:lnTo>
                      <a:pt x="745" y="316"/>
                    </a:lnTo>
                    <a:lnTo>
                      <a:pt x="747" y="316"/>
                    </a:lnTo>
                    <a:lnTo>
                      <a:pt x="748" y="317"/>
                    </a:lnTo>
                    <a:lnTo>
                      <a:pt x="750" y="316"/>
                    </a:lnTo>
                    <a:lnTo>
                      <a:pt x="751" y="316"/>
                    </a:lnTo>
                    <a:lnTo>
                      <a:pt x="753" y="316"/>
                    </a:lnTo>
                    <a:lnTo>
                      <a:pt x="756" y="316"/>
                    </a:lnTo>
                    <a:lnTo>
                      <a:pt x="759" y="316"/>
                    </a:lnTo>
                    <a:lnTo>
                      <a:pt x="762" y="317"/>
                    </a:lnTo>
                    <a:lnTo>
                      <a:pt x="764" y="319"/>
                    </a:lnTo>
                    <a:lnTo>
                      <a:pt x="765" y="320"/>
                    </a:lnTo>
                    <a:lnTo>
                      <a:pt x="767" y="321"/>
                    </a:lnTo>
                    <a:lnTo>
                      <a:pt x="770" y="321"/>
                    </a:lnTo>
                    <a:lnTo>
                      <a:pt x="771" y="320"/>
                    </a:lnTo>
                    <a:lnTo>
                      <a:pt x="772" y="320"/>
                    </a:lnTo>
                    <a:lnTo>
                      <a:pt x="772" y="320"/>
                    </a:lnTo>
                    <a:lnTo>
                      <a:pt x="772" y="320"/>
                    </a:lnTo>
                    <a:lnTo>
                      <a:pt x="772" y="321"/>
                    </a:lnTo>
                    <a:lnTo>
                      <a:pt x="772" y="321"/>
                    </a:lnTo>
                    <a:lnTo>
                      <a:pt x="773" y="322"/>
                    </a:lnTo>
                    <a:lnTo>
                      <a:pt x="774" y="322"/>
                    </a:lnTo>
                    <a:lnTo>
                      <a:pt x="775" y="322"/>
                    </a:lnTo>
                    <a:lnTo>
                      <a:pt x="777" y="323"/>
                    </a:lnTo>
                    <a:lnTo>
                      <a:pt x="777" y="323"/>
                    </a:lnTo>
                    <a:lnTo>
                      <a:pt x="777" y="324"/>
                    </a:lnTo>
                    <a:lnTo>
                      <a:pt x="778" y="324"/>
                    </a:lnTo>
                    <a:lnTo>
                      <a:pt x="778" y="324"/>
                    </a:lnTo>
                    <a:lnTo>
                      <a:pt x="780" y="323"/>
                    </a:lnTo>
                    <a:lnTo>
                      <a:pt x="781" y="323"/>
                    </a:lnTo>
                    <a:lnTo>
                      <a:pt x="784" y="322"/>
                    </a:lnTo>
                    <a:lnTo>
                      <a:pt x="785" y="322"/>
                    </a:lnTo>
                    <a:lnTo>
                      <a:pt x="785" y="321"/>
                    </a:lnTo>
                    <a:lnTo>
                      <a:pt x="785" y="320"/>
                    </a:lnTo>
                    <a:lnTo>
                      <a:pt x="786" y="320"/>
                    </a:lnTo>
                    <a:lnTo>
                      <a:pt x="787" y="319"/>
                    </a:lnTo>
                    <a:lnTo>
                      <a:pt x="789" y="319"/>
                    </a:lnTo>
                    <a:lnTo>
                      <a:pt x="792" y="319"/>
                    </a:lnTo>
                    <a:lnTo>
                      <a:pt x="793" y="319"/>
                    </a:lnTo>
                    <a:lnTo>
                      <a:pt x="794" y="319"/>
                    </a:lnTo>
                    <a:lnTo>
                      <a:pt x="795" y="319"/>
                    </a:lnTo>
                    <a:lnTo>
                      <a:pt x="796" y="319"/>
                    </a:lnTo>
                    <a:lnTo>
                      <a:pt x="796" y="319"/>
                    </a:lnTo>
                    <a:lnTo>
                      <a:pt x="796" y="317"/>
                    </a:lnTo>
                    <a:lnTo>
                      <a:pt x="797" y="317"/>
                    </a:lnTo>
                    <a:lnTo>
                      <a:pt x="799" y="319"/>
                    </a:lnTo>
                    <a:lnTo>
                      <a:pt x="802" y="320"/>
                    </a:lnTo>
                    <a:lnTo>
                      <a:pt x="805" y="321"/>
                    </a:lnTo>
                    <a:lnTo>
                      <a:pt x="808" y="322"/>
                    </a:lnTo>
                    <a:lnTo>
                      <a:pt x="811" y="322"/>
                    </a:lnTo>
                    <a:lnTo>
                      <a:pt x="812" y="322"/>
                    </a:lnTo>
                    <a:lnTo>
                      <a:pt x="814" y="322"/>
                    </a:lnTo>
                    <a:lnTo>
                      <a:pt x="816" y="322"/>
                    </a:lnTo>
                    <a:lnTo>
                      <a:pt x="817" y="322"/>
                    </a:lnTo>
                    <a:lnTo>
                      <a:pt x="819" y="322"/>
                    </a:lnTo>
                    <a:lnTo>
                      <a:pt x="822" y="321"/>
                    </a:lnTo>
                    <a:lnTo>
                      <a:pt x="823" y="319"/>
                    </a:lnTo>
                    <a:lnTo>
                      <a:pt x="824" y="316"/>
                    </a:lnTo>
                    <a:lnTo>
                      <a:pt x="825" y="315"/>
                    </a:lnTo>
                    <a:lnTo>
                      <a:pt x="826" y="314"/>
                    </a:lnTo>
                    <a:lnTo>
                      <a:pt x="826" y="312"/>
                    </a:lnTo>
                    <a:lnTo>
                      <a:pt x="826" y="309"/>
                    </a:lnTo>
                    <a:lnTo>
                      <a:pt x="826" y="302"/>
                    </a:lnTo>
                    <a:lnTo>
                      <a:pt x="827" y="301"/>
                    </a:lnTo>
                    <a:lnTo>
                      <a:pt x="827" y="300"/>
                    </a:lnTo>
                    <a:lnTo>
                      <a:pt x="829" y="299"/>
                    </a:lnTo>
                    <a:lnTo>
                      <a:pt x="830" y="298"/>
                    </a:lnTo>
                    <a:lnTo>
                      <a:pt x="830" y="295"/>
                    </a:lnTo>
                    <a:lnTo>
                      <a:pt x="831" y="294"/>
                    </a:lnTo>
                    <a:lnTo>
                      <a:pt x="832" y="294"/>
                    </a:lnTo>
                    <a:lnTo>
                      <a:pt x="832" y="293"/>
                    </a:lnTo>
                    <a:lnTo>
                      <a:pt x="833" y="292"/>
                    </a:lnTo>
                    <a:lnTo>
                      <a:pt x="833" y="291"/>
                    </a:lnTo>
                    <a:lnTo>
                      <a:pt x="832" y="287"/>
                    </a:lnTo>
                    <a:lnTo>
                      <a:pt x="831" y="285"/>
                    </a:lnTo>
                    <a:lnTo>
                      <a:pt x="831" y="284"/>
                    </a:lnTo>
                    <a:lnTo>
                      <a:pt x="831" y="283"/>
                    </a:lnTo>
                    <a:lnTo>
                      <a:pt x="832" y="282"/>
                    </a:lnTo>
                    <a:lnTo>
                      <a:pt x="832" y="280"/>
                    </a:lnTo>
                    <a:lnTo>
                      <a:pt x="832" y="280"/>
                    </a:lnTo>
                    <a:lnTo>
                      <a:pt x="832" y="279"/>
                    </a:lnTo>
                    <a:lnTo>
                      <a:pt x="830" y="278"/>
                    </a:lnTo>
                    <a:lnTo>
                      <a:pt x="829" y="277"/>
                    </a:lnTo>
                    <a:lnTo>
                      <a:pt x="827" y="277"/>
                    </a:lnTo>
                    <a:lnTo>
                      <a:pt x="829" y="277"/>
                    </a:lnTo>
                    <a:lnTo>
                      <a:pt x="829" y="276"/>
                    </a:lnTo>
                    <a:lnTo>
                      <a:pt x="829" y="276"/>
                    </a:lnTo>
                    <a:lnTo>
                      <a:pt x="829" y="275"/>
                    </a:lnTo>
                    <a:lnTo>
                      <a:pt x="829" y="274"/>
                    </a:lnTo>
                    <a:lnTo>
                      <a:pt x="829" y="274"/>
                    </a:lnTo>
                    <a:lnTo>
                      <a:pt x="829" y="272"/>
                    </a:lnTo>
                    <a:lnTo>
                      <a:pt x="830" y="272"/>
                    </a:lnTo>
                    <a:lnTo>
                      <a:pt x="831" y="272"/>
                    </a:lnTo>
                    <a:lnTo>
                      <a:pt x="831" y="271"/>
                    </a:lnTo>
                    <a:lnTo>
                      <a:pt x="830" y="270"/>
                    </a:lnTo>
                    <a:lnTo>
                      <a:pt x="829" y="269"/>
                    </a:lnTo>
                    <a:lnTo>
                      <a:pt x="827" y="270"/>
                    </a:lnTo>
                    <a:lnTo>
                      <a:pt x="827" y="271"/>
                    </a:lnTo>
                    <a:lnTo>
                      <a:pt x="826" y="271"/>
                    </a:lnTo>
                    <a:lnTo>
                      <a:pt x="824" y="271"/>
                    </a:lnTo>
                    <a:lnTo>
                      <a:pt x="823" y="270"/>
                    </a:lnTo>
                    <a:lnTo>
                      <a:pt x="822" y="269"/>
                    </a:lnTo>
                    <a:lnTo>
                      <a:pt x="820" y="269"/>
                    </a:lnTo>
                    <a:lnTo>
                      <a:pt x="819" y="269"/>
                    </a:lnTo>
                    <a:lnTo>
                      <a:pt x="818" y="270"/>
                    </a:lnTo>
                    <a:lnTo>
                      <a:pt x="816" y="271"/>
                    </a:lnTo>
                    <a:lnTo>
                      <a:pt x="814" y="272"/>
                    </a:lnTo>
                    <a:lnTo>
                      <a:pt x="814" y="274"/>
                    </a:lnTo>
                    <a:lnTo>
                      <a:pt x="812" y="275"/>
                    </a:lnTo>
                    <a:lnTo>
                      <a:pt x="812" y="275"/>
                    </a:lnTo>
                    <a:lnTo>
                      <a:pt x="812" y="275"/>
                    </a:lnTo>
                    <a:lnTo>
                      <a:pt x="810" y="275"/>
                    </a:lnTo>
                    <a:lnTo>
                      <a:pt x="808" y="276"/>
                    </a:lnTo>
                    <a:lnTo>
                      <a:pt x="805" y="276"/>
                    </a:lnTo>
                    <a:lnTo>
                      <a:pt x="804" y="275"/>
                    </a:lnTo>
                    <a:lnTo>
                      <a:pt x="802" y="272"/>
                    </a:lnTo>
                    <a:lnTo>
                      <a:pt x="801" y="271"/>
                    </a:lnTo>
                    <a:lnTo>
                      <a:pt x="799" y="270"/>
                    </a:lnTo>
                    <a:lnTo>
                      <a:pt x="797" y="270"/>
                    </a:lnTo>
                    <a:lnTo>
                      <a:pt x="795" y="270"/>
                    </a:lnTo>
                    <a:lnTo>
                      <a:pt x="793" y="269"/>
                    </a:lnTo>
                    <a:lnTo>
                      <a:pt x="790" y="268"/>
                    </a:lnTo>
                    <a:lnTo>
                      <a:pt x="789" y="269"/>
                    </a:lnTo>
                    <a:lnTo>
                      <a:pt x="788" y="270"/>
                    </a:lnTo>
                    <a:lnTo>
                      <a:pt x="788" y="271"/>
                    </a:lnTo>
                    <a:lnTo>
                      <a:pt x="788" y="272"/>
                    </a:lnTo>
                    <a:lnTo>
                      <a:pt x="786" y="272"/>
                    </a:lnTo>
                    <a:lnTo>
                      <a:pt x="785" y="274"/>
                    </a:lnTo>
                    <a:lnTo>
                      <a:pt x="782" y="274"/>
                    </a:lnTo>
                    <a:lnTo>
                      <a:pt x="781" y="275"/>
                    </a:lnTo>
                    <a:lnTo>
                      <a:pt x="781" y="275"/>
                    </a:lnTo>
                    <a:lnTo>
                      <a:pt x="780" y="275"/>
                    </a:lnTo>
                    <a:lnTo>
                      <a:pt x="779" y="274"/>
                    </a:lnTo>
                    <a:lnTo>
                      <a:pt x="778" y="272"/>
                    </a:lnTo>
                    <a:lnTo>
                      <a:pt x="777" y="271"/>
                    </a:lnTo>
                    <a:lnTo>
                      <a:pt x="775" y="270"/>
                    </a:lnTo>
                    <a:lnTo>
                      <a:pt x="777" y="270"/>
                    </a:lnTo>
                    <a:lnTo>
                      <a:pt x="777" y="269"/>
                    </a:lnTo>
                    <a:lnTo>
                      <a:pt x="775" y="268"/>
                    </a:lnTo>
                    <a:lnTo>
                      <a:pt x="774" y="268"/>
                    </a:lnTo>
                    <a:lnTo>
                      <a:pt x="773" y="268"/>
                    </a:lnTo>
                    <a:lnTo>
                      <a:pt x="772" y="268"/>
                    </a:lnTo>
                    <a:lnTo>
                      <a:pt x="767" y="270"/>
                    </a:lnTo>
                    <a:lnTo>
                      <a:pt x="766" y="269"/>
                    </a:lnTo>
                    <a:lnTo>
                      <a:pt x="765" y="269"/>
                    </a:lnTo>
                    <a:lnTo>
                      <a:pt x="764" y="269"/>
                    </a:lnTo>
                    <a:lnTo>
                      <a:pt x="763" y="269"/>
                    </a:lnTo>
                    <a:lnTo>
                      <a:pt x="762" y="268"/>
                    </a:lnTo>
                    <a:lnTo>
                      <a:pt x="762" y="267"/>
                    </a:lnTo>
                    <a:lnTo>
                      <a:pt x="763" y="267"/>
                    </a:lnTo>
                    <a:lnTo>
                      <a:pt x="764" y="267"/>
                    </a:lnTo>
                    <a:lnTo>
                      <a:pt x="765" y="267"/>
                    </a:lnTo>
                    <a:lnTo>
                      <a:pt x="767" y="267"/>
                    </a:lnTo>
                    <a:lnTo>
                      <a:pt x="767" y="267"/>
                    </a:lnTo>
                    <a:lnTo>
                      <a:pt x="760" y="267"/>
                    </a:lnTo>
                    <a:lnTo>
                      <a:pt x="760" y="265"/>
                    </a:lnTo>
                    <a:lnTo>
                      <a:pt x="760" y="265"/>
                    </a:lnTo>
                    <a:lnTo>
                      <a:pt x="760" y="264"/>
                    </a:lnTo>
                    <a:lnTo>
                      <a:pt x="762" y="264"/>
                    </a:lnTo>
                    <a:lnTo>
                      <a:pt x="762" y="264"/>
                    </a:lnTo>
                    <a:lnTo>
                      <a:pt x="763" y="264"/>
                    </a:lnTo>
                    <a:lnTo>
                      <a:pt x="763" y="263"/>
                    </a:lnTo>
                    <a:lnTo>
                      <a:pt x="763" y="262"/>
                    </a:lnTo>
                    <a:lnTo>
                      <a:pt x="763" y="262"/>
                    </a:lnTo>
                    <a:lnTo>
                      <a:pt x="762" y="262"/>
                    </a:lnTo>
                    <a:lnTo>
                      <a:pt x="762" y="262"/>
                    </a:lnTo>
                    <a:lnTo>
                      <a:pt x="760" y="262"/>
                    </a:lnTo>
                    <a:lnTo>
                      <a:pt x="759" y="261"/>
                    </a:lnTo>
                    <a:lnTo>
                      <a:pt x="758" y="261"/>
                    </a:lnTo>
                    <a:lnTo>
                      <a:pt x="757" y="261"/>
                    </a:lnTo>
                    <a:lnTo>
                      <a:pt x="757" y="260"/>
                    </a:lnTo>
                    <a:lnTo>
                      <a:pt x="757" y="259"/>
                    </a:lnTo>
                    <a:lnTo>
                      <a:pt x="757" y="257"/>
                    </a:lnTo>
                    <a:lnTo>
                      <a:pt x="757" y="256"/>
                    </a:lnTo>
                    <a:lnTo>
                      <a:pt x="755" y="255"/>
                    </a:lnTo>
                    <a:lnTo>
                      <a:pt x="755" y="255"/>
                    </a:lnTo>
                    <a:lnTo>
                      <a:pt x="753" y="254"/>
                    </a:lnTo>
                    <a:lnTo>
                      <a:pt x="752" y="253"/>
                    </a:lnTo>
                    <a:lnTo>
                      <a:pt x="751" y="253"/>
                    </a:lnTo>
                    <a:lnTo>
                      <a:pt x="750" y="254"/>
                    </a:lnTo>
                    <a:lnTo>
                      <a:pt x="749" y="254"/>
                    </a:lnTo>
                    <a:lnTo>
                      <a:pt x="749" y="254"/>
                    </a:lnTo>
                    <a:lnTo>
                      <a:pt x="750" y="254"/>
                    </a:lnTo>
                    <a:lnTo>
                      <a:pt x="750" y="253"/>
                    </a:lnTo>
                    <a:lnTo>
                      <a:pt x="750" y="252"/>
                    </a:lnTo>
                    <a:lnTo>
                      <a:pt x="750" y="250"/>
                    </a:lnTo>
                    <a:lnTo>
                      <a:pt x="749" y="249"/>
                    </a:lnTo>
                    <a:lnTo>
                      <a:pt x="748" y="248"/>
                    </a:lnTo>
                    <a:lnTo>
                      <a:pt x="749" y="248"/>
                    </a:lnTo>
                    <a:lnTo>
                      <a:pt x="750" y="248"/>
                    </a:lnTo>
                    <a:lnTo>
                      <a:pt x="750" y="248"/>
                    </a:lnTo>
                    <a:lnTo>
                      <a:pt x="751" y="249"/>
                    </a:lnTo>
                    <a:lnTo>
                      <a:pt x="751" y="250"/>
                    </a:lnTo>
                    <a:lnTo>
                      <a:pt x="751" y="250"/>
                    </a:lnTo>
                    <a:lnTo>
                      <a:pt x="751" y="249"/>
                    </a:lnTo>
                    <a:lnTo>
                      <a:pt x="751" y="249"/>
                    </a:lnTo>
                    <a:lnTo>
                      <a:pt x="752" y="249"/>
                    </a:lnTo>
                    <a:lnTo>
                      <a:pt x="753" y="248"/>
                    </a:lnTo>
                    <a:lnTo>
                      <a:pt x="753" y="248"/>
                    </a:lnTo>
                    <a:lnTo>
                      <a:pt x="753" y="248"/>
                    </a:lnTo>
                    <a:lnTo>
                      <a:pt x="752" y="247"/>
                    </a:lnTo>
                    <a:lnTo>
                      <a:pt x="751" y="246"/>
                    </a:lnTo>
                    <a:lnTo>
                      <a:pt x="751" y="245"/>
                    </a:lnTo>
                    <a:lnTo>
                      <a:pt x="752" y="245"/>
                    </a:lnTo>
                    <a:lnTo>
                      <a:pt x="752" y="245"/>
                    </a:lnTo>
                    <a:lnTo>
                      <a:pt x="751" y="245"/>
                    </a:lnTo>
                    <a:lnTo>
                      <a:pt x="751" y="245"/>
                    </a:lnTo>
                    <a:lnTo>
                      <a:pt x="751" y="244"/>
                    </a:lnTo>
                    <a:lnTo>
                      <a:pt x="752" y="244"/>
                    </a:lnTo>
                    <a:lnTo>
                      <a:pt x="751" y="242"/>
                    </a:lnTo>
                    <a:lnTo>
                      <a:pt x="750" y="242"/>
                    </a:lnTo>
                    <a:lnTo>
                      <a:pt x="750" y="241"/>
                    </a:lnTo>
                    <a:lnTo>
                      <a:pt x="750" y="241"/>
                    </a:lnTo>
                    <a:lnTo>
                      <a:pt x="751" y="240"/>
                    </a:lnTo>
                    <a:lnTo>
                      <a:pt x="749" y="240"/>
                    </a:lnTo>
                    <a:lnTo>
                      <a:pt x="748" y="240"/>
                    </a:lnTo>
                    <a:lnTo>
                      <a:pt x="747" y="240"/>
                    </a:lnTo>
                    <a:lnTo>
                      <a:pt x="747" y="239"/>
                    </a:lnTo>
                    <a:lnTo>
                      <a:pt x="748" y="239"/>
                    </a:lnTo>
                    <a:lnTo>
                      <a:pt x="748" y="238"/>
                    </a:lnTo>
                    <a:lnTo>
                      <a:pt x="747" y="237"/>
                    </a:lnTo>
                    <a:lnTo>
                      <a:pt x="747" y="235"/>
                    </a:lnTo>
                    <a:lnTo>
                      <a:pt x="748" y="235"/>
                    </a:lnTo>
                    <a:lnTo>
                      <a:pt x="749" y="235"/>
                    </a:lnTo>
                    <a:lnTo>
                      <a:pt x="750" y="234"/>
                    </a:lnTo>
                    <a:lnTo>
                      <a:pt x="752" y="233"/>
                    </a:lnTo>
                    <a:lnTo>
                      <a:pt x="753" y="232"/>
                    </a:lnTo>
                    <a:lnTo>
                      <a:pt x="756" y="232"/>
                    </a:lnTo>
                    <a:lnTo>
                      <a:pt x="757" y="233"/>
                    </a:lnTo>
                    <a:lnTo>
                      <a:pt x="757" y="233"/>
                    </a:lnTo>
                    <a:lnTo>
                      <a:pt x="757" y="233"/>
                    </a:lnTo>
                    <a:lnTo>
                      <a:pt x="758" y="233"/>
                    </a:lnTo>
                    <a:lnTo>
                      <a:pt x="759" y="232"/>
                    </a:lnTo>
                    <a:lnTo>
                      <a:pt x="760" y="233"/>
                    </a:lnTo>
                    <a:lnTo>
                      <a:pt x="762" y="233"/>
                    </a:lnTo>
                    <a:lnTo>
                      <a:pt x="764" y="233"/>
                    </a:lnTo>
                    <a:lnTo>
                      <a:pt x="765" y="233"/>
                    </a:lnTo>
                    <a:lnTo>
                      <a:pt x="767" y="233"/>
                    </a:lnTo>
                    <a:lnTo>
                      <a:pt x="770" y="232"/>
                    </a:lnTo>
                    <a:lnTo>
                      <a:pt x="770" y="232"/>
                    </a:lnTo>
                    <a:lnTo>
                      <a:pt x="768" y="231"/>
                    </a:lnTo>
                    <a:lnTo>
                      <a:pt x="768" y="231"/>
                    </a:lnTo>
                    <a:lnTo>
                      <a:pt x="768" y="231"/>
                    </a:lnTo>
                    <a:lnTo>
                      <a:pt x="770" y="231"/>
                    </a:lnTo>
                    <a:lnTo>
                      <a:pt x="772" y="231"/>
                    </a:lnTo>
                    <a:lnTo>
                      <a:pt x="773" y="231"/>
                    </a:lnTo>
                    <a:lnTo>
                      <a:pt x="775" y="230"/>
                    </a:lnTo>
                    <a:lnTo>
                      <a:pt x="777" y="230"/>
                    </a:lnTo>
                    <a:lnTo>
                      <a:pt x="773" y="229"/>
                    </a:lnTo>
                    <a:lnTo>
                      <a:pt x="771" y="229"/>
                    </a:lnTo>
                    <a:lnTo>
                      <a:pt x="768" y="229"/>
                    </a:lnTo>
                    <a:lnTo>
                      <a:pt x="767" y="229"/>
                    </a:lnTo>
                    <a:lnTo>
                      <a:pt x="767" y="227"/>
                    </a:lnTo>
                    <a:lnTo>
                      <a:pt x="767" y="226"/>
                    </a:lnTo>
                    <a:lnTo>
                      <a:pt x="768" y="225"/>
                    </a:lnTo>
                    <a:lnTo>
                      <a:pt x="771" y="225"/>
                    </a:lnTo>
                    <a:lnTo>
                      <a:pt x="773" y="226"/>
                    </a:lnTo>
                    <a:lnTo>
                      <a:pt x="775" y="226"/>
                    </a:lnTo>
                    <a:lnTo>
                      <a:pt x="778" y="227"/>
                    </a:lnTo>
                    <a:lnTo>
                      <a:pt x="781" y="227"/>
                    </a:lnTo>
                    <a:lnTo>
                      <a:pt x="784" y="227"/>
                    </a:lnTo>
                    <a:lnTo>
                      <a:pt x="785" y="226"/>
                    </a:lnTo>
                    <a:lnTo>
                      <a:pt x="787" y="224"/>
                    </a:lnTo>
                    <a:lnTo>
                      <a:pt x="789" y="224"/>
                    </a:lnTo>
                    <a:lnTo>
                      <a:pt x="792" y="223"/>
                    </a:lnTo>
                    <a:lnTo>
                      <a:pt x="794" y="223"/>
                    </a:lnTo>
                    <a:lnTo>
                      <a:pt x="797" y="220"/>
                    </a:lnTo>
                    <a:lnTo>
                      <a:pt x="800" y="220"/>
                    </a:lnTo>
                    <a:lnTo>
                      <a:pt x="803" y="220"/>
                    </a:lnTo>
                    <a:lnTo>
                      <a:pt x="807" y="220"/>
                    </a:lnTo>
                    <a:lnTo>
                      <a:pt x="809" y="220"/>
                    </a:lnTo>
                    <a:lnTo>
                      <a:pt x="811" y="219"/>
                    </a:lnTo>
                    <a:lnTo>
                      <a:pt x="812" y="218"/>
                    </a:lnTo>
                    <a:lnTo>
                      <a:pt x="814" y="219"/>
                    </a:lnTo>
                    <a:lnTo>
                      <a:pt x="815" y="220"/>
                    </a:lnTo>
                    <a:lnTo>
                      <a:pt x="816" y="222"/>
                    </a:lnTo>
                    <a:lnTo>
                      <a:pt x="817" y="222"/>
                    </a:lnTo>
                    <a:lnTo>
                      <a:pt x="819" y="223"/>
                    </a:lnTo>
                    <a:lnTo>
                      <a:pt x="822" y="223"/>
                    </a:lnTo>
                    <a:lnTo>
                      <a:pt x="823" y="223"/>
                    </a:lnTo>
                    <a:lnTo>
                      <a:pt x="823" y="224"/>
                    </a:lnTo>
                    <a:lnTo>
                      <a:pt x="824" y="224"/>
                    </a:lnTo>
                    <a:lnTo>
                      <a:pt x="825" y="225"/>
                    </a:lnTo>
                    <a:lnTo>
                      <a:pt x="826" y="226"/>
                    </a:lnTo>
                    <a:lnTo>
                      <a:pt x="829" y="226"/>
                    </a:lnTo>
                    <a:lnTo>
                      <a:pt x="830" y="226"/>
                    </a:lnTo>
                    <a:lnTo>
                      <a:pt x="831" y="226"/>
                    </a:lnTo>
                    <a:lnTo>
                      <a:pt x="831" y="227"/>
                    </a:lnTo>
                    <a:lnTo>
                      <a:pt x="831" y="227"/>
                    </a:lnTo>
                    <a:lnTo>
                      <a:pt x="831" y="227"/>
                    </a:lnTo>
                    <a:lnTo>
                      <a:pt x="832" y="227"/>
                    </a:lnTo>
                    <a:lnTo>
                      <a:pt x="833" y="229"/>
                    </a:lnTo>
                    <a:lnTo>
                      <a:pt x="834" y="229"/>
                    </a:lnTo>
                    <a:lnTo>
                      <a:pt x="837" y="229"/>
                    </a:lnTo>
                    <a:lnTo>
                      <a:pt x="838" y="230"/>
                    </a:lnTo>
                    <a:lnTo>
                      <a:pt x="841" y="229"/>
                    </a:lnTo>
                    <a:lnTo>
                      <a:pt x="845" y="227"/>
                    </a:lnTo>
                    <a:lnTo>
                      <a:pt x="848" y="227"/>
                    </a:lnTo>
                    <a:lnTo>
                      <a:pt x="853" y="230"/>
                    </a:lnTo>
                    <a:lnTo>
                      <a:pt x="857" y="229"/>
                    </a:lnTo>
                    <a:lnTo>
                      <a:pt x="863" y="224"/>
                    </a:lnTo>
                    <a:lnTo>
                      <a:pt x="863" y="219"/>
                    </a:lnTo>
                    <a:lnTo>
                      <a:pt x="863" y="217"/>
                    </a:lnTo>
                    <a:lnTo>
                      <a:pt x="863" y="216"/>
                    </a:lnTo>
                    <a:lnTo>
                      <a:pt x="862" y="215"/>
                    </a:lnTo>
                    <a:lnTo>
                      <a:pt x="861" y="215"/>
                    </a:lnTo>
                    <a:lnTo>
                      <a:pt x="860" y="213"/>
                    </a:lnTo>
                    <a:lnTo>
                      <a:pt x="860" y="212"/>
                    </a:lnTo>
                    <a:lnTo>
                      <a:pt x="859" y="212"/>
                    </a:lnTo>
                    <a:lnTo>
                      <a:pt x="859" y="212"/>
                    </a:lnTo>
                    <a:lnTo>
                      <a:pt x="857" y="211"/>
                    </a:lnTo>
                    <a:lnTo>
                      <a:pt x="856" y="211"/>
                    </a:lnTo>
                    <a:lnTo>
                      <a:pt x="855" y="210"/>
                    </a:lnTo>
                    <a:lnTo>
                      <a:pt x="853" y="209"/>
                    </a:lnTo>
                    <a:lnTo>
                      <a:pt x="849" y="207"/>
                    </a:lnTo>
                    <a:lnTo>
                      <a:pt x="847" y="205"/>
                    </a:lnTo>
                    <a:lnTo>
                      <a:pt x="846" y="205"/>
                    </a:lnTo>
                    <a:lnTo>
                      <a:pt x="845" y="205"/>
                    </a:lnTo>
                    <a:lnTo>
                      <a:pt x="844" y="205"/>
                    </a:lnTo>
                    <a:lnTo>
                      <a:pt x="842" y="204"/>
                    </a:lnTo>
                    <a:lnTo>
                      <a:pt x="841" y="203"/>
                    </a:lnTo>
                    <a:lnTo>
                      <a:pt x="832" y="198"/>
                    </a:lnTo>
                    <a:lnTo>
                      <a:pt x="824" y="195"/>
                    </a:lnTo>
                    <a:lnTo>
                      <a:pt x="819" y="193"/>
                    </a:lnTo>
                    <a:lnTo>
                      <a:pt x="819" y="192"/>
                    </a:lnTo>
                    <a:lnTo>
                      <a:pt x="819" y="192"/>
                    </a:lnTo>
                    <a:lnTo>
                      <a:pt x="820" y="190"/>
                    </a:lnTo>
                    <a:lnTo>
                      <a:pt x="822" y="190"/>
                    </a:lnTo>
                    <a:lnTo>
                      <a:pt x="823" y="190"/>
                    </a:lnTo>
                    <a:lnTo>
                      <a:pt x="824" y="189"/>
                    </a:lnTo>
                    <a:lnTo>
                      <a:pt x="825" y="188"/>
                    </a:lnTo>
                    <a:lnTo>
                      <a:pt x="826" y="186"/>
                    </a:lnTo>
                    <a:lnTo>
                      <a:pt x="826" y="186"/>
                    </a:lnTo>
                    <a:lnTo>
                      <a:pt x="827" y="186"/>
                    </a:lnTo>
                    <a:lnTo>
                      <a:pt x="829" y="186"/>
                    </a:lnTo>
                    <a:lnTo>
                      <a:pt x="830" y="186"/>
                    </a:lnTo>
                    <a:lnTo>
                      <a:pt x="830" y="186"/>
                    </a:lnTo>
                    <a:lnTo>
                      <a:pt x="830" y="186"/>
                    </a:lnTo>
                    <a:lnTo>
                      <a:pt x="829" y="185"/>
                    </a:lnTo>
                    <a:lnTo>
                      <a:pt x="826" y="182"/>
                    </a:lnTo>
                    <a:lnTo>
                      <a:pt x="825" y="180"/>
                    </a:lnTo>
                    <a:lnTo>
                      <a:pt x="824" y="180"/>
                    </a:lnTo>
                    <a:lnTo>
                      <a:pt x="824" y="180"/>
                    </a:lnTo>
                    <a:lnTo>
                      <a:pt x="824" y="180"/>
                    </a:lnTo>
                    <a:lnTo>
                      <a:pt x="825" y="180"/>
                    </a:lnTo>
                    <a:lnTo>
                      <a:pt x="826" y="180"/>
                    </a:lnTo>
                    <a:lnTo>
                      <a:pt x="827" y="180"/>
                    </a:lnTo>
                    <a:lnTo>
                      <a:pt x="830" y="179"/>
                    </a:lnTo>
                    <a:lnTo>
                      <a:pt x="832" y="177"/>
                    </a:lnTo>
                    <a:lnTo>
                      <a:pt x="833" y="175"/>
                    </a:lnTo>
                    <a:lnTo>
                      <a:pt x="833" y="174"/>
                    </a:lnTo>
                    <a:lnTo>
                      <a:pt x="832" y="174"/>
                    </a:lnTo>
                    <a:lnTo>
                      <a:pt x="831" y="174"/>
                    </a:lnTo>
                    <a:lnTo>
                      <a:pt x="829" y="174"/>
                    </a:lnTo>
                    <a:lnTo>
                      <a:pt x="825" y="175"/>
                    </a:lnTo>
                    <a:lnTo>
                      <a:pt x="824" y="175"/>
                    </a:lnTo>
                    <a:lnTo>
                      <a:pt x="823" y="177"/>
                    </a:lnTo>
                    <a:lnTo>
                      <a:pt x="823" y="177"/>
                    </a:lnTo>
                    <a:lnTo>
                      <a:pt x="822" y="177"/>
                    </a:lnTo>
                    <a:lnTo>
                      <a:pt x="820" y="178"/>
                    </a:lnTo>
                    <a:lnTo>
                      <a:pt x="820" y="178"/>
                    </a:lnTo>
                    <a:lnTo>
                      <a:pt x="819" y="178"/>
                    </a:lnTo>
                    <a:lnTo>
                      <a:pt x="819" y="178"/>
                    </a:lnTo>
                    <a:lnTo>
                      <a:pt x="818" y="179"/>
                    </a:lnTo>
                    <a:lnTo>
                      <a:pt x="817" y="180"/>
                    </a:lnTo>
                    <a:lnTo>
                      <a:pt x="816" y="180"/>
                    </a:lnTo>
                    <a:lnTo>
                      <a:pt x="816" y="180"/>
                    </a:lnTo>
                    <a:lnTo>
                      <a:pt x="815" y="180"/>
                    </a:lnTo>
                    <a:lnTo>
                      <a:pt x="815" y="179"/>
                    </a:lnTo>
                    <a:lnTo>
                      <a:pt x="814" y="180"/>
                    </a:lnTo>
                    <a:lnTo>
                      <a:pt x="812" y="181"/>
                    </a:lnTo>
                    <a:lnTo>
                      <a:pt x="811" y="182"/>
                    </a:lnTo>
                    <a:lnTo>
                      <a:pt x="810" y="182"/>
                    </a:lnTo>
                    <a:lnTo>
                      <a:pt x="810" y="182"/>
                    </a:lnTo>
                    <a:lnTo>
                      <a:pt x="810" y="182"/>
                    </a:lnTo>
                    <a:lnTo>
                      <a:pt x="809" y="182"/>
                    </a:lnTo>
                    <a:lnTo>
                      <a:pt x="808" y="182"/>
                    </a:lnTo>
                    <a:lnTo>
                      <a:pt x="805" y="182"/>
                    </a:lnTo>
                    <a:lnTo>
                      <a:pt x="804" y="182"/>
                    </a:lnTo>
                    <a:lnTo>
                      <a:pt x="803" y="183"/>
                    </a:lnTo>
                    <a:lnTo>
                      <a:pt x="802" y="183"/>
                    </a:lnTo>
                    <a:lnTo>
                      <a:pt x="801" y="185"/>
                    </a:lnTo>
                    <a:lnTo>
                      <a:pt x="800" y="183"/>
                    </a:lnTo>
                    <a:lnTo>
                      <a:pt x="800" y="183"/>
                    </a:lnTo>
                    <a:lnTo>
                      <a:pt x="800" y="183"/>
                    </a:lnTo>
                    <a:lnTo>
                      <a:pt x="801" y="182"/>
                    </a:lnTo>
                    <a:lnTo>
                      <a:pt x="802" y="182"/>
                    </a:lnTo>
                    <a:lnTo>
                      <a:pt x="799" y="182"/>
                    </a:lnTo>
                    <a:lnTo>
                      <a:pt x="797" y="183"/>
                    </a:lnTo>
                    <a:lnTo>
                      <a:pt x="796" y="183"/>
                    </a:lnTo>
                    <a:lnTo>
                      <a:pt x="796" y="182"/>
                    </a:lnTo>
                    <a:lnTo>
                      <a:pt x="796" y="182"/>
                    </a:lnTo>
                    <a:lnTo>
                      <a:pt x="795" y="182"/>
                    </a:lnTo>
                    <a:lnTo>
                      <a:pt x="795" y="182"/>
                    </a:lnTo>
                    <a:lnTo>
                      <a:pt x="795" y="183"/>
                    </a:lnTo>
                    <a:lnTo>
                      <a:pt x="796" y="183"/>
                    </a:lnTo>
                    <a:lnTo>
                      <a:pt x="797" y="185"/>
                    </a:lnTo>
                    <a:lnTo>
                      <a:pt x="799" y="185"/>
                    </a:lnTo>
                    <a:lnTo>
                      <a:pt x="799" y="185"/>
                    </a:lnTo>
                    <a:lnTo>
                      <a:pt x="800" y="185"/>
                    </a:lnTo>
                    <a:lnTo>
                      <a:pt x="801" y="186"/>
                    </a:lnTo>
                    <a:lnTo>
                      <a:pt x="801" y="186"/>
                    </a:lnTo>
                    <a:lnTo>
                      <a:pt x="802" y="186"/>
                    </a:lnTo>
                    <a:lnTo>
                      <a:pt x="803" y="187"/>
                    </a:lnTo>
                    <a:lnTo>
                      <a:pt x="804" y="188"/>
                    </a:lnTo>
                    <a:lnTo>
                      <a:pt x="805" y="188"/>
                    </a:lnTo>
                    <a:lnTo>
                      <a:pt x="804" y="189"/>
                    </a:lnTo>
                    <a:lnTo>
                      <a:pt x="807" y="189"/>
                    </a:lnTo>
                    <a:lnTo>
                      <a:pt x="808" y="190"/>
                    </a:lnTo>
                    <a:lnTo>
                      <a:pt x="810" y="190"/>
                    </a:lnTo>
                    <a:lnTo>
                      <a:pt x="811" y="189"/>
                    </a:lnTo>
                    <a:lnTo>
                      <a:pt x="812" y="189"/>
                    </a:lnTo>
                    <a:lnTo>
                      <a:pt x="814" y="189"/>
                    </a:lnTo>
                    <a:lnTo>
                      <a:pt x="816" y="190"/>
                    </a:lnTo>
                    <a:lnTo>
                      <a:pt x="818" y="192"/>
                    </a:lnTo>
                    <a:lnTo>
                      <a:pt x="818" y="192"/>
                    </a:lnTo>
                    <a:lnTo>
                      <a:pt x="818" y="192"/>
                    </a:lnTo>
                    <a:lnTo>
                      <a:pt x="817" y="192"/>
                    </a:lnTo>
                    <a:lnTo>
                      <a:pt x="816" y="193"/>
                    </a:lnTo>
                    <a:lnTo>
                      <a:pt x="815" y="193"/>
                    </a:lnTo>
                    <a:lnTo>
                      <a:pt x="812" y="193"/>
                    </a:lnTo>
                    <a:lnTo>
                      <a:pt x="811" y="192"/>
                    </a:lnTo>
                    <a:lnTo>
                      <a:pt x="809" y="193"/>
                    </a:lnTo>
                    <a:lnTo>
                      <a:pt x="809" y="194"/>
                    </a:lnTo>
                    <a:lnTo>
                      <a:pt x="808" y="194"/>
                    </a:lnTo>
                    <a:lnTo>
                      <a:pt x="807" y="194"/>
                    </a:lnTo>
                    <a:lnTo>
                      <a:pt x="805" y="194"/>
                    </a:lnTo>
                    <a:lnTo>
                      <a:pt x="804" y="195"/>
                    </a:lnTo>
                    <a:lnTo>
                      <a:pt x="803" y="195"/>
                    </a:lnTo>
                    <a:lnTo>
                      <a:pt x="802" y="195"/>
                    </a:lnTo>
                    <a:lnTo>
                      <a:pt x="802" y="196"/>
                    </a:lnTo>
                    <a:lnTo>
                      <a:pt x="802" y="196"/>
                    </a:lnTo>
                    <a:lnTo>
                      <a:pt x="801" y="197"/>
                    </a:lnTo>
                    <a:lnTo>
                      <a:pt x="800" y="197"/>
                    </a:lnTo>
                    <a:lnTo>
                      <a:pt x="799" y="197"/>
                    </a:lnTo>
                    <a:lnTo>
                      <a:pt x="795" y="196"/>
                    </a:lnTo>
                    <a:lnTo>
                      <a:pt x="795" y="196"/>
                    </a:lnTo>
                    <a:lnTo>
                      <a:pt x="795" y="195"/>
                    </a:lnTo>
                    <a:lnTo>
                      <a:pt x="796" y="195"/>
                    </a:lnTo>
                    <a:lnTo>
                      <a:pt x="796" y="194"/>
                    </a:lnTo>
                    <a:lnTo>
                      <a:pt x="796" y="193"/>
                    </a:lnTo>
                    <a:lnTo>
                      <a:pt x="795" y="193"/>
                    </a:lnTo>
                    <a:lnTo>
                      <a:pt x="794" y="192"/>
                    </a:lnTo>
                    <a:lnTo>
                      <a:pt x="794" y="192"/>
                    </a:lnTo>
                    <a:lnTo>
                      <a:pt x="793" y="190"/>
                    </a:lnTo>
                    <a:lnTo>
                      <a:pt x="793" y="189"/>
                    </a:lnTo>
                    <a:lnTo>
                      <a:pt x="792" y="189"/>
                    </a:lnTo>
                    <a:lnTo>
                      <a:pt x="790" y="189"/>
                    </a:lnTo>
                    <a:lnTo>
                      <a:pt x="788" y="189"/>
                    </a:lnTo>
                    <a:lnTo>
                      <a:pt x="788" y="188"/>
                    </a:lnTo>
                    <a:lnTo>
                      <a:pt x="789" y="187"/>
                    </a:lnTo>
                    <a:lnTo>
                      <a:pt x="790" y="186"/>
                    </a:lnTo>
                    <a:lnTo>
                      <a:pt x="792" y="185"/>
                    </a:lnTo>
                    <a:lnTo>
                      <a:pt x="794" y="185"/>
                    </a:lnTo>
                    <a:lnTo>
                      <a:pt x="793" y="183"/>
                    </a:lnTo>
                    <a:lnTo>
                      <a:pt x="792" y="183"/>
                    </a:lnTo>
                    <a:lnTo>
                      <a:pt x="792" y="182"/>
                    </a:lnTo>
                    <a:lnTo>
                      <a:pt x="792" y="182"/>
                    </a:lnTo>
                    <a:lnTo>
                      <a:pt x="790" y="185"/>
                    </a:lnTo>
                    <a:lnTo>
                      <a:pt x="788" y="183"/>
                    </a:lnTo>
                    <a:lnTo>
                      <a:pt x="787" y="183"/>
                    </a:lnTo>
                    <a:lnTo>
                      <a:pt x="786" y="183"/>
                    </a:lnTo>
                    <a:lnTo>
                      <a:pt x="785" y="182"/>
                    </a:lnTo>
                    <a:lnTo>
                      <a:pt x="784" y="181"/>
                    </a:lnTo>
                    <a:lnTo>
                      <a:pt x="782" y="181"/>
                    </a:lnTo>
                    <a:lnTo>
                      <a:pt x="782" y="181"/>
                    </a:lnTo>
                    <a:lnTo>
                      <a:pt x="782" y="181"/>
                    </a:lnTo>
                    <a:lnTo>
                      <a:pt x="781" y="181"/>
                    </a:lnTo>
                    <a:lnTo>
                      <a:pt x="780" y="180"/>
                    </a:lnTo>
                    <a:lnTo>
                      <a:pt x="781" y="180"/>
                    </a:lnTo>
                    <a:lnTo>
                      <a:pt x="781" y="180"/>
                    </a:lnTo>
                    <a:lnTo>
                      <a:pt x="782" y="180"/>
                    </a:lnTo>
                    <a:lnTo>
                      <a:pt x="784" y="180"/>
                    </a:lnTo>
                    <a:lnTo>
                      <a:pt x="782" y="179"/>
                    </a:lnTo>
                    <a:lnTo>
                      <a:pt x="781" y="179"/>
                    </a:lnTo>
                    <a:lnTo>
                      <a:pt x="787" y="179"/>
                    </a:lnTo>
                    <a:lnTo>
                      <a:pt x="787" y="179"/>
                    </a:lnTo>
                    <a:lnTo>
                      <a:pt x="786" y="179"/>
                    </a:lnTo>
                    <a:lnTo>
                      <a:pt x="785" y="178"/>
                    </a:lnTo>
                    <a:lnTo>
                      <a:pt x="784" y="177"/>
                    </a:lnTo>
                    <a:lnTo>
                      <a:pt x="780" y="177"/>
                    </a:lnTo>
                    <a:lnTo>
                      <a:pt x="779" y="177"/>
                    </a:lnTo>
                    <a:lnTo>
                      <a:pt x="779" y="177"/>
                    </a:lnTo>
                    <a:lnTo>
                      <a:pt x="778" y="177"/>
                    </a:lnTo>
                    <a:lnTo>
                      <a:pt x="777" y="177"/>
                    </a:lnTo>
                    <a:lnTo>
                      <a:pt x="775" y="178"/>
                    </a:lnTo>
                    <a:lnTo>
                      <a:pt x="774" y="179"/>
                    </a:lnTo>
                    <a:lnTo>
                      <a:pt x="773" y="180"/>
                    </a:lnTo>
                    <a:lnTo>
                      <a:pt x="771" y="181"/>
                    </a:lnTo>
                    <a:lnTo>
                      <a:pt x="770" y="181"/>
                    </a:lnTo>
                    <a:lnTo>
                      <a:pt x="770" y="181"/>
                    </a:lnTo>
                    <a:lnTo>
                      <a:pt x="768" y="180"/>
                    </a:lnTo>
                    <a:lnTo>
                      <a:pt x="768" y="179"/>
                    </a:lnTo>
                    <a:lnTo>
                      <a:pt x="767" y="179"/>
                    </a:lnTo>
                    <a:lnTo>
                      <a:pt x="767" y="179"/>
                    </a:lnTo>
                    <a:lnTo>
                      <a:pt x="766" y="180"/>
                    </a:lnTo>
                    <a:lnTo>
                      <a:pt x="767" y="181"/>
                    </a:lnTo>
                    <a:lnTo>
                      <a:pt x="768" y="181"/>
                    </a:lnTo>
                    <a:lnTo>
                      <a:pt x="768" y="181"/>
                    </a:lnTo>
                    <a:lnTo>
                      <a:pt x="768" y="181"/>
                    </a:lnTo>
                    <a:lnTo>
                      <a:pt x="767" y="182"/>
                    </a:lnTo>
                    <a:lnTo>
                      <a:pt x="767" y="182"/>
                    </a:lnTo>
                    <a:lnTo>
                      <a:pt x="766" y="182"/>
                    </a:lnTo>
                    <a:lnTo>
                      <a:pt x="766" y="183"/>
                    </a:lnTo>
                    <a:lnTo>
                      <a:pt x="765" y="185"/>
                    </a:lnTo>
                    <a:lnTo>
                      <a:pt x="765" y="186"/>
                    </a:lnTo>
                    <a:lnTo>
                      <a:pt x="765" y="186"/>
                    </a:lnTo>
                    <a:lnTo>
                      <a:pt x="765" y="187"/>
                    </a:lnTo>
                    <a:lnTo>
                      <a:pt x="765" y="187"/>
                    </a:lnTo>
                    <a:lnTo>
                      <a:pt x="765" y="187"/>
                    </a:lnTo>
                    <a:lnTo>
                      <a:pt x="764" y="188"/>
                    </a:lnTo>
                    <a:lnTo>
                      <a:pt x="764" y="192"/>
                    </a:lnTo>
                    <a:lnTo>
                      <a:pt x="762" y="192"/>
                    </a:lnTo>
                    <a:lnTo>
                      <a:pt x="760" y="193"/>
                    </a:lnTo>
                    <a:lnTo>
                      <a:pt x="760" y="192"/>
                    </a:lnTo>
                    <a:lnTo>
                      <a:pt x="760" y="190"/>
                    </a:lnTo>
                    <a:lnTo>
                      <a:pt x="762" y="190"/>
                    </a:lnTo>
                    <a:lnTo>
                      <a:pt x="760" y="190"/>
                    </a:lnTo>
                    <a:lnTo>
                      <a:pt x="760" y="192"/>
                    </a:lnTo>
                    <a:lnTo>
                      <a:pt x="759" y="192"/>
                    </a:lnTo>
                    <a:lnTo>
                      <a:pt x="759" y="192"/>
                    </a:lnTo>
                    <a:lnTo>
                      <a:pt x="760" y="192"/>
                    </a:lnTo>
                    <a:lnTo>
                      <a:pt x="760" y="193"/>
                    </a:lnTo>
                    <a:lnTo>
                      <a:pt x="759" y="194"/>
                    </a:lnTo>
                    <a:lnTo>
                      <a:pt x="759" y="194"/>
                    </a:lnTo>
                    <a:lnTo>
                      <a:pt x="759" y="194"/>
                    </a:lnTo>
                    <a:lnTo>
                      <a:pt x="759" y="194"/>
                    </a:lnTo>
                    <a:lnTo>
                      <a:pt x="758" y="195"/>
                    </a:lnTo>
                    <a:lnTo>
                      <a:pt x="758" y="203"/>
                    </a:lnTo>
                    <a:lnTo>
                      <a:pt x="759" y="204"/>
                    </a:lnTo>
                    <a:lnTo>
                      <a:pt x="759" y="204"/>
                    </a:lnTo>
                    <a:lnTo>
                      <a:pt x="759" y="205"/>
                    </a:lnTo>
                    <a:lnTo>
                      <a:pt x="758" y="205"/>
                    </a:lnTo>
                    <a:lnTo>
                      <a:pt x="758" y="204"/>
                    </a:lnTo>
                    <a:lnTo>
                      <a:pt x="758" y="204"/>
                    </a:lnTo>
                    <a:lnTo>
                      <a:pt x="757" y="204"/>
                    </a:lnTo>
                    <a:lnTo>
                      <a:pt x="757" y="205"/>
                    </a:lnTo>
                    <a:lnTo>
                      <a:pt x="757" y="207"/>
                    </a:lnTo>
                    <a:lnTo>
                      <a:pt x="756" y="207"/>
                    </a:lnTo>
                    <a:lnTo>
                      <a:pt x="756" y="208"/>
                    </a:lnTo>
                    <a:lnTo>
                      <a:pt x="755" y="210"/>
                    </a:lnTo>
                    <a:lnTo>
                      <a:pt x="755" y="211"/>
                    </a:lnTo>
                    <a:lnTo>
                      <a:pt x="755" y="211"/>
                    </a:lnTo>
                    <a:lnTo>
                      <a:pt x="755" y="210"/>
                    </a:lnTo>
                    <a:lnTo>
                      <a:pt x="753" y="210"/>
                    </a:lnTo>
                    <a:lnTo>
                      <a:pt x="752" y="210"/>
                    </a:lnTo>
                    <a:lnTo>
                      <a:pt x="752" y="211"/>
                    </a:lnTo>
                    <a:lnTo>
                      <a:pt x="753" y="211"/>
                    </a:lnTo>
                    <a:lnTo>
                      <a:pt x="753" y="212"/>
                    </a:lnTo>
                    <a:lnTo>
                      <a:pt x="752" y="212"/>
                    </a:lnTo>
                    <a:lnTo>
                      <a:pt x="753" y="213"/>
                    </a:lnTo>
                    <a:lnTo>
                      <a:pt x="753" y="213"/>
                    </a:lnTo>
                    <a:lnTo>
                      <a:pt x="753" y="213"/>
                    </a:lnTo>
                    <a:lnTo>
                      <a:pt x="753" y="213"/>
                    </a:lnTo>
                    <a:lnTo>
                      <a:pt x="755" y="216"/>
                    </a:lnTo>
                    <a:lnTo>
                      <a:pt x="756" y="217"/>
                    </a:lnTo>
                    <a:lnTo>
                      <a:pt x="756" y="217"/>
                    </a:lnTo>
                    <a:lnTo>
                      <a:pt x="756" y="217"/>
                    </a:lnTo>
                    <a:lnTo>
                      <a:pt x="755" y="217"/>
                    </a:lnTo>
                    <a:lnTo>
                      <a:pt x="756" y="217"/>
                    </a:lnTo>
                    <a:lnTo>
                      <a:pt x="756" y="217"/>
                    </a:lnTo>
                    <a:lnTo>
                      <a:pt x="756" y="218"/>
                    </a:lnTo>
                    <a:lnTo>
                      <a:pt x="757" y="219"/>
                    </a:lnTo>
                    <a:lnTo>
                      <a:pt x="757" y="220"/>
                    </a:lnTo>
                    <a:lnTo>
                      <a:pt x="759" y="222"/>
                    </a:lnTo>
                    <a:lnTo>
                      <a:pt x="762" y="223"/>
                    </a:lnTo>
                    <a:lnTo>
                      <a:pt x="764" y="224"/>
                    </a:lnTo>
                    <a:lnTo>
                      <a:pt x="765" y="225"/>
                    </a:lnTo>
                    <a:lnTo>
                      <a:pt x="766" y="225"/>
                    </a:lnTo>
                    <a:lnTo>
                      <a:pt x="767" y="225"/>
                    </a:lnTo>
                    <a:lnTo>
                      <a:pt x="767" y="226"/>
                    </a:lnTo>
                    <a:lnTo>
                      <a:pt x="766" y="227"/>
                    </a:lnTo>
                    <a:lnTo>
                      <a:pt x="765" y="227"/>
                    </a:lnTo>
                    <a:lnTo>
                      <a:pt x="764" y="227"/>
                    </a:lnTo>
                    <a:lnTo>
                      <a:pt x="763" y="227"/>
                    </a:lnTo>
                    <a:lnTo>
                      <a:pt x="762" y="227"/>
                    </a:lnTo>
                    <a:lnTo>
                      <a:pt x="762" y="227"/>
                    </a:lnTo>
                    <a:lnTo>
                      <a:pt x="760" y="227"/>
                    </a:lnTo>
                    <a:lnTo>
                      <a:pt x="759" y="226"/>
                    </a:lnTo>
                    <a:lnTo>
                      <a:pt x="758" y="226"/>
                    </a:lnTo>
                    <a:lnTo>
                      <a:pt x="758" y="226"/>
                    </a:lnTo>
                    <a:lnTo>
                      <a:pt x="757" y="227"/>
                    </a:lnTo>
                    <a:lnTo>
                      <a:pt x="757" y="227"/>
                    </a:lnTo>
                    <a:lnTo>
                      <a:pt x="757" y="227"/>
                    </a:lnTo>
                    <a:lnTo>
                      <a:pt x="756" y="229"/>
                    </a:lnTo>
                    <a:lnTo>
                      <a:pt x="756" y="230"/>
                    </a:lnTo>
                    <a:lnTo>
                      <a:pt x="756" y="230"/>
                    </a:lnTo>
                    <a:lnTo>
                      <a:pt x="755" y="231"/>
                    </a:lnTo>
                    <a:lnTo>
                      <a:pt x="752" y="232"/>
                    </a:lnTo>
                    <a:lnTo>
                      <a:pt x="751" y="232"/>
                    </a:lnTo>
                    <a:lnTo>
                      <a:pt x="750" y="233"/>
                    </a:lnTo>
                    <a:lnTo>
                      <a:pt x="750" y="233"/>
                    </a:lnTo>
                    <a:lnTo>
                      <a:pt x="749" y="234"/>
                    </a:lnTo>
                    <a:lnTo>
                      <a:pt x="748" y="234"/>
                    </a:lnTo>
                    <a:lnTo>
                      <a:pt x="747" y="234"/>
                    </a:lnTo>
                    <a:lnTo>
                      <a:pt x="745" y="234"/>
                    </a:lnTo>
                    <a:lnTo>
                      <a:pt x="747" y="233"/>
                    </a:lnTo>
                    <a:lnTo>
                      <a:pt x="748" y="233"/>
                    </a:lnTo>
                    <a:lnTo>
                      <a:pt x="748" y="232"/>
                    </a:lnTo>
                    <a:lnTo>
                      <a:pt x="749" y="232"/>
                    </a:lnTo>
                    <a:lnTo>
                      <a:pt x="750" y="231"/>
                    </a:lnTo>
                    <a:lnTo>
                      <a:pt x="751" y="231"/>
                    </a:lnTo>
                    <a:lnTo>
                      <a:pt x="751" y="231"/>
                    </a:lnTo>
                    <a:lnTo>
                      <a:pt x="751" y="230"/>
                    </a:lnTo>
                    <a:lnTo>
                      <a:pt x="750" y="230"/>
                    </a:lnTo>
                    <a:lnTo>
                      <a:pt x="749" y="231"/>
                    </a:lnTo>
                    <a:lnTo>
                      <a:pt x="748" y="231"/>
                    </a:lnTo>
                    <a:lnTo>
                      <a:pt x="748" y="232"/>
                    </a:lnTo>
                    <a:lnTo>
                      <a:pt x="747" y="233"/>
                    </a:lnTo>
                    <a:lnTo>
                      <a:pt x="745" y="232"/>
                    </a:lnTo>
                    <a:lnTo>
                      <a:pt x="744" y="231"/>
                    </a:lnTo>
                    <a:lnTo>
                      <a:pt x="744" y="230"/>
                    </a:lnTo>
                    <a:lnTo>
                      <a:pt x="743" y="230"/>
                    </a:lnTo>
                    <a:lnTo>
                      <a:pt x="742" y="230"/>
                    </a:lnTo>
                    <a:lnTo>
                      <a:pt x="741" y="229"/>
                    </a:lnTo>
                    <a:lnTo>
                      <a:pt x="741" y="229"/>
                    </a:lnTo>
                    <a:lnTo>
                      <a:pt x="741" y="227"/>
                    </a:lnTo>
                    <a:lnTo>
                      <a:pt x="741" y="227"/>
                    </a:lnTo>
                    <a:lnTo>
                      <a:pt x="741" y="229"/>
                    </a:lnTo>
                    <a:lnTo>
                      <a:pt x="741" y="229"/>
                    </a:lnTo>
                    <a:lnTo>
                      <a:pt x="738" y="229"/>
                    </a:lnTo>
                    <a:lnTo>
                      <a:pt x="737" y="230"/>
                    </a:lnTo>
                    <a:lnTo>
                      <a:pt x="736" y="230"/>
                    </a:lnTo>
                    <a:lnTo>
                      <a:pt x="735" y="229"/>
                    </a:lnTo>
                    <a:lnTo>
                      <a:pt x="734" y="229"/>
                    </a:lnTo>
                    <a:lnTo>
                      <a:pt x="734" y="229"/>
                    </a:lnTo>
                    <a:lnTo>
                      <a:pt x="734" y="229"/>
                    </a:lnTo>
                    <a:lnTo>
                      <a:pt x="734" y="227"/>
                    </a:lnTo>
                    <a:lnTo>
                      <a:pt x="730" y="227"/>
                    </a:lnTo>
                    <a:lnTo>
                      <a:pt x="730" y="229"/>
                    </a:lnTo>
                    <a:lnTo>
                      <a:pt x="729" y="229"/>
                    </a:lnTo>
                    <a:lnTo>
                      <a:pt x="729" y="229"/>
                    </a:lnTo>
                    <a:lnTo>
                      <a:pt x="729" y="230"/>
                    </a:lnTo>
                    <a:lnTo>
                      <a:pt x="728" y="230"/>
                    </a:lnTo>
                    <a:lnTo>
                      <a:pt x="727" y="231"/>
                    </a:lnTo>
                    <a:lnTo>
                      <a:pt x="726" y="231"/>
                    </a:lnTo>
                    <a:lnTo>
                      <a:pt x="726" y="231"/>
                    </a:lnTo>
                    <a:lnTo>
                      <a:pt x="726" y="233"/>
                    </a:lnTo>
                    <a:lnTo>
                      <a:pt x="726" y="233"/>
                    </a:lnTo>
                    <a:lnTo>
                      <a:pt x="727" y="234"/>
                    </a:lnTo>
                    <a:lnTo>
                      <a:pt x="726" y="234"/>
                    </a:lnTo>
                    <a:lnTo>
                      <a:pt x="726" y="234"/>
                    </a:lnTo>
                    <a:lnTo>
                      <a:pt x="725" y="233"/>
                    </a:lnTo>
                    <a:lnTo>
                      <a:pt x="725" y="233"/>
                    </a:lnTo>
                    <a:lnTo>
                      <a:pt x="723" y="233"/>
                    </a:lnTo>
                    <a:lnTo>
                      <a:pt x="723" y="234"/>
                    </a:lnTo>
                    <a:lnTo>
                      <a:pt x="723" y="235"/>
                    </a:lnTo>
                    <a:lnTo>
                      <a:pt x="723" y="235"/>
                    </a:lnTo>
                    <a:lnTo>
                      <a:pt x="722" y="235"/>
                    </a:lnTo>
                    <a:lnTo>
                      <a:pt x="722" y="234"/>
                    </a:lnTo>
                    <a:lnTo>
                      <a:pt x="721" y="234"/>
                    </a:lnTo>
                    <a:lnTo>
                      <a:pt x="721" y="234"/>
                    </a:lnTo>
                    <a:lnTo>
                      <a:pt x="721" y="234"/>
                    </a:lnTo>
                    <a:lnTo>
                      <a:pt x="722" y="233"/>
                    </a:lnTo>
                    <a:lnTo>
                      <a:pt x="720" y="233"/>
                    </a:lnTo>
                    <a:lnTo>
                      <a:pt x="719" y="233"/>
                    </a:lnTo>
                    <a:lnTo>
                      <a:pt x="719" y="233"/>
                    </a:lnTo>
                    <a:lnTo>
                      <a:pt x="719" y="233"/>
                    </a:lnTo>
                    <a:lnTo>
                      <a:pt x="718" y="232"/>
                    </a:lnTo>
                    <a:lnTo>
                      <a:pt x="718" y="231"/>
                    </a:lnTo>
                    <a:lnTo>
                      <a:pt x="717" y="231"/>
                    </a:lnTo>
                    <a:lnTo>
                      <a:pt x="718" y="232"/>
                    </a:lnTo>
                    <a:lnTo>
                      <a:pt x="718" y="233"/>
                    </a:lnTo>
                    <a:lnTo>
                      <a:pt x="717" y="233"/>
                    </a:lnTo>
                    <a:lnTo>
                      <a:pt x="717" y="234"/>
                    </a:lnTo>
                    <a:lnTo>
                      <a:pt x="717" y="235"/>
                    </a:lnTo>
                    <a:lnTo>
                      <a:pt x="717" y="235"/>
                    </a:lnTo>
                    <a:lnTo>
                      <a:pt x="719" y="237"/>
                    </a:lnTo>
                    <a:lnTo>
                      <a:pt x="719" y="238"/>
                    </a:lnTo>
                    <a:lnTo>
                      <a:pt x="719" y="238"/>
                    </a:lnTo>
                    <a:lnTo>
                      <a:pt x="719" y="238"/>
                    </a:lnTo>
                    <a:lnTo>
                      <a:pt x="720" y="238"/>
                    </a:lnTo>
                    <a:lnTo>
                      <a:pt x="721" y="240"/>
                    </a:lnTo>
                    <a:lnTo>
                      <a:pt x="721" y="241"/>
                    </a:lnTo>
                    <a:lnTo>
                      <a:pt x="722" y="241"/>
                    </a:lnTo>
                    <a:lnTo>
                      <a:pt x="722" y="241"/>
                    </a:lnTo>
                    <a:lnTo>
                      <a:pt x="721" y="242"/>
                    </a:lnTo>
                    <a:lnTo>
                      <a:pt x="720" y="242"/>
                    </a:lnTo>
                    <a:lnTo>
                      <a:pt x="720" y="242"/>
                    </a:lnTo>
                    <a:lnTo>
                      <a:pt x="720" y="241"/>
                    </a:lnTo>
                    <a:lnTo>
                      <a:pt x="720" y="240"/>
                    </a:lnTo>
                    <a:lnTo>
                      <a:pt x="719" y="240"/>
                    </a:lnTo>
                    <a:lnTo>
                      <a:pt x="718" y="240"/>
                    </a:lnTo>
                    <a:lnTo>
                      <a:pt x="718" y="241"/>
                    </a:lnTo>
                    <a:lnTo>
                      <a:pt x="719" y="241"/>
                    </a:lnTo>
                    <a:lnTo>
                      <a:pt x="719" y="242"/>
                    </a:lnTo>
                    <a:lnTo>
                      <a:pt x="720" y="242"/>
                    </a:lnTo>
                    <a:lnTo>
                      <a:pt x="719" y="242"/>
                    </a:lnTo>
                    <a:lnTo>
                      <a:pt x="719" y="244"/>
                    </a:lnTo>
                    <a:lnTo>
                      <a:pt x="719" y="244"/>
                    </a:lnTo>
                    <a:lnTo>
                      <a:pt x="720" y="245"/>
                    </a:lnTo>
                    <a:lnTo>
                      <a:pt x="720" y="245"/>
                    </a:lnTo>
                    <a:lnTo>
                      <a:pt x="720" y="245"/>
                    </a:lnTo>
                    <a:lnTo>
                      <a:pt x="720" y="246"/>
                    </a:lnTo>
                    <a:lnTo>
                      <a:pt x="720" y="246"/>
                    </a:lnTo>
                    <a:lnTo>
                      <a:pt x="720" y="247"/>
                    </a:lnTo>
                    <a:lnTo>
                      <a:pt x="720" y="248"/>
                    </a:lnTo>
                    <a:lnTo>
                      <a:pt x="720" y="248"/>
                    </a:lnTo>
                    <a:lnTo>
                      <a:pt x="721" y="248"/>
                    </a:lnTo>
                    <a:lnTo>
                      <a:pt x="722" y="248"/>
                    </a:lnTo>
                    <a:lnTo>
                      <a:pt x="723" y="248"/>
                    </a:lnTo>
                    <a:lnTo>
                      <a:pt x="723" y="248"/>
                    </a:lnTo>
                    <a:lnTo>
                      <a:pt x="725" y="249"/>
                    </a:lnTo>
                    <a:lnTo>
                      <a:pt x="726" y="250"/>
                    </a:lnTo>
                    <a:lnTo>
                      <a:pt x="726" y="250"/>
                    </a:lnTo>
                    <a:lnTo>
                      <a:pt x="727" y="250"/>
                    </a:lnTo>
                    <a:lnTo>
                      <a:pt x="728" y="250"/>
                    </a:lnTo>
                    <a:lnTo>
                      <a:pt x="729" y="252"/>
                    </a:lnTo>
                    <a:lnTo>
                      <a:pt x="729" y="253"/>
                    </a:lnTo>
                    <a:lnTo>
                      <a:pt x="730" y="254"/>
                    </a:lnTo>
                    <a:lnTo>
                      <a:pt x="732" y="255"/>
                    </a:lnTo>
                    <a:lnTo>
                      <a:pt x="732" y="255"/>
                    </a:lnTo>
                    <a:lnTo>
                      <a:pt x="732" y="255"/>
                    </a:lnTo>
                    <a:lnTo>
                      <a:pt x="730" y="256"/>
                    </a:lnTo>
                    <a:lnTo>
                      <a:pt x="730" y="257"/>
                    </a:lnTo>
                    <a:lnTo>
                      <a:pt x="730" y="257"/>
                    </a:lnTo>
                    <a:lnTo>
                      <a:pt x="730" y="257"/>
                    </a:lnTo>
                    <a:lnTo>
                      <a:pt x="729" y="256"/>
                    </a:lnTo>
                    <a:lnTo>
                      <a:pt x="729" y="256"/>
                    </a:lnTo>
                    <a:lnTo>
                      <a:pt x="729" y="255"/>
                    </a:lnTo>
                    <a:lnTo>
                      <a:pt x="723" y="255"/>
                    </a:lnTo>
                    <a:lnTo>
                      <a:pt x="725" y="256"/>
                    </a:lnTo>
                    <a:lnTo>
                      <a:pt x="725" y="257"/>
                    </a:lnTo>
                    <a:lnTo>
                      <a:pt x="725" y="257"/>
                    </a:lnTo>
                    <a:lnTo>
                      <a:pt x="726" y="257"/>
                    </a:lnTo>
                    <a:lnTo>
                      <a:pt x="726" y="259"/>
                    </a:lnTo>
                    <a:lnTo>
                      <a:pt x="726" y="259"/>
                    </a:lnTo>
                    <a:lnTo>
                      <a:pt x="726" y="259"/>
                    </a:lnTo>
                    <a:lnTo>
                      <a:pt x="726" y="259"/>
                    </a:lnTo>
                    <a:lnTo>
                      <a:pt x="725" y="260"/>
                    </a:lnTo>
                    <a:lnTo>
                      <a:pt x="723" y="261"/>
                    </a:lnTo>
                    <a:lnTo>
                      <a:pt x="723" y="261"/>
                    </a:lnTo>
                    <a:lnTo>
                      <a:pt x="723" y="261"/>
                    </a:lnTo>
                    <a:lnTo>
                      <a:pt x="723" y="260"/>
                    </a:lnTo>
                    <a:lnTo>
                      <a:pt x="722" y="260"/>
                    </a:lnTo>
                    <a:lnTo>
                      <a:pt x="722" y="259"/>
                    </a:lnTo>
                    <a:lnTo>
                      <a:pt x="721" y="260"/>
                    </a:lnTo>
                    <a:lnTo>
                      <a:pt x="721" y="260"/>
                    </a:lnTo>
                    <a:lnTo>
                      <a:pt x="721" y="261"/>
                    </a:lnTo>
                    <a:lnTo>
                      <a:pt x="722" y="261"/>
                    </a:lnTo>
                    <a:lnTo>
                      <a:pt x="722" y="262"/>
                    </a:lnTo>
                    <a:lnTo>
                      <a:pt x="722" y="262"/>
                    </a:lnTo>
                    <a:lnTo>
                      <a:pt x="722" y="263"/>
                    </a:lnTo>
                    <a:lnTo>
                      <a:pt x="723" y="264"/>
                    </a:lnTo>
                    <a:lnTo>
                      <a:pt x="723" y="267"/>
                    </a:lnTo>
                    <a:lnTo>
                      <a:pt x="723" y="267"/>
                    </a:lnTo>
                    <a:lnTo>
                      <a:pt x="725" y="268"/>
                    </a:lnTo>
                    <a:lnTo>
                      <a:pt x="725" y="269"/>
                    </a:lnTo>
                    <a:lnTo>
                      <a:pt x="725" y="269"/>
                    </a:lnTo>
                    <a:lnTo>
                      <a:pt x="723" y="268"/>
                    </a:lnTo>
                    <a:lnTo>
                      <a:pt x="722" y="267"/>
                    </a:lnTo>
                    <a:lnTo>
                      <a:pt x="722" y="267"/>
                    </a:lnTo>
                    <a:lnTo>
                      <a:pt x="722" y="267"/>
                    </a:lnTo>
                    <a:lnTo>
                      <a:pt x="722" y="268"/>
                    </a:lnTo>
                    <a:lnTo>
                      <a:pt x="721" y="268"/>
                    </a:lnTo>
                    <a:lnTo>
                      <a:pt x="721" y="269"/>
                    </a:lnTo>
                    <a:lnTo>
                      <a:pt x="720" y="269"/>
                    </a:lnTo>
                    <a:lnTo>
                      <a:pt x="720" y="268"/>
                    </a:lnTo>
                    <a:lnTo>
                      <a:pt x="720" y="267"/>
                    </a:lnTo>
                    <a:lnTo>
                      <a:pt x="720" y="265"/>
                    </a:lnTo>
                    <a:lnTo>
                      <a:pt x="719" y="265"/>
                    </a:lnTo>
                    <a:lnTo>
                      <a:pt x="719" y="267"/>
                    </a:lnTo>
                    <a:lnTo>
                      <a:pt x="718" y="267"/>
                    </a:lnTo>
                    <a:lnTo>
                      <a:pt x="718" y="265"/>
                    </a:lnTo>
                    <a:lnTo>
                      <a:pt x="717" y="264"/>
                    </a:lnTo>
                    <a:lnTo>
                      <a:pt x="715" y="263"/>
                    </a:lnTo>
                    <a:lnTo>
                      <a:pt x="714" y="263"/>
                    </a:lnTo>
                    <a:lnTo>
                      <a:pt x="713" y="262"/>
                    </a:lnTo>
                    <a:lnTo>
                      <a:pt x="712" y="262"/>
                    </a:lnTo>
                    <a:lnTo>
                      <a:pt x="712" y="262"/>
                    </a:lnTo>
                    <a:lnTo>
                      <a:pt x="713" y="261"/>
                    </a:lnTo>
                    <a:lnTo>
                      <a:pt x="713" y="261"/>
                    </a:lnTo>
                    <a:lnTo>
                      <a:pt x="713" y="260"/>
                    </a:lnTo>
                    <a:lnTo>
                      <a:pt x="713" y="259"/>
                    </a:lnTo>
                    <a:lnTo>
                      <a:pt x="712" y="257"/>
                    </a:lnTo>
                    <a:lnTo>
                      <a:pt x="711" y="257"/>
                    </a:lnTo>
                    <a:lnTo>
                      <a:pt x="710" y="257"/>
                    </a:lnTo>
                    <a:lnTo>
                      <a:pt x="710" y="256"/>
                    </a:lnTo>
                    <a:lnTo>
                      <a:pt x="710" y="256"/>
                    </a:lnTo>
                    <a:lnTo>
                      <a:pt x="707" y="255"/>
                    </a:lnTo>
                    <a:lnTo>
                      <a:pt x="707" y="255"/>
                    </a:lnTo>
                    <a:lnTo>
                      <a:pt x="707" y="254"/>
                    </a:lnTo>
                    <a:lnTo>
                      <a:pt x="707" y="254"/>
                    </a:lnTo>
                    <a:lnTo>
                      <a:pt x="707" y="254"/>
                    </a:lnTo>
                    <a:lnTo>
                      <a:pt x="708" y="254"/>
                    </a:lnTo>
                    <a:lnTo>
                      <a:pt x="710" y="253"/>
                    </a:lnTo>
                    <a:lnTo>
                      <a:pt x="710" y="252"/>
                    </a:lnTo>
                    <a:lnTo>
                      <a:pt x="711" y="252"/>
                    </a:lnTo>
                    <a:lnTo>
                      <a:pt x="711" y="252"/>
                    </a:lnTo>
                    <a:lnTo>
                      <a:pt x="712" y="252"/>
                    </a:lnTo>
                    <a:lnTo>
                      <a:pt x="713" y="252"/>
                    </a:lnTo>
                    <a:lnTo>
                      <a:pt x="714" y="252"/>
                    </a:lnTo>
                    <a:lnTo>
                      <a:pt x="715" y="252"/>
                    </a:lnTo>
                    <a:lnTo>
                      <a:pt x="717" y="253"/>
                    </a:lnTo>
                    <a:lnTo>
                      <a:pt x="717" y="253"/>
                    </a:lnTo>
                    <a:lnTo>
                      <a:pt x="718" y="253"/>
                    </a:lnTo>
                    <a:lnTo>
                      <a:pt x="718" y="253"/>
                    </a:lnTo>
                    <a:lnTo>
                      <a:pt x="719" y="252"/>
                    </a:lnTo>
                    <a:lnTo>
                      <a:pt x="720" y="254"/>
                    </a:lnTo>
                    <a:lnTo>
                      <a:pt x="721" y="254"/>
                    </a:lnTo>
                    <a:lnTo>
                      <a:pt x="721" y="255"/>
                    </a:lnTo>
                    <a:lnTo>
                      <a:pt x="722" y="254"/>
                    </a:lnTo>
                    <a:lnTo>
                      <a:pt x="721" y="253"/>
                    </a:lnTo>
                    <a:lnTo>
                      <a:pt x="721" y="253"/>
                    </a:lnTo>
                    <a:lnTo>
                      <a:pt x="722" y="253"/>
                    </a:lnTo>
                    <a:lnTo>
                      <a:pt x="722" y="252"/>
                    </a:lnTo>
                    <a:lnTo>
                      <a:pt x="722" y="252"/>
                    </a:lnTo>
                    <a:lnTo>
                      <a:pt x="721" y="253"/>
                    </a:lnTo>
                    <a:lnTo>
                      <a:pt x="720" y="253"/>
                    </a:lnTo>
                    <a:lnTo>
                      <a:pt x="719" y="253"/>
                    </a:lnTo>
                    <a:lnTo>
                      <a:pt x="719" y="252"/>
                    </a:lnTo>
                    <a:lnTo>
                      <a:pt x="717" y="250"/>
                    </a:lnTo>
                    <a:lnTo>
                      <a:pt x="715" y="250"/>
                    </a:lnTo>
                    <a:lnTo>
                      <a:pt x="715" y="250"/>
                    </a:lnTo>
                    <a:lnTo>
                      <a:pt x="713" y="250"/>
                    </a:lnTo>
                    <a:lnTo>
                      <a:pt x="712" y="250"/>
                    </a:lnTo>
                    <a:lnTo>
                      <a:pt x="711" y="250"/>
                    </a:lnTo>
                    <a:lnTo>
                      <a:pt x="711" y="249"/>
                    </a:lnTo>
                    <a:lnTo>
                      <a:pt x="710" y="250"/>
                    </a:lnTo>
                    <a:lnTo>
                      <a:pt x="710" y="252"/>
                    </a:lnTo>
                    <a:lnTo>
                      <a:pt x="708" y="252"/>
                    </a:lnTo>
                    <a:lnTo>
                      <a:pt x="708" y="252"/>
                    </a:lnTo>
                    <a:lnTo>
                      <a:pt x="707" y="250"/>
                    </a:lnTo>
                    <a:lnTo>
                      <a:pt x="707" y="249"/>
                    </a:lnTo>
                    <a:lnTo>
                      <a:pt x="707" y="248"/>
                    </a:lnTo>
                    <a:lnTo>
                      <a:pt x="706" y="248"/>
                    </a:lnTo>
                    <a:lnTo>
                      <a:pt x="706" y="247"/>
                    </a:lnTo>
                    <a:lnTo>
                      <a:pt x="707" y="247"/>
                    </a:lnTo>
                    <a:lnTo>
                      <a:pt x="707" y="245"/>
                    </a:lnTo>
                    <a:lnTo>
                      <a:pt x="707" y="246"/>
                    </a:lnTo>
                    <a:lnTo>
                      <a:pt x="706" y="246"/>
                    </a:lnTo>
                    <a:lnTo>
                      <a:pt x="706" y="245"/>
                    </a:lnTo>
                    <a:lnTo>
                      <a:pt x="706" y="245"/>
                    </a:lnTo>
                    <a:lnTo>
                      <a:pt x="706" y="245"/>
                    </a:lnTo>
                    <a:lnTo>
                      <a:pt x="706" y="246"/>
                    </a:lnTo>
                    <a:lnTo>
                      <a:pt x="705" y="247"/>
                    </a:lnTo>
                    <a:lnTo>
                      <a:pt x="704" y="247"/>
                    </a:lnTo>
                    <a:lnTo>
                      <a:pt x="704" y="246"/>
                    </a:lnTo>
                    <a:lnTo>
                      <a:pt x="704" y="245"/>
                    </a:lnTo>
                    <a:lnTo>
                      <a:pt x="703" y="245"/>
                    </a:lnTo>
                    <a:lnTo>
                      <a:pt x="703" y="244"/>
                    </a:lnTo>
                    <a:lnTo>
                      <a:pt x="703" y="242"/>
                    </a:lnTo>
                    <a:lnTo>
                      <a:pt x="702" y="242"/>
                    </a:lnTo>
                    <a:lnTo>
                      <a:pt x="700" y="241"/>
                    </a:lnTo>
                    <a:lnTo>
                      <a:pt x="700" y="241"/>
                    </a:lnTo>
                    <a:lnTo>
                      <a:pt x="699" y="240"/>
                    </a:lnTo>
                    <a:lnTo>
                      <a:pt x="698" y="240"/>
                    </a:lnTo>
                    <a:lnTo>
                      <a:pt x="697" y="240"/>
                    </a:lnTo>
                    <a:lnTo>
                      <a:pt x="697" y="238"/>
                    </a:lnTo>
                    <a:lnTo>
                      <a:pt x="697" y="238"/>
                    </a:lnTo>
                    <a:lnTo>
                      <a:pt x="696" y="237"/>
                    </a:lnTo>
                    <a:lnTo>
                      <a:pt x="695" y="235"/>
                    </a:lnTo>
                    <a:lnTo>
                      <a:pt x="693" y="234"/>
                    </a:lnTo>
                    <a:lnTo>
                      <a:pt x="693" y="234"/>
                    </a:lnTo>
                    <a:lnTo>
                      <a:pt x="692" y="234"/>
                    </a:lnTo>
                    <a:lnTo>
                      <a:pt x="690" y="233"/>
                    </a:lnTo>
                    <a:lnTo>
                      <a:pt x="690" y="232"/>
                    </a:lnTo>
                    <a:lnTo>
                      <a:pt x="690" y="232"/>
                    </a:lnTo>
                    <a:lnTo>
                      <a:pt x="689" y="231"/>
                    </a:lnTo>
                    <a:lnTo>
                      <a:pt x="689" y="231"/>
                    </a:lnTo>
                    <a:lnTo>
                      <a:pt x="689" y="230"/>
                    </a:lnTo>
                    <a:lnTo>
                      <a:pt x="689" y="229"/>
                    </a:lnTo>
                    <a:lnTo>
                      <a:pt x="689" y="229"/>
                    </a:lnTo>
                    <a:lnTo>
                      <a:pt x="690" y="230"/>
                    </a:lnTo>
                    <a:lnTo>
                      <a:pt x="690" y="230"/>
                    </a:lnTo>
                    <a:lnTo>
                      <a:pt x="690" y="230"/>
                    </a:lnTo>
                    <a:lnTo>
                      <a:pt x="691" y="231"/>
                    </a:lnTo>
                    <a:lnTo>
                      <a:pt x="692" y="231"/>
                    </a:lnTo>
                    <a:lnTo>
                      <a:pt x="692" y="231"/>
                    </a:lnTo>
                    <a:lnTo>
                      <a:pt x="692" y="230"/>
                    </a:lnTo>
                    <a:lnTo>
                      <a:pt x="691" y="230"/>
                    </a:lnTo>
                    <a:lnTo>
                      <a:pt x="690" y="230"/>
                    </a:lnTo>
                    <a:lnTo>
                      <a:pt x="689" y="229"/>
                    </a:lnTo>
                    <a:lnTo>
                      <a:pt x="689" y="229"/>
                    </a:lnTo>
                    <a:lnTo>
                      <a:pt x="689" y="229"/>
                    </a:lnTo>
                    <a:lnTo>
                      <a:pt x="689" y="227"/>
                    </a:lnTo>
                    <a:lnTo>
                      <a:pt x="689" y="224"/>
                    </a:lnTo>
                    <a:lnTo>
                      <a:pt x="690" y="224"/>
                    </a:lnTo>
                    <a:lnTo>
                      <a:pt x="690" y="224"/>
                    </a:lnTo>
                    <a:lnTo>
                      <a:pt x="690" y="223"/>
                    </a:lnTo>
                    <a:lnTo>
                      <a:pt x="690" y="223"/>
                    </a:lnTo>
                    <a:lnTo>
                      <a:pt x="689" y="223"/>
                    </a:lnTo>
                    <a:lnTo>
                      <a:pt x="689" y="222"/>
                    </a:lnTo>
                    <a:lnTo>
                      <a:pt x="689" y="220"/>
                    </a:lnTo>
                    <a:lnTo>
                      <a:pt x="689" y="219"/>
                    </a:lnTo>
                    <a:lnTo>
                      <a:pt x="688" y="218"/>
                    </a:lnTo>
                    <a:lnTo>
                      <a:pt x="688" y="217"/>
                    </a:lnTo>
                    <a:lnTo>
                      <a:pt x="687" y="217"/>
                    </a:lnTo>
                    <a:lnTo>
                      <a:pt x="688" y="217"/>
                    </a:lnTo>
                    <a:lnTo>
                      <a:pt x="689" y="216"/>
                    </a:lnTo>
                    <a:lnTo>
                      <a:pt x="689" y="216"/>
                    </a:lnTo>
                    <a:lnTo>
                      <a:pt x="689" y="216"/>
                    </a:lnTo>
                    <a:lnTo>
                      <a:pt x="687" y="216"/>
                    </a:lnTo>
                    <a:lnTo>
                      <a:pt x="685" y="215"/>
                    </a:lnTo>
                    <a:lnTo>
                      <a:pt x="685" y="213"/>
                    </a:lnTo>
                    <a:lnTo>
                      <a:pt x="684" y="213"/>
                    </a:lnTo>
                    <a:lnTo>
                      <a:pt x="683" y="213"/>
                    </a:lnTo>
                    <a:lnTo>
                      <a:pt x="682" y="213"/>
                    </a:lnTo>
                    <a:lnTo>
                      <a:pt x="682" y="212"/>
                    </a:lnTo>
                    <a:lnTo>
                      <a:pt x="681" y="212"/>
                    </a:lnTo>
                    <a:lnTo>
                      <a:pt x="680" y="212"/>
                    </a:lnTo>
                    <a:lnTo>
                      <a:pt x="680" y="211"/>
                    </a:lnTo>
                    <a:lnTo>
                      <a:pt x="680" y="210"/>
                    </a:lnTo>
                    <a:lnTo>
                      <a:pt x="681" y="210"/>
                    </a:lnTo>
                    <a:lnTo>
                      <a:pt x="682" y="210"/>
                    </a:lnTo>
                    <a:lnTo>
                      <a:pt x="678" y="210"/>
                    </a:lnTo>
                    <a:lnTo>
                      <a:pt x="676" y="209"/>
                    </a:lnTo>
                    <a:lnTo>
                      <a:pt x="674" y="209"/>
                    </a:lnTo>
                    <a:lnTo>
                      <a:pt x="673" y="209"/>
                    </a:lnTo>
                    <a:lnTo>
                      <a:pt x="672" y="209"/>
                    </a:lnTo>
                    <a:lnTo>
                      <a:pt x="670" y="208"/>
                    </a:lnTo>
                    <a:lnTo>
                      <a:pt x="670" y="208"/>
                    </a:lnTo>
                    <a:lnTo>
                      <a:pt x="672" y="208"/>
                    </a:lnTo>
                    <a:lnTo>
                      <a:pt x="672" y="208"/>
                    </a:lnTo>
                    <a:lnTo>
                      <a:pt x="672" y="207"/>
                    </a:lnTo>
                    <a:lnTo>
                      <a:pt x="669" y="207"/>
                    </a:lnTo>
                    <a:lnTo>
                      <a:pt x="668" y="205"/>
                    </a:lnTo>
                    <a:lnTo>
                      <a:pt x="666" y="203"/>
                    </a:lnTo>
                    <a:lnTo>
                      <a:pt x="666" y="203"/>
                    </a:lnTo>
                    <a:lnTo>
                      <a:pt x="665" y="203"/>
                    </a:lnTo>
                    <a:lnTo>
                      <a:pt x="665" y="203"/>
                    </a:lnTo>
                    <a:lnTo>
                      <a:pt x="665" y="203"/>
                    </a:lnTo>
                    <a:lnTo>
                      <a:pt x="663" y="204"/>
                    </a:lnTo>
                    <a:lnTo>
                      <a:pt x="662" y="203"/>
                    </a:lnTo>
                    <a:lnTo>
                      <a:pt x="661" y="202"/>
                    </a:lnTo>
                    <a:lnTo>
                      <a:pt x="661" y="202"/>
                    </a:lnTo>
                    <a:lnTo>
                      <a:pt x="661" y="201"/>
                    </a:lnTo>
                    <a:lnTo>
                      <a:pt x="660" y="201"/>
                    </a:lnTo>
                    <a:lnTo>
                      <a:pt x="659" y="200"/>
                    </a:lnTo>
                    <a:lnTo>
                      <a:pt x="655" y="198"/>
                    </a:lnTo>
                    <a:lnTo>
                      <a:pt x="654" y="197"/>
                    </a:lnTo>
                    <a:lnTo>
                      <a:pt x="653" y="196"/>
                    </a:lnTo>
                    <a:lnTo>
                      <a:pt x="654" y="196"/>
                    </a:lnTo>
                    <a:lnTo>
                      <a:pt x="654" y="195"/>
                    </a:lnTo>
                    <a:lnTo>
                      <a:pt x="655" y="195"/>
                    </a:lnTo>
                    <a:lnTo>
                      <a:pt x="654" y="195"/>
                    </a:lnTo>
                    <a:lnTo>
                      <a:pt x="654" y="195"/>
                    </a:lnTo>
                    <a:lnTo>
                      <a:pt x="652" y="194"/>
                    </a:lnTo>
                    <a:lnTo>
                      <a:pt x="650" y="193"/>
                    </a:lnTo>
                    <a:lnTo>
                      <a:pt x="648" y="192"/>
                    </a:lnTo>
                    <a:lnTo>
                      <a:pt x="648" y="192"/>
                    </a:lnTo>
                    <a:lnTo>
                      <a:pt x="648" y="189"/>
                    </a:lnTo>
                    <a:lnTo>
                      <a:pt x="647" y="188"/>
                    </a:lnTo>
                    <a:lnTo>
                      <a:pt x="646" y="187"/>
                    </a:lnTo>
                    <a:lnTo>
                      <a:pt x="646" y="187"/>
                    </a:lnTo>
                    <a:lnTo>
                      <a:pt x="646" y="186"/>
                    </a:lnTo>
                    <a:lnTo>
                      <a:pt x="645" y="188"/>
                    </a:lnTo>
                    <a:lnTo>
                      <a:pt x="645" y="189"/>
                    </a:lnTo>
                    <a:lnTo>
                      <a:pt x="645" y="189"/>
                    </a:lnTo>
                    <a:lnTo>
                      <a:pt x="644" y="190"/>
                    </a:lnTo>
                    <a:lnTo>
                      <a:pt x="643" y="190"/>
                    </a:lnTo>
                    <a:lnTo>
                      <a:pt x="643" y="190"/>
                    </a:lnTo>
                    <a:lnTo>
                      <a:pt x="641" y="189"/>
                    </a:lnTo>
                    <a:lnTo>
                      <a:pt x="641" y="188"/>
                    </a:lnTo>
                    <a:lnTo>
                      <a:pt x="640" y="186"/>
                    </a:lnTo>
                    <a:lnTo>
                      <a:pt x="639" y="185"/>
                    </a:lnTo>
                    <a:lnTo>
                      <a:pt x="640" y="183"/>
                    </a:lnTo>
                    <a:lnTo>
                      <a:pt x="641" y="183"/>
                    </a:lnTo>
                    <a:lnTo>
                      <a:pt x="640" y="183"/>
                    </a:lnTo>
                    <a:lnTo>
                      <a:pt x="639" y="185"/>
                    </a:lnTo>
                    <a:lnTo>
                      <a:pt x="639" y="183"/>
                    </a:lnTo>
                    <a:lnTo>
                      <a:pt x="639" y="183"/>
                    </a:lnTo>
                    <a:lnTo>
                      <a:pt x="639" y="182"/>
                    </a:lnTo>
                    <a:lnTo>
                      <a:pt x="639" y="182"/>
                    </a:lnTo>
                    <a:lnTo>
                      <a:pt x="638" y="182"/>
                    </a:lnTo>
                    <a:lnTo>
                      <a:pt x="638" y="183"/>
                    </a:lnTo>
                    <a:lnTo>
                      <a:pt x="637" y="183"/>
                    </a:lnTo>
                    <a:lnTo>
                      <a:pt x="636" y="185"/>
                    </a:lnTo>
                    <a:lnTo>
                      <a:pt x="635" y="185"/>
                    </a:lnTo>
                    <a:lnTo>
                      <a:pt x="632" y="185"/>
                    </a:lnTo>
                    <a:lnTo>
                      <a:pt x="631" y="185"/>
                    </a:lnTo>
                    <a:lnTo>
                      <a:pt x="630" y="185"/>
                    </a:lnTo>
                    <a:lnTo>
                      <a:pt x="631" y="186"/>
                    </a:lnTo>
                    <a:lnTo>
                      <a:pt x="632" y="187"/>
                    </a:lnTo>
                    <a:lnTo>
                      <a:pt x="632" y="188"/>
                    </a:lnTo>
                    <a:lnTo>
                      <a:pt x="632" y="189"/>
                    </a:lnTo>
                    <a:lnTo>
                      <a:pt x="631" y="189"/>
                    </a:lnTo>
                    <a:lnTo>
                      <a:pt x="631" y="192"/>
                    </a:lnTo>
                    <a:lnTo>
                      <a:pt x="631" y="193"/>
                    </a:lnTo>
                    <a:lnTo>
                      <a:pt x="632" y="194"/>
                    </a:lnTo>
                    <a:lnTo>
                      <a:pt x="632" y="195"/>
                    </a:lnTo>
                    <a:lnTo>
                      <a:pt x="632" y="196"/>
                    </a:lnTo>
                    <a:lnTo>
                      <a:pt x="633" y="197"/>
                    </a:lnTo>
                    <a:lnTo>
                      <a:pt x="636" y="197"/>
                    </a:lnTo>
                    <a:lnTo>
                      <a:pt x="637" y="197"/>
                    </a:lnTo>
                    <a:lnTo>
                      <a:pt x="638" y="198"/>
                    </a:lnTo>
                    <a:lnTo>
                      <a:pt x="639" y="200"/>
                    </a:lnTo>
                    <a:lnTo>
                      <a:pt x="640" y="202"/>
                    </a:lnTo>
                    <a:lnTo>
                      <a:pt x="641" y="203"/>
                    </a:lnTo>
                    <a:lnTo>
                      <a:pt x="643" y="205"/>
                    </a:lnTo>
                    <a:lnTo>
                      <a:pt x="644" y="207"/>
                    </a:lnTo>
                    <a:lnTo>
                      <a:pt x="645" y="209"/>
                    </a:lnTo>
                    <a:lnTo>
                      <a:pt x="646" y="210"/>
                    </a:lnTo>
                    <a:lnTo>
                      <a:pt x="647" y="212"/>
                    </a:lnTo>
                    <a:lnTo>
                      <a:pt x="648" y="213"/>
                    </a:lnTo>
                    <a:lnTo>
                      <a:pt x="650" y="215"/>
                    </a:lnTo>
                    <a:lnTo>
                      <a:pt x="652" y="216"/>
                    </a:lnTo>
                    <a:lnTo>
                      <a:pt x="655" y="216"/>
                    </a:lnTo>
                    <a:lnTo>
                      <a:pt x="657" y="216"/>
                    </a:lnTo>
                    <a:lnTo>
                      <a:pt x="658" y="216"/>
                    </a:lnTo>
                    <a:lnTo>
                      <a:pt x="659" y="217"/>
                    </a:lnTo>
                    <a:lnTo>
                      <a:pt x="661" y="217"/>
                    </a:lnTo>
                    <a:lnTo>
                      <a:pt x="661" y="217"/>
                    </a:lnTo>
                    <a:lnTo>
                      <a:pt x="662" y="218"/>
                    </a:lnTo>
                    <a:lnTo>
                      <a:pt x="662" y="219"/>
                    </a:lnTo>
                    <a:lnTo>
                      <a:pt x="662" y="219"/>
                    </a:lnTo>
                    <a:lnTo>
                      <a:pt x="661" y="219"/>
                    </a:lnTo>
                    <a:lnTo>
                      <a:pt x="661" y="219"/>
                    </a:lnTo>
                    <a:lnTo>
                      <a:pt x="660" y="219"/>
                    </a:lnTo>
                    <a:lnTo>
                      <a:pt x="661" y="220"/>
                    </a:lnTo>
                    <a:lnTo>
                      <a:pt x="662" y="220"/>
                    </a:lnTo>
                    <a:lnTo>
                      <a:pt x="665" y="222"/>
                    </a:lnTo>
                    <a:lnTo>
                      <a:pt x="667" y="223"/>
                    </a:lnTo>
                    <a:lnTo>
                      <a:pt x="668" y="223"/>
                    </a:lnTo>
                    <a:lnTo>
                      <a:pt x="669" y="224"/>
                    </a:lnTo>
                    <a:lnTo>
                      <a:pt x="672" y="225"/>
                    </a:lnTo>
                    <a:lnTo>
                      <a:pt x="673" y="226"/>
                    </a:lnTo>
                    <a:lnTo>
                      <a:pt x="674" y="227"/>
                    </a:lnTo>
                    <a:lnTo>
                      <a:pt x="675" y="227"/>
                    </a:lnTo>
                    <a:lnTo>
                      <a:pt x="675" y="227"/>
                    </a:lnTo>
                    <a:lnTo>
                      <a:pt x="676" y="229"/>
                    </a:lnTo>
                    <a:lnTo>
                      <a:pt x="678" y="230"/>
                    </a:lnTo>
                    <a:lnTo>
                      <a:pt x="680" y="231"/>
                    </a:lnTo>
                    <a:lnTo>
                      <a:pt x="681" y="232"/>
                    </a:lnTo>
                    <a:lnTo>
                      <a:pt x="681" y="233"/>
                    </a:lnTo>
                    <a:lnTo>
                      <a:pt x="680" y="233"/>
                    </a:lnTo>
                    <a:lnTo>
                      <a:pt x="680" y="233"/>
                    </a:lnTo>
                    <a:lnTo>
                      <a:pt x="681" y="234"/>
                    </a:lnTo>
                    <a:lnTo>
                      <a:pt x="681" y="234"/>
                    </a:lnTo>
                    <a:lnTo>
                      <a:pt x="680" y="234"/>
                    </a:lnTo>
                    <a:lnTo>
                      <a:pt x="678" y="234"/>
                    </a:lnTo>
                    <a:lnTo>
                      <a:pt x="678" y="233"/>
                    </a:lnTo>
                    <a:lnTo>
                      <a:pt x="677" y="232"/>
                    </a:lnTo>
                    <a:lnTo>
                      <a:pt x="676" y="231"/>
                    </a:lnTo>
                    <a:lnTo>
                      <a:pt x="673" y="231"/>
                    </a:lnTo>
                    <a:lnTo>
                      <a:pt x="672" y="230"/>
                    </a:lnTo>
                    <a:lnTo>
                      <a:pt x="672" y="230"/>
                    </a:lnTo>
                    <a:lnTo>
                      <a:pt x="672" y="230"/>
                    </a:lnTo>
                    <a:lnTo>
                      <a:pt x="672" y="231"/>
                    </a:lnTo>
                    <a:lnTo>
                      <a:pt x="670" y="232"/>
                    </a:lnTo>
                    <a:lnTo>
                      <a:pt x="669" y="232"/>
                    </a:lnTo>
                    <a:lnTo>
                      <a:pt x="669" y="233"/>
                    </a:lnTo>
                    <a:lnTo>
                      <a:pt x="669" y="233"/>
                    </a:lnTo>
                    <a:lnTo>
                      <a:pt x="669" y="234"/>
                    </a:lnTo>
                    <a:lnTo>
                      <a:pt x="669" y="235"/>
                    </a:lnTo>
                    <a:lnTo>
                      <a:pt x="669" y="237"/>
                    </a:lnTo>
                    <a:lnTo>
                      <a:pt x="669" y="237"/>
                    </a:lnTo>
                    <a:lnTo>
                      <a:pt x="669" y="237"/>
                    </a:lnTo>
                    <a:lnTo>
                      <a:pt x="670" y="237"/>
                    </a:lnTo>
                    <a:lnTo>
                      <a:pt x="672" y="238"/>
                    </a:lnTo>
                    <a:lnTo>
                      <a:pt x="672" y="239"/>
                    </a:lnTo>
                    <a:lnTo>
                      <a:pt x="673" y="240"/>
                    </a:lnTo>
                    <a:lnTo>
                      <a:pt x="673" y="240"/>
                    </a:lnTo>
                    <a:lnTo>
                      <a:pt x="674" y="240"/>
                    </a:lnTo>
                    <a:lnTo>
                      <a:pt x="674" y="241"/>
                    </a:lnTo>
                    <a:lnTo>
                      <a:pt x="675" y="241"/>
                    </a:lnTo>
                    <a:lnTo>
                      <a:pt x="674" y="242"/>
                    </a:lnTo>
                    <a:lnTo>
                      <a:pt x="673" y="242"/>
                    </a:lnTo>
                    <a:lnTo>
                      <a:pt x="672" y="242"/>
                    </a:lnTo>
                    <a:lnTo>
                      <a:pt x="672" y="244"/>
                    </a:lnTo>
                    <a:lnTo>
                      <a:pt x="672" y="245"/>
                    </a:lnTo>
                    <a:lnTo>
                      <a:pt x="670" y="246"/>
                    </a:lnTo>
                    <a:lnTo>
                      <a:pt x="670" y="247"/>
                    </a:lnTo>
                    <a:lnTo>
                      <a:pt x="669" y="248"/>
                    </a:lnTo>
                    <a:lnTo>
                      <a:pt x="668" y="250"/>
                    </a:lnTo>
                    <a:lnTo>
                      <a:pt x="667" y="252"/>
                    </a:lnTo>
                    <a:lnTo>
                      <a:pt x="666" y="253"/>
                    </a:lnTo>
                    <a:lnTo>
                      <a:pt x="665" y="254"/>
                    </a:lnTo>
                    <a:lnTo>
                      <a:pt x="663" y="254"/>
                    </a:lnTo>
                    <a:lnTo>
                      <a:pt x="662" y="253"/>
                    </a:lnTo>
                    <a:lnTo>
                      <a:pt x="661" y="252"/>
                    </a:lnTo>
                    <a:lnTo>
                      <a:pt x="662" y="250"/>
                    </a:lnTo>
                    <a:lnTo>
                      <a:pt x="663" y="248"/>
                    </a:lnTo>
                    <a:lnTo>
                      <a:pt x="662" y="247"/>
                    </a:lnTo>
                    <a:lnTo>
                      <a:pt x="662" y="247"/>
                    </a:lnTo>
                    <a:lnTo>
                      <a:pt x="662" y="246"/>
                    </a:lnTo>
                    <a:lnTo>
                      <a:pt x="662" y="245"/>
                    </a:lnTo>
                    <a:lnTo>
                      <a:pt x="663" y="245"/>
                    </a:lnTo>
                    <a:lnTo>
                      <a:pt x="665" y="244"/>
                    </a:lnTo>
                    <a:lnTo>
                      <a:pt x="665" y="244"/>
                    </a:lnTo>
                    <a:lnTo>
                      <a:pt x="665" y="242"/>
                    </a:lnTo>
                    <a:lnTo>
                      <a:pt x="665" y="241"/>
                    </a:lnTo>
                    <a:lnTo>
                      <a:pt x="662" y="240"/>
                    </a:lnTo>
                    <a:lnTo>
                      <a:pt x="661" y="238"/>
                    </a:lnTo>
                    <a:lnTo>
                      <a:pt x="661" y="237"/>
                    </a:lnTo>
                    <a:lnTo>
                      <a:pt x="660" y="234"/>
                    </a:lnTo>
                    <a:lnTo>
                      <a:pt x="660" y="233"/>
                    </a:lnTo>
                    <a:lnTo>
                      <a:pt x="660" y="233"/>
                    </a:lnTo>
                    <a:lnTo>
                      <a:pt x="660" y="233"/>
                    </a:lnTo>
                    <a:lnTo>
                      <a:pt x="659" y="233"/>
                    </a:lnTo>
                    <a:lnTo>
                      <a:pt x="658" y="233"/>
                    </a:lnTo>
                    <a:lnTo>
                      <a:pt x="658" y="233"/>
                    </a:lnTo>
                    <a:lnTo>
                      <a:pt x="657" y="233"/>
                    </a:lnTo>
                    <a:lnTo>
                      <a:pt x="655" y="233"/>
                    </a:lnTo>
                    <a:lnTo>
                      <a:pt x="654" y="233"/>
                    </a:lnTo>
                    <a:lnTo>
                      <a:pt x="653" y="232"/>
                    </a:lnTo>
                    <a:lnTo>
                      <a:pt x="653" y="232"/>
                    </a:lnTo>
                    <a:lnTo>
                      <a:pt x="654" y="231"/>
                    </a:lnTo>
                    <a:lnTo>
                      <a:pt x="653" y="230"/>
                    </a:lnTo>
                    <a:lnTo>
                      <a:pt x="652" y="230"/>
                    </a:lnTo>
                    <a:lnTo>
                      <a:pt x="652" y="229"/>
                    </a:lnTo>
                    <a:lnTo>
                      <a:pt x="651" y="229"/>
                    </a:lnTo>
                    <a:lnTo>
                      <a:pt x="650" y="230"/>
                    </a:lnTo>
                    <a:lnTo>
                      <a:pt x="650" y="229"/>
                    </a:lnTo>
                    <a:lnTo>
                      <a:pt x="648" y="227"/>
                    </a:lnTo>
                    <a:lnTo>
                      <a:pt x="647" y="226"/>
                    </a:lnTo>
                    <a:lnTo>
                      <a:pt x="646" y="226"/>
                    </a:lnTo>
                    <a:lnTo>
                      <a:pt x="645" y="226"/>
                    </a:lnTo>
                    <a:lnTo>
                      <a:pt x="644" y="226"/>
                    </a:lnTo>
                    <a:lnTo>
                      <a:pt x="644" y="225"/>
                    </a:lnTo>
                    <a:lnTo>
                      <a:pt x="643" y="224"/>
                    </a:lnTo>
                    <a:lnTo>
                      <a:pt x="641" y="224"/>
                    </a:lnTo>
                    <a:lnTo>
                      <a:pt x="639" y="224"/>
                    </a:lnTo>
                    <a:lnTo>
                      <a:pt x="638" y="223"/>
                    </a:lnTo>
                    <a:lnTo>
                      <a:pt x="637" y="222"/>
                    </a:lnTo>
                    <a:lnTo>
                      <a:pt x="636" y="220"/>
                    </a:lnTo>
                    <a:lnTo>
                      <a:pt x="633" y="219"/>
                    </a:lnTo>
                    <a:lnTo>
                      <a:pt x="632" y="219"/>
                    </a:lnTo>
                    <a:lnTo>
                      <a:pt x="631" y="217"/>
                    </a:lnTo>
                    <a:lnTo>
                      <a:pt x="631" y="216"/>
                    </a:lnTo>
                    <a:lnTo>
                      <a:pt x="630" y="216"/>
                    </a:lnTo>
                    <a:lnTo>
                      <a:pt x="629" y="215"/>
                    </a:lnTo>
                    <a:lnTo>
                      <a:pt x="628" y="213"/>
                    </a:lnTo>
                    <a:lnTo>
                      <a:pt x="628" y="213"/>
                    </a:lnTo>
                    <a:lnTo>
                      <a:pt x="628" y="212"/>
                    </a:lnTo>
                    <a:lnTo>
                      <a:pt x="626" y="212"/>
                    </a:lnTo>
                    <a:lnTo>
                      <a:pt x="625" y="212"/>
                    </a:lnTo>
                    <a:lnTo>
                      <a:pt x="624" y="212"/>
                    </a:lnTo>
                    <a:lnTo>
                      <a:pt x="624" y="212"/>
                    </a:lnTo>
                    <a:lnTo>
                      <a:pt x="623" y="211"/>
                    </a:lnTo>
                    <a:lnTo>
                      <a:pt x="622" y="210"/>
                    </a:lnTo>
                    <a:lnTo>
                      <a:pt x="622" y="209"/>
                    </a:lnTo>
                    <a:lnTo>
                      <a:pt x="621" y="207"/>
                    </a:lnTo>
                    <a:lnTo>
                      <a:pt x="620" y="205"/>
                    </a:lnTo>
                    <a:lnTo>
                      <a:pt x="618" y="205"/>
                    </a:lnTo>
                    <a:lnTo>
                      <a:pt x="618" y="204"/>
                    </a:lnTo>
                    <a:lnTo>
                      <a:pt x="617" y="204"/>
                    </a:lnTo>
                    <a:lnTo>
                      <a:pt x="617" y="203"/>
                    </a:lnTo>
                    <a:lnTo>
                      <a:pt x="615" y="202"/>
                    </a:lnTo>
                    <a:lnTo>
                      <a:pt x="615" y="201"/>
                    </a:lnTo>
                    <a:lnTo>
                      <a:pt x="614" y="200"/>
                    </a:lnTo>
                    <a:lnTo>
                      <a:pt x="614" y="198"/>
                    </a:lnTo>
                    <a:lnTo>
                      <a:pt x="613" y="197"/>
                    </a:lnTo>
                    <a:lnTo>
                      <a:pt x="610" y="196"/>
                    </a:lnTo>
                    <a:lnTo>
                      <a:pt x="607" y="194"/>
                    </a:lnTo>
                    <a:lnTo>
                      <a:pt x="603" y="194"/>
                    </a:lnTo>
                    <a:lnTo>
                      <a:pt x="601" y="194"/>
                    </a:lnTo>
                    <a:lnTo>
                      <a:pt x="600" y="195"/>
                    </a:lnTo>
                    <a:lnTo>
                      <a:pt x="598" y="196"/>
                    </a:lnTo>
                    <a:lnTo>
                      <a:pt x="596" y="197"/>
                    </a:lnTo>
                    <a:lnTo>
                      <a:pt x="594" y="198"/>
                    </a:lnTo>
                    <a:lnTo>
                      <a:pt x="593" y="200"/>
                    </a:lnTo>
                    <a:lnTo>
                      <a:pt x="588" y="200"/>
                    </a:lnTo>
                    <a:lnTo>
                      <a:pt x="588" y="200"/>
                    </a:lnTo>
                    <a:lnTo>
                      <a:pt x="587" y="201"/>
                    </a:lnTo>
                    <a:lnTo>
                      <a:pt x="587" y="201"/>
                    </a:lnTo>
                    <a:lnTo>
                      <a:pt x="587" y="202"/>
                    </a:lnTo>
                    <a:lnTo>
                      <a:pt x="587" y="202"/>
                    </a:lnTo>
                    <a:lnTo>
                      <a:pt x="587" y="202"/>
                    </a:lnTo>
                    <a:lnTo>
                      <a:pt x="586" y="202"/>
                    </a:lnTo>
                    <a:lnTo>
                      <a:pt x="585" y="203"/>
                    </a:lnTo>
                    <a:lnTo>
                      <a:pt x="585" y="204"/>
                    </a:lnTo>
                    <a:lnTo>
                      <a:pt x="584" y="204"/>
                    </a:lnTo>
                    <a:lnTo>
                      <a:pt x="583" y="205"/>
                    </a:lnTo>
                    <a:lnTo>
                      <a:pt x="581" y="205"/>
                    </a:lnTo>
                    <a:lnTo>
                      <a:pt x="581" y="205"/>
                    </a:lnTo>
                    <a:lnTo>
                      <a:pt x="580" y="204"/>
                    </a:lnTo>
                    <a:lnTo>
                      <a:pt x="579" y="204"/>
                    </a:lnTo>
                    <a:lnTo>
                      <a:pt x="578" y="203"/>
                    </a:lnTo>
                    <a:lnTo>
                      <a:pt x="578" y="203"/>
                    </a:lnTo>
                    <a:lnTo>
                      <a:pt x="577" y="202"/>
                    </a:lnTo>
                    <a:lnTo>
                      <a:pt x="576" y="202"/>
                    </a:lnTo>
                    <a:lnTo>
                      <a:pt x="575" y="202"/>
                    </a:lnTo>
                    <a:lnTo>
                      <a:pt x="575" y="201"/>
                    </a:lnTo>
                    <a:lnTo>
                      <a:pt x="575" y="201"/>
                    </a:lnTo>
                    <a:lnTo>
                      <a:pt x="575" y="201"/>
                    </a:lnTo>
                    <a:lnTo>
                      <a:pt x="573" y="202"/>
                    </a:lnTo>
                    <a:lnTo>
                      <a:pt x="570" y="202"/>
                    </a:lnTo>
                    <a:lnTo>
                      <a:pt x="569" y="202"/>
                    </a:lnTo>
                    <a:lnTo>
                      <a:pt x="568" y="203"/>
                    </a:lnTo>
                    <a:lnTo>
                      <a:pt x="568" y="202"/>
                    </a:lnTo>
                    <a:lnTo>
                      <a:pt x="566" y="202"/>
                    </a:lnTo>
                    <a:lnTo>
                      <a:pt x="566" y="202"/>
                    </a:lnTo>
                    <a:lnTo>
                      <a:pt x="565" y="203"/>
                    </a:lnTo>
                    <a:lnTo>
                      <a:pt x="564" y="204"/>
                    </a:lnTo>
                    <a:lnTo>
                      <a:pt x="563" y="205"/>
                    </a:lnTo>
                    <a:lnTo>
                      <a:pt x="561" y="205"/>
                    </a:lnTo>
                    <a:lnTo>
                      <a:pt x="561" y="207"/>
                    </a:lnTo>
                    <a:lnTo>
                      <a:pt x="561" y="207"/>
                    </a:lnTo>
                    <a:lnTo>
                      <a:pt x="560" y="208"/>
                    </a:lnTo>
                    <a:lnTo>
                      <a:pt x="560" y="209"/>
                    </a:lnTo>
                    <a:lnTo>
                      <a:pt x="560" y="210"/>
                    </a:lnTo>
                    <a:lnTo>
                      <a:pt x="561" y="210"/>
                    </a:lnTo>
                    <a:lnTo>
                      <a:pt x="561" y="211"/>
                    </a:lnTo>
                    <a:lnTo>
                      <a:pt x="561" y="211"/>
                    </a:lnTo>
                    <a:lnTo>
                      <a:pt x="560" y="212"/>
                    </a:lnTo>
                    <a:lnTo>
                      <a:pt x="558" y="212"/>
                    </a:lnTo>
                    <a:lnTo>
                      <a:pt x="560" y="212"/>
                    </a:lnTo>
                    <a:lnTo>
                      <a:pt x="560" y="212"/>
                    </a:lnTo>
                    <a:lnTo>
                      <a:pt x="561" y="212"/>
                    </a:lnTo>
                    <a:lnTo>
                      <a:pt x="561" y="213"/>
                    </a:lnTo>
                    <a:lnTo>
                      <a:pt x="561" y="215"/>
                    </a:lnTo>
                    <a:lnTo>
                      <a:pt x="560" y="216"/>
                    </a:lnTo>
                    <a:lnTo>
                      <a:pt x="560" y="216"/>
                    </a:lnTo>
                    <a:lnTo>
                      <a:pt x="560" y="216"/>
                    </a:lnTo>
                    <a:lnTo>
                      <a:pt x="560" y="216"/>
                    </a:lnTo>
                    <a:lnTo>
                      <a:pt x="560" y="216"/>
                    </a:lnTo>
                    <a:lnTo>
                      <a:pt x="558" y="217"/>
                    </a:lnTo>
                    <a:lnTo>
                      <a:pt x="557" y="217"/>
                    </a:lnTo>
                    <a:lnTo>
                      <a:pt x="556" y="218"/>
                    </a:lnTo>
                    <a:lnTo>
                      <a:pt x="554" y="218"/>
                    </a:lnTo>
                    <a:lnTo>
                      <a:pt x="553" y="219"/>
                    </a:lnTo>
                    <a:lnTo>
                      <a:pt x="553" y="220"/>
                    </a:lnTo>
                    <a:lnTo>
                      <a:pt x="551" y="220"/>
                    </a:lnTo>
                    <a:lnTo>
                      <a:pt x="550" y="220"/>
                    </a:lnTo>
                    <a:lnTo>
                      <a:pt x="549" y="222"/>
                    </a:lnTo>
                    <a:lnTo>
                      <a:pt x="547" y="223"/>
                    </a:lnTo>
                    <a:lnTo>
                      <a:pt x="545" y="224"/>
                    </a:lnTo>
                    <a:lnTo>
                      <a:pt x="542" y="225"/>
                    </a:lnTo>
                    <a:lnTo>
                      <a:pt x="542" y="226"/>
                    </a:lnTo>
                    <a:lnTo>
                      <a:pt x="541" y="226"/>
                    </a:lnTo>
                    <a:lnTo>
                      <a:pt x="541" y="226"/>
                    </a:lnTo>
                    <a:lnTo>
                      <a:pt x="541" y="226"/>
                    </a:lnTo>
                    <a:lnTo>
                      <a:pt x="542" y="227"/>
                    </a:lnTo>
                    <a:lnTo>
                      <a:pt x="541" y="229"/>
                    </a:lnTo>
                    <a:lnTo>
                      <a:pt x="540" y="229"/>
                    </a:lnTo>
                    <a:lnTo>
                      <a:pt x="540" y="229"/>
                    </a:lnTo>
                    <a:lnTo>
                      <a:pt x="540" y="227"/>
                    </a:lnTo>
                    <a:lnTo>
                      <a:pt x="540" y="229"/>
                    </a:lnTo>
                    <a:lnTo>
                      <a:pt x="539" y="229"/>
                    </a:lnTo>
                    <a:lnTo>
                      <a:pt x="538" y="231"/>
                    </a:lnTo>
                    <a:lnTo>
                      <a:pt x="535" y="233"/>
                    </a:lnTo>
                    <a:lnTo>
                      <a:pt x="534" y="233"/>
                    </a:lnTo>
                    <a:lnTo>
                      <a:pt x="534" y="233"/>
                    </a:lnTo>
                    <a:lnTo>
                      <a:pt x="533" y="233"/>
                    </a:lnTo>
                    <a:lnTo>
                      <a:pt x="533" y="234"/>
                    </a:lnTo>
                    <a:lnTo>
                      <a:pt x="532" y="237"/>
                    </a:lnTo>
                    <a:lnTo>
                      <a:pt x="531" y="238"/>
                    </a:lnTo>
                    <a:lnTo>
                      <a:pt x="532" y="239"/>
                    </a:lnTo>
                    <a:lnTo>
                      <a:pt x="532" y="240"/>
                    </a:lnTo>
                    <a:lnTo>
                      <a:pt x="533" y="241"/>
                    </a:lnTo>
                    <a:lnTo>
                      <a:pt x="535" y="241"/>
                    </a:lnTo>
                    <a:lnTo>
                      <a:pt x="535" y="242"/>
                    </a:lnTo>
                    <a:lnTo>
                      <a:pt x="535" y="244"/>
                    </a:lnTo>
                    <a:lnTo>
                      <a:pt x="535" y="245"/>
                    </a:lnTo>
                    <a:lnTo>
                      <a:pt x="535" y="245"/>
                    </a:lnTo>
                    <a:lnTo>
                      <a:pt x="534" y="246"/>
                    </a:lnTo>
                    <a:lnTo>
                      <a:pt x="533" y="247"/>
                    </a:lnTo>
                    <a:lnTo>
                      <a:pt x="533" y="248"/>
                    </a:lnTo>
                    <a:lnTo>
                      <a:pt x="533" y="248"/>
                    </a:lnTo>
                    <a:lnTo>
                      <a:pt x="532" y="248"/>
                    </a:lnTo>
                    <a:lnTo>
                      <a:pt x="532" y="248"/>
                    </a:lnTo>
                    <a:lnTo>
                      <a:pt x="532" y="249"/>
                    </a:lnTo>
                    <a:lnTo>
                      <a:pt x="532" y="250"/>
                    </a:lnTo>
                    <a:lnTo>
                      <a:pt x="532" y="250"/>
                    </a:lnTo>
                    <a:lnTo>
                      <a:pt x="532" y="252"/>
                    </a:lnTo>
                    <a:lnTo>
                      <a:pt x="531" y="253"/>
                    </a:lnTo>
                    <a:lnTo>
                      <a:pt x="531" y="254"/>
                    </a:lnTo>
                    <a:lnTo>
                      <a:pt x="530" y="254"/>
                    </a:lnTo>
                    <a:lnTo>
                      <a:pt x="528" y="254"/>
                    </a:lnTo>
                    <a:lnTo>
                      <a:pt x="527" y="254"/>
                    </a:lnTo>
                    <a:lnTo>
                      <a:pt x="527" y="255"/>
                    </a:lnTo>
                    <a:lnTo>
                      <a:pt x="526" y="255"/>
                    </a:lnTo>
                    <a:lnTo>
                      <a:pt x="526" y="256"/>
                    </a:lnTo>
                    <a:lnTo>
                      <a:pt x="525" y="256"/>
                    </a:lnTo>
                    <a:lnTo>
                      <a:pt x="524" y="257"/>
                    </a:lnTo>
                    <a:lnTo>
                      <a:pt x="523" y="257"/>
                    </a:lnTo>
                    <a:lnTo>
                      <a:pt x="523" y="259"/>
                    </a:lnTo>
                    <a:lnTo>
                      <a:pt x="521" y="261"/>
                    </a:lnTo>
                    <a:lnTo>
                      <a:pt x="521" y="262"/>
                    </a:lnTo>
                    <a:lnTo>
                      <a:pt x="520" y="262"/>
                    </a:lnTo>
                    <a:lnTo>
                      <a:pt x="520" y="262"/>
                    </a:lnTo>
                    <a:lnTo>
                      <a:pt x="519" y="262"/>
                    </a:lnTo>
                    <a:lnTo>
                      <a:pt x="518" y="262"/>
                    </a:lnTo>
                    <a:lnTo>
                      <a:pt x="517" y="262"/>
                    </a:lnTo>
                    <a:lnTo>
                      <a:pt x="513" y="262"/>
                    </a:lnTo>
                    <a:lnTo>
                      <a:pt x="512" y="263"/>
                    </a:lnTo>
                    <a:lnTo>
                      <a:pt x="511" y="263"/>
                    </a:lnTo>
                    <a:lnTo>
                      <a:pt x="510" y="263"/>
                    </a:lnTo>
                    <a:lnTo>
                      <a:pt x="509" y="264"/>
                    </a:lnTo>
                    <a:lnTo>
                      <a:pt x="506" y="265"/>
                    </a:lnTo>
                    <a:lnTo>
                      <a:pt x="505" y="265"/>
                    </a:lnTo>
                    <a:lnTo>
                      <a:pt x="505" y="265"/>
                    </a:lnTo>
                    <a:lnTo>
                      <a:pt x="505" y="267"/>
                    </a:lnTo>
                    <a:lnTo>
                      <a:pt x="503" y="267"/>
                    </a:lnTo>
                    <a:lnTo>
                      <a:pt x="501" y="267"/>
                    </a:lnTo>
                    <a:lnTo>
                      <a:pt x="498" y="268"/>
                    </a:lnTo>
                    <a:lnTo>
                      <a:pt x="496" y="268"/>
                    </a:lnTo>
                    <a:lnTo>
                      <a:pt x="496" y="269"/>
                    </a:lnTo>
                    <a:lnTo>
                      <a:pt x="496" y="269"/>
                    </a:lnTo>
                    <a:lnTo>
                      <a:pt x="495" y="269"/>
                    </a:lnTo>
                    <a:lnTo>
                      <a:pt x="495" y="270"/>
                    </a:lnTo>
                    <a:lnTo>
                      <a:pt x="493" y="270"/>
                    </a:lnTo>
                    <a:lnTo>
                      <a:pt x="491" y="269"/>
                    </a:lnTo>
                    <a:lnTo>
                      <a:pt x="490" y="269"/>
                    </a:lnTo>
                    <a:lnTo>
                      <a:pt x="489" y="268"/>
                    </a:lnTo>
                    <a:lnTo>
                      <a:pt x="489" y="268"/>
                    </a:lnTo>
                    <a:lnTo>
                      <a:pt x="489" y="268"/>
                    </a:lnTo>
                    <a:lnTo>
                      <a:pt x="489" y="267"/>
                    </a:lnTo>
                    <a:lnTo>
                      <a:pt x="489" y="267"/>
                    </a:lnTo>
                    <a:lnTo>
                      <a:pt x="489" y="267"/>
                    </a:lnTo>
                    <a:lnTo>
                      <a:pt x="489" y="265"/>
                    </a:lnTo>
                    <a:lnTo>
                      <a:pt x="489" y="265"/>
                    </a:lnTo>
                    <a:lnTo>
                      <a:pt x="489" y="265"/>
                    </a:lnTo>
                    <a:lnTo>
                      <a:pt x="488" y="264"/>
                    </a:lnTo>
                    <a:lnTo>
                      <a:pt x="488" y="264"/>
                    </a:lnTo>
                    <a:lnTo>
                      <a:pt x="488" y="264"/>
                    </a:lnTo>
                    <a:lnTo>
                      <a:pt x="488" y="263"/>
                    </a:lnTo>
                    <a:lnTo>
                      <a:pt x="488" y="263"/>
                    </a:lnTo>
                    <a:lnTo>
                      <a:pt x="488" y="264"/>
                    </a:lnTo>
                    <a:lnTo>
                      <a:pt x="488" y="264"/>
                    </a:lnTo>
                    <a:lnTo>
                      <a:pt x="488" y="264"/>
                    </a:lnTo>
                    <a:lnTo>
                      <a:pt x="488" y="264"/>
                    </a:lnTo>
                    <a:lnTo>
                      <a:pt x="487" y="264"/>
                    </a:lnTo>
                    <a:lnTo>
                      <a:pt x="487" y="263"/>
                    </a:lnTo>
                    <a:lnTo>
                      <a:pt x="486" y="262"/>
                    </a:lnTo>
                    <a:lnTo>
                      <a:pt x="482" y="261"/>
                    </a:lnTo>
                    <a:lnTo>
                      <a:pt x="482" y="261"/>
                    </a:lnTo>
                    <a:lnTo>
                      <a:pt x="481" y="261"/>
                    </a:lnTo>
                    <a:lnTo>
                      <a:pt x="481" y="260"/>
                    </a:lnTo>
                    <a:lnTo>
                      <a:pt x="481" y="260"/>
                    </a:lnTo>
                    <a:lnTo>
                      <a:pt x="481" y="261"/>
                    </a:lnTo>
                    <a:lnTo>
                      <a:pt x="478" y="261"/>
                    </a:lnTo>
                    <a:lnTo>
                      <a:pt x="475" y="261"/>
                    </a:lnTo>
                    <a:lnTo>
                      <a:pt x="474" y="260"/>
                    </a:lnTo>
                    <a:lnTo>
                      <a:pt x="474" y="260"/>
                    </a:lnTo>
                    <a:lnTo>
                      <a:pt x="474" y="259"/>
                    </a:lnTo>
                    <a:lnTo>
                      <a:pt x="473" y="261"/>
                    </a:lnTo>
                    <a:lnTo>
                      <a:pt x="473" y="261"/>
                    </a:lnTo>
                    <a:lnTo>
                      <a:pt x="472" y="261"/>
                    </a:lnTo>
                    <a:lnTo>
                      <a:pt x="469" y="261"/>
                    </a:lnTo>
                    <a:lnTo>
                      <a:pt x="468" y="262"/>
                    </a:lnTo>
                    <a:lnTo>
                      <a:pt x="467" y="262"/>
                    </a:lnTo>
                    <a:lnTo>
                      <a:pt x="466" y="261"/>
                    </a:lnTo>
                    <a:lnTo>
                      <a:pt x="461" y="261"/>
                    </a:lnTo>
                    <a:lnTo>
                      <a:pt x="461" y="261"/>
                    </a:lnTo>
                    <a:lnTo>
                      <a:pt x="460" y="261"/>
                    </a:lnTo>
                    <a:lnTo>
                      <a:pt x="460" y="260"/>
                    </a:lnTo>
                    <a:lnTo>
                      <a:pt x="461" y="259"/>
                    </a:lnTo>
                    <a:lnTo>
                      <a:pt x="463" y="259"/>
                    </a:lnTo>
                    <a:lnTo>
                      <a:pt x="463" y="259"/>
                    </a:lnTo>
                    <a:lnTo>
                      <a:pt x="463" y="257"/>
                    </a:lnTo>
                    <a:lnTo>
                      <a:pt x="463" y="257"/>
                    </a:lnTo>
                    <a:lnTo>
                      <a:pt x="463" y="256"/>
                    </a:lnTo>
                    <a:lnTo>
                      <a:pt x="464" y="255"/>
                    </a:lnTo>
                    <a:lnTo>
                      <a:pt x="464" y="255"/>
                    </a:lnTo>
                    <a:lnTo>
                      <a:pt x="465" y="254"/>
                    </a:lnTo>
                    <a:lnTo>
                      <a:pt x="465" y="254"/>
                    </a:lnTo>
                    <a:lnTo>
                      <a:pt x="464" y="254"/>
                    </a:lnTo>
                    <a:lnTo>
                      <a:pt x="464" y="254"/>
                    </a:lnTo>
                    <a:lnTo>
                      <a:pt x="464" y="254"/>
                    </a:lnTo>
                    <a:lnTo>
                      <a:pt x="463" y="254"/>
                    </a:lnTo>
                    <a:lnTo>
                      <a:pt x="464" y="253"/>
                    </a:lnTo>
                    <a:lnTo>
                      <a:pt x="464" y="252"/>
                    </a:lnTo>
                    <a:lnTo>
                      <a:pt x="464" y="250"/>
                    </a:lnTo>
                    <a:lnTo>
                      <a:pt x="463" y="248"/>
                    </a:lnTo>
                    <a:lnTo>
                      <a:pt x="464" y="247"/>
                    </a:lnTo>
                    <a:lnTo>
                      <a:pt x="464" y="247"/>
                    </a:lnTo>
                    <a:lnTo>
                      <a:pt x="464" y="247"/>
                    </a:lnTo>
                    <a:lnTo>
                      <a:pt x="465" y="247"/>
                    </a:lnTo>
                    <a:lnTo>
                      <a:pt x="464" y="247"/>
                    </a:lnTo>
                    <a:lnTo>
                      <a:pt x="464" y="247"/>
                    </a:lnTo>
                    <a:lnTo>
                      <a:pt x="463" y="247"/>
                    </a:lnTo>
                    <a:lnTo>
                      <a:pt x="461" y="248"/>
                    </a:lnTo>
                    <a:lnTo>
                      <a:pt x="461" y="247"/>
                    </a:lnTo>
                    <a:lnTo>
                      <a:pt x="461" y="247"/>
                    </a:lnTo>
                    <a:lnTo>
                      <a:pt x="461" y="245"/>
                    </a:lnTo>
                    <a:lnTo>
                      <a:pt x="461" y="245"/>
                    </a:lnTo>
                    <a:lnTo>
                      <a:pt x="461" y="245"/>
                    </a:lnTo>
                    <a:lnTo>
                      <a:pt x="460" y="245"/>
                    </a:lnTo>
                    <a:lnTo>
                      <a:pt x="459" y="245"/>
                    </a:lnTo>
                    <a:lnTo>
                      <a:pt x="459" y="238"/>
                    </a:lnTo>
                    <a:lnTo>
                      <a:pt x="460" y="239"/>
                    </a:lnTo>
                    <a:lnTo>
                      <a:pt x="461" y="239"/>
                    </a:lnTo>
                    <a:lnTo>
                      <a:pt x="461" y="238"/>
                    </a:lnTo>
                    <a:lnTo>
                      <a:pt x="461" y="237"/>
                    </a:lnTo>
                    <a:lnTo>
                      <a:pt x="463" y="235"/>
                    </a:lnTo>
                    <a:lnTo>
                      <a:pt x="463" y="234"/>
                    </a:lnTo>
                    <a:lnTo>
                      <a:pt x="463" y="234"/>
                    </a:lnTo>
                    <a:lnTo>
                      <a:pt x="463" y="233"/>
                    </a:lnTo>
                    <a:lnTo>
                      <a:pt x="463" y="233"/>
                    </a:lnTo>
                    <a:lnTo>
                      <a:pt x="463" y="231"/>
                    </a:lnTo>
                    <a:lnTo>
                      <a:pt x="464" y="230"/>
                    </a:lnTo>
                    <a:lnTo>
                      <a:pt x="464" y="229"/>
                    </a:lnTo>
                    <a:lnTo>
                      <a:pt x="465" y="227"/>
                    </a:lnTo>
                    <a:lnTo>
                      <a:pt x="465" y="226"/>
                    </a:lnTo>
                    <a:lnTo>
                      <a:pt x="465" y="225"/>
                    </a:lnTo>
                    <a:lnTo>
                      <a:pt x="466" y="223"/>
                    </a:lnTo>
                    <a:lnTo>
                      <a:pt x="466" y="220"/>
                    </a:lnTo>
                    <a:lnTo>
                      <a:pt x="466" y="219"/>
                    </a:lnTo>
                    <a:lnTo>
                      <a:pt x="466" y="219"/>
                    </a:lnTo>
                    <a:lnTo>
                      <a:pt x="466" y="218"/>
                    </a:lnTo>
                    <a:lnTo>
                      <a:pt x="466" y="217"/>
                    </a:lnTo>
                    <a:lnTo>
                      <a:pt x="466" y="217"/>
                    </a:lnTo>
                    <a:lnTo>
                      <a:pt x="466" y="217"/>
                    </a:lnTo>
                    <a:lnTo>
                      <a:pt x="466" y="217"/>
                    </a:lnTo>
                    <a:lnTo>
                      <a:pt x="466" y="216"/>
                    </a:lnTo>
                    <a:lnTo>
                      <a:pt x="466" y="213"/>
                    </a:lnTo>
                    <a:lnTo>
                      <a:pt x="466" y="213"/>
                    </a:lnTo>
                    <a:lnTo>
                      <a:pt x="465" y="212"/>
                    </a:lnTo>
                    <a:lnTo>
                      <a:pt x="465" y="212"/>
                    </a:lnTo>
                    <a:lnTo>
                      <a:pt x="465" y="212"/>
                    </a:lnTo>
                    <a:lnTo>
                      <a:pt x="466" y="212"/>
                    </a:lnTo>
                    <a:lnTo>
                      <a:pt x="466" y="212"/>
                    </a:lnTo>
                    <a:lnTo>
                      <a:pt x="466" y="212"/>
                    </a:lnTo>
                    <a:lnTo>
                      <a:pt x="467" y="211"/>
                    </a:lnTo>
                    <a:lnTo>
                      <a:pt x="467" y="211"/>
                    </a:lnTo>
                    <a:lnTo>
                      <a:pt x="467" y="211"/>
                    </a:lnTo>
                    <a:lnTo>
                      <a:pt x="466" y="212"/>
                    </a:lnTo>
                    <a:lnTo>
                      <a:pt x="466" y="211"/>
                    </a:lnTo>
                    <a:lnTo>
                      <a:pt x="466" y="211"/>
                    </a:lnTo>
                    <a:lnTo>
                      <a:pt x="466" y="210"/>
                    </a:lnTo>
                    <a:lnTo>
                      <a:pt x="466" y="209"/>
                    </a:lnTo>
                    <a:lnTo>
                      <a:pt x="466" y="208"/>
                    </a:lnTo>
                    <a:lnTo>
                      <a:pt x="465" y="208"/>
                    </a:lnTo>
                    <a:lnTo>
                      <a:pt x="465" y="208"/>
                    </a:lnTo>
                    <a:lnTo>
                      <a:pt x="465" y="207"/>
                    </a:lnTo>
                    <a:lnTo>
                      <a:pt x="465" y="205"/>
                    </a:lnTo>
                    <a:lnTo>
                      <a:pt x="465" y="205"/>
                    </a:lnTo>
                    <a:lnTo>
                      <a:pt x="464" y="205"/>
                    </a:lnTo>
                    <a:lnTo>
                      <a:pt x="464" y="205"/>
                    </a:lnTo>
                    <a:lnTo>
                      <a:pt x="463" y="205"/>
                    </a:lnTo>
                    <a:lnTo>
                      <a:pt x="464" y="205"/>
                    </a:lnTo>
                    <a:lnTo>
                      <a:pt x="464" y="204"/>
                    </a:lnTo>
                    <a:lnTo>
                      <a:pt x="464" y="204"/>
                    </a:lnTo>
                    <a:lnTo>
                      <a:pt x="463" y="203"/>
                    </a:lnTo>
                    <a:lnTo>
                      <a:pt x="465" y="203"/>
                    </a:lnTo>
                    <a:lnTo>
                      <a:pt x="466" y="202"/>
                    </a:lnTo>
                    <a:lnTo>
                      <a:pt x="466" y="202"/>
                    </a:lnTo>
                    <a:lnTo>
                      <a:pt x="466" y="202"/>
                    </a:lnTo>
                    <a:lnTo>
                      <a:pt x="467" y="202"/>
                    </a:lnTo>
                    <a:lnTo>
                      <a:pt x="468" y="202"/>
                    </a:lnTo>
                    <a:lnTo>
                      <a:pt x="469" y="202"/>
                    </a:lnTo>
                    <a:lnTo>
                      <a:pt x="471" y="202"/>
                    </a:lnTo>
                    <a:lnTo>
                      <a:pt x="471" y="200"/>
                    </a:lnTo>
                    <a:lnTo>
                      <a:pt x="472" y="200"/>
                    </a:lnTo>
                    <a:lnTo>
                      <a:pt x="473" y="198"/>
                    </a:lnTo>
                    <a:lnTo>
                      <a:pt x="473" y="198"/>
                    </a:lnTo>
                    <a:lnTo>
                      <a:pt x="474" y="198"/>
                    </a:lnTo>
                    <a:lnTo>
                      <a:pt x="474" y="198"/>
                    </a:lnTo>
                    <a:lnTo>
                      <a:pt x="474" y="198"/>
                    </a:lnTo>
                    <a:lnTo>
                      <a:pt x="474" y="198"/>
                    </a:lnTo>
                    <a:lnTo>
                      <a:pt x="474" y="200"/>
                    </a:lnTo>
                    <a:lnTo>
                      <a:pt x="474" y="200"/>
                    </a:lnTo>
                    <a:lnTo>
                      <a:pt x="474" y="200"/>
                    </a:lnTo>
                    <a:lnTo>
                      <a:pt x="475" y="200"/>
                    </a:lnTo>
                    <a:lnTo>
                      <a:pt x="478" y="201"/>
                    </a:lnTo>
                    <a:lnTo>
                      <a:pt x="479" y="202"/>
                    </a:lnTo>
                    <a:lnTo>
                      <a:pt x="480" y="202"/>
                    </a:lnTo>
                    <a:lnTo>
                      <a:pt x="482" y="201"/>
                    </a:lnTo>
                    <a:lnTo>
                      <a:pt x="484" y="201"/>
                    </a:lnTo>
                    <a:lnTo>
                      <a:pt x="486" y="200"/>
                    </a:lnTo>
                    <a:lnTo>
                      <a:pt x="489" y="200"/>
                    </a:lnTo>
                    <a:lnTo>
                      <a:pt x="491" y="201"/>
                    </a:lnTo>
                    <a:lnTo>
                      <a:pt x="493" y="201"/>
                    </a:lnTo>
                    <a:lnTo>
                      <a:pt x="495" y="202"/>
                    </a:lnTo>
                    <a:lnTo>
                      <a:pt x="498" y="202"/>
                    </a:lnTo>
                    <a:lnTo>
                      <a:pt x="501" y="201"/>
                    </a:lnTo>
                    <a:lnTo>
                      <a:pt x="502" y="201"/>
                    </a:lnTo>
                    <a:lnTo>
                      <a:pt x="504" y="201"/>
                    </a:lnTo>
                    <a:lnTo>
                      <a:pt x="505" y="202"/>
                    </a:lnTo>
                    <a:lnTo>
                      <a:pt x="506" y="202"/>
                    </a:lnTo>
                    <a:lnTo>
                      <a:pt x="508" y="202"/>
                    </a:lnTo>
                    <a:lnTo>
                      <a:pt x="509" y="202"/>
                    </a:lnTo>
                    <a:lnTo>
                      <a:pt x="509" y="201"/>
                    </a:lnTo>
                    <a:lnTo>
                      <a:pt x="510" y="201"/>
                    </a:lnTo>
                    <a:lnTo>
                      <a:pt x="510" y="202"/>
                    </a:lnTo>
                    <a:lnTo>
                      <a:pt x="520" y="202"/>
                    </a:lnTo>
                    <a:lnTo>
                      <a:pt x="521" y="202"/>
                    </a:lnTo>
                    <a:lnTo>
                      <a:pt x="523" y="201"/>
                    </a:lnTo>
                    <a:lnTo>
                      <a:pt x="523" y="200"/>
                    </a:lnTo>
                    <a:lnTo>
                      <a:pt x="524" y="198"/>
                    </a:lnTo>
                    <a:lnTo>
                      <a:pt x="524" y="196"/>
                    </a:lnTo>
                    <a:lnTo>
                      <a:pt x="525" y="194"/>
                    </a:lnTo>
                    <a:lnTo>
                      <a:pt x="526" y="193"/>
                    </a:lnTo>
                    <a:lnTo>
                      <a:pt x="526" y="192"/>
                    </a:lnTo>
                    <a:lnTo>
                      <a:pt x="526" y="189"/>
                    </a:lnTo>
                    <a:lnTo>
                      <a:pt x="527" y="187"/>
                    </a:lnTo>
                    <a:lnTo>
                      <a:pt x="527" y="186"/>
                    </a:lnTo>
                    <a:lnTo>
                      <a:pt x="528" y="185"/>
                    </a:lnTo>
                    <a:lnTo>
                      <a:pt x="528" y="185"/>
                    </a:lnTo>
                    <a:lnTo>
                      <a:pt x="530" y="186"/>
                    </a:lnTo>
                    <a:lnTo>
                      <a:pt x="531" y="187"/>
                    </a:lnTo>
                    <a:lnTo>
                      <a:pt x="532" y="188"/>
                    </a:lnTo>
                    <a:lnTo>
                      <a:pt x="531" y="186"/>
                    </a:lnTo>
                    <a:lnTo>
                      <a:pt x="530" y="185"/>
                    </a:lnTo>
                    <a:lnTo>
                      <a:pt x="528" y="183"/>
                    </a:lnTo>
                    <a:lnTo>
                      <a:pt x="527" y="182"/>
                    </a:lnTo>
                    <a:lnTo>
                      <a:pt x="527" y="182"/>
                    </a:lnTo>
                    <a:lnTo>
                      <a:pt x="527" y="181"/>
                    </a:lnTo>
                    <a:lnTo>
                      <a:pt x="528" y="180"/>
                    </a:lnTo>
                    <a:lnTo>
                      <a:pt x="530" y="180"/>
                    </a:lnTo>
                    <a:lnTo>
                      <a:pt x="528" y="180"/>
                    </a:lnTo>
                    <a:lnTo>
                      <a:pt x="527" y="179"/>
                    </a:lnTo>
                    <a:lnTo>
                      <a:pt x="528" y="178"/>
                    </a:lnTo>
                    <a:lnTo>
                      <a:pt x="528" y="177"/>
                    </a:lnTo>
                    <a:lnTo>
                      <a:pt x="528" y="177"/>
                    </a:lnTo>
                    <a:lnTo>
                      <a:pt x="528" y="177"/>
                    </a:lnTo>
                    <a:lnTo>
                      <a:pt x="527" y="177"/>
                    </a:lnTo>
                    <a:lnTo>
                      <a:pt x="527" y="177"/>
                    </a:lnTo>
                    <a:lnTo>
                      <a:pt x="527" y="177"/>
                    </a:lnTo>
                    <a:lnTo>
                      <a:pt x="527" y="175"/>
                    </a:lnTo>
                    <a:lnTo>
                      <a:pt x="526" y="175"/>
                    </a:lnTo>
                    <a:lnTo>
                      <a:pt x="524" y="174"/>
                    </a:lnTo>
                    <a:lnTo>
                      <a:pt x="523" y="174"/>
                    </a:lnTo>
                    <a:lnTo>
                      <a:pt x="521" y="173"/>
                    </a:lnTo>
                    <a:lnTo>
                      <a:pt x="520" y="173"/>
                    </a:lnTo>
                    <a:lnTo>
                      <a:pt x="519" y="172"/>
                    </a:lnTo>
                    <a:lnTo>
                      <a:pt x="519" y="171"/>
                    </a:lnTo>
                    <a:lnTo>
                      <a:pt x="519" y="170"/>
                    </a:lnTo>
                    <a:lnTo>
                      <a:pt x="520" y="170"/>
                    </a:lnTo>
                    <a:lnTo>
                      <a:pt x="519" y="168"/>
                    </a:lnTo>
                    <a:lnTo>
                      <a:pt x="519" y="168"/>
                    </a:lnTo>
                    <a:lnTo>
                      <a:pt x="519" y="168"/>
                    </a:lnTo>
                    <a:lnTo>
                      <a:pt x="520" y="168"/>
                    </a:lnTo>
                    <a:lnTo>
                      <a:pt x="520" y="168"/>
                    </a:lnTo>
                    <a:lnTo>
                      <a:pt x="519" y="168"/>
                    </a:lnTo>
                    <a:lnTo>
                      <a:pt x="518" y="168"/>
                    </a:lnTo>
                    <a:lnTo>
                      <a:pt x="518" y="167"/>
                    </a:lnTo>
                    <a:lnTo>
                      <a:pt x="517" y="167"/>
                    </a:lnTo>
                    <a:lnTo>
                      <a:pt x="517" y="166"/>
                    </a:lnTo>
                    <a:lnTo>
                      <a:pt x="518" y="166"/>
                    </a:lnTo>
                    <a:lnTo>
                      <a:pt x="518" y="166"/>
                    </a:lnTo>
                    <a:lnTo>
                      <a:pt x="517" y="165"/>
                    </a:lnTo>
                    <a:lnTo>
                      <a:pt x="516" y="165"/>
                    </a:lnTo>
                    <a:lnTo>
                      <a:pt x="516" y="165"/>
                    </a:lnTo>
                    <a:lnTo>
                      <a:pt x="516" y="164"/>
                    </a:lnTo>
                    <a:lnTo>
                      <a:pt x="515" y="164"/>
                    </a:lnTo>
                    <a:lnTo>
                      <a:pt x="513" y="163"/>
                    </a:lnTo>
                    <a:lnTo>
                      <a:pt x="513" y="164"/>
                    </a:lnTo>
                    <a:lnTo>
                      <a:pt x="512" y="164"/>
                    </a:lnTo>
                    <a:lnTo>
                      <a:pt x="512" y="165"/>
                    </a:lnTo>
                    <a:lnTo>
                      <a:pt x="511" y="165"/>
                    </a:lnTo>
                    <a:lnTo>
                      <a:pt x="510" y="163"/>
                    </a:lnTo>
                    <a:lnTo>
                      <a:pt x="510" y="163"/>
                    </a:lnTo>
                    <a:lnTo>
                      <a:pt x="509" y="163"/>
                    </a:lnTo>
                    <a:lnTo>
                      <a:pt x="506" y="162"/>
                    </a:lnTo>
                    <a:lnTo>
                      <a:pt x="506" y="160"/>
                    </a:lnTo>
                    <a:lnTo>
                      <a:pt x="505" y="160"/>
                    </a:lnTo>
                    <a:lnTo>
                      <a:pt x="504" y="162"/>
                    </a:lnTo>
                    <a:lnTo>
                      <a:pt x="503" y="162"/>
                    </a:lnTo>
                    <a:lnTo>
                      <a:pt x="503" y="162"/>
                    </a:lnTo>
                    <a:lnTo>
                      <a:pt x="502" y="160"/>
                    </a:lnTo>
                    <a:lnTo>
                      <a:pt x="502" y="159"/>
                    </a:lnTo>
                    <a:lnTo>
                      <a:pt x="501" y="159"/>
                    </a:lnTo>
                    <a:lnTo>
                      <a:pt x="501" y="159"/>
                    </a:lnTo>
                    <a:lnTo>
                      <a:pt x="502" y="158"/>
                    </a:lnTo>
                    <a:lnTo>
                      <a:pt x="503" y="158"/>
                    </a:lnTo>
                    <a:lnTo>
                      <a:pt x="502" y="158"/>
                    </a:lnTo>
                    <a:lnTo>
                      <a:pt x="502" y="158"/>
                    </a:lnTo>
                    <a:lnTo>
                      <a:pt x="502" y="157"/>
                    </a:lnTo>
                    <a:lnTo>
                      <a:pt x="501" y="157"/>
                    </a:lnTo>
                    <a:lnTo>
                      <a:pt x="501" y="157"/>
                    </a:lnTo>
                    <a:lnTo>
                      <a:pt x="499" y="156"/>
                    </a:lnTo>
                    <a:lnTo>
                      <a:pt x="499" y="155"/>
                    </a:lnTo>
                    <a:lnTo>
                      <a:pt x="501" y="155"/>
                    </a:lnTo>
                    <a:lnTo>
                      <a:pt x="502" y="155"/>
                    </a:lnTo>
                    <a:lnTo>
                      <a:pt x="503" y="155"/>
                    </a:lnTo>
                    <a:lnTo>
                      <a:pt x="505" y="155"/>
                    </a:lnTo>
                    <a:lnTo>
                      <a:pt x="506" y="155"/>
                    </a:lnTo>
                    <a:lnTo>
                      <a:pt x="506" y="155"/>
                    </a:lnTo>
                    <a:lnTo>
                      <a:pt x="506" y="153"/>
                    </a:lnTo>
                    <a:lnTo>
                      <a:pt x="508" y="152"/>
                    </a:lnTo>
                    <a:lnTo>
                      <a:pt x="509" y="152"/>
                    </a:lnTo>
                    <a:lnTo>
                      <a:pt x="512" y="152"/>
                    </a:lnTo>
                    <a:lnTo>
                      <a:pt x="512" y="155"/>
                    </a:lnTo>
                    <a:lnTo>
                      <a:pt x="513" y="155"/>
                    </a:lnTo>
                    <a:lnTo>
                      <a:pt x="515" y="155"/>
                    </a:lnTo>
                    <a:lnTo>
                      <a:pt x="516" y="155"/>
                    </a:lnTo>
                    <a:lnTo>
                      <a:pt x="517" y="155"/>
                    </a:lnTo>
                    <a:lnTo>
                      <a:pt x="518" y="156"/>
                    </a:lnTo>
                    <a:lnTo>
                      <a:pt x="518" y="156"/>
                    </a:lnTo>
                    <a:lnTo>
                      <a:pt x="519" y="156"/>
                    </a:lnTo>
                    <a:lnTo>
                      <a:pt x="520" y="156"/>
                    </a:lnTo>
                    <a:lnTo>
                      <a:pt x="521" y="156"/>
                    </a:lnTo>
                    <a:lnTo>
                      <a:pt x="521" y="156"/>
                    </a:lnTo>
                    <a:lnTo>
                      <a:pt x="521" y="155"/>
                    </a:lnTo>
                    <a:lnTo>
                      <a:pt x="520" y="155"/>
                    </a:lnTo>
                    <a:lnTo>
                      <a:pt x="521" y="153"/>
                    </a:lnTo>
                    <a:lnTo>
                      <a:pt x="521" y="152"/>
                    </a:lnTo>
                    <a:lnTo>
                      <a:pt x="521" y="152"/>
                    </a:lnTo>
                    <a:lnTo>
                      <a:pt x="523" y="151"/>
                    </a:lnTo>
                    <a:lnTo>
                      <a:pt x="523" y="151"/>
                    </a:lnTo>
                    <a:lnTo>
                      <a:pt x="523" y="150"/>
                    </a:lnTo>
                    <a:lnTo>
                      <a:pt x="521" y="150"/>
                    </a:lnTo>
                    <a:lnTo>
                      <a:pt x="520" y="149"/>
                    </a:lnTo>
                    <a:lnTo>
                      <a:pt x="520" y="145"/>
                    </a:lnTo>
                    <a:lnTo>
                      <a:pt x="524" y="145"/>
                    </a:lnTo>
                    <a:lnTo>
                      <a:pt x="525" y="147"/>
                    </a:lnTo>
                    <a:lnTo>
                      <a:pt x="525" y="148"/>
                    </a:lnTo>
                    <a:lnTo>
                      <a:pt x="526" y="148"/>
                    </a:lnTo>
                    <a:lnTo>
                      <a:pt x="526" y="149"/>
                    </a:lnTo>
                    <a:lnTo>
                      <a:pt x="526" y="150"/>
                    </a:lnTo>
                    <a:lnTo>
                      <a:pt x="526" y="150"/>
                    </a:lnTo>
                    <a:lnTo>
                      <a:pt x="527" y="151"/>
                    </a:lnTo>
                    <a:lnTo>
                      <a:pt x="527" y="151"/>
                    </a:lnTo>
                    <a:lnTo>
                      <a:pt x="528" y="150"/>
                    </a:lnTo>
                    <a:lnTo>
                      <a:pt x="528" y="149"/>
                    </a:lnTo>
                    <a:lnTo>
                      <a:pt x="530" y="149"/>
                    </a:lnTo>
                    <a:lnTo>
                      <a:pt x="531" y="149"/>
                    </a:lnTo>
                    <a:lnTo>
                      <a:pt x="532" y="149"/>
                    </a:lnTo>
                    <a:lnTo>
                      <a:pt x="532" y="148"/>
                    </a:lnTo>
                    <a:lnTo>
                      <a:pt x="533" y="148"/>
                    </a:lnTo>
                    <a:lnTo>
                      <a:pt x="534" y="149"/>
                    </a:lnTo>
                    <a:lnTo>
                      <a:pt x="535" y="149"/>
                    </a:lnTo>
                    <a:lnTo>
                      <a:pt x="535" y="149"/>
                    </a:lnTo>
                    <a:lnTo>
                      <a:pt x="535" y="148"/>
                    </a:lnTo>
                    <a:lnTo>
                      <a:pt x="534" y="148"/>
                    </a:lnTo>
                    <a:lnTo>
                      <a:pt x="534" y="148"/>
                    </a:lnTo>
                    <a:lnTo>
                      <a:pt x="534" y="147"/>
                    </a:lnTo>
                    <a:lnTo>
                      <a:pt x="535" y="145"/>
                    </a:lnTo>
                    <a:lnTo>
                      <a:pt x="536" y="145"/>
                    </a:lnTo>
                    <a:lnTo>
                      <a:pt x="538" y="144"/>
                    </a:lnTo>
                    <a:lnTo>
                      <a:pt x="539" y="144"/>
                    </a:lnTo>
                    <a:lnTo>
                      <a:pt x="539" y="144"/>
                    </a:lnTo>
                    <a:lnTo>
                      <a:pt x="540" y="144"/>
                    </a:lnTo>
                    <a:lnTo>
                      <a:pt x="542" y="144"/>
                    </a:lnTo>
                    <a:lnTo>
                      <a:pt x="543" y="144"/>
                    </a:lnTo>
                    <a:lnTo>
                      <a:pt x="545" y="143"/>
                    </a:lnTo>
                    <a:lnTo>
                      <a:pt x="546" y="142"/>
                    </a:lnTo>
                    <a:lnTo>
                      <a:pt x="546" y="141"/>
                    </a:lnTo>
                    <a:lnTo>
                      <a:pt x="546" y="141"/>
                    </a:lnTo>
                    <a:lnTo>
                      <a:pt x="546" y="141"/>
                    </a:lnTo>
                    <a:lnTo>
                      <a:pt x="546" y="141"/>
                    </a:lnTo>
                    <a:lnTo>
                      <a:pt x="546" y="140"/>
                    </a:lnTo>
                    <a:lnTo>
                      <a:pt x="546" y="138"/>
                    </a:lnTo>
                    <a:lnTo>
                      <a:pt x="547" y="138"/>
                    </a:lnTo>
                    <a:lnTo>
                      <a:pt x="547" y="138"/>
                    </a:lnTo>
                    <a:lnTo>
                      <a:pt x="547" y="138"/>
                    </a:lnTo>
                    <a:lnTo>
                      <a:pt x="547" y="138"/>
                    </a:lnTo>
                    <a:lnTo>
                      <a:pt x="548" y="137"/>
                    </a:lnTo>
                    <a:lnTo>
                      <a:pt x="549" y="137"/>
                    </a:lnTo>
                    <a:lnTo>
                      <a:pt x="553" y="137"/>
                    </a:lnTo>
                    <a:lnTo>
                      <a:pt x="554" y="137"/>
                    </a:lnTo>
                    <a:lnTo>
                      <a:pt x="554" y="136"/>
                    </a:lnTo>
                    <a:lnTo>
                      <a:pt x="555" y="135"/>
                    </a:lnTo>
                    <a:lnTo>
                      <a:pt x="556" y="135"/>
                    </a:lnTo>
                    <a:lnTo>
                      <a:pt x="557" y="134"/>
                    </a:lnTo>
                    <a:lnTo>
                      <a:pt x="560" y="133"/>
                    </a:lnTo>
                    <a:lnTo>
                      <a:pt x="561" y="131"/>
                    </a:lnTo>
                    <a:lnTo>
                      <a:pt x="562" y="131"/>
                    </a:lnTo>
                    <a:lnTo>
                      <a:pt x="563" y="133"/>
                    </a:lnTo>
                    <a:lnTo>
                      <a:pt x="563" y="134"/>
                    </a:lnTo>
                    <a:lnTo>
                      <a:pt x="563" y="134"/>
                    </a:lnTo>
                    <a:lnTo>
                      <a:pt x="564" y="134"/>
                    </a:lnTo>
                    <a:lnTo>
                      <a:pt x="564" y="133"/>
                    </a:lnTo>
                    <a:lnTo>
                      <a:pt x="565" y="133"/>
                    </a:lnTo>
                    <a:lnTo>
                      <a:pt x="566" y="134"/>
                    </a:lnTo>
                    <a:lnTo>
                      <a:pt x="566" y="134"/>
                    </a:lnTo>
                    <a:lnTo>
                      <a:pt x="566" y="133"/>
                    </a:lnTo>
                    <a:lnTo>
                      <a:pt x="566" y="133"/>
                    </a:lnTo>
                    <a:lnTo>
                      <a:pt x="568" y="134"/>
                    </a:lnTo>
                    <a:lnTo>
                      <a:pt x="568" y="133"/>
                    </a:lnTo>
                    <a:lnTo>
                      <a:pt x="568" y="131"/>
                    </a:lnTo>
                    <a:lnTo>
                      <a:pt x="566" y="131"/>
                    </a:lnTo>
                    <a:lnTo>
                      <a:pt x="566" y="131"/>
                    </a:lnTo>
                    <a:lnTo>
                      <a:pt x="564" y="131"/>
                    </a:lnTo>
                    <a:lnTo>
                      <a:pt x="565" y="131"/>
                    </a:lnTo>
                    <a:lnTo>
                      <a:pt x="566" y="131"/>
                    </a:lnTo>
                    <a:lnTo>
                      <a:pt x="566" y="131"/>
                    </a:lnTo>
                    <a:lnTo>
                      <a:pt x="566" y="130"/>
                    </a:lnTo>
                    <a:lnTo>
                      <a:pt x="566" y="130"/>
                    </a:lnTo>
                    <a:lnTo>
                      <a:pt x="565" y="130"/>
                    </a:lnTo>
                    <a:lnTo>
                      <a:pt x="565" y="129"/>
                    </a:lnTo>
                    <a:lnTo>
                      <a:pt x="564" y="128"/>
                    </a:lnTo>
                    <a:lnTo>
                      <a:pt x="565" y="128"/>
                    </a:lnTo>
                    <a:lnTo>
                      <a:pt x="566" y="127"/>
                    </a:lnTo>
                    <a:lnTo>
                      <a:pt x="566" y="126"/>
                    </a:lnTo>
                    <a:lnTo>
                      <a:pt x="568" y="125"/>
                    </a:lnTo>
                    <a:lnTo>
                      <a:pt x="568" y="123"/>
                    </a:lnTo>
                    <a:lnTo>
                      <a:pt x="569" y="122"/>
                    </a:lnTo>
                    <a:lnTo>
                      <a:pt x="569" y="121"/>
                    </a:lnTo>
                    <a:lnTo>
                      <a:pt x="570" y="121"/>
                    </a:lnTo>
                    <a:lnTo>
                      <a:pt x="570" y="122"/>
                    </a:lnTo>
                    <a:lnTo>
                      <a:pt x="571" y="122"/>
                    </a:lnTo>
                    <a:lnTo>
                      <a:pt x="571" y="121"/>
                    </a:lnTo>
                    <a:lnTo>
                      <a:pt x="571" y="121"/>
                    </a:lnTo>
                    <a:lnTo>
                      <a:pt x="571" y="123"/>
                    </a:lnTo>
                    <a:lnTo>
                      <a:pt x="572" y="123"/>
                    </a:lnTo>
                    <a:lnTo>
                      <a:pt x="572" y="123"/>
                    </a:lnTo>
                    <a:lnTo>
                      <a:pt x="572" y="125"/>
                    </a:lnTo>
                    <a:lnTo>
                      <a:pt x="571" y="125"/>
                    </a:lnTo>
                    <a:lnTo>
                      <a:pt x="571" y="127"/>
                    </a:lnTo>
                    <a:lnTo>
                      <a:pt x="573" y="127"/>
                    </a:lnTo>
                    <a:lnTo>
                      <a:pt x="573" y="126"/>
                    </a:lnTo>
                    <a:lnTo>
                      <a:pt x="573" y="125"/>
                    </a:lnTo>
                    <a:lnTo>
                      <a:pt x="575" y="125"/>
                    </a:lnTo>
                    <a:lnTo>
                      <a:pt x="575" y="123"/>
                    </a:lnTo>
                    <a:lnTo>
                      <a:pt x="576" y="122"/>
                    </a:lnTo>
                    <a:lnTo>
                      <a:pt x="576" y="122"/>
                    </a:lnTo>
                    <a:lnTo>
                      <a:pt x="576" y="121"/>
                    </a:lnTo>
                    <a:lnTo>
                      <a:pt x="575" y="121"/>
                    </a:lnTo>
                    <a:lnTo>
                      <a:pt x="573" y="121"/>
                    </a:lnTo>
                    <a:lnTo>
                      <a:pt x="573" y="121"/>
                    </a:lnTo>
                    <a:lnTo>
                      <a:pt x="573" y="120"/>
                    </a:lnTo>
                    <a:lnTo>
                      <a:pt x="575" y="120"/>
                    </a:lnTo>
                    <a:lnTo>
                      <a:pt x="575" y="119"/>
                    </a:lnTo>
                    <a:lnTo>
                      <a:pt x="575" y="118"/>
                    </a:lnTo>
                    <a:lnTo>
                      <a:pt x="578" y="118"/>
                    </a:lnTo>
                    <a:lnTo>
                      <a:pt x="579" y="119"/>
                    </a:lnTo>
                    <a:lnTo>
                      <a:pt x="580" y="119"/>
                    </a:lnTo>
                    <a:lnTo>
                      <a:pt x="581" y="118"/>
                    </a:lnTo>
                    <a:lnTo>
                      <a:pt x="581" y="118"/>
                    </a:lnTo>
                    <a:lnTo>
                      <a:pt x="581" y="120"/>
                    </a:lnTo>
                    <a:lnTo>
                      <a:pt x="583" y="119"/>
                    </a:lnTo>
                    <a:lnTo>
                      <a:pt x="583" y="118"/>
                    </a:lnTo>
                    <a:lnTo>
                      <a:pt x="583" y="118"/>
                    </a:lnTo>
                    <a:lnTo>
                      <a:pt x="584" y="118"/>
                    </a:lnTo>
                    <a:lnTo>
                      <a:pt x="585" y="118"/>
                    </a:lnTo>
                    <a:lnTo>
                      <a:pt x="586" y="116"/>
                    </a:lnTo>
                    <a:lnTo>
                      <a:pt x="586" y="116"/>
                    </a:lnTo>
                    <a:lnTo>
                      <a:pt x="586" y="116"/>
                    </a:lnTo>
                    <a:lnTo>
                      <a:pt x="587" y="116"/>
                    </a:lnTo>
                    <a:lnTo>
                      <a:pt x="591" y="116"/>
                    </a:lnTo>
                    <a:lnTo>
                      <a:pt x="591" y="118"/>
                    </a:lnTo>
                    <a:lnTo>
                      <a:pt x="593" y="118"/>
                    </a:lnTo>
                    <a:lnTo>
                      <a:pt x="592" y="118"/>
                    </a:lnTo>
                    <a:lnTo>
                      <a:pt x="592" y="118"/>
                    </a:lnTo>
                    <a:lnTo>
                      <a:pt x="592" y="118"/>
                    </a:lnTo>
                    <a:lnTo>
                      <a:pt x="593" y="116"/>
                    </a:lnTo>
                    <a:lnTo>
                      <a:pt x="593" y="116"/>
                    </a:lnTo>
                    <a:lnTo>
                      <a:pt x="593" y="116"/>
                    </a:lnTo>
                    <a:lnTo>
                      <a:pt x="594" y="116"/>
                    </a:lnTo>
                    <a:lnTo>
                      <a:pt x="594" y="118"/>
                    </a:lnTo>
                    <a:lnTo>
                      <a:pt x="594" y="116"/>
                    </a:lnTo>
                    <a:lnTo>
                      <a:pt x="594" y="115"/>
                    </a:lnTo>
                    <a:lnTo>
                      <a:pt x="594" y="114"/>
                    </a:lnTo>
                    <a:lnTo>
                      <a:pt x="595" y="114"/>
                    </a:lnTo>
                    <a:lnTo>
                      <a:pt x="596" y="114"/>
                    </a:lnTo>
                    <a:lnTo>
                      <a:pt x="596" y="114"/>
                    </a:lnTo>
                    <a:lnTo>
                      <a:pt x="598" y="114"/>
                    </a:lnTo>
                    <a:lnTo>
                      <a:pt x="599" y="113"/>
                    </a:lnTo>
                    <a:lnTo>
                      <a:pt x="600" y="114"/>
                    </a:lnTo>
                    <a:lnTo>
                      <a:pt x="600" y="114"/>
                    </a:lnTo>
                    <a:lnTo>
                      <a:pt x="600" y="115"/>
                    </a:lnTo>
                    <a:lnTo>
                      <a:pt x="600" y="115"/>
                    </a:lnTo>
                    <a:lnTo>
                      <a:pt x="601" y="116"/>
                    </a:lnTo>
                    <a:lnTo>
                      <a:pt x="601" y="115"/>
                    </a:lnTo>
                    <a:lnTo>
                      <a:pt x="600" y="114"/>
                    </a:lnTo>
                    <a:lnTo>
                      <a:pt x="599" y="114"/>
                    </a:lnTo>
                    <a:lnTo>
                      <a:pt x="598" y="113"/>
                    </a:lnTo>
                    <a:lnTo>
                      <a:pt x="596" y="113"/>
                    </a:lnTo>
                    <a:lnTo>
                      <a:pt x="596" y="112"/>
                    </a:lnTo>
                    <a:lnTo>
                      <a:pt x="596" y="112"/>
                    </a:lnTo>
                    <a:lnTo>
                      <a:pt x="596" y="111"/>
                    </a:lnTo>
                    <a:lnTo>
                      <a:pt x="596" y="111"/>
                    </a:lnTo>
                    <a:lnTo>
                      <a:pt x="595" y="110"/>
                    </a:lnTo>
                    <a:lnTo>
                      <a:pt x="595" y="110"/>
                    </a:lnTo>
                    <a:lnTo>
                      <a:pt x="594" y="110"/>
                    </a:lnTo>
                    <a:lnTo>
                      <a:pt x="594" y="110"/>
                    </a:lnTo>
                    <a:lnTo>
                      <a:pt x="594" y="108"/>
                    </a:lnTo>
                    <a:lnTo>
                      <a:pt x="593" y="107"/>
                    </a:lnTo>
                    <a:lnTo>
                      <a:pt x="593" y="106"/>
                    </a:lnTo>
                    <a:lnTo>
                      <a:pt x="593" y="106"/>
                    </a:lnTo>
                    <a:lnTo>
                      <a:pt x="593" y="105"/>
                    </a:lnTo>
                    <a:lnTo>
                      <a:pt x="593" y="104"/>
                    </a:lnTo>
                    <a:lnTo>
                      <a:pt x="593" y="104"/>
                    </a:lnTo>
                    <a:lnTo>
                      <a:pt x="593" y="104"/>
                    </a:lnTo>
                    <a:lnTo>
                      <a:pt x="592" y="103"/>
                    </a:lnTo>
                    <a:lnTo>
                      <a:pt x="592" y="103"/>
                    </a:lnTo>
                    <a:lnTo>
                      <a:pt x="591" y="103"/>
                    </a:lnTo>
                    <a:lnTo>
                      <a:pt x="591" y="103"/>
                    </a:lnTo>
                    <a:lnTo>
                      <a:pt x="591" y="101"/>
                    </a:lnTo>
                    <a:lnTo>
                      <a:pt x="590" y="101"/>
                    </a:lnTo>
                    <a:lnTo>
                      <a:pt x="590" y="100"/>
                    </a:lnTo>
                    <a:lnTo>
                      <a:pt x="591" y="100"/>
                    </a:lnTo>
                    <a:lnTo>
                      <a:pt x="591" y="99"/>
                    </a:lnTo>
                    <a:lnTo>
                      <a:pt x="590" y="98"/>
                    </a:lnTo>
                    <a:lnTo>
                      <a:pt x="590" y="98"/>
                    </a:lnTo>
                    <a:lnTo>
                      <a:pt x="590" y="98"/>
                    </a:lnTo>
                    <a:lnTo>
                      <a:pt x="588" y="97"/>
                    </a:lnTo>
                    <a:lnTo>
                      <a:pt x="588" y="93"/>
                    </a:lnTo>
                    <a:lnTo>
                      <a:pt x="588" y="93"/>
                    </a:lnTo>
                    <a:lnTo>
                      <a:pt x="587" y="92"/>
                    </a:lnTo>
                    <a:lnTo>
                      <a:pt x="587" y="92"/>
                    </a:lnTo>
                    <a:lnTo>
                      <a:pt x="587" y="92"/>
                    </a:lnTo>
                    <a:lnTo>
                      <a:pt x="588" y="91"/>
                    </a:lnTo>
                    <a:lnTo>
                      <a:pt x="588" y="91"/>
                    </a:lnTo>
                    <a:lnTo>
                      <a:pt x="590" y="91"/>
                    </a:lnTo>
                    <a:lnTo>
                      <a:pt x="591" y="92"/>
                    </a:lnTo>
                    <a:lnTo>
                      <a:pt x="591" y="92"/>
                    </a:lnTo>
                    <a:lnTo>
                      <a:pt x="592" y="93"/>
                    </a:lnTo>
                    <a:lnTo>
                      <a:pt x="592" y="92"/>
                    </a:lnTo>
                    <a:lnTo>
                      <a:pt x="593" y="92"/>
                    </a:lnTo>
                    <a:lnTo>
                      <a:pt x="592" y="91"/>
                    </a:lnTo>
                    <a:lnTo>
                      <a:pt x="592" y="91"/>
                    </a:lnTo>
                    <a:lnTo>
                      <a:pt x="592" y="91"/>
                    </a:lnTo>
                    <a:lnTo>
                      <a:pt x="593" y="90"/>
                    </a:lnTo>
                    <a:lnTo>
                      <a:pt x="594" y="90"/>
                    </a:lnTo>
                    <a:lnTo>
                      <a:pt x="594" y="90"/>
                    </a:lnTo>
                    <a:lnTo>
                      <a:pt x="594" y="92"/>
                    </a:lnTo>
                    <a:lnTo>
                      <a:pt x="593" y="92"/>
                    </a:lnTo>
                    <a:lnTo>
                      <a:pt x="593" y="92"/>
                    </a:lnTo>
                    <a:lnTo>
                      <a:pt x="594" y="92"/>
                    </a:lnTo>
                    <a:lnTo>
                      <a:pt x="594" y="92"/>
                    </a:lnTo>
                    <a:lnTo>
                      <a:pt x="594" y="91"/>
                    </a:lnTo>
                    <a:lnTo>
                      <a:pt x="594" y="91"/>
                    </a:lnTo>
                    <a:lnTo>
                      <a:pt x="595" y="90"/>
                    </a:lnTo>
                    <a:lnTo>
                      <a:pt x="596" y="90"/>
                    </a:lnTo>
                    <a:lnTo>
                      <a:pt x="598" y="90"/>
                    </a:lnTo>
                    <a:lnTo>
                      <a:pt x="599" y="90"/>
                    </a:lnTo>
                    <a:lnTo>
                      <a:pt x="599" y="91"/>
                    </a:lnTo>
                    <a:lnTo>
                      <a:pt x="600" y="92"/>
                    </a:lnTo>
                    <a:lnTo>
                      <a:pt x="600" y="92"/>
                    </a:lnTo>
                    <a:lnTo>
                      <a:pt x="600" y="92"/>
                    </a:lnTo>
                    <a:lnTo>
                      <a:pt x="600" y="93"/>
                    </a:lnTo>
                    <a:lnTo>
                      <a:pt x="600" y="93"/>
                    </a:lnTo>
                    <a:lnTo>
                      <a:pt x="600" y="93"/>
                    </a:lnTo>
                    <a:lnTo>
                      <a:pt x="600" y="93"/>
                    </a:lnTo>
                    <a:lnTo>
                      <a:pt x="601" y="95"/>
                    </a:lnTo>
                    <a:lnTo>
                      <a:pt x="601" y="95"/>
                    </a:lnTo>
                    <a:lnTo>
                      <a:pt x="601" y="95"/>
                    </a:lnTo>
                    <a:lnTo>
                      <a:pt x="601" y="96"/>
                    </a:lnTo>
                    <a:lnTo>
                      <a:pt x="601" y="95"/>
                    </a:lnTo>
                    <a:lnTo>
                      <a:pt x="602" y="95"/>
                    </a:lnTo>
                    <a:lnTo>
                      <a:pt x="603" y="95"/>
                    </a:lnTo>
                    <a:lnTo>
                      <a:pt x="605" y="95"/>
                    </a:lnTo>
                    <a:lnTo>
                      <a:pt x="605" y="96"/>
                    </a:lnTo>
                    <a:lnTo>
                      <a:pt x="606" y="96"/>
                    </a:lnTo>
                    <a:lnTo>
                      <a:pt x="605" y="97"/>
                    </a:lnTo>
                    <a:lnTo>
                      <a:pt x="605" y="97"/>
                    </a:lnTo>
                    <a:lnTo>
                      <a:pt x="603" y="97"/>
                    </a:lnTo>
                    <a:lnTo>
                      <a:pt x="602" y="97"/>
                    </a:lnTo>
                    <a:lnTo>
                      <a:pt x="602" y="98"/>
                    </a:lnTo>
                    <a:lnTo>
                      <a:pt x="602" y="98"/>
                    </a:lnTo>
                    <a:lnTo>
                      <a:pt x="601" y="99"/>
                    </a:lnTo>
                    <a:lnTo>
                      <a:pt x="600" y="99"/>
                    </a:lnTo>
                    <a:lnTo>
                      <a:pt x="600" y="100"/>
                    </a:lnTo>
                    <a:lnTo>
                      <a:pt x="600" y="100"/>
                    </a:lnTo>
                    <a:lnTo>
                      <a:pt x="599" y="100"/>
                    </a:lnTo>
                    <a:lnTo>
                      <a:pt x="599" y="101"/>
                    </a:lnTo>
                    <a:lnTo>
                      <a:pt x="599" y="101"/>
                    </a:lnTo>
                    <a:lnTo>
                      <a:pt x="598" y="103"/>
                    </a:lnTo>
                    <a:lnTo>
                      <a:pt x="596" y="103"/>
                    </a:lnTo>
                    <a:lnTo>
                      <a:pt x="596" y="104"/>
                    </a:lnTo>
                    <a:lnTo>
                      <a:pt x="598" y="104"/>
                    </a:lnTo>
                    <a:lnTo>
                      <a:pt x="598" y="106"/>
                    </a:lnTo>
                    <a:lnTo>
                      <a:pt x="600" y="106"/>
                    </a:lnTo>
                    <a:lnTo>
                      <a:pt x="600" y="107"/>
                    </a:lnTo>
                    <a:lnTo>
                      <a:pt x="600" y="107"/>
                    </a:lnTo>
                    <a:lnTo>
                      <a:pt x="600" y="107"/>
                    </a:lnTo>
                    <a:lnTo>
                      <a:pt x="601" y="108"/>
                    </a:lnTo>
                    <a:lnTo>
                      <a:pt x="601" y="110"/>
                    </a:lnTo>
                    <a:lnTo>
                      <a:pt x="601" y="108"/>
                    </a:lnTo>
                    <a:lnTo>
                      <a:pt x="602" y="108"/>
                    </a:lnTo>
                    <a:lnTo>
                      <a:pt x="602" y="108"/>
                    </a:lnTo>
                    <a:lnTo>
                      <a:pt x="603" y="110"/>
                    </a:lnTo>
                    <a:lnTo>
                      <a:pt x="607" y="110"/>
                    </a:lnTo>
                    <a:lnTo>
                      <a:pt x="608" y="111"/>
                    </a:lnTo>
                    <a:lnTo>
                      <a:pt x="608" y="111"/>
                    </a:lnTo>
                    <a:lnTo>
                      <a:pt x="608" y="112"/>
                    </a:lnTo>
                    <a:lnTo>
                      <a:pt x="607" y="112"/>
                    </a:lnTo>
                    <a:lnTo>
                      <a:pt x="607" y="112"/>
                    </a:lnTo>
                    <a:lnTo>
                      <a:pt x="606" y="112"/>
                    </a:lnTo>
                    <a:lnTo>
                      <a:pt x="607" y="113"/>
                    </a:lnTo>
                    <a:lnTo>
                      <a:pt x="610" y="113"/>
                    </a:lnTo>
                    <a:lnTo>
                      <a:pt x="611" y="113"/>
                    </a:lnTo>
                    <a:lnTo>
                      <a:pt x="613" y="113"/>
                    </a:lnTo>
                    <a:lnTo>
                      <a:pt x="613" y="113"/>
                    </a:lnTo>
                    <a:lnTo>
                      <a:pt x="614" y="113"/>
                    </a:lnTo>
                    <a:lnTo>
                      <a:pt x="617" y="113"/>
                    </a:lnTo>
                    <a:lnTo>
                      <a:pt x="617" y="113"/>
                    </a:lnTo>
                    <a:lnTo>
                      <a:pt x="618" y="113"/>
                    </a:lnTo>
                    <a:lnTo>
                      <a:pt x="620" y="113"/>
                    </a:lnTo>
                    <a:lnTo>
                      <a:pt x="621" y="113"/>
                    </a:lnTo>
                    <a:lnTo>
                      <a:pt x="622" y="112"/>
                    </a:lnTo>
                    <a:lnTo>
                      <a:pt x="622" y="112"/>
                    </a:lnTo>
                    <a:lnTo>
                      <a:pt x="623" y="111"/>
                    </a:lnTo>
                    <a:lnTo>
                      <a:pt x="624" y="111"/>
                    </a:lnTo>
                    <a:lnTo>
                      <a:pt x="623" y="112"/>
                    </a:lnTo>
                    <a:lnTo>
                      <a:pt x="623" y="112"/>
                    </a:lnTo>
                    <a:lnTo>
                      <a:pt x="623" y="113"/>
                    </a:lnTo>
                    <a:lnTo>
                      <a:pt x="624" y="113"/>
                    </a:lnTo>
                    <a:lnTo>
                      <a:pt x="625" y="111"/>
                    </a:lnTo>
                    <a:lnTo>
                      <a:pt x="626" y="111"/>
                    </a:lnTo>
                    <a:lnTo>
                      <a:pt x="628" y="111"/>
                    </a:lnTo>
                    <a:lnTo>
                      <a:pt x="628" y="112"/>
                    </a:lnTo>
                    <a:lnTo>
                      <a:pt x="629" y="113"/>
                    </a:lnTo>
                    <a:lnTo>
                      <a:pt x="630" y="112"/>
                    </a:lnTo>
                    <a:lnTo>
                      <a:pt x="630" y="112"/>
                    </a:lnTo>
                    <a:lnTo>
                      <a:pt x="630" y="111"/>
                    </a:lnTo>
                    <a:lnTo>
                      <a:pt x="630" y="111"/>
                    </a:lnTo>
                    <a:lnTo>
                      <a:pt x="631" y="111"/>
                    </a:lnTo>
                    <a:lnTo>
                      <a:pt x="631" y="111"/>
                    </a:lnTo>
                    <a:lnTo>
                      <a:pt x="632" y="112"/>
                    </a:lnTo>
                    <a:lnTo>
                      <a:pt x="632" y="112"/>
                    </a:lnTo>
                    <a:lnTo>
                      <a:pt x="632" y="113"/>
                    </a:lnTo>
                    <a:lnTo>
                      <a:pt x="633" y="113"/>
                    </a:lnTo>
                    <a:lnTo>
                      <a:pt x="633" y="114"/>
                    </a:lnTo>
                    <a:lnTo>
                      <a:pt x="635" y="114"/>
                    </a:lnTo>
                    <a:lnTo>
                      <a:pt x="636" y="114"/>
                    </a:lnTo>
                    <a:lnTo>
                      <a:pt x="637" y="114"/>
                    </a:lnTo>
                    <a:lnTo>
                      <a:pt x="637" y="114"/>
                    </a:lnTo>
                    <a:lnTo>
                      <a:pt x="637" y="113"/>
                    </a:lnTo>
                    <a:lnTo>
                      <a:pt x="638" y="113"/>
                    </a:lnTo>
                    <a:lnTo>
                      <a:pt x="639" y="113"/>
                    </a:lnTo>
                    <a:lnTo>
                      <a:pt x="641" y="112"/>
                    </a:lnTo>
                    <a:lnTo>
                      <a:pt x="643" y="112"/>
                    </a:lnTo>
                    <a:lnTo>
                      <a:pt x="644" y="111"/>
                    </a:lnTo>
                    <a:lnTo>
                      <a:pt x="646" y="111"/>
                    </a:lnTo>
                    <a:lnTo>
                      <a:pt x="648" y="111"/>
                    </a:lnTo>
                    <a:lnTo>
                      <a:pt x="651" y="112"/>
                    </a:lnTo>
                    <a:lnTo>
                      <a:pt x="652" y="112"/>
                    </a:lnTo>
                    <a:lnTo>
                      <a:pt x="654" y="111"/>
                    </a:lnTo>
                    <a:lnTo>
                      <a:pt x="654" y="110"/>
                    </a:lnTo>
                    <a:lnTo>
                      <a:pt x="655" y="110"/>
                    </a:lnTo>
                    <a:lnTo>
                      <a:pt x="657" y="108"/>
                    </a:lnTo>
                    <a:lnTo>
                      <a:pt x="659" y="107"/>
                    </a:lnTo>
                    <a:lnTo>
                      <a:pt x="661" y="107"/>
                    </a:lnTo>
                    <a:lnTo>
                      <a:pt x="663" y="107"/>
                    </a:lnTo>
                    <a:lnTo>
                      <a:pt x="666" y="108"/>
                    </a:lnTo>
                    <a:lnTo>
                      <a:pt x="668" y="110"/>
                    </a:lnTo>
                    <a:lnTo>
                      <a:pt x="669" y="110"/>
                    </a:lnTo>
                    <a:lnTo>
                      <a:pt x="670" y="110"/>
                    </a:lnTo>
                    <a:lnTo>
                      <a:pt x="670" y="111"/>
                    </a:lnTo>
                    <a:lnTo>
                      <a:pt x="672" y="111"/>
                    </a:lnTo>
                    <a:lnTo>
                      <a:pt x="669" y="111"/>
                    </a:lnTo>
                    <a:lnTo>
                      <a:pt x="669" y="111"/>
                    </a:lnTo>
                    <a:lnTo>
                      <a:pt x="668" y="111"/>
                    </a:lnTo>
                    <a:lnTo>
                      <a:pt x="668" y="110"/>
                    </a:lnTo>
                    <a:lnTo>
                      <a:pt x="668" y="111"/>
                    </a:lnTo>
                    <a:lnTo>
                      <a:pt x="668" y="111"/>
                    </a:lnTo>
                    <a:lnTo>
                      <a:pt x="668" y="111"/>
                    </a:lnTo>
                    <a:lnTo>
                      <a:pt x="668" y="112"/>
                    </a:lnTo>
                    <a:lnTo>
                      <a:pt x="669" y="113"/>
                    </a:lnTo>
                    <a:lnTo>
                      <a:pt x="673" y="113"/>
                    </a:lnTo>
                    <a:lnTo>
                      <a:pt x="673" y="113"/>
                    </a:lnTo>
                    <a:lnTo>
                      <a:pt x="674" y="113"/>
                    </a:lnTo>
                    <a:lnTo>
                      <a:pt x="674" y="112"/>
                    </a:lnTo>
                    <a:lnTo>
                      <a:pt x="675" y="111"/>
                    </a:lnTo>
                    <a:lnTo>
                      <a:pt x="675" y="110"/>
                    </a:lnTo>
                    <a:lnTo>
                      <a:pt x="678" y="110"/>
                    </a:lnTo>
                    <a:lnTo>
                      <a:pt x="678" y="108"/>
                    </a:lnTo>
                    <a:lnTo>
                      <a:pt x="680" y="108"/>
                    </a:lnTo>
                    <a:lnTo>
                      <a:pt x="681" y="107"/>
                    </a:lnTo>
                    <a:lnTo>
                      <a:pt x="682" y="107"/>
                    </a:lnTo>
                    <a:lnTo>
                      <a:pt x="682" y="106"/>
                    </a:lnTo>
                    <a:lnTo>
                      <a:pt x="682" y="106"/>
                    </a:lnTo>
                    <a:lnTo>
                      <a:pt x="682" y="107"/>
                    </a:lnTo>
                    <a:lnTo>
                      <a:pt x="682" y="108"/>
                    </a:lnTo>
                    <a:lnTo>
                      <a:pt x="682" y="108"/>
                    </a:lnTo>
                    <a:lnTo>
                      <a:pt x="682" y="110"/>
                    </a:lnTo>
                    <a:lnTo>
                      <a:pt x="682" y="108"/>
                    </a:lnTo>
                    <a:lnTo>
                      <a:pt x="683" y="107"/>
                    </a:lnTo>
                    <a:lnTo>
                      <a:pt x="683" y="106"/>
                    </a:lnTo>
                    <a:lnTo>
                      <a:pt x="683" y="106"/>
                    </a:lnTo>
                    <a:lnTo>
                      <a:pt x="683" y="105"/>
                    </a:lnTo>
                    <a:lnTo>
                      <a:pt x="683" y="104"/>
                    </a:lnTo>
                    <a:lnTo>
                      <a:pt x="683" y="103"/>
                    </a:lnTo>
                    <a:lnTo>
                      <a:pt x="682" y="100"/>
                    </a:lnTo>
                    <a:lnTo>
                      <a:pt x="682" y="99"/>
                    </a:lnTo>
                    <a:lnTo>
                      <a:pt x="682" y="98"/>
                    </a:lnTo>
                    <a:lnTo>
                      <a:pt x="682" y="97"/>
                    </a:lnTo>
                    <a:lnTo>
                      <a:pt x="683" y="96"/>
                    </a:lnTo>
                    <a:lnTo>
                      <a:pt x="684" y="95"/>
                    </a:lnTo>
                    <a:lnTo>
                      <a:pt x="683" y="93"/>
                    </a:lnTo>
                    <a:lnTo>
                      <a:pt x="683" y="92"/>
                    </a:lnTo>
                    <a:lnTo>
                      <a:pt x="683" y="91"/>
                    </a:lnTo>
                    <a:lnTo>
                      <a:pt x="683" y="90"/>
                    </a:lnTo>
                    <a:lnTo>
                      <a:pt x="684" y="89"/>
                    </a:lnTo>
                    <a:lnTo>
                      <a:pt x="685" y="89"/>
                    </a:lnTo>
                    <a:lnTo>
                      <a:pt x="685" y="89"/>
                    </a:lnTo>
                    <a:lnTo>
                      <a:pt x="687" y="88"/>
                    </a:lnTo>
                    <a:lnTo>
                      <a:pt x="689" y="86"/>
                    </a:lnTo>
                    <a:lnTo>
                      <a:pt x="690" y="86"/>
                    </a:lnTo>
                    <a:lnTo>
                      <a:pt x="690" y="86"/>
                    </a:lnTo>
                    <a:lnTo>
                      <a:pt x="690" y="88"/>
                    </a:lnTo>
                    <a:lnTo>
                      <a:pt x="690" y="88"/>
                    </a:lnTo>
                    <a:lnTo>
                      <a:pt x="690" y="88"/>
                    </a:lnTo>
                    <a:lnTo>
                      <a:pt x="691" y="89"/>
                    </a:lnTo>
                    <a:lnTo>
                      <a:pt x="692" y="89"/>
                    </a:lnTo>
                    <a:lnTo>
                      <a:pt x="692" y="90"/>
                    </a:lnTo>
                    <a:lnTo>
                      <a:pt x="693" y="90"/>
                    </a:lnTo>
                    <a:lnTo>
                      <a:pt x="695" y="90"/>
                    </a:lnTo>
                    <a:lnTo>
                      <a:pt x="696" y="92"/>
                    </a:lnTo>
                    <a:lnTo>
                      <a:pt x="696" y="93"/>
                    </a:lnTo>
                    <a:lnTo>
                      <a:pt x="697" y="93"/>
                    </a:lnTo>
                    <a:lnTo>
                      <a:pt x="698" y="93"/>
                    </a:lnTo>
                    <a:lnTo>
                      <a:pt x="699" y="95"/>
                    </a:lnTo>
                    <a:lnTo>
                      <a:pt x="700" y="95"/>
                    </a:lnTo>
                    <a:lnTo>
                      <a:pt x="700" y="93"/>
                    </a:lnTo>
                    <a:lnTo>
                      <a:pt x="702" y="93"/>
                    </a:lnTo>
                    <a:lnTo>
                      <a:pt x="702" y="93"/>
                    </a:lnTo>
                    <a:lnTo>
                      <a:pt x="703" y="93"/>
                    </a:lnTo>
                    <a:lnTo>
                      <a:pt x="704" y="92"/>
                    </a:lnTo>
                    <a:lnTo>
                      <a:pt x="704" y="90"/>
                    </a:lnTo>
                    <a:lnTo>
                      <a:pt x="703" y="88"/>
                    </a:lnTo>
                    <a:lnTo>
                      <a:pt x="703" y="86"/>
                    </a:lnTo>
                    <a:lnTo>
                      <a:pt x="703" y="85"/>
                    </a:lnTo>
                    <a:lnTo>
                      <a:pt x="702" y="84"/>
                    </a:lnTo>
                    <a:lnTo>
                      <a:pt x="702" y="84"/>
                    </a:lnTo>
                    <a:lnTo>
                      <a:pt x="700" y="84"/>
                    </a:lnTo>
                    <a:lnTo>
                      <a:pt x="700" y="85"/>
                    </a:lnTo>
                    <a:lnTo>
                      <a:pt x="700" y="85"/>
                    </a:lnTo>
                    <a:lnTo>
                      <a:pt x="699" y="85"/>
                    </a:lnTo>
                    <a:lnTo>
                      <a:pt x="699" y="84"/>
                    </a:lnTo>
                    <a:lnTo>
                      <a:pt x="698" y="84"/>
                    </a:lnTo>
                    <a:lnTo>
                      <a:pt x="697" y="83"/>
                    </a:lnTo>
                    <a:lnTo>
                      <a:pt x="696" y="82"/>
                    </a:lnTo>
                    <a:lnTo>
                      <a:pt x="696" y="81"/>
                    </a:lnTo>
                    <a:lnTo>
                      <a:pt x="697" y="81"/>
                    </a:lnTo>
                    <a:lnTo>
                      <a:pt x="697" y="81"/>
                    </a:lnTo>
                    <a:lnTo>
                      <a:pt x="696" y="80"/>
                    </a:lnTo>
                    <a:lnTo>
                      <a:pt x="695" y="80"/>
                    </a:lnTo>
                    <a:lnTo>
                      <a:pt x="696" y="77"/>
                    </a:lnTo>
                    <a:lnTo>
                      <a:pt x="696" y="77"/>
                    </a:lnTo>
                    <a:lnTo>
                      <a:pt x="695" y="77"/>
                    </a:lnTo>
                    <a:lnTo>
                      <a:pt x="695" y="77"/>
                    </a:lnTo>
                    <a:lnTo>
                      <a:pt x="696" y="76"/>
                    </a:lnTo>
                    <a:lnTo>
                      <a:pt x="697" y="76"/>
                    </a:lnTo>
                    <a:lnTo>
                      <a:pt x="698" y="75"/>
                    </a:lnTo>
                    <a:lnTo>
                      <a:pt x="698" y="75"/>
                    </a:lnTo>
                    <a:lnTo>
                      <a:pt x="699" y="75"/>
                    </a:lnTo>
                    <a:lnTo>
                      <a:pt x="700" y="76"/>
                    </a:lnTo>
                    <a:lnTo>
                      <a:pt x="702" y="76"/>
                    </a:lnTo>
                    <a:lnTo>
                      <a:pt x="702" y="75"/>
                    </a:lnTo>
                    <a:lnTo>
                      <a:pt x="703" y="74"/>
                    </a:lnTo>
                    <a:lnTo>
                      <a:pt x="704" y="75"/>
                    </a:lnTo>
                    <a:lnTo>
                      <a:pt x="704" y="75"/>
                    </a:lnTo>
                    <a:lnTo>
                      <a:pt x="705" y="75"/>
                    </a:lnTo>
                    <a:lnTo>
                      <a:pt x="706" y="74"/>
                    </a:lnTo>
                    <a:lnTo>
                      <a:pt x="707" y="75"/>
                    </a:lnTo>
                    <a:lnTo>
                      <a:pt x="707" y="75"/>
                    </a:lnTo>
                    <a:lnTo>
                      <a:pt x="707" y="75"/>
                    </a:lnTo>
                    <a:lnTo>
                      <a:pt x="707" y="75"/>
                    </a:lnTo>
                    <a:lnTo>
                      <a:pt x="707" y="74"/>
                    </a:lnTo>
                    <a:lnTo>
                      <a:pt x="710" y="75"/>
                    </a:lnTo>
                    <a:lnTo>
                      <a:pt x="710" y="75"/>
                    </a:lnTo>
                    <a:lnTo>
                      <a:pt x="711" y="75"/>
                    </a:lnTo>
                    <a:lnTo>
                      <a:pt x="712" y="75"/>
                    </a:lnTo>
                    <a:lnTo>
                      <a:pt x="713" y="76"/>
                    </a:lnTo>
                    <a:lnTo>
                      <a:pt x="714" y="77"/>
                    </a:lnTo>
                    <a:lnTo>
                      <a:pt x="715" y="77"/>
                    </a:lnTo>
                    <a:lnTo>
                      <a:pt x="717" y="77"/>
                    </a:lnTo>
                    <a:lnTo>
                      <a:pt x="718" y="77"/>
                    </a:lnTo>
                    <a:lnTo>
                      <a:pt x="719" y="77"/>
                    </a:lnTo>
                    <a:lnTo>
                      <a:pt x="720" y="77"/>
                    </a:lnTo>
                    <a:lnTo>
                      <a:pt x="723" y="77"/>
                    </a:lnTo>
                    <a:lnTo>
                      <a:pt x="723" y="77"/>
                    </a:lnTo>
                    <a:lnTo>
                      <a:pt x="723" y="76"/>
                    </a:lnTo>
                    <a:lnTo>
                      <a:pt x="722" y="75"/>
                    </a:lnTo>
                    <a:lnTo>
                      <a:pt x="723" y="74"/>
                    </a:lnTo>
                    <a:lnTo>
                      <a:pt x="723" y="75"/>
                    </a:lnTo>
                    <a:lnTo>
                      <a:pt x="725" y="75"/>
                    </a:lnTo>
                    <a:lnTo>
                      <a:pt x="725" y="76"/>
                    </a:lnTo>
                    <a:lnTo>
                      <a:pt x="725" y="76"/>
                    </a:lnTo>
                    <a:lnTo>
                      <a:pt x="726" y="76"/>
                    </a:lnTo>
                    <a:lnTo>
                      <a:pt x="726" y="75"/>
                    </a:lnTo>
                    <a:lnTo>
                      <a:pt x="726" y="75"/>
                    </a:lnTo>
                    <a:lnTo>
                      <a:pt x="727" y="75"/>
                    </a:lnTo>
                    <a:lnTo>
                      <a:pt x="728" y="75"/>
                    </a:lnTo>
                    <a:lnTo>
                      <a:pt x="729" y="75"/>
                    </a:lnTo>
                    <a:lnTo>
                      <a:pt x="730" y="74"/>
                    </a:lnTo>
                    <a:lnTo>
                      <a:pt x="730" y="74"/>
                    </a:lnTo>
                    <a:lnTo>
                      <a:pt x="732" y="74"/>
                    </a:lnTo>
                    <a:lnTo>
                      <a:pt x="734" y="74"/>
                    </a:lnTo>
                    <a:lnTo>
                      <a:pt x="736" y="74"/>
                    </a:lnTo>
                    <a:lnTo>
                      <a:pt x="737" y="74"/>
                    </a:lnTo>
                    <a:lnTo>
                      <a:pt x="738" y="74"/>
                    </a:lnTo>
                    <a:lnTo>
                      <a:pt x="738" y="73"/>
                    </a:lnTo>
                    <a:lnTo>
                      <a:pt x="737" y="73"/>
                    </a:lnTo>
                    <a:lnTo>
                      <a:pt x="736" y="73"/>
                    </a:lnTo>
                    <a:lnTo>
                      <a:pt x="736" y="71"/>
                    </a:lnTo>
                    <a:lnTo>
                      <a:pt x="734" y="71"/>
                    </a:lnTo>
                    <a:lnTo>
                      <a:pt x="733" y="70"/>
                    </a:lnTo>
                    <a:lnTo>
                      <a:pt x="732" y="71"/>
                    </a:lnTo>
                    <a:lnTo>
                      <a:pt x="729" y="70"/>
                    </a:lnTo>
                    <a:lnTo>
                      <a:pt x="728" y="70"/>
                    </a:lnTo>
                    <a:lnTo>
                      <a:pt x="727" y="70"/>
                    </a:lnTo>
                    <a:lnTo>
                      <a:pt x="726" y="70"/>
                    </a:lnTo>
                    <a:lnTo>
                      <a:pt x="723" y="70"/>
                    </a:lnTo>
                    <a:lnTo>
                      <a:pt x="722" y="69"/>
                    </a:lnTo>
                    <a:lnTo>
                      <a:pt x="722" y="69"/>
                    </a:lnTo>
                    <a:lnTo>
                      <a:pt x="722" y="69"/>
                    </a:lnTo>
                    <a:lnTo>
                      <a:pt x="723" y="68"/>
                    </a:lnTo>
                    <a:lnTo>
                      <a:pt x="723" y="68"/>
                    </a:lnTo>
                    <a:lnTo>
                      <a:pt x="723" y="68"/>
                    </a:lnTo>
                    <a:lnTo>
                      <a:pt x="723" y="68"/>
                    </a:lnTo>
                    <a:lnTo>
                      <a:pt x="722" y="68"/>
                    </a:lnTo>
                    <a:lnTo>
                      <a:pt x="720" y="69"/>
                    </a:lnTo>
                    <a:lnTo>
                      <a:pt x="717" y="69"/>
                    </a:lnTo>
                    <a:lnTo>
                      <a:pt x="715" y="68"/>
                    </a:lnTo>
                    <a:lnTo>
                      <a:pt x="714" y="68"/>
                    </a:lnTo>
                    <a:lnTo>
                      <a:pt x="713" y="67"/>
                    </a:lnTo>
                    <a:lnTo>
                      <a:pt x="712" y="67"/>
                    </a:lnTo>
                    <a:lnTo>
                      <a:pt x="711" y="67"/>
                    </a:lnTo>
                    <a:lnTo>
                      <a:pt x="708" y="68"/>
                    </a:lnTo>
                    <a:lnTo>
                      <a:pt x="707" y="69"/>
                    </a:lnTo>
                    <a:lnTo>
                      <a:pt x="706" y="69"/>
                    </a:lnTo>
                    <a:lnTo>
                      <a:pt x="705" y="68"/>
                    </a:lnTo>
                    <a:lnTo>
                      <a:pt x="704" y="68"/>
                    </a:lnTo>
                    <a:lnTo>
                      <a:pt x="703" y="69"/>
                    </a:lnTo>
                    <a:lnTo>
                      <a:pt x="700" y="69"/>
                    </a:lnTo>
                    <a:lnTo>
                      <a:pt x="699" y="69"/>
                    </a:lnTo>
                    <a:lnTo>
                      <a:pt x="699" y="69"/>
                    </a:lnTo>
                    <a:lnTo>
                      <a:pt x="698" y="68"/>
                    </a:lnTo>
                    <a:lnTo>
                      <a:pt x="697" y="69"/>
                    </a:lnTo>
                    <a:lnTo>
                      <a:pt x="696" y="70"/>
                    </a:lnTo>
                    <a:lnTo>
                      <a:pt x="696" y="69"/>
                    </a:lnTo>
                    <a:lnTo>
                      <a:pt x="695" y="69"/>
                    </a:lnTo>
                    <a:lnTo>
                      <a:pt x="692" y="69"/>
                    </a:lnTo>
                    <a:lnTo>
                      <a:pt x="690" y="70"/>
                    </a:lnTo>
                    <a:lnTo>
                      <a:pt x="689" y="70"/>
                    </a:lnTo>
                    <a:lnTo>
                      <a:pt x="689" y="70"/>
                    </a:lnTo>
                    <a:lnTo>
                      <a:pt x="689" y="70"/>
                    </a:lnTo>
                    <a:lnTo>
                      <a:pt x="689" y="70"/>
                    </a:lnTo>
                    <a:lnTo>
                      <a:pt x="689" y="70"/>
                    </a:lnTo>
                    <a:lnTo>
                      <a:pt x="687" y="71"/>
                    </a:lnTo>
                    <a:lnTo>
                      <a:pt x="684" y="71"/>
                    </a:lnTo>
                    <a:lnTo>
                      <a:pt x="684" y="73"/>
                    </a:lnTo>
                    <a:lnTo>
                      <a:pt x="683" y="73"/>
                    </a:lnTo>
                    <a:lnTo>
                      <a:pt x="683" y="73"/>
                    </a:lnTo>
                    <a:lnTo>
                      <a:pt x="683" y="71"/>
                    </a:lnTo>
                    <a:lnTo>
                      <a:pt x="683" y="71"/>
                    </a:lnTo>
                    <a:lnTo>
                      <a:pt x="684" y="70"/>
                    </a:lnTo>
                    <a:lnTo>
                      <a:pt x="684" y="70"/>
                    </a:lnTo>
                    <a:lnTo>
                      <a:pt x="683" y="70"/>
                    </a:lnTo>
                    <a:lnTo>
                      <a:pt x="682" y="70"/>
                    </a:lnTo>
                    <a:lnTo>
                      <a:pt x="681" y="70"/>
                    </a:lnTo>
                    <a:lnTo>
                      <a:pt x="681" y="69"/>
                    </a:lnTo>
                    <a:lnTo>
                      <a:pt x="682" y="68"/>
                    </a:lnTo>
                    <a:lnTo>
                      <a:pt x="682" y="67"/>
                    </a:lnTo>
                    <a:lnTo>
                      <a:pt x="680" y="68"/>
                    </a:lnTo>
                    <a:lnTo>
                      <a:pt x="678" y="68"/>
                    </a:lnTo>
                    <a:lnTo>
                      <a:pt x="677" y="68"/>
                    </a:lnTo>
                    <a:lnTo>
                      <a:pt x="677" y="68"/>
                    </a:lnTo>
                    <a:lnTo>
                      <a:pt x="677" y="67"/>
                    </a:lnTo>
                    <a:lnTo>
                      <a:pt x="677" y="67"/>
                    </a:lnTo>
                    <a:lnTo>
                      <a:pt x="677" y="66"/>
                    </a:lnTo>
                    <a:lnTo>
                      <a:pt x="676" y="66"/>
                    </a:lnTo>
                    <a:lnTo>
                      <a:pt x="675" y="66"/>
                    </a:lnTo>
                    <a:lnTo>
                      <a:pt x="674" y="66"/>
                    </a:lnTo>
                    <a:lnTo>
                      <a:pt x="674" y="66"/>
                    </a:lnTo>
                    <a:lnTo>
                      <a:pt x="675" y="65"/>
                    </a:lnTo>
                    <a:lnTo>
                      <a:pt x="675" y="63"/>
                    </a:lnTo>
                    <a:lnTo>
                      <a:pt x="674" y="62"/>
                    </a:lnTo>
                    <a:lnTo>
                      <a:pt x="674" y="62"/>
                    </a:lnTo>
                    <a:lnTo>
                      <a:pt x="674" y="61"/>
                    </a:lnTo>
                    <a:lnTo>
                      <a:pt x="673" y="60"/>
                    </a:lnTo>
                    <a:lnTo>
                      <a:pt x="673" y="60"/>
                    </a:lnTo>
                    <a:lnTo>
                      <a:pt x="673" y="60"/>
                    </a:lnTo>
                    <a:lnTo>
                      <a:pt x="673" y="59"/>
                    </a:lnTo>
                    <a:lnTo>
                      <a:pt x="673" y="59"/>
                    </a:lnTo>
                    <a:lnTo>
                      <a:pt x="672" y="59"/>
                    </a:lnTo>
                    <a:lnTo>
                      <a:pt x="672" y="58"/>
                    </a:lnTo>
                    <a:lnTo>
                      <a:pt x="672" y="56"/>
                    </a:lnTo>
                    <a:lnTo>
                      <a:pt x="670" y="56"/>
                    </a:lnTo>
                    <a:lnTo>
                      <a:pt x="670" y="56"/>
                    </a:lnTo>
                    <a:lnTo>
                      <a:pt x="672" y="56"/>
                    </a:lnTo>
                    <a:lnTo>
                      <a:pt x="672" y="56"/>
                    </a:lnTo>
                    <a:lnTo>
                      <a:pt x="672" y="55"/>
                    </a:lnTo>
                    <a:lnTo>
                      <a:pt x="670" y="54"/>
                    </a:lnTo>
                    <a:lnTo>
                      <a:pt x="670" y="54"/>
                    </a:lnTo>
                    <a:lnTo>
                      <a:pt x="672" y="54"/>
                    </a:lnTo>
                    <a:lnTo>
                      <a:pt x="672" y="54"/>
                    </a:lnTo>
                    <a:lnTo>
                      <a:pt x="672" y="53"/>
                    </a:lnTo>
                    <a:lnTo>
                      <a:pt x="670" y="53"/>
                    </a:lnTo>
                    <a:lnTo>
                      <a:pt x="670" y="53"/>
                    </a:lnTo>
                    <a:lnTo>
                      <a:pt x="670" y="52"/>
                    </a:lnTo>
                    <a:lnTo>
                      <a:pt x="672" y="52"/>
                    </a:lnTo>
                    <a:lnTo>
                      <a:pt x="672" y="52"/>
                    </a:lnTo>
                    <a:lnTo>
                      <a:pt x="672" y="52"/>
                    </a:lnTo>
                    <a:lnTo>
                      <a:pt x="673" y="52"/>
                    </a:lnTo>
                    <a:lnTo>
                      <a:pt x="673" y="52"/>
                    </a:lnTo>
                    <a:lnTo>
                      <a:pt x="673" y="52"/>
                    </a:lnTo>
                    <a:lnTo>
                      <a:pt x="673" y="51"/>
                    </a:lnTo>
                    <a:lnTo>
                      <a:pt x="673" y="51"/>
                    </a:lnTo>
                    <a:lnTo>
                      <a:pt x="673" y="50"/>
                    </a:lnTo>
                    <a:lnTo>
                      <a:pt x="675" y="50"/>
                    </a:lnTo>
                    <a:lnTo>
                      <a:pt x="675" y="51"/>
                    </a:lnTo>
                    <a:lnTo>
                      <a:pt x="676" y="50"/>
                    </a:lnTo>
                    <a:lnTo>
                      <a:pt x="676" y="50"/>
                    </a:lnTo>
                    <a:lnTo>
                      <a:pt x="677" y="48"/>
                    </a:lnTo>
                    <a:lnTo>
                      <a:pt x="678" y="48"/>
                    </a:lnTo>
                    <a:lnTo>
                      <a:pt x="678" y="48"/>
                    </a:lnTo>
                    <a:lnTo>
                      <a:pt x="680" y="48"/>
                    </a:lnTo>
                    <a:lnTo>
                      <a:pt x="680" y="47"/>
                    </a:lnTo>
                    <a:lnTo>
                      <a:pt x="680" y="46"/>
                    </a:lnTo>
                    <a:lnTo>
                      <a:pt x="681" y="46"/>
                    </a:lnTo>
                    <a:lnTo>
                      <a:pt x="682" y="46"/>
                    </a:lnTo>
                    <a:lnTo>
                      <a:pt x="682" y="47"/>
                    </a:lnTo>
                    <a:lnTo>
                      <a:pt x="682" y="47"/>
                    </a:lnTo>
                    <a:lnTo>
                      <a:pt x="682" y="46"/>
                    </a:lnTo>
                    <a:lnTo>
                      <a:pt x="683" y="46"/>
                    </a:lnTo>
                    <a:lnTo>
                      <a:pt x="683" y="46"/>
                    </a:lnTo>
                    <a:lnTo>
                      <a:pt x="683" y="45"/>
                    </a:lnTo>
                    <a:lnTo>
                      <a:pt x="684" y="45"/>
                    </a:lnTo>
                    <a:lnTo>
                      <a:pt x="685" y="45"/>
                    </a:lnTo>
                    <a:lnTo>
                      <a:pt x="687" y="44"/>
                    </a:lnTo>
                    <a:lnTo>
                      <a:pt x="687" y="44"/>
                    </a:lnTo>
                    <a:lnTo>
                      <a:pt x="688" y="43"/>
                    </a:lnTo>
                    <a:lnTo>
                      <a:pt x="689" y="43"/>
                    </a:lnTo>
                    <a:lnTo>
                      <a:pt x="690" y="43"/>
                    </a:lnTo>
                    <a:lnTo>
                      <a:pt x="690" y="43"/>
                    </a:lnTo>
                    <a:lnTo>
                      <a:pt x="691" y="43"/>
                    </a:lnTo>
                    <a:lnTo>
                      <a:pt x="692" y="41"/>
                    </a:lnTo>
                    <a:lnTo>
                      <a:pt x="692" y="40"/>
                    </a:lnTo>
                    <a:lnTo>
                      <a:pt x="693" y="40"/>
                    </a:lnTo>
                    <a:lnTo>
                      <a:pt x="693" y="41"/>
                    </a:lnTo>
                    <a:lnTo>
                      <a:pt x="693" y="41"/>
                    </a:lnTo>
                    <a:lnTo>
                      <a:pt x="693" y="41"/>
                    </a:lnTo>
                    <a:lnTo>
                      <a:pt x="695" y="41"/>
                    </a:lnTo>
                    <a:lnTo>
                      <a:pt x="695" y="40"/>
                    </a:lnTo>
                    <a:lnTo>
                      <a:pt x="695" y="39"/>
                    </a:lnTo>
                    <a:lnTo>
                      <a:pt x="693" y="38"/>
                    </a:lnTo>
                    <a:lnTo>
                      <a:pt x="693" y="37"/>
                    </a:lnTo>
                    <a:lnTo>
                      <a:pt x="691" y="36"/>
                    </a:lnTo>
                    <a:lnTo>
                      <a:pt x="689" y="36"/>
                    </a:lnTo>
                    <a:lnTo>
                      <a:pt x="687" y="34"/>
                    </a:lnTo>
                    <a:lnTo>
                      <a:pt x="685" y="34"/>
                    </a:lnTo>
                    <a:lnTo>
                      <a:pt x="683" y="34"/>
                    </a:lnTo>
                    <a:lnTo>
                      <a:pt x="682" y="34"/>
                    </a:lnTo>
                    <a:lnTo>
                      <a:pt x="681" y="34"/>
                    </a:lnTo>
                    <a:lnTo>
                      <a:pt x="680" y="34"/>
                    </a:lnTo>
                    <a:lnTo>
                      <a:pt x="680" y="34"/>
                    </a:lnTo>
                    <a:lnTo>
                      <a:pt x="680" y="36"/>
                    </a:lnTo>
                    <a:lnTo>
                      <a:pt x="680" y="36"/>
                    </a:lnTo>
                    <a:lnTo>
                      <a:pt x="678" y="34"/>
                    </a:lnTo>
                    <a:lnTo>
                      <a:pt x="677" y="34"/>
                    </a:lnTo>
                    <a:lnTo>
                      <a:pt x="676" y="33"/>
                    </a:lnTo>
                    <a:lnTo>
                      <a:pt x="675" y="34"/>
                    </a:lnTo>
                    <a:lnTo>
                      <a:pt x="674" y="33"/>
                    </a:lnTo>
                    <a:lnTo>
                      <a:pt x="673" y="33"/>
                    </a:lnTo>
                    <a:lnTo>
                      <a:pt x="673" y="33"/>
                    </a:lnTo>
                    <a:lnTo>
                      <a:pt x="673" y="34"/>
                    </a:lnTo>
                    <a:lnTo>
                      <a:pt x="673" y="34"/>
                    </a:lnTo>
                    <a:lnTo>
                      <a:pt x="672" y="34"/>
                    </a:lnTo>
                    <a:lnTo>
                      <a:pt x="670" y="36"/>
                    </a:lnTo>
                    <a:lnTo>
                      <a:pt x="669" y="36"/>
                    </a:lnTo>
                    <a:lnTo>
                      <a:pt x="669" y="37"/>
                    </a:lnTo>
                    <a:lnTo>
                      <a:pt x="669" y="38"/>
                    </a:lnTo>
                    <a:lnTo>
                      <a:pt x="669" y="38"/>
                    </a:lnTo>
                    <a:lnTo>
                      <a:pt x="670" y="39"/>
                    </a:lnTo>
                    <a:lnTo>
                      <a:pt x="669" y="41"/>
                    </a:lnTo>
                    <a:lnTo>
                      <a:pt x="668" y="41"/>
                    </a:lnTo>
                    <a:lnTo>
                      <a:pt x="668" y="43"/>
                    </a:lnTo>
                    <a:lnTo>
                      <a:pt x="667" y="43"/>
                    </a:lnTo>
                    <a:lnTo>
                      <a:pt x="667" y="43"/>
                    </a:lnTo>
                    <a:lnTo>
                      <a:pt x="666" y="45"/>
                    </a:lnTo>
                    <a:lnTo>
                      <a:pt x="665" y="46"/>
                    </a:lnTo>
                    <a:lnTo>
                      <a:pt x="663" y="46"/>
                    </a:lnTo>
                    <a:lnTo>
                      <a:pt x="662" y="46"/>
                    </a:lnTo>
                    <a:lnTo>
                      <a:pt x="661" y="46"/>
                    </a:lnTo>
                    <a:lnTo>
                      <a:pt x="661" y="46"/>
                    </a:lnTo>
                    <a:lnTo>
                      <a:pt x="660" y="47"/>
                    </a:lnTo>
                    <a:lnTo>
                      <a:pt x="659" y="48"/>
                    </a:lnTo>
                    <a:lnTo>
                      <a:pt x="659" y="47"/>
                    </a:lnTo>
                    <a:lnTo>
                      <a:pt x="658" y="47"/>
                    </a:lnTo>
                    <a:lnTo>
                      <a:pt x="658" y="48"/>
                    </a:lnTo>
                    <a:lnTo>
                      <a:pt x="655" y="48"/>
                    </a:lnTo>
                    <a:lnTo>
                      <a:pt x="654" y="50"/>
                    </a:lnTo>
                    <a:lnTo>
                      <a:pt x="653" y="50"/>
                    </a:lnTo>
                    <a:lnTo>
                      <a:pt x="652" y="50"/>
                    </a:lnTo>
                    <a:lnTo>
                      <a:pt x="651" y="51"/>
                    </a:lnTo>
                    <a:lnTo>
                      <a:pt x="651" y="51"/>
                    </a:lnTo>
                    <a:lnTo>
                      <a:pt x="650" y="50"/>
                    </a:lnTo>
                    <a:lnTo>
                      <a:pt x="650" y="51"/>
                    </a:lnTo>
                    <a:lnTo>
                      <a:pt x="648" y="52"/>
                    </a:lnTo>
                    <a:lnTo>
                      <a:pt x="648" y="52"/>
                    </a:lnTo>
                    <a:lnTo>
                      <a:pt x="647" y="52"/>
                    </a:lnTo>
                    <a:lnTo>
                      <a:pt x="647" y="51"/>
                    </a:lnTo>
                    <a:lnTo>
                      <a:pt x="646" y="51"/>
                    </a:lnTo>
                    <a:lnTo>
                      <a:pt x="646" y="51"/>
                    </a:lnTo>
                    <a:lnTo>
                      <a:pt x="646" y="51"/>
                    </a:lnTo>
                    <a:lnTo>
                      <a:pt x="646" y="52"/>
                    </a:lnTo>
                    <a:lnTo>
                      <a:pt x="646" y="54"/>
                    </a:lnTo>
                    <a:lnTo>
                      <a:pt x="646" y="55"/>
                    </a:lnTo>
                    <a:lnTo>
                      <a:pt x="646" y="58"/>
                    </a:lnTo>
                    <a:lnTo>
                      <a:pt x="646" y="59"/>
                    </a:lnTo>
                    <a:lnTo>
                      <a:pt x="646" y="60"/>
                    </a:lnTo>
                    <a:lnTo>
                      <a:pt x="646" y="60"/>
                    </a:lnTo>
                    <a:lnTo>
                      <a:pt x="646" y="61"/>
                    </a:lnTo>
                    <a:lnTo>
                      <a:pt x="646" y="62"/>
                    </a:lnTo>
                    <a:lnTo>
                      <a:pt x="646" y="63"/>
                    </a:lnTo>
                    <a:lnTo>
                      <a:pt x="648" y="66"/>
                    </a:lnTo>
                    <a:lnTo>
                      <a:pt x="650" y="67"/>
                    </a:lnTo>
                    <a:lnTo>
                      <a:pt x="651" y="67"/>
                    </a:lnTo>
                    <a:lnTo>
                      <a:pt x="651" y="67"/>
                    </a:lnTo>
                    <a:lnTo>
                      <a:pt x="651" y="67"/>
                    </a:lnTo>
                    <a:lnTo>
                      <a:pt x="651" y="66"/>
                    </a:lnTo>
                    <a:lnTo>
                      <a:pt x="651" y="66"/>
                    </a:lnTo>
                    <a:lnTo>
                      <a:pt x="652" y="66"/>
                    </a:lnTo>
                    <a:lnTo>
                      <a:pt x="653" y="67"/>
                    </a:lnTo>
                    <a:lnTo>
                      <a:pt x="653" y="67"/>
                    </a:lnTo>
                    <a:lnTo>
                      <a:pt x="653" y="68"/>
                    </a:lnTo>
                    <a:lnTo>
                      <a:pt x="654" y="68"/>
                    </a:lnTo>
                    <a:lnTo>
                      <a:pt x="655" y="69"/>
                    </a:lnTo>
                    <a:lnTo>
                      <a:pt x="658" y="69"/>
                    </a:lnTo>
                    <a:lnTo>
                      <a:pt x="658" y="70"/>
                    </a:lnTo>
                    <a:lnTo>
                      <a:pt x="658" y="70"/>
                    </a:lnTo>
                    <a:lnTo>
                      <a:pt x="658" y="70"/>
                    </a:lnTo>
                    <a:lnTo>
                      <a:pt x="657" y="71"/>
                    </a:lnTo>
                    <a:lnTo>
                      <a:pt x="657" y="71"/>
                    </a:lnTo>
                    <a:lnTo>
                      <a:pt x="655" y="73"/>
                    </a:lnTo>
                    <a:lnTo>
                      <a:pt x="654" y="73"/>
                    </a:lnTo>
                    <a:lnTo>
                      <a:pt x="653" y="73"/>
                    </a:lnTo>
                    <a:lnTo>
                      <a:pt x="653" y="73"/>
                    </a:lnTo>
                    <a:lnTo>
                      <a:pt x="652" y="71"/>
                    </a:lnTo>
                    <a:lnTo>
                      <a:pt x="651" y="70"/>
                    </a:lnTo>
                    <a:lnTo>
                      <a:pt x="650" y="70"/>
                    </a:lnTo>
                    <a:lnTo>
                      <a:pt x="652" y="71"/>
                    </a:lnTo>
                    <a:lnTo>
                      <a:pt x="653" y="73"/>
                    </a:lnTo>
                    <a:lnTo>
                      <a:pt x="654" y="73"/>
                    </a:lnTo>
                    <a:lnTo>
                      <a:pt x="654" y="73"/>
                    </a:lnTo>
                    <a:lnTo>
                      <a:pt x="654" y="73"/>
                    </a:lnTo>
                    <a:lnTo>
                      <a:pt x="655" y="74"/>
                    </a:lnTo>
                    <a:lnTo>
                      <a:pt x="657" y="73"/>
                    </a:lnTo>
                    <a:lnTo>
                      <a:pt x="659" y="73"/>
                    </a:lnTo>
                    <a:lnTo>
                      <a:pt x="658" y="75"/>
                    </a:lnTo>
                    <a:lnTo>
                      <a:pt x="657" y="75"/>
                    </a:lnTo>
                    <a:lnTo>
                      <a:pt x="655" y="76"/>
                    </a:lnTo>
                    <a:lnTo>
                      <a:pt x="655" y="75"/>
                    </a:lnTo>
                    <a:lnTo>
                      <a:pt x="654" y="75"/>
                    </a:lnTo>
                    <a:lnTo>
                      <a:pt x="654" y="76"/>
                    </a:lnTo>
                    <a:lnTo>
                      <a:pt x="653" y="77"/>
                    </a:lnTo>
                    <a:lnTo>
                      <a:pt x="653" y="76"/>
                    </a:lnTo>
                    <a:lnTo>
                      <a:pt x="652" y="76"/>
                    </a:lnTo>
                    <a:lnTo>
                      <a:pt x="650" y="76"/>
                    </a:lnTo>
                    <a:lnTo>
                      <a:pt x="651" y="77"/>
                    </a:lnTo>
                    <a:lnTo>
                      <a:pt x="651" y="77"/>
                    </a:lnTo>
                    <a:lnTo>
                      <a:pt x="650" y="77"/>
                    </a:lnTo>
                    <a:lnTo>
                      <a:pt x="648" y="77"/>
                    </a:lnTo>
                    <a:lnTo>
                      <a:pt x="647" y="77"/>
                    </a:lnTo>
                    <a:lnTo>
                      <a:pt x="645" y="77"/>
                    </a:lnTo>
                    <a:lnTo>
                      <a:pt x="644" y="77"/>
                    </a:lnTo>
                    <a:lnTo>
                      <a:pt x="643" y="77"/>
                    </a:lnTo>
                    <a:lnTo>
                      <a:pt x="646" y="77"/>
                    </a:lnTo>
                    <a:lnTo>
                      <a:pt x="647" y="78"/>
                    </a:lnTo>
                    <a:lnTo>
                      <a:pt x="647" y="78"/>
                    </a:lnTo>
                    <a:lnTo>
                      <a:pt x="646" y="80"/>
                    </a:lnTo>
                    <a:lnTo>
                      <a:pt x="647" y="81"/>
                    </a:lnTo>
                    <a:lnTo>
                      <a:pt x="647" y="81"/>
                    </a:lnTo>
                    <a:lnTo>
                      <a:pt x="647" y="82"/>
                    </a:lnTo>
                    <a:lnTo>
                      <a:pt x="646" y="83"/>
                    </a:lnTo>
                    <a:lnTo>
                      <a:pt x="646" y="83"/>
                    </a:lnTo>
                    <a:lnTo>
                      <a:pt x="646" y="84"/>
                    </a:lnTo>
                    <a:lnTo>
                      <a:pt x="647" y="85"/>
                    </a:lnTo>
                    <a:lnTo>
                      <a:pt x="647" y="86"/>
                    </a:lnTo>
                    <a:lnTo>
                      <a:pt x="646" y="88"/>
                    </a:lnTo>
                    <a:lnTo>
                      <a:pt x="646" y="90"/>
                    </a:lnTo>
                    <a:lnTo>
                      <a:pt x="646" y="91"/>
                    </a:lnTo>
                    <a:lnTo>
                      <a:pt x="646" y="92"/>
                    </a:lnTo>
                    <a:lnTo>
                      <a:pt x="645" y="93"/>
                    </a:lnTo>
                    <a:lnTo>
                      <a:pt x="645" y="95"/>
                    </a:lnTo>
                    <a:lnTo>
                      <a:pt x="645" y="96"/>
                    </a:lnTo>
                    <a:lnTo>
                      <a:pt x="644" y="97"/>
                    </a:lnTo>
                    <a:lnTo>
                      <a:pt x="643" y="98"/>
                    </a:lnTo>
                    <a:lnTo>
                      <a:pt x="641" y="99"/>
                    </a:lnTo>
                    <a:lnTo>
                      <a:pt x="640" y="98"/>
                    </a:lnTo>
                    <a:lnTo>
                      <a:pt x="639" y="97"/>
                    </a:lnTo>
                    <a:lnTo>
                      <a:pt x="638" y="97"/>
                    </a:lnTo>
                    <a:lnTo>
                      <a:pt x="636" y="97"/>
                    </a:lnTo>
                    <a:lnTo>
                      <a:pt x="636" y="97"/>
                    </a:lnTo>
                    <a:lnTo>
                      <a:pt x="636" y="97"/>
                    </a:lnTo>
                    <a:lnTo>
                      <a:pt x="636" y="97"/>
                    </a:lnTo>
                    <a:lnTo>
                      <a:pt x="636" y="97"/>
                    </a:lnTo>
                    <a:lnTo>
                      <a:pt x="635" y="99"/>
                    </a:lnTo>
                    <a:lnTo>
                      <a:pt x="633" y="100"/>
                    </a:lnTo>
                    <a:lnTo>
                      <a:pt x="633" y="101"/>
                    </a:lnTo>
                    <a:lnTo>
                      <a:pt x="633" y="101"/>
                    </a:lnTo>
                    <a:lnTo>
                      <a:pt x="635" y="101"/>
                    </a:lnTo>
                    <a:lnTo>
                      <a:pt x="635" y="101"/>
                    </a:lnTo>
                    <a:lnTo>
                      <a:pt x="635" y="103"/>
                    </a:lnTo>
                    <a:lnTo>
                      <a:pt x="632" y="103"/>
                    </a:lnTo>
                    <a:lnTo>
                      <a:pt x="631" y="103"/>
                    </a:lnTo>
                    <a:lnTo>
                      <a:pt x="629" y="103"/>
                    </a:lnTo>
                    <a:lnTo>
                      <a:pt x="628" y="103"/>
                    </a:lnTo>
                    <a:lnTo>
                      <a:pt x="625" y="103"/>
                    </a:lnTo>
                    <a:lnTo>
                      <a:pt x="624" y="104"/>
                    </a:lnTo>
                    <a:lnTo>
                      <a:pt x="623" y="103"/>
                    </a:lnTo>
                    <a:lnTo>
                      <a:pt x="623" y="101"/>
                    </a:lnTo>
                    <a:lnTo>
                      <a:pt x="622" y="100"/>
                    </a:lnTo>
                    <a:lnTo>
                      <a:pt x="622" y="99"/>
                    </a:lnTo>
                    <a:lnTo>
                      <a:pt x="621" y="99"/>
                    </a:lnTo>
                    <a:lnTo>
                      <a:pt x="620" y="98"/>
                    </a:lnTo>
                    <a:lnTo>
                      <a:pt x="618" y="97"/>
                    </a:lnTo>
                    <a:lnTo>
                      <a:pt x="618" y="96"/>
                    </a:lnTo>
                    <a:lnTo>
                      <a:pt x="618" y="96"/>
                    </a:lnTo>
                    <a:lnTo>
                      <a:pt x="620" y="96"/>
                    </a:lnTo>
                    <a:lnTo>
                      <a:pt x="621" y="96"/>
                    </a:lnTo>
                    <a:lnTo>
                      <a:pt x="621" y="95"/>
                    </a:lnTo>
                    <a:lnTo>
                      <a:pt x="621" y="93"/>
                    </a:lnTo>
                    <a:lnTo>
                      <a:pt x="620" y="93"/>
                    </a:lnTo>
                    <a:lnTo>
                      <a:pt x="618" y="93"/>
                    </a:lnTo>
                    <a:lnTo>
                      <a:pt x="618" y="93"/>
                    </a:lnTo>
                    <a:lnTo>
                      <a:pt x="618" y="92"/>
                    </a:lnTo>
                    <a:lnTo>
                      <a:pt x="617" y="92"/>
                    </a:lnTo>
                    <a:lnTo>
                      <a:pt x="616" y="90"/>
                    </a:lnTo>
                    <a:lnTo>
                      <a:pt x="615" y="88"/>
                    </a:lnTo>
                    <a:lnTo>
                      <a:pt x="614" y="86"/>
                    </a:lnTo>
                    <a:lnTo>
                      <a:pt x="613" y="85"/>
                    </a:lnTo>
                    <a:lnTo>
                      <a:pt x="613" y="85"/>
                    </a:lnTo>
                    <a:lnTo>
                      <a:pt x="613" y="85"/>
                    </a:lnTo>
                    <a:lnTo>
                      <a:pt x="613" y="86"/>
                    </a:lnTo>
                    <a:lnTo>
                      <a:pt x="613" y="85"/>
                    </a:lnTo>
                    <a:lnTo>
                      <a:pt x="611" y="84"/>
                    </a:lnTo>
                    <a:lnTo>
                      <a:pt x="611" y="83"/>
                    </a:lnTo>
                    <a:lnTo>
                      <a:pt x="611" y="83"/>
                    </a:lnTo>
                    <a:lnTo>
                      <a:pt x="610" y="83"/>
                    </a:lnTo>
                    <a:lnTo>
                      <a:pt x="610" y="83"/>
                    </a:lnTo>
                    <a:lnTo>
                      <a:pt x="610" y="83"/>
                    </a:lnTo>
                    <a:lnTo>
                      <a:pt x="609" y="82"/>
                    </a:lnTo>
                    <a:lnTo>
                      <a:pt x="609" y="81"/>
                    </a:lnTo>
                    <a:lnTo>
                      <a:pt x="609" y="81"/>
                    </a:lnTo>
                    <a:lnTo>
                      <a:pt x="608" y="81"/>
                    </a:lnTo>
                    <a:lnTo>
                      <a:pt x="608" y="80"/>
                    </a:lnTo>
                    <a:lnTo>
                      <a:pt x="607" y="77"/>
                    </a:lnTo>
                    <a:lnTo>
                      <a:pt x="606" y="77"/>
                    </a:lnTo>
                    <a:lnTo>
                      <a:pt x="605" y="76"/>
                    </a:lnTo>
                    <a:lnTo>
                      <a:pt x="605" y="76"/>
                    </a:lnTo>
                    <a:lnTo>
                      <a:pt x="607" y="76"/>
                    </a:lnTo>
                    <a:lnTo>
                      <a:pt x="606" y="75"/>
                    </a:lnTo>
                    <a:lnTo>
                      <a:pt x="605" y="76"/>
                    </a:lnTo>
                    <a:lnTo>
                      <a:pt x="603" y="76"/>
                    </a:lnTo>
                    <a:lnTo>
                      <a:pt x="603" y="76"/>
                    </a:lnTo>
                    <a:lnTo>
                      <a:pt x="603" y="74"/>
                    </a:lnTo>
                    <a:lnTo>
                      <a:pt x="602" y="73"/>
                    </a:lnTo>
                    <a:lnTo>
                      <a:pt x="601" y="70"/>
                    </a:lnTo>
                    <a:lnTo>
                      <a:pt x="601" y="69"/>
                    </a:lnTo>
                    <a:lnTo>
                      <a:pt x="601" y="70"/>
                    </a:lnTo>
                    <a:lnTo>
                      <a:pt x="601" y="71"/>
                    </a:lnTo>
                    <a:lnTo>
                      <a:pt x="601" y="73"/>
                    </a:lnTo>
                    <a:lnTo>
                      <a:pt x="600" y="73"/>
                    </a:lnTo>
                    <a:lnTo>
                      <a:pt x="600" y="73"/>
                    </a:lnTo>
                    <a:lnTo>
                      <a:pt x="600" y="74"/>
                    </a:lnTo>
                    <a:lnTo>
                      <a:pt x="601" y="75"/>
                    </a:lnTo>
                    <a:lnTo>
                      <a:pt x="600" y="76"/>
                    </a:lnTo>
                    <a:lnTo>
                      <a:pt x="600" y="76"/>
                    </a:lnTo>
                    <a:lnTo>
                      <a:pt x="599" y="76"/>
                    </a:lnTo>
                    <a:lnTo>
                      <a:pt x="598" y="76"/>
                    </a:lnTo>
                    <a:lnTo>
                      <a:pt x="598" y="77"/>
                    </a:lnTo>
                    <a:lnTo>
                      <a:pt x="596" y="76"/>
                    </a:lnTo>
                    <a:lnTo>
                      <a:pt x="594" y="76"/>
                    </a:lnTo>
                    <a:lnTo>
                      <a:pt x="595" y="77"/>
                    </a:lnTo>
                    <a:lnTo>
                      <a:pt x="594" y="78"/>
                    </a:lnTo>
                    <a:lnTo>
                      <a:pt x="594" y="80"/>
                    </a:lnTo>
                    <a:lnTo>
                      <a:pt x="593" y="80"/>
                    </a:lnTo>
                    <a:lnTo>
                      <a:pt x="592" y="81"/>
                    </a:lnTo>
                    <a:lnTo>
                      <a:pt x="591" y="82"/>
                    </a:lnTo>
                    <a:lnTo>
                      <a:pt x="590" y="83"/>
                    </a:lnTo>
                    <a:lnTo>
                      <a:pt x="587" y="83"/>
                    </a:lnTo>
                    <a:lnTo>
                      <a:pt x="585" y="83"/>
                    </a:lnTo>
                    <a:lnTo>
                      <a:pt x="584" y="83"/>
                    </a:lnTo>
                    <a:lnTo>
                      <a:pt x="583" y="84"/>
                    </a:lnTo>
                    <a:lnTo>
                      <a:pt x="581" y="84"/>
                    </a:lnTo>
                    <a:lnTo>
                      <a:pt x="580" y="83"/>
                    </a:lnTo>
                    <a:lnTo>
                      <a:pt x="579" y="83"/>
                    </a:lnTo>
                    <a:lnTo>
                      <a:pt x="578" y="83"/>
                    </a:lnTo>
                    <a:lnTo>
                      <a:pt x="578" y="83"/>
                    </a:lnTo>
                    <a:lnTo>
                      <a:pt x="576" y="82"/>
                    </a:lnTo>
                    <a:lnTo>
                      <a:pt x="575" y="82"/>
                    </a:lnTo>
                    <a:lnTo>
                      <a:pt x="573" y="81"/>
                    </a:lnTo>
                    <a:lnTo>
                      <a:pt x="573" y="81"/>
                    </a:lnTo>
                    <a:lnTo>
                      <a:pt x="575" y="80"/>
                    </a:lnTo>
                    <a:lnTo>
                      <a:pt x="572" y="81"/>
                    </a:lnTo>
                    <a:lnTo>
                      <a:pt x="571" y="80"/>
                    </a:lnTo>
                    <a:lnTo>
                      <a:pt x="570" y="80"/>
                    </a:lnTo>
                    <a:lnTo>
                      <a:pt x="570" y="77"/>
                    </a:lnTo>
                    <a:lnTo>
                      <a:pt x="569" y="77"/>
                    </a:lnTo>
                    <a:lnTo>
                      <a:pt x="568" y="76"/>
                    </a:lnTo>
                    <a:lnTo>
                      <a:pt x="566" y="76"/>
                    </a:lnTo>
                    <a:lnTo>
                      <a:pt x="565" y="75"/>
                    </a:lnTo>
                    <a:lnTo>
                      <a:pt x="566" y="74"/>
                    </a:lnTo>
                    <a:lnTo>
                      <a:pt x="568" y="73"/>
                    </a:lnTo>
                    <a:lnTo>
                      <a:pt x="568" y="73"/>
                    </a:lnTo>
                    <a:lnTo>
                      <a:pt x="569" y="74"/>
                    </a:lnTo>
                    <a:lnTo>
                      <a:pt x="570" y="74"/>
                    </a:lnTo>
                    <a:lnTo>
                      <a:pt x="571" y="74"/>
                    </a:lnTo>
                    <a:lnTo>
                      <a:pt x="570" y="73"/>
                    </a:lnTo>
                    <a:lnTo>
                      <a:pt x="570" y="73"/>
                    </a:lnTo>
                    <a:lnTo>
                      <a:pt x="570" y="71"/>
                    </a:lnTo>
                    <a:lnTo>
                      <a:pt x="570" y="71"/>
                    </a:lnTo>
                    <a:lnTo>
                      <a:pt x="571" y="70"/>
                    </a:lnTo>
                    <a:lnTo>
                      <a:pt x="573" y="69"/>
                    </a:lnTo>
                    <a:lnTo>
                      <a:pt x="571" y="70"/>
                    </a:lnTo>
                    <a:lnTo>
                      <a:pt x="570" y="70"/>
                    </a:lnTo>
                    <a:lnTo>
                      <a:pt x="569" y="70"/>
                    </a:lnTo>
                    <a:lnTo>
                      <a:pt x="569" y="70"/>
                    </a:lnTo>
                    <a:lnTo>
                      <a:pt x="568" y="70"/>
                    </a:lnTo>
                    <a:lnTo>
                      <a:pt x="566" y="71"/>
                    </a:lnTo>
                    <a:lnTo>
                      <a:pt x="566" y="71"/>
                    </a:lnTo>
                    <a:lnTo>
                      <a:pt x="566" y="71"/>
                    </a:lnTo>
                    <a:lnTo>
                      <a:pt x="566" y="71"/>
                    </a:lnTo>
                    <a:lnTo>
                      <a:pt x="566" y="71"/>
                    </a:lnTo>
                    <a:lnTo>
                      <a:pt x="565" y="71"/>
                    </a:lnTo>
                    <a:lnTo>
                      <a:pt x="564" y="73"/>
                    </a:lnTo>
                    <a:lnTo>
                      <a:pt x="564" y="70"/>
                    </a:lnTo>
                    <a:lnTo>
                      <a:pt x="564" y="69"/>
                    </a:lnTo>
                    <a:lnTo>
                      <a:pt x="565" y="67"/>
                    </a:lnTo>
                    <a:lnTo>
                      <a:pt x="565" y="67"/>
                    </a:lnTo>
                    <a:lnTo>
                      <a:pt x="566" y="67"/>
                    </a:lnTo>
                    <a:lnTo>
                      <a:pt x="568" y="68"/>
                    </a:lnTo>
                    <a:lnTo>
                      <a:pt x="569" y="68"/>
                    </a:lnTo>
                    <a:lnTo>
                      <a:pt x="569" y="68"/>
                    </a:lnTo>
                    <a:lnTo>
                      <a:pt x="568" y="67"/>
                    </a:lnTo>
                    <a:lnTo>
                      <a:pt x="568" y="67"/>
                    </a:lnTo>
                    <a:lnTo>
                      <a:pt x="568" y="67"/>
                    </a:lnTo>
                    <a:lnTo>
                      <a:pt x="566" y="67"/>
                    </a:lnTo>
                    <a:lnTo>
                      <a:pt x="566" y="66"/>
                    </a:lnTo>
                    <a:lnTo>
                      <a:pt x="566" y="65"/>
                    </a:lnTo>
                    <a:lnTo>
                      <a:pt x="565" y="66"/>
                    </a:lnTo>
                    <a:lnTo>
                      <a:pt x="565" y="66"/>
                    </a:lnTo>
                    <a:lnTo>
                      <a:pt x="564" y="66"/>
                    </a:lnTo>
                    <a:lnTo>
                      <a:pt x="564" y="63"/>
                    </a:lnTo>
                    <a:lnTo>
                      <a:pt x="564" y="65"/>
                    </a:lnTo>
                    <a:lnTo>
                      <a:pt x="564" y="65"/>
                    </a:lnTo>
                    <a:lnTo>
                      <a:pt x="563" y="66"/>
                    </a:lnTo>
                    <a:lnTo>
                      <a:pt x="563" y="65"/>
                    </a:lnTo>
                    <a:lnTo>
                      <a:pt x="563" y="63"/>
                    </a:lnTo>
                    <a:lnTo>
                      <a:pt x="563" y="63"/>
                    </a:lnTo>
                    <a:lnTo>
                      <a:pt x="564" y="63"/>
                    </a:lnTo>
                    <a:lnTo>
                      <a:pt x="565" y="62"/>
                    </a:lnTo>
                    <a:lnTo>
                      <a:pt x="566" y="62"/>
                    </a:lnTo>
                    <a:lnTo>
                      <a:pt x="564" y="62"/>
                    </a:lnTo>
                    <a:lnTo>
                      <a:pt x="563" y="62"/>
                    </a:lnTo>
                    <a:lnTo>
                      <a:pt x="562" y="61"/>
                    </a:lnTo>
                    <a:lnTo>
                      <a:pt x="563" y="60"/>
                    </a:lnTo>
                    <a:lnTo>
                      <a:pt x="563" y="60"/>
                    </a:lnTo>
                    <a:lnTo>
                      <a:pt x="563" y="60"/>
                    </a:lnTo>
                    <a:lnTo>
                      <a:pt x="562" y="60"/>
                    </a:lnTo>
                    <a:lnTo>
                      <a:pt x="562" y="59"/>
                    </a:lnTo>
                    <a:lnTo>
                      <a:pt x="562" y="59"/>
                    </a:lnTo>
                    <a:lnTo>
                      <a:pt x="563" y="59"/>
                    </a:lnTo>
                    <a:lnTo>
                      <a:pt x="570" y="59"/>
                    </a:lnTo>
                    <a:lnTo>
                      <a:pt x="571" y="59"/>
                    </a:lnTo>
                    <a:lnTo>
                      <a:pt x="572" y="59"/>
                    </a:lnTo>
                    <a:lnTo>
                      <a:pt x="573" y="59"/>
                    </a:lnTo>
                    <a:lnTo>
                      <a:pt x="575" y="59"/>
                    </a:lnTo>
                    <a:lnTo>
                      <a:pt x="577" y="59"/>
                    </a:lnTo>
                    <a:lnTo>
                      <a:pt x="578" y="59"/>
                    </a:lnTo>
                    <a:lnTo>
                      <a:pt x="578" y="58"/>
                    </a:lnTo>
                    <a:lnTo>
                      <a:pt x="578" y="58"/>
                    </a:lnTo>
                    <a:lnTo>
                      <a:pt x="578" y="56"/>
                    </a:lnTo>
                    <a:lnTo>
                      <a:pt x="578" y="58"/>
                    </a:lnTo>
                    <a:lnTo>
                      <a:pt x="577" y="58"/>
                    </a:lnTo>
                    <a:lnTo>
                      <a:pt x="576" y="59"/>
                    </a:lnTo>
                    <a:lnTo>
                      <a:pt x="573" y="59"/>
                    </a:lnTo>
                    <a:lnTo>
                      <a:pt x="572" y="58"/>
                    </a:lnTo>
                    <a:lnTo>
                      <a:pt x="571" y="58"/>
                    </a:lnTo>
                    <a:lnTo>
                      <a:pt x="571" y="58"/>
                    </a:lnTo>
                    <a:lnTo>
                      <a:pt x="571" y="58"/>
                    </a:lnTo>
                    <a:lnTo>
                      <a:pt x="571" y="59"/>
                    </a:lnTo>
                    <a:lnTo>
                      <a:pt x="570" y="59"/>
                    </a:lnTo>
                    <a:lnTo>
                      <a:pt x="568" y="58"/>
                    </a:lnTo>
                    <a:lnTo>
                      <a:pt x="566" y="58"/>
                    </a:lnTo>
                    <a:lnTo>
                      <a:pt x="566" y="58"/>
                    </a:lnTo>
                    <a:lnTo>
                      <a:pt x="565" y="59"/>
                    </a:lnTo>
                    <a:lnTo>
                      <a:pt x="564" y="59"/>
                    </a:lnTo>
                    <a:lnTo>
                      <a:pt x="563" y="58"/>
                    </a:lnTo>
                    <a:lnTo>
                      <a:pt x="562" y="58"/>
                    </a:lnTo>
                    <a:lnTo>
                      <a:pt x="562" y="56"/>
                    </a:lnTo>
                    <a:lnTo>
                      <a:pt x="564" y="55"/>
                    </a:lnTo>
                    <a:lnTo>
                      <a:pt x="566" y="55"/>
                    </a:lnTo>
                    <a:lnTo>
                      <a:pt x="564" y="55"/>
                    </a:lnTo>
                    <a:lnTo>
                      <a:pt x="563" y="54"/>
                    </a:lnTo>
                    <a:lnTo>
                      <a:pt x="563" y="53"/>
                    </a:lnTo>
                    <a:lnTo>
                      <a:pt x="564" y="52"/>
                    </a:lnTo>
                    <a:lnTo>
                      <a:pt x="565" y="52"/>
                    </a:lnTo>
                    <a:lnTo>
                      <a:pt x="566" y="52"/>
                    </a:lnTo>
                    <a:lnTo>
                      <a:pt x="566" y="52"/>
                    </a:lnTo>
                    <a:lnTo>
                      <a:pt x="568" y="52"/>
                    </a:lnTo>
                    <a:lnTo>
                      <a:pt x="570" y="51"/>
                    </a:lnTo>
                    <a:lnTo>
                      <a:pt x="571" y="50"/>
                    </a:lnTo>
                    <a:lnTo>
                      <a:pt x="573" y="48"/>
                    </a:lnTo>
                    <a:lnTo>
                      <a:pt x="575" y="48"/>
                    </a:lnTo>
                    <a:lnTo>
                      <a:pt x="576" y="47"/>
                    </a:lnTo>
                    <a:lnTo>
                      <a:pt x="577" y="47"/>
                    </a:lnTo>
                    <a:lnTo>
                      <a:pt x="578" y="48"/>
                    </a:lnTo>
                    <a:lnTo>
                      <a:pt x="578" y="47"/>
                    </a:lnTo>
                    <a:lnTo>
                      <a:pt x="577" y="46"/>
                    </a:lnTo>
                    <a:lnTo>
                      <a:pt x="578" y="46"/>
                    </a:lnTo>
                    <a:lnTo>
                      <a:pt x="578" y="46"/>
                    </a:lnTo>
                    <a:lnTo>
                      <a:pt x="580" y="45"/>
                    </a:lnTo>
                    <a:lnTo>
                      <a:pt x="581" y="45"/>
                    </a:lnTo>
                    <a:lnTo>
                      <a:pt x="583" y="45"/>
                    </a:lnTo>
                    <a:lnTo>
                      <a:pt x="584" y="46"/>
                    </a:lnTo>
                    <a:lnTo>
                      <a:pt x="584" y="45"/>
                    </a:lnTo>
                    <a:lnTo>
                      <a:pt x="586" y="44"/>
                    </a:lnTo>
                    <a:lnTo>
                      <a:pt x="587" y="44"/>
                    </a:lnTo>
                    <a:lnTo>
                      <a:pt x="588" y="45"/>
                    </a:lnTo>
                    <a:lnTo>
                      <a:pt x="590" y="44"/>
                    </a:lnTo>
                    <a:lnTo>
                      <a:pt x="591" y="43"/>
                    </a:lnTo>
                    <a:lnTo>
                      <a:pt x="591" y="43"/>
                    </a:lnTo>
                    <a:lnTo>
                      <a:pt x="592" y="43"/>
                    </a:lnTo>
                    <a:lnTo>
                      <a:pt x="593" y="43"/>
                    </a:lnTo>
                    <a:lnTo>
                      <a:pt x="593" y="41"/>
                    </a:lnTo>
                    <a:lnTo>
                      <a:pt x="593" y="41"/>
                    </a:lnTo>
                    <a:lnTo>
                      <a:pt x="594" y="41"/>
                    </a:lnTo>
                    <a:lnTo>
                      <a:pt x="594" y="41"/>
                    </a:lnTo>
                    <a:lnTo>
                      <a:pt x="596" y="43"/>
                    </a:lnTo>
                    <a:lnTo>
                      <a:pt x="598" y="44"/>
                    </a:lnTo>
                    <a:lnTo>
                      <a:pt x="599" y="44"/>
                    </a:lnTo>
                    <a:lnTo>
                      <a:pt x="599" y="44"/>
                    </a:lnTo>
                    <a:lnTo>
                      <a:pt x="600" y="44"/>
                    </a:lnTo>
                    <a:lnTo>
                      <a:pt x="601" y="45"/>
                    </a:lnTo>
                    <a:lnTo>
                      <a:pt x="600" y="44"/>
                    </a:lnTo>
                    <a:lnTo>
                      <a:pt x="601" y="43"/>
                    </a:lnTo>
                    <a:lnTo>
                      <a:pt x="602" y="43"/>
                    </a:lnTo>
                    <a:lnTo>
                      <a:pt x="603" y="41"/>
                    </a:lnTo>
                    <a:lnTo>
                      <a:pt x="600" y="41"/>
                    </a:lnTo>
                    <a:lnTo>
                      <a:pt x="599" y="43"/>
                    </a:lnTo>
                    <a:lnTo>
                      <a:pt x="598" y="43"/>
                    </a:lnTo>
                    <a:lnTo>
                      <a:pt x="596" y="41"/>
                    </a:lnTo>
                    <a:lnTo>
                      <a:pt x="596" y="41"/>
                    </a:lnTo>
                    <a:lnTo>
                      <a:pt x="596" y="41"/>
                    </a:lnTo>
                    <a:lnTo>
                      <a:pt x="596" y="41"/>
                    </a:lnTo>
                    <a:lnTo>
                      <a:pt x="595" y="40"/>
                    </a:lnTo>
                    <a:lnTo>
                      <a:pt x="595" y="40"/>
                    </a:lnTo>
                    <a:lnTo>
                      <a:pt x="596" y="39"/>
                    </a:lnTo>
                    <a:lnTo>
                      <a:pt x="598" y="39"/>
                    </a:lnTo>
                    <a:lnTo>
                      <a:pt x="599" y="38"/>
                    </a:lnTo>
                    <a:lnTo>
                      <a:pt x="600" y="38"/>
                    </a:lnTo>
                    <a:lnTo>
                      <a:pt x="601" y="38"/>
                    </a:lnTo>
                    <a:lnTo>
                      <a:pt x="602" y="37"/>
                    </a:lnTo>
                    <a:lnTo>
                      <a:pt x="602" y="37"/>
                    </a:lnTo>
                    <a:lnTo>
                      <a:pt x="603" y="36"/>
                    </a:lnTo>
                    <a:lnTo>
                      <a:pt x="605" y="34"/>
                    </a:lnTo>
                    <a:lnTo>
                      <a:pt x="606" y="33"/>
                    </a:lnTo>
                    <a:lnTo>
                      <a:pt x="606" y="33"/>
                    </a:lnTo>
                    <a:lnTo>
                      <a:pt x="607" y="32"/>
                    </a:lnTo>
                    <a:lnTo>
                      <a:pt x="608" y="31"/>
                    </a:lnTo>
                    <a:lnTo>
                      <a:pt x="609" y="30"/>
                    </a:lnTo>
                    <a:lnTo>
                      <a:pt x="610" y="30"/>
                    </a:lnTo>
                    <a:lnTo>
                      <a:pt x="611" y="29"/>
                    </a:lnTo>
                    <a:lnTo>
                      <a:pt x="611" y="29"/>
                    </a:lnTo>
                    <a:lnTo>
                      <a:pt x="614" y="28"/>
                    </a:lnTo>
                    <a:lnTo>
                      <a:pt x="614" y="26"/>
                    </a:lnTo>
                    <a:lnTo>
                      <a:pt x="614" y="26"/>
                    </a:lnTo>
                    <a:lnTo>
                      <a:pt x="615" y="25"/>
                    </a:lnTo>
                    <a:lnTo>
                      <a:pt x="615" y="25"/>
                    </a:lnTo>
                    <a:lnTo>
                      <a:pt x="616" y="25"/>
                    </a:lnTo>
                    <a:lnTo>
                      <a:pt x="616" y="24"/>
                    </a:lnTo>
                    <a:lnTo>
                      <a:pt x="616" y="24"/>
                    </a:lnTo>
                    <a:lnTo>
                      <a:pt x="617" y="24"/>
                    </a:lnTo>
                    <a:lnTo>
                      <a:pt x="618" y="23"/>
                    </a:lnTo>
                    <a:lnTo>
                      <a:pt x="620" y="22"/>
                    </a:lnTo>
                    <a:lnTo>
                      <a:pt x="620" y="22"/>
                    </a:lnTo>
                    <a:lnTo>
                      <a:pt x="621" y="21"/>
                    </a:lnTo>
                    <a:lnTo>
                      <a:pt x="622" y="21"/>
                    </a:lnTo>
                    <a:lnTo>
                      <a:pt x="625" y="21"/>
                    </a:lnTo>
                    <a:lnTo>
                      <a:pt x="628" y="19"/>
                    </a:lnTo>
                    <a:lnTo>
                      <a:pt x="629" y="19"/>
                    </a:lnTo>
                    <a:lnTo>
                      <a:pt x="629" y="19"/>
                    </a:lnTo>
                    <a:lnTo>
                      <a:pt x="629" y="18"/>
                    </a:lnTo>
                    <a:lnTo>
                      <a:pt x="629" y="17"/>
                    </a:lnTo>
                    <a:lnTo>
                      <a:pt x="629" y="17"/>
                    </a:lnTo>
                    <a:lnTo>
                      <a:pt x="630" y="16"/>
                    </a:lnTo>
                    <a:lnTo>
                      <a:pt x="631" y="16"/>
                    </a:lnTo>
                    <a:lnTo>
                      <a:pt x="631" y="15"/>
                    </a:lnTo>
                    <a:lnTo>
                      <a:pt x="632" y="15"/>
                    </a:lnTo>
                    <a:lnTo>
                      <a:pt x="635" y="14"/>
                    </a:lnTo>
                    <a:lnTo>
                      <a:pt x="635" y="14"/>
                    </a:lnTo>
                    <a:lnTo>
                      <a:pt x="636" y="14"/>
                    </a:lnTo>
                    <a:lnTo>
                      <a:pt x="637" y="14"/>
                    </a:lnTo>
                    <a:lnTo>
                      <a:pt x="638" y="14"/>
                    </a:lnTo>
                    <a:lnTo>
                      <a:pt x="638" y="13"/>
                    </a:lnTo>
                    <a:lnTo>
                      <a:pt x="639" y="13"/>
                    </a:lnTo>
                    <a:lnTo>
                      <a:pt x="639" y="11"/>
                    </a:lnTo>
                    <a:lnTo>
                      <a:pt x="639" y="11"/>
                    </a:lnTo>
                    <a:lnTo>
                      <a:pt x="639" y="11"/>
                    </a:lnTo>
                    <a:lnTo>
                      <a:pt x="641" y="11"/>
                    </a:lnTo>
                    <a:lnTo>
                      <a:pt x="643" y="10"/>
                    </a:lnTo>
                    <a:lnTo>
                      <a:pt x="645" y="9"/>
                    </a:lnTo>
                    <a:lnTo>
                      <a:pt x="647" y="9"/>
                    </a:lnTo>
                    <a:lnTo>
                      <a:pt x="648" y="10"/>
                    </a:lnTo>
                    <a:lnTo>
                      <a:pt x="650" y="9"/>
                    </a:lnTo>
                    <a:lnTo>
                      <a:pt x="651" y="9"/>
                    </a:lnTo>
                    <a:lnTo>
                      <a:pt x="652" y="8"/>
                    </a:lnTo>
                    <a:lnTo>
                      <a:pt x="654" y="8"/>
                    </a:lnTo>
                    <a:lnTo>
                      <a:pt x="654" y="9"/>
                    </a:lnTo>
                    <a:lnTo>
                      <a:pt x="655" y="9"/>
                    </a:lnTo>
                    <a:lnTo>
                      <a:pt x="657" y="8"/>
                    </a:lnTo>
                    <a:lnTo>
                      <a:pt x="659" y="8"/>
                    </a:lnTo>
                    <a:lnTo>
                      <a:pt x="661" y="8"/>
                    </a:lnTo>
                    <a:lnTo>
                      <a:pt x="662" y="8"/>
                    </a:lnTo>
                    <a:lnTo>
                      <a:pt x="662" y="7"/>
                    </a:lnTo>
                    <a:lnTo>
                      <a:pt x="662" y="7"/>
                    </a:lnTo>
                    <a:lnTo>
                      <a:pt x="662" y="7"/>
                    </a:lnTo>
                    <a:lnTo>
                      <a:pt x="662" y="7"/>
                    </a:lnTo>
                    <a:lnTo>
                      <a:pt x="663" y="6"/>
                    </a:lnTo>
                    <a:lnTo>
                      <a:pt x="665" y="6"/>
                    </a:lnTo>
                    <a:lnTo>
                      <a:pt x="666" y="6"/>
                    </a:lnTo>
                    <a:lnTo>
                      <a:pt x="666" y="6"/>
                    </a:lnTo>
                    <a:lnTo>
                      <a:pt x="668" y="7"/>
                    </a:lnTo>
                    <a:lnTo>
                      <a:pt x="673" y="7"/>
                    </a:lnTo>
                    <a:lnTo>
                      <a:pt x="674" y="6"/>
                    </a:lnTo>
                    <a:lnTo>
                      <a:pt x="675" y="4"/>
                    </a:lnTo>
                    <a:lnTo>
                      <a:pt x="676" y="4"/>
                    </a:lnTo>
                    <a:lnTo>
                      <a:pt x="677" y="3"/>
                    </a:lnTo>
                    <a:lnTo>
                      <a:pt x="678" y="3"/>
                    </a:lnTo>
                    <a:lnTo>
                      <a:pt x="680" y="4"/>
                    </a:lnTo>
                    <a:lnTo>
                      <a:pt x="681" y="2"/>
                    </a:lnTo>
                    <a:lnTo>
                      <a:pt x="683" y="2"/>
                    </a:lnTo>
                    <a:lnTo>
                      <a:pt x="684" y="3"/>
                    </a:lnTo>
                    <a:lnTo>
                      <a:pt x="685" y="7"/>
                    </a:lnTo>
                    <a:lnTo>
                      <a:pt x="687" y="4"/>
                    </a:lnTo>
                    <a:lnTo>
                      <a:pt x="687" y="3"/>
                    </a:lnTo>
                    <a:lnTo>
                      <a:pt x="685" y="3"/>
                    </a:lnTo>
                    <a:lnTo>
                      <a:pt x="685" y="3"/>
                    </a:lnTo>
                    <a:lnTo>
                      <a:pt x="685" y="3"/>
                    </a:lnTo>
                    <a:lnTo>
                      <a:pt x="685" y="2"/>
                    </a:lnTo>
                    <a:lnTo>
                      <a:pt x="685" y="2"/>
                    </a:lnTo>
                    <a:lnTo>
                      <a:pt x="687" y="1"/>
                    </a:lnTo>
                    <a:lnTo>
                      <a:pt x="688" y="0"/>
                    </a:lnTo>
                    <a:lnTo>
                      <a:pt x="689"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1"/>
              <p:cNvSpPr>
                <a:spLocks noEditPoints="1"/>
              </p:cNvSpPr>
              <p:nvPr/>
            </p:nvSpPr>
            <p:spPr bwMode="auto">
              <a:xfrm>
                <a:off x="4460" y="1889"/>
                <a:ext cx="179" cy="375"/>
              </a:xfrm>
              <a:custGeom>
                <a:avLst/>
                <a:gdLst>
                  <a:gd name="T0" fmla="*/ 303 w 539"/>
                  <a:gd name="T1" fmla="*/ 10 h 1124"/>
                  <a:gd name="T2" fmla="*/ 357 w 539"/>
                  <a:gd name="T3" fmla="*/ 14 h 1124"/>
                  <a:gd name="T4" fmla="*/ 318 w 539"/>
                  <a:gd name="T5" fmla="*/ 33 h 1124"/>
                  <a:gd name="T6" fmla="*/ 280 w 539"/>
                  <a:gd name="T7" fmla="*/ 50 h 1124"/>
                  <a:gd name="T8" fmla="*/ 232 w 539"/>
                  <a:gd name="T9" fmla="*/ 67 h 1124"/>
                  <a:gd name="T10" fmla="*/ 213 w 539"/>
                  <a:gd name="T11" fmla="*/ 98 h 1124"/>
                  <a:gd name="T12" fmla="*/ 266 w 539"/>
                  <a:gd name="T13" fmla="*/ 119 h 1124"/>
                  <a:gd name="T14" fmla="*/ 276 w 539"/>
                  <a:gd name="T15" fmla="*/ 138 h 1124"/>
                  <a:gd name="T16" fmla="*/ 321 w 539"/>
                  <a:gd name="T17" fmla="*/ 82 h 1124"/>
                  <a:gd name="T18" fmla="*/ 385 w 539"/>
                  <a:gd name="T19" fmla="*/ 63 h 1124"/>
                  <a:gd name="T20" fmla="*/ 379 w 539"/>
                  <a:gd name="T21" fmla="*/ 88 h 1124"/>
                  <a:gd name="T22" fmla="*/ 425 w 539"/>
                  <a:gd name="T23" fmla="*/ 75 h 1124"/>
                  <a:gd name="T24" fmla="*/ 442 w 539"/>
                  <a:gd name="T25" fmla="*/ 108 h 1124"/>
                  <a:gd name="T26" fmla="*/ 455 w 539"/>
                  <a:gd name="T27" fmla="*/ 125 h 1124"/>
                  <a:gd name="T28" fmla="*/ 366 w 539"/>
                  <a:gd name="T29" fmla="*/ 150 h 1124"/>
                  <a:gd name="T30" fmla="*/ 372 w 539"/>
                  <a:gd name="T31" fmla="*/ 163 h 1124"/>
                  <a:gd name="T32" fmla="*/ 392 w 539"/>
                  <a:gd name="T33" fmla="*/ 185 h 1124"/>
                  <a:gd name="T34" fmla="*/ 366 w 539"/>
                  <a:gd name="T35" fmla="*/ 190 h 1124"/>
                  <a:gd name="T36" fmla="*/ 330 w 539"/>
                  <a:gd name="T37" fmla="*/ 197 h 1124"/>
                  <a:gd name="T38" fmla="*/ 283 w 539"/>
                  <a:gd name="T39" fmla="*/ 226 h 1124"/>
                  <a:gd name="T40" fmla="*/ 254 w 539"/>
                  <a:gd name="T41" fmla="*/ 245 h 1124"/>
                  <a:gd name="T42" fmla="*/ 245 w 539"/>
                  <a:gd name="T43" fmla="*/ 252 h 1124"/>
                  <a:gd name="T44" fmla="*/ 243 w 539"/>
                  <a:gd name="T45" fmla="*/ 281 h 1124"/>
                  <a:gd name="T46" fmla="*/ 198 w 539"/>
                  <a:gd name="T47" fmla="*/ 309 h 1124"/>
                  <a:gd name="T48" fmla="*/ 182 w 539"/>
                  <a:gd name="T49" fmla="*/ 365 h 1124"/>
                  <a:gd name="T50" fmla="*/ 163 w 539"/>
                  <a:gd name="T51" fmla="*/ 366 h 1124"/>
                  <a:gd name="T52" fmla="*/ 140 w 539"/>
                  <a:gd name="T53" fmla="*/ 331 h 1124"/>
                  <a:gd name="T54" fmla="*/ 110 w 539"/>
                  <a:gd name="T55" fmla="*/ 342 h 1124"/>
                  <a:gd name="T56" fmla="*/ 65 w 539"/>
                  <a:gd name="T57" fmla="*/ 343 h 1124"/>
                  <a:gd name="T58" fmla="*/ 33 w 539"/>
                  <a:gd name="T59" fmla="*/ 372 h 1124"/>
                  <a:gd name="T60" fmla="*/ 50 w 539"/>
                  <a:gd name="T61" fmla="*/ 453 h 1124"/>
                  <a:gd name="T62" fmla="*/ 108 w 539"/>
                  <a:gd name="T63" fmla="*/ 421 h 1124"/>
                  <a:gd name="T64" fmla="*/ 93 w 539"/>
                  <a:gd name="T65" fmla="*/ 460 h 1124"/>
                  <a:gd name="T66" fmla="*/ 119 w 539"/>
                  <a:gd name="T67" fmla="*/ 483 h 1124"/>
                  <a:gd name="T68" fmla="*/ 124 w 539"/>
                  <a:gd name="T69" fmla="*/ 517 h 1124"/>
                  <a:gd name="T70" fmla="*/ 155 w 539"/>
                  <a:gd name="T71" fmla="*/ 550 h 1124"/>
                  <a:gd name="T72" fmla="*/ 184 w 539"/>
                  <a:gd name="T73" fmla="*/ 555 h 1124"/>
                  <a:gd name="T74" fmla="*/ 228 w 539"/>
                  <a:gd name="T75" fmla="*/ 516 h 1124"/>
                  <a:gd name="T76" fmla="*/ 232 w 539"/>
                  <a:gd name="T77" fmla="*/ 539 h 1124"/>
                  <a:gd name="T78" fmla="*/ 263 w 539"/>
                  <a:gd name="T79" fmla="*/ 532 h 1124"/>
                  <a:gd name="T80" fmla="*/ 325 w 539"/>
                  <a:gd name="T81" fmla="*/ 552 h 1124"/>
                  <a:gd name="T82" fmla="*/ 363 w 539"/>
                  <a:gd name="T83" fmla="*/ 585 h 1124"/>
                  <a:gd name="T84" fmla="*/ 406 w 539"/>
                  <a:gd name="T85" fmla="*/ 628 h 1124"/>
                  <a:gd name="T86" fmla="*/ 437 w 539"/>
                  <a:gd name="T87" fmla="*/ 990 h 1124"/>
                  <a:gd name="T88" fmla="*/ 414 w 539"/>
                  <a:gd name="T89" fmla="*/ 1025 h 1124"/>
                  <a:gd name="T90" fmla="*/ 360 w 539"/>
                  <a:gd name="T91" fmla="*/ 1062 h 1124"/>
                  <a:gd name="T92" fmla="*/ 367 w 539"/>
                  <a:gd name="T93" fmla="*/ 1086 h 1124"/>
                  <a:gd name="T94" fmla="*/ 304 w 539"/>
                  <a:gd name="T95" fmla="*/ 1076 h 1124"/>
                  <a:gd name="T96" fmla="*/ 280 w 539"/>
                  <a:gd name="T97" fmla="*/ 1024 h 1124"/>
                  <a:gd name="T98" fmla="*/ 272 w 539"/>
                  <a:gd name="T99" fmla="*/ 957 h 1124"/>
                  <a:gd name="T100" fmla="*/ 265 w 539"/>
                  <a:gd name="T101" fmla="*/ 881 h 1124"/>
                  <a:gd name="T102" fmla="*/ 203 w 539"/>
                  <a:gd name="T103" fmla="*/ 808 h 1124"/>
                  <a:gd name="T104" fmla="*/ 145 w 539"/>
                  <a:gd name="T105" fmla="*/ 711 h 1124"/>
                  <a:gd name="T106" fmla="*/ 146 w 539"/>
                  <a:gd name="T107" fmla="*/ 674 h 1124"/>
                  <a:gd name="T108" fmla="*/ 155 w 539"/>
                  <a:gd name="T109" fmla="*/ 637 h 1124"/>
                  <a:gd name="T110" fmla="*/ 176 w 539"/>
                  <a:gd name="T111" fmla="*/ 596 h 1124"/>
                  <a:gd name="T112" fmla="*/ 169 w 539"/>
                  <a:gd name="T113" fmla="*/ 558 h 1124"/>
                  <a:gd name="T114" fmla="*/ 131 w 539"/>
                  <a:gd name="T115" fmla="*/ 559 h 1124"/>
                  <a:gd name="T116" fmla="*/ 109 w 539"/>
                  <a:gd name="T117" fmla="*/ 545 h 1124"/>
                  <a:gd name="T118" fmla="*/ 80 w 539"/>
                  <a:gd name="T119" fmla="*/ 508 h 1124"/>
                  <a:gd name="T120" fmla="*/ 20 w 539"/>
                  <a:gd name="T121" fmla="*/ 483 h 1124"/>
                  <a:gd name="T122" fmla="*/ 260 w 539"/>
                  <a:gd name="T123" fmla="*/ 24 h 1124"/>
                  <a:gd name="T124" fmla="*/ 285 w 539"/>
                  <a:gd name="T125" fmla="*/ 20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9" h="1124">
                    <a:moveTo>
                      <a:pt x="239" y="20"/>
                    </a:moveTo>
                    <a:lnTo>
                      <a:pt x="239" y="20"/>
                    </a:lnTo>
                    <a:lnTo>
                      <a:pt x="239" y="21"/>
                    </a:lnTo>
                    <a:lnTo>
                      <a:pt x="239" y="21"/>
                    </a:lnTo>
                    <a:lnTo>
                      <a:pt x="238" y="21"/>
                    </a:lnTo>
                    <a:lnTo>
                      <a:pt x="238" y="21"/>
                    </a:lnTo>
                    <a:lnTo>
                      <a:pt x="239" y="20"/>
                    </a:lnTo>
                    <a:lnTo>
                      <a:pt x="239" y="20"/>
                    </a:lnTo>
                    <a:lnTo>
                      <a:pt x="239" y="20"/>
                    </a:lnTo>
                    <a:close/>
                    <a:moveTo>
                      <a:pt x="527" y="7"/>
                    </a:moveTo>
                    <a:lnTo>
                      <a:pt x="535" y="7"/>
                    </a:lnTo>
                    <a:lnTo>
                      <a:pt x="536" y="7"/>
                    </a:lnTo>
                    <a:lnTo>
                      <a:pt x="537" y="8"/>
                    </a:lnTo>
                    <a:lnTo>
                      <a:pt x="537" y="8"/>
                    </a:lnTo>
                    <a:lnTo>
                      <a:pt x="538" y="9"/>
                    </a:lnTo>
                    <a:lnTo>
                      <a:pt x="539" y="9"/>
                    </a:lnTo>
                    <a:lnTo>
                      <a:pt x="539" y="10"/>
                    </a:lnTo>
                    <a:lnTo>
                      <a:pt x="539" y="11"/>
                    </a:lnTo>
                    <a:lnTo>
                      <a:pt x="538" y="13"/>
                    </a:lnTo>
                    <a:lnTo>
                      <a:pt x="536" y="13"/>
                    </a:lnTo>
                    <a:lnTo>
                      <a:pt x="535" y="13"/>
                    </a:lnTo>
                    <a:lnTo>
                      <a:pt x="535" y="11"/>
                    </a:lnTo>
                    <a:lnTo>
                      <a:pt x="534" y="10"/>
                    </a:lnTo>
                    <a:lnTo>
                      <a:pt x="530" y="10"/>
                    </a:lnTo>
                    <a:lnTo>
                      <a:pt x="529" y="10"/>
                    </a:lnTo>
                    <a:lnTo>
                      <a:pt x="528" y="9"/>
                    </a:lnTo>
                    <a:lnTo>
                      <a:pt x="528" y="9"/>
                    </a:lnTo>
                    <a:lnTo>
                      <a:pt x="527" y="9"/>
                    </a:lnTo>
                    <a:lnTo>
                      <a:pt x="526" y="9"/>
                    </a:lnTo>
                    <a:lnTo>
                      <a:pt x="524" y="8"/>
                    </a:lnTo>
                    <a:lnTo>
                      <a:pt x="526" y="8"/>
                    </a:lnTo>
                    <a:lnTo>
                      <a:pt x="527" y="7"/>
                    </a:lnTo>
                    <a:close/>
                    <a:moveTo>
                      <a:pt x="300" y="0"/>
                    </a:moveTo>
                    <a:lnTo>
                      <a:pt x="303" y="0"/>
                    </a:lnTo>
                    <a:lnTo>
                      <a:pt x="305" y="1"/>
                    </a:lnTo>
                    <a:lnTo>
                      <a:pt x="306" y="2"/>
                    </a:lnTo>
                    <a:lnTo>
                      <a:pt x="306" y="3"/>
                    </a:lnTo>
                    <a:lnTo>
                      <a:pt x="306" y="6"/>
                    </a:lnTo>
                    <a:lnTo>
                      <a:pt x="306" y="7"/>
                    </a:lnTo>
                    <a:lnTo>
                      <a:pt x="307" y="7"/>
                    </a:lnTo>
                    <a:lnTo>
                      <a:pt x="309" y="8"/>
                    </a:lnTo>
                    <a:lnTo>
                      <a:pt x="309" y="8"/>
                    </a:lnTo>
                    <a:lnTo>
                      <a:pt x="307" y="9"/>
                    </a:lnTo>
                    <a:lnTo>
                      <a:pt x="306" y="9"/>
                    </a:lnTo>
                    <a:lnTo>
                      <a:pt x="305" y="9"/>
                    </a:lnTo>
                    <a:lnTo>
                      <a:pt x="305" y="9"/>
                    </a:lnTo>
                    <a:lnTo>
                      <a:pt x="305" y="9"/>
                    </a:lnTo>
                    <a:lnTo>
                      <a:pt x="304" y="8"/>
                    </a:lnTo>
                    <a:lnTo>
                      <a:pt x="303" y="9"/>
                    </a:lnTo>
                    <a:lnTo>
                      <a:pt x="302" y="9"/>
                    </a:lnTo>
                    <a:lnTo>
                      <a:pt x="302" y="10"/>
                    </a:lnTo>
                    <a:lnTo>
                      <a:pt x="303" y="10"/>
                    </a:lnTo>
                    <a:lnTo>
                      <a:pt x="303" y="11"/>
                    </a:lnTo>
                    <a:lnTo>
                      <a:pt x="304" y="11"/>
                    </a:lnTo>
                    <a:lnTo>
                      <a:pt x="304" y="13"/>
                    </a:lnTo>
                    <a:lnTo>
                      <a:pt x="303" y="13"/>
                    </a:lnTo>
                    <a:lnTo>
                      <a:pt x="300" y="14"/>
                    </a:lnTo>
                    <a:lnTo>
                      <a:pt x="303" y="14"/>
                    </a:lnTo>
                    <a:lnTo>
                      <a:pt x="304" y="15"/>
                    </a:lnTo>
                    <a:lnTo>
                      <a:pt x="305" y="15"/>
                    </a:lnTo>
                    <a:lnTo>
                      <a:pt x="305" y="15"/>
                    </a:lnTo>
                    <a:lnTo>
                      <a:pt x="305" y="16"/>
                    </a:lnTo>
                    <a:lnTo>
                      <a:pt x="304" y="17"/>
                    </a:lnTo>
                    <a:lnTo>
                      <a:pt x="303" y="20"/>
                    </a:lnTo>
                    <a:lnTo>
                      <a:pt x="305" y="18"/>
                    </a:lnTo>
                    <a:lnTo>
                      <a:pt x="306" y="18"/>
                    </a:lnTo>
                    <a:lnTo>
                      <a:pt x="309" y="18"/>
                    </a:lnTo>
                    <a:lnTo>
                      <a:pt x="310" y="17"/>
                    </a:lnTo>
                    <a:lnTo>
                      <a:pt x="311" y="16"/>
                    </a:lnTo>
                    <a:lnTo>
                      <a:pt x="313" y="15"/>
                    </a:lnTo>
                    <a:lnTo>
                      <a:pt x="315" y="15"/>
                    </a:lnTo>
                    <a:lnTo>
                      <a:pt x="317" y="16"/>
                    </a:lnTo>
                    <a:lnTo>
                      <a:pt x="318" y="17"/>
                    </a:lnTo>
                    <a:lnTo>
                      <a:pt x="318" y="18"/>
                    </a:lnTo>
                    <a:lnTo>
                      <a:pt x="317" y="20"/>
                    </a:lnTo>
                    <a:lnTo>
                      <a:pt x="315" y="21"/>
                    </a:lnTo>
                    <a:lnTo>
                      <a:pt x="315" y="22"/>
                    </a:lnTo>
                    <a:lnTo>
                      <a:pt x="315" y="23"/>
                    </a:lnTo>
                    <a:lnTo>
                      <a:pt x="315" y="24"/>
                    </a:lnTo>
                    <a:lnTo>
                      <a:pt x="315" y="25"/>
                    </a:lnTo>
                    <a:lnTo>
                      <a:pt x="314" y="26"/>
                    </a:lnTo>
                    <a:lnTo>
                      <a:pt x="319" y="24"/>
                    </a:lnTo>
                    <a:lnTo>
                      <a:pt x="322" y="22"/>
                    </a:lnTo>
                    <a:lnTo>
                      <a:pt x="325" y="21"/>
                    </a:lnTo>
                    <a:lnTo>
                      <a:pt x="328" y="21"/>
                    </a:lnTo>
                    <a:lnTo>
                      <a:pt x="329" y="21"/>
                    </a:lnTo>
                    <a:lnTo>
                      <a:pt x="330" y="20"/>
                    </a:lnTo>
                    <a:lnTo>
                      <a:pt x="333" y="17"/>
                    </a:lnTo>
                    <a:lnTo>
                      <a:pt x="334" y="17"/>
                    </a:lnTo>
                    <a:lnTo>
                      <a:pt x="335" y="16"/>
                    </a:lnTo>
                    <a:lnTo>
                      <a:pt x="336" y="16"/>
                    </a:lnTo>
                    <a:lnTo>
                      <a:pt x="337" y="16"/>
                    </a:lnTo>
                    <a:lnTo>
                      <a:pt x="336" y="15"/>
                    </a:lnTo>
                    <a:lnTo>
                      <a:pt x="336" y="14"/>
                    </a:lnTo>
                    <a:lnTo>
                      <a:pt x="336" y="13"/>
                    </a:lnTo>
                    <a:lnTo>
                      <a:pt x="337" y="11"/>
                    </a:lnTo>
                    <a:lnTo>
                      <a:pt x="340" y="10"/>
                    </a:lnTo>
                    <a:lnTo>
                      <a:pt x="342" y="10"/>
                    </a:lnTo>
                    <a:lnTo>
                      <a:pt x="344" y="10"/>
                    </a:lnTo>
                    <a:lnTo>
                      <a:pt x="348" y="11"/>
                    </a:lnTo>
                    <a:lnTo>
                      <a:pt x="351" y="11"/>
                    </a:lnTo>
                    <a:lnTo>
                      <a:pt x="354" y="11"/>
                    </a:lnTo>
                    <a:lnTo>
                      <a:pt x="355" y="13"/>
                    </a:lnTo>
                    <a:lnTo>
                      <a:pt x="357" y="14"/>
                    </a:lnTo>
                    <a:lnTo>
                      <a:pt x="359" y="15"/>
                    </a:lnTo>
                    <a:lnTo>
                      <a:pt x="360" y="15"/>
                    </a:lnTo>
                    <a:lnTo>
                      <a:pt x="360" y="16"/>
                    </a:lnTo>
                    <a:lnTo>
                      <a:pt x="360" y="16"/>
                    </a:lnTo>
                    <a:lnTo>
                      <a:pt x="358" y="17"/>
                    </a:lnTo>
                    <a:lnTo>
                      <a:pt x="358" y="18"/>
                    </a:lnTo>
                    <a:lnTo>
                      <a:pt x="357" y="18"/>
                    </a:lnTo>
                    <a:lnTo>
                      <a:pt x="357" y="18"/>
                    </a:lnTo>
                    <a:lnTo>
                      <a:pt x="355" y="17"/>
                    </a:lnTo>
                    <a:lnTo>
                      <a:pt x="354" y="18"/>
                    </a:lnTo>
                    <a:lnTo>
                      <a:pt x="352" y="18"/>
                    </a:lnTo>
                    <a:lnTo>
                      <a:pt x="352" y="20"/>
                    </a:lnTo>
                    <a:lnTo>
                      <a:pt x="354" y="21"/>
                    </a:lnTo>
                    <a:lnTo>
                      <a:pt x="354" y="21"/>
                    </a:lnTo>
                    <a:lnTo>
                      <a:pt x="352" y="22"/>
                    </a:lnTo>
                    <a:lnTo>
                      <a:pt x="352" y="23"/>
                    </a:lnTo>
                    <a:lnTo>
                      <a:pt x="352" y="24"/>
                    </a:lnTo>
                    <a:lnTo>
                      <a:pt x="352" y="24"/>
                    </a:lnTo>
                    <a:lnTo>
                      <a:pt x="354" y="24"/>
                    </a:lnTo>
                    <a:lnTo>
                      <a:pt x="352" y="25"/>
                    </a:lnTo>
                    <a:lnTo>
                      <a:pt x="351" y="26"/>
                    </a:lnTo>
                    <a:lnTo>
                      <a:pt x="350" y="29"/>
                    </a:lnTo>
                    <a:lnTo>
                      <a:pt x="347" y="29"/>
                    </a:lnTo>
                    <a:lnTo>
                      <a:pt x="345" y="30"/>
                    </a:lnTo>
                    <a:lnTo>
                      <a:pt x="343" y="30"/>
                    </a:lnTo>
                    <a:lnTo>
                      <a:pt x="342" y="30"/>
                    </a:lnTo>
                    <a:lnTo>
                      <a:pt x="341" y="30"/>
                    </a:lnTo>
                    <a:lnTo>
                      <a:pt x="340" y="30"/>
                    </a:lnTo>
                    <a:lnTo>
                      <a:pt x="337" y="30"/>
                    </a:lnTo>
                    <a:lnTo>
                      <a:pt x="336" y="31"/>
                    </a:lnTo>
                    <a:lnTo>
                      <a:pt x="335" y="31"/>
                    </a:lnTo>
                    <a:lnTo>
                      <a:pt x="334" y="31"/>
                    </a:lnTo>
                    <a:lnTo>
                      <a:pt x="333" y="31"/>
                    </a:lnTo>
                    <a:lnTo>
                      <a:pt x="330" y="32"/>
                    </a:lnTo>
                    <a:lnTo>
                      <a:pt x="328" y="32"/>
                    </a:lnTo>
                    <a:lnTo>
                      <a:pt x="327" y="31"/>
                    </a:lnTo>
                    <a:lnTo>
                      <a:pt x="326" y="30"/>
                    </a:lnTo>
                    <a:lnTo>
                      <a:pt x="325" y="29"/>
                    </a:lnTo>
                    <a:lnTo>
                      <a:pt x="324" y="29"/>
                    </a:lnTo>
                    <a:lnTo>
                      <a:pt x="324" y="29"/>
                    </a:lnTo>
                    <a:lnTo>
                      <a:pt x="324" y="29"/>
                    </a:lnTo>
                    <a:lnTo>
                      <a:pt x="325" y="30"/>
                    </a:lnTo>
                    <a:lnTo>
                      <a:pt x="325" y="30"/>
                    </a:lnTo>
                    <a:lnTo>
                      <a:pt x="326" y="32"/>
                    </a:lnTo>
                    <a:lnTo>
                      <a:pt x="326" y="32"/>
                    </a:lnTo>
                    <a:lnTo>
                      <a:pt x="326" y="33"/>
                    </a:lnTo>
                    <a:lnTo>
                      <a:pt x="325" y="33"/>
                    </a:lnTo>
                    <a:lnTo>
                      <a:pt x="324" y="33"/>
                    </a:lnTo>
                    <a:lnTo>
                      <a:pt x="321" y="33"/>
                    </a:lnTo>
                    <a:lnTo>
                      <a:pt x="320" y="33"/>
                    </a:lnTo>
                    <a:lnTo>
                      <a:pt x="319" y="33"/>
                    </a:lnTo>
                    <a:lnTo>
                      <a:pt x="318" y="33"/>
                    </a:lnTo>
                    <a:lnTo>
                      <a:pt x="318" y="32"/>
                    </a:lnTo>
                    <a:lnTo>
                      <a:pt x="318" y="31"/>
                    </a:lnTo>
                    <a:lnTo>
                      <a:pt x="317" y="31"/>
                    </a:lnTo>
                    <a:lnTo>
                      <a:pt x="315" y="31"/>
                    </a:lnTo>
                    <a:lnTo>
                      <a:pt x="314" y="31"/>
                    </a:lnTo>
                    <a:lnTo>
                      <a:pt x="311" y="32"/>
                    </a:lnTo>
                    <a:lnTo>
                      <a:pt x="310" y="32"/>
                    </a:lnTo>
                    <a:lnTo>
                      <a:pt x="310" y="32"/>
                    </a:lnTo>
                    <a:lnTo>
                      <a:pt x="310" y="33"/>
                    </a:lnTo>
                    <a:lnTo>
                      <a:pt x="311" y="33"/>
                    </a:lnTo>
                    <a:lnTo>
                      <a:pt x="312" y="33"/>
                    </a:lnTo>
                    <a:lnTo>
                      <a:pt x="313" y="35"/>
                    </a:lnTo>
                    <a:lnTo>
                      <a:pt x="313" y="35"/>
                    </a:lnTo>
                    <a:lnTo>
                      <a:pt x="312" y="36"/>
                    </a:lnTo>
                    <a:lnTo>
                      <a:pt x="310" y="36"/>
                    </a:lnTo>
                    <a:lnTo>
                      <a:pt x="306" y="37"/>
                    </a:lnTo>
                    <a:lnTo>
                      <a:pt x="303" y="38"/>
                    </a:lnTo>
                    <a:lnTo>
                      <a:pt x="300" y="39"/>
                    </a:lnTo>
                    <a:lnTo>
                      <a:pt x="299" y="40"/>
                    </a:lnTo>
                    <a:lnTo>
                      <a:pt x="299" y="40"/>
                    </a:lnTo>
                    <a:lnTo>
                      <a:pt x="298" y="40"/>
                    </a:lnTo>
                    <a:lnTo>
                      <a:pt x="296" y="40"/>
                    </a:lnTo>
                    <a:lnTo>
                      <a:pt x="294" y="40"/>
                    </a:lnTo>
                    <a:lnTo>
                      <a:pt x="291" y="40"/>
                    </a:lnTo>
                    <a:lnTo>
                      <a:pt x="290" y="39"/>
                    </a:lnTo>
                    <a:lnTo>
                      <a:pt x="290" y="39"/>
                    </a:lnTo>
                    <a:lnTo>
                      <a:pt x="289" y="38"/>
                    </a:lnTo>
                    <a:lnTo>
                      <a:pt x="289" y="37"/>
                    </a:lnTo>
                    <a:lnTo>
                      <a:pt x="288" y="37"/>
                    </a:lnTo>
                    <a:lnTo>
                      <a:pt x="285" y="37"/>
                    </a:lnTo>
                    <a:lnTo>
                      <a:pt x="283" y="37"/>
                    </a:lnTo>
                    <a:lnTo>
                      <a:pt x="285" y="37"/>
                    </a:lnTo>
                    <a:lnTo>
                      <a:pt x="288" y="38"/>
                    </a:lnTo>
                    <a:lnTo>
                      <a:pt x="288" y="38"/>
                    </a:lnTo>
                    <a:lnTo>
                      <a:pt x="289" y="39"/>
                    </a:lnTo>
                    <a:lnTo>
                      <a:pt x="289" y="39"/>
                    </a:lnTo>
                    <a:lnTo>
                      <a:pt x="290" y="40"/>
                    </a:lnTo>
                    <a:lnTo>
                      <a:pt x="292" y="40"/>
                    </a:lnTo>
                    <a:lnTo>
                      <a:pt x="295" y="41"/>
                    </a:lnTo>
                    <a:lnTo>
                      <a:pt x="296" y="41"/>
                    </a:lnTo>
                    <a:lnTo>
                      <a:pt x="298" y="41"/>
                    </a:lnTo>
                    <a:lnTo>
                      <a:pt x="299" y="41"/>
                    </a:lnTo>
                    <a:lnTo>
                      <a:pt x="299" y="41"/>
                    </a:lnTo>
                    <a:lnTo>
                      <a:pt x="299" y="43"/>
                    </a:lnTo>
                    <a:lnTo>
                      <a:pt x="297" y="44"/>
                    </a:lnTo>
                    <a:lnTo>
                      <a:pt x="294" y="45"/>
                    </a:lnTo>
                    <a:lnTo>
                      <a:pt x="291" y="46"/>
                    </a:lnTo>
                    <a:lnTo>
                      <a:pt x="289" y="47"/>
                    </a:lnTo>
                    <a:lnTo>
                      <a:pt x="287" y="48"/>
                    </a:lnTo>
                    <a:lnTo>
                      <a:pt x="283" y="50"/>
                    </a:lnTo>
                    <a:lnTo>
                      <a:pt x="281" y="50"/>
                    </a:lnTo>
                    <a:lnTo>
                      <a:pt x="280" y="50"/>
                    </a:lnTo>
                    <a:lnTo>
                      <a:pt x="279" y="50"/>
                    </a:lnTo>
                    <a:lnTo>
                      <a:pt x="276" y="48"/>
                    </a:lnTo>
                    <a:lnTo>
                      <a:pt x="275" y="47"/>
                    </a:lnTo>
                    <a:lnTo>
                      <a:pt x="274" y="48"/>
                    </a:lnTo>
                    <a:lnTo>
                      <a:pt x="274" y="50"/>
                    </a:lnTo>
                    <a:lnTo>
                      <a:pt x="273" y="50"/>
                    </a:lnTo>
                    <a:lnTo>
                      <a:pt x="272" y="51"/>
                    </a:lnTo>
                    <a:lnTo>
                      <a:pt x="269" y="51"/>
                    </a:lnTo>
                    <a:lnTo>
                      <a:pt x="268" y="51"/>
                    </a:lnTo>
                    <a:lnTo>
                      <a:pt x="267" y="51"/>
                    </a:lnTo>
                    <a:lnTo>
                      <a:pt x="266" y="51"/>
                    </a:lnTo>
                    <a:lnTo>
                      <a:pt x="263" y="51"/>
                    </a:lnTo>
                    <a:lnTo>
                      <a:pt x="261" y="50"/>
                    </a:lnTo>
                    <a:lnTo>
                      <a:pt x="257" y="51"/>
                    </a:lnTo>
                    <a:lnTo>
                      <a:pt x="252" y="51"/>
                    </a:lnTo>
                    <a:lnTo>
                      <a:pt x="255" y="51"/>
                    </a:lnTo>
                    <a:lnTo>
                      <a:pt x="257" y="51"/>
                    </a:lnTo>
                    <a:lnTo>
                      <a:pt x="258" y="51"/>
                    </a:lnTo>
                    <a:lnTo>
                      <a:pt x="257" y="52"/>
                    </a:lnTo>
                    <a:lnTo>
                      <a:pt x="255" y="53"/>
                    </a:lnTo>
                    <a:lnTo>
                      <a:pt x="259" y="52"/>
                    </a:lnTo>
                    <a:lnTo>
                      <a:pt x="261" y="51"/>
                    </a:lnTo>
                    <a:lnTo>
                      <a:pt x="262" y="51"/>
                    </a:lnTo>
                    <a:lnTo>
                      <a:pt x="263" y="51"/>
                    </a:lnTo>
                    <a:lnTo>
                      <a:pt x="265" y="52"/>
                    </a:lnTo>
                    <a:lnTo>
                      <a:pt x="266" y="53"/>
                    </a:lnTo>
                    <a:lnTo>
                      <a:pt x="266" y="54"/>
                    </a:lnTo>
                    <a:lnTo>
                      <a:pt x="266" y="54"/>
                    </a:lnTo>
                    <a:lnTo>
                      <a:pt x="265" y="55"/>
                    </a:lnTo>
                    <a:lnTo>
                      <a:pt x="262" y="56"/>
                    </a:lnTo>
                    <a:lnTo>
                      <a:pt x="259" y="56"/>
                    </a:lnTo>
                    <a:lnTo>
                      <a:pt x="255" y="55"/>
                    </a:lnTo>
                    <a:lnTo>
                      <a:pt x="254" y="55"/>
                    </a:lnTo>
                    <a:lnTo>
                      <a:pt x="253" y="55"/>
                    </a:lnTo>
                    <a:lnTo>
                      <a:pt x="253" y="56"/>
                    </a:lnTo>
                    <a:lnTo>
                      <a:pt x="254" y="56"/>
                    </a:lnTo>
                    <a:lnTo>
                      <a:pt x="254" y="56"/>
                    </a:lnTo>
                    <a:lnTo>
                      <a:pt x="255" y="58"/>
                    </a:lnTo>
                    <a:lnTo>
                      <a:pt x="254" y="58"/>
                    </a:lnTo>
                    <a:lnTo>
                      <a:pt x="253" y="58"/>
                    </a:lnTo>
                    <a:lnTo>
                      <a:pt x="250" y="59"/>
                    </a:lnTo>
                    <a:lnTo>
                      <a:pt x="247" y="60"/>
                    </a:lnTo>
                    <a:lnTo>
                      <a:pt x="246" y="60"/>
                    </a:lnTo>
                    <a:lnTo>
                      <a:pt x="246" y="61"/>
                    </a:lnTo>
                    <a:lnTo>
                      <a:pt x="245" y="61"/>
                    </a:lnTo>
                    <a:lnTo>
                      <a:pt x="245" y="61"/>
                    </a:lnTo>
                    <a:lnTo>
                      <a:pt x="243" y="62"/>
                    </a:lnTo>
                    <a:lnTo>
                      <a:pt x="240" y="63"/>
                    </a:lnTo>
                    <a:lnTo>
                      <a:pt x="238" y="66"/>
                    </a:lnTo>
                    <a:lnTo>
                      <a:pt x="236" y="67"/>
                    </a:lnTo>
                    <a:lnTo>
                      <a:pt x="233" y="67"/>
                    </a:lnTo>
                    <a:lnTo>
                      <a:pt x="232" y="67"/>
                    </a:lnTo>
                    <a:lnTo>
                      <a:pt x="231" y="67"/>
                    </a:lnTo>
                    <a:lnTo>
                      <a:pt x="230" y="67"/>
                    </a:lnTo>
                    <a:lnTo>
                      <a:pt x="230" y="67"/>
                    </a:lnTo>
                    <a:lnTo>
                      <a:pt x="230" y="68"/>
                    </a:lnTo>
                    <a:lnTo>
                      <a:pt x="230" y="69"/>
                    </a:lnTo>
                    <a:lnTo>
                      <a:pt x="229" y="69"/>
                    </a:lnTo>
                    <a:lnTo>
                      <a:pt x="227" y="70"/>
                    </a:lnTo>
                    <a:lnTo>
                      <a:pt x="224" y="72"/>
                    </a:lnTo>
                    <a:lnTo>
                      <a:pt x="222" y="73"/>
                    </a:lnTo>
                    <a:lnTo>
                      <a:pt x="222" y="73"/>
                    </a:lnTo>
                    <a:lnTo>
                      <a:pt x="222" y="74"/>
                    </a:lnTo>
                    <a:lnTo>
                      <a:pt x="222" y="74"/>
                    </a:lnTo>
                    <a:lnTo>
                      <a:pt x="222" y="74"/>
                    </a:lnTo>
                    <a:lnTo>
                      <a:pt x="222" y="75"/>
                    </a:lnTo>
                    <a:lnTo>
                      <a:pt x="221" y="75"/>
                    </a:lnTo>
                    <a:lnTo>
                      <a:pt x="218" y="75"/>
                    </a:lnTo>
                    <a:lnTo>
                      <a:pt x="218" y="75"/>
                    </a:lnTo>
                    <a:lnTo>
                      <a:pt x="218" y="76"/>
                    </a:lnTo>
                    <a:lnTo>
                      <a:pt x="218" y="76"/>
                    </a:lnTo>
                    <a:lnTo>
                      <a:pt x="218" y="76"/>
                    </a:lnTo>
                    <a:lnTo>
                      <a:pt x="217" y="77"/>
                    </a:lnTo>
                    <a:lnTo>
                      <a:pt x="215" y="78"/>
                    </a:lnTo>
                    <a:lnTo>
                      <a:pt x="213" y="80"/>
                    </a:lnTo>
                    <a:lnTo>
                      <a:pt x="213" y="81"/>
                    </a:lnTo>
                    <a:lnTo>
                      <a:pt x="212" y="83"/>
                    </a:lnTo>
                    <a:lnTo>
                      <a:pt x="212" y="84"/>
                    </a:lnTo>
                    <a:lnTo>
                      <a:pt x="210" y="85"/>
                    </a:lnTo>
                    <a:lnTo>
                      <a:pt x="209" y="87"/>
                    </a:lnTo>
                    <a:lnTo>
                      <a:pt x="209" y="87"/>
                    </a:lnTo>
                    <a:lnTo>
                      <a:pt x="208" y="88"/>
                    </a:lnTo>
                    <a:lnTo>
                      <a:pt x="209" y="87"/>
                    </a:lnTo>
                    <a:lnTo>
                      <a:pt x="209" y="87"/>
                    </a:lnTo>
                    <a:lnTo>
                      <a:pt x="210" y="88"/>
                    </a:lnTo>
                    <a:lnTo>
                      <a:pt x="210" y="89"/>
                    </a:lnTo>
                    <a:lnTo>
                      <a:pt x="212" y="88"/>
                    </a:lnTo>
                    <a:lnTo>
                      <a:pt x="214" y="88"/>
                    </a:lnTo>
                    <a:lnTo>
                      <a:pt x="215" y="88"/>
                    </a:lnTo>
                    <a:lnTo>
                      <a:pt x="217" y="88"/>
                    </a:lnTo>
                    <a:lnTo>
                      <a:pt x="217" y="89"/>
                    </a:lnTo>
                    <a:lnTo>
                      <a:pt x="218" y="90"/>
                    </a:lnTo>
                    <a:lnTo>
                      <a:pt x="218" y="91"/>
                    </a:lnTo>
                    <a:lnTo>
                      <a:pt x="218" y="91"/>
                    </a:lnTo>
                    <a:lnTo>
                      <a:pt x="218" y="92"/>
                    </a:lnTo>
                    <a:lnTo>
                      <a:pt x="220" y="93"/>
                    </a:lnTo>
                    <a:lnTo>
                      <a:pt x="220" y="95"/>
                    </a:lnTo>
                    <a:lnTo>
                      <a:pt x="220" y="96"/>
                    </a:lnTo>
                    <a:lnTo>
                      <a:pt x="218" y="96"/>
                    </a:lnTo>
                    <a:lnTo>
                      <a:pt x="217" y="98"/>
                    </a:lnTo>
                    <a:lnTo>
                      <a:pt x="215" y="98"/>
                    </a:lnTo>
                    <a:lnTo>
                      <a:pt x="215" y="99"/>
                    </a:lnTo>
                    <a:lnTo>
                      <a:pt x="214" y="98"/>
                    </a:lnTo>
                    <a:lnTo>
                      <a:pt x="213" y="98"/>
                    </a:lnTo>
                    <a:lnTo>
                      <a:pt x="212" y="99"/>
                    </a:lnTo>
                    <a:lnTo>
                      <a:pt x="210" y="99"/>
                    </a:lnTo>
                    <a:lnTo>
                      <a:pt x="215" y="99"/>
                    </a:lnTo>
                    <a:lnTo>
                      <a:pt x="217" y="99"/>
                    </a:lnTo>
                    <a:lnTo>
                      <a:pt x="220" y="99"/>
                    </a:lnTo>
                    <a:lnTo>
                      <a:pt x="222" y="98"/>
                    </a:lnTo>
                    <a:lnTo>
                      <a:pt x="224" y="97"/>
                    </a:lnTo>
                    <a:lnTo>
                      <a:pt x="227" y="97"/>
                    </a:lnTo>
                    <a:lnTo>
                      <a:pt x="228" y="97"/>
                    </a:lnTo>
                    <a:lnTo>
                      <a:pt x="229" y="98"/>
                    </a:lnTo>
                    <a:lnTo>
                      <a:pt x="230" y="99"/>
                    </a:lnTo>
                    <a:lnTo>
                      <a:pt x="231" y="100"/>
                    </a:lnTo>
                    <a:lnTo>
                      <a:pt x="233" y="100"/>
                    </a:lnTo>
                    <a:lnTo>
                      <a:pt x="237" y="100"/>
                    </a:lnTo>
                    <a:lnTo>
                      <a:pt x="239" y="102"/>
                    </a:lnTo>
                    <a:lnTo>
                      <a:pt x="240" y="102"/>
                    </a:lnTo>
                    <a:lnTo>
                      <a:pt x="242" y="103"/>
                    </a:lnTo>
                    <a:lnTo>
                      <a:pt x="242" y="105"/>
                    </a:lnTo>
                    <a:lnTo>
                      <a:pt x="243" y="105"/>
                    </a:lnTo>
                    <a:lnTo>
                      <a:pt x="243" y="105"/>
                    </a:lnTo>
                    <a:lnTo>
                      <a:pt x="245" y="105"/>
                    </a:lnTo>
                    <a:lnTo>
                      <a:pt x="246" y="105"/>
                    </a:lnTo>
                    <a:lnTo>
                      <a:pt x="248" y="106"/>
                    </a:lnTo>
                    <a:lnTo>
                      <a:pt x="250" y="106"/>
                    </a:lnTo>
                    <a:lnTo>
                      <a:pt x="251" y="107"/>
                    </a:lnTo>
                    <a:lnTo>
                      <a:pt x="252" y="107"/>
                    </a:lnTo>
                    <a:lnTo>
                      <a:pt x="252" y="107"/>
                    </a:lnTo>
                    <a:lnTo>
                      <a:pt x="252" y="108"/>
                    </a:lnTo>
                    <a:lnTo>
                      <a:pt x="252" y="110"/>
                    </a:lnTo>
                    <a:lnTo>
                      <a:pt x="252" y="111"/>
                    </a:lnTo>
                    <a:lnTo>
                      <a:pt x="254" y="111"/>
                    </a:lnTo>
                    <a:lnTo>
                      <a:pt x="257" y="111"/>
                    </a:lnTo>
                    <a:lnTo>
                      <a:pt x="260" y="110"/>
                    </a:lnTo>
                    <a:lnTo>
                      <a:pt x="262" y="110"/>
                    </a:lnTo>
                    <a:lnTo>
                      <a:pt x="265" y="110"/>
                    </a:lnTo>
                    <a:lnTo>
                      <a:pt x="266" y="110"/>
                    </a:lnTo>
                    <a:lnTo>
                      <a:pt x="267" y="111"/>
                    </a:lnTo>
                    <a:lnTo>
                      <a:pt x="268" y="111"/>
                    </a:lnTo>
                    <a:lnTo>
                      <a:pt x="269" y="111"/>
                    </a:lnTo>
                    <a:lnTo>
                      <a:pt x="270" y="112"/>
                    </a:lnTo>
                    <a:lnTo>
                      <a:pt x="272" y="112"/>
                    </a:lnTo>
                    <a:lnTo>
                      <a:pt x="270" y="112"/>
                    </a:lnTo>
                    <a:lnTo>
                      <a:pt x="269" y="114"/>
                    </a:lnTo>
                    <a:lnTo>
                      <a:pt x="268" y="115"/>
                    </a:lnTo>
                    <a:lnTo>
                      <a:pt x="267" y="115"/>
                    </a:lnTo>
                    <a:lnTo>
                      <a:pt x="267" y="115"/>
                    </a:lnTo>
                    <a:lnTo>
                      <a:pt x="267" y="117"/>
                    </a:lnTo>
                    <a:lnTo>
                      <a:pt x="268" y="117"/>
                    </a:lnTo>
                    <a:lnTo>
                      <a:pt x="268" y="117"/>
                    </a:lnTo>
                    <a:lnTo>
                      <a:pt x="268" y="118"/>
                    </a:lnTo>
                    <a:lnTo>
                      <a:pt x="267" y="119"/>
                    </a:lnTo>
                    <a:lnTo>
                      <a:pt x="266" y="119"/>
                    </a:lnTo>
                    <a:lnTo>
                      <a:pt x="266" y="119"/>
                    </a:lnTo>
                    <a:lnTo>
                      <a:pt x="265" y="119"/>
                    </a:lnTo>
                    <a:lnTo>
                      <a:pt x="263" y="119"/>
                    </a:lnTo>
                    <a:lnTo>
                      <a:pt x="263" y="120"/>
                    </a:lnTo>
                    <a:lnTo>
                      <a:pt x="262" y="120"/>
                    </a:lnTo>
                    <a:lnTo>
                      <a:pt x="261" y="119"/>
                    </a:lnTo>
                    <a:lnTo>
                      <a:pt x="259" y="119"/>
                    </a:lnTo>
                    <a:lnTo>
                      <a:pt x="260" y="120"/>
                    </a:lnTo>
                    <a:lnTo>
                      <a:pt x="261" y="120"/>
                    </a:lnTo>
                    <a:lnTo>
                      <a:pt x="263" y="121"/>
                    </a:lnTo>
                    <a:lnTo>
                      <a:pt x="265" y="121"/>
                    </a:lnTo>
                    <a:lnTo>
                      <a:pt x="266" y="121"/>
                    </a:lnTo>
                    <a:lnTo>
                      <a:pt x="266" y="122"/>
                    </a:lnTo>
                    <a:lnTo>
                      <a:pt x="265" y="125"/>
                    </a:lnTo>
                    <a:lnTo>
                      <a:pt x="265" y="125"/>
                    </a:lnTo>
                    <a:lnTo>
                      <a:pt x="265" y="126"/>
                    </a:lnTo>
                    <a:lnTo>
                      <a:pt x="263" y="126"/>
                    </a:lnTo>
                    <a:lnTo>
                      <a:pt x="260" y="126"/>
                    </a:lnTo>
                    <a:lnTo>
                      <a:pt x="263" y="127"/>
                    </a:lnTo>
                    <a:lnTo>
                      <a:pt x="265" y="128"/>
                    </a:lnTo>
                    <a:lnTo>
                      <a:pt x="266" y="129"/>
                    </a:lnTo>
                    <a:lnTo>
                      <a:pt x="266" y="130"/>
                    </a:lnTo>
                    <a:lnTo>
                      <a:pt x="266" y="133"/>
                    </a:lnTo>
                    <a:lnTo>
                      <a:pt x="266" y="134"/>
                    </a:lnTo>
                    <a:lnTo>
                      <a:pt x="266" y="134"/>
                    </a:lnTo>
                    <a:lnTo>
                      <a:pt x="266" y="135"/>
                    </a:lnTo>
                    <a:lnTo>
                      <a:pt x="267" y="135"/>
                    </a:lnTo>
                    <a:lnTo>
                      <a:pt x="267" y="136"/>
                    </a:lnTo>
                    <a:lnTo>
                      <a:pt x="266" y="136"/>
                    </a:lnTo>
                    <a:lnTo>
                      <a:pt x="265" y="137"/>
                    </a:lnTo>
                    <a:lnTo>
                      <a:pt x="263" y="138"/>
                    </a:lnTo>
                    <a:lnTo>
                      <a:pt x="262" y="140"/>
                    </a:lnTo>
                    <a:lnTo>
                      <a:pt x="263" y="138"/>
                    </a:lnTo>
                    <a:lnTo>
                      <a:pt x="266" y="137"/>
                    </a:lnTo>
                    <a:lnTo>
                      <a:pt x="268" y="136"/>
                    </a:lnTo>
                    <a:lnTo>
                      <a:pt x="268" y="136"/>
                    </a:lnTo>
                    <a:lnTo>
                      <a:pt x="269" y="137"/>
                    </a:lnTo>
                    <a:lnTo>
                      <a:pt x="269" y="138"/>
                    </a:lnTo>
                    <a:lnTo>
                      <a:pt x="269" y="140"/>
                    </a:lnTo>
                    <a:lnTo>
                      <a:pt x="269" y="141"/>
                    </a:lnTo>
                    <a:lnTo>
                      <a:pt x="269" y="142"/>
                    </a:lnTo>
                    <a:lnTo>
                      <a:pt x="269" y="142"/>
                    </a:lnTo>
                    <a:lnTo>
                      <a:pt x="269" y="142"/>
                    </a:lnTo>
                    <a:lnTo>
                      <a:pt x="270" y="142"/>
                    </a:lnTo>
                    <a:lnTo>
                      <a:pt x="272" y="142"/>
                    </a:lnTo>
                    <a:lnTo>
                      <a:pt x="273" y="142"/>
                    </a:lnTo>
                    <a:lnTo>
                      <a:pt x="273" y="142"/>
                    </a:lnTo>
                    <a:lnTo>
                      <a:pt x="273" y="142"/>
                    </a:lnTo>
                    <a:lnTo>
                      <a:pt x="273" y="141"/>
                    </a:lnTo>
                    <a:lnTo>
                      <a:pt x="273" y="140"/>
                    </a:lnTo>
                    <a:lnTo>
                      <a:pt x="274" y="140"/>
                    </a:lnTo>
                    <a:lnTo>
                      <a:pt x="276" y="138"/>
                    </a:lnTo>
                    <a:lnTo>
                      <a:pt x="279" y="138"/>
                    </a:lnTo>
                    <a:lnTo>
                      <a:pt x="280" y="137"/>
                    </a:lnTo>
                    <a:lnTo>
                      <a:pt x="280" y="138"/>
                    </a:lnTo>
                    <a:lnTo>
                      <a:pt x="280" y="138"/>
                    </a:lnTo>
                    <a:lnTo>
                      <a:pt x="280" y="140"/>
                    </a:lnTo>
                    <a:lnTo>
                      <a:pt x="281" y="141"/>
                    </a:lnTo>
                    <a:lnTo>
                      <a:pt x="282" y="142"/>
                    </a:lnTo>
                    <a:lnTo>
                      <a:pt x="283" y="143"/>
                    </a:lnTo>
                    <a:lnTo>
                      <a:pt x="282" y="142"/>
                    </a:lnTo>
                    <a:lnTo>
                      <a:pt x="282" y="141"/>
                    </a:lnTo>
                    <a:lnTo>
                      <a:pt x="283" y="140"/>
                    </a:lnTo>
                    <a:lnTo>
                      <a:pt x="285" y="140"/>
                    </a:lnTo>
                    <a:lnTo>
                      <a:pt x="283" y="140"/>
                    </a:lnTo>
                    <a:lnTo>
                      <a:pt x="282" y="140"/>
                    </a:lnTo>
                    <a:lnTo>
                      <a:pt x="282" y="138"/>
                    </a:lnTo>
                    <a:lnTo>
                      <a:pt x="282" y="136"/>
                    </a:lnTo>
                    <a:lnTo>
                      <a:pt x="282" y="136"/>
                    </a:lnTo>
                    <a:lnTo>
                      <a:pt x="283" y="135"/>
                    </a:lnTo>
                    <a:lnTo>
                      <a:pt x="285" y="135"/>
                    </a:lnTo>
                    <a:lnTo>
                      <a:pt x="287" y="135"/>
                    </a:lnTo>
                    <a:lnTo>
                      <a:pt x="289" y="134"/>
                    </a:lnTo>
                    <a:lnTo>
                      <a:pt x="290" y="132"/>
                    </a:lnTo>
                    <a:lnTo>
                      <a:pt x="290" y="129"/>
                    </a:lnTo>
                    <a:lnTo>
                      <a:pt x="290" y="127"/>
                    </a:lnTo>
                    <a:lnTo>
                      <a:pt x="291" y="126"/>
                    </a:lnTo>
                    <a:lnTo>
                      <a:pt x="291" y="125"/>
                    </a:lnTo>
                    <a:lnTo>
                      <a:pt x="292" y="125"/>
                    </a:lnTo>
                    <a:lnTo>
                      <a:pt x="292" y="121"/>
                    </a:lnTo>
                    <a:lnTo>
                      <a:pt x="291" y="119"/>
                    </a:lnTo>
                    <a:lnTo>
                      <a:pt x="291" y="118"/>
                    </a:lnTo>
                    <a:lnTo>
                      <a:pt x="291" y="118"/>
                    </a:lnTo>
                    <a:lnTo>
                      <a:pt x="291" y="118"/>
                    </a:lnTo>
                    <a:lnTo>
                      <a:pt x="290" y="118"/>
                    </a:lnTo>
                    <a:lnTo>
                      <a:pt x="290" y="118"/>
                    </a:lnTo>
                    <a:lnTo>
                      <a:pt x="290" y="118"/>
                    </a:lnTo>
                    <a:lnTo>
                      <a:pt x="290" y="117"/>
                    </a:lnTo>
                    <a:lnTo>
                      <a:pt x="289" y="117"/>
                    </a:lnTo>
                    <a:lnTo>
                      <a:pt x="289" y="117"/>
                    </a:lnTo>
                    <a:lnTo>
                      <a:pt x="288" y="115"/>
                    </a:lnTo>
                    <a:lnTo>
                      <a:pt x="288" y="115"/>
                    </a:lnTo>
                    <a:lnTo>
                      <a:pt x="289" y="114"/>
                    </a:lnTo>
                    <a:lnTo>
                      <a:pt x="292" y="113"/>
                    </a:lnTo>
                    <a:lnTo>
                      <a:pt x="299" y="112"/>
                    </a:lnTo>
                    <a:lnTo>
                      <a:pt x="310" y="108"/>
                    </a:lnTo>
                    <a:lnTo>
                      <a:pt x="320" y="102"/>
                    </a:lnTo>
                    <a:lnTo>
                      <a:pt x="325" y="95"/>
                    </a:lnTo>
                    <a:lnTo>
                      <a:pt x="326" y="90"/>
                    </a:lnTo>
                    <a:lnTo>
                      <a:pt x="324" y="88"/>
                    </a:lnTo>
                    <a:lnTo>
                      <a:pt x="321" y="85"/>
                    </a:lnTo>
                    <a:lnTo>
                      <a:pt x="320" y="84"/>
                    </a:lnTo>
                    <a:lnTo>
                      <a:pt x="320" y="82"/>
                    </a:lnTo>
                    <a:lnTo>
                      <a:pt x="321" y="82"/>
                    </a:lnTo>
                    <a:lnTo>
                      <a:pt x="321" y="82"/>
                    </a:lnTo>
                    <a:lnTo>
                      <a:pt x="321" y="82"/>
                    </a:lnTo>
                    <a:lnTo>
                      <a:pt x="321" y="81"/>
                    </a:lnTo>
                    <a:lnTo>
                      <a:pt x="321" y="81"/>
                    </a:lnTo>
                    <a:lnTo>
                      <a:pt x="322" y="80"/>
                    </a:lnTo>
                    <a:lnTo>
                      <a:pt x="324" y="78"/>
                    </a:lnTo>
                    <a:lnTo>
                      <a:pt x="327" y="77"/>
                    </a:lnTo>
                    <a:lnTo>
                      <a:pt x="328" y="76"/>
                    </a:lnTo>
                    <a:lnTo>
                      <a:pt x="329" y="76"/>
                    </a:lnTo>
                    <a:lnTo>
                      <a:pt x="329" y="76"/>
                    </a:lnTo>
                    <a:lnTo>
                      <a:pt x="329" y="76"/>
                    </a:lnTo>
                    <a:lnTo>
                      <a:pt x="329" y="76"/>
                    </a:lnTo>
                    <a:lnTo>
                      <a:pt x="330" y="76"/>
                    </a:lnTo>
                    <a:lnTo>
                      <a:pt x="333" y="75"/>
                    </a:lnTo>
                    <a:lnTo>
                      <a:pt x="333" y="75"/>
                    </a:lnTo>
                    <a:lnTo>
                      <a:pt x="333" y="74"/>
                    </a:lnTo>
                    <a:lnTo>
                      <a:pt x="333" y="74"/>
                    </a:lnTo>
                    <a:lnTo>
                      <a:pt x="333" y="73"/>
                    </a:lnTo>
                    <a:lnTo>
                      <a:pt x="332" y="73"/>
                    </a:lnTo>
                    <a:lnTo>
                      <a:pt x="333" y="72"/>
                    </a:lnTo>
                    <a:lnTo>
                      <a:pt x="334" y="70"/>
                    </a:lnTo>
                    <a:lnTo>
                      <a:pt x="336" y="69"/>
                    </a:lnTo>
                    <a:lnTo>
                      <a:pt x="337" y="68"/>
                    </a:lnTo>
                    <a:lnTo>
                      <a:pt x="337" y="68"/>
                    </a:lnTo>
                    <a:lnTo>
                      <a:pt x="336" y="68"/>
                    </a:lnTo>
                    <a:lnTo>
                      <a:pt x="336" y="68"/>
                    </a:lnTo>
                    <a:lnTo>
                      <a:pt x="335" y="68"/>
                    </a:lnTo>
                    <a:lnTo>
                      <a:pt x="335" y="67"/>
                    </a:lnTo>
                    <a:lnTo>
                      <a:pt x="336" y="66"/>
                    </a:lnTo>
                    <a:lnTo>
                      <a:pt x="337" y="65"/>
                    </a:lnTo>
                    <a:lnTo>
                      <a:pt x="340" y="63"/>
                    </a:lnTo>
                    <a:lnTo>
                      <a:pt x="341" y="61"/>
                    </a:lnTo>
                    <a:lnTo>
                      <a:pt x="341" y="59"/>
                    </a:lnTo>
                    <a:lnTo>
                      <a:pt x="342" y="58"/>
                    </a:lnTo>
                    <a:lnTo>
                      <a:pt x="342" y="55"/>
                    </a:lnTo>
                    <a:lnTo>
                      <a:pt x="344" y="54"/>
                    </a:lnTo>
                    <a:lnTo>
                      <a:pt x="349" y="54"/>
                    </a:lnTo>
                    <a:lnTo>
                      <a:pt x="354" y="54"/>
                    </a:lnTo>
                    <a:lnTo>
                      <a:pt x="357" y="55"/>
                    </a:lnTo>
                    <a:lnTo>
                      <a:pt x="360" y="56"/>
                    </a:lnTo>
                    <a:lnTo>
                      <a:pt x="365" y="56"/>
                    </a:lnTo>
                    <a:lnTo>
                      <a:pt x="369" y="55"/>
                    </a:lnTo>
                    <a:lnTo>
                      <a:pt x="371" y="54"/>
                    </a:lnTo>
                    <a:lnTo>
                      <a:pt x="374" y="54"/>
                    </a:lnTo>
                    <a:lnTo>
                      <a:pt x="379" y="58"/>
                    </a:lnTo>
                    <a:lnTo>
                      <a:pt x="379" y="60"/>
                    </a:lnTo>
                    <a:lnTo>
                      <a:pt x="379" y="61"/>
                    </a:lnTo>
                    <a:lnTo>
                      <a:pt x="380" y="62"/>
                    </a:lnTo>
                    <a:lnTo>
                      <a:pt x="381" y="62"/>
                    </a:lnTo>
                    <a:lnTo>
                      <a:pt x="382" y="62"/>
                    </a:lnTo>
                    <a:lnTo>
                      <a:pt x="382" y="63"/>
                    </a:lnTo>
                    <a:lnTo>
                      <a:pt x="385" y="63"/>
                    </a:lnTo>
                    <a:lnTo>
                      <a:pt x="385" y="63"/>
                    </a:lnTo>
                    <a:lnTo>
                      <a:pt x="386" y="63"/>
                    </a:lnTo>
                    <a:lnTo>
                      <a:pt x="386" y="62"/>
                    </a:lnTo>
                    <a:lnTo>
                      <a:pt x="387" y="62"/>
                    </a:lnTo>
                    <a:lnTo>
                      <a:pt x="388" y="63"/>
                    </a:lnTo>
                    <a:lnTo>
                      <a:pt x="388" y="63"/>
                    </a:lnTo>
                    <a:lnTo>
                      <a:pt x="388" y="65"/>
                    </a:lnTo>
                    <a:lnTo>
                      <a:pt x="388" y="65"/>
                    </a:lnTo>
                    <a:lnTo>
                      <a:pt x="388" y="66"/>
                    </a:lnTo>
                    <a:lnTo>
                      <a:pt x="388" y="67"/>
                    </a:lnTo>
                    <a:lnTo>
                      <a:pt x="390" y="66"/>
                    </a:lnTo>
                    <a:lnTo>
                      <a:pt x="392" y="66"/>
                    </a:lnTo>
                    <a:lnTo>
                      <a:pt x="394" y="65"/>
                    </a:lnTo>
                    <a:lnTo>
                      <a:pt x="394" y="66"/>
                    </a:lnTo>
                    <a:lnTo>
                      <a:pt x="394" y="67"/>
                    </a:lnTo>
                    <a:lnTo>
                      <a:pt x="394" y="67"/>
                    </a:lnTo>
                    <a:lnTo>
                      <a:pt x="393" y="67"/>
                    </a:lnTo>
                    <a:lnTo>
                      <a:pt x="390" y="68"/>
                    </a:lnTo>
                    <a:lnTo>
                      <a:pt x="388" y="69"/>
                    </a:lnTo>
                    <a:lnTo>
                      <a:pt x="387" y="69"/>
                    </a:lnTo>
                    <a:lnTo>
                      <a:pt x="387" y="70"/>
                    </a:lnTo>
                    <a:lnTo>
                      <a:pt x="387" y="70"/>
                    </a:lnTo>
                    <a:lnTo>
                      <a:pt x="388" y="72"/>
                    </a:lnTo>
                    <a:lnTo>
                      <a:pt x="388" y="72"/>
                    </a:lnTo>
                    <a:lnTo>
                      <a:pt x="388" y="73"/>
                    </a:lnTo>
                    <a:lnTo>
                      <a:pt x="386" y="73"/>
                    </a:lnTo>
                    <a:lnTo>
                      <a:pt x="382" y="74"/>
                    </a:lnTo>
                    <a:lnTo>
                      <a:pt x="386" y="74"/>
                    </a:lnTo>
                    <a:lnTo>
                      <a:pt x="387" y="75"/>
                    </a:lnTo>
                    <a:lnTo>
                      <a:pt x="386" y="77"/>
                    </a:lnTo>
                    <a:lnTo>
                      <a:pt x="384" y="78"/>
                    </a:lnTo>
                    <a:lnTo>
                      <a:pt x="382" y="80"/>
                    </a:lnTo>
                    <a:lnTo>
                      <a:pt x="380" y="80"/>
                    </a:lnTo>
                    <a:lnTo>
                      <a:pt x="379" y="81"/>
                    </a:lnTo>
                    <a:lnTo>
                      <a:pt x="379" y="82"/>
                    </a:lnTo>
                    <a:lnTo>
                      <a:pt x="384" y="81"/>
                    </a:lnTo>
                    <a:lnTo>
                      <a:pt x="386" y="81"/>
                    </a:lnTo>
                    <a:lnTo>
                      <a:pt x="387" y="81"/>
                    </a:lnTo>
                    <a:lnTo>
                      <a:pt x="388" y="81"/>
                    </a:lnTo>
                    <a:lnTo>
                      <a:pt x="386" y="82"/>
                    </a:lnTo>
                    <a:lnTo>
                      <a:pt x="384" y="84"/>
                    </a:lnTo>
                    <a:lnTo>
                      <a:pt x="382" y="85"/>
                    </a:lnTo>
                    <a:lnTo>
                      <a:pt x="381" y="85"/>
                    </a:lnTo>
                    <a:lnTo>
                      <a:pt x="380" y="85"/>
                    </a:lnTo>
                    <a:lnTo>
                      <a:pt x="380" y="85"/>
                    </a:lnTo>
                    <a:lnTo>
                      <a:pt x="381" y="84"/>
                    </a:lnTo>
                    <a:lnTo>
                      <a:pt x="380" y="85"/>
                    </a:lnTo>
                    <a:lnTo>
                      <a:pt x="379" y="85"/>
                    </a:lnTo>
                    <a:lnTo>
                      <a:pt x="378" y="87"/>
                    </a:lnTo>
                    <a:lnTo>
                      <a:pt x="375" y="88"/>
                    </a:lnTo>
                    <a:lnTo>
                      <a:pt x="377" y="88"/>
                    </a:lnTo>
                    <a:lnTo>
                      <a:pt x="379" y="88"/>
                    </a:lnTo>
                    <a:lnTo>
                      <a:pt x="379" y="88"/>
                    </a:lnTo>
                    <a:lnTo>
                      <a:pt x="380" y="89"/>
                    </a:lnTo>
                    <a:lnTo>
                      <a:pt x="379" y="89"/>
                    </a:lnTo>
                    <a:lnTo>
                      <a:pt x="382" y="88"/>
                    </a:lnTo>
                    <a:lnTo>
                      <a:pt x="385" y="85"/>
                    </a:lnTo>
                    <a:lnTo>
                      <a:pt x="387" y="84"/>
                    </a:lnTo>
                    <a:lnTo>
                      <a:pt x="389" y="84"/>
                    </a:lnTo>
                    <a:lnTo>
                      <a:pt x="390" y="84"/>
                    </a:lnTo>
                    <a:lnTo>
                      <a:pt x="392" y="84"/>
                    </a:lnTo>
                    <a:lnTo>
                      <a:pt x="392" y="85"/>
                    </a:lnTo>
                    <a:lnTo>
                      <a:pt x="392" y="87"/>
                    </a:lnTo>
                    <a:lnTo>
                      <a:pt x="392" y="87"/>
                    </a:lnTo>
                    <a:lnTo>
                      <a:pt x="393" y="87"/>
                    </a:lnTo>
                    <a:lnTo>
                      <a:pt x="393" y="87"/>
                    </a:lnTo>
                    <a:lnTo>
                      <a:pt x="394" y="88"/>
                    </a:lnTo>
                    <a:lnTo>
                      <a:pt x="395" y="85"/>
                    </a:lnTo>
                    <a:lnTo>
                      <a:pt x="396" y="84"/>
                    </a:lnTo>
                    <a:lnTo>
                      <a:pt x="399" y="83"/>
                    </a:lnTo>
                    <a:lnTo>
                      <a:pt x="401" y="82"/>
                    </a:lnTo>
                    <a:lnTo>
                      <a:pt x="402" y="81"/>
                    </a:lnTo>
                    <a:lnTo>
                      <a:pt x="403" y="80"/>
                    </a:lnTo>
                    <a:lnTo>
                      <a:pt x="404" y="80"/>
                    </a:lnTo>
                    <a:lnTo>
                      <a:pt x="404" y="81"/>
                    </a:lnTo>
                    <a:lnTo>
                      <a:pt x="404" y="81"/>
                    </a:lnTo>
                    <a:lnTo>
                      <a:pt x="404" y="82"/>
                    </a:lnTo>
                    <a:lnTo>
                      <a:pt x="406" y="83"/>
                    </a:lnTo>
                    <a:lnTo>
                      <a:pt x="406" y="82"/>
                    </a:lnTo>
                    <a:lnTo>
                      <a:pt x="406" y="82"/>
                    </a:lnTo>
                    <a:lnTo>
                      <a:pt x="406" y="81"/>
                    </a:lnTo>
                    <a:lnTo>
                      <a:pt x="407" y="80"/>
                    </a:lnTo>
                    <a:lnTo>
                      <a:pt x="408" y="80"/>
                    </a:lnTo>
                    <a:lnTo>
                      <a:pt x="409" y="78"/>
                    </a:lnTo>
                    <a:lnTo>
                      <a:pt x="411" y="77"/>
                    </a:lnTo>
                    <a:lnTo>
                      <a:pt x="411" y="76"/>
                    </a:lnTo>
                    <a:lnTo>
                      <a:pt x="411" y="75"/>
                    </a:lnTo>
                    <a:lnTo>
                      <a:pt x="411" y="74"/>
                    </a:lnTo>
                    <a:lnTo>
                      <a:pt x="411" y="73"/>
                    </a:lnTo>
                    <a:lnTo>
                      <a:pt x="412" y="72"/>
                    </a:lnTo>
                    <a:lnTo>
                      <a:pt x="415" y="70"/>
                    </a:lnTo>
                    <a:lnTo>
                      <a:pt x="416" y="69"/>
                    </a:lnTo>
                    <a:lnTo>
                      <a:pt x="417" y="68"/>
                    </a:lnTo>
                    <a:lnTo>
                      <a:pt x="418" y="67"/>
                    </a:lnTo>
                    <a:lnTo>
                      <a:pt x="419" y="67"/>
                    </a:lnTo>
                    <a:lnTo>
                      <a:pt x="419" y="68"/>
                    </a:lnTo>
                    <a:lnTo>
                      <a:pt x="421" y="69"/>
                    </a:lnTo>
                    <a:lnTo>
                      <a:pt x="422" y="70"/>
                    </a:lnTo>
                    <a:lnTo>
                      <a:pt x="423" y="70"/>
                    </a:lnTo>
                    <a:lnTo>
                      <a:pt x="423" y="72"/>
                    </a:lnTo>
                    <a:lnTo>
                      <a:pt x="424" y="73"/>
                    </a:lnTo>
                    <a:lnTo>
                      <a:pt x="424" y="74"/>
                    </a:lnTo>
                    <a:lnTo>
                      <a:pt x="425" y="74"/>
                    </a:lnTo>
                    <a:lnTo>
                      <a:pt x="425" y="75"/>
                    </a:lnTo>
                    <a:lnTo>
                      <a:pt x="424" y="76"/>
                    </a:lnTo>
                    <a:lnTo>
                      <a:pt x="425" y="77"/>
                    </a:lnTo>
                    <a:lnTo>
                      <a:pt x="425" y="77"/>
                    </a:lnTo>
                    <a:lnTo>
                      <a:pt x="426" y="78"/>
                    </a:lnTo>
                    <a:lnTo>
                      <a:pt x="426" y="78"/>
                    </a:lnTo>
                    <a:lnTo>
                      <a:pt x="426" y="81"/>
                    </a:lnTo>
                    <a:lnTo>
                      <a:pt x="426" y="82"/>
                    </a:lnTo>
                    <a:lnTo>
                      <a:pt x="427" y="82"/>
                    </a:lnTo>
                    <a:lnTo>
                      <a:pt x="429" y="83"/>
                    </a:lnTo>
                    <a:lnTo>
                      <a:pt x="429" y="84"/>
                    </a:lnTo>
                    <a:lnTo>
                      <a:pt x="429" y="85"/>
                    </a:lnTo>
                    <a:lnTo>
                      <a:pt x="430" y="87"/>
                    </a:lnTo>
                    <a:lnTo>
                      <a:pt x="431" y="88"/>
                    </a:lnTo>
                    <a:lnTo>
                      <a:pt x="431" y="89"/>
                    </a:lnTo>
                    <a:lnTo>
                      <a:pt x="429" y="90"/>
                    </a:lnTo>
                    <a:lnTo>
                      <a:pt x="426" y="92"/>
                    </a:lnTo>
                    <a:lnTo>
                      <a:pt x="423" y="92"/>
                    </a:lnTo>
                    <a:lnTo>
                      <a:pt x="424" y="92"/>
                    </a:lnTo>
                    <a:lnTo>
                      <a:pt x="426" y="92"/>
                    </a:lnTo>
                    <a:lnTo>
                      <a:pt x="427" y="92"/>
                    </a:lnTo>
                    <a:lnTo>
                      <a:pt x="430" y="91"/>
                    </a:lnTo>
                    <a:lnTo>
                      <a:pt x="432" y="91"/>
                    </a:lnTo>
                    <a:lnTo>
                      <a:pt x="432" y="92"/>
                    </a:lnTo>
                    <a:lnTo>
                      <a:pt x="431" y="92"/>
                    </a:lnTo>
                    <a:lnTo>
                      <a:pt x="431" y="93"/>
                    </a:lnTo>
                    <a:lnTo>
                      <a:pt x="430" y="95"/>
                    </a:lnTo>
                    <a:lnTo>
                      <a:pt x="430" y="97"/>
                    </a:lnTo>
                    <a:lnTo>
                      <a:pt x="430" y="98"/>
                    </a:lnTo>
                    <a:lnTo>
                      <a:pt x="431" y="99"/>
                    </a:lnTo>
                    <a:lnTo>
                      <a:pt x="431" y="100"/>
                    </a:lnTo>
                    <a:lnTo>
                      <a:pt x="431" y="102"/>
                    </a:lnTo>
                    <a:lnTo>
                      <a:pt x="431" y="103"/>
                    </a:lnTo>
                    <a:lnTo>
                      <a:pt x="431" y="103"/>
                    </a:lnTo>
                    <a:lnTo>
                      <a:pt x="432" y="104"/>
                    </a:lnTo>
                    <a:lnTo>
                      <a:pt x="433" y="103"/>
                    </a:lnTo>
                    <a:lnTo>
                      <a:pt x="434" y="103"/>
                    </a:lnTo>
                    <a:lnTo>
                      <a:pt x="434" y="103"/>
                    </a:lnTo>
                    <a:lnTo>
                      <a:pt x="434" y="104"/>
                    </a:lnTo>
                    <a:lnTo>
                      <a:pt x="434" y="105"/>
                    </a:lnTo>
                    <a:lnTo>
                      <a:pt x="434" y="105"/>
                    </a:lnTo>
                    <a:lnTo>
                      <a:pt x="434" y="105"/>
                    </a:lnTo>
                    <a:lnTo>
                      <a:pt x="436" y="105"/>
                    </a:lnTo>
                    <a:lnTo>
                      <a:pt x="438" y="105"/>
                    </a:lnTo>
                    <a:lnTo>
                      <a:pt x="438" y="105"/>
                    </a:lnTo>
                    <a:lnTo>
                      <a:pt x="439" y="106"/>
                    </a:lnTo>
                    <a:lnTo>
                      <a:pt x="438" y="106"/>
                    </a:lnTo>
                    <a:lnTo>
                      <a:pt x="438" y="106"/>
                    </a:lnTo>
                    <a:lnTo>
                      <a:pt x="439" y="106"/>
                    </a:lnTo>
                    <a:lnTo>
                      <a:pt x="440" y="107"/>
                    </a:lnTo>
                    <a:lnTo>
                      <a:pt x="441" y="107"/>
                    </a:lnTo>
                    <a:lnTo>
                      <a:pt x="441" y="108"/>
                    </a:lnTo>
                    <a:lnTo>
                      <a:pt x="442" y="108"/>
                    </a:lnTo>
                    <a:lnTo>
                      <a:pt x="442" y="108"/>
                    </a:lnTo>
                    <a:lnTo>
                      <a:pt x="444" y="108"/>
                    </a:lnTo>
                    <a:lnTo>
                      <a:pt x="446" y="108"/>
                    </a:lnTo>
                    <a:lnTo>
                      <a:pt x="447" y="108"/>
                    </a:lnTo>
                    <a:lnTo>
                      <a:pt x="448" y="110"/>
                    </a:lnTo>
                    <a:lnTo>
                      <a:pt x="449" y="111"/>
                    </a:lnTo>
                    <a:lnTo>
                      <a:pt x="449" y="111"/>
                    </a:lnTo>
                    <a:lnTo>
                      <a:pt x="447" y="112"/>
                    </a:lnTo>
                    <a:lnTo>
                      <a:pt x="444" y="112"/>
                    </a:lnTo>
                    <a:lnTo>
                      <a:pt x="441" y="113"/>
                    </a:lnTo>
                    <a:lnTo>
                      <a:pt x="439" y="113"/>
                    </a:lnTo>
                    <a:lnTo>
                      <a:pt x="436" y="113"/>
                    </a:lnTo>
                    <a:lnTo>
                      <a:pt x="432" y="114"/>
                    </a:lnTo>
                    <a:lnTo>
                      <a:pt x="430" y="114"/>
                    </a:lnTo>
                    <a:lnTo>
                      <a:pt x="429" y="114"/>
                    </a:lnTo>
                    <a:lnTo>
                      <a:pt x="429" y="114"/>
                    </a:lnTo>
                    <a:lnTo>
                      <a:pt x="429" y="114"/>
                    </a:lnTo>
                    <a:lnTo>
                      <a:pt x="429" y="114"/>
                    </a:lnTo>
                    <a:lnTo>
                      <a:pt x="429" y="115"/>
                    </a:lnTo>
                    <a:lnTo>
                      <a:pt x="427" y="117"/>
                    </a:lnTo>
                    <a:lnTo>
                      <a:pt x="425" y="118"/>
                    </a:lnTo>
                    <a:lnTo>
                      <a:pt x="429" y="118"/>
                    </a:lnTo>
                    <a:lnTo>
                      <a:pt x="433" y="118"/>
                    </a:lnTo>
                    <a:lnTo>
                      <a:pt x="437" y="115"/>
                    </a:lnTo>
                    <a:lnTo>
                      <a:pt x="440" y="114"/>
                    </a:lnTo>
                    <a:lnTo>
                      <a:pt x="442" y="113"/>
                    </a:lnTo>
                    <a:lnTo>
                      <a:pt x="445" y="112"/>
                    </a:lnTo>
                    <a:lnTo>
                      <a:pt x="447" y="113"/>
                    </a:lnTo>
                    <a:lnTo>
                      <a:pt x="449" y="114"/>
                    </a:lnTo>
                    <a:lnTo>
                      <a:pt x="449" y="114"/>
                    </a:lnTo>
                    <a:lnTo>
                      <a:pt x="449" y="115"/>
                    </a:lnTo>
                    <a:lnTo>
                      <a:pt x="449" y="115"/>
                    </a:lnTo>
                    <a:lnTo>
                      <a:pt x="449" y="117"/>
                    </a:lnTo>
                    <a:lnTo>
                      <a:pt x="449" y="118"/>
                    </a:lnTo>
                    <a:lnTo>
                      <a:pt x="449" y="117"/>
                    </a:lnTo>
                    <a:lnTo>
                      <a:pt x="449" y="117"/>
                    </a:lnTo>
                    <a:lnTo>
                      <a:pt x="451" y="115"/>
                    </a:lnTo>
                    <a:lnTo>
                      <a:pt x="453" y="115"/>
                    </a:lnTo>
                    <a:lnTo>
                      <a:pt x="455" y="115"/>
                    </a:lnTo>
                    <a:lnTo>
                      <a:pt x="456" y="117"/>
                    </a:lnTo>
                    <a:lnTo>
                      <a:pt x="456" y="118"/>
                    </a:lnTo>
                    <a:lnTo>
                      <a:pt x="456" y="119"/>
                    </a:lnTo>
                    <a:lnTo>
                      <a:pt x="455" y="121"/>
                    </a:lnTo>
                    <a:lnTo>
                      <a:pt x="454" y="121"/>
                    </a:lnTo>
                    <a:lnTo>
                      <a:pt x="454" y="121"/>
                    </a:lnTo>
                    <a:lnTo>
                      <a:pt x="455" y="121"/>
                    </a:lnTo>
                    <a:lnTo>
                      <a:pt x="455" y="122"/>
                    </a:lnTo>
                    <a:lnTo>
                      <a:pt x="455" y="122"/>
                    </a:lnTo>
                    <a:lnTo>
                      <a:pt x="455" y="122"/>
                    </a:lnTo>
                    <a:lnTo>
                      <a:pt x="454" y="123"/>
                    </a:lnTo>
                    <a:lnTo>
                      <a:pt x="455" y="123"/>
                    </a:lnTo>
                    <a:lnTo>
                      <a:pt x="455" y="125"/>
                    </a:lnTo>
                    <a:lnTo>
                      <a:pt x="456" y="126"/>
                    </a:lnTo>
                    <a:lnTo>
                      <a:pt x="456" y="126"/>
                    </a:lnTo>
                    <a:lnTo>
                      <a:pt x="456" y="127"/>
                    </a:lnTo>
                    <a:lnTo>
                      <a:pt x="455" y="128"/>
                    </a:lnTo>
                    <a:lnTo>
                      <a:pt x="453" y="129"/>
                    </a:lnTo>
                    <a:lnTo>
                      <a:pt x="451" y="130"/>
                    </a:lnTo>
                    <a:lnTo>
                      <a:pt x="449" y="132"/>
                    </a:lnTo>
                    <a:lnTo>
                      <a:pt x="448" y="132"/>
                    </a:lnTo>
                    <a:lnTo>
                      <a:pt x="448" y="132"/>
                    </a:lnTo>
                    <a:lnTo>
                      <a:pt x="447" y="130"/>
                    </a:lnTo>
                    <a:lnTo>
                      <a:pt x="447" y="130"/>
                    </a:lnTo>
                    <a:lnTo>
                      <a:pt x="446" y="130"/>
                    </a:lnTo>
                    <a:lnTo>
                      <a:pt x="445" y="132"/>
                    </a:lnTo>
                    <a:lnTo>
                      <a:pt x="442" y="133"/>
                    </a:lnTo>
                    <a:lnTo>
                      <a:pt x="439" y="134"/>
                    </a:lnTo>
                    <a:lnTo>
                      <a:pt x="437" y="135"/>
                    </a:lnTo>
                    <a:lnTo>
                      <a:pt x="437" y="135"/>
                    </a:lnTo>
                    <a:lnTo>
                      <a:pt x="437" y="136"/>
                    </a:lnTo>
                    <a:lnTo>
                      <a:pt x="437" y="137"/>
                    </a:lnTo>
                    <a:lnTo>
                      <a:pt x="437" y="136"/>
                    </a:lnTo>
                    <a:lnTo>
                      <a:pt x="436" y="136"/>
                    </a:lnTo>
                    <a:lnTo>
                      <a:pt x="433" y="136"/>
                    </a:lnTo>
                    <a:lnTo>
                      <a:pt x="432" y="138"/>
                    </a:lnTo>
                    <a:lnTo>
                      <a:pt x="432" y="140"/>
                    </a:lnTo>
                    <a:lnTo>
                      <a:pt x="432" y="140"/>
                    </a:lnTo>
                    <a:lnTo>
                      <a:pt x="431" y="140"/>
                    </a:lnTo>
                    <a:lnTo>
                      <a:pt x="430" y="140"/>
                    </a:lnTo>
                    <a:lnTo>
                      <a:pt x="429" y="140"/>
                    </a:lnTo>
                    <a:lnTo>
                      <a:pt x="426" y="141"/>
                    </a:lnTo>
                    <a:lnTo>
                      <a:pt x="423" y="142"/>
                    </a:lnTo>
                    <a:lnTo>
                      <a:pt x="419" y="143"/>
                    </a:lnTo>
                    <a:lnTo>
                      <a:pt x="417" y="144"/>
                    </a:lnTo>
                    <a:lnTo>
                      <a:pt x="416" y="144"/>
                    </a:lnTo>
                    <a:lnTo>
                      <a:pt x="415" y="144"/>
                    </a:lnTo>
                    <a:lnTo>
                      <a:pt x="415" y="143"/>
                    </a:lnTo>
                    <a:lnTo>
                      <a:pt x="414" y="143"/>
                    </a:lnTo>
                    <a:lnTo>
                      <a:pt x="412" y="143"/>
                    </a:lnTo>
                    <a:lnTo>
                      <a:pt x="410" y="143"/>
                    </a:lnTo>
                    <a:lnTo>
                      <a:pt x="408" y="143"/>
                    </a:lnTo>
                    <a:lnTo>
                      <a:pt x="404" y="144"/>
                    </a:lnTo>
                    <a:lnTo>
                      <a:pt x="402" y="143"/>
                    </a:lnTo>
                    <a:lnTo>
                      <a:pt x="401" y="143"/>
                    </a:lnTo>
                    <a:lnTo>
                      <a:pt x="396" y="143"/>
                    </a:lnTo>
                    <a:lnTo>
                      <a:pt x="386" y="143"/>
                    </a:lnTo>
                    <a:lnTo>
                      <a:pt x="380" y="144"/>
                    </a:lnTo>
                    <a:lnTo>
                      <a:pt x="375" y="145"/>
                    </a:lnTo>
                    <a:lnTo>
                      <a:pt x="372" y="145"/>
                    </a:lnTo>
                    <a:lnTo>
                      <a:pt x="371" y="147"/>
                    </a:lnTo>
                    <a:lnTo>
                      <a:pt x="370" y="148"/>
                    </a:lnTo>
                    <a:lnTo>
                      <a:pt x="369" y="149"/>
                    </a:lnTo>
                    <a:lnTo>
                      <a:pt x="369" y="149"/>
                    </a:lnTo>
                    <a:lnTo>
                      <a:pt x="366" y="150"/>
                    </a:lnTo>
                    <a:lnTo>
                      <a:pt x="364" y="150"/>
                    </a:lnTo>
                    <a:lnTo>
                      <a:pt x="362" y="151"/>
                    </a:lnTo>
                    <a:lnTo>
                      <a:pt x="358" y="152"/>
                    </a:lnTo>
                    <a:lnTo>
                      <a:pt x="357" y="153"/>
                    </a:lnTo>
                    <a:lnTo>
                      <a:pt x="356" y="155"/>
                    </a:lnTo>
                    <a:lnTo>
                      <a:pt x="355" y="156"/>
                    </a:lnTo>
                    <a:lnTo>
                      <a:pt x="354" y="156"/>
                    </a:lnTo>
                    <a:lnTo>
                      <a:pt x="351" y="156"/>
                    </a:lnTo>
                    <a:lnTo>
                      <a:pt x="351" y="155"/>
                    </a:lnTo>
                    <a:lnTo>
                      <a:pt x="351" y="156"/>
                    </a:lnTo>
                    <a:lnTo>
                      <a:pt x="351" y="156"/>
                    </a:lnTo>
                    <a:lnTo>
                      <a:pt x="350" y="157"/>
                    </a:lnTo>
                    <a:lnTo>
                      <a:pt x="348" y="157"/>
                    </a:lnTo>
                    <a:lnTo>
                      <a:pt x="343" y="159"/>
                    </a:lnTo>
                    <a:lnTo>
                      <a:pt x="337" y="164"/>
                    </a:lnTo>
                    <a:lnTo>
                      <a:pt x="333" y="167"/>
                    </a:lnTo>
                    <a:lnTo>
                      <a:pt x="329" y="170"/>
                    </a:lnTo>
                    <a:lnTo>
                      <a:pt x="327" y="170"/>
                    </a:lnTo>
                    <a:lnTo>
                      <a:pt x="327" y="171"/>
                    </a:lnTo>
                    <a:lnTo>
                      <a:pt x="326" y="172"/>
                    </a:lnTo>
                    <a:lnTo>
                      <a:pt x="325" y="172"/>
                    </a:lnTo>
                    <a:lnTo>
                      <a:pt x="322" y="173"/>
                    </a:lnTo>
                    <a:lnTo>
                      <a:pt x="320" y="174"/>
                    </a:lnTo>
                    <a:lnTo>
                      <a:pt x="321" y="174"/>
                    </a:lnTo>
                    <a:lnTo>
                      <a:pt x="322" y="174"/>
                    </a:lnTo>
                    <a:lnTo>
                      <a:pt x="324" y="174"/>
                    </a:lnTo>
                    <a:lnTo>
                      <a:pt x="326" y="173"/>
                    </a:lnTo>
                    <a:lnTo>
                      <a:pt x="327" y="172"/>
                    </a:lnTo>
                    <a:lnTo>
                      <a:pt x="330" y="170"/>
                    </a:lnTo>
                    <a:lnTo>
                      <a:pt x="337" y="166"/>
                    </a:lnTo>
                    <a:lnTo>
                      <a:pt x="348" y="162"/>
                    </a:lnTo>
                    <a:lnTo>
                      <a:pt x="358" y="158"/>
                    </a:lnTo>
                    <a:lnTo>
                      <a:pt x="367" y="156"/>
                    </a:lnTo>
                    <a:lnTo>
                      <a:pt x="372" y="155"/>
                    </a:lnTo>
                    <a:lnTo>
                      <a:pt x="375" y="155"/>
                    </a:lnTo>
                    <a:lnTo>
                      <a:pt x="379" y="156"/>
                    </a:lnTo>
                    <a:lnTo>
                      <a:pt x="380" y="156"/>
                    </a:lnTo>
                    <a:lnTo>
                      <a:pt x="379" y="157"/>
                    </a:lnTo>
                    <a:lnTo>
                      <a:pt x="379" y="158"/>
                    </a:lnTo>
                    <a:lnTo>
                      <a:pt x="379" y="158"/>
                    </a:lnTo>
                    <a:lnTo>
                      <a:pt x="379" y="157"/>
                    </a:lnTo>
                    <a:lnTo>
                      <a:pt x="378" y="157"/>
                    </a:lnTo>
                    <a:lnTo>
                      <a:pt x="378" y="158"/>
                    </a:lnTo>
                    <a:lnTo>
                      <a:pt x="379" y="159"/>
                    </a:lnTo>
                    <a:lnTo>
                      <a:pt x="380" y="159"/>
                    </a:lnTo>
                    <a:lnTo>
                      <a:pt x="379" y="159"/>
                    </a:lnTo>
                    <a:lnTo>
                      <a:pt x="379" y="159"/>
                    </a:lnTo>
                    <a:lnTo>
                      <a:pt x="378" y="160"/>
                    </a:lnTo>
                    <a:lnTo>
                      <a:pt x="378" y="160"/>
                    </a:lnTo>
                    <a:lnTo>
                      <a:pt x="377" y="160"/>
                    </a:lnTo>
                    <a:lnTo>
                      <a:pt x="374" y="162"/>
                    </a:lnTo>
                    <a:lnTo>
                      <a:pt x="372" y="163"/>
                    </a:lnTo>
                    <a:lnTo>
                      <a:pt x="371" y="164"/>
                    </a:lnTo>
                    <a:lnTo>
                      <a:pt x="370" y="164"/>
                    </a:lnTo>
                    <a:lnTo>
                      <a:pt x="369" y="164"/>
                    </a:lnTo>
                    <a:lnTo>
                      <a:pt x="367" y="164"/>
                    </a:lnTo>
                    <a:lnTo>
                      <a:pt x="366" y="164"/>
                    </a:lnTo>
                    <a:lnTo>
                      <a:pt x="365" y="164"/>
                    </a:lnTo>
                    <a:lnTo>
                      <a:pt x="364" y="164"/>
                    </a:lnTo>
                    <a:lnTo>
                      <a:pt x="365" y="164"/>
                    </a:lnTo>
                    <a:lnTo>
                      <a:pt x="365" y="164"/>
                    </a:lnTo>
                    <a:lnTo>
                      <a:pt x="366" y="165"/>
                    </a:lnTo>
                    <a:lnTo>
                      <a:pt x="367" y="166"/>
                    </a:lnTo>
                    <a:lnTo>
                      <a:pt x="367" y="166"/>
                    </a:lnTo>
                    <a:lnTo>
                      <a:pt x="369" y="165"/>
                    </a:lnTo>
                    <a:lnTo>
                      <a:pt x="370" y="165"/>
                    </a:lnTo>
                    <a:lnTo>
                      <a:pt x="371" y="165"/>
                    </a:lnTo>
                    <a:lnTo>
                      <a:pt x="371" y="166"/>
                    </a:lnTo>
                    <a:lnTo>
                      <a:pt x="371" y="166"/>
                    </a:lnTo>
                    <a:lnTo>
                      <a:pt x="371" y="167"/>
                    </a:lnTo>
                    <a:lnTo>
                      <a:pt x="370" y="169"/>
                    </a:lnTo>
                    <a:lnTo>
                      <a:pt x="369" y="170"/>
                    </a:lnTo>
                    <a:lnTo>
                      <a:pt x="365" y="171"/>
                    </a:lnTo>
                    <a:lnTo>
                      <a:pt x="367" y="171"/>
                    </a:lnTo>
                    <a:lnTo>
                      <a:pt x="369" y="172"/>
                    </a:lnTo>
                    <a:lnTo>
                      <a:pt x="370" y="174"/>
                    </a:lnTo>
                    <a:lnTo>
                      <a:pt x="371" y="177"/>
                    </a:lnTo>
                    <a:lnTo>
                      <a:pt x="371" y="180"/>
                    </a:lnTo>
                    <a:lnTo>
                      <a:pt x="372" y="180"/>
                    </a:lnTo>
                    <a:lnTo>
                      <a:pt x="373" y="180"/>
                    </a:lnTo>
                    <a:lnTo>
                      <a:pt x="374" y="181"/>
                    </a:lnTo>
                    <a:lnTo>
                      <a:pt x="374" y="182"/>
                    </a:lnTo>
                    <a:lnTo>
                      <a:pt x="375" y="182"/>
                    </a:lnTo>
                    <a:lnTo>
                      <a:pt x="377" y="184"/>
                    </a:lnTo>
                    <a:lnTo>
                      <a:pt x="379" y="184"/>
                    </a:lnTo>
                    <a:lnTo>
                      <a:pt x="381" y="184"/>
                    </a:lnTo>
                    <a:lnTo>
                      <a:pt x="382" y="184"/>
                    </a:lnTo>
                    <a:lnTo>
                      <a:pt x="382" y="185"/>
                    </a:lnTo>
                    <a:lnTo>
                      <a:pt x="382" y="185"/>
                    </a:lnTo>
                    <a:lnTo>
                      <a:pt x="382" y="185"/>
                    </a:lnTo>
                    <a:lnTo>
                      <a:pt x="382" y="185"/>
                    </a:lnTo>
                    <a:lnTo>
                      <a:pt x="384" y="185"/>
                    </a:lnTo>
                    <a:lnTo>
                      <a:pt x="385" y="184"/>
                    </a:lnTo>
                    <a:lnTo>
                      <a:pt x="387" y="184"/>
                    </a:lnTo>
                    <a:lnTo>
                      <a:pt x="388" y="184"/>
                    </a:lnTo>
                    <a:lnTo>
                      <a:pt x="388" y="184"/>
                    </a:lnTo>
                    <a:lnTo>
                      <a:pt x="388" y="184"/>
                    </a:lnTo>
                    <a:lnTo>
                      <a:pt x="388" y="185"/>
                    </a:lnTo>
                    <a:lnTo>
                      <a:pt x="388" y="185"/>
                    </a:lnTo>
                    <a:lnTo>
                      <a:pt x="388" y="185"/>
                    </a:lnTo>
                    <a:lnTo>
                      <a:pt x="390" y="184"/>
                    </a:lnTo>
                    <a:lnTo>
                      <a:pt x="390" y="184"/>
                    </a:lnTo>
                    <a:lnTo>
                      <a:pt x="392" y="185"/>
                    </a:lnTo>
                    <a:lnTo>
                      <a:pt x="392" y="185"/>
                    </a:lnTo>
                    <a:lnTo>
                      <a:pt x="392" y="185"/>
                    </a:lnTo>
                    <a:lnTo>
                      <a:pt x="392" y="186"/>
                    </a:lnTo>
                    <a:lnTo>
                      <a:pt x="390" y="187"/>
                    </a:lnTo>
                    <a:lnTo>
                      <a:pt x="388" y="188"/>
                    </a:lnTo>
                    <a:lnTo>
                      <a:pt x="386" y="188"/>
                    </a:lnTo>
                    <a:lnTo>
                      <a:pt x="385" y="189"/>
                    </a:lnTo>
                    <a:lnTo>
                      <a:pt x="382" y="192"/>
                    </a:lnTo>
                    <a:lnTo>
                      <a:pt x="381" y="192"/>
                    </a:lnTo>
                    <a:lnTo>
                      <a:pt x="380" y="193"/>
                    </a:lnTo>
                    <a:lnTo>
                      <a:pt x="378" y="192"/>
                    </a:lnTo>
                    <a:lnTo>
                      <a:pt x="377" y="193"/>
                    </a:lnTo>
                    <a:lnTo>
                      <a:pt x="375" y="193"/>
                    </a:lnTo>
                    <a:lnTo>
                      <a:pt x="375" y="194"/>
                    </a:lnTo>
                    <a:lnTo>
                      <a:pt x="375" y="194"/>
                    </a:lnTo>
                    <a:lnTo>
                      <a:pt x="375" y="194"/>
                    </a:lnTo>
                    <a:lnTo>
                      <a:pt x="374" y="194"/>
                    </a:lnTo>
                    <a:lnTo>
                      <a:pt x="372" y="194"/>
                    </a:lnTo>
                    <a:lnTo>
                      <a:pt x="371" y="194"/>
                    </a:lnTo>
                    <a:lnTo>
                      <a:pt x="370" y="194"/>
                    </a:lnTo>
                    <a:lnTo>
                      <a:pt x="370" y="194"/>
                    </a:lnTo>
                    <a:lnTo>
                      <a:pt x="369" y="194"/>
                    </a:lnTo>
                    <a:lnTo>
                      <a:pt x="369" y="195"/>
                    </a:lnTo>
                    <a:lnTo>
                      <a:pt x="367" y="195"/>
                    </a:lnTo>
                    <a:lnTo>
                      <a:pt x="365" y="195"/>
                    </a:lnTo>
                    <a:lnTo>
                      <a:pt x="364" y="196"/>
                    </a:lnTo>
                    <a:lnTo>
                      <a:pt x="363" y="196"/>
                    </a:lnTo>
                    <a:lnTo>
                      <a:pt x="363" y="196"/>
                    </a:lnTo>
                    <a:lnTo>
                      <a:pt x="363" y="197"/>
                    </a:lnTo>
                    <a:lnTo>
                      <a:pt x="363" y="199"/>
                    </a:lnTo>
                    <a:lnTo>
                      <a:pt x="362" y="199"/>
                    </a:lnTo>
                    <a:lnTo>
                      <a:pt x="359" y="201"/>
                    </a:lnTo>
                    <a:lnTo>
                      <a:pt x="358" y="202"/>
                    </a:lnTo>
                    <a:lnTo>
                      <a:pt x="356" y="203"/>
                    </a:lnTo>
                    <a:lnTo>
                      <a:pt x="355" y="203"/>
                    </a:lnTo>
                    <a:lnTo>
                      <a:pt x="354" y="203"/>
                    </a:lnTo>
                    <a:lnTo>
                      <a:pt x="354" y="202"/>
                    </a:lnTo>
                    <a:lnTo>
                      <a:pt x="354" y="203"/>
                    </a:lnTo>
                    <a:lnTo>
                      <a:pt x="352" y="204"/>
                    </a:lnTo>
                    <a:lnTo>
                      <a:pt x="351" y="204"/>
                    </a:lnTo>
                    <a:lnTo>
                      <a:pt x="351" y="204"/>
                    </a:lnTo>
                    <a:lnTo>
                      <a:pt x="350" y="203"/>
                    </a:lnTo>
                    <a:lnTo>
                      <a:pt x="350" y="202"/>
                    </a:lnTo>
                    <a:lnTo>
                      <a:pt x="350" y="201"/>
                    </a:lnTo>
                    <a:lnTo>
                      <a:pt x="349" y="201"/>
                    </a:lnTo>
                    <a:lnTo>
                      <a:pt x="350" y="200"/>
                    </a:lnTo>
                    <a:lnTo>
                      <a:pt x="351" y="197"/>
                    </a:lnTo>
                    <a:lnTo>
                      <a:pt x="354" y="195"/>
                    </a:lnTo>
                    <a:lnTo>
                      <a:pt x="357" y="192"/>
                    </a:lnTo>
                    <a:lnTo>
                      <a:pt x="359" y="190"/>
                    </a:lnTo>
                    <a:lnTo>
                      <a:pt x="362" y="190"/>
                    </a:lnTo>
                    <a:lnTo>
                      <a:pt x="365" y="190"/>
                    </a:lnTo>
                    <a:lnTo>
                      <a:pt x="366" y="190"/>
                    </a:lnTo>
                    <a:lnTo>
                      <a:pt x="367" y="190"/>
                    </a:lnTo>
                    <a:lnTo>
                      <a:pt x="367" y="190"/>
                    </a:lnTo>
                    <a:lnTo>
                      <a:pt x="367" y="190"/>
                    </a:lnTo>
                    <a:lnTo>
                      <a:pt x="367" y="190"/>
                    </a:lnTo>
                    <a:lnTo>
                      <a:pt x="367" y="189"/>
                    </a:lnTo>
                    <a:lnTo>
                      <a:pt x="369" y="189"/>
                    </a:lnTo>
                    <a:lnTo>
                      <a:pt x="370" y="189"/>
                    </a:lnTo>
                    <a:lnTo>
                      <a:pt x="372" y="189"/>
                    </a:lnTo>
                    <a:lnTo>
                      <a:pt x="375" y="188"/>
                    </a:lnTo>
                    <a:lnTo>
                      <a:pt x="367" y="188"/>
                    </a:lnTo>
                    <a:lnTo>
                      <a:pt x="366" y="188"/>
                    </a:lnTo>
                    <a:lnTo>
                      <a:pt x="364" y="188"/>
                    </a:lnTo>
                    <a:lnTo>
                      <a:pt x="363" y="189"/>
                    </a:lnTo>
                    <a:lnTo>
                      <a:pt x="362" y="189"/>
                    </a:lnTo>
                    <a:lnTo>
                      <a:pt x="360" y="188"/>
                    </a:lnTo>
                    <a:lnTo>
                      <a:pt x="360" y="188"/>
                    </a:lnTo>
                    <a:lnTo>
                      <a:pt x="362" y="188"/>
                    </a:lnTo>
                    <a:lnTo>
                      <a:pt x="363" y="187"/>
                    </a:lnTo>
                    <a:lnTo>
                      <a:pt x="365" y="186"/>
                    </a:lnTo>
                    <a:lnTo>
                      <a:pt x="365" y="185"/>
                    </a:lnTo>
                    <a:lnTo>
                      <a:pt x="365" y="185"/>
                    </a:lnTo>
                    <a:lnTo>
                      <a:pt x="364" y="184"/>
                    </a:lnTo>
                    <a:lnTo>
                      <a:pt x="364" y="185"/>
                    </a:lnTo>
                    <a:lnTo>
                      <a:pt x="365" y="185"/>
                    </a:lnTo>
                    <a:lnTo>
                      <a:pt x="364" y="186"/>
                    </a:lnTo>
                    <a:lnTo>
                      <a:pt x="363" y="186"/>
                    </a:lnTo>
                    <a:lnTo>
                      <a:pt x="362" y="187"/>
                    </a:lnTo>
                    <a:lnTo>
                      <a:pt x="358" y="188"/>
                    </a:lnTo>
                    <a:lnTo>
                      <a:pt x="356" y="189"/>
                    </a:lnTo>
                    <a:lnTo>
                      <a:pt x="354" y="190"/>
                    </a:lnTo>
                    <a:lnTo>
                      <a:pt x="351" y="190"/>
                    </a:lnTo>
                    <a:lnTo>
                      <a:pt x="350" y="190"/>
                    </a:lnTo>
                    <a:lnTo>
                      <a:pt x="350" y="190"/>
                    </a:lnTo>
                    <a:lnTo>
                      <a:pt x="350" y="190"/>
                    </a:lnTo>
                    <a:lnTo>
                      <a:pt x="350" y="192"/>
                    </a:lnTo>
                    <a:lnTo>
                      <a:pt x="349" y="193"/>
                    </a:lnTo>
                    <a:lnTo>
                      <a:pt x="347" y="194"/>
                    </a:lnTo>
                    <a:lnTo>
                      <a:pt x="344" y="195"/>
                    </a:lnTo>
                    <a:lnTo>
                      <a:pt x="342" y="196"/>
                    </a:lnTo>
                    <a:lnTo>
                      <a:pt x="340" y="197"/>
                    </a:lnTo>
                    <a:lnTo>
                      <a:pt x="340" y="197"/>
                    </a:lnTo>
                    <a:lnTo>
                      <a:pt x="339" y="197"/>
                    </a:lnTo>
                    <a:lnTo>
                      <a:pt x="337" y="196"/>
                    </a:lnTo>
                    <a:lnTo>
                      <a:pt x="336" y="196"/>
                    </a:lnTo>
                    <a:lnTo>
                      <a:pt x="335" y="196"/>
                    </a:lnTo>
                    <a:lnTo>
                      <a:pt x="334" y="196"/>
                    </a:lnTo>
                    <a:lnTo>
                      <a:pt x="333" y="197"/>
                    </a:lnTo>
                    <a:lnTo>
                      <a:pt x="332" y="199"/>
                    </a:lnTo>
                    <a:lnTo>
                      <a:pt x="332" y="200"/>
                    </a:lnTo>
                    <a:lnTo>
                      <a:pt x="330" y="199"/>
                    </a:lnTo>
                    <a:lnTo>
                      <a:pt x="330" y="199"/>
                    </a:lnTo>
                    <a:lnTo>
                      <a:pt x="330" y="197"/>
                    </a:lnTo>
                    <a:lnTo>
                      <a:pt x="330" y="197"/>
                    </a:lnTo>
                    <a:lnTo>
                      <a:pt x="330" y="197"/>
                    </a:lnTo>
                    <a:lnTo>
                      <a:pt x="329" y="200"/>
                    </a:lnTo>
                    <a:lnTo>
                      <a:pt x="328" y="201"/>
                    </a:lnTo>
                    <a:lnTo>
                      <a:pt x="327" y="201"/>
                    </a:lnTo>
                    <a:lnTo>
                      <a:pt x="327" y="201"/>
                    </a:lnTo>
                    <a:lnTo>
                      <a:pt x="326" y="201"/>
                    </a:lnTo>
                    <a:lnTo>
                      <a:pt x="325" y="201"/>
                    </a:lnTo>
                    <a:lnTo>
                      <a:pt x="324" y="201"/>
                    </a:lnTo>
                    <a:lnTo>
                      <a:pt x="321" y="202"/>
                    </a:lnTo>
                    <a:lnTo>
                      <a:pt x="319" y="203"/>
                    </a:lnTo>
                    <a:lnTo>
                      <a:pt x="318" y="204"/>
                    </a:lnTo>
                    <a:lnTo>
                      <a:pt x="315" y="204"/>
                    </a:lnTo>
                    <a:lnTo>
                      <a:pt x="314" y="207"/>
                    </a:lnTo>
                    <a:lnTo>
                      <a:pt x="313" y="208"/>
                    </a:lnTo>
                    <a:lnTo>
                      <a:pt x="312" y="209"/>
                    </a:lnTo>
                    <a:lnTo>
                      <a:pt x="312" y="209"/>
                    </a:lnTo>
                    <a:lnTo>
                      <a:pt x="311" y="210"/>
                    </a:lnTo>
                    <a:lnTo>
                      <a:pt x="311" y="210"/>
                    </a:lnTo>
                    <a:lnTo>
                      <a:pt x="310" y="211"/>
                    </a:lnTo>
                    <a:lnTo>
                      <a:pt x="307" y="214"/>
                    </a:lnTo>
                    <a:lnTo>
                      <a:pt x="307" y="215"/>
                    </a:lnTo>
                    <a:lnTo>
                      <a:pt x="306" y="216"/>
                    </a:lnTo>
                    <a:lnTo>
                      <a:pt x="307" y="217"/>
                    </a:lnTo>
                    <a:lnTo>
                      <a:pt x="307" y="218"/>
                    </a:lnTo>
                    <a:lnTo>
                      <a:pt x="309" y="219"/>
                    </a:lnTo>
                    <a:lnTo>
                      <a:pt x="309" y="219"/>
                    </a:lnTo>
                    <a:lnTo>
                      <a:pt x="310" y="219"/>
                    </a:lnTo>
                    <a:lnTo>
                      <a:pt x="310" y="219"/>
                    </a:lnTo>
                    <a:lnTo>
                      <a:pt x="311" y="219"/>
                    </a:lnTo>
                    <a:lnTo>
                      <a:pt x="311" y="219"/>
                    </a:lnTo>
                    <a:lnTo>
                      <a:pt x="311" y="220"/>
                    </a:lnTo>
                    <a:lnTo>
                      <a:pt x="310" y="222"/>
                    </a:lnTo>
                    <a:lnTo>
                      <a:pt x="309" y="220"/>
                    </a:lnTo>
                    <a:lnTo>
                      <a:pt x="307" y="220"/>
                    </a:lnTo>
                    <a:lnTo>
                      <a:pt x="305" y="220"/>
                    </a:lnTo>
                    <a:lnTo>
                      <a:pt x="304" y="220"/>
                    </a:lnTo>
                    <a:lnTo>
                      <a:pt x="303" y="222"/>
                    </a:lnTo>
                    <a:lnTo>
                      <a:pt x="303" y="222"/>
                    </a:lnTo>
                    <a:lnTo>
                      <a:pt x="302" y="222"/>
                    </a:lnTo>
                    <a:lnTo>
                      <a:pt x="300" y="223"/>
                    </a:lnTo>
                    <a:lnTo>
                      <a:pt x="299" y="224"/>
                    </a:lnTo>
                    <a:lnTo>
                      <a:pt x="297" y="225"/>
                    </a:lnTo>
                    <a:lnTo>
                      <a:pt x="296" y="225"/>
                    </a:lnTo>
                    <a:lnTo>
                      <a:pt x="295" y="225"/>
                    </a:lnTo>
                    <a:lnTo>
                      <a:pt x="294" y="224"/>
                    </a:lnTo>
                    <a:lnTo>
                      <a:pt x="294" y="225"/>
                    </a:lnTo>
                    <a:lnTo>
                      <a:pt x="292" y="225"/>
                    </a:lnTo>
                    <a:lnTo>
                      <a:pt x="291" y="225"/>
                    </a:lnTo>
                    <a:lnTo>
                      <a:pt x="289" y="225"/>
                    </a:lnTo>
                    <a:lnTo>
                      <a:pt x="285" y="225"/>
                    </a:lnTo>
                    <a:lnTo>
                      <a:pt x="283" y="226"/>
                    </a:lnTo>
                    <a:lnTo>
                      <a:pt x="282" y="227"/>
                    </a:lnTo>
                    <a:lnTo>
                      <a:pt x="281" y="229"/>
                    </a:lnTo>
                    <a:lnTo>
                      <a:pt x="281" y="230"/>
                    </a:lnTo>
                    <a:lnTo>
                      <a:pt x="280" y="231"/>
                    </a:lnTo>
                    <a:lnTo>
                      <a:pt x="279" y="231"/>
                    </a:lnTo>
                    <a:lnTo>
                      <a:pt x="279" y="231"/>
                    </a:lnTo>
                    <a:lnTo>
                      <a:pt x="277" y="232"/>
                    </a:lnTo>
                    <a:lnTo>
                      <a:pt x="276" y="232"/>
                    </a:lnTo>
                    <a:lnTo>
                      <a:pt x="276" y="233"/>
                    </a:lnTo>
                    <a:lnTo>
                      <a:pt x="276" y="233"/>
                    </a:lnTo>
                    <a:lnTo>
                      <a:pt x="276" y="233"/>
                    </a:lnTo>
                    <a:lnTo>
                      <a:pt x="277" y="233"/>
                    </a:lnTo>
                    <a:lnTo>
                      <a:pt x="277" y="234"/>
                    </a:lnTo>
                    <a:lnTo>
                      <a:pt x="277" y="234"/>
                    </a:lnTo>
                    <a:lnTo>
                      <a:pt x="276" y="235"/>
                    </a:lnTo>
                    <a:lnTo>
                      <a:pt x="274" y="237"/>
                    </a:lnTo>
                    <a:lnTo>
                      <a:pt x="273" y="238"/>
                    </a:lnTo>
                    <a:lnTo>
                      <a:pt x="272" y="238"/>
                    </a:lnTo>
                    <a:lnTo>
                      <a:pt x="272" y="239"/>
                    </a:lnTo>
                    <a:lnTo>
                      <a:pt x="270" y="240"/>
                    </a:lnTo>
                    <a:lnTo>
                      <a:pt x="269" y="240"/>
                    </a:lnTo>
                    <a:lnTo>
                      <a:pt x="268" y="239"/>
                    </a:lnTo>
                    <a:lnTo>
                      <a:pt x="268" y="238"/>
                    </a:lnTo>
                    <a:lnTo>
                      <a:pt x="268" y="239"/>
                    </a:lnTo>
                    <a:lnTo>
                      <a:pt x="268" y="239"/>
                    </a:lnTo>
                    <a:lnTo>
                      <a:pt x="268" y="240"/>
                    </a:lnTo>
                    <a:lnTo>
                      <a:pt x="269" y="241"/>
                    </a:lnTo>
                    <a:lnTo>
                      <a:pt x="268" y="241"/>
                    </a:lnTo>
                    <a:lnTo>
                      <a:pt x="267" y="241"/>
                    </a:lnTo>
                    <a:lnTo>
                      <a:pt x="267" y="241"/>
                    </a:lnTo>
                    <a:lnTo>
                      <a:pt x="267" y="241"/>
                    </a:lnTo>
                    <a:lnTo>
                      <a:pt x="267" y="241"/>
                    </a:lnTo>
                    <a:lnTo>
                      <a:pt x="266" y="242"/>
                    </a:lnTo>
                    <a:lnTo>
                      <a:pt x="265" y="244"/>
                    </a:lnTo>
                    <a:lnTo>
                      <a:pt x="265" y="245"/>
                    </a:lnTo>
                    <a:lnTo>
                      <a:pt x="263" y="245"/>
                    </a:lnTo>
                    <a:lnTo>
                      <a:pt x="263" y="245"/>
                    </a:lnTo>
                    <a:lnTo>
                      <a:pt x="262" y="245"/>
                    </a:lnTo>
                    <a:lnTo>
                      <a:pt x="260" y="246"/>
                    </a:lnTo>
                    <a:lnTo>
                      <a:pt x="260" y="247"/>
                    </a:lnTo>
                    <a:lnTo>
                      <a:pt x="259" y="248"/>
                    </a:lnTo>
                    <a:lnTo>
                      <a:pt x="259" y="249"/>
                    </a:lnTo>
                    <a:lnTo>
                      <a:pt x="259" y="249"/>
                    </a:lnTo>
                    <a:lnTo>
                      <a:pt x="259" y="248"/>
                    </a:lnTo>
                    <a:lnTo>
                      <a:pt x="258" y="246"/>
                    </a:lnTo>
                    <a:lnTo>
                      <a:pt x="257" y="246"/>
                    </a:lnTo>
                    <a:lnTo>
                      <a:pt x="257" y="245"/>
                    </a:lnTo>
                    <a:lnTo>
                      <a:pt x="255" y="245"/>
                    </a:lnTo>
                    <a:lnTo>
                      <a:pt x="255" y="242"/>
                    </a:lnTo>
                    <a:lnTo>
                      <a:pt x="255" y="244"/>
                    </a:lnTo>
                    <a:lnTo>
                      <a:pt x="254" y="245"/>
                    </a:lnTo>
                    <a:lnTo>
                      <a:pt x="254" y="245"/>
                    </a:lnTo>
                    <a:lnTo>
                      <a:pt x="255" y="246"/>
                    </a:lnTo>
                    <a:lnTo>
                      <a:pt x="257" y="247"/>
                    </a:lnTo>
                    <a:lnTo>
                      <a:pt x="257" y="248"/>
                    </a:lnTo>
                    <a:lnTo>
                      <a:pt x="257" y="248"/>
                    </a:lnTo>
                    <a:lnTo>
                      <a:pt x="257" y="249"/>
                    </a:lnTo>
                    <a:lnTo>
                      <a:pt x="257" y="249"/>
                    </a:lnTo>
                    <a:lnTo>
                      <a:pt x="258" y="251"/>
                    </a:lnTo>
                    <a:lnTo>
                      <a:pt x="258" y="253"/>
                    </a:lnTo>
                    <a:lnTo>
                      <a:pt x="258" y="254"/>
                    </a:lnTo>
                    <a:lnTo>
                      <a:pt x="257" y="256"/>
                    </a:lnTo>
                    <a:lnTo>
                      <a:pt x="255" y="256"/>
                    </a:lnTo>
                    <a:lnTo>
                      <a:pt x="255" y="256"/>
                    </a:lnTo>
                    <a:lnTo>
                      <a:pt x="257" y="254"/>
                    </a:lnTo>
                    <a:lnTo>
                      <a:pt x="257" y="254"/>
                    </a:lnTo>
                    <a:lnTo>
                      <a:pt x="257" y="253"/>
                    </a:lnTo>
                    <a:lnTo>
                      <a:pt x="255" y="253"/>
                    </a:lnTo>
                    <a:lnTo>
                      <a:pt x="254" y="255"/>
                    </a:lnTo>
                    <a:lnTo>
                      <a:pt x="253" y="257"/>
                    </a:lnTo>
                    <a:lnTo>
                      <a:pt x="252" y="260"/>
                    </a:lnTo>
                    <a:lnTo>
                      <a:pt x="251" y="261"/>
                    </a:lnTo>
                    <a:lnTo>
                      <a:pt x="248" y="262"/>
                    </a:lnTo>
                    <a:lnTo>
                      <a:pt x="247" y="262"/>
                    </a:lnTo>
                    <a:lnTo>
                      <a:pt x="247" y="262"/>
                    </a:lnTo>
                    <a:lnTo>
                      <a:pt x="248" y="261"/>
                    </a:lnTo>
                    <a:lnTo>
                      <a:pt x="250" y="260"/>
                    </a:lnTo>
                    <a:lnTo>
                      <a:pt x="251" y="259"/>
                    </a:lnTo>
                    <a:lnTo>
                      <a:pt x="250" y="257"/>
                    </a:lnTo>
                    <a:lnTo>
                      <a:pt x="250" y="257"/>
                    </a:lnTo>
                    <a:lnTo>
                      <a:pt x="248" y="256"/>
                    </a:lnTo>
                    <a:lnTo>
                      <a:pt x="248" y="255"/>
                    </a:lnTo>
                    <a:lnTo>
                      <a:pt x="248" y="255"/>
                    </a:lnTo>
                    <a:lnTo>
                      <a:pt x="248" y="254"/>
                    </a:lnTo>
                    <a:lnTo>
                      <a:pt x="248" y="253"/>
                    </a:lnTo>
                    <a:lnTo>
                      <a:pt x="248" y="253"/>
                    </a:lnTo>
                    <a:lnTo>
                      <a:pt x="247" y="252"/>
                    </a:lnTo>
                    <a:lnTo>
                      <a:pt x="248" y="249"/>
                    </a:lnTo>
                    <a:lnTo>
                      <a:pt x="248" y="249"/>
                    </a:lnTo>
                    <a:lnTo>
                      <a:pt x="248" y="249"/>
                    </a:lnTo>
                    <a:lnTo>
                      <a:pt x="248" y="248"/>
                    </a:lnTo>
                    <a:lnTo>
                      <a:pt x="248" y="248"/>
                    </a:lnTo>
                    <a:lnTo>
                      <a:pt x="248" y="247"/>
                    </a:lnTo>
                    <a:lnTo>
                      <a:pt x="250" y="246"/>
                    </a:lnTo>
                    <a:lnTo>
                      <a:pt x="252" y="246"/>
                    </a:lnTo>
                    <a:lnTo>
                      <a:pt x="251" y="245"/>
                    </a:lnTo>
                    <a:lnTo>
                      <a:pt x="251" y="245"/>
                    </a:lnTo>
                    <a:lnTo>
                      <a:pt x="248" y="246"/>
                    </a:lnTo>
                    <a:lnTo>
                      <a:pt x="246" y="246"/>
                    </a:lnTo>
                    <a:lnTo>
                      <a:pt x="246" y="247"/>
                    </a:lnTo>
                    <a:lnTo>
                      <a:pt x="245" y="249"/>
                    </a:lnTo>
                    <a:lnTo>
                      <a:pt x="245" y="251"/>
                    </a:lnTo>
                    <a:lnTo>
                      <a:pt x="245" y="252"/>
                    </a:lnTo>
                    <a:lnTo>
                      <a:pt x="245" y="252"/>
                    </a:lnTo>
                    <a:lnTo>
                      <a:pt x="245" y="252"/>
                    </a:lnTo>
                    <a:lnTo>
                      <a:pt x="245" y="252"/>
                    </a:lnTo>
                    <a:lnTo>
                      <a:pt x="245" y="253"/>
                    </a:lnTo>
                    <a:lnTo>
                      <a:pt x="245" y="254"/>
                    </a:lnTo>
                    <a:lnTo>
                      <a:pt x="244" y="254"/>
                    </a:lnTo>
                    <a:lnTo>
                      <a:pt x="244" y="254"/>
                    </a:lnTo>
                    <a:lnTo>
                      <a:pt x="242" y="253"/>
                    </a:lnTo>
                    <a:lnTo>
                      <a:pt x="243" y="254"/>
                    </a:lnTo>
                    <a:lnTo>
                      <a:pt x="244" y="254"/>
                    </a:lnTo>
                    <a:lnTo>
                      <a:pt x="244" y="254"/>
                    </a:lnTo>
                    <a:lnTo>
                      <a:pt x="244" y="254"/>
                    </a:lnTo>
                    <a:lnTo>
                      <a:pt x="244" y="255"/>
                    </a:lnTo>
                    <a:lnTo>
                      <a:pt x="244" y="256"/>
                    </a:lnTo>
                    <a:lnTo>
                      <a:pt x="244" y="257"/>
                    </a:lnTo>
                    <a:lnTo>
                      <a:pt x="245" y="259"/>
                    </a:lnTo>
                    <a:lnTo>
                      <a:pt x="242" y="259"/>
                    </a:lnTo>
                    <a:lnTo>
                      <a:pt x="243" y="260"/>
                    </a:lnTo>
                    <a:lnTo>
                      <a:pt x="244" y="260"/>
                    </a:lnTo>
                    <a:lnTo>
                      <a:pt x="245" y="261"/>
                    </a:lnTo>
                    <a:lnTo>
                      <a:pt x="244" y="261"/>
                    </a:lnTo>
                    <a:lnTo>
                      <a:pt x="243" y="262"/>
                    </a:lnTo>
                    <a:lnTo>
                      <a:pt x="244" y="262"/>
                    </a:lnTo>
                    <a:lnTo>
                      <a:pt x="245" y="262"/>
                    </a:lnTo>
                    <a:lnTo>
                      <a:pt x="245" y="263"/>
                    </a:lnTo>
                    <a:lnTo>
                      <a:pt x="245" y="266"/>
                    </a:lnTo>
                    <a:lnTo>
                      <a:pt x="245" y="267"/>
                    </a:lnTo>
                    <a:lnTo>
                      <a:pt x="245" y="269"/>
                    </a:lnTo>
                    <a:lnTo>
                      <a:pt x="246" y="271"/>
                    </a:lnTo>
                    <a:lnTo>
                      <a:pt x="246" y="272"/>
                    </a:lnTo>
                    <a:lnTo>
                      <a:pt x="246" y="275"/>
                    </a:lnTo>
                    <a:lnTo>
                      <a:pt x="245" y="276"/>
                    </a:lnTo>
                    <a:lnTo>
                      <a:pt x="243" y="276"/>
                    </a:lnTo>
                    <a:lnTo>
                      <a:pt x="242" y="276"/>
                    </a:lnTo>
                    <a:lnTo>
                      <a:pt x="240" y="277"/>
                    </a:lnTo>
                    <a:lnTo>
                      <a:pt x="239" y="277"/>
                    </a:lnTo>
                    <a:lnTo>
                      <a:pt x="238" y="276"/>
                    </a:lnTo>
                    <a:lnTo>
                      <a:pt x="238" y="276"/>
                    </a:lnTo>
                    <a:lnTo>
                      <a:pt x="237" y="276"/>
                    </a:lnTo>
                    <a:lnTo>
                      <a:pt x="237" y="277"/>
                    </a:lnTo>
                    <a:lnTo>
                      <a:pt x="238" y="277"/>
                    </a:lnTo>
                    <a:lnTo>
                      <a:pt x="239" y="277"/>
                    </a:lnTo>
                    <a:lnTo>
                      <a:pt x="242" y="278"/>
                    </a:lnTo>
                    <a:lnTo>
                      <a:pt x="242" y="278"/>
                    </a:lnTo>
                    <a:lnTo>
                      <a:pt x="242" y="278"/>
                    </a:lnTo>
                    <a:lnTo>
                      <a:pt x="243" y="278"/>
                    </a:lnTo>
                    <a:lnTo>
                      <a:pt x="243" y="277"/>
                    </a:lnTo>
                    <a:lnTo>
                      <a:pt x="244" y="277"/>
                    </a:lnTo>
                    <a:lnTo>
                      <a:pt x="244" y="277"/>
                    </a:lnTo>
                    <a:lnTo>
                      <a:pt x="244" y="278"/>
                    </a:lnTo>
                    <a:lnTo>
                      <a:pt x="244" y="279"/>
                    </a:lnTo>
                    <a:lnTo>
                      <a:pt x="243" y="279"/>
                    </a:lnTo>
                    <a:lnTo>
                      <a:pt x="243" y="281"/>
                    </a:lnTo>
                    <a:lnTo>
                      <a:pt x="242" y="281"/>
                    </a:lnTo>
                    <a:lnTo>
                      <a:pt x="242" y="282"/>
                    </a:lnTo>
                    <a:lnTo>
                      <a:pt x="242" y="282"/>
                    </a:lnTo>
                    <a:lnTo>
                      <a:pt x="240" y="282"/>
                    </a:lnTo>
                    <a:lnTo>
                      <a:pt x="238" y="281"/>
                    </a:lnTo>
                    <a:lnTo>
                      <a:pt x="236" y="281"/>
                    </a:lnTo>
                    <a:lnTo>
                      <a:pt x="236" y="281"/>
                    </a:lnTo>
                    <a:lnTo>
                      <a:pt x="236" y="281"/>
                    </a:lnTo>
                    <a:lnTo>
                      <a:pt x="237" y="281"/>
                    </a:lnTo>
                    <a:lnTo>
                      <a:pt x="237" y="282"/>
                    </a:lnTo>
                    <a:lnTo>
                      <a:pt x="237" y="282"/>
                    </a:lnTo>
                    <a:lnTo>
                      <a:pt x="236" y="283"/>
                    </a:lnTo>
                    <a:lnTo>
                      <a:pt x="235" y="284"/>
                    </a:lnTo>
                    <a:lnTo>
                      <a:pt x="236" y="284"/>
                    </a:lnTo>
                    <a:lnTo>
                      <a:pt x="236" y="284"/>
                    </a:lnTo>
                    <a:lnTo>
                      <a:pt x="237" y="284"/>
                    </a:lnTo>
                    <a:lnTo>
                      <a:pt x="238" y="284"/>
                    </a:lnTo>
                    <a:lnTo>
                      <a:pt x="238" y="284"/>
                    </a:lnTo>
                    <a:lnTo>
                      <a:pt x="238" y="284"/>
                    </a:lnTo>
                    <a:lnTo>
                      <a:pt x="237" y="285"/>
                    </a:lnTo>
                    <a:lnTo>
                      <a:pt x="237" y="285"/>
                    </a:lnTo>
                    <a:lnTo>
                      <a:pt x="237" y="286"/>
                    </a:lnTo>
                    <a:lnTo>
                      <a:pt x="236" y="287"/>
                    </a:lnTo>
                    <a:lnTo>
                      <a:pt x="235" y="287"/>
                    </a:lnTo>
                    <a:lnTo>
                      <a:pt x="232" y="289"/>
                    </a:lnTo>
                    <a:lnTo>
                      <a:pt x="230" y="289"/>
                    </a:lnTo>
                    <a:lnTo>
                      <a:pt x="229" y="290"/>
                    </a:lnTo>
                    <a:lnTo>
                      <a:pt x="228" y="291"/>
                    </a:lnTo>
                    <a:lnTo>
                      <a:pt x="227" y="291"/>
                    </a:lnTo>
                    <a:lnTo>
                      <a:pt x="227" y="292"/>
                    </a:lnTo>
                    <a:lnTo>
                      <a:pt x="225" y="292"/>
                    </a:lnTo>
                    <a:lnTo>
                      <a:pt x="224" y="292"/>
                    </a:lnTo>
                    <a:lnTo>
                      <a:pt x="223" y="293"/>
                    </a:lnTo>
                    <a:lnTo>
                      <a:pt x="221" y="296"/>
                    </a:lnTo>
                    <a:lnTo>
                      <a:pt x="220" y="297"/>
                    </a:lnTo>
                    <a:lnTo>
                      <a:pt x="218" y="298"/>
                    </a:lnTo>
                    <a:lnTo>
                      <a:pt x="217" y="299"/>
                    </a:lnTo>
                    <a:lnTo>
                      <a:pt x="214" y="298"/>
                    </a:lnTo>
                    <a:lnTo>
                      <a:pt x="212" y="299"/>
                    </a:lnTo>
                    <a:lnTo>
                      <a:pt x="209" y="300"/>
                    </a:lnTo>
                    <a:lnTo>
                      <a:pt x="208" y="302"/>
                    </a:lnTo>
                    <a:lnTo>
                      <a:pt x="207" y="304"/>
                    </a:lnTo>
                    <a:lnTo>
                      <a:pt x="206" y="305"/>
                    </a:lnTo>
                    <a:lnTo>
                      <a:pt x="206" y="305"/>
                    </a:lnTo>
                    <a:lnTo>
                      <a:pt x="206" y="305"/>
                    </a:lnTo>
                    <a:lnTo>
                      <a:pt x="205" y="306"/>
                    </a:lnTo>
                    <a:lnTo>
                      <a:pt x="205" y="306"/>
                    </a:lnTo>
                    <a:lnTo>
                      <a:pt x="202" y="307"/>
                    </a:lnTo>
                    <a:lnTo>
                      <a:pt x="201" y="309"/>
                    </a:lnTo>
                    <a:lnTo>
                      <a:pt x="200" y="309"/>
                    </a:lnTo>
                    <a:lnTo>
                      <a:pt x="199" y="309"/>
                    </a:lnTo>
                    <a:lnTo>
                      <a:pt x="198" y="309"/>
                    </a:lnTo>
                    <a:lnTo>
                      <a:pt x="198" y="308"/>
                    </a:lnTo>
                    <a:lnTo>
                      <a:pt x="198" y="308"/>
                    </a:lnTo>
                    <a:lnTo>
                      <a:pt x="198" y="309"/>
                    </a:lnTo>
                    <a:lnTo>
                      <a:pt x="197" y="311"/>
                    </a:lnTo>
                    <a:lnTo>
                      <a:pt x="194" y="311"/>
                    </a:lnTo>
                    <a:lnTo>
                      <a:pt x="193" y="311"/>
                    </a:lnTo>
                    <a:lnTo>
                      <a:pt x="193" y="309"/>
                    </a:lnTo>
                    <a:lnTo>
                      <a:pt x="192" y="309"/>
                    </a:lnTo>
                    <a:lnTo>
                      <a:pt x="192" y="309"/>
                    </a:lnTo>
                    <a:lnTo>
                      <a:pt x="192" y="311"/>
                    </a:lnTo>
                    <a:lnTo>
                      <a:pt x="193" y="312"/>
                    </a:lnTo>
                    <a:lnTo>
                      <a:pt x="193" y="312"/>
                    </a:lnTo>
                    <a:lnTo>
                      <a:pt x="192" y="313"/>
                    </a:lnTo>
                    <a:lnTo>
                      <a:pt x="192" y="313"/>
                    </a:lnTo>
                    <a:lnTo>
                      <a:pt x="192" y="314"/>
                    </a:lnTo>
                    <a:lnTo>
                      <a:pt x="192" y="315"/>
                    </a:lnTo>
                    <a:lnTo>
                      <a:pt x="192" y="315"/>
                    </a:lnTo>
                    <a:lnTo>
                      <a:pt x="191" y="315"/>
                    </a:lnTo>
                    <a:lnTo>
                      <a:pt x="190" y="315"/>
                    </a:lnTo>
                    <a:lnTo>
                      <a:pt x="188" y="316"/>
                    </a:lnTo>
                    <a:lnTo>
                      <a:pt x="187" y="317"/>
                    </a:lnTo>
                    <a:lnTo>
                      <a:pt x="184" y="321"/>
                    </a:lnTo>
                    <a:lnTo>
                      <a:pt x="183" y="324"/>
                    </a:lnTo>
                    <a:lnTo>
                      <a:pt x="182" y="327"/>
                    </a:lnTo>
                    <a:lnTo>
                      <a:pt x="180" y="328"/>
                    </a:lnTo>
                    <a:lnTo>
                      <a:pt x="180" y="329"/>
                    </a:lnTo>
                    <a:lnTo>
                      <a:pt x="180" y="330"/>
                    </a:lnTo>
                    <a:lnTo>
                      <a:pt x="180" y="330"/>
                    </a:lnTo>
                    <a:lnTo>
                      <a:pt x="180" y="331"/>
                    </a:lnTo>
                    <a:lnTo>
                      <a:pt x="180" y="331"/>
                    </a:lnTo>
                    <a:lnTo>
                      <a:pt x="179" y="334"/>
                    </a:lnTo>
                    <a:lnTo>
                      <a:pt x="179" y="336"/>
                    </a:lnTo>
                    <a:lnTo>
                      <a:pt x="179" y="339"/>
                    </a:lnTo>
                    <a:lnTo>
                      <a:pt x="179" y="343"/>
                    </a:lnTo>
                    <a:lnTo>
                      <a:pt x="180" y="345"/>
                    </a:lnTo>
                    <a:lnTo>
                      <a:pt x="180" y="349"/>
                    </a:lnTo>
                    <a:lnTo>
                      <a:pt x="180" y="351"/>
                    </a:lnTo>
                    <a:lnTo>
                      <a:pt x="180" y="354"/>
                    </a:lnTo>
                    <a:lnTo>
                      <a:pt x="182" y="357"/>
                    </a:lnTo>
                    <a:lnTo>
                      <a:pt x="182" y="359"/>
                    </a:lnTo>
                    <a:lnTo>
                      <a:pt x="182" y="359"/>
                    </a:lnTo>
                    <a:lnTo>
                      <a:pt x="182" y="359"/>
                    </a:lnTo>
                    <a:lnTo>
                      <a:pt x="180" y="358"/>
                    </a:lnTo>
                    <a:lnTo>
                      <a:pt x="180" y="356"/>
                    </a:lnTo>
                    <a:lnTo>
                      <a:pt x="180" y="354"/>
                    </a:lnTo>
                    <a:lnTo>
                      <a:pt x="180" y="353"/>
                    </a:lnTo>
                    <a:lnTo>
                      <a:pt x="180" y="353"/>
                    </a:lnTo>
                    <a:lnTo>
                      <a:pt x="180" y="354"/>
                    </a:lnTo>
                    <a:lnTo>
                      <a:pt x="180" y="358"/>
                    </a:lnTo>
                    <a:lnTo>
                      <a:pt x="182" y="361"/>
                    </a:lnTo>
                    <a:lnTo>
                      <a:pt x="182" y="364"/>
                    </a:lnTo>
                    <a:lnTo>
                      <a:pt x="182" y="365"/>
                    </a:lnTo>
                    <a:lnTo>
                      <a:pt x="183" y="366"/>
                    </a:lnTo>
                    <a:lnTo>
                      <a:pt x="183" y="368"/>
                    </a:lnTo>
                    <a:lnTo>
                      <a:pt x="182" y="371"/>
                    </a:lnTo>
                    <a:lnTo>
                      <a:pt x="180" y="374"/>
                    </a:lnTo>
                    <a:lnTo>
                      <a:pt x="178" y="378"/>
                    </a:lnTo>
                    <a:lnTo>
                      <a:pt x="178" y="379"/>
                    </a:lnTo>
                    <a:lnTo>
                      <a:pt x="178" y="380"/>
                    </a:lnTo>
                    <a:lnTo>
                      <a:pt x="178" y="381"/>
                    </a:lnTo>
                    <a:lnTo>
                      <a:pt x="179" y="381"/>
                    </a:lnTo>
                    <a:lnTo>
                      <a:pt x="179" y="382"/>
                    </a:lnTo>
                    <a:lnTo>
                      <a:pt x="178" y="382"/>
                    </a:lnTo>
                    <a:lnTo>
                      <a:pt x="178" y="382"/>
                    </a:lnTo>
                    <a:lnTo>
                      <a:pt x="177" y="382"/>
                    </a:lnTo>
                    <a:lnTo>
                      <a:pt x="177" y="382"/>
                    </a:lnTo>
                    <a:lnTo>
                      <a:pt x="176" y="382"/>
                    </a:lnTo>
                    <a:lnTo>
                      <a:pt x="175" y="382"/>
                    </a:lnTo>
                    <a:lnTo>
                      <a:pt x="175" y="383"/>
                    </a:lnTo>
                    <a:lnTo>
                      <a:pt x="173" y="383"/>
                    </a:lnTo>
                    <a:lnTo>
                      <a:pt x="173" y="383"/>
                    </a:lnTo>
                    <a:lnTo>
                      <a:pt x="173" y="383"/>
                    </a:lnTo>
                    <a:lnTo>
                      <a:pt x="171" y="384"/>
                    </a:lnTo>
                    <a:lnTo>
                      <a:pt x="170" y="384"/>
                    </a:lnTo>
                    <a:lnTo>
                      <a:pt x="169" y="384"/>
                    </a:lnTo>
                    <a:lnTo>
                      <a:pt x="168" y="383"/>
                    </a:lnTo>
                    <a:lnTo>
                      <a:pt x="168" y="382"/>
                    </a:lnTo>
                    <a:lnTo>
                      <a:pt x="168" y="382"/>
                    </a:lnTo>
                    <a:lnTo>
                      <a:pt x="168" y="382"/>
                    </a:lnTo>
                    <a:lnTo>
                      <a:pt x="169" y="382"/>
                    </a:lnTo>
                    <a:lnTo>
                      <a:pt x="170" y="382"/>
                    </a:lnTo>
                    <a:lnTo>
                      <a:pt x="170" y="382"/>
                    </a:lnTo>
                    <a:lnTo>
                      <a:pt x="170" y="381"/>
                    </a:lnTo>
                    <a:lnTo>
                      <a:pt x="170" y="381"/>
                    </a:lnTo>
                    <a:lnTo>
                      <a:pt x="171" y="381"/>
                    </a:lnTo>
                    <a:lnTo>
                      <a:pt x="172" y="380"/>
                    </a:lnTo>
                    <a:lnTo>
                      <a:pt x="171" y="380"/>
                    </a:lnTo>
                    <a:lnTo>
                      <a:pt x="170" y="379"/>
                    </a:lnTo>
                    <a:lnTo>
                      <a:pt x="169" y="378"/>
                    </a:lnTo>
                    <a:lnTo>
                      <a:pt x="168" y="378"/>
                    </a:lnTo>
                    <a:lnTo>
                      <a:pt x="168" y="376"/>
                    </a:lnTo>
                    <a:lnTo>
                      <a:pt x="167" y="376"/>
                    </a:lnTo>
                    <a:lnTo>
                      <a:pt x="167" y="375"/>
                    </a:lnTo>
                    <a:lnTo>
                      <a:pt x="165" y="375"/>
                    </a:lnTo>
                    <a:lnTo>
                      <a:pt x="164" y="374"/>
                    </a:lnTo>
                    <a:lnTo>
                      <a:pt x="164" y="372"/>
                    </a:lnTo>
                    <a:lnTo>
                      <a:pt x="164" y="371"/>
                    </a:lnTo>
                    <a:lnTo>
                      <a:pt x="164" y="369"/>
                    </a:lnTo>
                    <a:lnTo>
                      <a:pt x="164" y="368"/>
                    </a:lnTo>
                    <a:lnTo>
                      <a:pt x="164" y="366"/>
                    </a:lnTo>
                    <a:lnTo>
                      <a:pt x="165" y="366"/>
                    </a:lnTo>
                    <a:lnTo>
                      <a:pt x="165" y="365"/>
                    </a:lnTo>
                    <a:lnTo>
                      <a:pt x="164" y="366"/>
                    </a:lnTo>
                    <a:lnTo>
                      <a:pt x="163" y="366"/>
                    </a:lnTo>
                    <a:lnTo>
                      <a:pt x="162" y="364"/>
                    </a:lnTo>
                    <a:lnTo>
                      <a:pt x="161" y="361"/>
                    </a:lnTo>
                    <a:lnTo>
                      <a:pt x="161" y="360"/>
                    </a:lnTo>
                    <a:lnTo>
                      <a:pt x="162" y="359"/>
                    </a:lnTo>
                    <a:lnTo>
                      <a:pt x="162" y="358"/>
                    </a:lnTo>
                    <a:lnTo>
                      <a:pt x="163" y="357"/>
                    </a:lnTo>
                    <a:lnTo>
                      <a:pt x="163" y="356"/>
                    </a:lnTo>
                    <a:lnTo>
                      <a:pt x="162" y="354"/>
                    </a:lnTo>
                    <a:lnTo>
                      <a:pt x="163" y="353"/>
                    </a:lnTo>
                    <a:lnTo>
                      <a:pt x="164" y="351"/>
                    </a:lnTo>
                    <a:lnTo>
                      <a:pt x="164" y="349"/>
                    </a:lnTo>
                    <a:lnTo>
                      <a:pt x="165" y="346"/>
                    </a:lnTo>
                    <a:lnTo>
                      <a:pt x="165" y="345"/>
                    </a:lnTo>
                    <a:lnTo>
                      <a:pt x="164" y="344"/>
                    </a:lnTo>
                    <a:lnTo>
                      <a:pt x="163" y="343"/>
                    </a:lnTo>
                    <a:lnTo>
                      <a:pt x="163" y="342"/>
                    </a:lnTo>
                    <a:lnTo>
                      <a:pt x="163" y="341"/>
                    </a:lnTo>
                    <a:lnTo>
                      <a:pt x="163" y="339"/>
                    </a:lnTo>
                    <a:lnTo>
                      <a:pt x="162" y="339"/>
                    </a:lnTo>
                    <a:lnTo>
                      <a:pt x="161" y="338"/>
                    </a:lnTo>
                    <a:lnTo>
                      <a:pt x="161" y="338"/>
                    </a:lnTo>
                    <a:lnTo>
                      <a:pt x="160" y="337"/>
                    </a:lnTo>
                    <a:lnTo>
                      <a:pt x="160" y="337"/>
                    </a:lnTo>
                    <a:lnTo>
                      <a:pt x="158" y="336"/>
                    </a:lnTo>
                    <a:lnTo>
                      <a:pt x="157" y="336"/>
                    </a:lnTo>
                    <a:lnTo>
                      <a:pt x="156" y="336"/>
                    </a:lnTo>
                    <a:lnTo>
                      <a:pt x="154" y="337"/>
                    </a:lnTo>
                    <a:lnTo>
                      <a:pt x="152" y="338"/>
                    </a:lnTo>
                    <a:lnTo>
                      <a:pt x="150" y="338"/>
                    </a:lnTo>
                    <a:lnTo>
                      <a:pt x="150" y="338"/>
                    </a:lnTo>
                    <a:lnTo>
                      <a:pt x="149" y="338"/>
                    </a:lnTo>
                    <a:lnTo>
                      <a:pt x="149" y="338"/>
                    </a:lnTo>
                    <a:lnTo>
                      <a:pt x="148" y="338"/>
                    </a:lnTo>
                    <a:lnTo>
                      <a:pt x="147" y="338"/>
                    </a:lnTo>
                    <a:lnTo>
                      <a:pt x="146" y="339"/>
                    </a:lnTo>
                    <a:lnTo>
                      <a:pt x="145" y="339"/>
                    </a:lnTo>
                    <a:lnTo>
                      <a:pt x="145" y="339"/>
                    </a:lnTo>
                    <a:lnTo>
                      <a:pt x="146" y="338"/>
                    </a:lnTo>
                    <a:lnTo>
                      <a:pt x="146" y="338"/>
                    </a:lnTo>
                    <a:lnTo>
                      <a:pt x="146" y="337"/>
                    </a:lnTo>
                    <a:lnTo>
                      <a:pt x="143" y="337"/>
                    </a:lnTo>
                    <a:lnTo>
                      <a:pt x="141" y="336"/>
                    </a:lnTo>
                    <a:lnTo>
                      <a:pt x="137" y="335"/>
                    </a:lnTo>
                    <a:lnTo>
                      <a:pt x="134" y="334"/>
                    </a:lnTo>
                    <a:lnTo>
                      <a:pt x="133" y="334"/>
                    </a:lnTo>
                    <a:lnTo>
                      <a:pt x="134" y="333"/>
                    </a:lnTo>
                    <a:lnTo>
                      <a:pt x="135" y="333"/>
                    </a:lnTo>
                    <a:lnTo>
                      <a:pt x="137" y="333"/>
                    </a:lnTo>
                    <a:lnTo>
                      <a:pt x="138" y="333"/>
                    </a:lnTo>
                    <a:lnTo>
                      <a:pt x="139" y="333"/>
                    </a:lnTo>
                    <a:lnTo>
                      <a:pt x="140" y="333"/>
                    </a:lnTo>
                    <a:lnTo>
                      <a:pt x="140" y="331"/>
                    </a:lnTo>
                    <a:lnTo>
                      <a:pt x="139" y="331"/>
                    </a:lnTo>
                    <a:lnTo>
                      <a:pt x="138" y="331"/>
                    </a:lnTo>
                    <a:lnTo>
                      <a:pt x="135" y="331"/>
                    </a:lnTo>
                    <a:lnTo>
                      <a:pt x="134" y="333"/>
                    </a:lnTo>
                    <a:lnTo>
                      <a:pt x="133" y="333"/>
                    </a:lnTo>
                    <a:lnTo>
                      <a:pt x="132" y="333"/>
                    </a:lnTo>
                    <a:lnTo>
                      <a:pt x="133" y="334"/>
                    </a:lnTo>
                    <a:lnTo>
                      <a:pt x="133" y="334"/>
                    </a:lnTo>
                    <a:lnTo>
                      <a:pt x="132" y="334"/>
                    </a:lnTo>
                    <a:lnTo>
                      <a:pt x="130" y="334"/>
                    </a:lnTo>
                    <a:lnTo>
                      <a:pt x="127" y="334"/>
                    </a:lnTo>
                    <a:lnTo>
                      <a:pt x="126" y="334"/>
                    </a:lnTo>
                    <a:lnTo>
                      <a:pt x="124" y="334"/>
                    </a:lnTo>
                    <a:lnTo>
                      <a:pt x="124" y="334"/>
                    </a:lnTo>
                    <a:lnTo>
                      <a:pt x="124" y="334"/>
                    </a:lnTo>
                    <a:lnTo>
                      <a:pt x="123" y="334"/>
                    </a:lnTo>
                    <a:lnTo>
                      <a:pt x="120" y="335"/>
                    </a:lnTo>
                    <a:lnTo>
                      <a:pt x="119" y="336"/>
                    </a:lnTo>
                    <a:lnTo>
                      <a:pt x="119" y="335"/>
                    </a:lnTo>
                    <a:lnTo>
                      <a:pt x="118" y="334"/>
                    </a:lnTo>
                    <a:lnTo>
                      <a:pt x="119" y="333"/>
                    </a:lnTo>
                    <a:lnTo>
                      <a:pt x="119" y="333"/>
                    </a:lnTo>
                    <a:lnTo>
                      <a:pt x="119" y="331"/>
                    </a:lnTo>
                    <a:lnTo>
                      <a:pt x="119" y="331"/>
                    </a:lnTo>
                    <a:lnTo>
                      <a:pt x="118" y="333"/>
                    </a:lnTo>
                    <a:lnTo>
                      <a:pt x="118" y="334"/>
                    </a:lnTo>
                    <a:lnTo>
                      <a:pt x="117" y="335"/>
                    </a:lnTo>
                    <a:lnTo>
                      <a:pt x="117" y="336"/>
                    </a:lnTo>
                    <a:lnTo>
                      <a:pt x="116" y="336"/>
                    </a:lnTo>
                    <a:lnTo>
                      <a:pt x="115" y="336"/>
                    </a:lnTo>
                    <a:lnTo>
                      <a:pt x="113" y="335"/>
                    </a:lnTo>
                    <a:lnTo>
                      <a:pt x="112" y="335"/>
                    </a:lnTo>
                    <a:lnTo>
                      <a:pt x="110" y="336"/>
                    </a:lnTo>
                    <a:lnTo>
                      <a:pt x="109" y="336"/>
                    </a:lnTo>
                    <a:lnTo>
                      <a:pt x="106" y="336"/>
                    </a:lnTo>
                    <a:lnTo>
                      <a:pt x="105" y="335"/>
                    </a:lnTo>
                    <a:lnTo>
                      <a:pt x="105" y="334"/>
                    </a:lnTo>
                    <a:lnTo>
                      <a:pt x="104" y="334"/>
                    </a:lnTo>
                    <a:lnTo>
                      <a:pt x="103" y="335"/>
                    </a:lnTo>
                    <a:lnTo>
                      <a:pt x="103" y="337"/>
                    </a:lnTo>
                    <a:lnTo>
                      <a:pt x="103" y="337"/>
                    </a:lnTo>
                    <a:lnTo>
                      <a:pt x="104" y="338"/>
                    </a:lnTo>
                    <a:lnTo>
                      <a:pt x="105" y="338"/>
                    </a:lnTo>
                    <a:lnTo>
                      <a:pt x="108" y="338"/>
                    </a:lnTo>
                    <a:lnTo>
                      <a:pt x="108" y="338"/>
                    </a:lnTo>
                    <a:lnTo>
                      <a:pt x="109" y="339"/>
                    </a:lnTo>
                    <a:lnTo>
                      <a:pt x="109" y="341"/>
                    </a:lnTo>
                    <a:lnTo>
                      <a:pt x="108" y="342"/>
                    </a:lnTo>
                    <a:lnTo>
                      <a:pt x="109" y="342"/>
                    </a:lnTo>
                    <a:lnTo>
                      <a:pt x="109" y="342"/>
                    </a:lnTo>
                    <a:lnTo>
                      <a:pt x="110" y="342"/>
                    </a:lnTo>
                    <a:lnTo>
                      <a:pt x="110" y="342"/>
                    </a:lnTo>
                    <a:lnTo>
                      <a:pt x="110" y="343"/>
                    </a:lnTo>
                    <a:lnTo>
                      <a:pt x="110" y="344"/>
                    </a:lnTo>
                    <a:lnTo>
                      <a:pt x="111" y="344"/>
                    </a:lnTo>
                    <a:lnTo>
                      <a:pt x="111" y="345"/>
                    </a:lnTo>
                    <a:lnTo>
                      <a:pt x="111" y="345"/>
                    </a:lnTo>
                    <a:lnTo>
                      <a:pt x="110" y="345"/>
                    </a:lnTo>
                    <a:lnTo>
                      <a:pt x="109" y="346"/>
                    </a:lnTo>
                    <a:lnTo>
                      <a:pt x="108" y="346"/>
                    </a:lnTo>
                    <a:lnTo>
                      <a:pt x="108" y="346"/>
                    </a:lnTo>
                    <a:lnTo>
                      <a:pt x="108" y="345"/>
                    </a:lnTo>
                    <a:lnTo>
                      <a:pt x="106" y="345"/>
                    </a:lnTo>
                    <a:lnTo>
                      <a:pt x="105" y="345"/>
                    </a:lnTo>
                    <a:lnTo>
                      <a:pt x="105" y="345"/>
                    </a:lnTo>
                    <a:lnTo>
                      <a:pt x="104" y="346"/>
                    </a:lnTo>
                    <a:lnTo>
                      <a:pt x="104" y="346"/>
                    </a:lnTo>
                    <a:lnTo>
                      <a:pt x="103" y="345"/>
                    </a:lnTo>
                    <a:lnTo>
                      <a:pt x="102" y="345"/>
                    </a:lnTo>
                    <a:lnTo>
                      <a:pt x="100" y="345"/>
                    </a:lnTo>
                    <a:lnTo>
                      <a:pt x="97" y="345"/>
                    </a:lnTo>
                    <a:lnTo>
                      <a:pt x="96" y="344"/>
                    </a:lnTo>
                    <a:lnTo>
                      <a:pt x="95" y="344"/>
                    </a:lnTo>
                    <a:lnTo>
                      <a:pt x="95" y="343"/>
                    </a:lnTo>
                    <a:lnTo>
                      <a:pt x="94" y="343"/>
                    </a:lnTo>
                    <a:lnTo>
                      <a:pt x="94" y="343"/>
                    </a:lnTo>
                    <a:lnTo>
                      <a:pt x="93" y="342"/>
                    </a:lnTo>
                    <a:lnTo>
                      <a:pt x="91" y="342"/>
                    </a:lnTo>
                    <a:lnTo>
                      <a:pt x="91" y="342"/>
                    </a:lnTo>
                    <a:lnTo>
                      <a:pt x="90" y="342"/>
                    </a:lnTo>
                    <a:lnTo>
                      <a:pt x="89" y="342"/>
                    </a:lnTo>
                    <a:lnTo>
                      <a:pt x="87" y="343"/>
                    </a:lnTo>
                    <a:lnTo>
                      <a:pt x="86" y="342"/>
                    </a:lnTo>
                    <a:lnTo>
                      <a:pt x="85" y="341"/>
                    </a:lnTo>
                    <a:lnTo>
                      <a:pt x="82" y="341"/>
                    </a:lnTo>
                    <a:lnTo>
                      <a:pt x="81" y="339"/>
                    </a:lnTo>
                    <a:lnTo>
                      <a:pt x="79" y="339"/>
                    </a:lnTo>
                    <a:lnTo>
                      <a:pt x="76" y="341"/>
                    </a:lnTo>
                    <a:lnTo>
                      <a:pt x="73" y="342"/>
                    </a:lnTo>
                    <a:lnTo>
                      <a:pt x="71" y="343"/>
                    </a:lnTo>
                    <a:lnTo>
                      <a:pt x="70" y="344"/>
                    </a:lnTo>
                    <a:lnTo>
                      <a:pt x="67" y="345"/>
                    </a:lnTo>
                    <a:lnTo>
                      <a:pt x="66" y="346"/>
                    </a:lnTo>
                    <a:lnTo>
                      <a:pt x="66" y="346"/>
                    </a:lnTo>
                    <a:lnTo>
                      <a:pt x="66" y="345"/>
                    </a:lnTo>
                    <a:lnTo>
                      <a:pt x="67" y="345"/>
                    </a:lnTo>
                    <a:lnTo>
                      <a:pt x="67" y="344"/>
                    </a:lnTo>
                    <a:lnTo>
                      <a:pt x="67" y="344"/>
                    </a:lnTo>
                    <a:lnTo>
                      <a:pt x="66" y="343"/>
                    </a:lnTo>
                    <a:lnTo>
                      <a:pt x="67" y="342"/>
                    </a:lnTo>
                    <a:lnTo>
                      <a:pt x="68" y="341"/>
                    </a:lnTo>
                    <a:lnTo>
                      <a:pt x="66" y="342"/>
                    </a:lnTo>
                    <a:lnTo>
                      <a:pt x="65" y="343"/>
                    </a:lnTo>
                    <a:lnTo>
                      <a:pt x="65" y="343"/>
                    </a:lnTo>
                    <a:lnTo>
                      <a:pt x="65" y="344"/>
                    </a:lnTo>
                    <a:lnTo>
                      <a:pt x="65" y="344"/>
                    </a:lnTo>
                    <a:lnTo>
                      <a:pt x="65" y="344"/>
                    </a:lnTo>
                    <a:lnTo>
                      <a:pt x="65" y="344"/>
                    </a:lnTo>
                    <a:lnTo>
                      <a:pt x="65" y="345"/>
                    </a:lnTo>
                    <a:lnTo>
                      <a:pt x="65" y="345"/>
                    </a:lnTo>
                    <a:lnTo>
                      <a:pt x="65" y="346"/>
                    </a:lnTo>
                    <a:lnTo>
                      <a:pt x="65" y="346"/>
                    </a:lnTo>
                    <a:lnTo>
                      <a:pt x="64" y="346"/>
                    </a:lnTo>
                    <a:lnTo>
                      <a:pt x="61" y="348"/>
                    </a:lnTo>
                    <a:lnTo>
                      <a:pt x="59" y="349"/>
                    </a:lnTo>
                    <a:lnTo>
                      <a:pt x="58" y="350"/>
                    </a:lnTo>
                    <a:lnTo>
                      <a:pt x="58" y="351"/>
                    </a:lnTo>
                    <a:lnTo>
                      <a:pt x="57" y="351"/>
                    </a:lnTo>
                    <a:lnTo>
                      <a:pt x="56" y="351"/>
                    </a:lnTo>
                    <a:lnTo>
                      <a:pt x="55" y="351"/>
                    </a:lnTo>
                    <a:lnTo>
                      <a:pt x="53" y="352"/>
                    </a:lnTo>
                    <a:lnTo>
                      <a:pt x="53" y="352"/>
                    </a:lnTo>
                    <a:lnTo>
                      <a:pt x="52" y="352"/>
                    </a:lnTo>
                    <a:lnTo>
                      <a:pt x="52" y="352"/>
                    </a:lnTo>
                    <a:lnTo>
                      <a:pt x="51" y="352"/>
                    </a:lnTo>
                    <a:lnTo>
                      <a:pt x="51" y="353"/>
                    </a:lnTo>
                    <a:lnTo>
                      <a:pt x="51" y="353"/>
                    </a:lnTo>
                    <a:lnTo>
                      <a:pt x="51" y="352"/>
                    </a:lnTo>
                    <a:lnTo>
                      <a:pt x="50" y="353"/>
                    </a:lnTo>
                    <a:lnTo>
                      <a:pt x="50" y="353"/>
                    </a:lnTo>
                    <a:lnTo>
                      <a:pt x="50" y="354"/>
                    </a:lnTo>
                    <a:lnTo>
                      <a:pt x="50" y="356"/>
                    </a:lnTo>
                    <a:lnTo>
                      <a:pt x="49" y="357"/>
                    </a:lnTo>
                    <a:lnTo>
                      <a:pt x="48" y="356"/>
                    </a:lnTo>
                    <a:lnTo>
                      <a:pt x="46" y="357"/>
                    </a:lnTo>
                    <a:lnTo>
                      <a:pt x="46" y="358"/>
                    </a:lnTo>
                    <a:lnTo>
                      <a:pt x="45" y="359"/>
                    </a:lnTo>
                    <a:lnTo>
                      <a:pt x="44" y="359"/>
                    </a:lnTo>
                    <a:lnTo>
                      <a:pt x="43" y="360"/>
                    </a:lnTo>
                    <a:lnTo>
                      <a:pt x="42" y="363"/>
                    </a:lnTo>
                    <a:lnTo>
                      <a:pt x="41" y="363"/>
                    </a:lnTo>
                    <a:lnTo>
                      <a:pt x="41" y="364"/>
                    </a:lnTo>
                    <a:lnTo>
                      <a:pt x="41" y="363"/>
                    </a:lnTo>
                    <a:lnTo>
                      <a:pt x="38" y="364"/>
                    </a:lnTo>
                    <a:lnTo>
                      <a:pt x="38" y="364"/>
                    </a:lnTo>
                    <a:lnTo>
                      <a:pt x="38" y="364"/>
                    </a:lnTo>
                    <a:lnTo>
                      <a:pt x="38" y="365"/>
                    </a:lnTo>
                    <a:lnTo>
                      <a:pt x="37" y="365"/>
                    </a:lnTo>
                    <a:lnTo>
                      <a:pt x="36" y="365"/>
                    </a:lnTo>
                    <a:lnTo>
                      <a:pt x="36" y="365"/>
                    </a:lnTo>
                    <a:lnTo>
                      <a:pt x="36" y="366"/>
                    </a:lnTo>
                    <a:lnTo>
                      <a:pt x="36" y="367"/>
                    </a:lnTo>
                    <a:lnTo>
                      <a:pt x="35" y="368"/>
                    </a:lnTo>
                    <a:lnTo>
                      <a:pt x="35" y="369"/>
                    </a:lnTo>
                    <a:lnTo>
                      <a:pt x="34" y="371"/>
                    </a:lnTo>
                    <a:lnTo>
                      <a:pt x="33" y="372"/>
                    </a:lnTo>
                    <a:lnTo>
                      <a:pt x="33" y="373"/>
                    </a:lnTo>
                    <a:lnTo>
                      <a:pt x="34" y="374"/>
                    </a:lnTo>
                    <a:lnTo>
                      <a:pt x="34" y="374"/>
                    </a:lnTo>
                    <a:lnTo>
                      <a:pt x="34" y="375"/>
                    </a:lnTo>
                    <a:lnTo>
                      <a:pt x="33" y="378"/>
                    </a:lnTo>
                    <a:lnTo>
                      <a:pt x="31" y="381"/>
                    </a:lnTo>
                    <a:lnTo>
                      <a:pt x="31" y="381"/>
                    </a:lnTo>
                    <a:lnTo>
                      <a:pt x="31" y="382"/>
                    </a:lnTo>
                    <a:lnTo>
                      <a:pt x="31" y="383"/>
                    </a:lnTo>
                    <a:lnTo>
                      <a:pt x="31" y="384"/>
                    </a:lnTo>
                    <a:lnTo>
                      <a:pt x="30" y="387"/>
                    </a:lnTo>
                    <a:lnTo>
                      <a:pt x="28" y="389"/>
                    </a:lnTo>
                    <a:lnTo>
                      <a:pt x="25" y="397"/>
                    </a:lnTo>
                    <a:lnTo>
                      <a:pt x="23" y="405"/>
                    </a:lnTo>
                    <a:lnTo>
                      <a:pt x="21" y="413"/>
                    </a:lnTo>
                    <a:lnTo>
                      <a:pt x="20" y="416"/>
                    </a:lnTo>
                    <a:lnTo>
                      <a:pt x="20" y="418"/>
                    </a:lnTo>
                    <a:lnTo>
                      <a:pt x="20" y="419"/>
                    </a:lnTo>
                    <a:lnTo>
                      <a:pt x="21" y="421"/>
                    </a:lnTo>
                    <a:lnTo>
                      <a:pt x="22" y="423"/>
                    </a:lnTo>
                    <a:lnTo>
                      <a:pt x="22" y="425"/>
                    </a:lnTo>
                    <a:lnTo>
                      <a:pt x="21" y="426"/>
                    </a:lnTo>
                    <a:lnTo>
                      <a:pt x="21" y="428"/>
                    </a:lnTo>
                    <a:lnTo>
                      <a:pt x="21" y="432"/>
                    </a:lnTo>
                    <a:lnTo>
                      <a:pt x="22" y="435"/>
                    </a:lnTo>
                    <a:lnTo>
                      <a:pt x="23" y="439"/>
                    </a:lnTo>
                    <a:lnTo>
                      <a:pt x="25" y="441"/>
                    </a:lnTo>
                    <a:lnTo>
                      <a:pt x="26" y="443"/>
                    </a:lnTo>
                    <a:lnTo>
                      <a:pt x="26" y="446"/>
                    </a:lnTo>
                    <a:lnTo>
                      <a:pt x="27" y="446"/>
                    </a:lnTo>
                    <a:lnTo>
                      <a:pt x="27" y="447"/>
                    </a:lnTo>
                    <a:lnTo>
                      <a:pt x="27" y="447"/>
                    </a:lnTo>
                    <a:lnTo>
                      <a:pt x="28" y="447"/>
                    </a:lnTo>
                    <a:lnTo>
                      <a:pt x="29" y="448"/>
                    </a:lnTo>
                    <a:lnTo>
                      <a:pt x="29" y="449"/>
                    </a:lnTo>
                    <a:lnTo>
                      <a:pt x="28" y="450"/>
                    </a:lnTo>
                    <a:lnTo>
                      <a:pt x="29" y="451"/>
                    </a:lnTo>
                    <a:lnTo>
                      <a:pt x="29" y="451"/>
                    </a:lnTo>
                    <a:lnTo>
                      <a:pt x="31" y="451"/>
                    </a:lnTo>
                    <a:lnTo>
                      <a:pt x="33" y="453"/>
                    </a:lnTo>
                    <a:lnTo>
                      <a:pt x="34" y="453"/>
                    </a:lnTo>
                    <a:lnTo>
                      <a:pt x="34" y="453"/>
                    </a:lnTo>
                    <a:lnTo>
                      <a:pt x="35" y="454"/>
                    </a:lnTo>
                    <a:lnTo>
                      <a:pt x="35" y="454"/>
                    </a:lnTo>
                    <a:lnTo>
                      <a:pt x="36" y="454"/>
                    </a:lnTo>
                    <a:lnTo>
                      <a:pt x="38" y="455"/>
                    </a:lnTo>
                    <a:lnTo>
                      <a:pt x="40" y="455"/>
                    </a:lnTo>
                    <a:lnTo>
                      <a:pt x="42" y="455"/>
                    </a:lnTo>
                    <a:lnTo>
                      <a:pt x="44" y="454"/>
                    </a:lnTo>
                    <a:lnTo>
                      <a:pt x="46" y="453"/>
                    </a:lnTo>
                    <a:lnTo>
                      <a:pt x="48" y="453"/>
                    </a:lnTo>
                    <a:lnTo>
                      <a:pt x="50" y="453"/>
                    </a:lnTo>
                    <a:lnTo>
                      <a:pt x="53" y="451"/>
                    </a:lnTo>
                    <a:lnTo>
                      <a:pt x="56" y="450"/>
                    </a:lnTo>
                    <a:lnTo>
                      <a:pt x="58" y="449"/>
                    </a:lnTo>
                    <a:lnTo>
                      <a:pt x="60" y="449"/>
                    </a:lnTo>
                    <a:lnTo>
                      <a:pt x="61" y="449"/>
                    </a:lnTo>
                    <a:lnTo>
                      <a:pt x="63" y="448"/>
                    </a:lnTo>
                    <a:lnTo>
                      <a:pt x="65" y="448"/>
                    </a:lnTo>
                    <a:lnTo>
                      <a:pt x="66" y="448"/>
                    </a:lnTo>
                    <a:lnTo>
                      <a:pt x="67" y="448"/>
                    </a:lnTo>
                    <a:lnTo>
                      <a:pt x="66" y="448"/>
                    </a:lnTo>
                    <a:lnTo>
                      <a:pt x="65" y="448"/>
                    </a:lnTo>
                    <a:lnTo>
                      <a:pt x="64" y="449"/>
                    </a:lnTo>
                    <a:lnTo>
                      <a:pt x="64" y="450"/>
                    </a:lnTo>
                    <a:lnTo>
                      <a:pt x="64" y="451"/>
                    </a:lnTo>
                    <a:lnTo>
                      <a:pt x="65" y="451"/>
                    </a:lnTo>
                    <a:lnTo>
                      <a:pt x="66" y="450"/>
                    </a:lnTo>
                    <a:lnTo>
                      <a:pt x="68" y="449"/>
                    </a:lnTo>
                    <a:lnTo>
                      <a:pt x="68" y="448"/>
                    </a:lnTo>
                    <a:lnTo>
                      <a:pt x="68" y="448"/>
                    </a:lnTo>
                    <a:lnTo>
                      <a:pt x="68" y="448"/>
                    </a:lnTo>
                    <a:lnTo>
                      <a:pt x="68" y="447"/>
                    </a:lnTo>
                    <a:lnTo>
                      <a:pt x="68" y="447"/>
                    </a:lnTo>
                    <a:lnTo>
                      <a:pt x="70" y="446"/>
                    </a:lnTo>
                    <a:lnTo>
                      <a:pt x="72" y="445"/>
                    </a:lnTo>
                    <a:lnTo>
                      <a:pt x="72" y="445"/>
                    </a:lnTo>
                    <a:lnTo>
                      <a:pt x="73" y="443"/>
                    </a:lnTo>
                    <a:lnTo>
                      <a:pt x="73" y="441"/>
                    </a:lnTo>
                    <a:lnTo>
                      <a:pt x="73" y="440"/>
                    </a:lnTo>
                    <a:lnTo>
                      <a:pt x="74" y="439"/>
                    </a:lnTo>
                    <a:lnTo>
                      <a:pt x="75" y="438"/>
                    </a:lnTo>
                    <a:lnTo>
                      <a:pt x="76" y="438"/>
                    </a:lnTo>
                    <a:lnTo>
                      <a:pt x="76" y="435"/>
                    </a:lnTo>
                    <a:lnTo>
                      <a:pt x="76" y="433"/>
                    </a:lnTo>
                    <a:lnTo>
                      <a:pt x="76" y="431"/>
                    </a:lnTo>
                    <a:lnTo>
                      <a:pt x="76" y="427"/>
                    </a:lnTo>
                    <a:lnTo>
                      <a:pt x="78" y="426"/>
                    </a:lnTo>
                    <a:lnTo>
                      <a:pt x="80" y="425"/>
                    </a:lnTo>
                    <a:lnTo>
                      <a:pt x="82" y="424"/>
                    </a:lnTo>
                    <a:lnTo>
                      <a:pt x="85" y="424"/>
                    </a:lnTo>
                    <a:lnTo>
                      <a:pt x="88" y="423"/>
                    </a:lnTo>
                    <a:lnTo>
                      <a:pt x="89" y="423"/>
                    </a:lnTo>
                    <a:lnTo>
                      <a:pt x="91" y="423"/>
                    </a:lnTo>
                    <a:lnTo>
                      <a:pt x="93" y="423"/>
                    </a:lnTo>
                    <a:lnTo>
                      <a:pt x="94" y="423"/>
                    </a:lnTo>
                    <a:lnTo>
                      <a:pt x="96" y="423"/>
                    </a:lnTo>
                    <a:lnTo>
                      <a:pt x="98" y="421"/>
                    </a:lnTo>
                    <a:lnTo>
                      <a:pt x="102" y="423"/>
                    </a:lnTo>
                    <a:lnTo>
                      <a:pt x="103" y="423"/>
                    </a:lnTo>
                    <a:lnTo>
                      <a:pt x="105" y="421"/>
                    </a:lnTo>
                    <a:lnTo>
                      <a:pt x="105" y="421"/>
                    </a:lnTo>
                    <a:lnTo>
                      <a:pt x="106" y="420"/>
                    </a:lnTo>
                    <a:lnTo>
                      <a:pt x="108" y="421"/>
                    </a:lnTo>
                    <a:lnTo>
                      <a:pt x="109" y="423"/>
                    </a:lnTo>
                    <a:lnTo>
                      <a:pt x="109" y="424"/>
                    </a:lnTo>
                    <a:lnTo>
                      <a:pt x="109" y="424"/>
                    </a:lnTo>
                    <a:lnTo>
                      <a:pt x="109" y="424"/>
                    </a:lnTo>
                    <a:lnTo>
                      <a:pt x="110" y="424"/>
                    </a:lnTo>
                    <a:lnTo>
                      <a:pt x="110" y="425"/>
                    </a:lnTo>
                    <a:lnTo>
                      <a:pt x="110" y="426"/>
                    </a:lnTo>
                    <a:lnTo>
                      <a:pt x="111" y="427"/>
                    </a:lnTo>
                    <a:lnTo>
                      <a:pt x="110" y="428"/>
                    </a:lnTo>
                    <a:lnTo>
                      <a:pt x="109" y="430"/>
                    </a:lnTo>
                    <a:lnTo>
                      <a:pt x="108" y="431"/>
                    </a:lnTo>
                    <a:lnTo>
                      <a:pt x="106" y="433"/>
                    </a:lnTo>
                    <a:lnTo>
                      <a:pt x="106" y="434"/>
                    </a:lnTo>
                    <a:lnTo>
                      <a:pt x="105" y="435"/>
                    </a:lnTo>
                    <a:lnTo>
                      <a:pt x="105" y="436"/>
                    </a:lnTo>
                    <a:lnTo>
                      <a:pt x="105" y="438"/>
                    </a:lnTo>
                    <a:lnTo>
                      <a:pt x="103" y="438"/>
                    </a:lnTo>
                    <a:lnTo>
                      <a:pt x="102" y="439"/>
                    </a:lnTo>
                    <a:lnTo>
                      <a:pt x="102" y="439"/>
                    </a:lnTo>
                    <a:lnTo>
                      <a:pt x="102" y="439"/>
                    </a:lnTo>
                    <a:lnTo>
                      <a:pt x="103" y="438"/>
                    </a:lnTo>
                    <a:lnTo>
                      <a:pt x="103" y="438"/>
                    </a:lnTo>
                    <a:lnTo>
                      <a:pt x="104" y="439"/>
                    </a:lnTo>
                    <a:lnTo>
                      <a:pt x="104" y="439"/>
                    </a:lnTo>
                    <a:lnTo>
                      <a:pt x="103" y="440"/>
                    </a:lnTo>
                    <a:lnTo>
                      <a:pt x="102" y="441"/>
                    </a:lnTo>
                    <a:lnTo>
                      <a:pt x="100" y="445"/>
                    </a:lnTo>
                    <a:lnTo>
                      <a:pt x="98" y="447"/>
                    </a:lnTo>
                    <a:lnTo>
                      <a:pt x="98" y="449"/>
                    </a:lnTo>
                    <a:lnTo>
                      <a:pt x="97" y="453"/>
                    </a:lnTo>
                    <a:lnTo>
                      <a:pt x="96" y="454"/>
                    </a:lnTo>
                    <a:lnTo>
                      <a:pt x="96" y="454"/>
                    </a:lnTo>
                    <a:lnTo>
                      <a:pt x="96" y="455"/>
                    </a:lnTo>
                    <a:lnTo>
                      <a:pt x="96" y="456"/>
                    </a:lnTo>
                    <a:lnTo>
                      <a:pt x="96" y="457"/>
                    </a:lnTo>
                    <a:lnTo>
                      <a:pt x="96" y="458"/>
                    </a:lnTo>
                    <a:lnTo>
                      <a:pt x="95" y="460"/>
                    </a:lnTo>
                    <a:lnTo>
                      <a:pt x="95" y="457"/>
                    </a:lnTo>
                    <a:lnTo>
                      <a:pt x="95" y="456"/>
                    </a:lnTo>
                    <a:lnTo>
                      <a:pt x="95" y="455"/>
                    </a:lnTo>
                    <a:lnTo>
                      <a:pt x="94" y="454"/>
                    </a:lnTo>
                    <a:lnTo>
                      <a:pt x="94" y="454"/>
                    </a:lnTo>
                    <a:lnTo>
                      <a:pt x="95" y="451"/>
                    </a:lnTo>
                    <a:lnTo>
                      <a:pt x="93" y="453"/>
                    </a:lnTo>
                    <a:lnTo>
                      <a:pt x="93" y="454"/>
                    </a:lnTo>
                    <a:lnTo>
                      <a:pt x="91" y="455"/>
                    </a:lnTo>
                    <a:lnTo>
                      <a:pt x="91" y="455"/>
                    </a:lnTo>
                    <a:lnTo>
                      <a:pt x="93" y="455"/>
                    </a:lnTo>
                    <a:lnTo>
                      <a:pt x="93" y="456"/>
                    </a:lnTo>
                    <a:lnTo>
                      <a:pt x="94" y="456"/>
                    </a:lnTo>
                    <a:lnTo>
                      <a:pt x="93" y="458"/>
                    </a:lnTo>
                    <a:lnTo>
                      <a:pt x="93" y="460"/>
                    </a:lnTo>
                    <a:lnTo>
                      <a:pt x="91" y="461"/>
                    </a:lnTo>
                    <a:lnTo>
                      <a:pt x="91" y="463"/>
                    </a:lnTo>
                    <a:lnTo>
                      <a:pt x="91" y="464"/>
                    </a:lnTo>
                    <a:lnTo>
                      <a:pt x="90" y="468"/>
                    </a:lnTo>
                    <a:lnTo>
                      <a:pt x="89" y="471"/>
                    </a:lnTo>
                    <a:lnTo>
                      <a:pt x="88" y="473"/>
                    </a:lnTo>
                    <a:lnTo>
                      <a:pt x="86" y="475"/>
                    </a:lnTo>
                    <a:lnTo>
                      <a:pt x="85" y="476"/>
                    </a:lnTo>
                    <a:lnTo>
                      <a:pt x="83" y="476"/>
                    </a:lnTo>
                    <a:lnTo>
                      <a:pt x="82" y="477"/>
                    </a:lnTo>
                    <a:lnTo>
                      <a:pt x="82" y="478"/>
                    </a:lnTo>
                    <a:lnTo>
                      <a:pt x="82" y="479"/>
                    </a:lnTo>
                    <a:lnTo>
                      <a:pt x="82" y="480"/>
                    </a:lnTo>
                    <a:lnTo>
                      <a:pt x="83" y="479"/>
                    </a:lnTo>
                    <a:lnTo>
                      <a:pt x="85" y="479"/>
                    </a:lnTo>
                    <a:lnTo>
                      <a:pt x="86" y="480"/>
                    </a:lnTo>
                    <a:lnTo>
                      <a:pt x="87" y="480"/>
                    </a:lnTo>
                    <a:lnTo>
                      <a:pt x="88" y="480"/>
                    </a:lnTo>
                    <a:lnTo>
                      <a:pt x="89" y="480"/>
                    </a:lnTo>
                    <a:lnTo>
                      <a:pt x="89" y="480"/>
                    </a:lnTo>
                    <a:lnTo>
                      <a:pt x="91" y="480"/>
                    </a:lnTo>
                    <a:lnTo>
                      <a:pt x="91" y="479"/>
                    </a:lnTo>
                    <a:lnTo>
                      <a:pt x="90" y="479"/>
                    </a:lnTo>
                    <a:lnTo>
                      <a:pt x="90" y="479"/>
                    </a:lnTo>
                    <a:lnTo>
                      <a:pt x="91" y="478"/>
                    </a:lnTo>
                    <a:lnTo>
                      <a:pt x="91" y="478"/>
                    </a:lnTo>
                    <a:lnTo>
                      <a:pt x="93" y="479"/>
                    </a:lnTo>
                    <a:lnTo>
                      <a:pt x="95" y="480"/>
                    </a:lnTo>
                    <a:lnTo>
                      <a:pt x="96" y="480"/>
                    </a:lnTo>
                    <a:lnTo>
                      <a:pt x="98" y="480"/>
                    </a:lnTo>
                    <a:lnTo>
                      <a:pt x="102" y="479"/>
                    </a:lnTo>
                    <a:lnTo>
                      <a:pt x="104" y="479"/>
                    </a:lnTo>
                    <a:lnTo>
                      <a:pt x="108" y="478"/>
                    </a:lnTo>
                    <a:lnTo>
                      <a:pt x="110" y="478"/>
                    </a:lnTo>
                    <a:lnTo>
                      <a:pt x="112" y="478"/>
                    </a:lnTo>
                    <a:lnTo>
                      <a:pt x="113" y="479"/>
                    </a:lnTo>
                    <a:lnTo>
                      <a:pt x="115" y="479"/>
                    </a:lnTo>
                    <a:lnTo>
                      <a:pt x="115" y="479"/>
                    </a:lnTo>
                    <a:lnTo>
                      <a:pt x="113" y="478"/>
                    </a:lnTo>
                    <a:lnTo>
                      <a:pt x="113" y="478"/>
                    </a:lnTo>
                    <a:lnTo>
                      <a:pt x="115" y="479"/>
                    </a:lnTo>
                    <a:lnTo>
                      <a:pt x="116" y="479"/>
                    </a:lnTo>
                    <a:lnTo>
                      <a:pt x="117" y="479"/>
                    </a:lnTo>
                    <a:lnTo>
                      <a:pt x="118" y="479"/>
                    </a:lnTo>
                    <a:lnTo>
                      <a:pt x="120" y="480"/>
                    </a:lnTo>
                    <a:lnTo>
                      <a:pt x="123" y="480"/>
                    </a:lnTo>
                    <a:lnTo>
                      <a:pt x="124" y="480"/>
                    </a:lnTo>
                    <a:lnTo>
                      <a:pt x="124" y="480"/>
                    </a:lnTo>
                    <a:lnTo>
                      <a:pt x="123" y="480"/>
                    </a:lnTo>
                    <a:lnTo>
                      <a:pt x="121" y="481"/>
                    </a:lnTo>
                    <a:lnTo>
                      <a:pt x="120" y="481"/>
                    </a:lnTo>
                    <a:lnTo>
                      <a:pt x="119" y="483"/>
                    </a:lnTo>
                    <a:lnTo>
                      <a:pt x="119" y="483"/>
                    </a:lnTo>
                    <a:lnTo>
                      <a:pt x="119" y="483"/>
                    </a:lnTo>
                    <a:lnTo>
                      <a:pt x="120" y="483"/>
                    </a:lnTo>
                    <a:lnTo>
                      <a:pt x="123" y="484"/>
                    </a:lnTo>
                    <a:lnTo>
                      <a:pt x="124" y="484"/>
                    </a:lnTo>
                    <a:lnTo>
                      <a:pt x="125" y="484"/>
                    </a:lnTo>
                    <a:lnTo>
                      <a:pt x="125" y="484"/>
                    </a:lnTo>
                    <a:lnTo>
                      <a:pt x="124" y="483"/>
                    </a:lnTo>
                    <a:lnTo>
                      <a:pt x="124" y="483"/>
                    </a:lnTo>
                    <a:lnTo>
                      <a:pt x="124" y="483"/>
                    </a:lnTo>
                    <a:lnTo>
                      <a:pt x="125" y="483"/>
                    </a:lnTo>
                    <a:lnTo>
                      <a:pt x="126" y="484"/>
                    </a:lnTo>
                    <a:lnTo>
                      <a:pt x="128" y="485"/>
                    </a:lnTo>
                    <a:lnTo>
                      <a:pt x="130" y="485"/>
                    </a:lnTo>
                    <a:lnTo>
                      <a:pt x="130" y="486"/>
                    </a:lnTo>
                    <a:lnTo>
                      <a:pt x="131" y="486"/>
                    </a:lnTo>
                    <a:lnTo>
                      <a:pt x="131" y="487"/>
                    </a:lnTo>
                    <a:lnTo>
                      <a:pt x="132" y="487"/>
                    </a:lnTo>
                    <a:lnTo>
                      <a:pt x="131" y="488"/>
                    </a:lnTo>
                    <a:lnTo>
                      <a:pt x="130" y="490"/>
                    </a:lnTo>
                    <a:lnTo>
                      <a:pt x="128" y="490"/>
                    </a:lnTo>
                    <a:lnTo>
                      <a:pt x="128" y="491"/>
                    </a:lnTo>
                    <a:lnTo>
                      <a:pt x="130" y="491"/>
                    </a:lnTo>
                    <a:lnTo>
                      <a:pt x="130" y="492"/>
                    </a:lnTo>
                    <a:lnTo>
                      <a:pt x="130" y="494"/>
                    </a:lnTo>
                    <a:lnTo>
                      <a:pt x="130" y="497"/>
                    </a:lnTo>
                    <a:lnTo>
                      <a:pt x="128" y="499"/>
                    </a:lnTo>
                    <a:lnTo>
                      <a:pt x="127" y="499"/>
                    </a:lnTo>
                    <a:lnTo>
                      <a:pt x="128" y="500"/>
                    </a:lnTo>
                    <a:lnTo>
                      <a:pt x="128" y="500"/>
                    </a:lnTo>
                    <a:lnTo>
                      <a:pt x="127" y="502"/>
                    </a:lnTo>
                    <a:lnTo>
                      <a:pt x="126" y="505"/>
                    </a:lnTo>
                    <a:lnTo>
                      <a:pt x="126" y="507"/>
                    </a:lnTo>
                    <a:lnTo>
                      <a:pt x="126" y="509"/>
                    </a:lnTo>
                    <a:lnTo>
                      <a:pt x="126" y="512"/>
                    </a:lnTo>
                    <a:lnTo>
                      <a:pt x="126" y="513"/>
                    </a:lnTo>
                    <a:lnTo>
                      <a:pt x="125" y="513"/>
                    </a:lnTo>
                    <a:lnTo>
                      <a:pt x="124" y="513"/>
                    </a:lnTo>
                    <a:lnTo>
                      <a:pt x="124" y="514"/>
                    </a:lnTo>
                    <a:lnTo>
                      <a:pt x="124" y="514"/>
                    </a:lnTo>
                    <a:lnTo>
                      <a:pt x="125" y="513"/>
                    </a:lnTo>
                    <a:lnTo>
                      <a:pt x="125" y="513"/>
                    </a:lnTo>
                    <a:lnTo>
                      <a:pt x="125" y="513"/>
                    </a:lnTo>
                    <a:lnTo>
                      <a:pt x="125" y="514"/>
                    </a:lnTo>
                    <a:lnTo>
                      <a:pt x="125" y="514"/>
                    </a:lnTo>
                    <a:lnTo>
                      <a:pt x="124" y="515"/>
                    </a:lnTo>
                    <a:lnTo>
                      <a:pt x="124" y="516"/>
                    </a:lnTo>
                    <a:lnTo>
                      <a:pt x="125" y="516"/>
                    </a:lnTo>
                    <a:lnTo>
                      <a:pt x="125" y="517"/>
                    </a:lnTo>
                    <a:lnTo>
                      <a:pt x="125" y="517"/>
                    </a:lnTo>
                    <a:lnTo>
                      <a:pt x="124" y="516"/>
                    </a:lnTo>
                    <a:lnTo>
                      <a:pt x="124" y="517"/>
                    </a:lnTo>
                    <a:lnTo>
                      <a:pt x="124" y="517"/>
                    </a:lnTo>
                    <a:lnTo>
                      <a:pt x="124" y="518"/>
                    </a:lnTo>
                    <a:lnTo>
                      <a:pt x="124" y="520"/>
                    </a:lnTo>
                    <a:lnTo>
                      <a:pt x="124" y="520"/>
                    </a:lnTo>
                    <a:lnTo>
                      <a:pt x="125" y="521"/>
                    </a:lnTo>
                    <a:lnTo>
                      <a:pt x="125" y="522"/>
                    </a:lnTo>
                    <a:lnTo>
                      <a:pt x="125" y="524"/>
                    </a:lnTo>
                    <a:lnTo>
                      <a:pt x="124" y="525"/>
                    </a:lnTo>
                    <a:lnTo>
                      <a:pt x="123" y="525"/>
                    </a:lnTo>
                    <a:lnTo>
                      <a:pt x="123" y="527"/>
                    </a:lnTo>
                    <a:lnTo>
                      <a:pt x="123" y="528"/>
                    </a:lnTo>
                    <a:lnTo>
                      <a:pt x="123" y="530"/>
                    </a:lnTo>
                    <a:lnTo>
                      <a:pt x="124" y="531"/>
                    </a:lnTo>
                    <a:lnTo>
                      <a:pt x="124" y="532"/>
                    </a:lnTo>
                    <a:lnTo>
                      <a:pt x="124" y="533"/>
                    </a:lnTo>
                    <a:lnTo>
                      <a:pt x="124" y="533"/>
                    </a:lnTo>
                    <a:lnTo>
                      <a:pt x="124" y="533"/>
                    </a:lnTo>
                    <a:lnTo>
                      <a:pt x="124" y="535"/>
                    </a:lnTo>
                    <a:lnTo>
                      <a:pt x="124" y="536"/>
                    </a:lnTo>
                    <a:lnTo>
                      <a:pt x="125" y="538"/>
                    </a:lnTo>
                    <a:lnTo>
                      <a:pt x="126" y="540"/>
                    </a:lnTo>
                    <a:lnTo>
                      <a:pt x="128" y="543"/>
                    </a:lnTo>
                    <a:lnTo>
                      <a:pt x="130" y="544"/>
                    </a:lnTo>
                    <a:lnTo>
                      <a:pt x="131" y="545"/>
                    </a:lnTo>
                    <a:lnTo>
                      <a:pt x="132" y="546"/>
                    </a:lnTo>
                    <a:lnTo>
                      <a:pt x="133" y="546"/>
                    </a:lnTo>
                    <a:lnTo>
                      <a:pt x="133" y="547"/>
                    </a:lnTo>
                    <a:lnTo>
                      <a:pt x="133" y="548"/>
                    </a:lnTo>
                    <a:lnTo>
                      <a:pt x="133" y="548"/>
                    </a:lnTo>
                    <a:lnTo>
                      <a:pt x="133" y="550"/>
                    </a:lnTo>
                    <a:lnTo>
                      <a:pt x="133" y="550"/>
                    </a:lnTo>
                    <a:lnTo>
                      <a:pt x="132" y="551"/>
                    </a:lnTo>
                    <a:lnTo>
                      <a:pt x="133" y="552"/>
                    </a:lnTo>
                    <a:lnTo>
                      <a:pt x="134" y="551"/>
                    </a:lnTo>
                    <a:lnTo>
                      <a:pt x="134" y="551"/>
                    </a:lnTo>
                    <a:lnTo>
                      <a:pt x="134" y="551"/>
                    </a:lnTo>
                    <a:lnTo>
                      <a:pt x="134" y="550"/>
                    </a:lnTo>
                    <a:lnTo>
                      <a:pt x="134" y="550"/>
                    </a:lnTo>
                    <a:lnTo>
                      <a:pt x="138" y="552"/>
                    </a:lnTo>
                    <a:lnTo>
                      <a:pt x="139" y="552"/>
                    </a:lnTo>
                    <a:lnTo>
                      <a:pt x="141" y="553"/>
                    </a:lnTo>
                    <a:lnTo>
                      <a:pt x="143" y="553"/>
                    </a:lnTo>
                    <a:lnTo>
                      <a:pt x="146" y="552"/>
                    </a:lnTo>
                    <a:lnTo>
                      <a:pt x="147" y="552"/>
                    </a:lnTo>
                    <a:lnTo>
                      <a:pt x="148" y="551"/>
                    </a:lnTo>
                    <a:lnTo>
                      <a:pt x="150" y="551"/>
                    </a:lnTo>
                    <a:lnTo>
                      <a:pt x="153" y="551"/>
                    </a:lnTo>
                    <a:lnTo>
                      <a:pt x="154" y="550"/>
                    </a:lnTo>
                    <a:lnTo>
                      <a:pt x="154" y="548"/>
                    </a:lnTo>
                    <a:lnTo>
                      <a:pt x="155" y="548"/>
                    </a:lnTo>
                    <a:lnTo>
                      <a:pt x="155" y="548"/>
                    </a:lnTo>
                    <a:lnTo>
                      <a:pt x="155" y="550"/>
                    </a:lnTo>
                    <a:lnTo>
                      <a:pt x="154" y="552"/>
                    </a:lnTo>
                    <a:lnTo>
                      <a:pt x="154" y="553"/>
                    </a:lnTo>
                    <a:lnTo>
                      <a:pt x="155" y="553"/>
                    </a:lnTo>
                    <a:lnTo>
                      <a:pt x="156" y="552"/>
                    </a:lnTo>
                    <a:lnTo>
                      <a:pt x="157" y="552"/>
                    </a:lnTo>
                    <a:lnTo>
                      <a:pt x="158" y="552"/>
                    </a:lnTo>
                    <a:lnTo>
                      <a:pt x="158" y="551"/>
                    </a:lnTo>
                    <a:lnTo>
                      <a:pt x="158" y="551"/>
                    </a:lnTo>
                    <a:lnTo>
                      <a:pt x="157" y="551"/>
                    </a:lnTo>
                    <a:lnTo>
                      <a:pt x="156" y="550"/>
                    </a:lnTo>
                    <a:lnTo>
                      <a:pt x="156" y="548"/>
                    </a:lnTo>
                    <a:lnTo>
                      <a:pt x="157" y="548"/>
                    </a:lnTo>
                    <a:lnTo>
                      <a:pt x="158" y="547"/>
                    </a:lnTo>
                    <a:lnTo>
                      <a:pt x="160" y="546"/>
                    </a:lnTo>
                    <a:lnTo>
                      <a:pt x="163" y="546"/>
                    </a:lnTo>
                    <a:lnTo>
                      <a:pt x="164" y="547"/>
                    </a:lnTo>
                    <a:lnTo>
                      <a:pt x="165" y="547"/>
                    </a:lnTo>
                    <a:lnTo>
                      <a:pt x="165" y="547"/>
                    </a:lnTo>
                    <a:lnTo>
                      <a:pt x="167" y="547"/>
                    </a:lnTo>
                    <a:lnTo>
                      <a:pt x="168" y="547"/>
                    </a:lnTo>
                    <a:lnTo>
                      <a:pt x="170" y="548"/>
                    </a:lnTo>
                    <a:lnTo>
                      <a:pt x="171" y="550"/>
                    </a:lnTo>
                    <a:lnTo>
                      <a:pt x="172" y="550"/>
                    </a:lnTo>
                    <a:lnTo>
                      <a:pt x="172" y="551"/>
                    </a:lnTo>
                    <a:lnTo>
                      <a:pt x="171" y="551"/>
                    </a:lnTo>
                    <a:lnTo>
                      <a:pt x="171" y="551"/>
                    </a:lnTo>
                    <a:lnTo>
                      <a:pt x="171" y="551"/>
                    </a:lnTo>
                    <a:lnTo>
                      <a:pt x="171" y="552"/>
                    </a:lnTo>
                    <a:lnTo>
                      <a:pt x="172" y="552"/>
                    </a:lnTo>
                    <a:lnTo>
                      <a:pt x="173" y="552"/>
                    </a:lnTo>
                    <a:lnTo>
                      <a:pt x="173" y="553"/>
                    </a:lnTo>
                    <a:lnTo>
                      <a:pt x="175" y="553"/>
                    </a:lnTo>
                    <a:lnTo>
                      <a:pt x="177" y="555"/>
                    </a:lnTo>
                    <a:lnTo>
                      <a:pt x="177" y="555"/>
                    </a:lnTo>
                    <a:lnTo>
                      <a:pt x="177" y="555"/>
                    </a:lnTo>
                    <a:lnTo>
                      <a:pt x="178" y="557"/>
                    </a:lnTo>
                    <a:lnTo>
                      <a:pt x="179" y="558"/>
                    </a:lnTo>
                    <a:lnTo>
                      <a:pt x="180" y="559"/>
                    </a:lnTo>
                    <a:lnTo>
                      <a:pt x="182" y="562"/>
                    </a:lnTo>
                    <a:lnTo>
                      <a:pt x="182" y="560"/>
                    </a:lnTo>
                    <a:lnTo>
                      <a:pt x="182" y="560"/>
                    </a:lnTo>
                    <a:lnTo>
                      <a:pt x="182" y="559"/>
                    </a:lnTo>
                    <a:lnTo>
                      <a:pt x="182" y="559"/>
                    </a:lnTo>
                    <a:lnTo>
                      <a:pt x="182" y="559"/>
                    </a:lnTo>
                    <a:lnTo>
                      <a:pt x="183" y="558"/>
                    </a:lnTo>
                    <a:lnTo>
                      <a:pt x="182" y="557"/>
                    </a:lnTo>
                    <a:lnTo>
                      <a:pt x="182" y="557"/>
                    </a:lnTo>
                    <a:lnTo>
                      <a:pt x="180" y="555"/>
                    </a:lnTo>
                    <a:lnTo>
                      <a:pt x="180" y="555"/>
                    </a:lnTo>
                    <a:lnTo>
                      <a:pt x="182" y="555"/>
                    </a:lnTo>
                    <a:lnTo>
                      <a:pt x="183" y="555"/>
                    </a:lnTo>
                    <a:lnTo>
                      <a:pt x="184" y="555"/>
                    </a:lnTo>
                    <a:lnTo>
                      <a:pt x="184" y="554"/>
                    </a:lnTo>
                    <a:lnTo>
                      <a:pt x="185" y="552"/>
                    </a:lnTo>
                    <a:lnTo>
                      <a:pt x="186" y="548"/>
                    </a:lnTo>
                    <a:lnTo>
                      <a:pt x="188" y="548"/>
                    </a:lnTo>
                    <a:lnTo>
                      <a:pt x="190" y="547"/>
                    </a:lnTo>
                    <a:lnTo>
                      <a:pt x="191" y="547"/>
                    </a:lnTo>
                    <a:lnTo>
                      <a:pt x="191" y="548"/>
                    </a:lnTo>
                    <a:lnTo>
                      <a:pt x="192" y="546"/>
                    </a:lnTo>
                    <a:lnTo>
                      <a:pt x="192" y="546"/>
                    </a:lnTo>
                    <a:lnTo>
                      <a:pt x="192" y="545"/>
                    </a:lnTo>
                    <a:lnTo>
                      <a:pt x="192" y="545"/>
                    </a:lnTo>
                    <a:lnTo>
                      <a:pt x="191" y="544"/>
                    </a:lnTo>
                    <a:lnTo>
                      <a:pt x="191" y="543"/>
                    </a:lnTo>
                    <a:lnTo>
                      <a:pt x="192" y="542"/>
                    </a:lnTo>
                    <a:lnTo>
                      <a:pt x="192" y="540"/>
                    </a:lnTo>
                    <a:lnTo>
                      <a:pt x="192" y="538"/>
                    </a:lnTo>
                    <a:lnTo>
                      <a:pt x="192" y="537"/>
                    </a:lnTo>
                    <a:lnTo>
                      <a:pt x="192" y="536"/>
                    </a:lnTo>
                    <a:lnTo>
                      <a:pt x="194" y="536"/>
                    </a:lnTo>
                    <a:lnTo>
                      <a:pt x="195" y="535"/>
                    </a:lnTo>
                    <a:lnTo>
                      <a:pt x="197" y="533"/>
                    </a:lnTo>
                    <a:lnTo>
                      <a:pt x="198" y="531"/>
                    </a:lnTo>
                    <a:lnTo>
                      <a:pt x="199" y="530"/>
                    </a:lnTo>
                    <a:lnTo>
                      <a:pt x="201" y="530"/>
                    </a:lnTo>
                    <a:lnTo>
                      <a:pt x="202" y="530"/>
                    </a:lnTo>
                    <a:lnTo>
                      <a:pt x="202" y="530"/>
                    </a:lnTo>
                    <a:lnTo>
                      <a:pt x="202" y="531"/>
                    </a:lnTo>
                    <a:lnTo>
                      <a:pt x="202" y="531"/>
                    </a:lnTo>
                    <a:lnTo>
                      <a:pt x="202" y="531"/>
                    </a:lnTo>
                    <a:lnTo>
                      <a:pt x="202" y="532"/>
                    </a:lnTo>
                    <a:lnTo>
                      <a:pt x="202" y="532"/>
                    </a:lnTo>
                    <a:lnTo>
                      <a:pt x="203" y="531"/>
                    </a:lnTo>
                    <a:lnTo>
                      <a:pt x="205" y="530"/>
                    </a:lnTo>
                    <a:lnTo>
                      <a:pt x="206" y="529"/>
                    </a:lnTo>
                    <a:lnTo>
                      <a:pt x="207" y="528"/>
                    </a:lnTo>
                    <a:lnTo>
                      <a:pt x="208" y="527"/>
                    </a:lnTo>
                    <a:lnTo>
                      <a:pt x="209" y="527"/>
                    </a:lnTo>
                    <a:lnTo>
                      <a:pt x="210" y="527"/>
                    </a:lnTo>
                    <a:lnTo>
                      <a:pt x="212" y="527"/>
                    </a:lnTo>
                    <a:lnTo>
                      <a:pt x="213" y="527"/>
                    </a:lnTo>
                    <a:lnTo>
                      <a:pt x="215" y="525"/>
                    </a:lnTo>
                    <a:lnTo>
                      <a:pt x="217" y="524"/>
                    </a:lnTo>
                    <a:lnTo>
                      <a:pt x="221" y="522"/>
                    </a:lnTo>
                    <a:lnTo>
                      <a:pt x="223" y="521"/>
                    </a:lnTo>
                    <a:lnTo>
                      <a:pt x="224" y="520"/>
                    </a:lnTo>
                    <a:lnTo>
                      <a:pt x="224" y="518"/>
                    </a:lnTo>
                    <a:lnTo>
                      <a:pt x="224" y="517"/>
                    </a:lnTo>
                    <a:lnTo>
                      <a:pt x="224" y="517"/>
                    </a:lnTo>
                    <a:lnTo>
                      <a:pt x="224" y="517"/>
                    </a:lnTo>
                    <a:lnTo>
                      <a:pt x="224" y="516"/>
                    </a:lnTo>
                    <a:lnTo>
                      <a:pt x="225" y="516"/>
                    </a:lnTo>
                    <a:lnTo>
                      <a:pt x="228" y="516"/>
                    </a:lnTo>
                    <a:lnTo>
                      <a:pt x="228" y="516"/>
                    </a:lnTo>
                    <a:lnTo>
                      <a:pt x="229" y="516"/>
                    </a:lnTo>
                    <a:lnTo>
                      <a:pt x="229" y="516"/>
                    </a:lnTo>
                    <a:lnTo>
                      <a:pt x="231" y="516"/>
                    </a:lnTo>
                    <a:lnTo>
                      <a:pt x="232" y="517"/>
                    </a:lnTo>
                    <a:lnTo>
                      <a:pt x="233" y="517"/>
                    </a:lnTo>
                    <a:lnTo>
                      <a:pt x="232" y="520"/>
                    </a:lnTo>
                    <a:lnTo>
                      <a:pt x="231" y="522"/>
                    </a:lnTo>
                    <a:lnTo>
                      <a:pt x="231" y="522"/>
                    </a:lnTo>
                    <a:lnTo>
                      <a:pt x="231" y="522"/>
                    </a:lnTo>
                    <a:lnTo>
                      <a:pt x="231" y="522"/>
                    </a:lnTo>
                    <a:lnTo>
                      <a:pt x="231" y="523"/>
                    </a:lnTo>
                    <a:lnTo>
                      <a:pt x="229" y="523"/>
                    </a:lnTo>
                    <a:lnTo>
                      <a:pt x="228" y="524"/>
                    </a:lnTo>
                    <a:lnTo>
                      <a:pt x="227" y="525"/>
                    </a:lnTo>
                    <a:lnTo>
                      <a:pt x="227" y="527"/>
                    </a:lnTo>
                    <a:lnTo>
                      <a:pt x="228" y="529"/>
                    </a:lnTo>
                    <a:lnTo>
                      <a:pt x="229" y="529"/>
                    </a:lnTo>
                    <a:lnTo>
                      <a:pt x="230" y="530"/>
                    </a:lnTo>
                    <a:lnTo>
                      <a:pt x="231" y="530"/>
                    </a:lnTo>
                    <a:lnTo>
                      <a:pt x="231" y="532"/>
                    </a:lnTo>
                    <a:lnTo>
                      <a:pt x="231" y="533"/>
                    </a:lnTo>
                    <a:lnTo>
                      <a:pt x="230" y="533"/>
                    </a:lnTo>
                    <a:lnTo>
                      <a:pt x="229" y="533"/>
                    </a:lnTo>
                    <a:lnTo>
                      <a:pt x="229" y="533"/>
                    </a:lnTo>
                    <a:lnTo>
                      <a:pt x="228" y="533"/>
                    </a:lnTo>
                    <a:lnTo>
                      <a:pt x="228" y="535"/>
                    </a:lnTo>
                    <a:lnTo>
                      <a:pt x="229" y="536"/>
                    </a:lnTo>
                    <a:lnTo>
                      <a:pt x="229" y="537"/>
                    </a:lnTo>
                    <a:lnTo>
                      <a:pt x="229" y="538"/>
                    </a:lnTo>
                    <a:lnTo>
                      <a:pt x="228" y="538"/>
                    </a:lnTo>
                    <a:lnTo>
                      <a:pt x="227" y="538"/>
                    </a:lnTo>
                    <a:lnTo>
                      <a:pt x="225" y="539"/>
                    </a:lnTo>
                    <a:lnTo>
                      <a:pt x="224" y="539"/>
                    </a:lnTo>
                    <a:lnTo>
                      <a:pt x="224" y="540"/>
                    </a:lnTo>
                    <a:lnTo>
                      <a:pt x="223" y="543"/>
                    </a:lnTo>
                    <a:lnTo>
                      <a:pt x="224" y="544"/>
                    </a:lnTo>
                    <a:lnTo>
                      <a:pt x="224" y="545"/>
                    </a:lnTo>
                    <a:lnTo>
                      <a:pt x="225" y="545"/>
                    </a:lnTo>
                    <a:lnTo>
                      <a:pt x="227" y="546"/>
                    </a:lnTo>
                    <a:lnTo>
                      <a:pt x="227" y="546"/>
                    </a:lnTo>
                    <a:lnTo>
                      <a:pt x="228" y="548"/>
                    </a:lnTo>
                    <a:lnTo>
                      <a:pt x="228" y="548"/>
                    </a:lnTo>
                    <a:lnTo>
                      <a:pt x="229" y="550"/>
                    </a:lnTo>
                    <a:lnTo>
                      <a:pt x="230" y="550"/>
                    </a:lnTo>
                    <a:lnTo>
                      <a:pt x="231" y="548"/>
                    </a:lnTo>
                    <a:lnTo>
                      <a:pt x="233" y="547"/>
                    </a:lnTo>
                    <a:lnTo>
                      <a:pt x="233" y="547"/>
                    </a:lnTo>
                    <a:lnTo>
                      <a:pt x="235" y="546"/>
                    </a:lnTo>
                    <a:lnTo>
                      <a:pt x="235" y="543"/>
                    </a:lnTo>
                    <a:lnTo>
                      <a:pt x="233" y="540"/>
                    </a:lnTo>
                    <a:lnTo>
                      <a:pt x="232" y="539"/>
                    </a:lnTo>
                    <a:lnTo>
                      <a:pt x="232" y="539"/>
                    </a:lnTo>
                    <a:lnTo>
                      <a:pt x="232" y="539"/>
                    </a:lnTo>
                    <a:lnTo>
                      <a:pt x="231" y="538"/>
                    </a:lnTo>
                    <a:lnTo>
                      <a:pt x="230" y="537"/>
                    </a:lnTo>
                    <a:lnTo>
                      <a:pt x="231" y="536"/>
                    </a:lnTo>
                    <a:lnTo>
                      <a:pt x="231" y="535"/>
                    </a:lnTo>
                    <a:lnTo>
                      <a:pt x="231" y="535"/>
                    </a:lnTo>
                    <a:lnTo>
                      <a:pt x="231" y="533"/>
                    </a:lnTo>
                    <a:lnTo>
                      <a:pt x="232" y="532"/>
                    </a:lnTo>
                    <a:lnTo>
                      <a:pt x="232" y="530"/>
                    </a:lnTo>
                    <a:lnTo>
                      <a:pt x="235" y="529"/>
                    </a:lnTo>
                    <a:lnTo>
                      <a:pt x="237" y="528"/>
                    </a:lnTo>
                    <a:lnTo>
                      <a:pt x="239" y="527"/>
                    </a:lnTo>
                    <a:lnTo>
                      <a:pt x="242" y="527"/>
                    </a:lnTo>
                    <a:lnTo>
                      <a:pt x="243" y="525"/>
                    </a:lnTo>
                    <a:lnTo>
                      <a:pt x="244" y="524"/>
                    </a:lnTo>
                    <a:lnTo>
                      <a:pt x="244" y="524"/>
                    </a:lnTo>
                    <a:lnTo>
                      <a:pt x="245" y="523"/>
                    </a:lnTo>
                    <a:lnTo>
                      <a:pt x="246" y="524"/>
                    </a:lnTo>
                    <a:lnTo>
                      <a:pt x="246" y="523"/>
                    </a:lnTo>
                    <a:lnTo>
                      <a:pt x="246" y="523"/>
                    </a:lnTo>
                    <a:lnTo>
                      <a:pt x="246" y="522"/>
                    </a:lnTo>
                    <a:lnTo>
                      <a:pt x="245" y="522"/>
                    </a:lnTo>
                    <a:lnTo>
                      <a:pt x="243" y="522"/>
                    </a:lnTo>
                    <a:lnTo>
                      <a:pt x="242" y="522"/>
                    </a:lnTo>
                    <a:lnTo>
                      <a:pt x="242" y="522"/>
                    </a:lnTo>
                    <a:lnTo>
                      <a:pt x="242" y="521"/>
                    </a:lnTo>
                    <a:lnTo>
                      <a:pt x="242" y="520"/>
                    </a:lnTo>
                    <a:lnTo>
                      <a:pt x="242" y="518"/>
                    </a:lnTo>
                    <a:lnTo>
                      <a:pt x="243" y="517"/>
                    </a:lnTo>
                    <a:lnTo>
                      <a:pt x="245" y="517"/>
                    </a:lnTo>
                    <a:lnTo>
                      <a:pt x="246" y="518"/>
                    </a:lnTo>
                    <a:lnTo>
                      <a:pt x="246" y="520"/>
                    </a:lnTo>
                    <a:lnTo>
                      <a:pt x="247" y="522"/>
                    </a:lnTo>
                    <a:lnTo>
                      <a:pt x="247" y="523"/>
                    </a:lnTo>
                    <a:lnTo>
                      <a:pt x="248" y="524"/>
                    </a:lnTo>
                    <a:lnTo>
                      <a:pt x="250" y="524"/>
                    </a:lnTo>
                    <a:lnTo>
                      <a:pt x="252" y="525"/>
                    </a:lnTo>
                    <a:lnTo>
                      <a:pt x="253" y="525"/>
                    </a:lnTo>
                    <a:lnTo>
                      <a:pt x="254" y="524"/>
                    </a:lnTo>
                    <a:lnTo>
                      <a:pt x="254" y="524"/>
                    </a:lnTo>
                    <a:lnTo>
                      <a:pt x="255" y="524"/>
                    </a:lnTo>
                    <a:lnTo>
                      <a:pt x="257" y="525"/>
                    </a:lnTo>
                    <a:lnTo>
                      <a:pt x="258" y="527"/>
                    </a:lnTo>
                    <a:lnTo>
                      <a:pt x="259" y="528"/>
                    </a:lnTo>
                    <a:lnTo>
                      <a:pt x="260" y="529"/>
                    </a:lnTo>
                    <a:lnTo>
                      <a:pt x="260" y="530"/>
                    </a:lnTo>
                    <a:lnTo>
                      <a:pt x="259" y="530"/>
                    </a:lnTo>
                    <a:lnTo>
                      <a:pt x="259" y="531"/>
                    </a:lnTo>
                    <a:lnTo>
                      <a:pt x="259" y="531"/>
                    </a:lnTo>
                    <a:lnTo>
                      <a:pt x="261" y="532"/>
                    </a:lnTo>
                    <a:lnTo>
                      <a:pt x="263" y="532"/>
                    </a:lnTo>
                    <a:lnTo>
                      <a:pt x="268" y="532"/>
                    </a:lnTo>
                    <a:lnTo>
                      <a:pt x="272" y="532"/>
                    </a:lnTo>
                    <a:lnTo>
                      <a:pt x="275" y="532"/>
                    </a:lnTo>
                    <a:lnTo>
                      <a:pt x="279" y="532"/>
                    </a:lnTo>
                    <a:lnTo>
                      <a:pt x="281" y="533"/>
                    </a:lnTo>
                    <a:lnTo>
                      <a:pt x="282" y="533"/>
                    </a:lnTo>
                    <a:lnTo>
                      <a:pt x="281" y="535"/>
                    </a:lnTo>
                    <a:lnTo>
                      <a:pt x="281" y="536"/>
                    </a:lnTo>
                    <a:lnTo>
                      <a:pt x="282" y="537"/>
                    </a:lnTo>
                    <a:lnTo>
                      <a:pt x="284" y="537"/>
                    </a:lnTo>
                    <a:lnTo>
                      <a:pt x="288" y="537"/>
                    </a:lnTo>
                    <a:lnTo>
                      <a:pt x="292" y="537"/>
                    </a:lnTo>
                    <a:lnTo>
                      <a:pt x="295" y="537"/>
                    </a:lnTo>
                    <a:lnTo>
                      <a:pt x="296" y="536"/>
                    </a:lnTo>
                    <a:lnTo>
                      <a:pt x="297" y="536"/>
                    </a:lnTo>
                    <a:lnTo>
                      <a:pt x="297" y="535"/>
                    </a:lnTo>
                    <a:lnTo>
                      <a:pt x="297" y="533"/>
                    </a:lnTo>
                    <a:lnTo>
                      <a:pt x="298" y="533"/>
                    </a:lnTo>
                    <a:lnTo>
                      <a:pt x="300" y="532"/>
                    </a:lnTo>
                    <a:lnTo>
                      <a:pt x="303" y="532"/>
                    </a:lnTo>
                    <a:lnTo>
                      <a:pt x="304" y="532"/>
                    </a:lnTo>
                    <a:lnTo>
                      <a:pt x="305" y="531"/>
                    </a:lnTo>
                    <a:lnTo>
                      <a:pt x="306" y="531"/>
                    </a:lnTo>
                    <a:lnTo>
                      <a:pt x="307" y="531"/>
                    </a:lnTo>
                    <a:lnTo>
                      <a:pt x="310" y="532"/>
                    </a:lnTo>
                    <a:lnTo>
                      <a:pt x="314" y="532"/>
                    </a:lnTo>
                    <a:lnTo>
                      <a:pt x="314" y="532"/>
                    </a:lnTo>
                    <a:lnTo>
                      <a:pt x="312" y="533"/>
                    </a:lnTo>
                    <a:lnTo>
                      <a:pt x="310" y="533"/>
                    </a:lnTo>
                    <a:lnTo>
                      <a:pt x="306" y="533"/>
                    </a:lnTo>
                    <a:lnTo>
                      <a:pt x="306" y="535"/>
                    </a:lnTo>
                    <a:lnTo>
                      <a:pt x="307" y="535"/>
                    </a:lnTo>
                    <a:lnTo>
                      <a:pt x="307" y="536"/>
                    </a:lnTo>
                    <a:lnTo>
                      <a:pt x="309" y="538"/>
                    </a:lnTo>
                    <a:lnTo>
                      <a:pt x="310" y="540"/>
                    </a:lnTo>
                    <a:lnTo>
                      <a:pt x="311" y="540"/>
                    </a:lnTo>
                    <a:lnTo>
                      <a:pt x="313" y="540"/>
                    </a:lnTo>
                    <a:lnTo>
                      <a:pt x="315" y="542"/>
                    </a:lnTo>
                    <a:lnTo>
                      <a:pt x="317" y="543"/>
                    </a:lnTo>
                    <a:lnTo>
                      <a:pt x="317" y="544"/>
                    </a:lnTo>
                    <a:lnTo>
                      <a:pt x="319" y="545"/>
                    </a:lnTo>
                    <a:lnTo>
                      <a:pt x="320" y="546"/>
                    </a:lnTo>
                    <a:lnTo>
                      <a:pt x="321" y="547"/>
                    </a:lnTo>
                    <a:lnTo>
                      <a:pt x="321" y="550"/>
                    </a:lnTo>
                    <a:lnTo>
                      <a:pt x="322" y="551"/>
                    </a:lnTo>
                    <a:lnTo>
                      <a:pt x="322" y="551"/>
                    </a:lnTo>
                    <a:lnTo>
                      <a:pt x="324" y="551"/>
                    </a:lnTo>
                    <a:lnTo>
                      <a:pt x="324" y="551"/>
                    </a:lnTo>
                    <a:lnTo>
                      <a:pt x="324" y="552"/>
                    </a:lnTo>
                    <a:lnTo>
                      <a:pt x="324" y="552"/>
                    </a:lnTo>
                    <a:lnTo>
                      <a:pt x="324" y="552"/>
                    </a:lnTo>
                    <a:lnTo>
                      <a:pt x="325" y="552"/>
                    </a:lnTo>
                    <a:lnTo>
                      <a:pt x="325" y="553"/>
                    </a:lnTo>
                    <a:lnTo>
                      <a:pt x="326" y="554"/>
                    </a:lnTo>
                    <a:lnTo>
                      <a:pt x="326" y="554"/>
                    </a:lnTo>
                    <a:lnTo>
                      <a:pt x="325" y="555"/>
                    </a:lnTo>
                    <a:lnTo>
                      <a:pt x="325" y="555"/>
                    </a:lnTo>
                    <a:lnTo>
                      <a:pt x="322" y="555"/>
                    </a:lnTo>
                    <a:lnTo>
                      <a:pt x="320" y="555"/>
                    </a:lnTo>
                    <a:lnTo>
                      <a:pt x="322" y="555"/>
                    </a:lnTo>
                    <a:lnTo>
                      <a:pt x="325" y="557"/>
                    </a:lnTo>
                    <a:lnTo>
                      <a:pt x="326" y="557"/>
                    </a:lnTo>
                    <a:lnTo>
                      <a:pt x="326" y="555"/>
                    </a:lnTo>
                    <a:lnTo>
                      <a:pt x="327" y="557"/>
                    </a:lnTo>
                    <a:lnTo>
                      <a:pt x="328" y="557"/>
                    </a:lnTo>
                    <a:lnTo>
                      <a:pt x="330" y="559"/>
                    </a:lnTo>
                    <a:lnTo>
                      <a:pt x="333" y="558"/>
                    </a:lnTo>
                    <a:lnTo>
                      <a:pt x="334" y="558"/>
                    </a:lnTo>
                    <a:lnTo>
                      <a:pt x="336" y="559"/>
                    </a:lnTo>
                    <a:lnTo>
                      <a:pt x="339" y="561"/>
                    </a:lnTo>
                    <a:lnTo>
                      <a:pt x="341" y="563"/>
                    </a:lnTo>
                    <a:lnTo>
                      <a:pt x="343" y="566"/>
                    </a:lnTo>
                    <a:lnTo>
                      <a:pt x="344" y="567"/>
                    </a:lnTo>
                    <a:lnTo>
                      <a:pt x="345" y="569"/>
                    </a:lnTo>
                    <a:lnTo>
                      <a:pt x="345" y="570"/>
                    </a:lnTo>
                    <a:lnTo>
                      <a:pt x="345" y="572"/>
                    </a:lnTo>
                    <a:lnTo>
                      <a:pt x="344" y="574"/>
                    </a:lnTo>
                    <a:lnTo>
                      <a:pt x="345" y="574"/>
                    </a:lnTo>
                    <a:lnTo>
                      <a:pt x="345" y="574"/>
                    </a:lnTo>
                    <a:lnTo>
                      <a:pt x="345" y="574"/>
                    </a:lnTo>
                    <a:lnTo>
                      <a:pt x="347" y="574"/>
                    </a:lnTo>
                    <a:lnTo>
                      <a:pt x="348" y="575"/>
                    </a:lnTo>
                    <a:lnTo>
                      <a:pt x="350" y="576"/>
                    </a:lnTo>
                    <a:lnTo>
                      <a:pt x="351" y="577"/>
                    </a:lnTo>
                    <a:lnTo>
                      <a:pt x="351" y="579"/>
                    </a:lnTo>
                    <a:lnTo>
                      <a:pt x="351" y="580"/>
                    </a:lnTo>
                    <a:lnTo>
                      <a:pt x="351" y="580"/>
                    </a:lnTo>
                    <a:lnTo>
                      <a:pt x="352" y="581"/>
                    </a:lnTo>
                    <a:lnTo>
                      <a:pt x="354" y="581"/>
                    </a:lnTo>
                    <a:lnTo>
                      <a:pt x="355" y="582"/>
                    </a:lnTo>
                    <a:lnTo>
                      <a:pt x="355" y="583"/>
                    </a:lnTo>
                    <a:lnTo>
                      <a:pt x="354" y="584"/>
                    </a:lnTo>
                    <a:lnTo>
                      <a:pt x="354" y="587"/>
                    </a:lnTo>
                    <a:lnTo>
                      <a:pt x="352" y="588"/>
                    </a:lnTo>
                    <a:lnTo>
                      <a:pt x="351" y="589"/>
                    </a:lnTo>
                    <a:lnTo>
                      <a:pt x="351" y="590"/>
                    </a:lnTo>
                    <a:lnTo>
                      <a:pt x="351" y="589"/>
                    </a:lnTo>
                    <a:lnTo>
                      <a:pt x="352" y="589"/>
                    </a:lnTo>
                    <a:lnTo>
                      <a:pt x="354" y="587"/>
                    </a:lnTo>
                    <a:lnTo>
                      <a:pt x="355" y="584"/>
                    </a:lnTo>
                    <a:lnTo>
                      <a:pt x="357" y="583"/>
                    </a:lnTo>
                    <a:lnTo>
                      <a:pt x="359" y="584"/>
                    </a:lnTo>
                    <a:lnTo>
                      <a:pt x="362" y="584"/>
                    </a:lnTo>
                    <a:lnTo>
                      <a:pt x="363" y="585"/>
                    </a:lnTo>
                    <a:lnTo>
                      <a:pt x="365" y="587"/>
                    </a:lnTo>
                    <a:lnTo>
                      <a:pt x="367" y="587"/>
                    </a:lnTo>
                    <a:lnTo>
                      <a:pt x="369" y="585"/>
                    </a:lnTo>
                    <a:lnTo>
                      <a:pt x="370" y="585"/>
                    </a:lnTo>
                    <a:lnTo>
                      <a:pt x="371" y="585"/>
                    </a:lnTo>
                    <a:lnTo>
                      <a:pt x="372" y="587"/>
                    </a:lnTo>
                    <a:lnTo>
                      <a:pt x="372" y="587"/>
                    </a:lnTo>
                    <a:lnTo>
                      <a:pt x="374" y="585"/>
                    </a:lnTo>
                    <a:lnTo>
                      <a:pt x="375" y="585"/>
                    </a:lnTo>
                    <a:lnTo>
                      <a:pt x="377" y="585"/>
                    </a:lnTo>
                    <a:lnTo>
                      <a:pt x="378" y="584"/>
                    </a:lnTo>
                    <a:lnTo>
                      <a:pt x="385" y="587"/>
                    </a:lnTo>
                    <a:lnTo>
                      <a:pt x="385" y="587"/>
                    </a:lnTo>
                    <a:lnTo>
                      <a:pt x="387" y="587"/>
                    </a:lnTo>
                    <a:lnTo>
                      <a:pt x="388" y="588"/>
                    </a:lnTo>
                    <a:lnTo>
                      <a:pt x="389" y="589"/>
                    </a:lnTo>
                    <a:lnTo>
                      <a:pt x="390" y="589"/>
                    </a:lnTo>
                    <a:lnTo>
                      <a:pt x="393" y="589"/>
                    </a:lnTo>
                    <a:lnTo>
                      <a:pt x="394" y="590"/>
                    </a:lnTo>
                    <a:lnTo>
                      <a:pt x="395" y="591"/>
                    </a:lnTo>
                    <a:lnTo>
                      <a:pt x="396" y="592"/>
                    </a:lnTo>
                    <a:lnTo>
                      <a:pt x="396" y="594"/>
                    </a:lnTo>
                    <a:lnTo>
                      <a:pt x="397" y="594"/>
                    </a:lnTo>
                    <a:lnTo>
                      <a:pt x="397" y="594"/>
                    </a:lnTo>
                    <a:lnTo>
                      <a:pt x="399" y="595"/>
                    </a:lnTo>
                    <a:lnTo>
                      <a:pt x="400" y="596"/>
                    </a:lnTo>
                    <a:lnTo>
                      <a:pt x="401" y="596"/>
                    </a:lnTo>
                    <a:lnTo>
                      <a:pt x="401" y="596"/>
                    </a:lnTo>
                    <a:lnTo>
                      <a:pt x="402" y="597"/>
                    </a:lnTo>
                    <a:lnTo>
                      <a:pt x="402" y="598"/>
                    </a:lnTo>
                    <a:lnTo>
                      <a:pt x="403" y="599"/>
                    </a:lnTo>
                    <a:lnTo>
                      <a:pt x="403" y="599"/>
                    </a:lnTo>
                    <a:lnTo>
                      <a:pt x="403" y="600"/>
                    </a:lnTo>
                    <a:lnTo>
                      <a:pt x="404" y="602"/>
                    </a:lnTo>
                    <a:lnTo>
                      <a:pt x="404" y="602"/>
                    </a:lnTo>
                    <a:lnTo>
                      <a:pt x="404" y="602"/>
                    </a:lnTo>
                    <a:lnTo>
                      <a:pt x="406" y="602"/>
                    </a:lnTo>
                    <a:lnTo>
                      <a:pt x="407" y="603"/>
                    </a:lnTo>
                    <a:lnTo>
                      <a:pt x="408" y="605"/>
                    </a:lnTo>
                    <a:lnTo>
                      <a:pt x="409" y="607"/>
                    </a:lnTo>
                    <a:lnTo>
                      <a:pt x="409" y="607"/>
                    </a:lnTo>
                    <a:lnTo>
                      <a:pt x="410" y="607"/>
                    </a:lnTo>
                    <a:lnTo>
                      <a:pt x="410" y="606"/>
                    </a:lnTo>
                    <a:lnTo>
                      <a:pt x="410" y="606"/>
                    </a:lnTo>
                    <a:lnTo>
                      <a:pt x="410" y="605"/>
                    </a:lnTo>
                    <a:lnTo>
                      <a:pt x="410" y="606"/>
                    </a:lnTo>
                    <a:lnTo>
                      <a:pt x="411" y="607"/>
                    </a:lnTo>
                    <a:lnTo>
                      <a:pt x="411" y="614"/>
                    </a:lnTo>
                    <a:lnTo>
                      <a:pt x="409" y="617"/>
                    </a:lnTo>
                    <a:lnTo>
                      <a:pt x="407" y="620"/>
                    </a:lnTo>
                    <a:lnTo>
                      <a:pt x="406" y="625"/>
                    </a:lnTo>
                    <a:lnTo>
                      <a:pt x="406" y="628"/>
                    </a:lnTo>
                    <a:lnTo>
                      <a:pt x="406" y="663"/>
                    </a:lnTo>
                    <a:lnTo>
                      <a:pt x="404" y="663"/>
                    </a:lnTo>
                    <a:lnTo>
                      <a:pt x="404" y="663"/>
                    </a:lnTo>
                    <a:lnTo>
                      <a:pt x="404" y="664"/>
                    </a:lnTo>
                    <a:lnTo>
                      <a:pt x="404" y="664"/>
                    </a:lnTo>
                    <a:lnTo>
                      <a:pt x="406" y="665"/>
                    </a:lnTo>
                    <a:lnTo>
                      <a:pt x="406" y="665"/>
                    </a:lnTo>
                    <a:lnTo>
                      <a:pt x="406" y="665"/>
                    </a:lnTo>
                    <a:lnTo>
                      <a:pt x="406" y="667"/>
                    </a:lnTo>
                    <a:lnTo>
                      <a:pt x="406" y="671"/>
                    </a:lnTo>
                    <a:lnTo>
                      <a:pt x="406" y="677"/>
                    </a:lnTo>
                    <a:lnTo>
                      <a:pt x="406" y="686"/>
                    </a:lnTo>
                    <a:lnTo>
                      <a:pt x="406" y="697"/>
                    </a:lnTo>
                    <a:lnTo>
                      <a:pt x="404" y="714"/>
                    </a:lnTo>
                    <a:lnTo>
                      <a:pt x="404" y="734"/>
                    </a:lnTo>
                    <a:lnTo>
                      <a:pt x="403" y="760"/>
                    </a:lnTo>
                    <a:lnTo>
                      <a:pt x="403" y="792"/>
                    </a:lnTo>
                    <a:lnTo>
                      <a:pt x="402" y="829"/>
                    </a:lnTo>
                    <a:lnTo>
                      <a:pt x="402" y="874"/>
                    </a:lnTo>
                    <a:lnTo>
                      <a:pt x="401" y="926"/>
                    </a:lnTo>
                    <a:lnTo>
                      <a:pt x="401" y="931"/>
                    </a:lnTo>
                    <a:lnTo>
                      <a:pt x="402" y="934"/>
                    </a:lnTo>
                    <a:lnTo>
                      <a:pt x="404" y="938"/>
                    </a:lnTo>
                    <a:lnTo>
                      <a:pt x="408" y="942"/>
                    </a:lnTo>
                    <a:lnTo>
                      <a:pt x="410" y="946"/>
                    </a:lnTo>
                    <a:lnTo>
                      <a:pt x="414" y="948"/>
                    </a:lnTo>
                    <a:lnTo>
                      <a:pt x="418" y="949"/>
                    </a:lnTo>
                    <a:lnTo>
                      <a:pt x="423" y="950"/>
                    </a:lnTo>
                    <a:lnTo>
                      <a:pt x="423" y="950"/>
                    </a:lnTo>
                    <a:lnTo>
                      <a:pt x="425" y="950"/>
                    </a:lnTo>
                    <a:lnTo>
                      <a:pt x="430" y="952"/>
                    </a:lnTo>
                    <a:lnTo>
                      <a:pt x="438" y="952"/>
                    </a:lnTo>
                    <a:lnTo>
                      <a:pt x="453" y="953"/>
                    </a:lnTo>
                    <a:lnTo>
                      <a:pt x="449" y="955"/>
                    </a:lnTo>
                    <a:lnTo>
                      <a:pt x="448" y="957"/>
                    </a:lnTo>
                    <a:lnTo>
                      <a:pt x="447" y="958"/>
                    </a:lnTo>
                    <a:lnTo>
                      <a:pt x="447" y="960"/>
                    </a:lnTo>
                    <a:lnTo>
                      <a:pt x="447" y="962"/>
                    </a:lnTo>
                    <a:lnTo>
                      <a:pt x="448" y="963"/>
                    </a:lnTo>
                    <a:lnTo>
                      <a:pt x="447" y="964"/>
                    </a:lnTo>
                    <a:lnTo>
                      <a:pt x="446" y="967"/>
                    </a:lnTo>
                    <a:lnTo>
                      <a:pt x="445" y="970"/>
                    </a:lnTo>
                    <a:lnTo>
                      <a:pt x="445" y="973"/>
                    </a:lnTo>
                    <a:lnTo>
                      <a:pt x="445" y="976"/>
                    </a:lnTo>
                    <a:lnTo>
                      <a:pt x="445" y="978"/>
                    </a:lnTo>
                    <a:lnTo>
                      <a:pt x="444" y="982"/>
                    </a:lnTo>
                    <a:lnTo>
                      <a:pt x="440" y="984"/>
                    </a:lnTo>
                    <a:lnTo>
                      <a:pt x="439" y="985"/>
                    </a:lnTo>
                    <a:lnTo>
                      <a:pt x="438" y="986"/>
                    </a:lnTo>
                    <a:lnTo>
                      <a:pt x="437" y="987"/>
                    </a:lnTo>
                    <a:lnTo>
                      <a:pt x="437" y="988"/>
                    </a:lnTo>
                    <a:lnTo>
                      <a:pt x="437" y="990"/>
                    </a:lnTo>
                    <a:lnTo>
                      <a:pt x="437" y="991"/>
                    </a:lnTo>
                    <a:lnTo>
                      <a:pt x="437" y="993"/>
                    </a:lnTo>
                    <a:lnTo>
                      <a:pt x="434" y="994"/>
                    </a:lnTo>
                    <a:lnTo>
                      <a:pt x="432" y="997"/>
                    </a:lnTo>
                    <a:lnTo>
                      <a:pt x="429" y="1000"/>
                    </a:lnTo>
                    <a:lnTo>
                      <a:pt x="426" y="1002"/>
                    </a:lnTo>
                    <a:lnTo>
                      <a:pt x="423" y="1005"/>
                    </a:lnTo>
                    <a:lnTo>
                      <a:pt x="419" y="1006"/>
                    </a:lnTo>
                    <a:lnTo>
                      <a:pt x="416" y="1007"/>
                    </a:lnTo>
                    <a:lnTo>
                      <a:pt x="414" y="1006"/>
                    </a:lnTo>
                    <a:lnTo>
                      <a:pt x="411" y="1005"/>
                    </a:lnTo>
                    <a:lnTo>
                      <a:pt x="409" y="1004"/>
                    </a:lnTo>
                    <a:lnTo>
                      <a:pt x="407" y="1004"/>
                    </a:lnTo>
                    <a:lnTo>
                      <a:pt x="406" y="1004"/>
                    </a:lnTo>
                    <a:lnTo>
                      <a:pt x="404" y="1004"/>
                    </a:lnTo>
                    <a:lnTo>
                      <a:pt x="403" y="1004"/>
                    </a:lnTo>
                    <a:lnTo>
                      <a:pt x="402" y="1004"/>
                    </a:lnTo>
                    <a:lnTo>
                      <a:pt x="401" y="1002"/>
                    </a:lnTo>
                    <a:lnTo>
                      <a:pt x="400" y="1002"/>
                    </a:lnTo>
                    <a:lnTo>
                      <a:pt x="397" y="1001"/>
                    </a:lnTo>
                    <a:lnTo>
                      <a:pt x="395" y="1001"/>
                    </a:lnTo>
                    <a:lnTo>
                      <a:pt x="394" y="1000"/>
                    </a:lnTo>
                    <a:lnTo>
                      <a:pt x="392" y="1000"/>
                    </a:lnTo>
                    <a:lnTo>
                      <a:pt x="390" y="998"/>
                    </a:lnTo>
                    <a:lnTo>
                      <a:pt x="389" y="995"/>
                    </a:lnTo>
                    <a:lnTo>
                      <a:pt x="388" y="991"/>
                    </a:lnTo>
                    <a:lnTo>
                      <a:pt x="387" y="994"/>
                    </a:lnTo>
                    <a:lnTo>
                      <a:pt x="387" y="995"/>
                    </a:lnTo>
                    <a:lnTo>
                      <a:pt x="388" y="998"/>
                    </a:lnTo>
                    <a:lnTo>
                      <a:pt x="389" y="999"/>
                    </a:lnTo>
                    <a:lnTo>
                      <a:pt x="389" y="1000"/>
                    </a:lnTo>
                    <a:lnTo>
                      <a:pt x="389" y="1000"/>
                    </a:lnTo>
                    <a:lnTo>
                      <a:pt x="389" y="1001"/>
                    </a:lnTo>
                    <a:lnTo>
                      <a:pt x="388" y="1001"/>
                    </a:lnTo>
                    <a:lnTo>
                      <a:pt x="388" y="1002"/>
                    </a:lnTo>
                    <a:lnTo>
                      <a:pt x="389" y="1002"/>
                    </a:lnTo>
                    <a:lnTo>
                      <a:pt x="392" y="1004"/>
                    </a:lnTo>
                    <a:lnTo>
                      <a:pt x="394" y="1005"/>
                    </a:lnTo>
                    <a:lnTo>
                      <a:pt x="397" y="1006"/>
                    </a:lnTo>
                    <a:lnTo>
                      <a:pt x="401" y="1008"/>
                    </a:lnTo>
                    <a:lnTo>
                      <a:pt x="403" y="1009"/>
                    </a:lnTo>
                    <a:lnTo>
                      <a:pt x="406" y="1012"/>
                    </a:lnTo>
                    <a:lnTo>
                      <a:pt x="406" y="1014"/>
                    </a:lnTo>
                    <a:lnTo>
                      <a:pt x="406" y="1017"/>
                    </a:lnTo>
                    <a:lnTo>
                      <a:pt x="407" y="1019"/>
                    </a:lnTo>
                    <a:lnTo>
                      <a:pt x="408" y="1021"/>
                    </a:lnTo>
                    <a:lnTo>
                      <a:pt x="409" y="1021"/>
                    </a:lnTo>
                    <a:lnTo>
                      <a:pt x="410" y="1022"/>
                    </a:lnTo>
                    <a:lnTo>
                      <a:pt x="411" y="1022"/>
                    </a:lnTo>
                    <a:lnTo>
                      <a:pt x="412" y="1022"/>
                    </a:lnTo>
                    <a:lnTo>
                      <a:pt x="412" y="1022"/>
                    </a:lnTo>
                    <a:lnTo>
                      <a:pt x="414" y="1025"/>
                    </a:lnTo>
                    <a:lnTo>
                      <a:pt x="414" y="1027"/>
                    </a:lnTo>
                    <a:lnTo>
                      <a:pt x="414" y="1028"/>
                    </a:lnTo>
                    <a:lnTo>
                      <a:pt x="412" y="1029"/>
                    </a:lnTo>
                    <a:lnTo>
                      <a:pt x="411" y="1030"/>
                    </a:lnTo>
                    <a:lnTo>
                      <a:pt x="411" y="1031"/>
                    </a:lnTo>
                    <a:lnTo>
                      <a:pt x="409" y="1036"/>
                    </a:lnTo>
                    <a:lnTo>
                      <a:pt x="408" y="1038"/>
                    </a:lnTo>
                    <a:lnTo>
                      <a:pt x="406" y="1039"/>
                    </a:lnTo>
                    <a:lnTo>
                      <a:pt x="403" y="1040"/>
                    </a:lnTo>
                    <a:lnTo>
                      <a:pt x="401" y="1040"/>
                    </a:lnTo>
                    <a:lnTo>
                      <a:pt x="399" y="1042"/>
                    </a:lnTo>
                    <a:lnTo>
                      <a:pt x="390" y="1045"/>
                    </a:lnTo>
                    <a:lnTo>
                      <a:pt x="385" y="1046"/>
                    </a:lnTo>
                    <a:lnTo>
                      <a:pt x="381" y="1045"/>
                    </a:lnTo>
                    <a:lnTo>
                      <a:pt x="379" y="1045"/>
                    </a:lnTo>
                    <a:lnTo>
                      <a:pt x="378" y="1045"/>
                    </a:lnTo>
                    <a:lnTo>
                      <a:pt x="377" y="1044"/>
                    </a:lnTo>
                    <a:lnTo>
                      <a:pt x="377" y="1043"/>
                    </a:lnTo>
                    <a:lnTo>
                      <a:pt x="377" y="1043"/>
                    </a:lnTo>
                    <a:lnTo>
                      <a:pt x="375" y="1043"/>
                    </a:lnTo>
                    <a:lnTo>
                      <a:pt x="375" y="1044"/>
                    </a:lnTo>
                    <a:lnTo>
                      <a:pt x="374" y="1044"/>
                    </a:lnTo>
                    <a:lnTo>
                      <a:pt x="374" y="1045"/>
                    </a:lnTo>
                    <a:lnTo>
                      <a:pt x="374" y="1046"/>
                    </a:lnTo>
                    <a:lnTo>
                      <a:pt x="375" y="1046"/>
                    </a:lnTo>
                    <a:lnTo>
                      <a:pt x="377" y="1047"/>
                    </a:lnTo>
                    <a:lnTo>
                      <a:pt x="377" y="1047"/>
                    </a:lnTo>
                    <a:lnTo>
                      <a:pt x="377" y="1049"/>
                    </a:lnTo>
                    <a:lnTo>
                      <a:pt x="377" y="1050"/>
                    </a:lnTo>
                    <a:lnTo>
                      <a:pt x="378" y="1050"/>
                    </a:lnTo>
                    <a:lnTo>
                      <a:pt x="379" y="1052"/>
                    </a:lnTo>
                    <a:lnTo>
                      <a:pt x="380" y="1052"/>
                    </a:lnTo>
                    <a:lnTo>
                      <a:pt x="379" y="1053"/>
                    </a:lnTo>
                    <a:lnTo>
                      <a:pt x="378" y="1053"/>
                    </a:lnTo>
                    <a:lnTo>
                      <a:pt x="377" y="1054"/>
                    </a:lnTo>
                    <a:lnTo>
                      <a:pt x="377" y="1055"/>
                    </a:lnTo>
                    <a:lnTo>
                      <a:pt x="377" y="1058"/>
                    </a:lnTo>
                    <a:lnTo>
                      <a:pt x="377" y="1059"/>
                    </a:lnTo>
                    <a:lnTo>
                      <a:pt x="378" y="1060"/>
                    </a:lnTo>
                    <a:lnTo>
                      <a:pt x="379" y="1061"/>
                    </a:lnTo>
                    <a:lnTo>
                      <a:pt x="378" y="1062"/>
                    </a:lnTo>
                    <a:lnTo>
                      <a:pt x="377" y="1064"/>
                    </a:lnTo>
                    <a:lnTo>
                      <a:pt x="374" y="1065"/>
                    </a:lnTo>
                    <a:lnTo>
                      <a:pt x="371" y="1066"/>
                    </a:lnTo>
                    <a:lnTo>
                      <a:pt x="369" y="1066"/>
                    </a:lnTo>
                    <a:lnTo>
                      <a:pt x="367" y="1066"/>
                    </a:lnTo>
                    <a:lnTo>
                      <a:pt x="364" y="1065"/>
                    </a:lnTo>
                    <a:lnTo>
                      <a:pt x="362" y="1064"/>
                    </a:lnTo>
                    <a:lnTo>
                      <a:pt x="360" y="1064"/>
                    </a:lnTo>
                    <a:lnTo>
                      <a:pt x="359" y="1064"/>
                    </a:lnTo>
                    <a:lnTo>
                      <a:pt x="360" y="1062"/>
                    </a:lnTo>
                    <a:lnTo>
                      <a:pt x="360" y="1062"/>
                    </a:lnTo>
                    <a:lnTo>
                      <a:pt x="359" y="1061"/>
                    </a:lnTo>
                    <a:lnTo>
                      <a:pt x="358" y="1062"/>
                    </a:lnTo>
                    <a:lnTo>
                      <a:pt x="357" y="1062"/>
                    </a:lnTo>
                    <a:lnTo>
                      <a:pt x="357" y="1064"/>
                    </a:lnTo>
                    <a:lnTo>
                      <a:pt x="357" y="1065"/>
                    </a:lnTo>
                    <a:lnTo>
                      <a:pt x="358" y="1066"/>
                    </a:lnTo>
                    <a:lnTo>
                      <a:pt x="360" y="1068"/>
                    </a:lnTo>
                    <a:lnTo>
                      <a:pt x="362" y="1069"/>
                    </a:lnTo>
                    <a:lnTo>
                      <a:pt x="363" y="1072"/>
                    </a:lnTo>
                    <a:lnTo>
                      <a:pt x="362" y="1073"/>
                    </a:lnTo>
                    <a:lnTo>
                      <a:pt x="362" y="1074"/>
                    </a:lnTo>
                    <a:lnTo>
                      <a:pt x="362" y="1075"/>
                    </a:lnTo>
                    <a:lnTo>
                      <a:pt x="363" y="1076"/>
                    </a:lnTo>
                    <a:lnTo>
                      <a:pt x="365" y="1076"/>
                    </a:lnTo>
                    <a:lnTo>
                      <a:pt x="366" y="1076"/>
                    </a:lnTo>
                    <a:lnTo>
                      <a:pt x="366" y="1077"/>
                    </a:lnTo>
                    <a:lnTo>
                      <a:pt x="367" y="1077"/>
                    </a:lnTo>
                    <a:lnTo>
                      <a:pt x="369" y="1076"/>
                    </a:lnTo>
                    <a:lnTo>
                      <a:pt x="370" y="1075"/>
                    </a:lnTo>
                    <a:lnTo>
                      <a:pt x="370" y="1075"/>
                    </a:lnTo>
                    <a:lnTo>
                      <a:pt x="370" y="1075"/>
                    </a:lnTo>
                    <a:lnTo>
                      <a:pt x="369" y="1075"/>
                    </a:lnTo>
                    <a:lnTo>
                      <a:pt x="369" y="1075"/>
                    </a:lnTo>
                    <a:lnTo>
                      <a:pt x="371" y="1075"/>
                    </a:lnTo>
                    <a:lnTo>
                      <a:pt x="373" y="1075"/>
                    </a:lnTo>
                    <a:lnTo>
                      <a:pt x="373" y="1075"/>
                    </a:lnTo>
                    <a:lnTo>
                      <a:pt x="373" y="1076"/>
                    </a:lnTo>
                    <a:lnTo>
                      <a:pt x="373" y="1076"/>
                    </a:lnTo>
                    <a:lnTo>
                      <a:pt x="373" y="1077"/>
                    </a:lnTo>
                    <a:lnTo>
                      <a:pt x="372" y="1079"/>
                    </a:lnTo>
                    <a:lnTo>
                      <a:pt x="373" y="1079"/>
                    </a:lnTo>
                    <a:lnTo>
                      <a:pt x="373" y="1080"/>
                    </a:lnTo>
                    <a:lnTo>
                      <a:pt x="372" y="1081"/>
                    </a:lnTo>
                    <a:lnTo>
                      <a:pt x="371" y="1081"/>
                    </a:lnTo>
                    <a:lnTo>
                      <a:pt x="371" y="1080"/>
                    </a:lnTo>
                    <a:lnTo>
                      <a:pt x="370" y="1080"/>
                    </a:lnTo>
                    <a:lnTo>
                      <a:pt x="369" y="1079"/>
                    </a:lnTo>
                    <a:lnTo>
                      <a:pt x="367" y="1080"/>
                    </a:lnTo>
                    <a:lnTo>
                      <a:pt x="365" y="1080"/>
                    </a:lnTo>
                    <a:lnTo>
                      <a:pt x="364" y="1080"/>
                    </a:lnTo>
                    <a:lnTo>
                      <a:pt x="364" y="1080"/>
                    </a:lnTo>
                    <a:lnTo>
                      <a:pt x="364" y="1080"/>
                    </a:lnTo>
                    <a:lnTo>
                      <a:pt x="366" y="1081"/>
                    </a:lnTo>
                    <a:lnTo>
                      <a:pt x="367" y="1081"/>
                    </a:lnTo>
                    <a:lnTo>
                      <a:pt x="370" y="1081"/>
                    </a:lnTo>
                    <a:lnTo>
                      <a:pt x="371" y="1082"/>
                    </a:lnTo>
                    <a:lnTo>
                      <a:pt x="371" y="1082"/>
                    </a:lnTo>
                    <a:lnTo>
                      <a:pt x="370" y="1082"/>
                    </a:lnTo>
                    <a:lnTo>
                      <a:pt x="369" y="1083"/>
                    </a:lnTo>
                    <a:lnTo>
                      <a:pt x="367" y="1083"/>
                    </a:lnTo>
                    <a:lnTo>
                      <a:pt x="367" y="1083"/>
                    </a:lnTo>
                    <a:lnTo>
                      <a:pt x="367" y="1086"/>
                    </a:lnTo>
                    <a:lnTo>
                      <a:pt x="367" y="1087"/>
                    </a:lnTo>
                    <a:lnTo>
                      <a:pt x="367" y="1087"/>
                    </a:lnTo>
                    <a:lnTo>
                      <a:pt x="367" y="1088"/>
                    </a:lnTo>
                    <a:lnTo>
                      <a:pt x="366" y="1088"/>
                    </a:lnTo>
                    <a:lnTo>
                      <a:pt x="366" y="1089"/>
                    </a:lnTo>
                    <a:lnTo>
                      <a:pt x="367" y="1090"/>
                    </a:lnTo>
                    <a:lnTo>
                      <a:pt x="369" y="1092"/>
                    </a:lnTo>
                    <a:lnTo>
                      <a:pt x="369" y="1094"/>
                    </a:lnTo>
                    <a:lnTo>
                      <a:pt x="367" y="1094"/>
                    </a:lnTo>
                    <a:lnTo>
                      <a:pt x="367" y="1095"/>
                    </a:lnTo>
                    <a:lnTo>
                      <a:pt x="366" y="1095"/>
                    </a:lnTo>
                    <a:lnTo>
                      <a:pt x="366" y="1096"/>
                    </a:lnTo>
                    <a:lnTo>
                      <a:pt x="367" y="1097"/>
                    </a:lnTo>
                    <a:lnTo>
                      <a:pt x="367" y="1098"/>
                    </a:lnTo>
                    <a:lnTo>
                      <a:pt x="367" y="1099"/>
                    </a:lnTo>
                    <a:lnTo>
                      <a:pt x="366" y="1099"/>
                    </a:lnTo>
                    <a:lnTo>
                      <a:pt x="364" y="1099"/>
                    </a:lnTo>
                    <a:lnTo>
                      <a:pt x="363" y="1099"/>
                    </a:lnTo>
                    <a:lnTo>
                      <a:pt x="362" y="1101"/>
                    </a:lnTo>
                    <a:lnTo>
                      <a:pt x="360" y="1101"/>
                    </a:lnTo>
                    <a:lnTo>
                      <a:pt x="359" y="1102"/>
                    </a:lnTo>
                    <a:lnTo>
                      <a:pt x="359" y="1103"/>
                    </a:lnTo>
                    <a:lnTo>
                      <a:pt x="358" y="1103"/>
                    </a:lnTo>
                    <a:lnTo>
                      <a:pt x="357" y="1104"/>
                    </a:lnTo>
                    <a:lnTo>
                      <a:pt x="357" y="1106"/>
                    </a:lnTo>
                    <a:lnTo>
                      <a:pt x="356" y="1109"/>
                    </a:lnTo>
                    <a:lnTo>
                      <a:pt x="356" y="1110"/>
                    </a:lnTo>
                    <a:lnTo>
                      <a:pt x="357" y="1111"/>
                    </a:lnTo>
                    <a:lnTo>
                      <a:pt x="358" y="1112"/>
                    </a:lnTo>
                    <a:lnTo>
                      <a:pt x="359" y="1113"/>
                    </a:lnTo>
                    <a:lnTo>
                      <a:pt x="360" y="1113"/>
                    </a:lnTo>
                    <a:lnTo>
                      <a:pt x="362" y="1114"/>
                    </a:lnTo>
                    <a:lnTo>
                      <a:pt x="364" y="1117"/>
                    </a:lnTo>
                    <a:lnTo>
                      <a:pt x="365" y="1118"/>
                    </a:lnTo>
                    <a:lnTo>
                      <a:pt x="366" y="1118"/>
                    </a:lnTo>
                    <a:lnTo>
                      <a:pt x="367" y="1118"/>
                    </a:lnTo>
                    <a:lnTo>
                      <a:pt x="369" y="1117"/>
                    </a:lnTo>
                    <a:lnTo>
                      <a:pt x="370" y="1117"/>
                    </a:lnTo>
                    <a:lnTo>
                      <a:pt x="371" y="1118"/>
                    </a:lnTo>
                    <a:lnTo>
                      <a:pt x="372" y="1120"/>
                    </a:lnTo>
                    <a:lnTo>
                      <a:pt x="373" y="1121"/>
                    </a:lnTo>
                    <a:lnTo>
                      <a:pt x="373" y="1122"/>
                    </a:lnTo>
                    <a:lnTo>
                      <a:pt x="373" y="1124"/>
                    </a:lnTo>
                    <a:lnTo>
                      <a:pt x="373" y="1124"/>
                    </a:lnTo>
                    <a:lnTo>
                      <a:pt x="372" y="1124"/>
                    </a:lnTo>
                    <a:lnTo>
                      <a:pt x="355" y="1113"/>
                    </a:lnTo>
                    <a:lnTo>
                      <a:pt x="337" y="1103"/>
                    </a:lnTo>
                    <a:lnTo>
                      <a:pt x="321" y="1091"/>
                    </a:lnTo>
                    <a:lnTo>
                      <a:pt x="304" y="1080"/>
                    </a:lnTo>
                    <a:lnTo>
                      <a:pt x="303" y="1079"/>
                    </a:lnTo>
                    <a:lnTo>
                      <a:pt x="303" y="1077"/>
                    </a:lnTo>
                    <a:lnTo>
                      <a:pt x="304" y="1076"/>
                    </a:lnTo>
                    <a:lnTo>
                      <a:pt x="304" y="1076"/>
                    </a:lnTo>
                    <a:lnTo>
                      <a:pt x="304" y="1075"/>
                    </a:lnTo>
                    <a:lnTo>
                      <a:pt x="303" y="1075"/>
                    </a:lnTo>
                    <a:lnTo>
                      <a:pt x="302" y="1073"/>
                    </a:lnTo>
                    <a:lnTo>
                      <a:pt x="302" y="1072"/>
                    </a:lnTo>
                    <a:lnTo>
                      <a:pt x="302" y="1070"/>
                    </a:lnTo>
                    <a:lnTo>
                      <a:pt x="300" y="1070"/>
                    </a:lnTo>
                    <a:lnTo>
                      <a:pt x="299" y="1069"/>
                    </a:lnTo>
                    <a:lnTo>
                      <a:pt x="298" y="1068"/>
                    </a:lnTo>
                    <a:lnTo>
                      <a:pt x="297" y="1068"/>
                    </a:lnTo>
                    <a:lnTo>
                      <a:pt x="297" y="1068"/>
                    </a:lnTo>
                    <a:lnTo>
                      <a:pt x="296" y="1069"/>
                    </a:lnTo>
                    <a:lnTo>
                      <a:pt x="296" y="1069"/>
                    </a:lnTo>
                    <a:lnTo>
                      <a:pt x="295" y="1068"/>
                    </a:lnTo>
                    <a:lnTo>
                      <a:pt x="295" y="1068"/>
                    </a:lnTo>
                    <a:lnTo>
                      <a:pt x="294" y="1068"/>
                    </a:lnTo>
                    <a:lnTo>
                      <a:pt x="294" y="1069"/>
                    </a:lnTo>
                    <a:lnTo>
                      <a:pt x="294" y="1069"/>
                    </a:lnTo>
                    <a:lnTo>
                      <a:pt x="292" y="1067"/>
                    </a:lnTo>
                    <a:lnTo>
                      <a:pt x="292" y="1065"/>
                    </a:lnTo>
                    <a:lnTo>
                      <a:pt x="292" y="1064"/>
                    </a:lnTo>
                    <a:lnTo>
                      <a:pt x="292" y="1061"/>
                    </a:lnTo>
                    <a:lnTo>
                      <a:pt x="291" y="1060"/>
                    </a:lnTo>
                    <a:lnTo>
                      <a:pt x="290" y="1057"/>
                    </a:lnTo>
                    <a:lnTo>
                      <a:pt x="289" y="1055"/>
                    </a:lnTo>
                    <a:lnTo>
                      <a:pt x="289" y="1054"/>
                    </a:lnTo>
                    <a:lnTo>
                      <a:pt x="289" y="1054"/>
                    </a:lnTo>
                    <a:lnTo>
                      <a:pt x="289" y="1053"/>
                    </a:lnTo>
                    <a:lnTo>
                      <a:pt x="290" y="1053"/>
                    </a:lnTo>
                    <a:lnTo>
                      <a:pt x="291" y="1052"/>
                    </a:lnTo>
                    <a:lnTo>
                      <a:pt x="291" y="1051"/>
                    </a:lnTo>
                    <a:lnTo>
                      <a:pt x="291" y="1050"/>
                    </a:lnTo>
                    <a:lnTo>
                      <a:pt x="290" y="1047"/>
                    </a:lnTo>
                    <a:lnTo>
                      <a:pt x="289" y="1045"/>
                    </a:lnTo>
                    <a:lnTo>
                      <a:pt x="287" y="1043"/>
                    </a:lnTo>
                    <a:lnTo>
                      <a:pt x="287" y="1040"/>
                    </a:lnTo>
                    <a:lnTo>
                      <a:pt x="285" y="1038"/>
                    </a:lnTo>
                    <a:lnTo>
                      <a:pt x="285" y="1036"/>
                    </a:lnTo>
                    <a:lnTo>
                      <a:pt x="284" y="1036"/>
                    </a:lnTo>
                    <a:lnTo>
                      <a:pt x="284" y="1036"/>
                    </a:lnTo>
                    <a:lnTo>
                      <a:pt x="284" y="1036"/>
                    </a:lnTo>
                    <a:lnTo>
                      <a:pt x="284" y="1035"/>
                    </a:lnTo>
                    <a:lnTo>
                      <a:pt x="283" y="1035"/>
                    </a:lnTo>
                    <a:lnTo>
                      <a:pt x="282" y="1032"/>
                    </a:lnTo>
                    <a:lnTo>
                      <a:pt x="280" y="1030"/>
                    </a:lnTo>
                    <a:lnTo>
                      <a:pt x="279" y="1029"/>
                    </a:lnTo>
                    <a:lnTo>
                      <a:pt x="279" y="1027"/>
                    </a:lnTo>
                    <a:lnTo>
                      <a:pt x="279" y="1025"/>
                    </a:lnTo>
                    <a:lnTo>
                      <a:pt x="279" y="1024"/>
                    </a:lnTo>
                    <a:lnTo>
                      <a:pt x="280" y="1024"/>
                    </a:lnTo>
                    <a:lnTo>
                      <a:pt x="280" y="1024"/>
                    </a:lnTo>
                    <a:lnTo>
                      <a:pt x="280" y="1024"/>
                    </a:lnTo>
                    <a:lnTo>
                      <a:pt x="280" y="1025"/>
                    </a:lnTo>
                    <a:lnTo>
                      <a:pt x="280" y="1027"/>
                    </a:lnTo>
                    <a:lnTo>
                      <a:pt x="281" y="1027"/>
                    </a:lnTo>
                    <a:lnTo>
                      <a:pt x="282" y="1028"/>
                    </a:lnTo>
                    <a:lnTo>
                      <a:pt x="282" y="1028"/>
                    </a:lnTo>
                    <a:lnTo>
                      <a:pt x="283" y="1027"/>
                    </a:lnTo>
                    <a:lnTo>
                      <a:pt x="283" y="1025"/>
                    </a:lnTo>
                    <a:lnTo>
                      <a:pt x="282" y="1024"/>
                    </a:lnTo>
                    <a:lnTo>
                      <a:pt x="281" y="1022"/>
                    </a:lnTo>
                    <a:lnTo>
                      <a:pt x="281" y="1021"/>
                    </a:lnTo>
                    <a:lnTo>
                      <a:pt x="282" y="1020"/>
                    </a:lnTo>
                    <a:lnTo>
                      <a:pt x="282" y="1020"/>
                    </a:lnTo>
                    <a:lnTo>
                      <a:pt x="282" y="1020"/>
                    </a:lnTo>
                    <a:lnTo>
                      <a:pt x="282" y="1019"/>
                    </a:lnTo>
                    <a:lnTo>
                      <a:pt x="281" y="1017"/>
                    </a:lnTo>
                    <a:lnTo>
                      <a:pt x="281" y="1016"/>
                    </a:lnTo>
                    <a:lnTo>
                      <a:pt x="281" y="1015"/>
                    </a:lnTo>
                    <a:lnTo>
                      <a:pt x="282" y="1015"/>
                    </a:lnTo>
                    <a:lnTo>
                      <a:pt x="282" y="1015"/>
                    </a:lnTo>
                    <a:lnTo>
                      <a:pt x="282" y="1014"/>
                    </a:lnTo>
                    <a:lnTo>
                      <a:pt x="282" y="1012"/>
                    </a:lnTo>
                    <a:lnTo>
                      <a:pt x="281" y="1010"/>
                    </a:lnTo>
                    <a:lnTo>
                      <a:pt x="281" y="1009"/>
                    </a:lnTo>
                    <a:lnTo>
                      <a:pt x="281" y="1009"/>
                    </a:lnTo>
                    <a:lnTo>
                      <a:pt x="282" y="1009"/>
                    </a:lnTo>
                    <a:lnTo>
                      <a:pt x="283" y="1009"/>
                    </a:lnTo>
                    <a:lnTo>
                      <a:pt x="283" y="1008"/>
                    </a:lnTo>
                    <a:lnTo>
                      <a:pt x="283" y="1007"/>
                    </a:lnTo>
                    <a:lnTo>
                      <a:pt x="283" y="1005"/>
                    </a:lnTo>
                    <a:lnTo>
                      <a:pt x="283" y="1002"/>
                    </a:lnTo>
                    <a:lnTo>
                      <a:pt x="283" y="1000"/>
                    </a:lnTo>
                    <a:lnTo>
                      <a:pt x="283" y="998"/>
                    </a:lnTo>
                    <a:lnTo>
                      <a:pt x="283" y="997"/>
                    </a:lnTo>
                    <a:lnTo>
                      <a:pt x="284" y="995"/>
                    </a:lnTo>
                    <a:lnTo>
                      <a:pt x="283" y="993"/>
                    </a:lnTo>
                    <a:lnTo>
                      <a:pt x="282" y="991"/>
                    </a:lnTo>
                    <a:lnTo>
                      <a:pt x="281" y="988"/>
                    </a:lnTo>
                    <a:lnTo>
                      <a:pt x="281" y="987"/>
                    </a:lnTo>
                    <a:lnTo>
                      <a:pt x="280" y="985"/>
                    </a:lnTo>
                    <a:lnTo>
                      <a:pt x="280" y="984"/>
                    </a:lnTo>
                    <a:lnTo>
                      <a:pt x="279" y="980"/>
                    </a:lnTo>
                    <a:lnTo>
                      <a:pt x="274" y="971"/>
                    </a:lnTo>
                    <a:lnTo>
                      <a:pt x="272" y="963"/>
                    </a:lnTo>
                    <a:lnTo>
                      <a:pt x="272" y="957"/>
                    </a:lnTo>
                    <a:lnTo>
                      <a:pt x="270" y="957"/>
                    </a:lnTo>
                    <a:lnTo>
                      <a:pt x="270" y="957"/>
                    </a:lnTo>
                    <a:lnTo>
                      <a:pt x="272" y="957"/>
                    </a:lnTo>
                    <a:lnTo>
                      <a:pt x="272" y="958"/>
                    </a:lnTo>
                    <a:lnTo>
                      <a:pt x="273" y="958"/>
                    </a:lnTo>
                    <a:lnTo>
                      <a:pt x="273" y="957"/>
                    </a:lnTo>
                    <a:lnTo>
                      <a:pt x="273" y="957"/>
                    </a:lnTo>
                    <a:lnTo>
                      <a:pt x="272" y="957"/>
                    </a:lnTo>
                    <a:lnTo>
                      <a:pt x="272" y="957"/>
                    </a:lnTo>
                    <a:lnTo>
                      <a:pt x="273" y="956"/>
                    </a:lnTo>
                    <a:lnTo>
                      <a:pt x="273" y="955"/>
                    </a:lnTo>
                    <a:lnTo>
                      <a:pt x="274" y="956"/>
                    </a:lnTo>
                    <a:lnTo>
                      <a:pt x="274" y="956"/>
                    </a:lnTo>
                    <a:lnTo>
                      <a:pt x="274" y="956"/>
                    </a:lnTo>
                    <a:lnTo>
                      <a:pt x="275" y="956"/>
                    </a:lnTo>
                    <a:lnTo>
                      <a:pt x="274" y="955"/>
                    </a:lnTo>
                    <a:lnTo>
                      <a:pt x="274" y="954"/>
                    </a:lnTo>
                    <a:lnTo>
                      <a:pt x="274" y="954"/>
                    </a:lnTo>
                    <a:lnTo>
                      <a:pt x="273" y="954"/>
                    </a:lnTo>
                    <a:lnTo>
                      <a:pt x="273" y="953"/>
                    </a:lnTo>
                    <a:lnTo>
                      <a:pt x="273" y="952"/>
                    </a:lnTo>
                    <a:lnTo>
                      <a:pt x="273" y="950"/>
                    </a:lnTo>
                    <a:lnTo>
                      <a:pt x="272" y="950"/>
                    </a:lnTo>
                    <a:lnTo>
                      <a:pt x="270" y="950"/>
                    </a:lnTo>
                    <a:lnTo>
                      <a:pt x="270" y="949"/>
                    </a:lnTo>
                    <a:lnTo>
                      <a:pt x="269" y="948"/>
                    </a:lnTo>
                    <a:lnTo>
                      <a:pt x="269" y="947"/>
                    </a:lnTo>
                    <a:lnTo>
                      <a:pt x="269" y="945"/>
                    </a:lnTo>
                    <a:lnTo>
                      <a:pt x="269" y="940"/>
                    </a:lnTo>
                    <a:lnTo>
                      <a:pt x="269" y="922"/>
                    </a:lnTo>
                    <a:lnTo>
                      <a:pt x="269" y="917"/>
                    </a:lnTo>
                    <a:lnTo>
                      <a:pt x="269" y="915"/>
                    </a:lnTo>
                    <a:lnTo>
                      <a:pt x="270" y="913"/>
                    </a:lnTo>
                    <a:lnTo>
                      <a:pt x="270" y="912"/>
                    </a:lnTo>
                    <a:lnTo>
                      <a:pt x="270" y="911"/>
                    </a:lnTo>
                    <a:lnTo>
                      <a:pt x="269" y="911"/>
                    </a:lnTo>
                    <a:lnTo>
                      <a:pt x="268" y="910"/>
                    </a:lnTo>
                    <a:lnTo>
                      <a:pt x="268" y="909"/>
                    </a:lnTo>
                    <a:lnTo>
                      <a:pt x="268" y="908"/>
                    </a:lnTo>
                    <a:lnTo>
                      <a:pt x="268" y="908"/>
                    </a:lnTo>
                    <a:lnTo>
                      <a:pt x="269" y="906"/>
                    </a:lnTo>
                    <a:lnTo>
                      <a:pt x="268" y="905"/>
                    </a:lnTo>
                    <a:lnTo>
                      <a:pt x="268" y="904"/>
                    </a:lnTo>
                    <a:lnTo>
                      <a:pt x="267" y="902"/>
                    </a:lnTo>
                    <a:lnTo>
                      <a:pt x="267" y="900"/>
                    </a:lnTo>
                    <a:lnTo>
                      <a:pt x="267" y="898"/>
                    </a:lnTo>
                    <a:lnTo>
                      <a:pt x="266" y="897"/>
                    </a:lnTo>
                    <a:lnTo>
                      <a:pt x="266" y="895"/>
                    </a:lnTo>
                    <a:lnTo>
                      <a:pt x="263" y="894"/>
                    </a:lnTo>
                    <a:lnTo>
                      <a:pt x="263" y="893"/>
                    </a:lnTo>
                    <a:lnTo>
                      <a:pt x="262" y="891"/>
                    </a:lnTo>
                    <a:lnTo>
                      <a:pt x="263" y="891"/>
                    </a:lnTo>
                    <a:lnTo>
                      <a:pt x="263" y="891"/>
                    </a:lnTo>
                    <a:lnTo>
                      <a:pt x="265" y="891"/>
                    </a:lnTo>
                    <a:lnTo>
                      <a:pt x="265" y="890"/>
                    </a:lnTo>
                    <a:lnTo>
                      <a:pt x="266" y="888"/>
                    </a:lnTo>
                    <a:lnTo>
                      <a:pt x="266" y="885"/>
                    </a:lnTo>
                    <a:lnTo>
                      <a:pt x="266" y="882"/>
                    </a:lnTo>
                    <a:lnTo>
                      <a:pt x="265" y="881"/>
                    </a:lnTo>
                    <a:lnTo>
                      <a:pt x="265" y="881"/>
                    </a:lnTo>
                    <a:lnTo>
                      <a:pt x="263" y="881"/>
                    </a:lnTo>
                    <a:lnTo>
                      <a:pt x="263" y="881"/>
                    </a:lnTo>
                    <a:lnTo>
                      <a:pt x="263" y="881"/>
                    </a:lnTo>
                    <a:lnTo>
                      <a:pt x="263" y="879"/>
                    </a:lnTo>
                    <a:lnTo>
                      <a:pt x="265" y="876"/>
                    </a:lnTo>
                    <a:lnTo>
                      <a:pt x="265" y="875"/>
                    </a:lnTo>
                    <a:lnTo>
                      <a:pt x="265" y="874"/>
                    </a:lnTo>
                    <a:lnTo>
                      <a:pt x="265" y="874"/>
                    </a:lnTo>
                    <a:lnTo>
                      <a:pt x="263" y="873"/>
                    </a:lnTo>
                    <a:lnTo>
                      <a:pt x="263" y="871"/>
                    </a:lnTo>
                    <a:lnTo>
                      <a:pt x="262" y="868"/>
                    </a:lnTo>
                    <a:lnTo>
                      <a:pt x="261" y="867"/>
                    </a:lnTo>
                    <a:lnTo>
                      <a:pt x="261" y="866"/>
                    </a:lnTo>
                    <a:lnTo>
                      <a:pt x="261" y="866"/>
                    </a:lnTo>
                    <a:lnTo>
                      <a:pt x="261" y="866"/>
                    </a:lnTo>
                    <a:lnTo>
                      <a:pt x="262" y="866"/>
                    </a:lnTo>
                    <a:lnTo>
                      <a:pt x="262" y="866"/>
                    </a:lnTo>
                    <a:lnTo>
                      <a:pt x="262" y="866"/>
                    </a:lnTo>
                    <a:lnTo>
                      <a:pt x="262" y="865"/>
                    </a:lnTo>
                    <a:lnTo>
                      <a:pt x="261" y="861"/>
                    </a:lnTo>
                    <a:lnTo>
                      <a:pt x="260" y="859"/>
                    </a:lnTo>
                    <a:lnTo>
                      <a:pt x="260" y="857"/>
                    </a:lnTo>
                    <a:lnTo>
                      <a:pt x="259" y="855"/>
                    </a:lnTo>
                    <a:lnTo>
                      <a:pt x="258" y="853"/>
                    </a:lnTo>
                    <a:lnTo>
                      <a:pt x="258" y="852"/>
                    </a:lnTo>
                    <a:lnTo>
                      <a:pt x="258" y="851"/>
                    </a:lnTo>
                    <a:lnTo>
                      <a:pt x="258" y="850"/>
                    </a:lnTo>
                    <a:lnTo>
                      <a:pt x="258" y="850"/>
                    </a:lnTo>
                    <a:lnTo>
                      <a:pt x="258" y="849"/>
                    </a:lnTo>
                    <a:lnTo>
                      <a:pt x="257" y="848"/>
                    </a:lnTo>
                    <a:lnTo>
                      <a:pt x="255" y="845"/>
                    </a:lnTo>
                    <a:lnTo>
                      <a:pt x="255" y="844"/>
                    </a:lnTo>
                    <a:lnTo>
                      <a:pt x="254" y="843"/>
                    </a:lnTo>
                    <a:lnTo>
                      <a:pt x="254" y="843"/>
                    </a:lnTo>
                    <a:lnTo>
                      <a:pt x="254" y="843"/>
                    </a:lnTo>
                    <a:lnTo>
                      <a:pt x="253" y="843"/>
                    </a:lnTo>
                    <a:lnTo>
                      <a:pt x="251" y="841"/>
                    </a:lnTo>
                    <a:lnTo>
                      <a:pt x="248" y="838"/>
                    </a:lnTo>
                    <a:lnTo>
                      <a:pt x="246" y="836"/>
                    </a:lnTo>
                    <a:lnTo>
                      <a:pt x="245" y="834"/>
                    </a:lnTo>
                    <a:lnTo>
                      <a:pt x="242" y="830"/>
                    </a:lnTo>
                    <a:lnTo>
                      <a:pt x="236" y="827"/>
                    </a:lnTo>
                    <a:lnTo>
                      <a:pt x="229" y="823"/>
                    </a:lnTo>
                    <a:lnTo>
                      <a:pt x="225" y="822"/>
                    </a:lnTo>
                    <a:lnTo>
                      <a:pt x="222" y="820"/>
                    </a:lnTo>
                    <a:lnTo>
                      <a:pt x="218" y="818"/>
                    </a:lnTo>
                    <a:lnTo>
                      <a:pt x="215" y="816"/>
                    </a:lnTo>
                    <a:lnTo>
                      <a:pt x="213" y="815"/>
                    </a:lnTo>
                    <a:lnTo>
                      <a:pt x="210" y="813"/>
                    </a:lnTo>
                    <a:lnTo>
                      <a:pt x="208" y="812"/>
                    </a:lnTo>
                    <a:lnTo>
                      <a:pt x="206" y="809"/>
                    </a:lnTo>
                    <a:lnTo>
                      <a:pt x="203" y="808"/>
                    </a:lnTo>
                    <a:lnTo>
                      <a:pt x="202" y="807"/>
                    </a:lnTo>
                    <a:lnTo>
                      <a:pt x="201" y="805"/>
                    </a:lnTo>
                    <a:lnTo>
                      <a:pt x="198" y="801"/>
                    </a:lnTo>
                    <a:lnTo>
                      <a:pt x="195" y="800"/>
                    </a:lnTo>
                    <a:lnTo>
                      <a:pt x="193" y="798"/>
                    </a:lnTo>
                    <a:lnTo>
                      <a:pt x="191" y="796"/>
                    </a:lnTo>
                    <a:lnTo>
                      <a:pt x="191" y="794"/>
                    </a:lnTo>
                    <a:lnTo>
                      <a:pt x="191" y="794"/>
                    </a:lnTo>
                    <a:lnTo>
                      <a:pt x="191" y="794"/>
                    </a:lnTo>
                    <a:lnTo>
                      <a:pt x="192" y="796"/>
                    </a:lnTo>
                    <a:lnTo>
                      <a:pt x="193" y="796"/>
                    </a:lnTo>
                    <a:lnTo>
                      <a:pt x="194" y="796"/>
                    </a:lnTo>
                    <a:lnTo>
                      <a:pt x="194" y="796"/>
                    </a:lnTo>
                    <a:lnTo>
                      <a:pt x="193" y="793"/>
                    </a:lnTo>
                    <a:lnTo>
                      <a:pt x="192" y="792"/>
                    </a:lnTo>
                    <a:lnTo>
                      <a:pt x="191" y="790"/>
                    </a:lnTo>
                    <a:lnTo>
                      <a:pt x="190" y="788"/>
                    </a:lnTo>
                    <a:lnTo>
                      <a:pt x="188" y="785"/>
                    </a:lnTo>
                    <a:lnTo>
                      <a:pt x="188" y="783"/>
                    </a:lnTo>
                    <a:lnTo>
                      <a:pt x="190" y="782"/>
                    </a:lnTo>
                    <a:lnTo>
                      <a:pt x="190" y="781"/>
                    </a:lnTo>
                    <a:lnTo>
                      <a:pt x="188" y="781"/>
                    </a:lnTo>
                    <a:lnTo>
                      <a:pt x="187" y="779"/>
                    </a:lnTo>
                    <a:lnTo>
                      <a:pt x="186" y="778"/>
                    </a:lnTo>
                    <a:lnTo>
                      <a:pt x="185" y="776"/>
                    </a:lnTo>
                    <a:lnTo>
                      <a:pt x="185" y="774"/>
                    </a:lnTo>
                    <a:lnTo>
                      <a:pt x="184" y="771"/>
                    </a:lnTo>
                    <a:lnTo>
                      <a:pt x="183" y="770"/>
                    </a:lnTo>
                    <a:lnTo>
                      <a:pt x="182" y="768"/>
                    </a:lnTo>
                    <a:lnTo>
                      <a:pt x="180" y="764"/>
                    </a:lnTo>
                    <a:lnTo>
                      <a:pt x="175" y="754"/>
                    </a:lnTo>
                    <a:lnTo>
                      <a:pt x="170" y="741"/>
                    </a:lnTo>
                    <a:lnTo>
                      <a:pt x="169" y="739"/>
                    </a:lnTo>
                    <a:lnTo>
                      <a:pt x="167" y="737"/>
                    </a:lnTo>
                    <a:lnTo>
                      <a:pt x="167" y="736"/>
                    </a:lnTo>
                    <a:lnTo>
                      <a:pt x="165" y="736"/>
                    </a:lnTo>
                    <a:lnTo>
                      <a:pt x="165" y="736"/>
                    </a:lnTo>
                    <a:lnTo>
                      <a:pt x="164" y="736"/>
                    </a:lnTo>
                    <a:lnTo>
                      <a:pt x="164" y="734"/>
                    </a:lnTo>
                    <a:lnTo>
                      <a:pt x="163" y="732"/>
                    </a:lnTo>
                    <a:lnTo>
                      <a:pt x="161" y="730"/>
                    </a:lnTo>
                    <a:lnTo>
                      <a:pt x="158" y="729"/>
                    </a:lnTo>
                    <a:lnTo>
                      <a:pt x="157" y="726"/>
                    </a:lnTo>
                    <a:lnTo>
                      <a:pt x="157" y="724"/>
                    </a:lnTo>
                    <a:lnTo>
                      <a:pt x="156" y="724"/>
                    </a:lnTo>
                    <a:lnTo>
                      <a:pt x="155" y="723"/>
                    </a:lnTo>
                    <a:lnTo>
                      <a:pt x="154" y="723"/>
                    </a:lnTo>
                    <a:lnTo>
                      <a:pt x="153" y="722"/>
                    </a:lnTo>
                    <a:lnTo>
                      <a:pt x="150" y="719"/>
                    </a:lnTo>
                    <a:lnTo>
                      <a:pt x="147" y="717"/>
                    </a:lnTo>
                    <a:lnTo>
                      <a:pt x="146" y="714"/>
                    </a:lnTo>
                    <a:lnTo>
                      <a:pt x="145" y="711"/>
                    </a:lnTo>
                    <a:lnTo>
                      <a:pt x="145" y="710"/>
                    </a:lnTo>
                    <a:lnTo>
                      <a:pt x="145" y="709"/>
                    </a:lnTo>
                    <a:lnTo>
                      <a:pt x="146" y="708"/>
                    </a:lnTo>
                    <a:lnTo>
                      <a:pt x="145" y="707"/>
                    </a:lnTo>
                    <a:lnTo>
                      <a:pt x="143" y="707"/>
                    </a:lnTo>
                    <a:lnTo>
                      <a:pt x="143" y="706"/>
                    </a:lnTo>
                    <a:lnTo>
                      <a:pt x="145" y="706"/>
                    </a:lnTo>
                    <a:lnTo>
                      <a:pt x="145" y="704"/>
                    </a:lnTo>
                    <a:lnTo>
                      <a:pt x="143" y="703"/>
                    </a:lnTo>
                    <a:lnTo>
                      <a:pt x="141" y="701"/>
                    </a:lnTo>
                    <a:lnTo>
                      <a:pt x="140" y="700"/>
                    </a:lnTo>
                    <a:lnTo>
                      <a:pt x="140" y="697"/>
                    </a:lnTo>
                    <a:lnTo>
                      <a:pt x="140" y="697"/>
                    </a:lnTo>
                    <a:lnTo>
                      <a:pt x="140" y="696"/>
                    </a:lnTo>
                    <a:lnTo>
                      <a:pt x="140" y="696"/>
                    </a:lnTo>
                    <a:lnTo>
                      <a:pt x="141" y="696"/>
                    </a:lnTo>
                    <a:lnTo>
                      <a:pt x="141" y="696"/>
                    </a:lnTo>
                    <a:lnTo>
                      <a:pt x="141" y="696"/>
                    </a:lnTo>
                    <a:lnTo>
                      <a:pt x="141" y="694"/>
                    </a:lnTo>
                    <a:lnTo>
                      <a:pt x="141" y="693"/>
                    </a:lnTo>
                    <a:lnTo>
                      <a:pt x="142" y="693"/>
                    </a:lnTo>
                    <a:lnTo>
                      <a:pt x="142" y="692"/>
                    </a:lnTo>
                    <a:lnTo>
                      <a:pt x="141" y="691"/>
                    </a:lnTo>
                    <a:lnTo>
                      <a:pt x="141" y="691"/>
                    </a:lnTo>
                    <a:lnTo>
                      <a:pt x="142" y="689"/>
                    </a:lnTo>
                    <a:lnTo>
                      <a:pt x="143" y="688"/>
                    </a:lnTo>
                    <a:lnTo>
                      <a:pt x="145" y="687"/>
                    </a:lnTo>
                    <a:lnTo>
                      <a:pt x="146" y="686"/>
                    </a:lnTo>
                    <a:lnTo>
                      <a:pt x="147" y="686"/>
                    </a:lnTo>
                    <a:lnTo>
                      <a:pt x="148" y="686"/>
                    </a:lnTo>
                    <a:lnTo>
                      <a:pt x="148" y="686"/>
                    </a:lnTo>
                    <a:lnTo>
                      <a:pt x="149" y="684"/>
                    </a:lnTo>
                    <a:lnTo>
                      <a:pt x="150" y="681"/>
                    </a:lnTo>
                    <a:lnTo>
                      <a:pt x="153" y="679"/>
                    </a:lnTo>
                    <a:lnTo>
                      <a:pt x="154" y="677"/>
                    </a:lnTo>
                    <a:lnTo>
                      <a:pt x="154" y="677"/>
                    </a:lnTo>
                    <a:lnTo>
                      <a:pt x="154" y="676"/>
                    </a:lnTo>
                    <a:lnTo>
                      <a:pt x="153" y="674"/>
                    </a:lnTo>
                    <a:lnTo>
                      <a:pt x="153" y="674"/>
                    </a:lnTo>
                    <a:lnTo>
                      <a:pt x="153" y="673"/>
                    </a:lnTo>
                    <a:lnTo>
                      <a:pt x="152" y="673"/>
                    </a:lnTo>
                    <a:lnTo>
                      <a:pt x="152" y="673"/>
                    </a:lnTo>
                    <a:lnTo>
                      <a:pt x="150" y="673"/>
                    </a:lnTo>
                    <a:lnTo>
                      <a:pt x="149" y="674"/>
                    </a:lnTo>
                    <a:lnTo>
                      <a:pt x="149" y="676"/>
                    </a:lnTo>
                    <a:lnTo>
                      <a:pt x="149" y="677"/>
                    </a:lnTo>
                    <a:lnTo>
                      <a:pt x="148" y="677"/>
                    </a:lnTo>
                    <a:lnTo>
                      <a:pt x="148" y="677"/>
                    </a:lnTo>
                    <a:lnTo>
                      <a:pt x="148" y="677"/>
                    </a:lnTo>
                    <a:lnTo>
                      <a:pt x="147" y="676"/>
                    </a:lnTo>
                    <a:lnTo>
                      <a:pt x="147" y="674"/>
                    </a:lnTo>
                    <a:lnTo>
                      <a:pt x="146" y="674"/>
                    </a:lnTo>
                    <a:lnTo>
                      <a:pt x="146" y="674"/>
                    </a:lnTo>
                    <a:lnTo>
                      <a:pt x="146" y="674"/>
                    </a:lnTo>
                    <a:lnTo>
                      <a:pt x="146" y="674"/>
                    </a:lnTo>
                    <a:lnTo>
                      <a:pt x="147" y="673"/>
                    </a:lnTo>
                    <a:lnTo>
                      <a:pt x="147" y="673"/>
                    </a:lnTo>
                    <a:lnTo>
                      <a:pt x="147" y="672"/>
                    </a:lnTo>
                    <a:lnTo>
                      <a:pt x="146" y="672"/>
                    </a:lnTo>
                    <a:lnTo>
                      <a:pt x="146" y="672"/>
                    </a:lnTo>
                    <a:lnTo>
                      <a:pt x="146" y="672"/>
                    </a:lnTo>
                    <a:lnTo>
                      <a:pt x="146" y="671"/>
                    </a:lnTo>
                    <a:lnTo>
                      <a:pt x="146" y="671"/>
                    </a:lnTo>
                    <a:lnTo>
                      <a:pt x="145" y="670"/>
                    </a:lnTo>
                    <a:lnTo>
                      <a:pt x="145" y="670"/>
                    </a:lnTo>
                    <a:lnTo>
                      <a:pt x="145" y="669"/>
                    </a:lnTo>
                    <a:lnTo>
                      <a:pt x="146" y="669"/>
                    </a:lnTo>
                    <a:lnTo>
                      <a:pt x="146" y="667"/>
                    </a:lnTo>
                    <a:lnTo>
                      <a:pt x="146" y="666"/>
                    </a:lnTo>
                    <a:lnTo>
                      <a:pt x="146" y="665"/>
                    </a:lnTo>
                    <a:lnTo>
                      <a:pt x="146" y="665"/>
                    </a:lnTo>
                    <a:lnTo>
                      <a:pt x="147" y="665"/>
                    </a:lnTo>
                    <a:lnTo>
                      <a:pt x="146" y="665"/>
                    </a:lnTo>
                    <a:lnTo>
                      <a:pt x="146" y="664"/>
                    </a:lnTo>
                    <a:lnTo>
                      <a:pt x="146" y="664"/>
                    </a:lnTo>
                    <a:lnTo>
                      <a:pt x="146" y="663"/>
                    </a:lnTo>
                    <a:lnTo>
                      <a:pt x="146" y="663"/>
                    </a:lnTo>
                    <a:lnTo>
                      <a:pt x="143" y="663"/>
                    </a:lnTo>
                    <a:lnTo>
                      <a:pt x="143" y="662"/>
                    </a:lnTo>
                    <a:lnTo>
                      <a:pt x="145" y="659"/>
                    </a:lnTo>
                    <a:lnTo>
                      <a:pt x="146" y="657"/>
                    </a:lnTo>
                    <a:lnTo>
                      <a:pt x="147" y="655"/>
                    </a:lnTo>
                    <a:lnTo>
                      <a:pt x="149" y="652"/>
                    </a:lnTo>
                    <a:lnTo>
                      <a:pt x="149" y="650"/>
                    </a:lnTo>
                    <a:lnTo>
                      <a:pt x="150" y="649"/>
                    </a:lnTo>
                    <a:lnTo>
                      <a:pt x="150" y="648"/>
                    </a:lnTo>
                    <a:lnTo>
                      <a:pt x="149" y="648"/>
                    </a:lnTo>
                    <a:lnTo>
                      <a:pt x="149" y="648"/>
                    </a:lnTo>
                    <a:lnTo>
                      <a:pt x="149" y="647"/>
                    </a:lnTo>
                    <a:lnTo>
                      <a:pt x="149" y="647"/>
                    </a:lnTo>
                    <a:lnTo>
                      <a:pt x="150" y="645"/>
                    </a:lnTo>
                    <a:lnTo>
                      <a:pt x="150" y="644"/>
                    </a:lnTo>
                    <a:lnTo>
                      <a:pt x="150" y="643"/>
                    </a:lnTo>
                    <a:lnTo>
                      <a:pt x="150" y="642"/>
                    </a:lnTo>
                    <a:lnTo>
                      <a:pt x="150" y="642"/>
                    </a:lnTo>
                    <a:lnTo>
                      <a:pt x="149" y="643"/>
                    </a:lnTo>
                    <a:lnTo>
                      <a:pt x="149" y="642"/>
                    </a:lnTo>
                    <a:lnTo>
                      <a:pt x="149" y="642"/>
                    </a:lnTo>
                    <a:lnTo>
                      <a:pt x="149" y="641"/>
                    </a:lnTo>
                    <a:lnTo>
                      <a:pt x="150" y="641"/>
                    </a:lnTo>
                    <a:lnTo>
                      <a:pt x="152" y="641"/>
                    </a:lnTo>
                    <a:lnTo>
                      <a:pt x="153" y="640"/>
                    </a:lnTo>
                    <a:lnTo>
                      <a:pt x="154" y="639"/>
                    </a:lnTo>
                    <a:lnTo>
                      <a:pt x="155" y="637"/>
                    </a:lnTo>
                    <a:lnTo>
                      <a:pt x="156" y="637"/>
                    </a:lnTo>
                    <a:lnTo>
                      <a:pt x="158" y="637"/>
                    </a:lnTo>
                    <a:lnTo>
                      <a:pt x="160" y="635"/>
                    </a:lnTo>
                    <a:lnTo>
                      <a:pt x="160" y="635"/>
                    </a:lnTo>
                    <a:lnTo>
                      <a:pt x="160" y="635"/>
                    </a:lnTo>
                    <a:lnTo>
                      <a:pt x="158" y="635"/>
                    </a:lnTo>
                    <a:lnTo>
                      <a:pt x="158" y="635"/>
                    </a:lnTo>
                    <a:lnTo>
                      <a:pt x="158" y="635"/>
                    </a:lnTo>
                    <a:lnTo>
                      <a:pt x="158" y="634"/>
                    </a:lnTo>
                    <a:lnTo>
                      <a:pt x="160" y="634"/>
                    </a:lnTo>
                    <a:lnTo>
                      <a:pt x="161" y="632"/>
                    </a:lnTo>
                    <a:lnTo>
                      <a:pt x="162" y="630"/>
                    </a:lnTo>
                    <a:lnTo>
                      <a:pt x="163" y="630"/>
                    </a:lnTo>
                    <a:lnTo>
                      <a:pt x="164" y="630"/>
                    </a:lnTo>
                    <a:lnTo>
                      <a:pt x="164" y="630"/>
                    </a:lnTo>
                    <a:lnTo>
                      <a:pt x="164" y="629"/>
                    </a:lnTo>
                    <a:lnTo>
                      <a:pt x="164" y="628"/>
                    </a:lnTo>
                    <a:lnTo>
                      <a:pt x="164" y="627"/>
                    </a:lnTo>
                    <a:lnTo>
                      <a:pt x="163" y="626"/>
                    </a:lnTo>
                    <a:lnTo>
                      <a:pt x="163" y="626"/>
                    </a:lnTo>
                    <a:lnTo>
                      <a:pt x="162" y="625"/>
                    </a:lnTo>
                    <a:lnTo>
                      <a:pt x="163" y="622"/>
                    </a:lnTo>
                    <a:lnTo>
                      <a:pt x="164" y="621"/>
                    </a:lnTo>
                    <a:lnTo>
                      <a:pt x="167" y="621"/>
                    </a:lnTo>
                    <a:lnTo>
                      <a:pt x="168" y="620"/>
                    </a:lnTo>
                    <a:lnTo>
                      <a:pt x="170" y="620"/>
                    </a:lnTo>
                    <a:lnTo>
                      <a:pt x="171" y="620"/>
                    </a:lnTo>
                    <a:lnTo>
                      <a:pt x="171" y="619"/>
                    </a:lnTo>
                    <a:lnTo>
                      <a:pt x="171" y="618"/>
                    </a:lnTo>
                    <a:lnTo>
                      <a:pt x="172" y="617"/>
                    </a:lnTo>
                    <a:lnTo>
                      <a:pt x="173" y="615"/>
                    </a:lnTo>
                    <a:lnTo>
                      <a:pt x="175" y="614"/>
                    </a:lnTo>
                    <a:lnTo>
                      <a:pt x="176" y="612"/>
                    </a:lnTo>
                    <a:lnTo>
                      <a:pt x="178" y="610"/>
                    </a:lnTo>
                    <a:lnTo>
                      <a:pt x="180" y="609"/>
                    </a:lnTo>
                    <a:lnTo>
                      <a:pt x="179" y="609"/>
                    </a:lnTo>
                    <a:lnTo>
                      <a:pt x="178" y="607"/>
                    </a:lnTo>
                    <a:lnTo>
                      <a:pt x="179" y="607"/>
                    </a:lnTo>
                    <a:lnTo>
                      <a:pt x="179" y="607"/>
                    </a:lnTo>
                    <a:lnTo>
                      <a:pt x="178" y="607"/>
                    </a:lnTo>
                    <a:lnTo>
                      <a:pt x="178" y="607"/>
                    </a:lnTo>
                    <a:lnTo>
                      <a:pt x="178" y="607"/>
                    </a:lnTo>
                    <a:lnTo>
                      <a:pt x="178" y="609"/>
                    </a:lnTo>
                    <a:lnTo>
                      <a:pt x="177" y="607"/>
                    </a:lnTo>
                    <a:lnTo>
                      <a:pt x="177" y="607"/>
                    </a:lnTo>
                    <a:lnTo>
                      <a:pt x="175" y="606"/>
                    </a:lnTo>
                    <a:lnTo>
                      <a:pt x="175" y="605"/>
                    </a:lnTo>
                    <a:lnTo>
                      <a:pt x="175" y="603"/>
                    </a:lnTo>
                    <a:lnTo>
                      <a:pt x="175" y="602"/>
                    </a:lnTo>
                    <a:lnTo>
                      <a:pt x="176" y="600"/>
                    </a:lnTo>
                    <a:lnTo>
                      <a:pt x="176" y="598"/>
                    </a:lnTo>
                    <a:lnTo>
                      <a:pt x="176" y="596"/>
                    </a:lnTo>
                    <a:lnTo>
                      <a:pt x="175" y="594"/>
                    </a:lnTo>
                    <a:lnTo>
                      <a:pt x="175" y="591"/>
                    </a:lnTo>
                    <a:lnTo>
                      <a:pt x="173" y="589"/>
                    </a:lnTo>
                    <a:lnTo>
                      <a:pt x="173" y="589"/>
                    </a:lnTo>
                    <a:lnTo>
                      <a:pt x="172" y="589"/>
                    </a:lnTo>
                    <a:lnTo>
                      <a:pt x="173" y="588"/>
                    </a:lnTo>
                    <a:lnTo>
                      <a:pt x="173" y="587"/>
                    </a:lnTo>
                    <a:lnTo>
                      <a:pt x="175" y="587"/>
                    </a:lnTo>
                    <a:lnTo>
                      <a:pt x="175" y="585"/>
                    </a:lnTo>
                    <a:lnTo>
                      <a:pt x="176" y="584"/>
                    </a:lnTo>
                    <a:lnTo>
                      <a:pt x="175" y="583"/>
                    </a:lnTo>
                    <a:lnTo>
                      <a:pt x="175" y="581"/>
                    </a:lnTo>
                    <a:lnTo>
                      <a:pt x="175" y="580"/>
                    </a:lnTo>
                    <a:lnTo>
                      <a:pt x="175" y="580"/>
                    </a:lnTo>
                    <a:lnTo>
                      <a:pt x="175" y="580"/>
                    </a:lnTo>
                    <a:lnTo>
                      <a:pt x="175" y="580"/>
                    </a:lnTo>
                    <a:lnTo>
                      <a:pt x="175" y="580"/>
                    </a:lnTo>
                    <a:lnTo>
                      <a:pt x="175" y="577"/>
                    </a:lnTo>
                    <a:lnTo>
                      <a:pt x="175" y="576"/>
                    </a:lnTo>
                    <a:lnTo>
                      <a:pt x="173" y="575"/>
                    </a:lnTo>
                    <a:lnTo>
                      <a:pt x="173" y="576"/>
                    </a:lnTo>
                    <a:lnTo>
                      <a:pt x="173" y="576"/>
                    </a:lnTo>
                    <a:lnTo>
                      <a:pt x="172" y="574"/>
                    </a:lnTo>
                    <a:lnTo>
                      <a:pt x="171" y="574"/>
                    </a:lnTo>
                    <a:lnTo>
                      <a:pt x="170" y="573"/>
                    </a:lnTo>
                    <a:lnTo>
                      <a:pt x="170" y="573"/>
                    </a:lnTo>
                    <a:lnTo>
                      <a:pt x="170" y="570"/>
                    </a:lnTo>
                    <a:lnTo>
                      <a:pt x="170" y="570"/>
                    </a:lnTo>
                    <a:lnTo>
                      <a:pt x="169" y="569"/>
                    </a:lnTo>
                    <a:lnTo>
                      <a:pt x="169" y="569"/>
                    </a:lnTo>
                    <a:lnTo>
                      <a:pt x="168" y="568"/>
                    </a:lnTo>
                    <a:lnTo>
                      <a:pt x="168" y="567"/>
                    </a:lnTo>
                    <a:lnTo>
                      <a:pt x="169" y="566"/>
                    </a:lnTo>
                    <a:lnTo>
                      <a:pt x="169" y="565"/>
                    </a:lnTo>
                    <a:lnTo>
                      <a:pt x="168" y="563"/>
                    </a:lnTo>
                    <a:lnTo>
                      <a:pt x="169" y="563"/>
                    </a:lnTo>
                    <a:lnTo>
                      <a:pt x="170" y="562"/>
                    </a:lnTo>
                    <a:lnTo>
                      <a:pt x="170" y="561"/>
                    </a:lnTo>
                    <a:lnTo>
                      <a:pt x="170" y="560"/>
                    </a:lnTo>
                    <a:lnTo>
                      <a:pt x="171" y="560"/>
                    </a:lnTo>
                    <a:lnTo>
                      <a:pt x="171" y="560"/>
                    </a:lnTo>
                    <a:lnTo>
                      <a:pt x="172" y="560"/>
                    </a:lnTo>
                    <a:lnTo>
                      <a:pt x="173" y="560"/>
                    </a:lnTo>
                    <a:lnTo>
                      <a:pt x="173" y="559"/>
                    </a:lnTo>
                    <a:lnTo>
                      <a:pt x="173" y="557"/>
                    </a:lnTo>
                    <a:lnTo>
                      <a:pt x="172" y="558"/>
                    </a:lnTo>
                    <a:lnTo>
                      <a:pt x="171" y="559"/>
                    </a:lnTo>
                    <a:lnTo>
                      <a:pt x="170" y="559"/>
                    </a:lnTo>
                    <a:lnTo>
                      <a:pt x="168" y="560"/>
                    </a:lnTo>
                    <a:lnTo>
                      <a:pt x="168" y="559"/>
                    </a:lnTo>
                    <a:lnTo>
                      <a:pt x="169" y="558"/>
                    </a:lnTo>
                    <a:lnTo>
                      <a:pt x="169" y="558"/>
                    </a:lnTo>
                    <a:lnTo>
                      <a:pt x="168" y="557"/>
                    </a:lnTo>
                    <a:lnTo>
                      <a:pt x="167" y="557"/>
                    </a:lnTo>
                    <a:lnTo>
                      <a:pt x="165" y="557"/>
                    </a:lnTo>
                    <a:lnTo>
                      <a:pt x="164" y="557"/>
                    </a:lnTo>
                    <a:lnTo>
                      <a:pt x="164" y="557"/>
                    </a:lnTo>
                    <a:lnTo>
                      <a:pt x="164" y="555"/>
                    </a:lnTo>
                    <a:lnTo>
                      <a:pt x="163" y="554"/>
                    </a:lnTo>
                    <a:lnTo>
                      <a:pt x="162" y="554"/>
                    </a:lnTo>
                    <a:lnTo>
                      <a:pt x="160" y="555"/>
                    </a:lnTo>
                    <a:lnTo>
                      <a:pt x="157" y="555"/>
                    </a:lnTo>
                    <a:lnTo>
                      <a:pt x="155" y="555"/>
                    </a:lnTo>
                    <a:lnTo>
                      <a:pt x="155" y="555"/>
                    </a:lnTo>
                    <a:lnTo>
                      <a:pt x="156" y="557"/>
                    </a:lnTo>
                    <a:lnTo>
                      <a:pt x="155" y="557"/>
                    </a:lnTo>
                    <a:lnTo>
                      <a:pt x="155" y="557"/>
                    </a:lnTo>
                    <a:lnTo>
                      <a:pt x="154" y="558"/>
                    </a:lnTo>
                    <a:lnTo>
                      <a:pt x="152" y="559"/>
                    </a:lnTo>
                    <a:lnTo>
                      <a:pt x="149" y="562"/>
                    </a:lnTo>
                    <a:lnTo>
                      <a:pt x="148" y="562"/>
                    </a:lnTo>
                    <a:lnTo>
                      <a:pt x="148" y="563"/>
                    </a:lnTo>
                    <a:lnTo>
                      <a:pt x="149" y="563"/>
                    </a:lnTo>
                    <a:lnTo>
                      <a:pt x="150" y="565"/>
                    </a:lnTo>
                    <a:lnTo>
                      <a:pt x="150" y="566"/>
                    </a:lnTo>
                    <a:lnTo>
                      <a:pt x="150" y="566"/>
                    </a:lnTo>
                    <a:lnTo>
                      <a:pt x="150" y="566"/>
                    </a:lnTo>
                    <a:lnTo>
                      <a:pt x="150" y="567"/>
                    </a:lnTo>
                    <a:lnTo>
                      <a:pt x="150" y="567"/>
                    </a:lnTo>
                    <a:lnTo>
                      <a:pt x="150" y="567"/>
                    </a:lnTo>
                    <a:lnTo>
                      <a:pt x="150" y="569"/>
                    </a:lnTo>
                    <a:lnTo>
                      <a:pt x="149" y="569"/>
                    </a:lnTo>
                    <a:lnTo>
                      <a:pt x="147" y="570"/>
                    </a:lnTo>
                    <a:lnTo>
                      <a:pt x="146" y="569"/>
                    </a:lnTo>
                    <a:lnTo>
                      <a:pt x="146" y="569"/>
                    </a:lnTo>
                    <a:lnTo>
                      <a:pt x="143" y="568"/>
                    </a:lnTo>
                    <a:lnTo>
                      <a:pt x="143" y="566"/>
                    </a:lnTo>
                    <a:lnTo>
                      <a:pt x="142" y="565"/>
                    </a:lnTo>
                    <a:lnTo>
                      <a:pt x="143" y="563"/>
                    </a:lnTo>
                    <a:lnTo>
                      <a:pt x="142" y="565"/>
                    </a:lnTo>
                    <a:lnTo>
                      <a:pt x="142" y="566"/>
                    </a:lnTo>
                    <a:lnTo>
                      <a:pt x="142" y="567"/>
                    </a:lnTo>
                    <a:lnTo>
                      <a:pt x="141" y="567"/>
                    </a:lnTo>
                    <a:lnTo>
                      <a:pt x="141" y="567"/>
                    </a:lnTo>
                    <a:lnTo>
                      <a:pt x="140" y="566"/>
                    </a:lnTo>
                    <a:lnTo>
                      <a:pt x="139" y="565"/>
                    </a:lnTo>
                    <a:lnTo>
                      <a:pt x="138" y="563"/>
                    </a:lnTo>
                    <a:lnTo>
                      <a:pt x="138" y="562"/>
                    </a:lnTo>
                    <a:lnTo>
                      <a:pt x="137" y="561"/>
                    </a:lnTo>
                    <a:lnTo>
                      <a:pt x="135" y="560"/>
                    </a:lnTo>
                    <a:lnTo>
                      <a:pt x="133" y="560"/>
                    </a:lnTo>
                    <a:lnTo>
                      <a:pt x="132" y="560"/>
                    </a:lnTo>
                    <a:lnTo>
                      <a:pt x="131" y="560"/>
                    </a:lnTo>
                    <a:lnTo>
                      <a:pt x="131" y="559"/>
                    </a:lnTo>
                    <a:lnTo>
                      <a:pt x="131" y="559"/>
                    </a:lnTo>
                    <a:lnTo>
                      <a:pt x="130" y="559"/>
                    </a:lnTo>
                    <a:lnTo>
                      <a:pt x="130" y="559"/>
                    </a:lnTo>
                    <a:lnTo>
                      <a:pt x="128" y="559"/>
                    </a:lnTo>
                    <a:lnTo>
                      <a:pt x="127" y="560"/>
                    </a:lnTo>
                    <a:lnTo>
                      <a:pt x="127" y="561"/>
                    </a:lnTo>
                    <a:lnTo>
                      <a:pt x="127" y="561"/>
                    </a:lnTo>
                    <a:lnTo>
                      <a:pt x="126" y="562"/>
                    </a:lnTo>
                    <a:lnTo>
                      <a:pt x="126" y="562"/>
                    </a:lnTo>
                    <a:lnTo>
                      <a:pt x="126" y="560"/>
                    </a:lnTo>
                    <a:lnTo>
                      <a:pt x="126" y="560"/>
                    </a:lnTo>
                    <a:lnTo>
                      <a:pt x="125" y="559"/>
                    </a:lnTo>
                    <a:lnTo>
                      <a:pt x="124" y="559"/>
                    </a:lnTo>
                    <a:lnTo>
                      <a:pt x="124" y="558"/>
                    </a:lnTo>
                    <a:lnTo>
                      <a:pt x="124" y="558"/>
                    </a:lnTo>
                    <a:lnTo>
                      <a:pt x="125" y="558"/>
                    </a:lnTo>
                    <a:lnTo>
                      <a:pt x="125" y="557"/>
                    </a:lnTo>
                    <a:lnTo>
                      <a:pt x="124" y="557"/>
                    </a:lnTo>
                    <a:lnTo>
                      <a:pt x="123" y="555"/>
                    </a:lnTo>
                    <a:lnTo>
                      <a:pt x="121" y="555"/>
                    </a:lnTo>
                    <a:lnTo>
                      <a:pt x="121" y="555"/>
                    </a:lnTo>
                    <a:lnTo>
                      <a:pt x="123" y="557"/>
                    </a:lnTo>
                    <a:lnTo>
                      <a:pt x="123" y="558"/>
                    </a:lnTo>
                    <a:lnTo>
                      <a:pt x="123" y="558"/>
                    </a:lnTo>
                    <a:lnTo>
                      <a:pt x="121" y="558"/>
                    </a:lnTo>
                    <a:lnTo>
                      <a:pt x="120" y="557"/>
                    </a:lnTo>
                    <a:lnTo>
                      <a:pt x="119" y="557"/>
                    </a:lnTo>
                    <a:lnTo>
                      <a:pt x="119" y="557"/>
                    </a:lnTo>
                    <a:lnTo>
                      <a:pt x="119" y="555"/>
                    </a:lnTo>
                    <a:lnTo>
                      <a:pt x="120" y="555"/>
                    </a:lnTo>
                    <a:lnTo>
                      <a:pt x="120" y="554"/>
                    </a:lnTo>
                    <a:lnTo>
                      <a:pt x="120" y="554"/>
                    </a:lnTo>
                    <a:lnTo>
                      <a:pt x="120" y="553"/>
                    </a:lnTo>
                    <a:lnTo>
                      <a:pt x="120" y="552"/>
                    </a:lnTo>
                    <a:lnTo>
                      <a:pt x="118" y="550"/>
                    </a:lnTo>
                    <a:lnTo>
                      <a:pt x="116" y="548"/>
                    </a:lnTo>
                    <a:lnTo>
                      <a:pt x="115" y="547"/>
                    </a:lnTo>
                    <a:lnTo>
                      <a:pt x="112" y="546"/>
                    </a:lnTo>
                    <a:lnTo>
                      <a:pt x="111" y="545"/>
                    </a:lnTo>
                    <a:lnTo>
                      <a:pt x="111" y="545"/>
                    </a:lnTo>
                    <a:lnTo>
                      <a:pt x="111" y="544"/>
                    </a:lnTo>
                    <a:lnTo>
                      <a:pt x="111" y="544"/>
                    </a:lnTo>
                    <a:lnTo>
                      <a:pt x="110" y="544"/>
                    </a:lnTo>
                    <a:lnTo>
                      <a:pt x="109" y="543"/>
                    </a:lnTo>
                    <a:lnTo>
                      <a:pt x="106" y="542"/>
                    </a:lnTo>
                    <a:lnTo>
                      <a:pt x="106" y="542"/>
                    </a:lnTo>
                    <a:lnTo>
                      <a:pt x="106" y="543"/>
                    </a:lnTo>
                    <a:lnTo>
                      <a:pt x="108" y="543"/>
                    </a:lnTo>
                    <a:lnTo>
                      <a:pt x="109" y="543"/>
                    </a:lnTo>
                    <a:lnTo>
                      <a:pt x="109" y="544"/>
                    </a:lnTo>
                    <a:lnTo>
                      <a:pt x="109" y="544"/>
                    </a:lnTo>
                    <a:lnTo>
                      <a:pt x="109" y="545"/>
                    </a:lnTo>
                    <a:lnTo>
                      <a:pt x="108" y="545"/>
                    </a:lnTo>
                    <a:lnTo>
                      <a:pt x="106" y="545"/>
                    </a:lnTo>
                    <a:lnTo>
                      <a:pt x="105" y="544"/>
                    </a:lnTo>
                    <a:lnTo>
                      <a:pt x="103" y="544"/>
                    </a:lnTo>
                    <a:lnTo>
                      <a:pt x="102" y="543"/>
                    </a:lnTo>
                    <a:lnTo>
                      <a:pt x="102" y="542"/>
                    </a:lnTo>
                    <a:lnTo>
                      <a:pt x="103" y="539"/>
                    </a:lnTo>
                    <a:lnTo>
                      <a:pt x="103" y="539"/>
                    </a:lnTo>
                    <a:lnTo>
                      <a:pt x="103" y="538"/>
                    </a:lnTo>
                    <a:lnTo>
                      <a:pt x="103" y="537"/>
                    </a:lnTo>
                    <a:lnTo>
                      <a:pt x="103" y="536"/>
                    </a:lnTo>
                    <a:lnTo>
                      <a:pt x="103" y="535"/>
                    </a:lnTo>
                    <a:lnTo>
                      <a:pt x="102" y="535"/>
                    </a:lnTo>
                    <a:lnTo>
                      <a:pt x="101" y="535"/>
                    </a:lnTo>
                    <a:lnTo>
                      <a:pt x="100" y="533"/>
                    </a:lnTo>
                    <a:lnTo>
                      <a:pt x="100" y="533"/>
                    </a:lnTo>
                    <a:lnTo>
                      <a:pt x="101" y="533"/>
                    </a:lnTo>
                    <a:lnTo>
                      <a:pt x="102" y="533"/>
                    </a:lnTo>
                    <a:lnTo>
                      <a:pt x="103" y="533"/>
                    </a:lnTo>
                    <a:lnTo>
                      <a:pt x="103" y="532"/>
                    </a:lnTo>
                    <a:lnTo>
                      <a:pt x="102" y="531"/>
                    </a:lnTo>
                    <a:lnTo>
                      <a:pt x="102" y="530"/>
                    </a:lnTo>
                    <a:lnTo>
                      <a:pt x="101" y="529"/>
                    </a:lnTo>
                    <a:lnTo>
                      <a:pt x="101" y="528"/>
                    </a:lnTo>
                    <a:lnTo>
                      <a:pt x="100" y="527"/>
                    </a:lnTo>
                    <a:lnTo>
                      <a:pt x="98" y="525"/>
                    </a:lnTo>
                    <a:lnTo>
                      <a:pt x="96" y="524"/>
                    </a:lnTo>
                    <a:lnTo>
                      <a:pt x="95" y="522"/>
                    </a:lnTo>
                    <a:lnTo>
                      <a:pt x="94" y="520"/>
                    </a:lnTo>
                    <a:lnTo>
                      <a:pt x="94" y="517"/>
                    </a:lnTo>
                    <a:lnTo>
                      <a:pt x="93" y="515"/>
                    </a:lnTo>
                    <a:lnTo>
                      <a:pt x="93" y="513"/>
                    </a:lnTo>
                    <a:lnTo>
                      <a:pt x="91" y="512"/>
                    </a:lnTo>
                    <a:lnTo>
                      <a:pt x="90" y="510"/>
                    </a:lnTo>
                    <a:lnTo>
                      <a:pt x="89" y="509"/>
                    </a:lnTo>
                    <a:lnTo>
                      <a:pt x="90" y="508"/>
                    </a:lnTo>
                    <a:lnTo>
                      <a:pt x="90" y="508"/>
                    </a:lnTo>
                    <a:lnTo>
                      <a:pt x="91" y="509"/>
                    </a:lnTo>
                    <a:lnTo>
                      <a:pt x="93" y="509"/>
                    </a:lnTo>
                    <a:lnTo>
                      <a:pt x="93" y="509"/>
                    </a:lnTo>
                    <a:lnTo>
                      <a:pt x="93" y="509"/>
                    </a:lnTo>
                    <a:lnTo>
                      <a:pt x="91" y="508"/>
                    </a:lnTo>
                    <a:lnTo>
                      <a:pt x="91" y="508"/>
                    </a:lnTo>
                    <a:lnTo>
                      <a:pt x="90" y="508"/>
                    </a:lnTo>
                    <a:lnTo>
                      <a:pt x="90" y="507"/>
                    </a:lnTo>
                    <a:lnTo>
                      <a:pt x="90" y="506"/>
                    </a:lnTo>
                    <a:lnTo>
                      <a:pt x="89" y="506"/>
                    </a:lnTo>
                    <a:lnTo>
                      <a:pt x="89" y="506"/>
                    </a:lnTo>
                    <a:lnTo>
                      <a:pt x="88" y="506"/>
                    </a:lnTo>
                    <a:lnTo>
                      <a:pt x="85" y="507"/>
                    </a:lnTo>
                    <a:lnTo>
                      <a:pt x="81" y="508"/>
                    </a:lnTo>
                    <a:lnTo>
                      <a:pt x="80" y="508"/>
                    </a:lnTo>
                    <a:lnTo>
                      <a:pt x="79" y="507"/>
                    </a:lnTo>
                    <a:lnTo>
                      <a:pt x="78" y="507"/>
                    </a:lnTo>
                    <a:lnTo>
                      <a:pt x="75" y="506"/>
                    </a:lnTo>
                    <a:lnTo>
                      <a:pt x="74" y="505"/>
                    </a:lnTo>
                    <a:lnTo>
                      <a:pt x="72" y="505"/>
                    </a:lnTo>
                    <a:lnTo>
                      <a:pt x="70" y="505"/>
                    </a:lnTo>
                    <a:lnTo>
                      <a:pt x="68" y="505"/>
                    </a:lnTo>
                    <a:lnTo>
                      <a:pt x="68" y="503"/>
                    </a:lnTo>
                    <a:lnTo>
                      <a:pt x="68" y="503"/>
                    </a:lnTo>
                    <a:lnTo>
                      <a:pt x="66" y="502"/>
                    </a:lnTo>
                    <a:lnTo>
                      <a:pt x="63" y="502"/>
                    </a:lnTo>
                    <a:lnTo>
                      <a:pt x="60" y="501"/>
                    </a:lnTo>
                    <a:lnTo>
                      <a:pt x="58" y="501"/>
                    </a:lnTo>
                    <a:lnTo>
                      <a:pt x="57" y="500"/>
                    </a:lnTo>
                    <a:lnTo>
                      <a:pt x="55" y="499"/>
                    </a:lnTo>
                    <a:lnTo>
                      <a:pt x="53" y="497"/>
                    </a:lnTo>
                    <a:lnTo>
                      <a:pt x="51" y="494"/>
                    </a:lnTo>
                    <a:lnTo>
                      <a:pt x="50" y="493"/>
                    </a:lnTo>
                    <a:lnTo>
                      <a:pt x="50" y="492"/>
                    </a:lnTo>
                    <a:lnTo>
                      <a:pt x="49" y="491"/>
                    </a:lnTo>
                    <a:lnTo>
                      <a:pt x="49" y="490"/>
                    </a:lnTo>
                    <a:lnTo>
                      <a:pt x="46" y="487"/>
                    </a:lnTo>
                    <a:lnTo>
                      <a:pt x="44" y="485"/>
                    </a:lnTo>
                    <a:lnTo>
                      <a:pt x="41" y="483"/>
                    </a:lnTo>
                    <a:lnTo>
                      <a:pt x="40" y="481"/>
                    </a:lnTo>
                    <a:lnTo>
                      <a:pt x="37" y="480"/>
                    </a:lnTo>
                    <a:lnTo>
                      <a:pt x="36" y="480"/>
                    </a:lnTo>
                    <a:lnTo>
                      <a:pt x="35" y="480"/>
                    </a:lnTo>
                    <a:lnTo>
                      <a:pt x="34" y="480"/>
                    </a:lnTo>
                    <a:lnTo>
                      <a:pt x="34" y="480"/>
                    </a:lnTo>
                    <a:lnTo>
                      <a:pt x="34" y="479"/>
                    </a:lnTo>
                    <a:lnTo>
                      <a:pt x="35" y="479"/>
                    </a:lnTo>
                    <a:lnTo>
                      <a:pt x="35" y="478"/>
                    </a:lnTo>
                    <a:lnTo>
                      <a:pt x="34" y="478"/>
                    </a:lnTo>
                    <a:lnTo>
                      <a:pt x="34" y="478"/>
                    </a:lnTo>
                    <a:lnTo>
                      <a:pt x="33" y="478"/>
                    </a:lnTo>
                    <a:lnTo>
                      <a:pt x="31" y="478"/>
                    </a:lnTo>
                    <a:lnTo>
                      <a:pt x="30" y="477"/>
                    </a:lnTo>
                    <a:lnTo>
                      <a:pt x="30" y="478"/>
                    </a:lnTo>
                    <a:lnTo>
                      <a:pt x="29" y="479"/>
                    </a:lnTo>
                    <a:lnTo>
                      <a:pt x="30" y="479"/>
                    </a:lnTo>
                    <a:lnTo>
                      <a:pt x="30" y="480"/>
                    </a:lnTo>
                    <a:lnTo>
                      <a:pt x="31" y="480"/>
                    </a:lnTo>
                    <a:lnTo>
                      <a:pt x="30" y="480"/>
                    </a:lnTo>
                    <a:lnTo>
                      <a:pt x="28" y="480"/>
                    </a:lnTo>
                    <a:lnTo>
                      <a:pt x="27" y="480"/>
                    </a:lnTo>
                    <a:lnTo>
                      <a:pt x="27" y="480"/>
                    </a:lnTo>
                    <a:lnTo>
                      <a:pt x="26" y="481"/>
                    </a:lnTo>
                    <a:lnTo>
                      <a:pt x="25" y="481"/>
                    </a:lnTo>
                    <a:lnTo>
                      <a:pt x="23" y="481"/>
                    </a:lnTo>
                    <a:lnTo>
                      <a:pt x="21" y="481"/>
                    </a:lnTo>
                    <a:lnTo>
                      <a:pt x="20" y="483"/>
                    </a:lnTo>
                    <a:lnTo>
                      <a:pt x="19" y="483"/>
                    </a:lnTo>
                    <a:lnTo>
                      <a:pt x="19" y="484"/>
                    </a:lnTo>
                    <a:lnTo>
                      <a:pt x="18" y="484"/>
                    </a:lnTo>
                    <a:lnTo>
                      <a:pt x="16" y="484"/>
                    </a:lnTo>
                    <a:lnTo>
                      <a:pt x="14" y="483"/>
                    </a:lnTo>
                    <a:lnTo>
                      <a:pt x="12" y="481"/>
                    </a:lnTo>
                    <a:lnTo>
                      <a:pt x="11" y="483"/>
                    </a:lnTo>
                    <a:lnTo>
                      <a:pt x="10" y="483"/>
                    </a:lnTo>
                    <a:lnTo>
                      <a:pt x="7" y="481"/>
                    </a:lnTo>
                    <a:lnTo>
                      <a:pt x="5" y="481"/>
                    </a:lnTo>
                    <a:lnTo>
                      <a:pt x="4" y="480"/>
                    </a:lnTo>
                    <a:lnTo>
                      <a:pt x="4" y="479"/>
                    </a:lnTo>
                    <a:lnTo>
                      <a:pt x="3" y="478"/>
                    </a:lnTo>
                    <a:lnTo>
                      <a:pt x="1" y="478"/>
                    </a:lnTo>
                    <a:lnTo>
                      <a:pt x="0" y="478"/>
                    </a:lnTo>
                    <a:lnTo>
                      <a:pt x="8" y="417"/>
                    </a:lnTo>
                    <a:lnTo>
                      <a:pt x="21" y="358"/>
                    </a:lnTo>
                    <a:lnTo>
                      <a:pt x="40" y="301"/>
                    </a:lnTo>
                    <a:lnTo>
                      <a:pt x="61" y="246"/>
                    </a:lnTo>
                    <a:lnTo>
                      <a:pt x="89" y="194"/>
                    </a:lnTo>
                    <a:lnTo>
                      <a:pt x="102" y="175"/>
                    </a:lnTo>
                    <a:lnTo>
                      <a:pt x="113" y="159"/>
                    </a:lnTo>
                    <a:lnTo>
                      <a:pt x="127" y="141"/>
                    </a:lnTo>
                    <a:lnTo>
                      <a:pt x="140" y="125"/>
                    </a:lnTo>
                    <a:lnTo>
                      <a:pt x="154" y="106"/>
                    </a:lnTo>
                    <a:lnTo>
                      <a:pt x="168" y="89"/>
                    </a:lnTo>
                    <a:lnTo>
                      <a:pt x="182" y="75"/>
                    </a:lnTo>
                    <a:lnTo>
                      <a:pt x="194" y="60"/>
                    </a:lnTo>
                    <a:lnTo>
                      <a:pt x="213" y="43"/>
                    </a:lnTo>
                    <a:lnTo>
                      <a:pt x="232" y="26"/>
                    </a:lnTo>
                    <a:lnTo>
                      <a:pt x="236" y="25"/>
                    </a:lnTo>
                    <a:lnTo>
                      <a:pt x="239" y="24"/>
                    </a:lnTo>
                    <a:lnTo>
                      <a:pt x="242" y="24"/>
                    </a:lnTo>
                    <a:lnTo>
                      <a:pt x="245" y="24"/>
                    </a:lnTo>
                    <a:lnTo>
                      <a:pt x="246" y="26"/>
                    </a:lnTo>
                    <a:lnTo>
                      <a:pt x="247" y="26"/>
                    </a:lnTo>
                    <a:lnTo>
                      <a:pt x="247" y="26"/>
                    </a:lnTo>
                    <a:lnTo>
                      <a:pt x="248" y="25"/>
                    </a:lnTo>
                    <a:lnTo>
                      <a:pt x="250" y="25"/>
                    </a:lnTo>
                    <a:lnTo>
                      <a:pt x="252" y="24"/>
                    </a:lnTo>
                    <a:lnTo>
                      <a:pt x="253" y="24"/>
                    </a:lnTo>
                    <a:lnTo>
                      <a:pt x="254" y="24"/>
                    </a:lnTo>
                    <a:lnTo>
                      <a:pt x="254" y="23"/>
                    </a:lnTo>
                    <a:lnTo>
                      <a:pt x="255" y="23"/>
                    </a:lnTo>
                    <a:lnTo>
                      <a:pt x="255" y="23"/>
                    </a:lnTo>
                    <a:lnTo>
                      <a:pt x="257" y="24"/>
                    </a:lnTo>
                    <a:lnTo>
                      <a:pt x="258" y="25"/>
                    </a:lnTo>
                    <a:lnTo>
                      <a:pt x="259" y="26"/>
                    </a:lnTo>
                    <a:lnTo>
                      <a:pt x="260" y="26"/>
                    </a:lnTo>
                    <a:lnTo>
                      <a:pt x="260" y="26"/>
                    </a:lnTo>
                    <a:lnTo>
                      <a:pt x="260" y="24"/>
                    </a:lnTo>
                    <a:lnTo>
                      <a:pt x="260" y="24"/>
                    </a:lnTo>
                    <a:lnTo>
                      <a:pt x="260" y="24"/>
                    </a:lnTo>
                    <a:lnTo>
                      <a:pt x="259" y="24"/>
                    </a:lnTo>
                    <a:lnTo>
                      <a:pt x="258" y="24"/>
                    </a:lnTo>
                    <a:lnTo>
                      <a:pt x="257" y="23"/>
                    </a:lnTo>
                    <a:lnTo>
                      <a:pt x="255" y="21"/>
                    </a:lnTo>
                    <a:lnTo>
                      <a:pt x="258" y="22"/>
                    </a:lnTo>
                    <a:lnTo>
                      <a:pt x="259" y="22"/>
                    </a:lnTo>
                    <a:lnTo>
                      <a:pt x="260" y="21"/>
                    </a:lnTo>
                    <a:lnTo>
                      <a:pt x="260" y="21"/>
                    </a:lnTo>
                    <a:lnTo>
                      <a:pt x="261" y="20"/>
                    </a:lnTo>
                    <a:lnTo>
                      <a:pt x="261" y="21"/>
                    </a:lnTo>
                    <a:lnTo>
                      <a:pt x="262" y="21"/>
                    </a:lnTo>
                    <a:lnTo>
                      <a:pt x="263" y="22"/>
                    </a:lnTo>
                    <a:lnTo>
                      <a:pt x="265" y="22"/>
                    </a:lnTo>
                    <a:lnTo>
                      <a:pt x="265" y="22"/>
                    </a:lnTo>
                    <a:lnTo>
                      <a:pt x="266" y="22"/>
                    </a:lnTo>
                    <a:lnTo>
                      <a:pt x="266" y="22"/>
                    </a:lnTo>
                    <a:lnTo>
                      <a:pt x="263" y="23"/>
                    </a:lnTo>
                    <a:lnTo>
                      <a:pt x="263" y="24"/>
                    </a:lnTo>
                    <a:lnTo>
                      <a:pt x="263" y="25"/>
                    </a:lnTo>
                    <a:lnTo>
                      <a:pt x="263" y="25"/>
                    </a:lnTo>
                    <a:lnTo>
                      <a:pt x="263" y="25"/>
                    </a:lnTo>
                    <a:lnTo>
                      <a:pt x="263" y="26"/>
                    </a:lnTo>
                    <a:lnTo>
                      <a:pt x="262" y="26"/>
                    </a:lnTo>
                    <a:lnTo>
                      <a:pt x="260" y="29"/>
                    </a:lnTo>
                    <a:lnTo>
                      <a:pt x="263" y="28"/>
                    </a:lnTo>
                    <a:lnTo>
                      <a:pt x="265" y="26"/>
                    </a:lnTo>
                    <a:lnTo>
                      <a:pt x="266" y="26"/>
                    </a:lnTo>
                    <a:lnTo>
                      <a:pt x="266" y="25"/>
                    </a:lnTo>
                    <a:lnTo>
                      <a:pt x="266" y="24"/>
                    </a:lnTo>
                    <a:lnTo>
                      <a:pt x="268" y="23"/>
                    </a:lnTo>
                    <a:lnTo>
                      <a:pt x="269" y="23"/>
                    </a:lnTo>
                    <a:lnTo>
                      <a:pt x="270" y="23"/>
                    </a:lnTo>
                    <a:lnTo>
                      <a:pt x="272" y="23"/>
                    </a:lnTo>
                    <a:lnTo>
                      <a:pt x="273" y="23"/>
                    </a:lnTo>
                    <a:lnTo>
                      <a:pt x="275" y="23"/>
                    </a:lnTo>
                    <a:lnTo>
                      <a:pt x="279" y="23"/>
                    </a:lnTo>
                    <a:lnTo>
                      <a:pt x="281" y="23"/>
                    </a:lnTo>
                    <a:lnTo>
                      <a:pt x="283" y="22"/>
                    </a:lnTo>
                    <a:lnTo>
                      <a:pt x="284" y="22"/>
                    </a:lnTo>
                    <a:lnTo>
                      <a:pt x="285" y="22"/>
                    </a:lnTo>
                    <a:lnTo>
                      <a:pt x="285" y="21"/>
                    </a:lnTo>
                    <a:lnTo>
                      <a:pt x="284" y="21"/>
                    </a:lnTo>
                    <a:lnTo>
                      <a:pt x="283" y="21"/>
                    </a:lnTo>
                    <a:lnTo>
                      <a:pt x="283" y="22"/>
                    </a:lnTo>
                    <a:lnTo>
                      <a:pt x="282" y="22"/>
                    </a:lnTo>
                    <a:lnTo>
                      <a:pt x="282" y="21"/>
                    </a:lnTo>
                    <a:lnTo>
                      <a:pt x="281" y="21"/>
                    </a:lnTo>
                    <a:lnTo>
                      <a:pt x="282" y="21"/>
                    </a:lnTo>
                    <a:lnTo>
                      <a:pt x="283" y="20"/>
                    </a:lnTo>
                    <a:lnTo>
                      <a:pt x="284" y="20"/>
                    </a:lnTo>
                    <a:lnTo>
                      <a:pt x="285" y="20"/>
                    </a:lnTo>
                    <a:lnTo>
                      <a:pt x="287" y="20"/>
                    </a:lnTo>
                    <a:lnTo>
                      <a:pt x="288" y="20"/>
                    </a:lnTo>
                    <a:lnTo>
                      <a:pt x="290" y="18"/>
                    </a:lnTo>
                    <a:lnTo>
                      <a:pt x="291" y="17"/>
                    </a:lnTo>
                    <a:lnTo>
                      <a:pt x="294" y="17"/>
                    </a:lnTo>
                    <a:lnTo>
                      <a:pt x="294" y="16"/>
                    </a:lnTo>
                    <a:lnTo>
                      <a:pt x="294" y="16"/>
                    </a:lnTo>
                    <a:lnTo>
                      <a:pt x="292" y="16"/>
                    </a:lnTo>
                    <a:lnTo>
                      <a:pt x="291" y="16"/>
                    </a:lnTo>
                    <a:lnTo>
                      <a:pt x="289" y="17"/>
                    </a:lnTo>
                    <a:lnTo>
                      <a:pt x="287" y="17"/>
                    </a:lnTo>
                    <a:lnTo>
                      <a:pt x="284" y="18"/>
                    </a:lnTo>
                    <a:lnTo>
                      <a:pt x="283" y="17"/>
                    </a:lnTo>
                    <a:lnTo>
                      <a:pt x="282" y="17"/>
                    </a:lnTo>
                    <a:lnTo>
                      <a:pt x="281" y="17"/>
                    </a:lnTo>
                    <a:lnTo>
                      <a:pt x="281" y="17"/>
                    </a:lnTo>
                    <a:lnTo>
                      <a:pt x="280" y="17"/>
                    </a:lnTo>
                    <a:lnTo>
                      <a:pt x="280" y="17"/>
                    </a:lnTo>
                    <a:lnTo>
                      <a:pt x="279" y="17"/>
                    </a:lnTo>
                    <a:lnTo>
                      <a:pt x="276" y="16"/>
                    </a:lnTo>
                    <a:lnTo>
                      <a:pt x="276" y="14"/>
                    </a:lnTo>
                    <a:lnTo>
                      <a:pt x="276" y="14"/>
                    </a:lnTo>
                    <a:lnTo>
                      <a:pt x="277" y="13"/>
                    </a:lnTo>
                    <a:lnTo>
                      <a:pt x="280" y="11"/>
                    </a:lnTo>
                    <a:lnTo>
                      <a:pt x="281" y="11"/>
                    </a:lnTo>
                    <a:lnTo>
                      <a:pt x="282" y="10"/>
                    </a:lnTo>
                    <a:lnTo>
                      <a:pt x="283" y="10"/>
                    </a:lnTo>
                    <a:lnTo>
                      <a:pt x="283" y="9"/>
                    </a:lnTo>
                    <a:lnTo>
                      <a:pt x="284" y="8"/>
                    </a:lnTo>
                    <a:lnTo>
                      <a:pt x="285" y="7"/>
                    </a:lnTo>
                    <a:lnTo>
                      <a:pt x="288" y="7"/>
                    </a:lnTo>
                    <a:lnTo>
                      <a:pt x="290" y="6"/>
                    </a:lnTo>
                    <a:lnTo>
                      <a:pt x="291" y="5"/>
                    </a:lnTo>
                    <a:lnTo>
                      <a:pt x="291" y="3"/>
                    </a:lnTo>
                    <a:lnTo>
                      <a:pt x="291" y="5"/>
                    </a:lnTo>
                    <a:lnTo>
                      <a:pt x="291" y="5"/>
                    </a:lnTo>
                    <a:lnTo>
                      <a:pt x="292" y="5"/>
                    </a:lnTo>
                    <a:lnTo>
                      <a:pt x="294" y="3"/>
                    </a:lnTo>
                    <a:lnTo>
                      <a:pt x="295" y="3"/>
                    </a:lnTo>
                    <a:lnTo>
                      <a:pt x="295" y="3"/>
                    </a:lnTo>
                    <a:lnTo>
                      <a:pt x="295" y="3"/>
                    </a:lnTo>
                    <a:lnTo>
                      <a:pt x="294" y="2"/>
                    </a:lnTo>
                    <a:lnTo>
                      <a:pt x="294" y="2"/>
                    </a:lnTo>
                    <a:lnTo>
                      <a:pt x="294" y="2"/>
                    </a:lnTo>
                    <a:lnTo>
                      <a:pt x="295" y="1"/>
                    </a:lnTo>
                    <a:lnTo>
                      <a:pt x="297" y="0"/>
                    </a:lnTo>
                    <a:lnTo>
                      <a:pt x="30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2"/>
              <p:cNvSpPr>
                <a:spLocks noEditPoints="1"/>
              </p:cNvSpPr>
              <p:nvPr/>
            </p:nvSpPr>
            <p:spPr bwMode="auto">
              <a:xfrm>
                <a:off x="4547" y="1873"/>
                <a:ext cx="166" cy="40"/>
              </a:xfrm>
              <a:custGeom>
                <a:avLst/>
                <a:gdLst>
                  <a:gd name="T0" fmla="*/ 46 w 498"/>
                  <a:gd name="T1" fmla="*/ 43 h 120"/>
                  <a:gd name="T2" fmla="*/ 27 w 498"/>
                  <a:gd name="T3" fmla="*/ 51 h 120"/>
                  <a:gd name="T4" fmla="*/ 17 w 498"/>
                  <a:gd name="T5" fmla="*/ 43 h 120"/>
                  <a:gd name="T6" fmla="*/ 134 w 498"/>
                  <a:gd name="T7" fmla="*/ 45 h 120"/>
                  <a:gd name="T8" fmla="*/ 163 w 498"/>
                  <a:gd name="T9" fmla="*/ 48 h 120"/>
                  <a:gd name="T10" fmla="*/ 189 w 498"/>
                  <a:gd name="T11" fmla="*/ 56 h 120"/>
                  <a:gd name="T12" fmla="*/ 196 w 498"/>
                  <a:gd name="T13" fmla="*/ 66 h 120"/>
                  <a:gd name="T14" fmla="*/ 206 w 498"/>
                  <a:gd name="T15" fmla="*/ 74 h 120"/>
                  <a:gd name="T16" fmla="*/ 186 w 498"/>
                  <a:gd name="T17" fmla="*/ 83 h 120"/>
                  <a:gd name="T18" fmla="*/ 173 w 498"/>
                  <a:gd name="T19" fmla="*/ 79 h 120"/>
                  <a:gd name="T20" fmla="*/ 171 w 498"/>
                  <a:gd name="T21" fmla="*/ 90 h 120"/>
                  <a:gd name="T22" fmla="*/ 156 w 498"/>
                  <a:gd name="T23" fmla="*/ 97 h 120"/>
                  <a:gd name="T24" fmla="*/ 138 w 498"/>
                  <a:gd name="T25" fmla="*/ 104 h 120"/>
                  <a:gd name="T26" fmla="*/ 109 w 498"/>
                  <a:gd name="T27" fmla="*/ 96 h 120"/>
                  <a:gd name="T28" fmla="*/ 89 w 498"/>
                  <a:gd name="T29" fmla="*/ 95 h 120"/>
                  <a:gd name="T30" fmla="*/ 115 w 498"/>
                  <a:gd name="T31" fmla="*/ 86 h 120"/>
                  <a:gd name="T32" fmla="*/ 137 w 498"/>
                  <a:gd name="T33" fmla="*/ 85 h 120"/>
                  <a:gd name="T34" fmla="*/ 132 w 498"/>
                  <a:gd name="T35" fmla="*/ 75 h 120"/>
                  <a:gd name="T36" fmla="*/ 132 w 498"/>
                  <a:gd name="T37" fmla="*/ 61 h 120"/>
                  <a:gd name="T38" fmla="*/ 108 w 498"/>
                  <a:gd name="T39" fmla="*/ 58 h 120"/>
                  <a:gd name="T40" fmla="*/ 88 w 498"/>
                  <a:gd name="T41" fmla="*/ 59 h 120"/>
                  <a:gd name="T42" fmla="*/ 73 w 498"/>
                  <a:gd name="T43" fmla="*/ 45 h 120"/>
                  <a:gd name="T44" fmla="*/ 96 w 498"/>
                  <a:gd name="T45" fmla="*/ 46 h 120"/>
                  <a:gd name="T46" fmla="*/ 132 w 498"/>
                  <a:gd name="T47" fmla="*/ 45 h 120"/>
                  <a:gd name="T48" fmla="*/ 55 w 498"/>
                  <a:gd name="T49" fmla="*/ 36 h 120"/>
                  <a:gd name="T50" fmla="*/ 103 w 498"/>
                  <a:gd name="T51" fmla="*/ 33 h 120"/>
                  <a:gd name="T52" fmla="*/ 127 w 498"/>
                  <a:gd name="T53" fmla="*/ 35 h 120"/>
                  <a:gd name="T54" fmla="*/ 84 w 498"/>
                  <a:gd name="T55" fmla="*/ 40 h 120"/>
                  <a:gd name="T56" fmla="*/ 40 w 498"/>
                  <a:gd name="T57" fmla="*/ 28 h 120"/>
                  <a:gd name="T58" fmla="*/ 31 w 498"/>
                  <a:gd name="T59" fmla="*/ 35 h 120"/>
                  <a:gd name="T60" fmla="*/ 63 w 498"/>
                  <a:gd name="T61" fmla="*/ 24 h 120"/>
                  <a:gd name="T62" fmla="*/ 57 w 498"/>
                  <a:gd name="T63" fmla="*/ 19 h 120"/>
                  <a:gd name="T64" fmla="*/ 104 w 498"/>
                  <a:gd name="T65" fmla="*/ 21 h 120"/>
                  <a:gd name="T66" fmla="*/ 122 w 498"/>
                  <a:gd name="T67" fmla="*/ 8 h 120"/>
                  <a:gd name="T68" fmla="*/ 467 w 498"/>
                  <a:gd name="T69" fmla="*/ 7 h 120"/>
                  <a:gd name="T70" fmla="*/ 484 w 498"/>
                  <a:gd name="T71" fmla="*/ 7 h 120"/>
                  <a:gd name="T72" fmla="*/ 483 w 498"/>
                  <a:gd name="T73" fmla="*/ 21 h 120"/>
                  <a:gd name="T74" fmla="*/ 478 w 498"/>
                  <a:gd name="T75" fmla="*/ 36 h 120"/>
                  <a:gd name="T76" fmla="*/ 448 w 498"/>
                  <a:gd name="T77" fmla="*/ 43 h 120"/>
                  <a:gd name="T78" fmla="*/ 442 w 498"/>
                  <a:gd name="T79" fmla="*/ 46 h 120"/>
                  <a:gd name="T80" fmla="*/ 437 w 498"/>
                  <a:gd name="T81" fmla="*/ 55 h 120"/>
                  <a:gd name="T82" fmla="*/ 430 w 498"/>
                  <a:gd name="T83" fmla="*/ 64 h 120"/>
                  <a:gd name="T84" fmla="*/ 387 w 498"/>
                  <a:gd name="T85" fmla="*/ 70 h 120"/>
                  <a:gd name="T86" fmla="*/ 346 w 498"/>
                  <a:gd name="T87" fmla="*/ 80 h 120"/>
                  <a:gd name="T88" fmla="*/ 319 w 498"/>
                  <a:gd name="T89" fmla="*/ 100 h 120"/>
                  <a:gd name="T90" fmla="*/ 294 w 498"/>
                  <a:gd name="T91" fmla="*/ 119 h 120"/>
                  <a:gd name="T92" fmla="*/ 269 w 498"/>
                  <a:gd name="T93" fmla="*/ 109 h 120"/>
                  <a:gd name="T94" fmla="*/ 258 w 498"/>
                  <a:gd name="T95" fmla="*/ 83 h 120"/>
                  <a:gd name="T96" fmla="*/ 278 w 498"/>
                  <a:gd name="T97" fmla="*/ 67 h 120"/>
                  <a:gd name="T98" fmla="*/ 272 w 498"/>
                  <a:gd name="T99" fmla="*/ 53 h 120"/>
                  <a:gd name="T100" fmla="*/ 275 w 498"/>
                  <a:gd name="T101" fmla="*/ 50 h 120"/>
                  <a:gd name="T102" fmla="*/ 271 w 498"/>
                  <a:gd name="T103" fmla="*/ 33 h 120"/>
                  <a:gd name="T104" fmla="*/ 220 w 498"/>
                  <a:gd name="T105" fmla="*/ 30 h 120"/>
                  <a:gd name="T106" fmla="*/ 228 w 498"/>
                  <a:gd name="T107" fmla="*/ 19 h 120"/>
                  <a:gd name="T108" fmla="*/ 291 w 498"/>
                  <a:gd name="T109" fmla="*/ 9 h 120"/>
                  <a:gd name="T110" fmla="*/ 360 w 498"/>
                  <a:gd name="T111" fmla="*/ 5 h 120"/>
                  <a:gd name="T112" fmla="*/ 249 w 498"/>
                  <a:gd name="T113" fmla="*/ 1 h 120"/>
                  <a:gd name="T114" fmla="*/ 188 w 498"/>
                  <a:gd name="T115" fmla="*/ 20 h 120"/>
                  <a:gd name="T116" fmla="*/ 145 w 498"/>
                  <a:gd name="T117" fmla="*/ 29 h 120"/>
                  <a:gd name="T118" fmla="*/ 109 w 498"/>
                  <a:gd name="T119" fmla="*/ 24 h 120"/>
                  <a:gd name="T120" fmla="*/ 134 w 498"/>
                  <a:gd name="T121" fmla="*/ 16 h 120"/>
                  <a:gd name="T122" fmla="*/ 169 w 498"/>
                  <a:gd name="T123" fmla="*/ 8 h 120"/>
                  <a:gd name="T124" fmla="*/ 176 w 498"/>
                  <a:gd name="T125" fmla="*/ 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8" h="120">
                    <a:moveTo>
                      <a:pt x="54" y="41"/>
                    </a:moveTo>
                    <a:lnTo>
                      <a:pt x="57" y="41"/>
                    </a:lnTo>
                    <a:lnTo>
                      <a:pt x="59" y="42"/>
                    </a:lnTo>
                    <a:lnTo>
                      <a:pt x="62" y="42"/>
                    </a:lnTo>
                    <a:lnTo>
                      <a:pt x="67" y="42"/>
                    </a:lnTo>
                    <a:lnTo>
                      <a:pt x="64" y="43"/>
                    </a:lnTo>
                    <a:lnTo>
                      <a:pt x="61" y="45"/>
                    </a:lnTo>
                    <a:lnTo>
                      <a:pt x="58" y="46"/>
                    </a:lnTo>
                    <a:lnTo>
                      <a:pt x="57" y="48"/>
                    </a:lnTo>
                    <a:lnTo>
                      <a:pt x="55" y="48"/>
                    </a:lnTo>
                    <a:lnTo>
                      <a:pt x="52" y="48"/>
                    </a:lnTo>
                    <a:lnTo>
                      <a:pt x="48" y="46"/>
                    </a:lnTo>
                    <a:lnTo>
                      <a:pt x="47" y="46"/>
                    </a:lnTo>
                    <a:lnTo>
                      <a:pt x="46" y="46"/>
                    </a:lnTo>
                    <a:lnTo>
                      <a:pt x="46" y="46"/>
                    </a:lnTo>
                    <a:lnTo>
                      <a:pt x="46" y="46"/>
                    </a:lnTo>
                    <a:lnTo>
                      <a:pt x="47" y="48"/>
                    </a:lnTo>
                    <a:lnTo>
                      <a:pt x="47" y="49"/>
                    </a:lnTo>
                    <a:lnTo>
                      <a:pt x="47" y="49"/>
                    </a:lnTo>
                    <a:lnTo>
                      <a:pt x="47" y="49"/>
                    </a:lnTo>
                    <a:lnTo>
                      <a:pt x="46" y="50"/>
                    </a:lnTo>
                    <a:lnTo>
                      <a:pt x="46" y="50"/>
                    </a:lnTo>
                    <a:lnTo>
                      <a:pt x="44" y="50"/>
                    </a:lnTo>
                    <a:lnTo>
                      <a:pt x="43" y="50"/>
                    </a:lnTo>
                    <a:lnTo>
                      <a:pt x="42" y="50"/>
                    </a:lnTo>
                    <a:lnTo>
                      <a:pt x="42" y="50"/>
                    </a:lnTo>
                    <a:lnTo>
                      <a:pt x="41" y="49"/>
                    </a:lnTo>
                    <a:lnTo>
                      <a:pt x="41" y="49"/>
                    </a:lnTo>
                    <a:lnTo>
                      <a:pt x="41" y="48"/>
                    </a:lnTo>
                    <a:lnTo>
                      <a:pt x="42" y="48"/>
                    </a:lnTo>
                    <a:lnTo>
                      <a:pt x="43" y="46"/>
                    </a:lnTo>
                    <a:lnTo>
                      <a:pt x="43" y="45"/>
                    </a:lnTo>
                    <a:lnTo>
                      <a:pt x="43" y="43"/>
                    </a:lnTo>
                    <a:lnTo>
                      <a:pt x="44" y="43"/>
                    </a:lnTo>
                    <a:lnTo>
                      <a:pt x="46" y="43"/>
                    </a:lnTo>
                    <a:lnTo>
                      <a:pt x="47" y="42"/>
                    </a:lnTo>
                    <a:lnTo>
                      <a:pt x="48" y="42"/>
                    </a:lnTo>
                    <a:lnTo>
                      <a:pt x="51" y="41"/>
                    </a:lnTo>
                    <a:lnTo>
                      <a:pt x="54" y="41"/>
                    </a:lnTo>
                    <a:close/>
                    <a:moveTo>
                      <a:pt x="34" y="41"/>
                    </a:moveTo>
                    <a:lnTo>
                      <a:pt x="35" y="41"/>
                    </a:lnTo>
                    <a:lnTo>
                      <a:pt x="36" y="42"/>
                    </a:lnTo>
                    <a:lnTo>
                      <a:pt x="36" y="42"/>
                    </a:lnTo>
                    <a:lnTo>
                      <a:pt x="36" y="42"/>
                    </a:lnTo>
                    <a:lnTo>
                      <a:pt x="35" y="43"/>
                    </a:lnTo>
                    <a:lnTo>
                      <a:pt x="34" y="43"/>
                    </a:lnTo>
                    <a:lnTo>
                      <a:pt x="34" y="43"/>
                    </a:lnTo>
                    <a:lnTo>
                      <a:pt x="33" y="43"/>
                    </a:lnTo>
                    <a:lnTo>
                      <a:pt x="33" y="43"/>
                    </a:lnTo>
                    <a:lnTo>
                      <a:pt x="34" y="43"/>
                    </a:lnTo>
                    <a:lnTo>
                      <a:pt x="34" y="43"/>
                    </a:lnTo>
                    <a:lnTo>
                      <a:pt x="35" y="43"/>
                    </a:lnTo>
                    <a:lnTo>
                      <a:pt x="36" y="43"/>
                    </a:lnTo>
                    <a:lnTo>
                      <a:pt x="37" y="43"/>
                    </a:lnTo>
                    <a:lnTo>
                      <a:pt x="37" y="44"/>
                    </a:lnTo>
                    <a:lnTo>
                      <a:pt x="36" y="45"/>
                    </a:lnTo>
                    <a:lnTo>
                      <a:pt x="34" y="46"/>
                    </a:lnTo>
                    <a:lnTo>
                      <a:pt x="33" y="46"/>
                    </a:lnTo>
                    <a:lnTo>
                      <a:pt x="31" y="46"/>
                    </a:lnTo>
                    <a:lnTo>
                      <a:pt x="29" y="46"/>
                    </a:lnTo>
                    <a:lnTo>
                      <a:pt x="29" y="48"/>
                    </a:lnTo>
                    <a:lnTo>
                      <a:pt x="31" y="48"/>
                    </a:lnTo>
                    <a:lnTo>
                      <a:pt x="31" y="49"/>
                    </a:lnTo>
                    <a:lnTo>
                      <a:pt x="32" y="49"/>
                    </a:lnTo>
                    <a:lnTo>
                      <a:pt x="31" y="50"/>
                    </a:lnTo>
                    <a:lnTo>
                      <a:pt x="29" y="50"/>
                    </a:lnTo>
                    <a:lnTo>
                      <a:pt x="28" y="50"/>
                    </a:lnTo>
                    <a:lnTo>
                      <a:pt x="28" y="50"/>
                    </a:lnTo>
                    <a:lnTo>
                      <a:pt x="28" y="51"/>
                    </a:lnTo>
                    <a:lnTo>
                      <a:pt x="27" y="51"/>
                    </a:lnTo>
                    <a:lnTo>
                      <a:pt x="26" y="52"/>
                    </a:lnTo>
                    <a:lnTo>
                      <a:pt x="25" y="53"/>
                    </a:lnTo>
                    <a:lnTo>
                      <a:pt x="24" y="53"/>
                    </a:lnTo>
                    <a:lnTo>
                      <a:pt x="22" y="53"/>
                    </a:lnTo>
                    <a:lnTo>
                      <a:pt x="22" y="52"/>
                    </a:lnTo>
                    <a:lnTo>
                      <a:pt x="21" y="53"/>
                    </a:lnTo>
                    <a:lnTo>
                      <a:pt x="20" y="53"/>
                    </a:lnTo>
                    <a:lnTo>
                      <a:pt x="19" y="55"/>
                    </a:lnTo>
                    <a:lnTo>
                      <a:pt x="18" y="55"/>
                    </a:lnTo>
                    <a:lnTo>
                      <a:pt x="16" y="53"/>
                    </a:lnTo>
                    <a:lnTo>
                      <a:pt x="14" y="53"/>
                    </a:lnTo>
                    <a:lnTo>
                      <a:pt x="13" y="53"/>
                    </a:lnTo>
                    <a:lnTo>
                      <a:pt x="12" y="53"/>
                    </a:lnTo>
                    <a:lnTo>
                      <a:pt x="11" y="53"/>
                    </a:lnTo>
                    <a:lnTo>
                      <a:pt x="10" y="53"/>
                    </a:lnTo>
                    <a:lnTo>
                      <a:pt x="9" y="52"/>
                    </a:lnTo>
                    <a:lnTo>
                      <a:pt x="7" y="51"/>
                    </a:lnTo>
                    <a:lnTo>
                      <a:pt x="6" y="51"/>
                    </a:lnTo>
                    <a:lnTo>
                      <a:pt x="5" y="52"/>
                    </a:lnTo>
                    <a:lnTo>
                      <a:pt x="4" y="52"/>
                    </a:lnTo>
                    <a:lnTo>
                      <a:pt x="4" y="51"/>
                    </a:lnTo>
                    <a:lnTo>
                      <a:pt x="3" y="51"/>
                    </a:lnTo>
                    <a:lnTo>
                      <a:pt x="0" y="50"/>
                    </a:lnTo>
                    <a:lnTo>
                      <a:pt x="3" y="49"/>
                    </a:lnTo>
                    <a:lnTo>
                      <a:pt x="5" y="48"/>
                    </a:lnTo>
                    <a:lnTo>
                      <a:pt x="6" y="46"/>
                    </a:lnTo>
                    <a:lnTo>
                      <a:pt x="17" y="46"/>
                    </a:lnTo>
                    <a:lnTo>
                      <a:pt x="17" y="46"/>
                    </a:lnTo>
                    <a:lnTo>
                      <a:pt x="16" y="46"/>
                    </a:lnTo>
                    <a:lnTo>
                      <a:pt x="14" y="45"/>
                    </a:lnTo>
                    <a:lnTo>
                      <a:pt x="13" y="45"/>
                    </a:lnTo>
                    <a:lnTo>
                      <a:pt x="13" y="44"/>
                    </a:lnTo>
                    <a:lnTo>
                      <a:pt x="13" y="43"/>
                    </a:lnTo>
                    <a:lnTo>
                      <a:pt x="16" y="43"/>
                    </a:lnTo>
                    <a:lnTo>
                      <a:pt x="17" y="43"/>
                    </a:lnTo>
                    <a:lnTo>
                      <a:pt x="18" y="43"/>
                    </a:lnTo>
                    <a:lnTo>
                      <a:pt x="19" y="43"/>
                    </a:lnTo>
                    <a:lnTo>
                      <a:pt x="21" y="43"/>
                    </a:lnTo>
                    <a:lnTo>
                      <a:pt x="22" y="43"/>
                    </a:lnTo>
                    <a:lnTo>
                      <a:pt x="24" y="43"/>
                    </a:lnTo>
                    <a:lnTo>
                      <a:pt x="26" y="42"/>
                    </a:lnTo>
                    <a:lnTo>
                      <a:pt x="27" y="42"/>
                    </a:lnTo>
                    <a:lnTo>
                      <a:pt x="28" y="42"/>
                    </a:lnTo>
                    <a:lnTo>
                      <a:pt x="31" y="41"/>
                    </a:lnTo>
                    <a:lnTo>
                      <a:pt x="33" y="41"/>
                    </a:lnTo>
                    <a:lnTo>
                      <a:pt x="34" y="41"/>
                    </a:lnTo>
                    <a:close/>
                    <a:moveTo>
                      <a:pt x="125" y="40"/>
                    </a:moveTo>
                    <a:lnTo>
                      <a:pt x="126" y="40"/>
                    </a:lnTo>
                    <a:lnTo>
                      <a:pt x="127" y="41"/>
                    </a:lnTo>
                    <a:lnTo>
                      <a:pt x="127" y="41"/>
                    </a:lnTo>
                    <a:lnTo>
                      <a:pt x="127" y="42"/>
                    </a:lnTo>
                    <a:lnTo>
                      <a:pt x="129" y="42"/>
                    </a:lnTo>
                    <a:lnTo>
                      <a:pt x="129" y="43"/>
                    </a:lnTo>
                    <a:lnTo>
                      <a:pt x="127" y="44"/>
                    </a:lnTo>
                    <a:lnTo>
                      <a:pt x="127" y="44"/>
                    </a:lnTo>
                    <a:lnTo>
                      <a:pt x="127" y="45"/>
                    </a:lnTo>
                    <a:lnTo>
                      <a:pt x="129" y="45"/>
                    </a:lnTo>
                    <a:lnTo>
                      <a:pt x="130" y="45"/>
                    </a:lnTo>
                    <a:lnTo>
                      <a:pt x="130" y="45"/>
                    </a:lnTo>
                    <a:lnTo>
                      <a:pt x="130" y="46"/>
                    </a:lnTo>
                    <a:lnTo>
                      <a:pt x="129" y="48"/>
                    </a:lnTo>
                    <a:lnTo>
                      <a:pt x="127" y="49"/>
                    </a:lnTo>
                    <a:lnTo>
                      <a:pt x="126" y="50"/>
                    </a:lnTo>
                    <a:lnTo>
                      <a:pt x="127" y="50"/>
                    </a:lnTo>
                    <a:lnTo>
                      <a:pt x="129" y="50"/>
                    </a:lnTo>
                    <a:lnTo>
                      <a:pt x="131" y="49"/>
                    </a:lnTo>
                    <a:lnTo>
                      <a:pt x="132" y="46"/>
                    </a:lnTo>
                    <a:lnTo>
                      <a:pt x="133" y="45"/>
                    </a:lnTo>
                    <a:lnTo>
                      <a:pt x="134" y="45"/>
                    </a:lnTo>
                    <a:lnTo>
                      <a:pt x="134" y="45"/>
                    </a:lnTo>
                    <a:lnTo>
                      <a:pt x="134" y="46"/>
                    </a:lnTo>
                    <a:lnTo>
                      <a:pt x="136" y="46"/>
                    </a:lnTo>
                    <a:lnTo>
                      <a:pt x="137" y="46"/>
                    </a:lnTo>
                    <a:lnTo>
                      <a:pt x="138" y="45"/>
                    </a:lnTo>
                    <a:lnTo>
                      <a:pt x="139" y="44"/>
                    </a:lnTo>
                    <a:lnTo>
                      <a:pt x="140" y="44"/>
                    </a:lnTo>
                    <a:lnTo>
                      <a:pt x="140" y="45"/>
                    </a:lnTo>
                    <a:lnTo>
                      <a:pt x="140" y="45"/>
                    </a:lnTo>
                    <a:lnTo>
                      <a:pt x="141" y="46"/>
                    </a:lnTo>
                    <a:lnTo>
                      <a:pt x="141" y="48"/>
                    </a:lnTo>
                    <a:lnTo>
                      <a:pt x="141" y="46"/>
                    </a:lnTo>
                    <a:lnTo>
                      <a:pt x="143" y="48"/>
                    </a:lnTo>
                    <a:lnTo>
                      <a:pt x="145" y="49"/>
                    </a:lnTo>
                    <a:lnTo>
                      <a:pt x="146" y="50"/>
                    </a:lnTo>
                    <a:lnTo>
                      <a:pt x="145" y="49"/>
                    </a:lnTo>
                    <a:lnTo>
                      <a:pt x="145" y="49"/>
                    </a:lnTo>
                    <a:lnTo>
                      <a:pt x="146" y="48"/>
                    </a:lnTo>
                    <a:lnTo>
                      <a:pt x="146" y="48"/>
                    </a:lnTo>
                    <a:lnTo>
                      <a:pt x="147" y="48"/>
                    </a:lnTo>
                    <a:lnTo>
                      <a:pt x="147" y="48"/>
                    </a:lnTo>
                    <a:lnTo>
                      <a:pt x="146" y="46"/>
                    </a:lnTo>
                    <a:lnTo>
                      <a:pt x="145" y="45"/>
                    </a:lnTo>
                    <a:lnTo>
                      <a:pt x="145" y="44"/>
                    </a:lnTo>
                    <a:lnTo>
                      <a:pt x="145" y="44"/>
                    </a:lnTo>
                    <a:lnTo>
                      <a:pt x="147" y="44"/>
                    </a:lnTo>
                    <a:lnTo>
                      <a:pt x="148" y="43"/>
                    </a:lnTo>
                    <a:lnTo>
                      <a:pt x="151" y="43"/>
                    </a:lnTo>
                    <a:lnTo>
                      <a:pt x="153" y="43"/>
                    </a:lnTo>
                    <a:lnTo>
                      <a:pt x="155" y="44"/>
                    </a:lnTo>
                    <a:lnTo>
                      <a:pt x="158" y="44"/>
                    </a:lnTo>
                    <a:lnTo>
                      <a:pt x="159" y="45"/>
                    </a:lnTo>
                    <a:lnTo>
                      <a:pt x="160" y="46"/>
                    </a:lnTo>
                    <a:lnTo>
                      <a:pt x="160" y="46"/>
                    </a:lnTo>
                    <a:lnTo>
                      <a:pt x="162" y="48"/>
                    </a:lnTo>
                    <a:lnTo>
                      <a:pt x="163" y="48"/>
                    </a:lnTo>
                    <a:lnTo>
                      <a:pt x="166" y="49"/>
                    </a:lnTo>
                    <a:lnTo>
                      <a:pt x="167" y="49"/>
                    </a:lnTo>
                    <a:lnTo>
                      <a:pt x="169" y="48"/>
                    </a:lnTo>
                    <a:lnTo>
                      <a:pt x="171" y="48"/>
                    </a:lnTo>
                    <a:lnTo>
                      <a:pt x="173" y="49"/>
                    </a:lnTo>
                    <a:lnTo>
                      <a:pt x="173" y="49"/>
                    </a:lnTo>
                    <a:lnTo>
                      <a:pt x="174" y="49"/>
                    </a:lnTo>
                    <a:lnTo>
                      <a:pt x="174" y="49"/>
                    </a:lnTo>
                    <a:lnTo>
                      <a:pt x="175" y="49"/>
                    </a:lnTo>
                    <a:lnTo>
                      <a:pt x="176" y="49"/>
                    </a:lnTo>
                    <a:lnTo>
                      <a:pt x="176" y="50"/>
                    </a:lnTo>
                    <a:lnTo>
                      <a:pt x="176" y="51"/>
                    </a:lnTo>
                    <a:lnTo>
                      <a:pt x="176" y="52"/>
                    </a:lnTo>
                    <a:lnTo>
                      <a:pt x="176" y="52"/>
                    </a:lnTo>
                    <a:lnTo>
                      <a:pt x="177" y="52"/>
                    </a:lnTo>
                    <a:lnTo>
                      <a:pt x="179" y="51"/>
                    </a:lnTo>
                    <a:lnTo>
                      <a:pt x="181" y="51"/>
                    </a:lnTo>
                    <a:lnTo>
                      <a:pt x="182" y="52"/>
                    </a:lnTo>
                    <a:lnTo>
                      <a:pt x="183" y="52"/>
                    </a:lnTo>
                    <a:lnTo>
                      <a:pt x="183" y="52"/>
                    </a:lnTo>
                    <a:lnTo>
                      <a:pt x="183" y="52"/>
                    </a:lnTo>
                    <a:lnTo>
                      <a:pt x="182" y="53"/>
                    </a:lnTo>
                    <a:lnTo>
                      <a:pt x="179" y="55"/>
                    </a:lnTo>
                    <a:lnTo>
                      <a:pt x="177" y="56"/>
                    </a:lnTo>
                    <a:lnTo>
                      <a:pt x="177" y="57"/>
                    </a:lnTo>
                    <a:lnTo>
                      <a:pt x="176" y="57"/>
                    </a:lnTo>
                    <a:lnTo>
                      <a:pt x="177" y="57"/>
                    </a:lnTo>
                    <a:lnTo>
                      <a:pt x="179" y="56"/>
                    </a:lnTo>
                    <a:lnTo>
                      <a:pt x="182" y="55"/>
                    </a:lnTo>
                    <a:lnTo>
                      <a:pt x="184" y="53"/>
                    </a:lnTo>
                    <a:lnTo>
                      <a:pt x="185" y="53"/>
                    </a:lnTo>
                    <a:lnTo>
                      <a:pt x="189" y="53"/>
                    </a:lnTo>
                    <a:lnTo>
                      <a:pt x="189" y="55"/>
                    </a:lnTo>
                    <a:lnTo>
                      <a:pt x="189" y="56"/>
                    </a:lnTo>
                    <a:lnTo>
                      <a:pt x="189" y="56"/>
                    </a:lnTo>
                    <a:lnTo>
                      <a:pt x="189" y="57"/>
                    </a:lnTo>
                    <a:lnTo>
                      <a:pt x="190" y="59"/>
                    </a:lnTo>
                    <a:lnTo>
                      <a:pt x="190" y="59"/>
                    </a:lnTo>
                    <a:lnTo>
                      <a:pt x="190" y="60"/>
                    </a:lnTo>
                    <a:lnTo>
                      <a:pt x="188" y="60"/>
                    </a:lnTo>
                    <a:lnTo>
                      <a:pt x="185" y="60"/>
                    </a:lnTo>
                    <a:lnTo>
                      <a:pt x="183" y="61"/>
                    </a:lnTo>
                    <a:lnTo>
                      <a:pt x="181" y="61"/>
                    </a:lnTo>
                    <a:lnTo>
                      <a:pt x="179" y="61"/>
                    </a:lnTo>
                    <a:lnTo>
                      <a:pt x="179" y="63"/>
                    </a:lnTo>
                    <a:lnTo>
                      <a:pt x="182" y="63"/>
                    </a:lnTo>
                    <a:lnTo>
                      <a:pt x="185" y="61"/>
                    </a:lnTo>
                    <a:lnTo>
                      <a:pt x="188" y="61"/>
                    </a:lnTo>
                    <a:lnTo>
                      <a:pt x="190" y="61"/>
                    </a:lnTo>
                    <a:lnTo>
                      <a:pt x="192" y="63"/>
                    </a:lnTo>
                    <a:lnTo>
                      <a:pt x="192" y="63"/>
                    </a:lnTo>
                    <a:lnTo>
                      <a:pt x="191" y="64"/>
                    </a:lnTo>
                    <a:lnTo>
                      <a:pt x="190" y="64"/>
                    </a:lnTo>
                    <a:lnTo>
                      <a:pt x="189" y="64"/>
                    </a:lnTo>
                    <a:lnTo>
                      <a:pt x="188" y="64"/>
                    </a:lnTo>
                    <a:lnTo>
                      <a:pt x="186" y="64"/>
                    </a:lnTo>
                    <a:lnTo>
                      <a:pt x="188" y="64"/>
                    </a:lnTo>
                    <a:lnTo>
                      <a:pt x="189" y="64"/>
                    </a:lnTo>
                    <a:lnTo>
                      <a:pt x="189" y="64"/>
                    </a:lnTo>
                    <a:lnTo>
                      <a:pt x="190" y="65"/>
                    </a:lnTo>
                    <a:lnTo>
                      <a:pt x="190" y="65"/>
                    </a:lnTo>
                    <a:lnTo>
                      <a:pt x="192" y="64"/>
                    </a:lnTo>
                    <a:lnTo>
                      <a:pt x="193" y="64"/>
                    </a:lnTo>
                    <a:lnTo>
                      <a:pt x="194" y="64"/>
                    </a:lnTo>
                    <a:lnTo>
                      <a:pt x="194" y="65"/>
                    </a:lnTo>
                    <a:lnTo>
                      <a:pt x="194" y="65"/>
                    </a:lnTo>
                    <a:lnTo>
                      <a:pt x="194" y="66"/>
                    </a:lnTo>
                    <a:lnTo>
                      <a:pt x="194" y="66"/>
                    </a:lnTo>
                    <a:lnTo>
                      <a:pt x="196" y="66"/>
                    </a:lnTo>
                    <a:lnTo>
                      <a:pt x="196" y="66"/>
                    </a:lnTo>
                    <a:lnTo>
                      <a:pt x="196" y="66"/>
                    </a:lnTo>
                    <a:lnTo>
                      <a:pt x="197" y="67"/>
                    </a:lnTo>
                    <a:lnTo>
                      <a:pt x="197" y="67"/>
                    </a:lnTo>
                    <a:lnTo>
                      <a:pt x="197" y="68"/>
                    </a:lnTo>
                    <a:lnTo>
                      <a:pt x="199" y="67"/>
                    </a:lnTo>
                    <a:lnTo>
                      <a:pt x="199" y="67"/>
                    </a:lnTo>
                    <a:lnTo>
                      <a:pt x="199" y="67"/>
                    </a:lnTo>
                    <a:lnTo>
                      <a:pt x="200" y="68"/>
                    </a:lnTo>
                    <a:lnTo>
                      <a:pt x="200" y="70"/>
                    </a:lnTo>
                    <a:lnTo>
                      <a:pt x="203" y="70"/>
                    </a:lnTo>
                    <a:lnTo>
                      <a:pt x="204" y="68"/>
                    </a:lnTo>
                    <a:lnTo>
                      <a:pt x="204" y="68"/>
                    </a:lnTo>
                    <a:lnTo>
                      <a:pt x="204" y="70"/>
                    </a:lnTo>
                    <a:lnTo>
                      <a:pt x="204" y="70"/>
                    </a:lnTo>
                    <a:lnTo>
                      <a:pt x="204" y="71"/>
                    </a:lnTo>
                    <a:lnTo>
                      <a:pt x="205" y="71"/>
                    </a:lnTo>
                    <a:lnTo>
                      <a:pt x="205" y="71"/>
                    </a:lnTo>
                    <a:lnTo>
                      <a:pt x="207" y="70"/>
                    </a:lnTo>
                    <a:lnTo>
                      <a:pt x="209" y="68"/>
                    </a:lnTo>
                    <a:lnTo>
                      <a:pt x="209" y="68"/>
                    </a:lnTo>
                    <a:lnTo>
                      <a:pt x="211" y="70"/>
                    </a:lnTo>
                    <a:lnTo>
                      <a:pt x="211" y="71"/>
                    </a:lnTo>
                    <a:lnTo>
                      <a:pt x="213" y="71"/>
                    </a:lnTo>
                    <a:lnTo>
                      <a:pt x="214" y="72"/>
                    </a:lnTo>
                    <a:lnTo>
                      <a:pt x="213" y="72"/>
                    </a:lnTo>
                    <a:lnTo>
                      <a:pt x="213" y="72"/>
                    </a:lnTo>
                    <a:lnTo>
                      <a:pt x="212" y="73"/>
                    </a:lnTo>
                    <a:lnTo>
                      <a:pt x="211" y="73"/>
                    </a:lnTo>
                    <a:lnTo>
                      <a:pt x="211" y="73"/>
                    </a:lnTo>
                    <a:lnTo>
                      <a:pt x="211" y="74"/>
                    </a:lnTo>
                    <a:lnTo>
                      <a:pt x="211" y="75"/>
                    </a:lnTo>
                    <a:lnTo>
                      <a:pt x="211" y="75"/>
                    </a:lnTo>
                    <a:lnTo>
                      <a:pt x="209" y="74"/>
                    </a:lnTo>
                    <a:lnTo>
                      <a:pt x="207" y="74"/>
                    </a:lnTo>
                    <a:lnTo>
                      <a:pt x="206" y="74"/>
                    </a:lnTo>
                    <a:lnTo>
                      <a:pt x="205" y="73"/>
                    </a:lnTo>
                    <a:lnTo>
                      <a:pt x="204" y="74"/>
                    </a:lnTo>
                    <a:lnTo>
                      <a:pt x="204" y="74"/>
                    </a:lnTo>
                    <a:lnTo>
                      <a:pt x="204" y="75"/>
                    </a:lnTo>
                    <a:lnTo>
                      <a:pt x="204" y="76"/>
                    </a:lnTo>
                    <a:lnTo>
                      <a:pt x="203" y="76"/>
                    </a:lnTo>
                    <a:lnTo>
                      <a:pt x="200" y="76"/>
                    </a:lnTo>
                    <a:lnTo>
                      <a:pt x="199" y="76"/>
                    </a:lnTo>
                    <a:lnTo>
                      <a:pt x="198" y="76"/>
                    </a:lnTo>
                    <a:lnTo>
                      <a:pt x="199" y="76"/>
                    </a:lnTo>
                    <a:lnTo>
                      <a:pt x="199" y="78"/>
                    </a:lnTo>
                    <a:lnTo>
                      <a:pt x="198" y="78"/>
                    </a:lnTo>
                    <a:lnTo>
                      <a:pt x="197" y="79"/>
                    </a:lnTo>
                    <a:lnTo>
                      <a:pt x="196" y="79"/>
                    </a:lnTo>
                    <a:lnTo>
                      <a:pt x="194" y="79"/>
                    </a:lnTo>
                    <a:lnTo>
                      <a:pt x="193" y="79"/>
                    </a:lnTo>
                    <a:lnTo>
                      <a:pt x="193" y="80"/>
                    </a:lnTo>
                    <a:lnTo>
                      <a:pt x="193" y="80"/>
                    </a:lnTo>
                    <a:lnTo>
                      <a:pt x="193" y="80"/>
                    </a:lnTo>
                    <a:lnTo>
                      <a:pt x="192" y="80"/>
                    </a:lnTo>
                    <a:lnTo>
                      <a:pt x="191" y="79"/>
                    </a:lnTo>
                    <a:lnTo>
                      <a:pt x="190" y="79"/>
                    </a:lnTo>
                    <a:lnTo>
                      <a:pt x="190" y="79"/>
                    </a:lnTo>
                    <a:lnTo>
                      <a:pt x="190" y="80"/>
                    </a:lnTo>
                    <a:lnTo>
                      <a:pt x="190" y="81"/>
                    </a:lnTo>
                    <a:lnTo>
                      <a:pt x="190" y="82"/>
                    </a:lnTo>
                    <a:lnTo>
                      <a:pt x="190" y="82"/>
                    </a:lnTo>
                    <a:lnTo>
                      <a:pt x="189" y="82"/>
                    </a:lnTo>
                    <a:lnTo>
                      <a:pt x="188" y="81"/>
                    </a:lnTo>
                    <a:lnTo>
                      <a:pt x="188" y="81"/>
                    </a:lnTo>
                    <a:lnTo>
                      <a:pt x="189" y="82"/>
                    </a:lnTo>
                    <a:lnTo>
                      <a:pt x="189" y="82"/>
                    </a:lnTo>
                    <a:lnTo>
                      <a:pt x="189" y="83"/>
                    </a:lnTo>
                    <a:lnTo>
                      <a:pt x="188" y="83"/>
                    </a:lnTo>
                    <a:lnTo>
                      <a:pt x="186" y="83"/>
                    </a:lnTo>
                    <a:lnTo>
                      <a:pt x="185" y="83"/>
                    </a:lnTo>
                    <a:lnTo>
                      <a:pt x="185" y="83"/>
                    </a:lnTo>
                    <a:lnTo>
                      <a:pt x="184" y="83"/>
                    </a:lnTo>
                    <a:lnTo>
                      <a:pt x="185" y="85"/>
                    </a:lnTo>
                    <a:lnTo>
                      <a:pt x="186" y="86"/>
                    </a:lnTo>
                    <a:lnTo>
                      <a:pt x="186" y="86"/>
                    </a:lnTo>
                    <a:lnTo>
                      <a:pt x="186" y="87"/>
                    </a:lnTo>
                    <a:lnTo>
                      <a:pt x="184" y="87"/>
                    </a:lnTo>
                    <a:lnTo>
                      <a:pt x="183" y="87"/>
                    </a:lnTo>
                    <a:lnTo>
                      <a:pt x="183" y="87"/>
                    </a:lnTo>
                    <a:lnTo>
                      <a:pt x="182" y="86"/>
                    </a:lnTo>
                    <a:lnTo>
                      <a:pt x="182" y="86"/>
                    </a:lnTo>
                    <a:lnTo>
                      <a:pt x="182" y="85"/>
                    </a:lnTo>
                    <a:lnTo>
                      <a:pt x="181" y="86"/>
                    </a:lnTo>
                    <a:lnTo>
                      <a:pt x="181" y="85"/>
                    </a:lnTo>
                    <a:lnTo>
                      <a:pt x="181" y="85"/>
                    </a:lnTo>
                    <a:lnTo>
                      <a:pt x="181" y="85"/>
                    </a:lnTo>
                    <a:lnTo>
                      <a:pt x="181" y="83"/>
                    </a:lnTo>
                    <a:lnTo>
                      <a:pt x="179" y="83"/>
                    </a:lnTo>
                    <a:lnTo>
                      <a:pt x="178" y="82"/>
                    </a:lnTo>
                    <a:lnTo>
                      <a:pt x="178" y="81"/>
                    </a:lnTo>
                    <a:lnTo>
                      <a:pt x="178" y="80"/>
                    </a:lnTo>
                    <a:lnTo>
                      <a:pt x="179" y="79"/>
                    </a:lnTo>
                    <a:lnTo>
                      <a:pt x="179" y="78"/>
                    </a:lnTo>
                    <a:lnTo>
                      <a:pt x="179" y="78"/>
                    </a:lnTo>
                    <a:lnTo>
                      <a:pt x="179" y="79"/>
                    </a:lnTo>
                    <a:lnTo>
                      <a:pt x="177" y="80"/>
                    </a:lnTo>
                    <a:lnTo>
                      <a:pt x="176" y="81"/>
                    </a:lnTo>
                    <a:lnTo>
                      <a:pt x="174" y="82"/>
                    </a:lnTo>
                    <a:lnTo>
                      <a:pt x="174" y="81"/>
                    </a:lnTo>
                    <a:lnTo>
                      <a:pt x="174" y="81"/>
                    </a:lnTo>
                    <a:lnTo>
                      <a:pt x="173" y="81"/>
                    </a:lnTo>
                    <a:lnTo>
                      <a:pt x="173" y="81"/>
                    </a:lnTo>
                    <a:lnTo>
                      <a:pt x="173" y="80"/>
                    </a:lnTo>
                    <a:lnTo>
                      <a:pt x="173" y="79"/>
                    </a:lnTo>
                    <a:lnTo>
                      <a:pt x="171" y="79"/>
                    </a:lnTo>
                    <a:lnTo>
                      <a:pt x="170" y="79"/>
                    </a:lnTo>
                    <a:lnTo>
                      <a:pt x="169" y="80"/>
                    </a:lnTo>
                    <a:lnTo>
                      <a:pt x="168" y="80"/>
                    </a:lnTo>
                    <a:lnTo>
                      <a:pt x="167" y="80"/>
                    </a:lnTo>
                    <a:lnTo>
                      <a:pt x="166" y="80"/>
                    </a:lnTo>
                    <a:lnTo>
                      <a:pt x="166" y="79"/>
                    </a:lnTo>
                    <a:lnTo>
                      <a:pt x="163" y="79"/>
                    </a:lnTo>
                    <a:lnTo>
                      <a:pt x="163" y="78"/>
                    </a:lnTo>
                    <a:lnTo>
                      <a:pt x="163" y="79"/>
                    </a:lnTo>
                    <a:lnTo>
                      <a:pt x="164" y="79"/>
                    </a:lnTo>
                    <a:lnTo>
                      <a:pt x="164" y="80"/>
                    </a:lnTo>
                    <a:lnTo>
                      <a:pt x="166" y="81"/>
                    </a:lnTo>
                    <a:lnTo>
                      <a:pt x="164" y="81"/>
                    </a:lnTo>
                    <a:lnTo>
                      <a:pt x="164" y="82"/>
                    </a:lnTo>
                    <a:lnTo>
                      <a:pt x="162" y="82"/>
                    </a:lnTo>
                    <a:lnTo>
                      <a:pt x="161" y="81"/>
                    </a:lnTo>
                    <a:lnTo>
                      <a:pt x="161" y="81"/>
                    </a:lnTo>
                    <a:lnTo>
                      <a:pt x="161" y="81"/>
                    </a:lnTo>
                    <a:lnTo>
                      <a:pt x="161" y="82"/>
                    </a:lnTo>
                    <a:lnTo>
                      <a:pt x="162" y="82"/>
                    </a:lnTo>
                    <a:lnTo>
                      <a:pt x="162" y="83"/>
                    </a:lnTo>
                    <a:lnTo>
                      <a:pt x="162" y="83"/>
                    </a:lnTo>
                    <a:lnTo>
                      <a:pt x="161" y="85"/>
                    </a:lnTo>
                    <a:lnTo>
                      <a:pt x="160" y="85"/>
                    </a:lnTo>
                    <a:lnTo>
                      <a:pt x="161" y="85"/>
                    </a:lnTo>
                    <a:lnTo>
                      <a:pt x="162" y="86"/>
                    </a:lnTo>
                    <a:lnTo>
                      <a:pt x="163" y="86"/>
                    </a:lnTo>
                    <a:lnTo>
                      <a:pt x="166" y="86"/>
                    </a:lnTo>
                    <a:lnTo>
                      <a:pt x="166" y="86"/>
                    </a:lnTo>
                    <a:lnTo>
                      <a:pt x="167" y="87"/>
                    </a:lnTo>
                    <a:lnTo>
                      <a:pt x="168" y="88"/>
                    </a:lnTo>
                    <a:lnTo>
                      <a:pt x="169" y="89"/>
                    </a:lnTo>
                    <a:lnTo>
                      <a:pt x="170" y="89"/>
                    </a:lnTo>
                    <a:lnTo>
                      <a:pt x="171" y="90"/>
                    </a:lnTo>
                    <a:lnTo>
                      <a:pt x="170" y="90"/>
                    </a:lnTo>
                    <a:lnTo>
                      <a:pt x="170" y="90"/>
                    </a:lnTo>
                    <a:lnTo>
                      <a:pt x="170" y="90"/>
                    </a:lnTo>
                    <a:lnTo>
                      <a:pt x="170" y="90"/>
                    </a:lnTo>
                    <a:lnTo>
                      <a:pt x="170" y="90"/>
                    </a:lnTo>
                    <a:lnTo>
                      <a:pt x="171" y="91"/>
                    </a:lnTo>
                    <a:lnTo>
                      <a:pt x="171" y="93"/>
                    </a:lnTo>
                    <a:lnTo>
                      <a:pt x="170" y="93"/>
                    </a:lnTo>
                    <a:lnTo>
                      <a:pt x="170" y="94"/>
                    </a:lnTo>
                    <a:lnTo>
                      <a:pt x="170" y="94"/>
                    </a:lnTo>
                    <a:lnTo>
                      <a:pt x="171" y="95"/>
                    </a:lnTo>
                    <a:lnTo>
                      <a:pt x="171" y="96"/>
                    </a:lnTo>
                    <a:lnTo>
                      <a:pt x="171" y="96"/>
                    </a:lnTo>
                    <a:lnTo>
                      <a:pt x="170" y="97"/>
                    </a:lnTo>
                    <a:lnTo>
                      <a:pt x="169" y="97"/>
                    </a:lnTo>
                    <a:lnTo>
                      <a:pt x="168" y="97"/>
                    </a:lnTo>
                    <a:lnTo>
                      <a:pt x="167" y="96"/>
                    </a:lnTo>
                    <a:lnTo>
                      <a:pt x="166" y="97"/>
                    </a:lnTo>
                    <a:lnTo>
                      <a:pt x="166" y="97"/>
                    </a:lnTo>
                    <a:lnTo>
                      <a:pt x="164" y="97"/>
                    </a:lnTo>
                    <a:lnTo>
                      <a:pt x="163" y="96"/>
                    </a:lnTo>
                    <a:lnTo>
                      <a:pt x="161" y="95"/>
                    </a:lnTo>
                    <a:lnTo>
                      <a:pt x="161" y="95"/>
                    </a:lnTo>
                    <a:lnTo>
                      <a:pt x="160" y="96"/>
                    </a:lnTo>
                    <a:lnTo>
                      <a:pt x="159" y="96"/>
                    </a:lnTo>
                    <a:lnTo>
                      <a:pt x="156" y="96"/>
                    </a:lnTo>
                    <a:lnTo>
                      <a:pt x="153" y="95"/>
                    </a:lnTo>
                    <a:lnTo>
                      <a:pt x="149" y="94"/>
                    </a:lnTo>
                    <a:lnTo>
                      <a:pt x="153" y="95"/>
                    </a:lnTo>
                    <a:lnTo>
                      <a:pt x="154" y="96"/>
                    </a:lnTo>
                    <a:lnTo>
                      <a:pt x="154" y="97"/>
                    </a:lnTo>
                    <a:lnTo>
                      <a:pt x="154" y="97"/>
                    </a:lnTo>
                    <a:lnTo>
                      <a:pt x="154" y="98"/>
                    </a:lnTo>
                    <a:lnTo>
                      <a:pt x="155" y="97"/>
                    </a:lnTo>
                    <a:lnTo>
                      <a:pt x="156" y="97"/>
                    </a:lnTo>
                    <a:lnTo>
                      <a:pt x="158" y="98"/>
                    </a:lnTo>
                    <a:lnTo>
                      <a:pt x="159" y="100"/>
                    </a:lnTo>
                    <a:lnTo>
                      <a:pt x="159" y="100"/>
                    </a:lnTo>
                    <a:lnTo>
                      <a:pt x="159" y="101"/>
                    </a:lnTo>
                    <a:lnTo>
                      <a:pt x="160" y="101"/>
                    </a:lnTo>
                    <a:lnTo>
                      <a:pt x="162" y="101"/>
                    </a:lnTo>
                    <a:lnTo>
                      <a:pt x="163" y="102"/>
                    </a:lnTo>
                    <a:lnTo>
                      <a:pt x="163" y="102"/>
                    </a:lnTo>
                    <a:lnTo>
                      <a:pt x="162" y="103"/>
                    </a:lnTo>
                    <a:lnTo>
                      <a:pt x="161" y="103"/>
                    </a:lnTo>
                    <a:lnTo>
                      <a:pt x="162" y="104"/>
                    </a:lnTo>
                    <a:lnTo>
                      <a:pt x="162" y="104"/>
                    </a:lnTo>
                    <a:lnTo>
                      <a:pt x="162" y="105"/>
                    </a:lnTo>
                    <a:lnTo>
                      <a:pt x="162" y="106"/>
                    </a:lnTo>
                    <a:lnTo>
                      <a:pt x="161" y="106"/>
                    </a:lnTo>
                    <a:lnTo>
                      <a:pt x="159" y="106"/>
                    </a:lnTo>
                    <a:lnTo>
                      <a:pt x="158" y="105"/>
                    </a:lnTo>
                    <a:lnTo>
                      <a:pt x="156" y="104"/>
                    </a:lnTo>
                    <a:lnTo>
                      <a:pt x="155" y="104"/>
                    </a:lnTo>
                    <a:lnTo>
                      <a:pt x="154" y="105"/>
                    </a:lnTo>
                    <a:lnTo>
                      <a:pt x="152" y="105"/>
                    </a:lnTo>
                    <a:lnTo>
                      <a:pt x="149" y="105"/>
                    </a:lnTo>
                    <a:lnTo>
                      <a:pt x="147" y="104"/>
                    </a:lnTo>
                    <a:lnTo>
                      <a:pt x="145" y="103"/>
                    </a:lnTo>
                    <a:lnTo>
                      <a:pt x="145" y="103"/>
                    </a:lnTo>
                    <a:lnTo>
                      <a:pt x="144" y="102"/>
                    </a:lnTo>
                    <a:lnTo>
                      <a:pt x="141" y="102"/>
                    </a:lnTo>
                    <a:lnTo>
                      <a:pt x="140" y="102"/>
                    </a:lnTo>
                    <a:lnTo>
                      <a:pt x="139" y="103"/>
                    </a:lnTo>
                    <a:lnTo>
                      <a:pt x="139" y="102"/>
                    </a:lnTo>
                    <a:lnTo>
                      <a:pt x="138" y="102"/>
                    </a:lnTo>
                    <a:lnTo>
                      <a:pt x="138" y="102"/>
                    </a:lnTo>
                    <a:lnTo>
                      <a:pt x="138" y="102"/>
                    </a:lnTo>
                    <a:lnTo>
                      <a:pt x="138" y="102"/>
                    </a:lnTo>
                    <a:lnTo>
                      <a:pt x="138" y="104"/>
                    </a:lnTo>
                    <a:lnTo>
                      <a:pt x="137" y="105"/>
                    </a:lnTo>
                    <a:lnTo>
                      <a:pt x="136" y="104"/>
                    </a:lnTo>
                    <a:lnTo>
                      <a:pt x="134" y="104"/>
                    </a:lnTo>
                    <a:lnTo>
                      <a:pt x="132" y="103"/>
                    </a:lnTo>
                    <a:lnTo>
                      <a:pt x="129" y="103"/>
                    </a:lnTo>
                    <a:lnTo>
                      <a:pt x="127" y="102"/>
                    </a:lnTo>
                    <a:lnTo>
                      <a:pt x="127" y="102"/>
                    </a:lnTo>
                    <a:lnTo>
                      <a:pt x="127" y="101"/>
                    </a:lnTo>
                    <a:lnTo>
                      <a:pt x="127" y="101"/>
                    </a:lnTo>
                    <a:lnTo>
                      <a:pt x="127" y="101"/>
                    </a:lnTo>
                    <a:lnTo>
                      <a:pt x="127" y="101"/>
                    </a:lnTo>
                    <a:lnTo>
                      <a:pt x="125" y="102"/>
                    </a:lnTo>
                    <a:lnTo>
                      <a:pt x="124" y="102"/>
                    </a:lnTo>
                    <a:lnTo>
                      <a:pt x="123" y="101"/>
                    </a:lnTo>
                    <a:lnTo>
                      <a:pt x="122" y="100"/>
                    </a:lnTo>
                    <a:lnTo>
                      <a:pt x="121" y="98"/>
                    </a:lnTo>
                    <a:lnTo>
                      <a:pt x="118" y="97"/>
                    </a:lnTo>
                    <a:lnTo>
                      <a:pt x="116" y="97"/>
                    </a:lnTo>
                    <a:lnTo>
                      <a:pt x="112" y="97"/>
                    </a:lnTo>
                    <a:lnTo>
                      <a:pt x="112" y="96"/>
                    </a:lnTo>
                    <a:lnTo>
                      <a:pt x="112" y="96"/>
                    </a:lnTo>
                    <a:lnTo>
                      <a:pt x="112" y="95"/>
                    </a:lnTo>
                    <a:lnTo>
                      <a:pt x="114" y="94"/>
                    </a:lnTo>
                    <a:lnTo>
                      <a:pt x="114" y="94"/>
                    </a:lnTo>
                    <a:lnTo>
                      <a:pt x="114" y="94"/>
                    </a:lnTo>
                    <a:lnTo>
                      <a:pt x="112" y="94"/>
                    </a:lnTo>
                    <a:lnTo>
                      <a:pt x="111" y="95"/>
                    </a:lnTo>
                    <a:lnTo>
                      <a:pt x="110" y="94"/>
                    </a:lnTo>
                    <a:lnTo>
                      <a:pt x="109" y="94"/>
                    </a:lnTo>
                    <a:lnTo>
                      <a:pt x="108" y="93"/>
                    </a:lnTo>
                    <a:lnTo>
                      <a:pt x="107" y="91"/>
                    </a:lnTo>
                    <a:lnTo>
                      <a:pt x="107" y="93"/>
                    </a:lnTo>
                    <a:lnTo>
                      <a:pt x="108" y="93"/>
                    </a:lnTo>
                    <a:lnTo>
                      <a:pt x="108" y="95"/>
                    </a:lnTo>
                    <a:lnTo>
                      <a:pt x="109" y="96"/>
                    </a:lnTo>
                    <a:lnTo>
                      <a:pt x="109" y="96"/>
                    </a:lnTo>
                    <a:lnTo>
                      <a:pt x="109" y="96"/>
                    </a:lnTo>
                    <a:lnTo>
                      <a:pt x="107" y="96"/>
                    </a:lnTo>
                    <a:lnTo>
                      <a:pt x="106" y="95"/>
                    </a:lnTo>
                    <a:lnTo>
                      <a:pt x="103" y="95"/>
                    </a:lnTo>
                    <a:lnTo>
                      <a:pt x="102" y="94"/>
                    </a:lnTo>
                    <a:lnTo>
                      <a:pt x="102" y="94"/>
                    </a:lnTo>
                    <a:lnTo>
                      <a:pt x="102" y="94"/>
                    </a:lnTo>
                    <a:lnTo>
                      <a:pt x="102" y="94"/>
                    </a:lnTo>
                    <a:lnTo>
                      <a:pt x="102" y="94"/>
                    </a:lnTo>
                    <a:lnTo>
                      <a:pt x="103" y="95"/>
                    </a:lnTo>
                    <a:lnTo>
                      <a:pt x="102" y="95"/>
                    </a:lnTo>
                    <a:lnTo>
                      <a:pt x="101" y="95"/>
                    </a:lnTo>
                    <a:lnTo>
                      <a:pt x="100" y="95"/>
                    </a:lnTo>
                    <a:lnTo>
                      <a:pt x="99" y="95"/>
                    </a:lnTo>
                    <a:lnTo>
                      <a:pt x="99" y="96"/>
                    </a:lnTo>
                    <a:lnTo>
                      <a:pt x="100" y="96"/>
                    </a:lnTo>
                    <a:lnTo>
                      <a:pt x="99" y="96"/>
                    </a:lnTo>
                    <a:lnTo>
                      <a:pt x="97" y="96"/>
                    </a:lnTo>
                    <a:lnTo>
                      <a:pt x="96" y="96"/>
                    </a:lnTo>
                    <a:lnTo>
                      <a:pt x="97" y="97"/>
                    </a:lnTo>
                    <a:lnTo>
                      <a:pt x="97" y="98"/>
                    </a:lnTo>
                    <a:lnTo>
                      <a:pt x="97" y="98"/>
                    </a:lnTo>
                    <a:lnTo>
                      <a:pt x="96" y="98"/>
                    </a:lnTo>
                    <a:lnTo>
                      <a:pt x="95" y="97"/>
                    </a:lnTo>
                    <a:lnTo>
                      <a:pt x="94" y="97"/>
                    </a:lnTo>
                    <a:lnTo>
                      <a:pt x="94" y="97"/>
                    </a:lnTo>
                    <a:lnTo>
                      <a:pt x="93" y="97"/>
                    </a:lnTo>
                    <a:lnTo>
                      <a:pt x="92" y="97"/>
                    </a:lnTo>
                    <a:lnTo>
                      <a:pt x="91" y="97"/>
                    </a:lnTo>
                    <a:lnTo>
                      <a:pt x="89" y="96"/>
                    </a:lnTo>
                    <a:lnTo>
                      <a:pt x="91" y="96"/>
                    </a:lnTo>
                    <a:lnTo>
                      <a:pt x="91" y="95"/>
                    </a:lnTo>
                    <a:lnTo>
                      <a:pt x="89" y="95"/>
                    </a:lnTo>
                    <a:lnTo>
                      <a:pt x="89" y="95"/>
                    </a:lnTo>
                    <a:lnTo>
                      <a:pt x="89" y="94"/>
                    </a:lnTo>
                    <a:lnTo>
                      <a:pt x="91" y="93"/>
                    </a:lnTo>
                    <a:lnTo>
                      <a:pt x="92" y="91"/>
                    </a:lnTo>
                    <a:lnTo>
                      <a:pt x="92" y="90"/>
                    </a:lnTo>
                    <a:lnTo>
                      <a:pt x="93" y="90"/>
                    </a:lnTo>
                    <a:lnTo>
                      <a:pt x="94" y="89"/>
                    </a:lnTo>
                    <a:lnTo>
                      <a:pt x="94" y="89"/>
                    </a:lnTo>
                    <a:lnTo>
                      <a:pt x="94" y="89"/>
                    </a:lnTo>
                    <a:lnTo>
                      <a:pt x="92" y="89"/>
                    </a:lnTo>
                    <a:lnTo>
                      <a:pt x="91" y="88"/>
                    </a:lnTo>
                    <a:lnTo>
                      <a:pt x="92" y="88"/>
                    </a:lnTo>
                    <a:lnTo>
                      <a:pt x="92" y="87"/>
                    </a:lnTo>
                    <a:lnTo>
                      <a:pt x="94" y="88"/>
                    </a:lnTo>
                    <a:lnTo>
                      <a:pt x="95" y="88"/>
                    </a:lnTo>
                    <a:lnTo>
                      <a:pt x="97" y="88"/>
                    </a:lnTo>
                    <a:lnTo>
                      <a:pt x="99" y="88"/>
                    </a:lnTo>
                    <a:lnTo>
                      <a:pt x="100" y="88"/>
                    </a:lnTo>
                    <a:lnTo>
                      <a:pt x="100" y="88"/>
                    </a:lnTo>
                    <a:lnTo>
                      <a:pt x="99" y="87"/>
                    </a:lnTo>
                    <a:lnTo>
                      <a:pt x="97" y="86"/>
                    </a:lnTo>
                    <a:lnTo>
                      <a:pt x="97" y="86"/>
                    </a:lnTo>
                    <a:lnTo>
                      <a:pt x="99" y="86"/>
                    </a:lnTo>
                    <a:lnTo>
                      <a:pt x="100" y="86"/>
                    </a:lnTo>
                    <a:lnTo>
                      <a:pt x="102" y="86"/>
                    </a:lnTo>
                    <a:lnTo>
                      <a:pt x="104" y="86"/>
                    </a:lnTo>
                    <a:lnTo>
                      <a:pt x="106" y="86"/>
                    </a:lnTo>
                    <a:lnTo>
                      <a:pt x="108" y="86"/>
                    </a:lnTo>
                    <a:lnTo>
                      <a:pt x="108" y="86"/>
                    </a:lnTo>
                    <a:lnTo>
                      <a:pt x="108" y="86"/>
                    </a:lnTo>
                    <a:lnTo>
                      <a:pt x="108" y="85"/>
                    </a:lnTo>
                    <a:lnTo>
                      <a:pt x="109" y="85"/>
                    </a:lnTo>
                    <a:lnTo>
                      <a:pt x="110" y="85"/>
                    </a:lnTo>
                    <a:lnTo>
                      <a:pt x="111" y="86"/>
                    </a:lnTo>
                    <a:lnTo>
                      <a:pt x="114" y="86"/>
                    </a:lnTo>
                    <a:lnTo>
                      <a:pt x="115" y="86"/>
                    </a:lnTo>
                    <a:lnTo>
                      <a:pt x="115" y="86"/>
                    </a:lnTo>
                    <a:lnTo>
                      <a:pt x="115" y="86"/>
                    </a:lnTo>
                    <a:lnTo>
                      <a:pt x="115" y="85"/>
                    </a:lnTo>
                    <a:lnTo>
                      <a:pt x="115" y="85"/>
                    </a:lnTo>
                    <a:lnTo>
                      <a:pt x="117" y="85"/>
                    </a:lnTo>
                    <a:lnTo>
                      <a:pt x="118" y="85"/>
                    </a:lnTo>
                    <a:lnTo>
                      <a:pt x="119" y="85"/>
                    </a:lnTo>
                    <a:lnTo>
                      <a:pt x="121" y="85"/>
                    </a:lnTo>
                    <a:lnTo>
                      <a:pt x="119" y="83"/>
                    </a:lnTo>
                    <a:lnTo>
                      <a:pt x="121" y="82"/>
                    </a:lnTo>
                    <a:lnTo>
                      <a:pt x="122" y="82"/>
                    </a:lnTo>
                    <a:lnTo>
                      <a:pt x="123" y="83"/>
                    </a:lnTo>
                    <a:lnTo>
                      <a:pt x="125" y="83"/>
                    </a:lnTo>
                    <a:lnTo>
                      <a:pt x="129" y="83"/>
                    </a:lnTo>
                    <a:lnTo>
                      <a:pt x="127" y="82"/>
                    </a:lnTo>
                    <a:lnTo>
                      <a:pt x="125" y="82"/>
                    </a:lnTo>
                    <a:lnTo>
                      <a:pt x="124" y="81"/>
                    </a:lnTo>
                    <a:lnTo>
                      <a:pt x="122" y="81"/>
                    </a:lnTo>
                    <a:lnTo>
                      <a:pt x="122" y="80"/>
                    </a:lnTo>
                    <a:lnTo>
                      <a:pt x="123" y="79"/>
                    </a:lnTo>
                    <a:lnTo>
                      <a:pt x="125" y="79"/>
                    </a:lnTo>
                    <a:lnTo>
                      <a:pt x="127" y="79"/>
                    </a:lnTo>
                    <a:lnTo>
                      <a:pt x="129" y="79"/>
                    </a:lnTo>
                    <a:lnTo>
                      <a:pt x="130" y="78"/>
                    </a:lnTo>
                    <a:lnTo>
                      <a:pt x="132" y="78"/>
                    </a:lnTo>
                    <a:lnTo>
                      <a:pt x="134" y="78"/>
                    </a:lnTo>
                    <a:lnTo>
                      <a:pt x="136" y="78"/>
                    </a:lnTo>
                    <a:lnTo>
                      <a:pt x="137" y="79"/>
                    </a:lnTo>
                    <a:lnTo>
                      <a:pt x="138" y="79"/>
                    </a:lnTo>
                    <a:lnTo>
                      <a:pt x="139" y="80"/>
                    </a:lnTo>
                    <a:lnTo>
                      <a:pt x="138" y="81"/>
                    </a:lnTo>
                    <a:lnTo>
                      <a:pt x="138" y="82"/>
                    </a:lnTo>
                    <a:lnTo>
                      <a:pt x="137" y="82"/>
                    </a:lnTo>
                    <a:lnTo>
                      <a:pt x="137" y="83"/>
                    </a:lnTo>
                    <a:lnTo>
                      <a:pt x="137" y="85"/>
                    </a:lnTo>
                    <a:lnTo>
                      <a:pt x="136" y="86"/>
                    </a:lnTo>
                    <a:lnTo>
                      <a:pt x="136" y="85"/>
                    </a:lnTo>
                    <a:lnTo>
                      <a:pt x="137" y="85"/>
                    </a:lnTo>
                    <a:lnTo>
                      <a:pt x="139" y="83"/>
                    </a:lnTo>
                    <a:lnTo>
                      <a:pt x="141" y="82"/>
                    </a:lnTo>
                    <a:lnTo>
                      <a:pt x="143" y="81"/>
                    </a:lnTo>
                    <a:lnTo>
                      <a:pt x="144" y="81"/>
                    </a:lnTo>
                    <a:lnTo>
                      <a:pt x="145" y="81"/>
                    </a:lnTo>
                    <a:lnTo>
                      <a:pt x="146" y="81"/>
                    </a:lnTo>
                    <a:lnTo>
                      <a:pt x="148" y="80"/>
                    </a:lnTo>
                    <a:lnTo>
                      <a:pt x="149" y="80"/>
                    </a:lnTo>
                    <a:lnTo>
                      <a:pt x="151" y="80"/>
                    </a:lnTo>
                    <a:lnTo>
                      <a:pt x="152" y="79"/>
                    </a:lnTo>
                    <a:lnTo>
                      <a:pt x="153" y="79"/>
                    </a:lnTo>
                    <a:lnTo>
                      <a:pt x="152" y="79"/>
                    </a:lnTo>
                    <a:lnTo>
                      <a:pt x="149" y="79"/>
                    </a:lnTo>
                    <a:lnTo>
                      <a:pt x="147" y="78"/>
                    </a:lnTo>
                    <a:lnTo>
                      <a:pt x="147" y="78"/>
                    </a:lnTo>
                    <a:lnTo>
                      <a:pt x="146" y="76"/>
                    </a:lnTo>
                    <a:lnTo>
                      <a:pt x="146" y="74"/>
                    </a:lnTo>
                    <a:lnTo>
                      <a:pt x="146" y="74"/>
                    </a:lnTo>
                    <a:lnTo>
                      <a:pt x="145" y="74"/>
                    </a:lnTo>
                    <a:lnTo>
                      <a:pt x="144" y="75"/>
                    </a:lnTo>
                    <a:lnTo>
                      <a:pt x="143" y="76"/>
                    </a:lnTo>
                    <a:lnTo>
                      <a:pt x="141" y="79"/>
                    </a:lnTo>
                    <a:lnTo>
                      <a:pt x="139" y="79"/>
                    </a:lnTo>
                    <a:lnTo>
                      <a:pt x="137" y="79"/>
                    </a:lnTo>
                    <a:lnTo>
                      <a:pt x="137" y="79"/>
                    </a:lnTo>
                    <a:lnTo>
                      <a:pt x="136" y="79"/>
                    </a:lnTo>
                    <a:lnTo>
                      <a:pt x="136" y="78"/>
                    </a:lnTo>
                    <a:lnTo>
                      <a:pt x="134" y="78"/>
                    </a:lnTo>
                    <a:lnTo>
                      <a:pt x="132" y="76"/>
                    </a:lnTo>
                    <a:lnTo>
                      <a:pt x="131" y="76"/>
                    </a:lnTo>
                    <a:lnTo>
                      <a:pt x="131" y="76"/>
                    </a:lnTo>
                    <a:lnTo>
                      <a:pt x="132" y="75"/>
                    </a:lnTo>
                    <a:lnTo>
                      <a:pt x="133" y="74"/>
                    </a:lnTo>
                    <a:lnTo>
                      <a:pt x="136" y="74"/>
                    </a:lnTo>
                    <a:lnTo>
                      <a:pt x="138" y="73"/>
                    </a:lnTo>
                    <a:lnTo>
                      <a:pt x="139" y="72"/>
                    </a:lnTo>
                    <a:lnTo>
                      <a:pt x="140" y="72"/>
                    </a:lnTo>
                    <a:lnTo>
                      <a:pt x="141" y="72"/>
                    </a:lnTo>
                    <a:lnTo>
                      <a:pt x="143" y="72"/>
                    </a:lnTo>
                    <a:lnTo>
                      <a:pt x="145" y="71"/>
                    </a:lnTo>
                    <a:lnTo>
                      <a:pt x="146" y="71"/>
                    </a:lnTo>
                    <a:lnTo>
                      <a:pt x="146" y="71"/>
                    </a:lnTo>
                    <a:lnTo>
                      <a:pt x="146" y="70"/>
                    </a:lnTo>
                    <a:lnTo>
                      <a:pt x="145" y="68"/>
                    </a:lnTo>
                    <a:lnTo>
                      <a:pt x="145" y="67"/>
                    </a:lnTo>
                    <a:lnTo>
                      <a:pt x="145" y="66"/>
                    </a:lnTo>
                    <a:lnTo>
                      <a:pt x="144" y="65"/>
                    </a:lnTo>
                    <a:lnTo>
                      <a:pt x="144" y="65"/>
                    </a:lnTo>
                    <a:lnTo>
                      <a:pt x="143" y="65"/>
                    </a:lnTo>
                    <a:lnTo>
                      <a:pt x="141" y="64"/>
                    </a:lnTo>
                    <a:lnTo>
                      <a:pt x="139" y="64"/>
                    </a:lnTo>
                    <a:lnTo>
                      <a:pt x="137" y="64"/>
                    </a:lnTo>
                    <a:lnTo>
                      <a:pt x="136" y="63"/>
                    </a:lnTo>
                    <a:lnTo>
                      <a:pt x="134" y="63"/>
                    </a:lnTo>
                    <a:lnTo>
                      <a:pt x="134" y="64"/>
                    </a:lnTo>
                    <a:lnTo>
                      <a:pt x="134" y="65"/>
                    </a:lnTo>
                    <a:lnTo>
                      <a:pt x="133" y="66"/>
                    </a:lnTo>
                    <a:lnTo>
                      <a:pt x="132" y="66"/>
                    </a:lnTo>
                    <a:lnTo>
                      <a:pt x="131" y="66"/>
                    </a:lnTo>
                    <a:lnTo>
                      <a:pt x="130" y="65"/>
                    </a:lnTo>
                    <a:lnTo>
                      <a:pt x="131" y="64"/>
                    </a:lnTo>
                    <a:lnTo>
                      <a:pt x="132" y="63"/>
                    </a:lnTo>
                    <a:lnTo>
                      <a:pt x="134" y="63"/>
                    </a:lnTo>
                    <a:lnTo>
                      <a:pt x="134" y="63"/>
                    </a:lnTo>
                    <a:lnTo>
                      <a:pt x="134" y="61"/>
                    </a:lnTo>
                    <a:lnTo>
                      <a:pt x="133" y="61"/>
                    </a:lnTo>
                    <a:lnTo>
                      <a:pt x="132" y="61"/>
                    </a:lnTo>
                    <a:lnTo>
                      <a:pt x="131" y="60"/>
                    </a:lnTo>
                    <a:lnTo>
                      <a:pt x="129" y="60"/>
                    </a:lnTo>
                    <a:lnTo>
                      <a:pt x="129" y="60"/>
                    </a:lnTo>
                    <a:lnTo>
                      <a:pt x="129" y="59"/>
                    </a:lnTo>
                    <a:lnTo>
                      <a:pt x="129" y="59"/>
                    </a:lnTo>
                    <a:lnTo>
                      <a:pt x="129" y="58"/>
                    </a:lnTo>
                    <a:lnTo>
                      <a:pt x="127" y="59"/>
                    </a:lnTo>
                    <a:lnTo>
                      <a:pt x="126" y="59"/>
                    </a:lnTo>
                    <a:lnTo>
                      <a:pt x="126" y="58"/>
                    </a:lnTo>
                    <a:lnTo>
                      <a:pt x="125" y="58"/>
                    </a:lnTo>
                    <a:lnTo>
                      <a:pt x="124" y="58"/>
                    </a:lnTo>
                    <a:lnTo>
                      <a:pt x="122" y="57"/>
                    </a:lnTo>
                    <a:lnTo>
                      <a:pt x="121" y="57"/>
                    </a:lnTo>
                    <a:lnTo>
                      <a:pt x="119" y="56"/>
                    </a:lnTo>
                    <a:lnTo>
                      <a:pt x="119" y="56"/>
                    </a:lnTo>
                    <a:lnTo>
                      <a:pt x="119" y="56"/>
                    </a:lnTo>
                    <a:lnTo>
                      <a:pt x="119" y="55"/>
                    </a:lnTo>
                    <a:lnTo>
                      <a:pt x="119" y="56"/>
                    </a:lnTo>
                    <a:lnTo>
                      <a:pt x="119" y="56"/>
                    </a:lnTo>
                    <a:lnTo>
                      <a:pt x="118" y="57"/>
                    </a:lnTo>
                    <a:lnTo>
                      <a:pt x="117" y="57"/>
                    </a:lnTo>
                    <a:lnTo>
                      <a:pt x="116" y="56"/>
                    </a:lnTo>
                    <a:lnTo>
                      <a:pt x="115" y="55"/>
                    </a:lnTo>
                    <a:lnTo>
                      <a:pt x="114" y="55"/>
                    </a:lnTo>
                    <a:lnTo>
                      <a:pt x="112" y="53"/>
                    </a:lnTo>
                    <a:lnTo>
                      <a:pt x="114" y="55"/>
                    </a:lnTo>
                    <a:lnTo>
                      <a:pt x="114" y="56"/>
                    </a:lnTo>
                    <a:lnTo>
                      <a:pt x="115" y="57"/>
                    </a:lnTo>
                    <a:lnTo>
                      <a:pt x="115" y="58"/>
                    </a:lnTo>
                    <a:lnTo>
                      <a:pt x="114" y="59"/>
                    </a:lnTo>
                    <a:lnTo>
                      <a:pt x="112" y="59"/>
                    </a:lnTo>
                    <a:lnTo>
                      <a:pt x="111" y="59"/>
                    </a:lnTo>
                    <a:lnTo>
                      <a:pt x="110" y="59"/>
                    </a:lnTo>
                    <a:lnTo>
                      <a:pt x="109" y="58"/>
                    </a:lnTo>
                    <a:lnTo>
                      <a:pt x="108" y="58"/>
                    </a:lnTo>
                    <a:lnTo>
                      <a:pt x="106" y="57"/>
                    </a:lnTo>
                    <a:lnTo>
                      <a:pt x="106" y="58"/>
                    </a:lnTo>
                    <a:lnTo>
                      <a:pt x="107" y="59"/>
                    </a:lnTo>
                    <a:lnTo>
                      <a:pt x="108" y="59"/>
                    </a:lnTo>
                    <a:lnTo>
                      <a:pt x="108" y="60"/>
                    </a:lnTo>
                    <a:lnTo>
                      <a:pt x="109" y="60"/>
                    </a:lnTo>
                    <a:lnTo>
                      <a:pt x="108" y="60"/>
                    </a:lnTo>
                    <a:lnTo>
                      <a:pt x="107" y="61"/>
                    </a:lnTo>
                    <a:lnTo>
                      <a:pt x="106" y="61"/>
                    </a:lnTo>
                    <a:lnTo>
                      <a:pt x="104" y="61"/>
                    </a:lnTo>
                    <a:lnTo>
                      <a:pt x="104" y="60"/>
                    </a:lnTo>
                    <a:lnTo>
                      <a:pt x="102" y="59"/>
                    </a:lnTo>
                    <a:lnTo>
                      <a:pt x="102" y="58"/>
                    </a:lnTo>
                    <a:lnTo>
                      <a:pt x="102" y="59"/>
                    </a:lnTo>
                    <a:lnTo>
                      <a:pt x="102" y="60"/>
                    </a:lnTo>
                    <a:lnTo>
                      <a:pt x="101" y="61"/>
                    </a:lnTo>
                    <a:lnTo>
                      <a:pt x="101" y="63"/>
                    </a:lnTo>
                    <a:lnTo>
                      <a:pt x="100" y="63"/>
                    </a:lnTo>
                    <a:lnTo>
                      <a:pt x="99" y="61"/>
                    </a:lnTo>
                    <a:lnTo>
                      <a:pt x="99" y="60"/>
                    </a:lnTo>
                    <a:lnTo>
                      <a:pt x="97" y="60"/>
                    </a:lnTo>
                    <a:lnTo>
                      <a:pt x="95" y="60"/>
                    </a:lnTo>
                    <a:lnTo>
                      <a:pt x="95" y="60"/>
                    </a:lnTo>
                    <a:lnTo>
                      <a:pt x="94" y="60"/>
                    </a:lnTo>
                    <a:lnTo>
                      <a:pt x="94" y="59"/>
                    </a:lnTo>
                    <a:lnTo>
                      <a:pt x="94" y="59"/>
                    </a:lnTo>
                    <a:lnTo>
                      <a:pt x="92" y="59"/>
                    </a:lnTo>
                    <a:lnTo>
                      <a:pt x="91" y="60"/>
                    </a:lnTo>
                    <a:lnTo>
                      <a:pt x="91" y="59"/>
                    </a:lnTo>
                    <a:lnTo>
                      <a:pt x="91" y="58"/>
                    </a:lnTo>
                    <a:lnTo>
                      <a:pt x="92" y="57"/>
                    </a:lnTo>
                    <a:lnTo>
                      <a:pt x="92" y="57"/>
                    </a:lnTo>
                    <a:lnTo>
                      <a:pt x="92" y="58"/>
                    </a:lnTo>
                    <a:lnTo>
                      <a:pt x="91" y="58"/>
                    </a:lnTo>
                    <a:lnTo>
                      <a:pt x="88" y="59"/>
                    </a:lnTo>
                    <a:lnTo>
                      <a:pt x="87" y="60"/>
                    </a:lnTo>
                    <a:lnTo>
                      <a:pt x="87" y="59"/>
                    </a:lnTo>
                    <a:lnTo>
                      <a:pt x="85" y="59"/>
                    </a:lnTo>
                    <a:lnTo>
                      <a:pt x="84" y="59"/>
                    </a:lnTo>
                    <a:lnTo>
                      <a:pt x="81" y="59"/>
                    </a:lnTo>
                    <a:lnTo>
                      <a:pt x="81" y="58"/>
                    </a:lnTo>
                    <a:lnTo>
                      <a:pt x="80" y="58"/>
                    </a:lnTo>
                    <a:lnTo>
                      <a:pt x="79" y="58"/>
                    </a:lnTo>
                    <a:lnTo>
                      <a:pt x="78" y="59"/>
                    </a:lnTo>
                    <a:lnTo>
                      <a:pt x="77" y="59"/>
                    </a:lnTo>
                    <a:lnTo>
                      <a:pt x="76" y="60"/>
                    </a:lnTo>
                    <a:lnTo>
                      <a:pt x="74" y="60"/>
                    </a:lnTo>
                    <a:lnTo>
                      <a:pt x="74" y="60"/>
                    </a:lnTo>
                    <a:lnTo>
                      <a:pt x="72" y="60"/>
                    </a:lnTo>
                    <a:lnTo>
                      <a:pt x="70" y="60"/>
                    </a:lnTo>
                    <a:lnTo>
                      <a:pt x="67" y="61"/>
                    </a:lnTo>
                    <a:lnTo>
                      <a:pt x="65" y="60"/>
                    </a:lnTo>
                    <a:lnTo>
                      <a:pt x="63" y="60"/>
                    </a:lnTo>
                    <a:lnTo>
                      <a:pt x="62" y="59"/>
                    </a:lnTo>
                    <a:lnTo>
                      <a:pt x="61" y="58"/>
                    </a:lnTo>
                    <a:lnTo>
                      <a:pt x="61" y="57"/>
                    </a:lnTo>
                    <a:lnTo>
                      <a:pt x="62" y="56"/>
                    </a:lnTo>
                    <a:lnTo>
                      <a:pt x="64" y="56"/>
                    </a:lnTo>
                    <a:lnTo>
                      <a:pt x="65" y="56"/>
                    </a:lnTo>
                    <a:lnTo>
                      <a:pt x="65" y="56"/>
                    </a:lnTo>
                    <a:lnTo>
                      <a:pt x="64" y="55"/>
                    </a:lnTo>
                    <a:lnTo>
                      <a:pt x="63" y="53"/>
                    </a:lnTo>
                    <a:lnTo>
                      <a:pt x="63" y="53"/>
                    </a:lnTo>
                    <a:lnTo>
                      <a:pt x="64" y="52"/>
                    </a:lnTo>
                    <a:lnTo>
                      <a:pt x="66" y="50"/>
                    </a:lnTo>
                    <a:lnTo>
                      <a:pt x="69" y="50"/>
                    </a:lnTo>
                    <a:lnTo>
                      <a:pt x="70" y="49"/>
                    </a:lnTo>
                    <a:lnTo>
                      <a:pt x="70" y="48"/>
                    </a:lnTo>
                    <a:lnTo>
                      <a:pt x="71" y="46"/>
                    </a:lnTo>
                    <a:lnTo>
                      <a:pt x="73" y="45"/>
                    </a:lnTo>
                    <a:lnTo>
                      <a:pt x="74" y="44"/>
                    </a:lnTo>
                    <a:lnTo>
                      <a:pt x="77" y="44"/>
                    </a:lnTo>
                    <a:lnTo>
                      <a:pt x="78" y="43"/>
                    </a:lnTo>
                    <a:lnTo>
                      <a:pt x="81" y="42"/>
                    </a:lnTo>
                    <a:lnTo>
                      <a:pt x="85" y="42"/>
                    </a:lnTo>
                    <a:lnTo>
                      <a:pt x="87" y="42"/>
                    </a:lnTo>
                    <a:lnTo>
                      <a:pt x="92" y="42"/>
                    </a:lnTo>
                    <a:lnTo>
                      <a:pt x="94" y="42"/>
                    </a:lnTo>
                    <a:lnTo>
                      <a:pt x="95" y="42"/>
                    </a:lnTo>
                    <a:lnTo>
                      <a:pt x="95" y="43"/>
                    </a:lnTo>
                    <a:lnTo>
                      <a:pt x="94" y="44"/>
                    </a:lnTo>
                    <a:lnTo>
                      <a:pt x="92" y="45"/>
                    </a:lnTo>
                    <a:lnTo>
                      <a:pt x="91" y="46"/>
                    </a:lnTo>
                    <a:lnTo>
                      <a:pt x="91" y="48"/>
                    </a:lnTo>
                    <a:lnTo>
                      <a:pt x="88" y="49"/>
                    </a:lnTo>
                    <a:lnTo>
                      <a:pt x="87" y="50"/>
                    </a:lnTo>
                    <a:lnTo>
                      <a:pt x="86" y="51"/>
                    </a:lnTo>
                    <a:lnTo>
                      <a:pt x="85" y="52"/>
                    </a:lnTo>
                    <a:lnTo>
                      <a:pt x="85" y="53"/>
                    </a:lnTo>
                    <a:lnTo>
                      <a:pt x="85" y="55"/>
                    </a:lnTo>
                    <a:lnTo>
                      <a:pt x="87" y="56"/>
                    </a:lnTo>
                    <a:lnTo>
                      <a:pt x="87" y="53"/>
                    </a:lnTo>
                    <a:lnTo>
                      <a:pt x="87" y="52"/>
                    </a:lnTo>
                    <a:lnTo>
                      <a:pt x="89" y="51"/>
                    </a:lnTo>
                    <a:lnTo>
                      <a:pt x="91" y="51"/>
                    </a:lnTo>
                    <a:lnTo>
                      <a:pt x="93" y="51"/>
                    </a:lnTo>
                    <a:lnTo>
                      <a:pt x="94" y="51"/>
                    </a:lnTo>
                    <a:lnTo>
                      <a:pt x="95" y="51"/>
                    </a:lnTo>
                    <a:lnTo>
                      <a:pt x="96" y="51"/>
                    </a:lnTo>
                    <a:lnTo>
                      <a:pt x="95" y="50"/>
                    </a:lnTo>
                    <a:lnTo>
                      <a:pt x="93" y="49"/>
                    </a:lnTo>
                    <a:lnTo>
                      <a:pt x="93" y="49"/>
                    </a:lnTo>
                    <a:lnTo>
                      <a:pt x="93" y="48"/>
                    </a:lnTo>
                    <a:lnTo>
                      <a:pt x="94" y="46"/>
                    </a:lnTo>
                    <a:lnTo>
                      <a:pt x="96" y="46"/>
                    </a:lnTo>
                    <a:lnTo>
                      <a:pt x="97" y="45"/>
                    </a:lnTo>
                    <a:lnTo>
                      <a:pt x="99" y="45"/>
                    </a:lnTo>
                    <a:lnTo>
                      <a:pt x="100" y="45"/>
                    </a:lnTo>
                    <a:lnTo>
                      <a:pt x="99" y="45"/>
                    </a:lnTo>
                    <a:lnTo>
                      <a:pt x="97" y="45"/>
                    </a:lnTo>
                    <a:lnTo>
                      <a:pt x="97" y="45"/>
                    </a:lnTo>
                    <a:lnTo>
                      <a:pt x="99" y="45"/>
                    </a:lnTo>
                    <a:lnTo>
                      <a:pt x="100" y="45"/>
                    </a:lnTo>
                    <a:lnTo>
                      <a:pt x="102" y="44"/>
                    </a:lnTo>
                    <a:lnTo>
                      <a:pt x="104" y="44"/>
                    </a:lnTo>
                    <a:lnTo>
                      <a:pt x="106" y="43"/>
                    </a:lnTo>
                    <a:lnTo>
                      <a:pt x="107" y="43"/>
                    </a:lnTo>
                    <a:lnTo>
                      <a:pt x="108" y="43"/>
                    </a:lnTo>
                    <a:lnTo>
                      <a:pt x="109" y="43"/>
                    </a:lnTo>
                    <a:lnTo>
                      <a:pt x="110" y="42"/>
                    </a:lnTo>
                    <a:lnTo>
                      <a:pt x="112" y="42"/>
                    </a:lnTo>
                    <a:lnTo>
                      <a:pt x="117" y="41"/>
                    </a:lnTo>
                    <a:lnTo>
                      <a:pt x="121" y="40"/>
                    </a:lnTo>
                    <a:lnTo>
                      <a:pt x="123" y="40"/>
                    </a:lnTo>
                    <a:lnTo>
                      <a:pt x="125" y="40"/>
                    </a:lnTo>
                    <a:close/>
                    <a:moveTo>
                      <a:pt x="139" y="37"/>
                    </a:moveTo>
                    <a:lnTo>
                      <a:pt x="141" y="38"/>
                    </a:lnTo>
                    <a:lnTo>
                      <a:pt x="143" y="38"/>
                    </a:lnTo>
                    <a:lnTo>
                      <a:pt x="144" y="40"/>
                    </a:lnTo>
                    <a:lnTo>
                      <a:pt x="146" y="40"/>
                    </a:lnTo>
                    <a:lnTo>
                      <a:pt x="147" y="41"/>
                    </a:lnTo>
                    <a:lnTo>
                      <a:pt x="147" y="41"/>
                    </a:lnTo>
                    <a:lnTo>
                      <a:pt x="146" y="42"/>
                    </a:lnTo>
                    <a:lnTo>
                      <a:pt x="144" y="42"/>
                    </a:lnTo>
                    <a:lnTo>
                      <a:pt x="141" y="42"/>
                    </a:lnTo>
                    <a:lnTo>
                      <a:pt x="139" y="43"/>
                    </a:lnTo>
                    <a:lnTo>
                      <a:pt x="138" y="44"/>
                    </a:lnTo>
                    <a:lnTo>
                      <a:pt x="136" y="44"/>
                    </a:lnTo>
                    <a:lnTo>
                      <a:pt x="133" y="45"/>
                    </a:lnTo>
                    <a:lnTo>
                      <a:pt x="132" y="45"/>
                    </a:lnTo>
                    <a:lnTo>
                      <a:pt x="131" y="44"/>
                    </a:lnTo>
                    <a:lnTo>
                      <a:pt x="131" y="43"/>
                    </a:lnTo>
                    <a:lnTo>
                      <a:pt x="131" y="43"/>
                    </a:lnTo>
                    <a:lnTo>
                      <a:pt x="131" y="42"/>
                    </a:lnTo>
                    <a:lnTo>
                      <a:pt x="130" y="41"/>
                    </a:lnTo>
                    <a:lnTo>
                      <a:pt x="130" y="40"/>
                    </a:lnTo>
                    <a:lnTo>
                      <a:pt x="130" y="40"/>
                    </a:lnTo>
                    <a:lnTo>
                      <a:pt x="132" y="38"/>
                    </a:lnTo>
                    <a:lnTo>
                      <a:pt x="134" y="38"/>
                    </a:lnTo>
                    <a:lnTo>
                      <a:pt x="137" y="37"/>
                    </a:lnTo>
                    <a:lnTo>
                      <a:pt x="139" y="37"/>
                    </a:lnTo>
                    <a:close/>
                    <a:moveTo>
                      <a:pt x="64" y="35"/>
                    </a:moveTo>
                    <a:lnTo>
                      <a:pt x="66" y="35"/>
                    </a:lnTo>
                    <a:lnTo>
                      <a:pt x="67" y="36"/>
                    </a:lnTo>
                    <a:lnTo>
                      <a:pt x="67" y="36"/>
                    </a:lnTo>
                    <a:lnTo>
                      <a:pt x="67" y="37"/>
                    </a:lnTo>
                    <a:lnTo>
                      <a:pt x="66" y="38"/>
                    </a:lnTo>
                    <a:lnTo>
                      <a:pt x="66" y="38"/>
                    </a:lnTo>
                    <a:lnTo>
                      <a:pt x="63" y="40"/>
                    </a:lnTo>
                    <a:lnTo>
                      <a:pt x="62" y="40"/>
                    </a:lnTo>
                    <a:lnTo>
                      <a:pt x="59" y="40"/>
                    </a:lnTo>
                    <a:lnTo>
                      <a:pt x="57" y="40"/>
                    </a:lnTo>
                    <a:lnTo>
                      <a:pt x="55" y="40"/>
                    </a:lnTo>
                    <a:lnTo>
                      <a:pt x="52" y="40"/>
                    </a:lnTo>
                    <a:lnTo>
                      <a:pt x="51" y="40"/>
                    </a:lnTo>
                    <a:lnTo>
                      <a:pt x="51" y="38"/>
                    </a:lnTo>
                    <a:lnTo>
                      <a:pt x="51" y="38"/>
                    </a:lnTo>
                    <a:lnTo>
                      <a:pt x="54" y="38"/>
                    </a:lnTo>
                    <a:lnTo>
                      <a:pt x="56" y="38"/>
                    </a:lnTo>
                    <a:lnTo>
                      <a:pt x="58" y="37"/>
                    </a:lnTo>
                    <a:lnTo>
                      <a:pt x="59" y="37"/>
                    </a:lnTo>
                    <a:lnTo>
                      <a:pt x="61" y="37"/>
                    </a:lnTo>
                    <a:lnTo>
                      <a:pt x="62" y="36"/>
                    </a:lnTo>
                    <a:lnTo>
                      <a:pt x="61" y="36"/>
                    </a:lnTo>
                    <a:lnTo>
                      <a:pt x="55" y="36"/>
                    </a:lnTo>
                    <a:lnTo>
                      <a:pt x="57" y="35"/>
                    </a:lnTo>
                    <a:lnTo>
                      <a:pt x="59" y="35"/>
                    </a:lnTo>
                    <a:lnTo>
                      <a:pt x="62" y="35"/>
                    </a:lnTo>
                    <a:lnTo>
                      <a:pt x="64" y="35"/>
                    </a:lnTo>
                    <a:close/>
                    <a:moveTo>
                      <a:pt x="77" y="28"/>
                    </a:moveTo>
                    <a:lnTo>
                      <a:pt x="78" y="28"/>
                    </a:lnTo>
                    <a:lnTo>
                      <a:pt x="79" y="28"/>
                    </a:lnTo>
                    <a:lnTo>
                      <a:pt x="79" y="29"/>
                    </a:lnTo>
                    <a:lnTo>
                      <a:pt x="81" y="29"/>
                    </a:lnTo>
                    <a:lnTo>
                      <a:pt x="84" y="29"/>
                    </a:lnTo>
                    <a:lnTo>
                      <a:pt x="85" y="29"/>
                    </a:lnTo>
                    <a:lnTo>
                      <a:pt x="86" y="30"/>
                    </a:lnTo>
                    <a:lnTo>
                      <a:pt x="85" y="30"/>
                    </a:lnTo>
                    <a:lnTo>
                      <a:pt x="85" y="31"/>
                    </a:lnTo>
                    <a:lnTo>
                      <a:pt x="82" y="33"/>
                    </a:lnTo>
                    <a:lnTo>
                      <a:pt x="81" y="33"/>
                    </a:lnTo>
                    <a:lnTo>
                      <a:pt x="80" y="33"/>
                    </a:lnTo>
                    <a:lnTo>
                      <a:pt x="79" y="33"/>
                    </a:lnTo>
                    <a:lnTo>
                      <a:pt x="79" y="33"/>
                    </a:lnTo>
                    <a:lnTo>
                      <a:pt x="81" y="33"/>
                    </a:lnTo>
                    <a:lnTo>
                      <a:pt x="82" y="34"/>
                    </a:lnTo>
                    <a:lnTo>
                      <a:pt x="85" y="34"/>
                    </a:lnTo>
                    <a:lnTo>
                      <a:pt x="85" y="35"/>
                    </a:lnTo>
                    <a:lnTo>
                      <a:pt x="86" y="35"/>
                    </a:lnTo>
                    <a:lnTo>
                      <a:pt x="87" y="34"/>
                    </a:lnTo>
                    <a:lnTo>
                      <a:pt x="88" y="34"/>
                    </a:lnTo>
                    <a:lnTo>
                      <a:pt x="91" y="35"/>
                    </a:lnTo>
                    <a:lnTo>
                      <a:pt x="91" y="35"/>
                    </a:lnTo>
                    <a:lnTo>
                      <a:pt x="92" y="34"/>
                    </a:lnTo>
                    <a:lnTo>
                      <a:pt x="94" y="34"/>
                    </a:lnTo>
                    <a:lnTo>
                      <a:pt x="96" y="33"/>
                    </a:lnTo>
                    <a:lnTo>
                      <a:pt x="97" y="33"/>
                    </a:lnTo>
                    <a:lnTo>
                      <a:pt x="99" y="34"/>
                    </a:lnTo>
                    <a:lnTo>
                      <a:pt x="101" y="34"/>
                    </a:lnTo>
                    <a:lnTo>
                      <a:pt x="103" y="33"/>
                    </a:lnTo>
                    <a:lnTo>
                      <a:pt x="106" y="33"/>
                    </a:lnTo>
                    <a:lnTo>
                      <a:pt x="108" y="33"/>
                    </a:lnTo>
                    <a:lnTo>
                      <a:pt x="109" y="33"/>
                    </a:lnTo>
                    <a:lnTo>
                      <a:pt x="111" y="34"/>
                    </a:lnTo>
                    <a:lnTo>
                      <a:pt x="114" y="33"/>
                    </a:lnTo>
                    <a:lnTo>
                      <a:pt x="116" y="33"/>
                    </a:lnTo>
                    <a:lnTo>
                      <a:pt x="117" y="33"/>
                    </a:lnTo>
                    <a:lnTo>
                      <a:pt x="118" y="33"/>
                    </a:lnTo>
                    <a:lnTo>
                      <a:pt x="121" y="33"/>
                    </a:lnTo>
                    <a:lnTo>
                      <a:pt x="124" y="31"/>
                    </a:lnTo>
                    <a:lnTo>
                      <a:pt x="126" y="31"/>
                    </a:lnTo>
                    <a:lnTo>
                      <a:pt x="129" y="31"/>
                    </a:lnTo>
                    <a:lnTo>
                      <a:pt x="130" y="31"/>
                    </a:lnTo>
                    <a:lnTo>
                      <a:pt x="130" y="31"/>
                    </a:lnTo>
                    <a:lnTo>
                      <a:pt x="130" y="31"/>
                    </a:lnTo>
                    <a:lnTo>
                      <a:pt x="132" y="31"/>
                    </a:lnTo>
                    <a:lnTo>
                      <a:pt x="134" y="31"/>
                    </a:lnTo>
                    <a:lnTo>
                      <a:pt x="136" y="30"/>
                    </a:lnTo>
                    <a:lnTo>
                      <a:pt x="138" y="31"/>
                    </a:lnTo>
                    <a:lnTo>
                      <a:pt x="138" y="31"/>
                    </a:lnTo>
                    <a:lnTo>
                      <a:pt x="139" y="33"/>
                    </a:lnTo>
                    <a:lnTo>
                      <a:pt x="140" y="34"/>
                    </a:lnTo>
                    <a:lnTo>
                      <a:pt x="143" y="35"/>
                    </a:lnTo>
                    <a:lnTo>
                      <a:pt x="144" y="35"/>
                    </a:lnTo>
                    <a:lnTo>
                      <a:pt x="144" y="36"/>
                    </a:lnTo>
                    <a:lnTo>
                      <a:pt x="143" y="36"/>
                    </a:lnTo>
                    <a:lnTo>
                      <a:pt x="140" y="36"/>
                    </a:lnTo>
                    <a:lnTo>
                      <a:pt x="138" y="36"/>
                    </a:lnTo>
                    <a:lnTo>
                      <a:pt x="136" y="36"/>
                    </a:lnTo>
                    <a:lnTo>
                      <a:pt x="134" y="37"/>
                    </a:lnTo>
                    <a:lnTo>
                      <a:pt x="133" y="37"/>
                    </a:lnTo>
                    <a:lnTo>
                      <a:pt x="132" y="37"/>
                    </a:lnTo>
                    <a:lnTo>
                      <a:pt x="131" y="37"/>
                    </a:lnTo>
                    <a:lnTo>
                      <a:pt x="129" y="36"/>
                    </a:lnTo>
                    <a:lnTo>
                      <a:pt x="127" y="35"/>
                    </a:lnTo>
                    <a:lnTo>
                      <a:pt x="127" y="35"/>
                    </a:lnTo>
                    <a:lnTo>
                      <a:pt x="127" y="36"/>
                    </a:lnTo>
                    <a:lnTo>
                      <a:pt x="127" y="36"/>
                    </a:lnTo>
                    <a:lnTo>
                      <a:pt x="129" y="37"/>
                    </a:lnTo>
                    <a:lnTo>
                      <a:pt x="127" y="38"/>
                    </a:lnTo>
                    <a:lnTo>
                      <a:pt x="127" y="38"/>
                    </a:lnTo>
                    <a:lnTo>
                      <a:pt x="125" y="38"/>
                    </a:lnTo>
                    <a:lnTo>
                      <a:pt x="124" y="37"/>
                    </a:lnTo>
                    <a:lnTo>
                      <a:pt x="123" y="37"/>
                    </a:lnTo>
                    <a:lnTo>
                      <a:pt x="122" y="37"/>
                    </a:lnTo>
                    <a:lnTo>
                      <a:pt x="119" y="38"/>
                    </a:lnTo>
                    <a:lnTo>
                      <a:pt x="109" y="38"/>
                    </a:lnTo>
                    <a:lnTo>
                      <a:pt x="108" y="38"/>
                    </a:lnTo>
                    <a:lnTo>
                      <a:pt x="107" y="38"/>
                    </a:lnTo>
                    <a:lnTo>
                      <a:pt x="107" y="40"/>
                    </a:lnTo>
                    <a:lnTo>
                      <a:pt x="106" y="40"/>
                    </a:lnTo>
                    <a:lnTo>
                      <a:pt x="103" y="40"/>
                    </a:lnTo>
                    <a:lnTo>
                      <a:pt x="101" y="40"/>
                    </a:lnTo>
                    <a:lnTo>
                      <a:pt x="99" y="40"/>
                    </a:lnTo>
                    <a:lnTo>
                      <a:pt x="99" y="40"/>
                    </a:lnTo>
                    <a:lnTo>
                      <a:pt x="99" y="40"/>
                    </a:lnTo>
                    <a:lnTo>
                      <a:pt x="100" y="38"/>
                    </a:lnTo>
                    <a:lnTo>
                      <a:pt x="100" y="38"/>
                    </a:lnTo>
                    <a:lnTo>
                      <a:pt x="100" y="38"/>
                    </a:lnTo>
                    <a:lnTo>
                      <a:pt x="99" y="38"/>
                    </a:lnTo>
                    <a:lnTo>
                      <a:pt x="97" y="38"/>
                    </a:lnTo>
                    <a:lnTo>
                      <a:pt x="96" y="40"/>
                    </a:lnTo>
                    <a:lnTo>
                      <a:pt x="94" y="40"/>
                    </a:lnTo>
                    <a:lnTo>
                      <a:pt x="91" y="40"/>
                    </a:lnTo>
                    <a:lnTo>
                      <a:pt x="88" y="40"/>
                    </a:lnTo>
                    <a:lnTo>
                      <a:pt x="87" y="40"/>
                    </a:lnTo>
                    <a:lnTo>
                      <a:pt x="86" y="40"/>
                    </a:lnTo>
                    <a:lnTo>
                      <a:pt x="85" y="38"/>
                    </a:lnTo>
                    <a:lnTo>
                      <a:pt x="85" y="38"/>
                    </a:lnTo>
                    <a:lnTo>
                      <a:pt x="84" y="40"/>
                    </a:lnTo>
                    <a:lnTo>
                      <a:pt x="81" y="40"/>
                    </a:lnTo>
                    <a:lnTo>
                      <a:pt x="78" y="40"/>
                    </a:lnTo>
                    <a:lnTo>
                      <a:pt x="76" y="41"/>
                    </a:lnTo>
                    <a:lnTo>
                      <a:pt x="73" y="41"/>
                    </a:lnTo>
                    <a:lnTo>
                      <a:pt x="72" y="40"/>
                    </a:lnTo>
                    <a:lnTo>
                      <a:pt x="72" y="38"/>
                    </a:lnTo>
                    <a:lnTo>
                      <a:pt x="73" y="37"/>
                    </a:lnTo>
                    <a:lnTo>
                      <a:pt x="74" y="36"/>
                    </a:lnTo>
                    <a:lnTo>
                      <a:pt x="76" y="36"/>
                    </a:lnTo>
                    <a:lnTo>
                      <a:pt x="76" y="35"/>
                    </a:lnTo>
                    <a:lnTo>
                      <a:pt x="76" y="34"/>
                    </a:lnTo>
                    <a:lnTo>
                      <a:pt x="74" y="33"/>
                    </a:lnTo>
                    <a:lnTo>
                      <a:pt x="73" y="34"/>
                    </a:lnTo>
                    <a:lnTo>
                      <a:pt x="72" y="34"/>
                    </a:lnTo>
                    <a:lnTo>
                      <a:pt x="70" y="34"/>
                    </a:lnTo>
                    <a:lnTo>
                      <a:pt x="69" y="34"/>
                    </a:lnTo>
                    <a:lnTo>
                      <a:pt x="67" y="34"/>
                    </a:lnTo>
                    <a:lnTo>
                      <a:pt x="67" y="33"/>
                    </a:lnTo>
                    <a:lnTo>
                      <a:pt x="67" y="33"/>
                    </a:lnTo>
                    <a:lnTo>
                      <a:pt x="67" y="33"/>
                    </a:lnTo>
                    <a:lnTo>
                      <a:pt x="66" y="31"/>
                    </a:lnTo>
                    <a:lnTo>
                      <a:pt x="65" y="31"/>
                    </a:lnTo>
                    <a:lnTo>
                      <a:pt x="65" y="30"/>
                    </a:lnTo>
                    <a:lnTo>
                      <a:pt x="66" y="29"/>
                    </a:lnTo>
                    <a:lnTo>
                      <a:pt x="67" y="29"/>
                    </a:lnTo>
                    <a:lnTo>
                      <a:pt x="70" y="28"/>
                    </a:lnTo>
                    <a:lnTo>
                      <a:pt x="71" y="28"/>
                    </a:lnTo>
                    <a:lnTo>
                      <a:pt x="73" y="28"/>
                    </a:lnTo>
                    <a:lnTo>
                      <a:pt x="77" y="28"/>
                    </a:lnTo>
                    <a:close/>
                    <a:moveTo>
                      <a:pt x="40" y="24"/>
                    </a:moveTo>
                    <a:lnTo>
                      <a:pt x="41" y="24"/>
                    </a:lnTo>
                    <a:lnTo>
                      <a:pt x="42" y="24"/>
                    </a:lnTo>
                    <a:lnTo>
                      <a:pt x="41" y="26"/>
                    </a:lnTo>
                    <a:lnTo>
                      <a:pt x="41" y="27"/>
                    </a:lnTo>
                    <a:lnTo>
                      <a:pt x="40" y="28"/>
                    </a:lnTo>
                    <a:lnTo>
                      <a:pt x="39" y="30"/>
                    </a:lnTo>
                    <a:lnTo>
                      <a:pt x="39" y="31"/>
                    </a:lnTo>
                    <a:lnTo>
                      <a:pt x="39" y="31"/>
                    </a:lnTo>
                    <a:lnTo>
                      <a:pt x="40" y="31"/>
                    </a:lnTo>
                    <a:lnTo>
                      <a:pt x="41" y="29"/>
                    </a:lnTo>
                    <a:lnTo>
                      <a:pt x="43" y="28"/>
                    </a:lnTo>
                    <a:lnTo>
                      <a:pt x="47" y="26"/>
                    </a:lnTo>
                    <a:lnTo>
                      <a:pt x="49" y="26"/>
                    </a:lnTo>
                    <a:lnTo>
                      <a:pt x="51" y="26"/>
                    </a:lnTo>
                    <a:lnTo>
                      <a:pt x="54" y="26"/>
                    </a:lnTo>
                    <a:lnTo>
                      <a:pt x="56" y="26"/>
                    </a:lnTo>
                    <a:lnTo>
                      <a:pt x="58" y="26"/>
                    </a:lnTo>
                    <a:lnTo>
                      <a:pt x="59" y="26"/>
                    </a:lnTo>
                    <a:lnTo>
                      <a:pt x="59" y="27"/>
                    </a:lnTo>
                    <a:lnTo>
                      <a:pt x="58" y="28"/>
                    </a:lnTo>
                    <a:lnTo>
                      <a:pt x="57" y="29"/>
                    </a:lnTo>
                    <a:lnTo>
                      <a:pt x="55" y="29"/>
                    </a:lnTo>
                    <a:lnTo>
                      <a:pt x="52" y="29"/>
                    </a:lnTo>
                    <a:lnTo>
                      <a:pt x="51" y="30"/>
                    </a:lnTo>
                    <a:lnTo>
                      <a:pt x="50" y="31"/>
                    </a:lnTo>
                    <a:lnTo>
                      <a:pt x="49" y="34"/>
                    </a:lnTo>
                    <a:lnTo>
                      <a:pt x="48" y="35"/>
                    </a:lnTo>
                    <a:lnTo>
                      <a:pt x="47" y="35"/>
                    </a:lnTo>
                    <a:lnTo>
                      <a:pt x="44" y="36"/>
                    </a:lnTo>
                    <a:lnTo>
                      <a:pt x="43" y="37"/>
                    </a:lnTo>
                    <a:lnTo>
                      <a:pt x="42" y="36"/>
                    </a:lnTo>
                    <a:lnTo>
                      <a:pt x="41" y="36"/>
                    </a:lnTo>
                    <a:lnTo>
                      <a:pt x="40" y="36"/>
                    </a:lnTo>
                    <a:lnTo>
                      <a:pt x="37" y="36"/>
                    </a:lnTo>
                    <a:lnTo>
                      <a:pt x="35" y="37"/>
                    </a:lnTo>
                    <a:lnTo>
                      <a:pt x="34" y="37"/>
                    </a:lnTo>
                    <a:lnTo>
                      <a:pt x="33" y="37"/>
                    </a:lnTo>
                    <a:lnTo>
                      <a:pt x="33" y="36"/>
                    </a:lnTo>
                    <a:lnTo>
                      <a:pt x="32" y="35"/>
                    </a:lnTo>
                    <a:lnTo>
                      <a:pt x="31" y="35"/>
                    </a:lnTo>
                    <a:lnTo>
                      <a:pt x="29" y="35"/>
                    </a:lnTo>
                    <a:lnTo>
                      <a:pt x="28" y="36"/>
                    </a:lnTo>
                    <a:lnTo>
                      <a:pt x="26" y="36"/>
                    </a:lnTo>
                    <a:lnTo>
                      <a:pt x="24" y="36"/>
                    </a:lnTo>
                    <a:lnTo>
                      <a:pt x="22" y="35"/>
                    </a:lnTo>
                    <a:lnTo>
                      <a:pt x="24" y="34"/>
                    </a:lnTo>
                    <a:lnTo>
                      <a:pt x="26" y="33"/>
                    </a:lnTo>
                    <a:lnTo>
                      <a:pt x="27" y="31"/>
                    </a:lnTo>
                    <a:lnTo>
                      <a:pt x="29" y="31"/>
                    </a:lnTo>
                    <a:lnTo>
                      <a:pt x="31" y="31"/>
                    </a:lnTo>
                    <a:lnTo>
                      <a:pt x="31" y="31"/>
                    </a:lnTo>
                    <a:lnTo>
                      <a:pt x="31" y="31"/>
                    </a:lnTo>
                    <a:lnTo>
                      <a:pt x="31" y="31"/>
                    </a:lnTo>
                    <a:lnTo>
                      <a:pt x="31" y="29"/>
                    </a:lnTo>
                    <a:lnTo>
                      <a:pt x="33" y="28"/>
                    </a:lnTo>
                    <a:lnTo>
                      <a:pt x="34" y="27"/>
                    </a:lnTo>
                    <a:lnTo>
                      <a:pt x="36" y="26"/>
                    </a:lnTo>
                    <a:lnTo>
                      <a:pt x="39" y="24"/>
                    </a:lnTo>
                    <a:lnTo>
                      <a:pt x="40" y="24"/>
                    </a:lnTo>
                    <a:close/>
                    <a:moveTo>
                      <a:pt x="74" y="19"/>
                    </a:moveTo>
                    <a:lnTo>
                      <a:pt x="74" y="19"/>
                    </a:lnTo>
                    <a:lnTo>
                      <a:pt x="74" y="20"/>
                    </a:lnTo>
                    <a:lnTo>
                      <a:pt x="76" y="21"/>
                    </a:lnTo>
                    <a:lnTo>
                      <a:pt x="76" y="22"/>
                    </a:lnTo>
                    <a:lnTo>
                      <a:pt x="74" y="22"/>
                    </a:lnTo>
                    <a:lnTo>
                      <a:pt x="73" y="23"/>
                    </a:lnTo>
                    <a:lnTo>
                      <a:pt x="73" y="23"/>
                    </a:lnTo>
                    <a:lnTo>
                      <a:pt x="72" y="23"/>
                    </a:lnTo>
                    <a:lnTo>
                      <a:pt x="70" y="23"/>
                    </a:lnTo>
                    <a:lnTo>
                      <a:pt x="67" y="24"/>
                    </a:lnTo>
                    <a:lnTo>
                      <a:pt x="66" y="24"/>
                    </a:lnTo>
                    <a:lnTo>
                      <a:pt x="64" y="24"/>
                    </a:lnTo>
                    <a:lnTo>
                      <a:pt x="63" y="24"/>
                    </a:lnTo>
                    <a:lnTo>
                      <a:pt x="63" y="24"/>
                    </a:lnTo>
                    <a:lnTo>
                      <a:pt x="63" y="24"/>
                    </a:lnTo>
                    <a:lnTo>
                      <a:pt x="64" y="24"/>
                    </a:lnTo>
                    <a:lnTo>
                      <a:pt x="66" y="22"/>
                    </a:lnTo>
                    <a:lnTo>
                      <a:pt x="69" y="21"/>
                    </a:lnTo>
                    <a:lnTo>
                      <a:pt x="71" y="20"/>
                    </a:lnTo>
                    <a:lnTo>
                      <a:pt x="72" y="19"/>
                    </a:lnTo>
                    <a:lnTo>
                      <a:pt x="74" y="19"/>
                    </a:lnTo>
                    <a:close/>
                    <a:moveTo>
                      <a:pt x="67" y="16"/>
                    </a:moveTo>
                    <a:lnTo>
                      <a:pt x="69" y="16"/>
                    </a:lnTo>
                    <a:lnTo>
                      <a:pt x="69" y="16"/>
                    </a:lnTo>
                    <a:lnTo>
                      <a:pt x="69" y="18"/>
                    </a:lnTo>
                    <a:lnTo>
                      <a:pt x="69" y="19"/>
                    </a:lnTo>
                    <a:lnTo>
                      <a:pt x="70" y="19"/>
                    </a:lnTo>
                    <a:lnTo>
                      <a:pt x="69" y="20"/>
                    </a:lnTo>
                    <a:lnTo>
                      <a:pt x="67" y="20"/>
                    </a:lnTo>
                    <a:lnTo>
                      <a:pt x="65" y="21"/>
                    </a:lnTo>
                    <a:lnTo>
                      <a:pt x="64" y="21"/>
                    </a:lnTo>
                    <a:lnTo>
                      <a:pt x="62" y="21"/>
                    </a:lnTo>
                    <a:lnTo>
                      <a:pt x="61" y="22"/>
                    </a:lnTo>
                    <a:lnTo>
                      <a:pt x="58" y="23"/>
                    </a:lnTo>
                    <a:lnTo>
                      <a:pt x="56" y="24"/>
                    </a:lnTo>
                    <a:lnTo>
                      <a:pt x="54" y="24"/>
                    </a:lnTo>
                    <a:lnTo>
                      <a:pt x="52" y="24"/>
                    </a:lnTo>
                    <a:lnTo>
                      <a:pt x="51" y="23"/>
                    </a:lnTo>
                    <a:lnTo>
                      <a:pt x="52" y="23"/>
                    </a:lnTo>
                    <a:lnTo>
                      <a:pt x="54" y="22"/>
                    </a:lnTo>
                    <a:lnTo>
                      <a:pt x="55" y="22"/>
                    </a:lnTo>
                    <a:lnTo>
                      <a:pt x="56" y="22"/>
                    </a:lnTo>
                    <a:lnTo>
                      <a:pt x="55" y="21"/>
                    </a:lnTo>
                    <a:lnTo>
                      <a:pt x="55" y="21"/>
                    </a:lnTo>
                    <a:lnTo>
                      <a:pt x="52" y="21"/>
                    </a:lnTo>
                    <a:lnTo>
                      <a:pt x="51" y="21"/>
                    </a:lnTo>
                    <a:lnTo>
                      <a:pt x="51" y="20"/>
                    </a:lnTo>
                    <a:lnTo>
                      <a:pt x="52" y="20"/>
                    </a:lnTo>
                    <a:lnTo>
                      <a:pt x="55" y="19"/>
                    </a:lnTo>
                    <a:lnTo>
                      <a:pt x="57" y="19"/>
                    </a:lnTo>
                    <a:lnTo>
                      <a:pt x="61" y="18"/>
                    </a:lnTo>
                    <a:lnTo>
                      <a:pt x="64" y="18"/>
                    </a:lnTo>
                    <a:lnTo>
                      <a:pt x="66" y="16"/>
                    </a:lnTo>
                    <a:lnTo>
                      <a:pt x="67" y="16"/>
                    </a:lnTo>
                    <a:close/>
                    <a:moveTo>
                      <a:pt x="124" y="8"/>
                    </a:moveTo>
                    <a:lnTo>
                      <a:pt x="124" y="8"/>
                    </a:lnTo>
                    <a:lnTo>
                      <a:pt x="124" y="9"/>
                    </a:lnTo>
                    <a:lnTo>
                      <a:pt x="123" y="11"/>
                    </a:lnTo>
                    <a:lnTo>
                      <a:pt x="123" y="11"/>
                    </a:lnTo>
                    <a:lnTo>
                      <a:pt x="123" y="11"/>
                    </a:lnTo>
                    <a:lnTo>
                      <a:pt x="123" y="11"/>
                    </a:lnTo>
                    <a:lnTo>
                      <a:pt x="125" y="11"/>
                    </a:lnTo>
                    <a:lnTo>
                      <a:pt x="126" y="11"/>
                    </a:lnTo>
                    <a:lnTo>
                      <a:pt x="129" y="11"/>
                    </a:lnTo>
                    <a:lnTo>
                      <a:pt x="130" y="9"/>
                    </a:lnTo>
                    <a:lnTo>
                      <a:pt x="131" y="11"/>
                    </a:lnTo>
                    <a:lnTo>
                      <a:pt x="132" y="11"/>
                    </a:lnTo>
                    <a:lnTo>
                      <a:pt x="132" y="12"/>
                    </a:lnTo>
                    <a:lnTo>
                      <a:pt x="131" y="13"/>
                    </a:lnTo>
                    <a:lnTo>
                      <a:pt x="130" y="14"/>
                    </a:lnTo>
                    <a:lnTo>
                      <a:pt x="130" y="14"/>
                    </a:lnTo>
                    <a:lnTo>
                      <a:pt x="129" y="14"/>
                    </a:lnTo>
                    <a:lnTo>
                      <a:pt x="130" y="15"/>
                    </a:lnTo>
                    <a:lnTo>
                      <a:pt x="131" y="15"/>
                    </a:lnTo>
                    <a:lnTo>
                      <a:pt x="125" y="15"/>
                    </a:lnTo>
                    <a:lnTo>
                      <a:pt x="122" y="16"/>
                    </a:lnTo>
                    <a:lnTo>
                      <a:pt x="119" y="19"/>
                    </a:lnTo>
                    <a:lnTo>
                      <a:pt x="116" y="20"/>
                    </a:lnTo>
                    <a:lnTo>
                      <a:pt x="112" y="21"/>
                    </a:lnTo>
                    <a:lnTo>
                      <a:pt x="111" y="21"/>
                    </a:lnTo>
                    <a:lnTo>
                      <a:pt x="109" y="20"/>
                    </a:lnTo>
                    <a:lnTo>
                      <a:pt x="107" y="20"/>
                    </a:lnTo>
                    <a:lnTo>
                      <a:pt x="104" y="20"/>
                    </a:lnTo>
                    <a:lnTo>
                      <a:pt x="104" y="20"/>
                    </a:lnTo>
                    <a:lnTo>
                      <a:pt x="104" y="21"/>
                    </a:lnTo>
                    <a:lnTo>
                      <a:pt x="104" y="22"/>
                    </a:lnTo>
                    <a:lnTo>
                      <a:pt x="103" y="22"/>
                    </a:lnTo>
                    <a:lnTo>
                      <a:pt x="101" y="22"/>
                    </a:lnTo>
                    <a:lnTo>
                      <a:pt x="99" y="22"/>
                    </a:lnTo>
                    <a:lnTo>
                      <a:pt x="97" y="22"/>
                    </a:lnTo>
                    <a:lnTo>
                      <a:pt x="96" y="23"/>
                    </a:lnTo>
                    <a:lnTo>
                      <a:pt x="96" y="23"/>
                    </a:lnTo>
                    <a:lnTo>
                      <a:pt x="95" y="24"/>
                    </a:lnTo>
                    <a:lnTo>
                      <a:pt x="94" y="24"/>
                    </a:lnTo>
                    <a:lnTo>
                      <a:pt x="91" y="24"/>
                    </a:lnTo>
                    <a:lnTo>
                      <a:pt x="89" y="23"/>
                    </a:lnTo>
                    <a:lnTo>
                      <a:pt x="88" y="23"/>
                    </a:lnTo>
                    <a:lnTo>
                      <a:pt x="88" y="22"/>
                    </a:lnTo>
                    <a:lnTo>
                      <a:pt x="91" y="22"/>
                    </a:lnTo>
                    <a:lnTo>
                      <a:pt x="92" y="21"/>
                    </a:lnTo>
                    <a:lnTo>
                      <a:pt x="92" y="21"/>
                    </a:lnTo>
                    <a:lnTo>
                      <a:pt x="93" y="21"/>
                    </a:lnTo>
                    <a:lnTo>
                      <a:pt x="93" y="21"/>
                    </a:lnTo>
                    <a:lnTo>
                      <a:pt x="95" y="21"/>
                    </a:lnTo>
                    <a:lnTo>
                      <a:pt x="97" y="20"/>
                    </a:lnTo>
                    <a:lnTo>
                      <a:pt x="97" y="19"/>
                    </a:lnTo>
                    <a:lnTo>
                      <a:pt x="97" y="18"/>
                    </a:lnTo>
                    <a:lnTo>
                      <a:pt x="96" y="18"/>
                    </a:lnTo>
                    <a:lnTo>
                      <a:pt x="97" y="16"/>
                    </a:lnTo>
                    <a:lnTo>
                      <a:pt x="99" y="15"/>
                    </a:lnTo>
                    <a:lnTo>
                      <a:pt x="102" y="14"/>
                    </a:lnTo>
                    <a:lnTo>
                      <a:pt x="104" y="14"/>
                    </a:lnTo>
                    <a:lnTo>
                      <a:pt x="108" y="13"/>
                    </a:lnTo>
                    <a:lnTo>
                      <a:pt x="109" y="12"/>
                    </a:lnTo>
                    <a:lnTo>
                      <a:pt x="111" y="11"/>
                    </a:lnTo>
                    <a:lnTo>
                      <a:pt x="114" y="11"/>
                    </a:lnTo>
                    <a:lnTo>
                      <a:pt x="116" y="11"/>
                    </a:lnTo>
                    <a:lnTo>
                      <a:pt x="118" y="11"/>
                    </a:lnTo>
                    <a:lnTo>
                      <a:pt x="119" y="9"/>
                    </a:lnTo>
                    <a:lnTo>
                      <a:pt x="122" y="8"/>
                    </a:lnTo>
                    <a:lnTo>
                      <a:pt x="123" y="8"/>
                    </a:lnTo>
                    <a:lnTo>
                      <a:pt x="124" y="8"/>
                    </a:lnTo>
                    <a:close/>
                    <a:moveTo>
                      <a:pt x="413" y="4"/>
                    </a:moveTo>
                    <a:lnTo>
                      <a:pt x="414" y="4"/>
                    </a:lnTo>
                    <a:lnTo>
                      <a:pt x="416" y="5"/>
                    </a:lnTo>
                    <a:lnTo>
                      <a:pt x="416" y="5"/>
                    </a:lnTo>
                    <a:lnTo>
                      <a:pt x="417" y="6"/>
                    </a:lnTo>
                    <a:lnTo>
                      <a:pt x="418" y="6"/>
                    </a:lnTo>
                    <a:lnTo>
                      <a:pt x="421" y="7"/>
                    </a:lnTo>
                    <a:lnTo>
                      <a:pt x="423" y="6"/>
                    </a:lnTo>
                    <a:lnTo>
                      <a:pt x="425" y="6"/>
                    </a:lnTo>
                    <a:lnTo>
                      <a:pt x="428" y="7"/>
                    </a:lnTo>
                    <a:lnTo>
                      <a:pt x="430" y="7"/>
                    </a:lnTo>
                    <a:lnTo>
                      <a:pt x="431" y="7"/>
                    </a:lnTo>
                    <a:lnTo>
                      <a:pt x="435" y="7"/>
                    </a:lnTo>
                    <a:lnTo>
                      <a:pt x="437" y="6"/>
                    </a:lnTo>
                    <a:lnTo>
                      <a:pt x="439" y="6"/>
                    </a:lnTo>
                    <a:lnTo>
                      <a:pt x="440" y="7"/>
                    </a:lnTo>
                    <a:lnTo>
                      <a:pt x="442" y="8"/>
                    </a:lnTo>
                    <a:lnTo>
                      <a:pt x="442" y="8"/>
                    </a:lnTo>
                    <a:lnTo>
                      <a:pt x="443" y="8"/>
                    </a:lnTo>
                    <a:lnTo>
                      <a:pt x="445" y="8"/>
                    </a:lnTo>
                    <a:lnTo>
                      <a:pt x="448" y="7"/>
                    </a:lnTo>
                    <a:lnTo>
                      <a:pt x="451" y="7"/>
                    </a:lnTo>
                    <a:lnTo>
                      <a:pt x="453" y="7"/>
                    </a:lnTo>
                    <a:lnTo>
                      <a:pt x="455" y="8"/>
                    </a:lnTo>
                    <a:lnTo>
                      <a:pt x="458" y="8"/>
                    </a:lnTo>
                    <a:lnTo>
                      <a:pt x="460" y="8"/>
                    </a:lnTo>
                    <a:lnTo>
                      <a:pt x="462" y="8"/>
                    </a:lnTo>
                    <a:lnTo>
                      <a:pt x="463" y="8"/>
                    </a:lnTo>
                    <a:lnTo>
                      <a:pt x="465" y="9"/>
                    </a:lnTo>
                    <a:lnTo>
                      <a:pt x="465" y="11"/>
                    </a:lnTo>
                    <a:lnTo>
                      <a:pt x="466" y="9"/>
                    </a:lnTo>
                    <a:lnTo>
                      <a:pt x="466" y="8"/>
                    </a:lnTo>
                    <a:lnTo>
                      <a:pt x="467" y="7"/>
                    </a:lnTo>
                    <a:lnTo>
                      <a:pt x="468" y="7"/>
                    </a:lnTo>
                    <a:lnTo>
                      <a:pt x="473" y="7"/>
                    </a:lnTo>
                    <a:lnTo>
                      <a:pt x="474" y="7"/>
                    </a:lnTo>
                    <a:lnTo>
                      <a:pt x="475" y="8"/>
                    </a:lnTo>
                    <a:lnTo>
                      <a:pt x="476" y="8"/>
                    </a:lnTo>
                    <a:lnTo>
                      <a:pt x="476" y="9"/>
                    </a:lnTo>
                    <a:lnTo>
                      <a:pt x="475" y="11"/>
                    </a:lnTo>
                    <a:lnTo>
                      <a:pt x="473" y="11"/>
                    </a:lnTo>
                    <a:lnTo>
                      <a:pt x="470" y="12"/>
                    </a:lnTo>
                    <a:lnTo>
                      <a:pt x="470" y="13"/>
                    </a:lnTo>
                    <a:lnTo>
                      <a:pt x="469" y="13"/>
                    </a:lnTo>
                    <a:lnTo>
                      <a:pt x="469" y="14"/>
                    </a:lnTo>
                    <a:lnTo>
                      <a:pt x="470" y="13"/>
                    </a:lnTo>
                    <a:lnTo>
                      <a:pt x="472" y="13"/>
                    </a:lnTo>
                    <a:lnTo>
                      <a:pt x="473" y="12"/>
                    </a:lnTo>
                    <a:lnTo>
                      <a:pt x="475" y="12"/>
                    </a:lnTo>
                    <a:lnTo>
                      <a:pt x="476" y="12"/>
                    </a:lnTo>
                    <a:lnTo>
                      <a:pt x="478" y="12"/>
                    </a:lnTo>
                    <a:lnTo>
                      <a:pt x="477" y="13"/>
                    </a:lnTo>
                    <a:lnTo>
                      <a:pt x="477" y="14"/>
                    </a:lnTo>
                    <a:lnTo>
                      <a:pt x="475" y="15"/>
                    </a:lnTo>
                    <a:lnTo>
                      <a:pt x="473" y="18"/>
                    </a:lnTo>
                    <a:lnTo>
                      <a:pt x="472" y="19"/>
                    </a:lnTo>
                    <a:lnTo>
                      <a:pt x="472" y="19"/>
                    </a:lnTo>
                    <a:lnTo>
                      <a:pt x="473" y="19"/>
                    </a:lnTo>
                    <a:lnTo>
                      <a:pt x="474" y="18"/>
                    </a:lnTo>
                    <a:lnTo>
                      <a:pt x="475" y="18"/>
                    </a:lnTo>
                    <a:lnTo>
                      <a:pt x="477" y="16"/>
                    </a:lnTo>
                    <a:lnTo>
                      <a:pt x="478" y="15"/>
                    </a:lnTo>
                    <a:lnTo>
                      <a:pt x="480" y="14"/>
                    </a:lnTo>
                    <a:lnTo>
                      <a:pt x="480" y="13"/>
                    </a:lnTo>
                    <a:lnTo>
                      <a:pt x="480" y="11"/>
                    </a:lnTo>
                    <a:lnTo>
                      <a:pt x="481" y="9"/>
                    </a:lnTo>
                    <a:lnTo>
                      <a:pt x="482" y="8"/>
                    </a:lnTo>
                    <a:lnTo>
                      <a:pt x="484" y="7"/>
                    </a:lnTo>
                    <a:lnTo>
                      <a:pt x="487" y="7"/>
                    </a:lnTo>
                    <a:lnTo>
                      <a:pt x="488" y="7"/>
                    </a:lnTo>
                    <a:lnTo>
                      <a:pt x="490" y="8"/>
                    </a:lnTo>
                    <a:lnTo>
                      <a:pt x="492" y="8"/>
                    </a:lnTo>
                    <a:lnTo>
                      <a:pt x="495" y="7"/>
                    </a:lnTo>
                    <a:lnTo>
                      <a:pt x="497" y="7"/>
                    </a:lnTo>
                    <a:lnTo>
                      <a:pt x="498" y="7"/>
                    </a:lnTo>
                    <a:lnTo>
                      <a:pt x="498" y="8"/>
                    </a:lnTo>
                    <a:lnTo>
                      <a:pt x="498" y="8"/>
                    </a:lnTo>
                    <a:lnTo>
                      <a:pt x="496" y="11"/>
                    </a:lnTo>
                    <a:lnTo>
                      <a:pt x="495" y="11"/>
                    </a:lnTo>
                    <a:lnTo>
                      <a:pt x="495" y="12"/>
                    </a:lnTo>
                    <a:lnTo>
                      <a:pt x="495" y="12"/>
                    </a:lnTo>
                    <a:lnTo>
                      <a:pt x="496" y="13"/>
                    </a:lnTo>
                    <a:lnTo>
                      <a:pt x="495" y="13"/>
                    </a:lnTo>
                    <a:lnTo>
                      <a:pt x="495" y="14"/>
                    </a:lnTo>
                    <a:lnTo>
                      <a:pt x="493" y="14"/>
                    </a:lnTo>
                    <a:lnTo>
                      <a:pt x="493" y="15"/>
                    </a:lnTo>
                    <a:lnTo>
                      <a:pt x="493" y="15"/>
                    </a:lnTo>
                    <a:lnTo>
                      <a:pt x="495" y="15"/>
                    </a:lnTo>
                    <a:lnTo>
                      <a:pt x="495" y="16"/>
                    </a:lnTo>
                    <a:lnTo>
                      <a:pt x="493" y="16"/>
                    </a:lnTo>
                    <a:lnTo>
                      <a:pt x="492" y="18"/>
                    </a:lnTo>
                    <a:lnTo>
                      <a:pt x="491" y="19"/>
                    </a:lnTo>
                    <a:lnTo>
                      <a:pt x="490" y="19"/>
                    </a:lnTo>
                    <a:lnTo>
                      <a:pt x="490" y="19"/>
                    </a:lnTo>
                    <a:lnTo>
                      <a:pt x="489" y="18"/>
                    </a:lnTo>
                    <a:lnTo>
                      <a:pt x="489" y="18"/>
                    </a:lnTo>
                    <a:lnTo>
                      <a:pt x="488" y="18"/>
                    </a:lnTo>
                    <a:lnTo>
                      <a:pt x="485" y="19"/>
                    </a:lnTo>
                    <a:lnTo>
                      <a:pt x="483" y="20"/>
                    </a:lnTo>
                    <a:lnTo>
                      <a:pt x="482" y="21"/>
                    </a:lnTo>
                    <a:lnTo>
                      <a:pt x="482" y="21"/>
                    </a:lnTo>
                    <a:lnTo>
                      <a:pt x="482" y="21"/>
                    </a:lnTo>
                    <a:lnTo>
                      <a:pt x="483" y="21"/>
                    </a:lnTo>
                    <a:lnTo>
                      <a:pt x="485" y="20"/>
                    </a:lnTo>
                    <a:lnTo>
                      <a:pt x="487" y="20"/>
                    </a:lnTo>
                    <a:lnTo>
                      <a:pt x="488" y="20"/>
                    </a:lnTo>
                    <a:lnTo>
                      <a:pt x="490" y="21"/>
                    </a:lnTo>
                    <a:lnTo>
                      <a:pt x="492" y="21"/>
                    </a:lnTo>
                    <a:lnTo>
                      <a:pt x="493" y="21"/>
                    </a:lnTo>
                    <a:lnTo>
                      <a:pt x="495" y="21"/>
                    </a:lnTo>
                    <a:lnTo>
                      <a:pt x="493" y="21"/>
                    </a:lnTo>
                    <a:lnTo>
                      <a:pt x="492" y="22"/>
                    </a:lnTo>
                    <a:lnTo>
                      <a:pt x="490" y="22"/>
                    </a:lnTo>
                    <a:lnTo>
                      <a:pt x="488" y="23"/>
                    </a:lnTo>
                    <a:lnTo>
                      <a:pt x="485" y="24"/>
                    </a:lnTo>
                    <a:lnTo>
                      <a:pt x="483" y="24"/>
                    </a:lnTo>
                    <a:lnTo>
                      <a:pt x="483" y="24"/>
                    </a:lnTo>
                    <a:lnTo>
                      <a:pt x="482" y="24"/>
                    </a:lnTo>
                    <a:lnTo>
                      <a:pt x="482" y="24"/>
                    </a:lnTo>
                    <a:lnTo>
                      <a:pt x="482" y="23"/>
                    </a:lnTo>
                    <a:lnTo>
                      <a:pt x="481" y="23"/>
                    </a:lnTo>
                    <a:lnTo>
                      <a:pt x="480" y="24"/>
                    </a:lnTo>
                    <a:lnTo>
                      <a:pt x="478" y="24"/>
                    </a:lnTo>
                    <a:lnTo>
                      <a:pt x="477" y="26"/>
                    </a:lnTo>
                    <a:lnTo>
                      <a:pt x="478" y="27"/>
                    </a:lnTo>
                    <a:lnTo>
                      <a:pt x="480" y="28"/>
                    </a:lnTo>
                    <a:lnTo>
                      <a:pt x="481" y="29"/>
                    </a:lnTo>
                    <a:lnTo>
                      <a:pt x="481" y="29"/>
                    </a:lnTo>
                    <a:lnTo>
                      <a:pt x="480" y="30"/>
                    </a:lnTo>
                    <a:lnTo>
                      <a:pt x="478" y="30"/>
                    </a:lnTo>
                    <a:lnTo>
                      <a:pt x="477" y="31"/>
                    </a:lnTo>
                    <a:lnTo>
                      <a:pt x="477" y="31"/>
                    </a:lnTo>
                    <a:lnTo>
                      <a:pt x="478" y="33"/>
                    </a:lnTo>
                    <a:lnTo>
                      <a:pt x="480" y="34"/>
                    </a:lnTo>
                    <a:lnTo>
                      <a:pt x="481" y="34"/>
                    </a:lnTo>
                    <a:lnTo>
                      <a:pt x="481" y="34"/>
                    </a:lnTo>
                    <a:lnTo>
                      <a:pt x="480" y="35"/>
                    </a:lnTo>
                    <a:lnTo>
                      <a:pt x="478" y="36"/>
                    </a:lnTo>
                    <a:lnTo>
                      <a:pt x="477" y="37"/>
                    </a:lnTo>
                    <a:lnTo>
                      <a:pt x="476" y="36"/>
                    </a:lnTo>
                    <a:lnTo>
                      <a:pt x="475" y="36"/>
                    </a:lnTo>
                    <a:lnTo>
                      <a:pt x="474" y="35"/>
                    </a:lnTo>
                    <a:lnTo>
                      <a:pt x="474" y="35"/>
                    </a:lnTo>
                    <a:lnTo>
                      <a:pt x="474" y="35"/>
                    </a:lnTo>
                    <a:lnTo>
                      <a:pt x="475" y="36"/>
                    </a:lnTo>
                    <a:lnTo>
                      <a:pt x="475" y="37"/>
                    </a:lnTo>
                    <a:lnTo>
                      <a:pt x="474" y="38"/>
                    </a:lnTo>
                    <a:lnTo>
                      <a:pt x="472" y="38"/>
                    </a:lnTo>
                    <a:lnTo>
                      <a:pt x="469" y="38"/>
                    </a:lnTo>
                    <a:lnTo>
                      <a:pt x="467" y="38"/>
                    </a:lnTo>
                    <a:lnTo>
                      <a:pt x="465" y="38"/>
                    </a:lnTo>
                    <a:lnTo>
                      <a:pt x="462" y="37"/>
                    </a:lnTo>
                    <a:lnTo>
                      <a:pt x="460" y="37"/>
                    </a:lnTo>
                    <a:lnTo>
                      <a:pt x="459" y="38"/>
                    </a:lnTo>
                    <a:lnTo>
                      <a:pt x="458" y="38"/>
                    </a:lnTo>
                    <a:lnTo>
                      <a:pt x="457" y="38"/>
                    </a:lnTo>
                    <a:lnTo>
                      <a:pt x="454" y="38"/>
                    </a:lnTo>
                    <a:lnTo>
                      <a:pt x="452" y="37"/>
                    </a:lnTo>
                    <a:lnTo>
                      <a:pt x="451" y="37"/>
                    </a:lnTo>
                    <a:lnTo>
                      <a:pt x="450" y="37"/>
                    </a:lnTo>
                    <a:lnTo>
                      <a:pt x="448" y="37"/>
                    </a:lnTo>
                    <a:lnTo>
                      <a:pt x="447" y="38"/>
                    </a:lnTo>
                    <a:lnTo>
                      <a:pt x="445" y="38"/>
                    </a:lnTo>
                    <a:lnTo>
                      <a:pt x="443" y="40"/>
                    </a:lnTo>
                    <a:lnTo>
                      <a:pt x="443" y="41"/>
                    </a:lnTo>
                    <a:lnTo>
                      <a:pt x="443" y="42"/>
                    </a:lnTo>
                    <a:lnTo>
                      <a:pt x="445" y="42"/>
                    </a:lnTo>
                    <a:lnTo>
                      <a:pt x="446" y="41"/>
                    </a:lnTo>
                    <a:lnTo>
                      <a:pt x="447" y="42"/>
                    </a:lnTo>
                    <a:lnTo>
                      <a:pt x="447" y="42"/>
                    </a:lnTo>
                    <a:lnTo>
                      <a:pt x="447" y="43"/>
                    </a:lnTo>
                    <a:lnTo>
                      <a:pt x="448" y="43"/>
                    </a:lnTo>
                    <a:lnTo>
                      <a:pt x="448" y="43"/>
                    </a:lnTo>
                    <a:lnTo>
                      <a:pt x="450" y="43"/>
                    </a:lnTo>
                    <a:lnTo>
                      <a:pt x="451" y="43"/>
                    </a:lnTo>
                    <a:lnTo>
                      <a:pt x="451" y="43"/>
                    </a:lnTo>
                    <a:lnTo>
                      <a:pt x="452" y="44"/>
                    </a:lnTo>
                    <a:lnTo>
                      <a:pt x="453" y="45"/>
                    </a:lnTo>
                    <a:lnTo>
                      <a:pt x="454" y="45"/>
                    </a:lnTo>
                    <a:lnTo>
                      <a:pt x="455" y="45"/>
                    </a:lnTo>
                    <a:lnTo>
                      <a:pt x="455" y="45"/>
                    </a:lnTo>
                    <a:lnTo>
                      <a:pt x="457" y="44"/>
                    </a:lnTo>
                    <a:lnTo>
                      <a:pt x="458" y="43"/>
                    </a:lnTo>
                    <a:lnTo>
                      <a:pt x="459" y="43"/>
                    </a:lnTo>
                    <a:lnTo>
                      <a:pt x="459" y="44"/>
                    </a:lnTo>
                    <a:lnTo>
                      <a:pt x="460" y="44"/>
                    </a:lnTo>
                    <a:lnTo>
                      <a:pt x="461" y="45"/>
                    </a:lnTo>
                    <a:lnTo>
                      <a:pt x="461" y="45"/>
                    </a:lnTo>
                    <a:lnTo>
                      <a:pt x="462" y="44"/>
                    </a:lnTo>
                    <a:lnTo>
                      <a:pt x="463" y="45"/>
                    </a:lnTo>
                    <a:lnTo>
                      <a:pt x="465" y="46"/>
                    </a:lnTo>
                    <a:lnTo>
                      <a:pt x="465" y="49"/>
                    </a:lnTo>
                    <a:lnTo>
                      <a:pt x="463" y="50"/>
                    </a:lnTo>
                    <a:lnTo>
                      <a:pt x="463" y="51"/>
                    </a:lnTo>
                    <a:lnTo>
                      <a:pt x="462" y="51"/>
                    </a:lnTo>
                    <a:lnTo>
                      <a:pt x="461" y="51"/>
                    </a:lnTo>
                    <a:lnTo>
                      <a:pt x="461" y="52"/>
                    </a:lnTo>
                    <a:lnTo>
                      <a:pt x="460" y="53"/>
                    </a:lnTo>
                    <a:lnTo>
                      <a:pt x="458" y="53"/>
                    </a:lnTo>
                    <a:lnTo>
                      <a:pt x="455" y="53"/>
                    </a:lnTo>
                    <a:lnTo>
                      <a:pt x="453" y="52"/>
                    </a:lnTo>
                    <a:lnTo>
                      <a:pt x="452" y="51"/>
                    </a:lnTo>
                    <a:lnTo>
                      <a:pt x="451" y="50"/>
                    </a:lnTo>
                    <a:lnTo>
                      <a:pt x="448" y="49"/>
                    </a:lnTo>
                    <a:lnTo>
                      <a:pt x="447" y="48"/>
                    </a:lnTo>
                    <a:lnTo>
                      <a:pt x="445" y="48"/>
                    </a:lnTo>
                    <a:lnTo>
                      <a:pt x="443" y="48"/>
                    </a:lnTo>
                    <a:lnTo>
                      <a:pt x="442" y="46"/>
                    </a:lnTo>
                    <a:lnTo>
                      <a:pt x="439" y="46"/>
                    </a:lnTo>
                    <a:lnTo>
                      <a:pt x="437" y="46"/>
                    </a:lnTo>
                    <a:lnTo>
                      <a:pt x="435" y="45"/>
                    </a:lnTo>
                    <a:lnTo>
                      <a:pt x="431" y="45"/>
                    </a:lnTo>
                    <a:lnTo>
                      <a:pt x="430" y="45"/>
                    </a:lnTo>
                    <a:lnTo>
                      <a:pt x="430" y="46"/>
                    </a:lnTo>
                    <a:lnTo>
                      <a:pt x="431" y="46"/>
                    </a:lnTo>
                    <a:lnTo>
                      <a:pt x="432" y="46"/>
                    </a:lnTo>
                    <a:lnTo>
                      <a:pt x="435" y="46"/>
                    </a:lnTo>
                    <a:lnTo>
                      <a:pt x="437" y="46"/>
                    </a:lnTo>
                    <a:lnTo>
                      <a:pt x="438" y="46"/>
                    </a:lnTo>
                    <a:lnTo>
                      <a:pt x="439" y="48"/>
                    </a:lnTo>
                    <a:lnTo>
                      <a:pt x="439" y="49"/>
                    </a:lnTo>
                    <a:lnTo>
                      <a:pt x="438" y="49"/>
                    </a:lnTo>
                    <a:lnTo>
                      <a:pt x="438" y="49"/>
                    </a:lnTo>
                    <a:lnTo>
                      <a:pt x="436" y="50"/>
                    </a:lnTo>
                    <a:lnTo>
                      <a:pt x="435" y="50"/>
                    </a:lnTo>
                    <a:lnTo>
                      <a:pt x="433" y="50"/>
                    </a:lnTo>
                    <a:lnTo>
                      <a:pt x="431" y="51"/>
                    </a:lnTo>
                    <a:lnTo>
                      <a:pt x="430" y="52"/>
                    </a:lnTo>
                    <a:lnTo>
                      <a:pt x="429" y="52"/>
                    </a:lnTo>
                    <a:lnTo>
                      <a:pt x="428" y="53"/>
                    </a:lnTo>
                    <a:lnTo>
                      <a:pt x="428" y="53"/>
                    </a:lnTo>
                    <a:lnTo>
                      <a:pt x="429" y="53"/>
                    </a:lnTo>
                    <a:lnTo>
                      <a:pt x="431" y="53"/>
                    </a:lnTo>
                    <a:lnTo>
                      <a:pt x="432" y="53"/>
                    </a:lnTo>
                    <a:lnTo>
                      <a:pt x="433" y="55"/>
                    </a:lnTo>
                    <a:lnTo>
                      <a:pt x="432" y="55"/>
                    </a:lnTo>
                    <a:lnTo>
                      <a:pt x="432" y="55"/>
                    </a:lnTo>
                    <a:lnTo>
                      <a:pt x="431" y="56"/>
                    </a:lnTo>
                    <a:lnTo>
                      <a:pt x="431" y="56"/>
                    </a:lnTo>
                    <a:lnTo>
                      <a:pt x="431" y="56"/>
                    </a:lnTo>
                    <a:lnTo>
                      <a:pt x="432" y="56"/>
                    </a:lnTo>
                    <a:lnTo>
                      <a:pt x="435" y="55"/>
                    </a:lnTo>
                    <a:lnTo>
                      <a:pt x="437" y="55"/>
                    </a:lnTo>
                    <a:lnTo>
                      <a:pt x="438" y="53"/>
                    </a:lnTo>
                    <a:lnTo>
                      <a:pt x="439" y="53"/>
                    </a:lnTo>
                    <a:lnTo>
                      <a:pt x="442" y="53"/>
                    </a:lnTo>
                    <a:lnTo>
                      <a:pt x="444" y="55"/>
                    </a:lnTo>
                    <a:lnTo>
                      <a:pt x="447" y="56"/>
                    </a:lnTo>
                    <a:lnTo>
                      <a:pt x="451" y="56"/>
                    </a:lnTo>
                    <a:lnTo>
                      <a:pt x="453" y="56"/>
                    </a:lnTo>
                    <a:lnTo>
                      <a:pt x="454" y="55"/>
                    </a:lnTo>
                    <a:lnTo>
                      <a:pt x="454" y="55"/>
                    </a:lnTo>
                    <a:lnTo>
                      <a:pt x="455" y="55"/>
                    </a:lnTo>
                    <a:lnTo>
                      <a:pt x="455" y="56"/>
                    </a:lnTo>
                    <a:lnTo>
                      <a:pt x="455" y="56"/>
                    </a:lnTo>
                    <a:lnTo>
                      <a:pt x="454" y="56"/>
                    </a:lnTo>
                    <a:lnTo>
                      <a:pt x="453" y="57"/>
                    </a:lnTo>
                    <a:lnTo>
                      <a:pt x="451" y="57"/>
                    </a:lnTo>
                    <a:lnTo>
                      <a:pt x="451" y="57"/>
                    </a:lnTo>
                    <a:lnTo>
                      <a:pt x="451" y="57"/>
                    </a:lnTo>
                    <a:lnTo>
                      <a:pt x="451" y="58"/>
                    </a:lnTo>
                    <a:lnTo>
                      <a:pt x="450" y="58"/>
                    </a:lnTo>
                    <a:lnTo>
                      <a:pt x="447" y="59"/>
                    </a:lnTo>
                    <a:lnTo>
                      <a:pt x="446" y="59"/>
                    </a:lnTo>
                    <a:lnTo>
                      <a:pt x="444" y="59"/>
                    </a:lnTo>
                    <a:lnTo>
                      <a:pt x="444" y="60"/>
                    </a:lnTo>
                    <a:lnTo>
                      <a:pt x="444" y="60"/>
                    </a:lnTo>
                    <a:lnTo>
                      <a:pt x="444" y="61"/>
                    </a:lnTo>
                    <a:lnTo>
                      <a:pt x="442" y="61"/>
                    </a:lnTo>
                    <a:lnTo>
                      <a:pt x="440" y="61"/>
                    </a:lnTo>
                    <a:lnTo>
                      <a:pt x="438" y="61"/>
                    </a:lnTo>
                    <a:lnTo>
                      <a:pt x="436" y="61"/>
                    </a:lnTo>
                    <a:lnTo>
                      <a:pt x="435" y="61"/>
                    </a:lnTo>
                    <a:lnTo>
                      <a:pt x="435" y="63"/>
                    </a:lnTo>
                    <a:lnTo>
                      <a:pt x="435" y="63"/>
                    </a:lnTo>
                    <a:lnTo>
                      <a:pt x="433" y="64"/>
                    </a:lnTo>
                    <a:lnTo>
                      <a:pt x="432" y="64"/>
                    </a:lnTo>
                    <a:lnTo>
                      <a:pt x="430" y="64"/>
                    </a:lnTo>
                    <a:lnTo>
                      <a:pt x="429" y="64"/>
                    </a:lnTo>
                    <a:lnTo>
                      <a:pt x="428" y="64"/>
                    </a:lnTo>
                    <a:lnTo>
                      <a:pt x="428" y="64"/>
                    </a:lnTo>
                    <a:lnTo>
                      <a:pt x="427" y="65"/>
                    </a:lnTo>
                    <a:lnTo>
                      <a:pt x="425" y="65"/>
                    </a:lnTo>
                    <a:lnTo>
                      <a:pt x="423" y="65"/>
                    </a:lnTo>
                    <a:lnTo>
                      <a:pt x="421" y="65"/>
                    </a:lnTo>
                    <a:lnTo>
                      <a:pt x="417" y="66"/>
                    </a:lnTo>
                    <a:lnTo>
                      <a:pt x="415" y="66"/>
                    </a:lnTo>
                    <a:lnTo>
                      <a:pt x="414" y="66"/>
                    </a:lnTo>
                    <a:lnTo>
                      <a:pt x="413" y="66"/>
                    </a:lnTo>
                    <a:lnTo>
                      <a:pt x="413" y="66"/>
                    </a:lnTo>
                    <a:lnTo>
                      <a:pt x="412" y="66"/>
                    </a:lnTo>
                    <a:lnTo>
                      <a:pt x="410" y="67"/>
                    </a:lnTo>
                    <a:lnTo>
                      <a:pt x="408" y="68"/>
                    </a:lnTo>
                    <a:lnTo>
                      <a:pt x="407" y="68"/>
                    </a:lnTo>
                    <a:lnTo>
                      <a:pt x="405" y="67"/>
                    </a:lnTo>
                    <a:lnTo>
                      <a:pt x="402" y="67"/>
                    </a:lnTo>
                    <a:lnTo>
                      <a:pt x="401" y="67"/>
                    </a:lnTo>
                    <a:lnTo>
                      <a:pt x="400" y="68"/>
                    </a:lnTo>
                    <a:lnTo>
                      <a:pt x="399" y="67"/>
                    </a:lnTo>
                    <a:lnTo>
                      <a:pt x="398" y="67"/>
                    </a:lnTo>
                    <a:lnTo>
                      <a:pt x="396" y="66"/>
                    </a:lnTo>
                    <a:lnTo>
                      <a:pt x="395" y="65"/>
                    </a:lnTo>
                    <a:lnTo>
                      <a:pt x="394" y="64"/>
                    </a:lnTo>
                    <a:lnTo>
                      <a:pt x="394" y="64"/>
                    </a:lnTo>
                    <a:lnTo>
                      <a:pt x="394" y="64"/>
                    </a:lnTo>
                    <a:lnTo>
                      <a:pt x="394" y="65"/>
                    </a:lnTo>
                    <a:lnTo>
                      <a:pt x="394" y="66"/>
                    </a:lnTo>
                    <a:lnTo>
                      <a:pt x="394" y="67"/>
                    </a:lnTo>
                    <a:lnTo>
                      <a:pt x="393" y="67"/>
                    </a:lnTo>
                    <a:lnTo>
                      <a:pt x="391" y="67"/>
                    </a:lnTo>
                    <a:lnTo>
                      <a:pt x="390" y="67"/>
                    </a:lnTo>
                    <a:lnTo>
                      <a:pt x="388" y="68"/>
                    </a:lnTo>
                    <a:lnTo>
                      <a:pt x="387" y="70"/>
                    </a:lnTo>
                    <a:lnTo>
                      <a:pt x="386" y="71"/>
                    </a:lnTo>
                    <a:lnTo>
                      <a:pt x="386" y="72"/>
                    </a:lnTo>
                    <a:lnTo>
                      <a:pt x="385" y="73"/>
                    </a:lnTo>
                    <a:lnTo>
                      <a:pt x="384" y="73"/>
                    </a:lnTo>
                    <a:lnTo>
                      <a:pt x="381" y="73"/>
                    </a:lnTo>
                    <a:lnTo>
                      <a:pt x="380" y="73"/>
                    </a:lnTo>
                    <a:lnTo>
                      <a:pt x="379" y="74"/>
                    </a:lnTo>
                    <a:lnTo>
                      <a:pt x="377" y="75"/>
                    </a:lnTo>
                    <a:lnTo>
                      <a:pt x="376" y="74"/>
                    </a:lnTo>
                    <a:lnTo>
                      <a:pt x="373" y="75"/>
                    </a:lnTo>
                    <a:lnTo>
                      <a:pt x="371" y="75"/>
                    </a:lnTo>
                    <a:lnTo>
                      <a:pt x="370" y="75"/>
                    </a:lnTo>
                    <a:lnTo>
                      <a:pt x="369" y="75"/>
                    </a:lnTo>
                    <a:lnTo>
                      <a:pt x="368" y="76"/>
                    </a:lnTo>
                    <a:lnTo>
                      <a:pt x="368" y="79"/>
                    </a:lnTo>
                    <a:lnTo>
                      <a:pt x="369" y="79"/>
                    </a:lnTo>
                    <a:lnTo>
                      <a:pt x="368" y="80"/>
                    </a:lnTo>
                    <a:lnTo>
                      <a:pt x="365" y="80"/>
                    </a:lnTo>
                    <a:lnTo>
                      <a:pt x="363" y="80"/>
                    </a:lnTo>
                    <a:lnTo>
                      <a:pt x="362" y="80"/>
                    </a:lnTo>
                    <a:lnTo>
                      <a:pt x="361" y="80"/>
                    </a:lnTo>
                    <a:lnTo>
                      <a:pt x="361" y="79"/>
                    </a:lnTo>
                    <a:lnTo>
                      <a:pt x="360" y="78"/>
                    </a:lnTo>
                    <a:lnTo>
                      <a:pt x="358" y="78"/>
                    </a:lnTo>
                    <a:lnTo>
                      <a:pt x="356" y="76"/>
                    </a:lnTo>
                    <a:lnTo>
                      <a:pt x="355" y="78"/>
                    </a:lnTo>
                    <a:lnTo>
                      <a:pt x="354" y="78"/>
                    </a:lnTo>
                    <a:lnTo>
                      <a:pt x="354" y="79"/>
                    </a:lnTo>
                    <a:lnTo>
                      <a:pt x="355" y="80"/>
                    </a:lnTo>
                    <a:lnTo>
                      <a:pt x="354" y="80"/>
                    </a:lnTo>
                    <a:lnTo>
                      <a:pt x="353" y="80"/>
                    </a:lnTo>
                    <a:lnTo>
                      <a:pt x="351" y="80"/>
                    </a:lnTo>
                    <a:lnTo>
                      <a:pt x="349" y="80"/>
                    </a:lnTo>
                    <a:lnTo>
                      <a:pt x="347" y="80"/>
                    </a:lnTo>
                    <a:lnTo>
                      <a:pt x="346" y="80"/>
                    </a:lnTo>
                    <a:lnTo>
                      <a:pt x="343" y="80"/>
                    </a:lnTo>
                    <a:lnTo>
                      <a:pt x="342" y="81"/>
                    </a:lnTo>
                    <a:lnTo>
                      <a:pt x="341" y="82"/>
                    </a:lnTo>
                    <a:lnTo>
                      <a:pt x="341" y="83"/>
                    </a:lnTo>
                    <a:lnTo>
                      <a:pt x="342" y="86"/>
                    </a:lnTo>
                    <a:lnTo>
                      <a:pt x="342" y="86"/>
                    </a:lnTo>
                    <a:lnTo>
                      <a:pt x="341" y="86"/>
                    </a:lnTo>
                    <a:lnTo>
                      <a:pt x="340" y="86"/>
                    </a:lnTo>
                    <a:lnTo>
                      <a:pt x="338" y="86"/>
                    </a:lnTo>
                    <a:lnTo>
                      <a:pt x="335" y="86"/>
                    </a:lnTo>
                    <a:lnTo>
                      <a:pt x="333" y="85"/>
                    </a:lnTo>
                    <a:lnTo>
                      <a:pt x="332" y="85"/>
                    </a:lnTo>
                    <a:lnTo>
                      <a:pt x="332" y="86"/>
                    </a:lnTo>
                    <a:lnTo>
                      <a:pt x="332" y="87"/>
                    </a:lnTo>
                    <a:lnTo>
                      <a:pt x="333" y="88"/>
                    </a:lnTo>
                    <a:lnTo>
                      <a:pt x="335" y="89"/>
                    </a:lnTo>
                    <a:lnTo>
                      <a:pt x="335" y="90"/>
                    </a:lnTo>
                    <a:lnTo>
                      <a:pt x="334" y="90"/>
                    </a:lnTo>
                    <a:lnTo>
                      <a:pt x="333" y="91"/>
                    </a:lnTo>
                    <a:lnTo>
                      <a:pt x="332" y="91"/>
                    </a:lnTo>
                    <a:lnTo>
                      <a:pt x="331" y="91"/>
                    </a:lnTo>
                    <a:lnTo>
                      <a:pt x="330" y="91"/>
                    </a:lnTo>
                    <a:lnTo>
                      <a:pt x="330" y="93"/>
                    </a:lnTo>
                    <a:lnTo>
                      <a:pt x="330" y="93"/>
                    </a:lnTo>
                    <a:lnTo>
                      <a:pt x="328" y="94"/>
                    </a:lnTo>
                    <a:lnTo>
                      <a:pt x="327" y="95"/>
                    </a:lnTo>
                    <a:lnTo>
                      <a:pt x="325" y="95"/>
                    </a:lnTo>
                    <a:lnTo>
                      <a:pt x="325" y="96"/>
                    </a:lnTo>
                    <a:lnTo>
                      <a:pt x="325" y="96"/>
                    </a:lnTo>
                    <a:lnTo>
                      <a:pt x="324" y="97"/>
                    </a:lnTo>
                    <a:lnTo>
                      <a:pt x="321" y="97"/>
                    </a:lnTo>
                    <a:lnTo>
                      <a:pt x="320" y="98"/>
                    </a:lnTo>
                    <a:lnTo>
                      <a:pt x="319" y="98"/>
                    </a:lnTo>
                    <a:lnTo>
                      <a:pt x="319" y="100"/>
                    </a:lnTo>
                    <a:lnTo>
                      <a:pt x="319" y="100"/>
                    </a:lnTo>
                    <a:lnTo>
                      <a:pt x="319" y="101"/>
                    </a:lnTo>
                    <a:lnTo>
                      <a:pt x="318" y="101"/>
                    </a:lnTo>
                    <a:lnTo>
                      <a:pt x="316" y="101"/>
                    </a:lnTo>
                    <a:lnTo>
                      <a:pt x="315" y="102"/>
                    </a:lnTo>
                    <a:lnTo>
                      <a:pt x="315" y="102"/>
                    </a:lnTo>
                    <a:lnTo>
                      <a:pt x="315" y="103"/>
                    </a:lnTo>
                    <a:lnTo>
                      <a:pt x="316" y="104"/>
                    </a:lnTo>
                    <a:lnTo>
                      <a:pt x="317" y="105"/>
                    </a:lnTo>
                    <a:lnTo>
                      <a:pt x="316" y="106"/>
                    </a:lnTo>
                    <a:lnTo>
                      <a:pt x="315" y="106"/>
                    </a:lnTo>
                    <a:lnTo>
                      <a:pt x="313" y="108"/>
                    </a:lnTo>
                    <a:lnTo>
                      <a:pt x="312" y="109"/>
                    </a:lnTo>
                    <a:lnTo>
                      <a:pt x="312" y="110"/>
                    </a:lnTo>
                    <a:lnTo>
                      <a:pt x="313" y="110"/>
                    </a:lnTo>
                    <a:lnTo>
                      <a:pt x="312" y="110"/>
                    </a:lnTo>
                    <a:lnTo>
                      <a:pt x="311" y="110"/>
                    </a:lnTo>
                    <a:lnTo>
                      <a:pt x="310" y="111"/>
                    </a:lnTo>
                    <a:lnTo>
                      <a:pt x="309" y="111"/>
                    </a:lnTo>
                    <a:lnTo>
                      <a:pt x="308" y="112"/>
                    </a:lnTo>
                    <a:lnTo>
                      <a:pt x="309" y="113"/>
                    </a:lnTo>
                    <a:lnTo>
                      <a:pt x="310" y="113"/>
                    </a:lnTo>
                    <a:lnTo>
                      <a:pt x="309" y="113"/>
                    </a:lnTo>
                    <a:lnTo>
                      <a:pt x="308" y="113"/>
                    </a:lnTo>
                    <a:lnTo>
                      <a:pt x="306" y="113"/>
                    </a:lnTo>
                    <a:lnTo>
                      <a:pt x="304" y="115"/>
                    </a:lnTo>
                    <a:lnTo>
                      <a:pt x="303" y="116"/>
                    </a:lnTo>
                    <a:lnTo>
                      <a:pt x="303" y="117"/>
                    </a:lnTo>
                    <a:lnTo>
                      <a:pt x="304" y="119"/>
                    </a:lnTo>
                    <a:lnTo>
                      <a:pt x="304" y="120"/>
                    </a:lnTo>
                    <a:lnTo>
                      <a:pt x="303" y="120"/>
                    </a:lnTo>
                    <a:lnTo>
                      <a:pt x="301" y="120"/>
                    </a:lnTo>
                    <a:lnTo>
                      <a:pt x="300" y="120"/>
                    </a:lnTo>
                    <a:lnTo>
                      <a:pt x="296" y="120"/>
                    </a:lnTo>
                    <a:lnTo>
                      <a:pt x="295" y="120"/>
                    </a:lnTo>
                    <a:lnTo>
                      <a:pt x="294" y="119"/>
                    </a:lnTo>
                    <a:lnTo>
                      <a:pt x="294" y="119"/>
                    </a:lnTo>
                    <a:lnTo>
                      <a:pt x="294" y="119"/>
                    </a:lnTo>
                    <a:lnTo>
                      <a:pt x="294" y="118"/>
                    </a:lnTo>
                    <a:lnTo>
                      <a:pt x="293" y="118"/>
                    </a:lnTo>
                    <a:lnTo>
                      <a:pt x="291" y="118"/>
                    </a:lnTo>
                    <a:lnTo>
                      <a:pt x="291" y="117"/>
                    </a:lnTo>
                    <a:lnTo>
                      <a:pt x="291" y="117"/>
                    </a:lnTo>
                    <a:lnTo>
                      <a:pt x="291" y="116"/>
                    </a:lnTo>
                    <a:lnTo>
                      <a:pt x="291" y="116"/>
                    </a:lnTo>
                    <a:lnTo>
                      <a:pt x="289" y="115"/>
                    </a:lnTo>
                    <a:lnTo>
                      <a:pt x="288" y="115"/>
                    </a:lnTo>
                    <a:lnTo>
                      <a:pt x="287" y="115"/>
                    </a:lnTo>
                    <a:lnTo>
                      <a:pt x="287" y="113"/>
                    </a:lnTo>
                    <a:lnTo>
                      <a:pt x="288" y="113"/>
                    </a:lnTo>
                    <a:lnTo>
                      <a:pt x="288" y="113"/>
                    </a:lnTo>
                    <a:lnTo>
                      <a:pt x="288" y="112"/>
                    </a:lnTo>
                    <a:lnTo>
                      <a:pt x="288" y="112"/>
                    </a:lnTo>
                    <a:lnTo>
                      <a:pt x="288" y="113"/>
                    </a:lnTo>
                    <a:lnTo>
                      <a:pt x="288" y="113"/>
                    </a:lnTo>
                    <a:lnTo>
                      <a:pt x="286" y="113"/>
                    </a:lnTo>
                    <a:lnTo>
                      <a:pt x="285" y="113"/>
                    </a:lnTo>
                    <a:lnTo>
                      <a:pt x="283" y="115"/>
                    </a:lnTo>
                    <a:lnTo>
                      <a:pt x="281" y="115"/>
                    </a:lnTo>
                    <a:lnTo>
                      <a:pt x="280" y="116"/>
                    </a:lnTo>
                    <a:lnTo>
                      <a:pt x="280" y="116"/>
                    </a:lnTo>
                    <a:lnTo>
                      <a:pt x="279" y="115"/>
                    </a:lnTo>
                    <a:lnTo>
                      <a:pt x="278" y="115"/>
                    </a:lnTo>
                    <a:lnTo>
                      <a:pt x="275" y="113"/>
                    </a:lnTo>
                    <a:lnTo>
                      <a:pt x="274" y="112"/>
                    </a:lnTo>
                    <a:lnTo>
                      <a:pt x="274" y="112"/>
                    </a:lnTo>
                    <a:lnTo>
                      <a:pt x="274" y="111"/>
                    </a:lnTo>
                    <a:lnTo>
                      <a:pt x="273" y="110"/>
                    </a:lnTo>
                    <a:lnTo>
                      <a:pt x="272" y="110"/>
                    </a:lnTo>
                    <a:lnTo>
                      <a:pt x="271" y="110"/>
                    </a:lnTo>
                    <a:lnTo>
                      <a:pt x="269" y="109"/>
                    </a:lnTo>
                    <a:lnTo>
                      <a:pt x="269" y="109"/>
                    </a:lnTo>
                    <a:lnTo>
                      <a:pt x="269" y="108"/>
                    </a:lnTo>
                    <a:lnTo>
                      <a:pt x="269" y="106"/>
                    </a:lnTo>
                    <a:lnTo>
                      <a:pt x="269" y="105"/>
                    </a:lnTo>
                    <a:lnTo>
                      <a:pt x="268" y="104"/>
                    </a:lnTo>
                    <a:lnTo>
                      <a:pt x="267" y="104"/>
                    </a:lnTo>
                    <a:lnTo>
                      <a:pt x="265" y="104"/>
                    </a:lnTo>
                    <a:lnTo>
                      <a:pt x="265" y="104"/>
                    </a:lnTo>
                    <a:lnTo>
                      <a:pt x="265" y="103"/>
                    </a:lnTo>
                    <a:lnTo>
                      <a:pt x="265" y="102"/>
                    </a:lnTo>
                    <a:lnTo>
                      <a:pt x="264" y="101"/>
                    </a:lnTo>
                    <a:lnTo>
                      <a:pt x="261" y="100"/>
                    </a:lnTo>
                    <a:lnTo>
                      <a:pt x="261" y="98"/>
                    </a:lnTo>
                    <a:lnTo>
                      <a:pt x="261" y="96"/>
                    </a:lnTo>
                    <a:lnTo>
                      <a:pt x="261" y="94"/>
                    </a:lnTo>
                    <a:lnTo>
                      <a:pt x="261" y="94"/>
                    </a:lnTo>
                    <a:lnTo>
                      <a:pt x="261" y="93"/>
                    </a:lnTo>
                    <a:lnTo>
                      <a:pt x="263" y="93"/>
                    </a:lnTo>
                    <a:lnTo>
                      <a:pt x="264" y="93"/>
                    </a:lnTo>
                    <a:lnTo>
                      <a:pt x="265" y="93"/>
                    </a:lnTo>
                    <a:lnTo>
                      <a:pt x="265" y="90"/>
                    </a:lnTo>
                    <a:lnTo>
                      <a:pt x="266" y="90"/>
                    </a:lnTo>
                    <a:lnTo>
                      <a:pt x="266" y="89"/>
                    </a:lnTo>
                    <a:lnTo>
                      <a:pt x="268" y="89"/>
                    </a:lnTo>
                    <a:lnTo>
                      <a:pt x="267" y="88"/>
                    </a:lnTo>
                    <a:lnTo>
                      <a:pt x="266" y="89"/>
                    </a:lnTo>
                    <a:lnTo>
                      <a:pt x="263" y="90"/>
                    </a:lnTo>
                    <a:lnTo>
                      <a:pt x="260" y="93"/>
                    </a:lnTo>
                    <a:lnTo>
                      <a:pt x="259" y="91"/>
                    </a:lnTo>
                    <a:lnTo>
                      <a:pt x="259" y="91"/>
                    </a:lnTo>
                    <a:lnTo>
                      <a:pt x="259" y="90"/>
                    </a:lnTo>
                    <a:lnTo>
                      <a:pt x="259" y="88"/>
                    </a:lnTo>
                    <a:lnTo>
                      <a:pt x="259" y="87"/>
                    </a:lnTo>
                    <a:lnTo>
                      <a:pt x="259" y="85"/>
                    </a:lnTo>
                    <a:lnTo>
                      <a:pt x="258" y="83"/>
                    </a:lnTo>
                    <a:lnTo>
                      <a:pt x="257" y="82"/>
                    </a:lnTo>
                    <a:lnTo>
                      <a:pt x="256" y="81"/>
                    </a:lnTo>
                    <a:lnTo>
                      <a:pt x="257" y="80"/>
                    </a:lnTo>
                    <a:lnTo>
                      <a:pt x="258" y="80"/>
                    </a:lnTo>
                    <a:lnTo>
                      <a:pt x="260" y="80"/>
                    </a:lnTo>
                    <a:lnTo>
                      <a:pt x="261" y="80"/>
                    </a:lnTo>
                    <a:lnTo>
                      <a:pt x="263" y="80"/>
                    </a:lnTo>
                    <a:lnTo>
                      <a:pt x="263" y="79"/>
                    </a:lnTo>
                    <a:lnTo>
                      <a:pt x="261" y="78"/>
                    </a:lnTo>
                    <a:lnTo>
                      <a:pt x="260" y="76"/>
                    </a:lnTo>
                    <a:lnTo>
                      <a:pt x="259" y="75"/>
                    </a:lnTo>
                    <a:lnTo>
                      <a:pt x="259" y="75"/>
                    </a:lnTo>
                    <a:lnTo>
                      <a:pt x="260" y="74"/>
                    </a:lnTo>
                    <a:lnTo>
                      <a:pt x="260" y="74"/>
                    </a:lnTo>
                    <a:lnTo>
                      <a:pt x="260" y="74"/>
                    </a:lnTo>
                    <a:lnTo>
                      <a:pt x="260" y="73"/>
                    </a:lnTo>
                    <a:lnTo>
                      <a:pt x="259" y="72"/>
                    </a:lnTo>
                    <a:lnTo>
                      <a:pt x="259" y="72"/>
                    </a:lnTo>
                    <a:lnTo>
                      <a:pt x="261" y="72"/>
                    </a:lnTo>
                    <a:lnTo>
                      <a:pt x="263" y="71"/>
                    </a:lnTo>
                    <a:lnTo>
                      <a:pt x="264" y="71"/>
                    </a:lnTo>
                    <a:lnTo>
                      <a:pt x="265" y="71"/>
                    </a:lnTo>
                    <a:lnTo>
                      <a:pt x="265" y="70"/>
                    </a:lnTo>
                    <a:lnTo>
                      <a:pt x="264" y="68"/>
                    </a:lnTo>
                    <a:lnTo>
                      <a:pt x="264" y="68"/>
                    </a:lnTo>
                    <a:lnTo>
                      <a:pt x="265" y="67"/>
                    </a:lnTo>
                    <a:lnTo>
                      <a:pt x="267" y="67"/>
                    </a:lnTo>
                    <a:lnTo>
                      <a:pt x="271" y="66"/>
                    </a:lnTo>
                    <a:lnTo>
                      <a:pt x="272" y="66"/>
                    </a:lnTo>
                    <a:lnTo>
                      <a:pt x="273" y="66"/>
                    </a:lnTo>
                    <a:lnTo>
                      <a:pt x="274" y="67"/>
                    </a:lnTo>
                    <a:lnTo>
                      <a:pt x="275" y="67"/>
                    </a:lnTo>
                    <a:lnTo>
                      <a:pt x="275" y="68"/>
                    </a:lnTo>
                    <a:lnTo>
                      <a:pt x="278" y="67"/>
                    </a:lnTo>
                    <a:lnTo>
                      <a:pt x="278" y="67"/>
                    </a:lnTo>
                    <a:lnTo>
                      <a:pt x="278" y="66"/>
                    </a:lnTo>
                    <a:lnTo>
                      <a:pt x="276" y="66"/>
                    </a:lnTo>
                    <a:lnTo>
                      <a:pt x="275" y="66"/>
                    </a:lnTo>
                    <a:lnTo>
                      <a:pt x="274" y="65"/>
                    </a:lnTo>
                    <a:lnTo>
                      <a:pt x="274" y="65"/>
                    </a:lnTo>
                    <a:lnTo>
                      <a:pt x="274" y="64"/>
                    </a:lnTo>
                    <a:lnTo>
                      <a:pt x="276" y="64"/>
                    </a:lnTo>
                    <a:lnTo>
                      <a:pt x="279" y="64"/>
                    </a:lnTo>
                    <a:lnTo>
                      <a:pt x="280" y="64"/>
                    </a:lnTo>
                    <a:lnTo>
                      <a:pt x="282" y="64"/>
                    </a:lnTo>
                    <a:lnTo>
                      <a:pt x="282" y="63"/>
                    </a:lnTo>
                    <a:lnTo>
                      <a:pt x="282" y="61"/>
                    </a:lnTo>
                    <a:lnTo>
                      <a:pt x="283" y="61"/>
                    </a:lnTo>
                    <a:lnTo>
                      <a:pt x="285" y="61"/>
                    </a:lnTo>
                    <a:lnTo>
                      <a:pt x="286" y="60"/>
                    </a:lnTo>
                    <a:lnTo>
                      <a:pt x="287" y="60"/>
                    </a:lnTo>
                    <a:lnTo>
                      <a:pt x="286" y="60"/>
                    </a:lnTo>
                    <a:lnTo>
                      <a:pt x="286" y="60"/>
                    </a:lnTo>
                    <a:lnTo>
                      <a:pt x="286" y="59"/>
                    </a:lnTo>
                    <a:lnTo>
                      <a:pt x="287" y="59"/>
                    </a:lnTo>
                    <a:lnTo>
                      <a:pt x="287" y="58"/>
                    </a:lnTo>
                    <a:lnTo>
                      <a:pt x="286" y="57"/>
                    </a:lnTo>
                    <a:lnTo>
                      <a:pt x="285" y="57"/>
                    </a:lnTo>
                    <a:lnTo>
                      <a:pt x="282" y="57"/>
                    </a:lnTo>
                    <a:lnTo>
                      <a:pt x="281" y="57"/>
                    </a:lnTo>
                    <a:lnTo>
                      <a:pt x="279" y="57"/>
                    </a:lnTo>
                    <a:lnTo>
                      <a:pt x="278" y="57"/>
                    </a:lnTo>
                    <a:lnTo>
                      <a:pt x="275" y="57"/>
                    </a:lnTo>
                    <a:lnTo>
                      <a:pt x="274" y="56"/>
                    </a:lnTo>
                    <a:lnTo>
                      <a:pt x="272" y="56"/>
                    </a:lnTo>
                    <a:lnTo>
                      <a:pt x="271" y="56"/>
                    </a:lnTo>
                    <a:lnTo>
                      <a:pt x="271" y="55"/>
                    </a:lnTo>
                    <a:lnTo>
                      <a:pt x="269" y="55"/>
                    </a:lnTo>
                    <a:lnTo>
                      <a:pt x="271" y="55"/>
                    </a:lnTo>
                    <a:lnTo>
                      <a:pt x="272" y="53"/>
                    </a:lnTo>
                    <a:lnTo>
                      <a:pt x="274" y="53"/>
                    </a:lnTo>
                    <a:lnTo>
                      <a:pt x="275" y="53"/>
                    </a:lnTo>
                    <a:lnTo>
                      <a:pt x="275" y="53"/>
                    </a:lnTo>
                    <a:lnTo>
                      <a:pt x="276" y="52"/>
                    </a:lnTo>
                    <a:lnTo>
                      <a:pt x="278" y="52"/>
                    </a:lnTo>
                    <a:lnTo>
                      <a:pt x="280" y="52"/>
                    </a:lnTo>
                    <a:lnTo>
                      <a:pt x="283" y="53"/>
                    </a:lnTo>
                    <a:lnTo>
                      <a:pt x="286" y="53"/>
                    </a:lnTo>
                    <a:lnTo>
                      <a:pt x="288" y="53"/>
                    </a:lnTo>
                    <a:lnTo>
                      <a:pt x="289" y="53"/>
                    </a:lnTo>
                    <a:lnTo>
                      <a:pt x="288" y="52"/>
                    </a:lnTo>
                    <a:lnTo>
                      <a:pt x="288" y="52"/>
                    </a:lnTo>
                    <a:lnTo>
                      <a:pt x="287" y="51"/>
                    </a:lnTo>
                    <a:lnTo>
                      <a:pt x="286" y="51"/>
                    </a:lnTo>
                    <a:lnTo>
                      <a:pt x="286" y="51"/>
                    </a:lnTo>
                    <a:lnTo>
                      <a:pt x="287" y="51"/>
                    </a:lnTo>
                    <a:lnTo>
                      <a:pt x="287" y="50"/>
                    </a:lnTo>
                    <a:lnTo>
                      <a:pt x="286" y="50"/>
                    </a:lnTo>
                    <a:lnTo>
                      <a:pt x="286" y="51"/>
                    </a:lnTo>
                    <a:lnTo>
                      <a:pt x="285" y="51"/>
                    </a:lnTo>
                    <a:lnTo>
                      <a:pt x="283" y="51"/>
                    </a:lnTo>
                    <a:lnTo>
                      <a:pt x="282" y="51"/>
                    </a:lnTo>
                    <a:lnTo>
                      <a:pt x="282" y="51"/>
                    </a:lnTo>
                    <a:lnTo>
                      <a:pt x="282" y="50"/>
                    </a:lnTo>
                    <a:lnTo>
                      <a:pt x="283" y="49"/>
                    </a:lnTo>
                    <a:lnTo>
                      <a:pt x="285" y="49"/>
                    </a:lnTo>
                    <a:lnTo>
                      <a:pt x="283" y="49"/>
                    </a:lnTo>
                    <a:lnTo>
                      <a:pt x="283" y="49"/>
                    </a:lnTo>
                    <a:lnTo>
                      <a:pt x="282" y="50"/>
                    </a:lnTo>
                    <a:lnTo>
                      <a:pt x="281" y="50"/>
                    </a:lnTo>
                    <a:lnTo>
                      <a:pt x="279" y="50"/>
                    </a:lnTo>
                    <a:lnTo>
                      <a:pt x="276" y="50"/>
                    </a:lnTo>
                    <a:lnTo>
                      <a:pt x="276" y="50"/>
                    </a:lnTo>
                    <a:lnTo>
                      <a:pt x="275" y="49"/>
                    </a:lnTo>
                    <a:lnTo>
                      <a:pt x="275" y="50"/>
                    </a:lnTo>
                    <a:lnTo>
                      <a:pt x="274" y="50"/>
                    </a:lnTo>
                    <a:lnTo>
                      <a:pt x="273" y="50"/>
                    </a:lnTo>
                    <a:lnTo>
                      <a:pt x="272" y="50"/>
                    </a:lnTo>
                    <a:lnTo>
                      <a:pt x="269" y="50"/>
                    </a:lnTo>
                    <a:lnTo>
                      <a:pt x="267" y="50"/>
                    </a:lnTo>
                    <a:lnTo>
                      <a:pt x="267" y="50"/>
                    </a:lnTo>
                    <a:lnTo>
                      <a:pt x="267" y="49"/>
                    </a:lnTo>
                    <a:lnTo>
                      <a:pt x="267" y="48"/>
                    </a:lnTo>
                    <a:lnTo>
                      <a:pt x="267" y="46"/>
                    </a:lnTo>
                    <a:lnTo>
                      <a:pt x="268" y="46"/>
                    </a:lnTo>
                    <a:lnTo>
                      <a:pt x="271" y="45"/>
                    </a:lnTo>
                    <a:lnTo>
                      <a:pt x="271" y="45"/>
                    </a:lnTo>
                    <a:lnTo>
                      <a:pt x="272" y="44"/>
                    </a:lnTo>
                    <a:lnTo>
                      <a:pt x="272" y="43"/>
                    </a:lnTo>
                    <a:lnTo>
                      <a:pt x="274" y="43"/>
                    </a:lnTo>
                    <a:lnTo>
                      <a:pt x="275" y="43"/>
                    </a:lnTo>
                    <a:lnTo>
                      <a:pt x="275" y="42"/>
                    </a:lnTo>
                    <a:lnTo>
                      <a:pt x="274" y="41"/>
                    </a:lnTo>
                    <a:lnTo>
                      <a:pt x="274" y="41"/>
                    </a:lnTo>
                    <a:lnTo>
                      <a:pt x="274" y="40"/>
                    </a:lnTo>
                    <a:lnTo>
                      <a:pt x="275" y="40"/>
                    </a:lnTo>
                    <a:lnTo>
                      <a:pt x="275" y="40"/>
                    </a:lnTo>
                    <a:lnTo>
                      <a:pt x="275" y="38"/>
                    </a:lnTo>
                    <a:lnTo>
                      <a:pt x="274" y="38"/>
                    </a:lnTo>
                    <a:lnTo>
                      <a:pt x="273" y="37"/>
                    </a:lnTo>
                    <a:lnTo>
                      <a:pt x="272" y="37"/>
                    </a:lnTo>
                    <a:lnTo>
                      <a:pt x="272" y="36"/>
                    </a:lnTo>
                    <a:lnTo>
                      <a:pt x="273" y="36"/>
                    </a:lnTo>
                    <a:lnTo>
                      <a:pt x="273" y="35"/>
                    </a:lnTo>
                    <a:lnTo>
                      <a:pt x="272" y="35"/>
                    </a:lnTo>
                    <a:lnTo>
                      <a:pt x="271" y="35"/>
                    </a:lnTo>
                    <a:lnTo>
                      <a:pt x="269" y="34"/>
                    </a:lnTo>
                    <a:lnTo>
                      <a:pt x="269" y="34"/>
                    </a:lnTo>
                    <a:lnTo>
                      <a:pt x="271" y="33"/>
                    </a:lnTo>
                    <a:lnTo>
                      <a:pt x="271" y="33"/>
                    </a:lnTo>
                    <a:lnTo>
                      <a:pt x="271" y="33"/>
                    </a:lnTo>
                    <a:lnTo>
                      <a:pt x="268" y="31"/>
                    </a:lnTo>
                    <a:lnTo>
                      <a:pt x="267" y="31"/>
                    </a:lnTo>
                    <a:lnTo>
                      <a:pt x="265" y="31"/>
                    </a:lnTo>
                    <a:lnTo>
                      <a:pt x="264" y="31"/>
                    </a:lnTo>
                    <a:lnTo>
                      <a:pt x="263" y="30"/>
                    </a:lnTo>
                    <a:lnTo>
                      <a:pt x="263" y="30"/>
                    </a:lnTo>
                    <a:lnTo>
                      <a:pt x="261" y="30"/>
                    </a:lnTo>
                    <a:lnTo>
                      <a:pt x="260" y="31"/>
                    </a:lnTo>
                    <a:lnTo>
                      <a:pt x="258" y="30"/>
                    </a:lnTo>
                    <a:lnTo>
                      <a:pt x="256" y="30"/>
                    </a:lnTo>
                    <a:lnTo>
                      <a:pt x="253" y="29"/>
                    </a:lnTo>
                    <a:lnTo>
                      <a:pt x="250" y="29"/>
                    </a:lnTo>
                    <a:lnTo>
                      <a:pt x="245" y="29"/>
                    </a:lnTo>
                    <a:lnTo>
                      <a:pt x="244" y="29"/>
                    </a:lnTo>
                    <a:lnTo>
                      <a:pt x="243" y="29"/>
                    </a:lnTo>
                    <a:lnTo>
                      <a:pt x="242" y="29"/>
                    </a:lnTo>
                    <a:lnTo>
                      <a:pt x="241" y="29"/>
                    </a:lnTo>
                    <a:lnTo>
                      <a:pt x="239" y="29"/>
                    </a:lnTo>
                    <a:lnTo>
                      <a:pt x="237" y="29"/>
                    </a:lnTo>
                    <a:lnTo>
                      <a:pt x="235" y="29"/>
                    </a:lnTo>
                    <a:lnTo>
                      <a:pt x="234" y="29"/>
                    </a:lnTo>
                    <a:lnTo>
                      <a:pt x="233" y="29"/>
                    </a:lnTo>
                    <a:lnTo>
                      <a:pt x="231" y="29"/>
                    </a:lnTo>
                    <a:lnTo>
                      <a:pt x="230" y="29"/>
                    </a:lnTo>
                    <a:lnTo>
                      <a:pt x="229" y="30"/>
                    </a:lnTo>
                    <a:lnTo>
                      <a:pt x="228" y="31"/>
                    </a:lnTo>
                    <a:lnTo>
                      <a:pt x="227" y="31"/>
                    </a:lnTo>
                    <a:lnTo>
                      <a:pt x="227" y="31"/>
                    </a:lnTo>
                    <a:lnTo>
                      <a:pt x="226" y="31"/>
                    </a:lnTo>
                    <a:lnTo>
                      <a:pt x="223" y="31"/>
                    </a:lnTo>
                    <a:lnTo>
                      <a:pt x="221" y="30"/>
                    </a:lnTo>
                    <a:lnTo>
                      <a:pt x="220" y="30"/>
                    </a:lnTo>
                    <a:lnTo>
                      <a:pt x="220" y="30"/>
                    </a:lnTo>
                    <a:lnTo>
                      <a:pt x="220" y="30"/>
                    </a:lnTo>
                    <a:lnTo>
                      <a:pt x="222" y="29"/>
                    </a:lnTo>
                    <a:lnTo>
                      <a:pt x="224" y="28"/>
                    </a:lnTo>
                    <a:lnTo>
                      <a:pt x="227" y="27"/>
                    </a:lnTo>
                    <a:lnTo>
                      <a:pt x="228" y="27"/>
                    </a:lnTo>
                    <a:lnTo>
                      <a:pt x="229" y="26"/>
                    </a:lnTo>
                    <a:lnTo>
                      <a:pt x="230" y="26"/>
                    </a:lnTo>
                    <a:lnTo>
                      <a:pt x="231" y="26"/>
                    </a:lnTo>
                    <a:lnTo>
                      <a:pt x="235" y="26"/>
                    </a:lnTo>
                    <a:lnTo>
                      <a:pt x="239" y="24"/>
                    </a:lnTo>
                    <a:lnTo>
                      <a:pt x="242" y="24"/>
                    </a:lnTo>
                    <a:lnTo>
                      <a:pt x="243" y="24"/>
                    </a:lnTo>
                    <a:lnTo>
                      <a:pt x="242" y="24"/>
                    </a:lnTo>
                    <a:lnTo>
                      <a:pt x="238" y="24"/>
                    </a:lnTo>
                    <a:lnTo>
                      <a:pt x="237" y="24"/>
                    </a:lnTo>
                    <a:lnTo>
                      <a:pt x="236" y="23"/>
                    </a:lnTo>
                    <a:lnTo>
                      <a:pt x="236" y="23"/>
                    </a:lnTo>
                    <a:lnTo>
                      <a:pt x="237" y="23"/>
                    </a:lnTo>
                    <a:lnTo>
                      <a:pt x="237" y="22"/>
                    </a:lnTo>
                    <a:lnTo>
                      <a:pt x="237" y="22"/>
                    </a:lnTo>
                    <a:lnTo>
                      <a:pt x="235" y="22"/>
                    </a:lnTo>
                    <a:lnTo>
                      <a:pt x="231" y="23"/>
                    </a:lnTo>
                    <a:lnTo>
                      <a:pt x="228" y="23"/>
                    </a:lnTo>
                    <a:lnTo>
                      <a:pt x="224" y="23"/>
                    </a:lnTo>
                    <a:lnTo>
                      <a:pt x="221" y="22"/>
                    </a:lnTo>
                    <a:lnTo>
                      <a:pt x="220" y="22"/>
                    </a:lnTo>
                    <a:lnTo>
                      <a:pt x="219" y="21"/>
                    </a:lnTo>
                    <a:lnTo>
                      <a:pt x="218" y="21"/>
                    </a:lnTo>
                    <a:lnTo>
                      <a:pt x="216" y="21"/>
                    </a:lnTo>
                    <a:lnTo>
                      <a:pt x="216" y="21"/>
                    </a:lnTo>
                    <a:lnTo>
                      <a:pt x="218" y="21"/>
                    </a:lnTo>
                    <a:lnTo>
                      <a:pt x="220" y="21"/>
                    </a:lnTo>
                    <a:lnTo>
                      <a:pt x="222" y="20"/>
                    </a:lnTo>
                    <a:lnTo>
                      <a:pt x="224" y="19"/>
                    </a:lnTo>
                    <a:lnTo>
                      <a:pt x="227" y="19"/>
                    </a:lnTo>
                    <a:lnTo>
                      <a:pt x="228" y="19"/>
                    </a:lnTo>
                    <a:lnTo>
                      <a:pt x="230" y="19"/>
                    </a:lnTo>
                    <a:lnTo>
                      <a:pt x="234" y="19"/>
                    </a:lnTo>
                    <a:lnTo>
                      <a:pt x="236" y="19"/>
                    </a:lnTo>
                    <a:lnTo>
                      <a:pt x="237" y="19"/>
                    </a:lnTo>
                    <a:lnTo>
                      <a:pt x="238" y="19"/>
                    </a:lnTo>
                    <a:lnTo>
                      <a:pt x="239" y="18"/>
                    </a:lnTo>
                    <a:lnTo>
                      <a:pt x="241" y="18"/>
                    </a:lnTo>
                    <a:lnTo>
                      <a:pt x="243" y="18"/>
                    </a:lnTo>
                    <a:lnTo>
                      <a:pt x="243" y="16"/>
                    </a:lnTo>
                    <a:lnTo>
                      <a:pt x="243" y="16"/>
                    </a:lnTo>
                    <a:lnTo>
                      <a:pt x="244" y="15"/>
                    </a:lnTo>
                    <a:lnTo>
                      <a:pt x="245" y="14"/>
                    </a:lnTo>
                    <a:lnTo>
                      <a:pt x="248" y="14"/>
                    </a:lnTo>
                    <a:lnTo>
                      <a:pt x="250" y="14"/>
                    </a:lnTo>
                    <a:lnTo>
                      <a:pt x="251" y="13"/>
                    </a:lnTo>
                    <a:lnTo>
                      <a:pt x="251" y="13"/>
                    </a:lnTo>
                    <a:lnTo>
                      <a:pt x="250" y="12"/>
                    </a:lnTo>
                    <a:lnTo>
                      <a:pt x="251" y="12"/>
                    </a:lnTo>
                    <a:lnTo>
                      <a:pt x="252" y="11"/>
                    </a:lnTo>
                    <a:lnTo>
                      <a:pt x="254" y="11"/>
                    </a:lnTo>
                    <a:lnTo>
                      <a:pt x="259" y="11"/>
                    </a:lnTo>
                    <a:lnTo>
                      <a:pt x="263" y="11"/>
                    </a:lnTo>
                    <a:lnTo>
                      <a:pt x="265" y="11"/>
                    </a:lnTo>
                    <a:lnTo>
                      <a:pt x="268" y="11"/>
                    </a:lnTo>
                    <a:lnTo>
                      <a:pt x="272" y="11"/>
                    </a:lnTo>
                    <a:lnTo>
                      <a:pt x="274" y="9"/>
                    </a:lnTo>
                    <a:lnTo>
                      <a:pt x="276" y="9"/>
                    </a:lnTo>
                    <a:lnTo>
                      <a:pt x="278" y="11"/>
                    </a:lnTo>
                    <a:lnTo>
                      <a:pt x="279" y="11"/>
                    </a:lnTo>
                    <a:lnTo>
                      <a:pt x="280" y="11"/>
                    </a:lnTo>
                    <a:lnTo>
                      <a:pt x="282" y="11"/>
                    </a:lnTo>
                    <a:lnTo>
                      <a:pt x="286" y="9"/>
                    </a:lnTo>
                    <a:lnTo>
                      <a:pt x="288" y="9"/>
                    </a:lnTo>
                    <a:lnTo>
                      <a:pt x="289" y="9"/>
                    </a:lnTo>
                    <a:lnTo>
                      <a:pt x="291" y="9"/>
                    </a:lnTo>
                    <a:lnTo>
                      <a:pt x="293" y="8"/>
                    </a:lnTo>
                    <a:lnTo>
                      <a:pt x="295" y="8"/>
                    </a:lnTo>
                    <a:lnTo>
                      <a:pt x="297" y="7"/>
                    </a:lnTo>
                    <a:lnTo>
                      <a:pt x="298" y="7"/>
                    </a:lnTo>
                    <a:lnTo>
                      <a:pt x="301" y="7"/>
                    </a:lnTo>
                    <a:lnTo>
                      <a:pt x="303" y="7"/>
                    </a:lnTo>
                    <a:lnTo>
                      <a:pt x="306" y="6"/>
                    </a:lnTo>
                    <a:lnTo>
                      <a:pt x="308" y="7"/>
                    </a:lnTo>
                    <a:lnTo>
                      <a:pt x="310" y="7"/>
                    </a:lnTo>
                    <a:lnTo>
                      <a:pt x="311" y="8"/>
                    </a:lnTo>
                    <a:lnTo>
                      <a:pt x="312" y="8"/>
                    </a:lnTo>
                    <a:lnTo>
                      <a:pt x="315" y="8"/>
                    </a:lnTo>
                    <a:lnTo>
                      <a:pt x="316" y="7"/>
                    </a:lnTo>
                    <a:lnTo>
                      <a:pt x="317" y="7"/>
                    </a:lnTo>
                    <a:lnTo>
                      <a:pt x="318" y="7"/>
                    </a:lnTo>
                    <a:lnTo>
                      <a:pt x="319" y="8"/>
                    </a:lnTo>
                    <a:lnTo>
                      <a:pt x="320" y="8"/>
                    </a:lnTo>
                    <a:lnTo>
                      <a:pt x="321" y="8"/>
                    </a:lnTo>
                    <a:lnTo>
                      <a:pt x="325" y="8"/>
                    </a:lnTo>
                    <a:lnTo>
                      <a:pt x="328" y="8"/>
                    </a:lnTo>
                    <a:lnTo>
                      <a:pt x="331" y="8"/>
                    </a:lnTo>
                    <a:lnTo>
                      <a:pt x="334" y="8"/>
                    </a:lnTo>
                    <a:lnTo>
                      <a:pt x="336" y="8"/>
                    </a:lnTo>
                    <a:lnTo>
                      <a:pt x="338" y="9"/>
                    </a:lnTo>
                    <a:lnTo>
                      <a:pt x="339" y="8"/>
                    </a:lnTo>
                    <a:lnTo>
                      <a:pt x="338" y="7"/>
                    </a:lnTo>
                    <a:lnTo>
                      <a:pt x="339" y="6"/>
                    </a:lnTo>
                    <a:lnTo>
                      <a:pt x="341" y="6"/>
                    </a:lnTo>
                    <a:lnTo>
                      <a:pt x="343" y="6"/>
                    </a:lnTo>
                    <a:lnTo>
                      <a:pt x="347" y="7"/>
                    </a:lnTo>
                    <a:lnTo>
                      <a:pt x="350" y="7"/>
                    </a:lnTo>
                    <a:lnTo>
                      <a:pt x="353" y="7"/>
                    </a:lnTo>
                    <a:lnTo>
                      <a:pt x="355" y="7"/>
                    </a:lnTo>
                    <a:lnTo>
                      <a:pt x="357" y="6"/>
                    </a:lnTo>
                    <a:lnTo>
                      <a:pt x="360" y="5"/>
                    </a:lnTo>
                    <a:lnTo>
                      <a:pt x="362" y="5"/>
                    </a:lnTo>
                    <a:lnTo>
                      <a:pt x="363" y="6"/>
                    </a:lnTo>
                    <a:lnTo>
                      <a:pt x="365" y="7"/>
                    </a:lnTo>
                    <a:lnTo>
                      <a:pt x="368" y="7"/>
                    </a:lnTo>
                    <a:lnTo>
                      <a:pt x="370" y="7"/>
                    </a:lnTo>
                    <a:lnTo>
                      <a:pt x="372" y="6"/>
                    </a:lnTo>
                    <a:lnTo>
                      <a:pt x="373" y="6"/>
                    </a:lnTo>
                    <a:lnTo>
                      <a:pt x="373" y="7"/>
                    </a:lnTo>
                    <a:lnTo>
                      <a:pt x="376" y="7"/>
                    </a:lnTo>
                    <a:lnTo>
                      <a:pt x="377" y="7"/>
                    </a:lnTo>
                    <a:lnTo>
                      <a:pt x="379" y="6"/>
                    </a:lnTo>
                    <a:lnTo>
                      <a:pt x="380" y="6"/>
                    </a:lnTo>
                    <a:lnTo>
                      <a:pt x="380" y="6"/>
                    </a:lnTo>
                    <a:lnTo>
                      <a:pt x="381" y="7"/>
                    </a:lnTo>
                    <a:lnTo>
                      <a:pt x="383" y="7"/>
                    </a:lnTo>
                    <a:lnTo>
                      <a:pt x="385" y="7"/>
                    </a:lnTo>
                    <a:lnTo>
                      <a:pt x="387" y="7"/>
                    </a:lnTo>
                    <a:lnTo>
                      <a:pt x="391" y="6"/>
                    </a:lnTo>
                    <a:lnTo>
                      <a:pt x="394" y="5"/>
                    </a:lnTo>
                    <a:lnTo>
                      <a:pt x="396" y="5"/>
                    </a:lnTo>
                    <a:lnTo>
                      <a:pt x="399" y="5"/>
                    </a:lnTo>
                    <a:lnTo>
                      <a:pt x="400" y="5"/>
                    </a:lnTo>
                    <a:lnTo>
                      <a:pt x="401" y="6"/>
                    </a:lnTo>
                    <a:lnTo>
                      <a:pt x="400" y="7"/>
                    </a:lnTo>
                    <a:lnTo>
                      <a:pt x="399" y="7"/>
                    </a:lnTo>
                    <a:lnTo>
                      <a:pt x="399" y="8"/>
                    </a:lnTo>
                    <a:lnTo>
                      <a:pt x="399" y="8"/>
                    </a:lnTo>
                    <a:lnTo>
                      <a:pt x="401" y="7"/>
                    </a:lnTo>
                    <a:lnTo>
                      <a:pt x="402" y="6"/>
                    </a:lnTo>
                    <a:lnTo>
                      <a:pt x="407" y="5"/>
                    </a:lnTo>
                    <a:lnTo>
                      <a:pt x="410" y="4"/>
                    </a:lnTo>
                    <a:lnTo>
                      <a:pt x="413" y="4"/>
                    </a:lnTo>
                    <a:close/>
                    <a:moveTo>
                      <a:pt x="241" y="0"/>
                    </a:moveTo>
                    <a:lnTo>
                      <a:pt x="246" y="0"/>
                    </a:lnTo>
                    <a:lnTo>
                      <a:pt x="249" y="1"/>
                    </a:lnTo>
                    <a:lnTo>
                      <a:pt x="252" y="1"/>
                    </a:lnTo>
                    <a:lnTo>
                      <a:pt x="260" y="1"/>
                    </a:lnTo>
                    <a:lnTo>
                      <a:pt x="263" y="1"/>
                    </a:lnTo>
                    <a:lnTo>
                      <a:pt x="265" y="1"/>
                    </a:lnTo>
                    <a:lnTo>
                      <a:pt x="266" y="3"/>
                    </a:lnTo>
                    <a:lnTo>
                      <a:pt x="265" y="3"/>
                    </a:lnTo>
                    <a:lnTo>
                      <a:pt x="264" y="4"/>
                    </a:lnTo>
                    <a:lnTo>
                      <a:pt x="263" y="5"/>
                    </a:lnTo>
                    <a:lnTo>
                      <a:pt x="260" y="5"/>
                    </a:lnTo>
                    <a:lnTo>
                      <a:pt x="258" y="6"/>
                    </a:lnTo>
                    <a:lnTo>
                      <a:pt x="257" y="7"/>
                    </a:lnTo>
                    <a:lnTo>
                      <a:pt x="253" y="7"/>
                    </a:lnTo>
                    <a:lnTo>
                      <a:pt x="250" y="8"/>
                    </a:lnTo>
                    <a:lnTo>
                      <a:pt x="245" y="9"/>
                    </a:lnTo>
                    <a:lnTo>
                      <a:pt x="241" y="11"/>
                    </a:lnTo>
                    <a:lnTo>
                      <a:pt x="235" y="13"/>
                    </a:lnTo>
                    <a:lnTo>
                      <a:pt x="229" y="14"/>
                    </a:lnTo>
                    <a:lnTo>
                      <a:pt x="221" y="15"/>
                    </a:lnTo>
                    <a:lnTo>
                      <a:pt x="218" y="16"/>
                    </a:lnTo>
                    <a:lnTo>
                      <a:pt x="215" y="16"/>
                    </a:lnTo>
                    <a:lnTo>
                      <a:pt x="213" y="16"/>
                    </a:lnTo>
                    <a:lnTo>
                      <a:pt x="212" y="16"/>
                    </a:lnTo>
                    <a:lnTo>
                      <a:pt x="209" y="16"/>
                    </a:lnTo>
                    <a:lnTo>
                      <a:pt x="208" y="16"/>
                    </a:lnTo>
                    <a:lnTo>
                      <a:pt x="206" y="16"/>
                    </a:lnTo>
                    <a:lnTo>
                      <a:pt x="204" y="18"/>
                    </a:lnTo>
                    <a:lnTo>
                      <a:pt x="201" y="19"/>
                    </a:lnTo>
                    <a:lnTo>
                      <a:pt x="200" y="19"/>
                    </a:lnTo>
                    <a:lnTo>
                      <a:pt x="198" y="19"/>
                    </a:lnTo>
                    <a:lnTo>
                      <a:pt x="197" y="18"/>
                    </a:lnTo>
                    <a:lnTo>
                      <a:pt x="194" y="16"/>
                    </a:lnTo>
                    <a:lnTo>
                      <a:pt x="192" y="16"/>
                    </a:lnTo>
                    <a:lnTo>
                      <a:pt x="191" y="18"/>
                    </a:lnTo>
                    <a:lnTo>
                      <a:pt x="190" y="19"/>
                    </a:lnTo>
                    <a:lnTo>
                      <a:pt x="188" y="20"/>
                    </a:lnTo>
                    <a:lnTo>
                      <a:pt x="184" y="20"/>
                    </a:lnTo>
                    <a:lnTo>
                      <a:pt x="181" y="20"/>
                    </a:lnTo>
                    <a:lnTo>
                      <a:pt x="177" y="19"/>
                    </a:lnTo>
                    <a:lnTo>
                      <a:pt x="176" y="19"/>
                    </a:lnTo>
                    <a:lnTo>
                      <a:pt x="175" y="19"/>
                    </a:lnTo>
                    <a:lnTo>
                      <a:pt x="173" y="20"/>
                    </a:lnTo>
                    <a:lnTo>
                      <a:pt x="171" y="20"/>
                    </a:lnTo>
                    <a:lnTo>
                      <a:pt x="169" y="19"/>
                    </a:lnTo>
                    <a:lnTo>
                      <a:pt x="167" y="19"/>
                    </a:lnTo>
                    <a:lnTo>
                      <a:pt x="167" y="19"/>
                    </a:lnTo>
                    <a:lnTo>
                      <a:pt x="166" y="19"/>
                    </a:lnTo>
                    <a:lnTo>
                      <a:pt x="167" y="19"/>
                    </a:lnTo>
                    <a:lnTo>
                      <a:pt x="167" y="21"/>
                    </a:lnTo>
                    <a:lnTo>
                      <a:pt x="168" y="21"/>
                    </a:lnTo>
                    <a:lnTo>
                      <a:pt x="167" y="22"/>
                    </a:lnTo>
                    <a:lnTo>
                      <a:pt x="166" y="22"/>
                    </a:lnTo>
                    <a:lnTo>
                      <a:pt x="163" y="22"/>
                    </a:lnTo>
                    <a:lnTo>
                      <a:pt x="160" y="22"/>
                    </a:lnTo>
                    <a:lnTo>
                      <a:pt x="159" y="22"/>
                    </a:lnTo>
                    <a:lnTo>
                      <a:pt x="158" y="22"/>
                    </a:lnTo>
                    <a:lnTo>
                      <a:pt x="156" y="22"/>
                    </a:lnTo>
                    <a:lnTo>
                      <a:pt x="158" y="22"/>
                    </a:lnTo>
                    <a:lnTo>
                      <a:pt x="159" y="23"/>
                    </a:lnTo>
                    <a:lnTo>
                      <a:pt x="160" y="24"/>
                    </a:lnTo>
                    <a:lnTo>
                      <a:pt x="160" y="24"/>
                    </a:lnTo>
                    <a:lnTo>
                      <a:pt x="160" y="26"/>
                    </a:lnTo>
                    <a:lnTo>
                      <a:pt x="158" y="26"/>
                    </a:lnTo>
                    <a:lnTo>
                      <a:pt x="156" y="26"/>
                    </a:lnTo>
                    <a:lnTo>
                      <a:pt x="154" y="26"/>
                    </a:lnTo>
                    <a:lnTo>
                      <a:pt x="153" y="26"/>
                    </a:lnTo>
                    <a:lnTo>
                      <a:pt x="152" y="27"/>
                    </a:lnTo>
                    <a:lnTo>
                      <a:pt x="151" y="27"/>
                    </a:lnTo>
                    <a:lnTo>
                      <a:pt x="148" y="28"/>
                    </a:lnTo>
                    <a:lnTo>
                      <a:pt x="147" y="29"/>
                    </a:lnTo>
                    <a:lnTo>
                      <a:pt x="145" y="29"/>
                    </a:lnTo>
                    <a:lnTo>
                      <a:pt x="143" y="29"/>
                    </a:lnTo>
                    <a:lnTo>
                      <a:pt x="140" y="28"/>
                    </a:lnTo>
                    <a:lnTo>
                      <a:pt x="139" y="28"/>
                    </a:lnTo>
                    <a:lnTo>
                      <a:pt x="138" y="28"/>
                    </a:lnTo>
                    <a:lnTo>
                      <a:pt x="136" y="28"/>
                    </a:lnTo>
                    <a:lnTo>
                      <a:pt x="134" y="28"/>
                    </a:lnTo>
                    <a:lnTo>
                      <a:pt x="132" y="28"/>
                    </a:lnTo>
                    <a:lnTo>
                      <a:pt x="130" y="28"/>
                    </a:lnTo>
                    <a:lnTo>
                      <a:pt x="129" y="28"/>
                    </a:lnTo>
                    <a:lnTo>
                      <a:pt x="127" y="27"/>
                    </a:lnTo>
                    <a:lnTo>
                      <a:pt x="125" y="28"/>
                    </a:lnTo>
                    <a:lnTo>
                      <a:pt x="125" y="28"/>
                    </a:lnTo>
                    <a:lnTo>
                      <a:pt x="123" y="29"/>
                    </a:lnTo>
                    <a:lnTo>
                      <a:pt x="122" y="29"/>
                    </a:lnTo>
                    <a:lnTo>
                      <a:pt x="119" y="30"/>
                    </a:lnTo>
                    <a:lnTo>
                      <a:pt x="117" y="30"/>
                    </a:lnTo>
                    <a:lnTo>
                      <a:pt x="115" y="29"/>
                    </a:lnTo>
                    <a:lnTo>
                      <a:pt x="112" y="29"/>
                    </a:lnTo>
                    <a:lnTo>
                      <a:pt x="109" y="28"/>
                    </a:lnTo>
                    <a:lnTo>
                      <a:pt x="108" y="28"/>
                    </a:lnTo>
                    <a:lnTo>
                      <a:pt x="106" y="28"/>
                    </a:lnTo>
                    <a:lnTo>
                      <a:pt x="104" y="28"/>
                    </a:lnTo>
                    <a:lnTo>
                      <a:pt x="103" y="29"/>
                    </a:lnTo>
                    <a:lnTo>
                      <a:pt x="102" y="29"/>
                    </a:lnTo>
                    <a:lnTo>
                      <a:pt x="99" y="29"/>
                    </a:lnTo>
                    <a:lnTo>
                      <a:pt x="97" y="29"/>
                    </a:lnTo>
                    <a:lnTo>
                      <a:pt x="96" y="28"/>
                    </a:lnTo>
                    <a:lnTo>
                      <a:pt x="97" y="27"/>
                    </a:lnTo>
                    <a:lnTo>
                      <a:pt x="99" y="26"/>
                    </a:lnTo>
                    <a:lnTo>
                      <a:pt x="101" y="26"/>
                    </a:lnTo>
                    <a:lnTo>
                      <a:pt x="103" y="26"/>
                    </a:lnTo>
                    <a:lnTo>
                      <a:pt x="106" y="26"/>
                    </a:lnTo>
                    <a:lnTo>
                      <a:pt x="108" y="24"/>
                    </a:lnTo>
                    <a:lnTo>
                      <a:pt x="108" y="24"/>
                    </a:lnTo>
                    <a:lnTo>
                      <a:pt x="109" y="24"/>
                    </a:lnTo>
                    <a:lnTo>
                      <a:pt x="109" y="23"/>
                    </a:lnTo>
                    <a:lnTo>
                      <a:pt x="110" y="23"/>
                    </a:lnTo>
                    <a:lnTo>
                      <a:pt x="111" y="22"/>
                    </a:lnTo>
                    <a:lnTo>
                      <a:pt x="114" y="21"/>
                    </a:lnTo>
                    <a:lnTo>
                      <a:pt x="116" y="21"/>
                    </a:lnTo>
                    <a:lnTo>
                      <a:pt x="118" y="21"/>
                    </a:lnTo>
                    <a:lnTo>
                      <a:pt x="122" y="22"/>
                    </a:lnTo>
                    <a:lnTo>
                      <a:pt x="124" y="22"/>
                    </a:lnTo>
                    <a:lnTo>
                      <a:pt x="126" y="23"/>
                    </a:lnTo>
                    <a:lnTo>
                      <a:pt x="129" y="23"/>
                    </a:lnTo>
                    <a:lnTo>
                      <a:pt x="131" y="22"/>
                    </a:lnTo>
                    <a:lnTo>
                      <a:pt x="131" y="22"/>
                    </a:lnTo>
                    <a:lnTo>
                      <a:pt x="130" y="22"/>
                    </a:lnTo>
                    <a:lnTo>
                      <a:pt x="129" y="22"/>
                    </a:lnTo>
                    <a:lnTo>
                      <a:pt x="127" y="22"/>
                    </a:lnTo>
                    <a:lnTo>
                      <a:pt x="125" y="22"/>
                    </a:lnTo>
                    <a:lnTo>
                      <a:pt x="124" y="22"/>
                    </a:lnTo>
                    <a:lnTo>
                      <a:pt x="123" y="21"/>
                    </a:lnTo>
                    <a:lnTo>
                      <a:pt x="123" y="21"/>
                    </a:lnTo>
                    <a:lnTo>
                      <a:pt x="123" y="21"/>
                    </a:lnTo>
                    <a:lnTo>
                      <a:pt x="125" y="21"/>
                    </a:lnTo>
                    <a:lnTo>
                      <a:pt x="126" y="21"/>
                    </a:lnTo>
                    <a:lnTo>
                      <a:pt x="132" y="21"/>
                    </a:lnTo>
                    <a:lnTo>
                      <a:pt x="130" y="20"/>
                    </a:lnTo>
                    <a:lnTo>
                      <a:pt x="127" y="20"/>
                    </a:lnTo>
                    <a:lnTo>
                      <a:pt x="126" y="21"/>
                    </a:lnTo>
                    <a:lnTo>
                      <a:pt x="123" y="21"/>
                    </a:lnTo>
                    <a:lnTo>
                      <a:pt x="123" y="21"/>
                    </a:lnTo>
                    <a:lnTo>
                      <a:pt x="122" y="21"/>
                    </a:lnTo>
                    <a:lnTo>
                      <a:pt x="121" y="20"/>
                    </a:lnTo>
                    <a:lnTo>
                      <a:pt x="122" y="19"/>
                    </a:lnTo>
                    <a:lnTo>
                      <a:pt x="124" y="18"/>
                    </a:lnTo>
                    <a:lnTo>
                      <a:pt x="127" y="18"/>
                    </a:lnTo>
                    <a:lnTo>
                      <a:pt x="131" y="16"/>
                    </a:lnTo>
                    <a:lnTo>
                      <a:pt x="134" y="16"/>
                    </a:lnTo>
                    <a:lnTo>
                      <a:pt x="136" y="16"/>
                    </a:lnTo>
                    <a:lnTo>
                      <a:pt x="136" y="15"/>
                    </a:lnTo>
                    <a:lnTo>
                      <a:pt x="136" y="15"/>
                    </a:lnTo>
                    <a:lnTo>
                      <a:pt x="134" y="15"/>
                    </a:lnTo>
                    <a:lnTo>
                      <a:pt x="134" y="15"/>
                    </a:lnTo>
                    <a:lnTo>
                      <a:pt x="134" y="15"/>
                    </a:lnTo>
                    <a:lnTo>
                      <a:pt x="136" y="15"/>
                    </a:lnTo>
                    <a:lnTo>
                      <a:pt x="138" y="15"/>
                    </a:lnTo>
                    <a:lnTo>
                      <a:pt x="140" y="14"/>
                    </a:lnTo>
                    <a:lnTo>
                      <a:pt x="143" y="14"/>
                    </a:lnTo>
                    <a:lnTo>
                      <a:pt x="144" y="13"/>
                    </a:lnTo>
                    <a:lnTo>
                      <a:pt x="146" y="13"/>
                    </a:lnTo>
                    <a:lnTo>
                      <a:pt x="146" y="14"/>
                    </a:lnTo>
                    <a:lnTo>
                      <a:pt x="146" y="15"/>
                    </a:lnTo>
                    <a:lnTo>
                      <a:pt x="147" y="15"/>
                    </a:lnTo>
                    <a:lnTo>
                      <a:pt x="148" y="15"/>
                    </a:lnTo>
                    <a:lnTo>
                      <a:pt x="149" y="15"/>
                    </a:lnTo>
                    <a:lnTo>
                      <a:pt x="151" y="15"/>
                    </a:lnTo>
                    <a:lnTo>
                      <a:pt x="151" y="15"/>
                    </a:lnTo>
                    <a:lnTo>
                      <a:pt x="151" y="15"/>
                    </a:lnTo>
                    <a:lnTo>
                      <a:pt x="151" y="14"/>
                    </a:lnTo>
                    <a:lnTo>
                      <a:pt x="151" y="13"/>
                    </a:lnTo>
                    <a:lnTo>
                      <a:pt x="152" y="12"/>
                    </a:lnTo>
                    <a:lnTo>
                      <a:pt x="153" y="12"/>
                    </a:lnTo>
                    <a:lnTo>
                      <a:pt x="155" y="12"/>
                    </a:lnTo>
                    <a:lnTo>
                      <a:pt x="158" y="11"/>
                    </a:lnTo>
                    <a:lnTo>
                      <a:pt x="160" y="9"/>
                    </a:lnTo>
                    <a:lnTo>
                      <a:pt x="162" y="8"/>
                    </a:lnTo>
                    <a:lnTo>
                      <a:pt x="164" y="9"/>
                    </a:lnTo>
                    <a:lnTo>
                      <a:pt x="167" y="9"/>
                    </a:lnTo>
                    <a:lnTo>
                      <a:pt x="169" y="9"/>
                    </a:lnTo>
                    <a:lnTo>
                      <a:pt x="170" y="8"/>
                    </a:lnTo>
                    <a:lnTo>
                      <a:pt x="171" y="8"/>
                    </a:lnTo>
                    <a:lnTo>
                      <a:pt x="170" y="7"/>
                    </a:lnTo>
                    <a:lnTo>
                      <a:pt x="169" y="8"/>
                    </a:lnTo>
                    <a:lnTo>
                      <a:pt x="168" y="8"/>
                    </a:lnTo>
                    <a:lnTo>
                      <a:pt x="166" y="8"/>
                    </a:lnTo>
                    <a:lnTo>
                      <a:pt x="163" y="8"/>
                    </a:lnTo>
                    <a:lnTo>
                      <a:pt x="162" y="7"/>
                    </a:lnTo>
                    <a:lnTo>
                      <a:pt x="160" y="7"/>
                    </a:lnTo>
                    <a:lnTo>
                      <a:pt x="160" y="7"/>
                    </a:lnTo>
                    <a:lnTo>
                      <a:pt x="159" y="8"/>
                    </a:lnTo>
                    <a:lnTo>
                      <a:pt x="153" y="8"/>
                    </a:lnTo>
                    <a:lnTo>
                      <a:pt x="152" y="8"/>
                    </a:lnTo>
                    <a:lnTo>
                      <a:pt x="151" y="9"/>
                    </a:lnTo>
                    <a:lnTo>
                      <a:pt x="149" y="9"/>
                    </a:lnTo>
                    <a:lnTo>
                      <a:pt x="148" y="8"/>
                    </a:lnTo>
                    <a:lnTo>
                      <a:pt x="146" y="8"/>
                    </a:lnTo>
                    <a:lnTo>
                      <a:pt x="144" y="9"/>
                    </a:lnTo>
                    <a:lnTo>
                      <a:pt x="141" y="9"/>
                    </a:lnTo>
                    <a:lnTo>
                      <a:pt x="140" y="11"/>
                    </a:lnTo>
                    <a:lnTo>
                      <a:pt x="138" y="11"/>
                    </a:lnTo>
                    <a:lnTo>
                      <a:pt x="137" y="11"/>
                    </a:lnTo>
                    <a:lnTo>
                      <a:pt x="138" y="11"/>
                    </a:lnTo>
                    <a:lnTo>
                      <a:pt x="139" y="9"/>
                    </a:lnTo>
                    <a:lnTo>
                      <a:pt x="141" y="8"/>
                    </a:lnTo>
                    <a:lnTo>
                      <a:pt x="144" y="8"/>
                    </a:lnTo>
                    <a:lnTo>
                      <a:pt x="147" y="7"/>
                    </a:lnTo>
                    <a:lnTo>
                      <a:pt x="149" y="7"/>
                    </a:lnTo>
                    <a:lnTo>
                      <a:pt x="149" y="7"/>
                    </a:lnTo>
                    <a:lnTo>
                      <a:pt x="152" y="6"/>
                    </a:lnTo>
                    <a:lnTo>
                      <a:pt x="154" y="5"/>
                    </a:lnTo>
                    <a:lnTo>
                      <a:pt x="156" y="5"/>
                    </a:lnTo>
                    <a:lnTo>
                      <a:pt x="159" y="5"/>
                    </a:lnTo>
                    <a:lnTo>
                      <a:pt x="160" y="5"/>
                    </a:lnTo>
                    <a:lnTo>
                      <a:pt x="161" y="6"/>
                    </a:lnTo>
                    <a:lnTo>
                      <a:pt x="163" y="6"/>
                    </a:lnTo>
                    <a:lnTo>
                      <a:pt x="166" y="5"/>
                    </a:lnTo>
                    <a:lnTo>
                      <a:pt x="174" y="5"/>
                    </a:lnTo>
                    <a:lnTo>
                      <a:pt x="176" y="4"/>
                    </a:lnTo>
                    <a:lnTo>
                      <a:pt x="178" y="4"/>
                    </a:lnTo>
                    <a:lnTo>
                      <a:pt x="181" y="4"/>
                    </a:lnTo>
                    <a:lnTo>
                      <a:pt x="183" y="4"/>
                    </a:lnTo>
                    <a:lnTo>
                      <a:pt x="186" y="4"/>
                    </a:lnTo>
                    <a:lnTo>
                      <a:pt x="199" y="4"/>
                    </a:lnTo>
                    <a:lnTo>
                      <a:pt x="203" y="4"/>
                    </a:lnTo>
                    <a:lnTo>
                      <a:pt x="205" y="4"/>
                    </a:lnTo>
                    <a:lnTo>
                      <a:pt x="207" y="4"/>
                    </a:lnTo>
                    <a:lnTo>
                      <a:pt x="209" y="4"/>
                    </a:lnTo>
                    <a:lnTo>
                      <a:pt x="211" y="3"/>
                    </a:lnTo>
                    <a:lnTo>
                      <a:pt x="213" y="3"/>
                    </a:lnTo>
                    <a:lnTo>
                      <a:pt x="214" y="3"/>
                    </a:lnTo>
                    <a:lnTo>
                      <a:pt x="216" y="3"/>
                    </a:lnTo>
                    <a:lnTo>
                      <a:pt x="220" y="4"/>
                    </a:lnTo>
                    <a:lnTo>
                      <a:pt x="227" y="4"/>
                    </a:lnTo>
                    <a:lnTo>
                      <a:pt x="234" y="1"/>
                    </a:lnTo>
                    <a:lnTo>
                      <a:pt x="241"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3"/>
              <p:cNvSpPr>
                <a:spLocks noEditPoints="1"/>
              </p:cNvSpPr>
              <p:nvPr/>
            </p:nvSpPr>
            <p:spPr bwMode="auto">
              <a:xfrm>
                <a:off x="4409" y="1795"/>
                <a:ext cx="544" cy="543"/>
              </a:xfrm>
              <a:custGeom>
                <a:avLst/>
                <a:gdLst>
                  <a:gd name="T0" fmla="*/ 679 w 1632"/>
                  <a:gd name="T1" fmla="*/ 101 h 1627"/>
                  <a:gd name="T2" fmla="*/ 488 w 1632"/>
                  <a:gd name="T3" fmla="*/ 165 h 1627"/>
                  <a:gd name="T4" fmla="*/ 326 w 1632"/>
                  <a:gd name="T5" fmla="*/ 276 h 1627"/>
                  <a:gd name="T6" fmla="*/ 199 w 1632"/>
                  <a:gd name="T7" fmla="*/ 427 h 1627"/>
                  <a:gd name="T8" fmla="*/ 117 w 1632"/>
                  <a:gd name="T9" fmla="*/ 609 h 1627"/>
                  <a:gd name="T10" fmla="*/ 89 w 1632"/>
                  <a:gd name="T11" fmla="*/ 812 h 1627"/>
                  <a:gd name="T12" fmla="*/ 116 w 1632"/>
                  <a:gd name="T13" fmla="*/ 1016 h 1627"/>
                  <a:gd name="T14" fmla="*/ 198 w 1632"/>
                  <a:gd name="T15" fmla="*/ 1198 h 1627"/>
                  <a:gd name="T16" fmla="*/ 324 w 1632"/>
                  <a:gd name="T17" fmla="*/ 1349 h 1627"/>
                  <a:gd name="T18" fmla="*/ 486 w 1632"/>
                  <a:gd name="T19" fmla="*/ 1461 h 1627"/>
                  <a:gd name="T20" fmla="*/ 676 w 1632"/>
                  <a:gd name="T21" fmla="*/ 1527 h 1627"/>
                  <a:gd name="T22" fmla="*/ 885 w 1632"/>
                  <a:gd name="T23" fmla="*/ 1536 h 1627"/>
                  <a:gd name="T24" fmla="*/ 1084 w 1632"/>
                  <a:gd name="T25" fmla="*/ 1489 h 1627"/>
                  <a:gd name="T26" fmla="*/ 1256 w 1632"/>
                  <a:gd name="T27" fmla="*/ 1392 h 1627"/>
                  <a:gd name="T28" fmla="*/ 1396 w 1632"/>
                  <a:gd name="T29" fmla="*/ 1253 h 1627"/>
                  <a:gd name="T30" fmla="*/ 1493 w 1632"/>
                  <a:gd name="T31" fmla="*/ 1081 h 1627"/>
                  <a:gd name="T32" fmla="*/ 1541 w 1632"/>
                  <a:gd name="T33" fmla="*/ 884 h 1627"/>
                  <a:gd name="T34" fmla="*/ 1532 w 1632"/>
                  <a:gd name="T35" fmla="*/ 676 h 1627"/>
                  <a:gd name="T36" fmla="*/ 1467 w 1632"/>
                  <a:gd name="T37" fmla="*/ 486 h 1627"/>
                  <a:gd name="T38" fmla="*/ 1354 w 1632"/>
                  <a:gd name="T39" fmla="*/ 323 h 1627"/>
                  <a:gd name="T40" fmla="*/ 1204 w 1632"/>
                  <a:gd name="T41" fmla="*/ 198 h 1627"/>
                  <a:gd name="T42" fmla="*/ 1021 w 1632"/>
                  <a:gd name="T43" fmla="*/ 116 h 1627"/>
                  <a:gd name="T44" fmla="*/ 817 w 1632"/>
                  <a:gd name="T45" fmla="*/ 87 h 1627"/>
                  <a:gd name="T46" fmla="*/ 964 w 1632"/>
                  <a:gd name="T47" fmla="*/ 13 h 1627"/>
                  <a:gd name="T48" fmla="*/ 1167 w 1632"/>
                  <a:gd name="T49" fmla="*/ 79 h 1627"/>
                  <a:gd name="T50" fmla="*/ 1342 w 1632"/>
                  <a:gd name="T51" fmla="*/ 192 h 1627"/>
                  <a:gd name="T52" fmla="*/ 1483 w 1632"/>
                  <a:gd name="T53" fmla="*/ 345 h 1627"/>
                  <a:gd name="T54" fmla="*/ 1581 w 1632"/>
                  <a:gd name="T55" fmla="*/ 530 h 1627"/>
                  <a:gd name="T56" fmla="*/ 1629 w 1632"/>
                  <a:gd name="T57" fmla="*/ 740 h 1627"/>
                  <a:gd name="T58" fmla="*/ 1618 w 1632"/>
                  <a:gd name="T59" fmla="*/ 961 h 1627"/>
                  <a:gd name="T60" fmla="*/ 1554 w 1632"/>
                  <a:gd name="T61" fmla="*/ 1163 h 1627"/>
                  <a:gd name="T62" fmla="*/ 1439 w 1632"/>
                  <a:gd name="T63" fmla="*/ 1339 h 1627"/>
                  <a:gd name="T64" fmla="*/ 1286 w 1632"/>
                  <a:gd name="T65" fmla="*/ 1480 h 1627"/>
                  <a:gd name="T66" fmla="*/ 1099 w 1632"/>
                  <a:gd name="T67" fmla="*/ 1577 h 1627"/>
                  <a:gd name="T68" fmla="*/ 889 w 1632"/>
                  <a:gd name="T69" fmla="*/ 1624 h 1627"/>
                  <a:gd name="T70" fmla="*/ 668 w 1632"/>
                  <a:gd name="T71" fmla="*/ 1613 h 1627"/>
                  <a:gd name="T72" fmla="*/ 465 w 1632"/>
                  <a:gd name="T73" fmla="*/ 1549 h 1627"/>
                  <a:gd name="T74" fmla="*/ 290 w 1632"/>
                  <a:gd name="T75" fmla="*/ 1436 h 1627"/>
                  <a:gd name="T76" fmla="*/ 149 w 1632"/>
                  <a:gd name="T77" fmla="*/ 1282 h 1627"/>
                  <a:gd name="T78" fmla="*/ 51 w 1632"/>
                  <a:gd name="T79" fmla="*/ 1097 h 1627"/>
                  <a:gd name="T80" fmla="*/ 2 w 1632"/>
                  <a:gd name="T81" fmla="*/ 887 h 1627"/>
                  <a:gd name="T82" fmla="*/ 12 w 1632"/>
                  <a:gd name="T83" fmla="*/ 666 h 1627"/>
                  <a:gd name="T84" fmla="*/ 79 w 1632"/>
                  <a:gd name="T85" fmla="*/ 463 h 1627"/>
                  <a:gd name="T86" fmla="*/ 193 w 1632"/>
                  <a:gd name="T87" fmla="*/ 288 h 1627"/>
                  <a:gd name="T88" fmla="*/ 346 w 1632"/>
                  <a:gd name="T89" fmla="*/ 148 h 1627"/>
                  <a:gd name="T90" fmla="*/ 532 w 1632"/>
                  <a:gd name="T91" fmla="*/ 50 h 1627"/>
                  <a:gd name="T92" fmla="*/ 743 w 1632"/>
                  <a:gd name="T93" fmla="*/ 2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2" h="1627">
                    <a:moveTo>
                      <a:pt x="817" y="87"/>
                    </a:moveTo>
                    <a:lnTo>
                      <a:pt x="748" y="90"/>
                    </a:lnTo>
                    <a:lnTo>
                      <a:pt x="679" y="101"/>
                    </a:lnTo>
                    <a:lnTo>
                      <a:pt x="613" y="116"/>
                    </a:lnTo>
                    <a:lnTo>
                      <a:pt x="549" y="138"/>
                    </a:lnTo>
                    <a:lnTo>
                      <a:pt x="488" y="165"/>
                    </a:lnTo>
                    <a:lnTo>
                      <a:pt x="430" y="198"/>
                    </a:lnTo>
                    <a:lnTo>
                      <a:pt x="376" y="235"/>
                    </a:lnTo>
                    <a:lnTo>
                      <a:pt x="326" y="276"/>
                    </a:lnTo>
                    <a:lnTo>
                      <a:pt x="279" y="323"/>
                    </a:lnTo>
                    <a:lnTo>
                      <a:pt x="238" y="373"/>
                    </a:lnTo>
                    <a:lnTo>
                      <a:pt x="199" y="427"/>
                    </a:lnTo>
                    <a:lnTo>
                      <a:pt x="167" y="485"/>
                    </a:lnTo>
                    <a:lnTo>
                      <a:pt x="139" y="545"/>
                    </a:lnTo>
                    <a:lnTo>
                      <a:pt x="117" y="609"/>
                    </a:lnTo>
                    <a:lnTo>
                      <a:pt x="101" y="675"/>
                    </a:lnTo>
                    <a:lnTo>
                      <a:pt x="92" y="743"/>
                    </a:lnTo>
                    <a:lnTo>
                      <a:pt x="89" y="812"/>
                    </a:lnTo>
                    <a:lnTo>
                      <a:pt x="91" y="882"/>
                    </a:lnTo>
                    <a:lnTo>
                      <a:pt x="101" y="951"/>
                    </a:lnTo>
                    <a:lnTo>
                      <a:pt x="116" y="1016"/>
                    </a:lnTo>
                    <a:lnTo>
                      <a:pt x="138" y="1080"/>
                    </a:lnTo>
                    <a:lnTo>
                      <a:pt x="165" y="1140"/>
                    </a:lnTo>
                    <a:lnTo>
                      <a:pt x="198" y="1198"/>
                    </a:lnTo>
                    <a:lnTo>
                      <a:pt x="235" y="1252"/>
                    </a:lnTo>
                    <a:lnTo>
                      <a:pt x="277" y="1303"/>
                    </a:lnTo>
                    <a:lnTo>
                      <a:pt x="324" y="1349"/>
                    </a:lnTo>
                    <a:lnTo>
                      <a:pt x="374" y="1392"/>
                    </a:lnTo>
                    <a:lnTo>
                      <a:pt x="428" y="1429"/>
                    </a:lnTo>
                    <a:lnTo>
                      <a:pt x="486" y="1461"/>
                    </a:lnTo>
                    <a:lnTo>
                      <a:pt x="547" y="1489"/>
                    </a:lnTo>
                    <a:lnTo>
                      <a:pt x="610" y="1511"/>
                    </a:lnTo>
                    <a:lnTo>
                      <a:pt x="676" y="1527"/>
                    </a:lnTo>
                    <a:lnTo>
                      <a:pt x="746" y="1536"/>
                    </a:lnTo>
                    <a:lnTo>
                      <a:pt x="816" y="1540"/>
                    </a:lnTo>
                    <a:lnTo>
                      <a:pt x="885" y="1536"/>
                    </a:lnTo>
                    <a:lnTo>
                      <a:pt x="955" y="1527"/>
                    </a:lnTo>
                    <a:lnTo>
                      <a:pt x="1020" y="1511"/>
                    </a:lnTo>
                    <a:lnTo>
                      <a:pt x="1084" y="1489"/>
                    </a:lnTo>
                    <a:lnTo>
                      <a:pt x="1144" y="1462"/>
                    </a:lnTo>
                    <a:lnTo>
                      <a:pt x="1202" y="1430"/>
                    </a:lnTo>
                    <a:lnTo>
                      <a:pt x="1256" y="1392"/>
                    </a:lnTo>
                    <a:lnTo>
                      <a:pt x="1307" y="1350"/>
                    </a:lnTo>
                    <a:lnTo>
                      <a:pt x="1353" y="1304"/>
                    </a:lnTo>
                    <a:lnTo>
                      <a:pt x="1396" y="1253"/>
                    </a:lnTo>
                    <a:lnTo>
                      <a:pt x="1432" y="1199"/>
                    </a:lnTo>
                    <a:lnTo>
                      <a:pt x="1466" y="1142"/>
                    </a:lnTo>
                    <a:lnTo>
                      <a:pt x="1493" y="1081"/>
                    </a:lnTo>
                    <a:lnTo>
                      <a:pt x="1514" y="1018"/>
                    </a:lnTo>
                    <a:lnTo>
                      <a:pt x="1531" y="952"/>
                    </a:lnTo>
                    <a:lnTo>
                      <a:pt x="1541" y="884"/>
                    </a:lnTo>
                    <a:lnTo>
                      <a:pt x="1544" y="814"/>
                    </a:lnTo>
                    <a:lnTo>
                      <a:pt x="1541" y="744"/>
                    </a:lnTo>
                    <a:lnTo>
                      <a:pt x="1532" y="676"/>
                    </a:lnTo>
                    <a:lnTo>
                      <a:pt x="1516" y="610"/>
                    </a:lnTo>
                    <a:lnTo>
                      <a:pt x="1494" y="546"/>
                    </a:lnTo>
                    <a:lnTo>
                      <a:pt x="1467" y="486"/>
                    </a:lnTo>
                    <a:lnTo>
                      <a:pt x="1434" y="429"/>
                    </a:lnTo>
                    <a:lnTo>
                      <a:pt x="1397" y="374"/>
                    </a:lnTo>
                    <a:lnTo>
                      <a:pt x="1354" y="323"/>
                    </a:lnTo>
                    <a:lnTo>
                      <a:pt x="1308" y="277"/>
                    </a:lnTo>
                    <a:lnTo>
                      <a:pt x="1258" y="236"/>
                    </a:lnTo>
                    <a:lnTo>
                      <a:pt x="1204" y="198"/>
                    </a:lnTo>
                    <a:lnTo>
                      <a:pt x="1146" y="165"/>
                    </a:lnTo>
                    <a:lnTo>
                      <a:pt x="1085" y="138"/>
                    </a:lnTo>
                    <a:lnTo>
                      <a:pt x="1021" y="116"/>
                    </a:lnTo>
                    <a:lnTo>
                      <a:pt x="956" y="101"/>
                    </a:lnTo>
                    <a:lnTo>
                      <a:pt x="888" y="90"/>
                    </a:lnTo>
                    <a:lnTo>
                      <a:pt x="817" y="87"/>
                    </a:lnTo>
                    <a:close/>
                    <a:moveTo>
                      <a:pt x="817" y="0"/>
                    </a:moveTo>
                    <a:lnTo>
                      <a:pt x="892" y="4"/>
                    </a:lnTo>
                    <a:lnTo>
                      <a:pt x="964" y="13"/>
                    </a:lnTo>
                    <a:lnTo>
                      <a:pt x="1034" y="29"/>
                    </a:lnTo>
                    <a:lnTo>
                      <a:pt x="1102" y="51"/>
                    </a:lnTo>
                    <a:lnTo>
                      <a:pt x="1167" y="79"/>
                    </a:lnTo>
                    <a:lnTo>
                      <a:pt x="1229" y="111"/>
                    </a:lnTo>
                    <a:lnTo>
                      <a:pt x="1288" y="149"/>
                    </a:lnTo>
                    <a:lnTo>
                      <a:pt x="1342" y="192"/>
                    </a:lnTo>
                    <a:lnTo>
                      <a:pt x="1394" y="239"/>
                    </a:lnTo>
                    <a:lnTo>
                      <a:pt x="1441" y="290"/>
                    </a:lnTo>
                    <a:lnTo>
                      <a:pt x="1483" y="345"/>
                    </a:lnTo>
                    <a:lnTo>
                      <a:pt x="1521" y="404"/>
                    </a:lnTo>
                    <a:lnTo>
                      <a:pt x="1554" y="466"/>
                    </a:lnTo>
                    <a:lnTo>
                      <a:pt x="1581" y="530"/>
                    </a:lnTo>
                    <a:lnTo>
                      <a:pt x="1603" y="598"/>
                    </a:lnTo>
                    <a:lnTo>
                      <a:pt x="1619" y="669"/>
                    </a:lnTo>
                    <a:lnTo>
                      <a:pt x="1629" y="740"/>
                    </a:lnTo>
                    <a:lnTo>
                      <a:pt x="1632" y="814"/>
                    </a:lnTo>
                    <a:lnTo>
                      <a:pt x="1629" y="888"/>
                    </a:lnTo>
                    <a:lnTo>
                      <a:pt x="1618" y="961"/>
                    </a:lnTo>
                    <a:lnTo>
                      <a:pt x="1603" y="1030"/>
                    </a:lnTo>
                    <a:lnTo>
                      <a:pt x="1581" y="1098"/>
                    </a:lnTo>
                    <a:lnTo>
                      <a:pt x="1554" y="1163"/>
                    </a:lnTo>
                    <a:lnTo>
                      <a:pt x="1520" y="1225"/>
                    </a:lnTo>
                    <a:lnTo>
                      <a:pt x="1482" y="1284"/>
                    </a:lnTo>
                    <a:lnTo>
                      <a:pt x="1439" y="1339"/>
                    </a:lnTo>
                    <a:lnTo>
                      <a:pt x="1392" y="1389"/>
                    </a:lnTo>
                    <a:lnTo>
                      <a:pt x="1341" y="1437"/>
                    </a:lnTo>
                    <a:lnTo>
                      <a:pt x="1286" y="1480"/>
                    </a:lnTo>
                    <a:lnTo>
                      <a:pt x="1227" y="1516"/>
                    </a:lnTo>
                    <a:lnTo>
                      <a:pt x="1165" y="1550"/>
                    </a:lnTo>
                    <a:lnTo>
                      <a:pt x="1099" y="1577"/>
                    </a:lnTo>
                    <a:lnTo>
                      <a:pt x="1031" y="1598"/>
                    </a:lnTo>
                    <a:lnTo>
                      <a:pt x="960" y="1615"/>
                    </a:lnTo>
                    <a:lnTo>
                      <a:pt x="889" y="1624"/>
                    </a:lnTo>
                    <a:lnTo>
                      <a:pt x="814" y="1627"/>
                    </a:lnTo>
                    <a:lnTo>
                      <a:pt x="740" y="1624"/>
                    </a:lnTo>
                    <a:lnTo>
                      <a:pt x="668" y="1613"/>
                    </a:lnTo>
                    <a:lnTo>
                      <a:pt x="598" y="1597"/>
                    </a:lnTo>
                    <a:lnTo>
                      <a:pt x="530" y="1577"/>
                    </a:lnTo>
                    <a:lnTo>
                      <a:pt x="465" y="1549"/>
                    </a:lnTo>
                    <a:lnTo>
                      <a:pt x="403" y="1515"/>
                    </a:lnTo>
                    <a:lnTo>
                      <a:pt x="345" y="1478"/>
                    </a:lnTo>
                    <a:lnTo>
                      <a:pt x="290" y="1436"/>
                    </a:lnTo>
                    <a:lnTo>
                      <a:pt x="238" y="1388"/>
                    </a:lnTo>
                    <a:lnTo>
                      <a:pt x="191" y="1337"/>
                    </a:lnTo>
                    <a:lnTo>
                      <a:pt x="149" y="1282"/>
                    </a:lnTo>
                    <a:lnTo>
                      <a:pt x="111" y="1223"/>
                    </a:lnTo>
                    <a:lnTo>
                      <a:pt x="78" y="1162"/>
                    </a:lnTo>
                    <a:lnTo>
                      <a:pt x="51" y="1097"/>
                    </a:lnTo>
                    <a:lnTo>
                      <a:pt x="29" y="1029"/>
                    </a:lnTo>
                    <a:lnTo>
                      <a:pt x="12" y="959"/>
                    </a:lnTo>
                    <a:lnTo>
                      <a:pt x="2" y="887"/>
                    </a:lnTo>
                    <a:lnTo>
                      <a:pt x="0" y="812"/>
                    </a:lnTo>
                    <a:lnTo>
                      <a:pt x="3" y="738"/>
                    </a:lnTo>
                    <a:lnTo>
                      <a:pt x="12" y="666"/>
                    </a:lnTo>
                    <a:lnTo>
                      <a:pt x="29" y="596"/>
                    </a:lnTo>
                    <a:lnTo>
                      <a:pt x="52" y="528"/>
                    </a:lnTo>
                    <a:lnTo>
                      <a:pt x="79" y="463"/>
                    </a:lnTo>
                    <a:lnTo>
                      <a:pt x="112" y="401"/>
                    </a:lnTo>
                    <a:lnTo>
                      <a:pt x="150" y="343"/>
                    </a:lnTo>
                    <a:lnTo>
                      <a:pt x="193" y="288"/>
                    </a:lnTo>
                    <a:lnTo>
                      <a:pt x="240" y="237"/>
                    </a:lnTo>
                    <a:lnTo>
                      <a:pt x="291" y="190"/>
                    </a:lnTo>
                    <a:lnTo>
                      <a:pt x="346" y="148"/>
                    </a:lnTo>
                    <a:lnTo>
                      <a:pt x="405" y="110"/>
                    </a:lnTo>
                    <a:lnTo>
                      <a:pt x="467" y="77"/>
                    </a:lnTo>
                    <a:lnTo>
                      <a:pt x="532" y="50"/>
                    </a:lnTo>
                    <a:lnTo>
                      <a:pt x="600" y="28"/>
                    </a:lnTo>
                    <a:lnTo>
                      <a:pt x="670" y="13"/>
                    </a:lnTo>
                    <a:lnTo>
                      <a:pt x="743" y="2"/>
                    </a:lnTo>
                    <a:lnTo>
                      <a:pt x="817"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14"/>
              <p:cNvSpPr>
                <a:spLocks noEditPoints="1"/>
              </p:cNvSpPr>
              <p:nvPr/>
            </p:nvSpPr>
            <p:spPr bwMode="auto">
              <a:xfrm>
                <a:off x="4078" y="1308"/>
                <a:ext cx="579" cy="1100"/>
              </a:xfrm>
              <a:custGeom>
                <a:avLst/>
                <a:gdLst>
                  <a:gd name="T0" fmla="*/ 920 w 1737"/>
                  <a:gd name="T1" fmla="*/ 803 h 3300"/>
                  <a:gd name="T2" fmla="*/ 802 w 1737"/>
                  <a:gd name="T3" fmla="*/ 37 h 3300"/>
                  <a:gd name="T4" fmla="*/ 892 w 1737"/>
                  <a:gd name="T5" fmla="*/ 37 h 3300"/>
                  <a:gd name="T6" fmla="*/ 667 w 1737"/>
                  <a:gd name="T7" fmla="*/ 81 h 3300"/>
                  <a:gd name="T8" fmla="*/ 667 w 1737"/>
                  <a:gd name="T9" fmla="*/ 37 h 3300"/>
                  <a:gd name="T10" fmla="*/ 925 w 1737"/>
                  <a:gd name="T11" fmla="*/ 213 h 3300"/>
                  <a:gd name="T12" fmla="*/ 891 w 1737"/>
                  <a:gd name="T13" fmla="*/ 865 h 3300"/>
                  <a:gd name="T14" fmla="*/ 806 w 1737"/>
                  <a:gd name="T15" fmla="*/ 1118 h 3300"/>
                  <a:gd name="T16" fmla="*/ 771 w 1737"/>
                  <a:gd name="T17" fmla="*/ 1320 h 3300"/>
                  <a:gd name="T18" fmla="*/ 709 w 1737"/>
                  <a:gd name="T19" fmla="*/ 1491 h 3300"/>
                  <a:gd name="T20" fmla="*/ 628 w 1737"/>
                  <a:gd name="T21" fmla="*/ 1638 h 3300"/>
                  <a:gd name="T22" fmla="*/ 534 w 1737"/>
                  <a:gd name="T23" fmla="*/ 1766 h 3300"/>
                  <a:gd name="T24" fmla="*/ 436 w 1737"/>
                  <a:gd name="T25" fmla="*/ 1880 h 3300"/>
                  <a:gd name="T26" fmla="*/ 332 w 1737"/>
                  <a:gd name="T27" fmla="*/ 1998 h 3300"/>
                  <a:gd name="T28" fmla="*/ 235 w 1737"/>
                  <a:gd name="T29" fmla="*/ 2118 h 3300"/>
                  <a:gd name="T30" fmla="*/ 157 w 1737"/>
                  <a:gd name="T31" fmla="*/ 2249 h 3300"/>
                  <a:gd name="T32" fmla="*/ 105 w 1737"/>
                  <a:gd name="T33" fmla="*/ 2397 h 3300"/>
                  <a:gd name="T34" fmla="*/ 85 w 1737"/>
                  <a:gd name="T35" fmla="*/ 2571 h 3300"/>
                  <a:gd name="T36" fmla="*/ 116 w 1737"/>
                  <a:gd name="T37" fmla="*/ 2751 h 3300"/>
                  <a:gd name="T38" fmla="*/ 204 w 1737"/>
                  <a:gd name="T39" fmla="*/ 2912 h 3300"/>
                  <a:gd name="T40" fmla="*/ 339 w 1737"/>
                  <a:gd name="T41" fmla="*/ 3046 h 3300"/>
                  <a:gd name="T42" fmla="*/ 514 w 1737"/>
                  <a:gd name="T43" fmla="*/ 3145 h 3300"/>
                  <a:gd name="T44" fmla="*/ 718 w 1737"/>
                  <a:gd name="T45" fmla="*/ 3203 h 3300"/>
                  <a:gd name="T46" fmla="*/ 944 w 1737"/>
                  <a:gd name="T47" fmla="*/ 3212 h 3300"/>
                  <a:gd name="T48" fmla="*/ 1161 w 1737"/>
                  <a:gd name="T49" fmla="*/ 3170 h 3300"/>
                  <a:gd name="T50" fmla="*/ 1348 w 1737"/>
                  <a:gd name="T51" fmla="*/ 3086 h 3300"/>
                  <a:gd name="T52" fmla="*/ 1496 w 1737"/>
                  <a:gd name="T53" fmla="*/ 2965 h 3300"/>
                  <a:gd name="T54" fmla="*/ 1600 w 1737"/>
                  <a:gd name="T55" fmla="*/ 2812 h 3300"/>
                  <a:gd name="T56" fmla="*/ 1650 w 1737"/>
                  <a:gd name="T57" fmla="*/ 2634 h 3300"/>
                  <a:gd name="T58" fmla="*/ 1737 w 1737"/>
                  <a:gd name="T59" fmla="*/ 2529 h 3300"/>
                  <a:gd name="T60" fmla="*/ 1725 w 1737"/>
                  <a:gd name="T61" fmla="*/ 2701 h 3300"/>
                  <a:gd name="T62" fmla="*/ 1658 w 1737"/>
                  <a:gd name="T63" fmla="*/ 2883 h 3300"/>
                  <a:gd name="T64" fmla="*/ 1538 w 1737"/>
                  <a:gd name="T65" fmla="*/ 3042 h 3300"/>
                  <a:gd name="T66" fmla="*/ 1371 w 1737"/>
                  <a:gd name="T67" fmla="*/ 3169 h 3300"/>
                  <a:gd name="T68" fmla="*/ 1172 w 1737"/>
                  <a:gd name="T69" fmla="*/ 3256 h 3300"/>
                  <a:gd name="T70" fmla="*/ 948 w 1737"/>
                  <a:gd name="T71" fmla="*/ 3296 h 3300"/>
                  <a:gd name="T72" fmla="*/ 863 w 1737"/>
                  <a:gd name="T73" fmla="*/ 3300 h 3300"/>
                  <a:gd name="T74" fmla="*/ 641 w 1737"/>
                  <a:gd name="T75" fmla="*/ 3274 h 3300"/>
                  <a:gd name="T76" fmla="*/ 435 w 1737"/>
                  <a:gd name="T77" fmla="*/ 3203 h 3300"/>
                  <a:gd name="T78" fmla="*/ 257 w 1737"/>
                  <a:gd name="T79" fmla="*/ 3090 h 3300"/>
                  <a:gd name="T80" fmla="*/ 116 w 1737"/>
                  <a:gd name="T81" fmla="*/ 2937 h 3300"/>
                  <a:gd name="T82" fmla="*/ 30 w 1737"/>
                  <a:gd name="T83" fmla="*/ 2763 h 3300"/>
                  <a:gd name="T84" fmla="*/ 0 w 1737"/>
                  <a:gd name="T85" fmla="*/ 2571 h 3300"/>
                  <a:gd name="T86" fmla="*/ 19 w 1737"/>
                  <a:gd name="T87" fmla="*/ 2388 h 3300"/>
                  <a:gd name="T88" fmla="*/ 70 w 1737"/>
                  <a:gd name="T89" fmla="*/ 2234 h 3300"/>
                  <a:gd name="T90" fmla="*/ 145 w 1737"/>
                  <a:gd name="T91" fmla="*/ 2100 h 3300"/>
                  <a:gd name="T92" fmla="*/ 238 w 1737"/>
                  <a:gd name="T93" fmla="*/ 1977 h 3300"/>
                  <a:gd name="T94" fmla="*/ 340 w 1737"/>
                  <a:gd name="T95" fmla="*/ 1861 h 3300"/>
                  <a:gd name="T96" fmla="*/ 443 w 1737"/>
                  <a:gd name="T97" fmla="*/ 1744 h 3300"/>
                  <a:gd name="T98" fmla="*/ 539 w 1737"/>
                  <a:gd name="T99" fmla="*/ 1619 h 3300"/>
                  <a:gd name="T100" fmla="*/ 622 w 1737"/>
                  <a:gd name="T101" fmla="*/ 1477 h 3300"/>
                  <a:gd name="T102" fmla="*/ 686 w 1737"/>
                  <a:gd name="T103" fmla="*/ 1311 h 3300"/>
                  <a:gd name="T104" fmla="*/ 721 w 1737"/>
                  <a:gd name="T105" fmla="*/ 1113 h 3300"/>
                  <a:gd name="T106" fmla="*/ 645 w 1737"/>
                  <a:gd name="T107" fmla="*/ 865 h 3300"/>
                  <a:gd name="T108" fmla="*/ 630 w 1737"/>
                  <a:gd name="T109" fmla="*/ 213 h 3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7" h="3300">
                    <a:moveTo>
                      <a:pt x="633" y="267"/>
                    </a:moveTo>
                    <a:lnTo>
                      <a:pt x="633" y="803"/>
                    </a:lnTo>
                    <a:lnTo>
                      <a:pt x="920" y="803"/>
                    </a:lnTo>
                    <a:lnTo>
                      <a:pt x="920" y="267"/>
                    </a:lnTo>
                    <a:lnTo>
                      <a:pt x="633" y="267"/>
                    </a:lnTo>
                    <a:close/>
                    <a:moveTo>
                      <a:pt x="802" y="37"/>
                    </a:moveTo>
                    <a:lnTo>
                      <a:pt x="802" y="82"/>
                    </a:lnTo>
                    <a:lnTo>
                      <a:pt x="892" y="82"/>
                    </a:lnTo>
                    <a:lnTo>
                      <a:pt x="892" y="37"/>
                    </a:lnTo>
                    <a:lnTo>
                      <a:pt x="802" y="37"/>
                    </a:lnTo>
                    <a:close/>
                    <a:moveTo>
                      <a:pt x="667" y="37"/>
                    </a:moveTo>
                    <a:lnTo>
                      <a:pt x="667" y="81"/>
                    </a:lnTo>
                    <a:lnTo>
                      <a:pt x="757" y="81"/>
                    </a:lnTo>
                    <a:lnTo>
                      <a:pt x="757" y="37"/>
                    </a:lnTo>
                    <a:lnTo>
                      <a:pt x="667" y="37"/>
                    </a:lnTo>
                    <a:close/>
                    <a:moveTo>
                      <a:pt x="630" y="0"/>
                    </a:moveTo>
                    <a:lnTo>
                      <a:pt x="925" y="0"/>
                    </a:lnTo>
                    <a:lnTo>
                      <a:pt x="925" y="213"/>
                    </a:lnTo>
                    <a:lnTo>
                      <a:pt x="970" y="213"/>
                    </a:lnTo>
                    <a:lnTo>
                      <a:pt x="970" y="865"/>
                    </a:lnTo>
                    <a:lnTo>
                      <a:pt x="891" y="865"/>
                    </a:lnTo>
                    <a:lnTo>
                      <a:pt x="813" y="1000"/>
                    </a:lnTo>
                    <a:lnTo>
                      <a:pt x="810" y="1042"/>
                    </a:lnTo>
                    <a:lnTo>
                      <a:pt x="806" y="1118"/>
                    </a:lnTo>
                    <a:lnTo>
                      <a:pt x="798" y="1189"/>
                    </a:lnTo>
                    <a:lnTo>
                      <a:pt x="786" y="1257"/>
                    </a:lnTo>
                    <a:lnTo>
                      <a:pt x="771" y="1320"/>
                    </a:lnTo>
                    <a:lnTo>
                      <a:pt x="753" y="1380"/>
                    </a:lnTo>
                    <a:lnTo>
                      <a:pt x="732" y="1437"/>
                    </a:lnTo>
                    <a:lnTo>
                      <a:pt x="709" y="1491"/>
                    </a:lnTo>
                    <a:lnTo>
                      <a:pt x="683" y="1543"/>
                    </a:lnTo>
                    <a:lnTo>
                      <a:pt x="657" y="1592"/>
                    </a:lnTo>
                    <a:lnTo>
                      <a:pt x="628" y="1638"/>
                    </a:lnTo>
                    <a:lnTo>
                      <a:pt x="598" y="1683"/>
                    </a:lnTo>
                    <a:lnTo>
                      <a:pt x="567" y="1726"/>
                    </a:lnTo>
                    <a:lnTo>
                      <a:pt x="534" y="1766"/>
                    </a:lnTo>
                    <a:lnTo>
                      <a:pt x="502" y="1805"/>
                    </a:lnTo>
                    <a:lnTo>
                      <a:pt x="470" y="1843"/>
                    </a:lnTo>
                    <a:lnTo>
                      <a:pt x="436" y="1880"/>
                    </a:lnTo>
                    <a:lnTo>
                      <a:pt x="404" y="1917"/>
                    </a:lnTo>
                    <a:lnTo>
                      <a:pt x="368" y="1958"/>
                    </a:lnTo>
                    <a:lnTo>
                      <a:pt x="332" y="1998"/>
                    </a:lnTo>
                    <a:lnTo>
                      <a:pt x="299" y="2037"/>
                    </a:lnTo>
                    <a:lnTo>
                      <a:pt x="265" y="2078"/>
                    </a:lnTo>
                    <a:lnTo>
                      <a:pt x="235" y="2118"/>
                    </a:lnTo>
                    <a:lnTo>
                      <a:pt x="207" y="2161"/>
                    </a:lnTo>
                    <a:lnTo>
                      <a:pt x="180" y="2204"/>
                    </a:lnTo>
                    <a:lnTo>
                      <a:pt x="157" y="2249"/>
                    </a:lnTo>
                    <a:lnTo>
                      <a:pt x="136" y="2295"/>
                    </a:lnTo>
                    <a:lnTo>
                      <a:pt x="119" y="2345"/>
                    </a:lnTo>
                    <a:lnTo>
                      <a:pt x="105" y="2397"/>
                    </a:lnTo>
                    <a:lnTo>
                      <a:pt x="95" y="2451"/>
                    </a:lnTo>
                    <a:lnTo>
                      <a:pt x="88" y="2510"/>
                    </a:lnTo>
                    <a:lnTo>
                      <a:pt x="85" y="2571"/>
                    </a:lnTo>
                    <a:lnTo>
                      <a:pt x="89" y="2633"/>
                    </a:lnTo>
                    <a:lnTo>
                      <a:pt x="99" y="2693"/>
                    </a:lnTo>
                    <a:lnTo>
                      <a:pt x="116" y="2751"/>
                    </a:lnTo>
                    <a:lnTo>
                      <a:pt x="140" y="2808"/>
                    </a:lnTo>
                    <a:lnTo>
                      <a:pt x="170" y="2861"/>
                    </a:lnTo>
                    <a:lnTo>
                      <a:pt x="204" y="2912"/>
                    </a:lnTo>
                    <a:lnTo>
                      <a:pt x="245" y="2960"/>
                    </a:lnTo>
                    <a:lnTo>
                      <a:pt x="290" y="3004"/>
                    </a:lnTo>
                    <a:lnTo>
                      <a:pt x="339" y="3046"/>
                    </a:lnTo>
                    <a:lnTo>
                      <a:pt x="394" y="3083"/>
                    </a:lnTo>
                    <a:lnTo>
                      <a:pt x="452" y="3116"/>
                    </a:lnTo>
                    <a:lnTo>
                      <a:pt x="514" y="3145"/>
                    </a:lnTo>
                    <a:lnTo>
                      <a:pt x="579" y="3169"/>
                    </a:lnTo>
                    <a:lnTo>
                      <a:pt x="648" y="3189"/>
                    </a:lnTo>
                    <a:lnTo>
                      <a:pt x="718" y="3203"/>
                    </a:lnTo>
                    <a:lnTo>
                      <a:pt x="791" y="3212"/>
                    </a:lnTo>
                    <a:lnTo>
                      <a:pt x="866" y="3214"/>
                    </a:lnTo>
                    <a:lnTo>
                      <a:pt x="944" y="3212"/>
                    </a:lnTo>
                    <a:lnTo>
                      <a:pt x="1019" y="3203"/>
                    </a:lnTo>
                    <a:lnTo>
                      <a:pt x="1092" y="3189"/>
                    </a:lnTo>
                    <a:lnTo>
                      <a:pt x="1161" y="3170"/>
                    </a:lnTo>
                    <a:lnTo>
                      <a:pt x="1227" y="3147"/>
                    </a:lnTo>
                    <a:lnTo>
                      <a:pt x="1289" y="3118"/>
                    </a:lnTo>
                    <a:lnTo>
                      <a:pt x="1348" y="3086"/>
                    </a:lnTo>
                    <a:lnTo>
                      <a:pt x="1403" y="3049"/>
                    </a:lnTo>
                    <a:lnTo>
                      <a:pt x="1452" y="3009"/>
                    </a:lnTo>
                    <a:lnTo>
                      <a:pt x="1496" y="2965"/>
                    </a:lnTo>
                    <a:lnTo>
                      <a:pt x="1536" y="2917"/>
                    </a:lnTo>
                    <a:lnTo>
                      <a:pt x="1571" y="2867"/>
                    </a:lnTo>
                    <a:lnTo>
                      <a:pt x="1600" y="2812"/>
                    </a:lnTo>
                    <a:lnTo>
                      <a:pt x="1622" y="2756"/>
                    </a:lnTo>
                    <a:lnTo>
                      <a:pt x="1639" y="2697"/>
                    </a:lnTo>
                    <a:lnTo>
                      <a:pt x="1650" y="2634"/>
                    </a:lnTo>
                    <a:lnTo>
                      <a:pt x="1653" y="2571"/>
                    </a:lnTo>
                    <a:lnTo>
                      <a:pt x="1653" y="2529"/>
                    </a:lnTo>
                    <a:lnTo>
                      <a:pt x="1737" y="2529"/>
                    </a:lnTo>
                    <a:lnTo>
                      <a:pt x="1737" y="2571"/>
                    </a:lnTo>
                    <a:lnTo>
                      <a:pt x="1734" y="2637"/>
                    </a:lnTo>
                    <a:lnTo>
                      <a:pt x="1725" y="2701"/>
                    </a:lnTo>
                    <a:lnTo>
                      <a:pt x="1709" y="2764"/>
                    </a:lnTo>
                    <a:lnTo>
                      <a:pt x="1687" y="2824"/>
                    </a:lnTo>
                    <a:lnTo>
                      <a:pt x="1658" y="2883"/>
                    </a:lnTo>
                    <a:lnTo>
                      <a:pt x="1623" y="2938"/>
                    </a:lnTo>
                    <a:lnTo>
                      <a:pt x="1584" y="2991"/>
                    </a:lnTo>
                    <a:lnTo>
                      <a:pt x="1538" y="3042"/>
                    </a:lnTo>
                    <a:lnTo>
                      <a:pt x="1487" y="3088"/>
                    </a:lnTo>
                    <a:lnTo>
                      <a:pt x="1431" y="3131"/>
                    </a:lnTo>
                    <a:lnTo>
                      <a:pt x="1371" y="3169"/>
                    </a:lnTo>
                    <a:lnTo>
                      <a:pt x="1308" y="3203"/>
                    </a:lnTo>
                    <a:lnTo>
                      <a:pt x="1241" y="3232"/>
                    </a:lnTo>
                    <a:lnTo>
                      <a:pt x="1172" y="3256"/>
                    </a:lnTo>
                    <a:lnTo>
                      <a:pt x="1099" y="3274"/>
                    </a:lnTo>
                    <a:lnTo>
                      <a:pt x="1024" y="3288"/>
                    </a:lnTo>
                    <a:lnTo>
                      <a:pt x="948" y="3296"/>
                    </a:lnTo>
                    <a:lnTo>
                      <a:pt x="869" y="3300"/>
                    </a:lnTo>
                    <a:lnTo>
                      <a:pt x="869" y="3300"/>
                    </a:lnTo>
                    <a:lnTo>
                      <a:pt x="863" y="3300"/>
                    </a:lnTo>
                    <a:lnTo>
                      <a:pt x="787" y="3296"/>
                    </a:lnTo>
                    <a:lnTo>
                      <a:pt x="713" y="3288"/>
                    </a:lnTo>
                    <a:lnTo>
                      <a:pt x="641" y="3274"/>
                    </a:lnTo>
                    <a:lnTo>
                      <a:pt x="569" y="3256"/>
                    </a:lnTo>
                    <a:lnTo>
                      <a:pt x="501" y="3232"/>
                    </a:lnTo>
                    <a:lnTo>
                      <a:pt x="435" y="3203"/>
                    </a:lnTo>
                    <a:lnTo>
                      <a:pt x="373" y="3169"/>
                    </a:lnTo>
                    <a:lnTo>
                      <a:pt x="313" y="3132"/>
                    </a:lnTo>
                    <a:lnTo>
                      <a:pt x="257" y="3090"/>
                    </a:lnTo>
                    <a:lnTo>
                      <a:pt x="204" y="3041"/>
                    </a:lnTo>
                    <a:lnTo>
                      <a:pt x="158" y="2991"/>
                    </a:lnTo>
                    <a:lnTo>
                      <a:pt x="116" y="2937"/>
                    </a:lnTo>
                    <a:lnTo>
                      <a:pt x="82" y="2882"/>
                    </a:lnTo>
                    <a:lnTo>
                      <a:pt x="53" y="2823"/>
                    </a:lnTo>
                    <a:lnTo>
                      <a:pt x="30" y="2763"/>
                    </a:lnTo>
                    <a:lnTo>
                      <a:pt x="14" y="2700"/>
                    </a:lnTo>
                    <a:lnTo>
                      <a:pt x="3" y="2637"/>
                    </a:lnTo>
                    <a:lnTo>
                      <a:pt x="0" y="2571"/>
                    </a:lnTo>
                    <a:lnTo>
                      <a:pt x="2" y="2507"/>
                    </a:lnTo>
                    <a:lnTo>
                      <a:pt x="9" y="2446"/>
                    </a:lnTo>
                    <a:lnTo>
                      <a:pt x="19" y="2388"/>
                    </a:lnTo>
                    <a:lnTo>
                      <a:pt x="32" y="2334"/>
                    </a:lnTo>
                    <a:lnTo>
                      <a:pt x="49" y="2283"/>
                    </a:lnTo>
                    <a:lnTo>
                      <a:pt x="70" y="2234"/>
                    </a:lnTo>
                    <a:lnTo>
                      <a:pt x="92" y="2188"/>
                    </a:lnTo>
                    <a:lnTo>
                      <a:pt x="118" y="2142"/>
                    </a:lnTo>
                    <a:lnTo>
                      <a:pt x="145" y="2100"/>
                    </a:lnTo>
                    <a:lnTo>
                      <a:pt x="174" y="2058"/>
                    </a:lnTo>
                    <a:lnTo>
                      <a:pt x="205" y="2017"/>
                    </a:lnTo>
                    <a:lnTo>
                      <a:pt x="238" y="1977"/>
                    </a:lnTo>
                    <a:lnTo>
                      <a:pt x="271" y="1938"/>
                    </a:lnTo>
                    <a:lnTo>
                      <a:pt x="306" y="1899"/>
                    </a:lnTo>
                    <a:lnTo>
                      <a:pt x="340" y="1861"/>
                    </a:lnTo>
                    <a:lnTo>
                      <a:pt x="375" y="1823"/>
                    </a:lnTo>
                    <a:lnTo>
                      <a:pt x="409" y="1783"/>
                    </a:lnTo>
                    <a:lnTo>
                      <a:pt x="443" y="1744"/>
                    </a:lnTo>
                    <a:lnTo>
                      <a:pt x="476" y="1704"/>
                    </a:lnTo>
                    <a:lnTo>
                      <a:pt x="508" y="1662"/>
                    </a:lnTo>
                    <a:lnTo>
                      <a:pt x="539" y="1619"/>
                    </a:lnTo>
                    <a:lnTo>
                      <a:pt x="568" y="1574"/>
                    </a:lnTo>
                    <a:lnTo>
                      <a:pt x="597" y="1527"/>
                    </a:lnTo>
                    <a:lnTo>
                      <a:pt x="622" y="1477"/>
                    </a:lnTo>
                    <a:lnTo>
                      <a:pt x="645" y="1425"/>
                    </a:lnTo>
                    <a:lnTo>
                      <a:pt x="667" y="1370"/>
                    </a:lnTo>
                    <a:lnTo>
                      <a:pt x="686" y="1311"/>
                    </a:lnTo>
                    <a:lnTo>
                      <a:pt x="701" y="1249"/>
                    </a:lnTo>
                    <a:lnTo>
                      <a:pt x="712" y="1183"/>
                    </a:lnTo>
                    <a:lnTo>
                      <a:pt x="721" y="1113"/>
                    </a:lnTo>
                    <a:lnTo>
                      <a:pt x="726" y="1040"/>
                    </a:lnTo>
                    <a:lnTo>
                      <a:pt x="727" y="997"/>
                    </a:lnTo>
                    <a:lnTo>
                      <a:pt x="645" y="865"/>
                    </a:lnTo>
                    <a:lnTo>
                      <a:pt x="586" y="865"/>
                    </a:lnTo>
                    <a:lnTo>
                      <a:pt x="586" y="213"/>
                    </a:lnTo>
                    <a:lnTo>
                      <a:pt x="630" y="213"/>
                    </a:lnTo>
                    <a:lnTo>
                      <a:pt x="63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 name="Group 49"/>
            <p:cNvGrpSpPr/>
            <p:nvPr/>
          </p:nvGrpSpPr>
          <p:grpSpPr>
            <a:xfrm>
              <a:off x="8140174" y="2593389"/>
              <a:ext cx="823609" cy="708532"/>
              <a:chOff x="9345932" y="1941518"/>
              <a:chExt cx="2285024" cy="1965755"/>
            </a:xfrm>
          </p:grpSpPr>
          <p:grpSp>
            <p:nvGrpSpPr>
              <p:cNvPr id="51" name="Group 50"/>
              <p:cNvGrpSpPr/>
              <p:nvPr/>
            </p:nvGrpSpPr>
            <p:grpSpPr>
              <a:xfrm>
                <a:off x="9345932" y="1941518"/>
                <a:ext cx="2285024" cy="1895889"/>
                <a:chOff x="9247017" y="1941519"/>
                <a:chExt cx="2411505" cy="2000830"/>
              </a:xfrm>
            </p:grpSpPr>
            <p:sp>
              <p:nvSpPr>
                <p:cNvPr id="53" name="Freeform 59"/>
                <p:cNvSpPr>
                  <a:spLocks noEditPoints="1"/>
                </p:cNvSpPr>
                <p:nvPr/>
              </p:nvSpPr>
              <p:spPr bwMode="auto">
                <a:xfrm>
                  <a:off x="9247017" y="1941519"/>
                  <a:ext cx="1041603" cy="199568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587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 name="Rectangle 53"/>
                <p:cNvSpPr/>
                <p:nvPr/>
              </p:nvSpPr>
              <p:spPr bwMode="auto">
                <a:xfrm>
                  <a:off x="9998525" y="2482768"/>
                  <a:ext cx="1583267" cy="123481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nvGrpSpPr>
                <p:cNvPr id="55" name="Group 54"/>
                <p:cNvGrpSpPr>
                  <a:grpSpLocks noChangeAspect="1"/>
                </p:cNvGrpSpPr>
                <p:nvPr/>
              </p:nvGrpSpPr>
              <p:grpSpPr>
                <a:xfrm>
                  <a:off x="9936544" y="2465834"/>
                  <a:ext cx="1721978" cy="1476515"/>
                  <a:chOff x="1839986" y="2235785"/>
                  <a:chExt cx="3001031" cy="2573246"/>
                </a:xfrm>
                <a:solidFill>
                  <a:srgbClr val="0070C0"/>
                </a:solidFill>
              </p:grpSpPr>
              <p:sp>
                <p:nvSpPr>
                  <p:cNvPr id="56" name="Freeform 44"/>
                  <p:cNvSpPr>
                    <a:spLocks noEditPoints="1"/>
                  </p:cNvSpPr>
                  <p:nvPr/>
                </p:nvSpPr>
                <p:spPr bwMode="auto">
                  <a:xfrm>
                    <a:off x="1839986" y="2235785"/>
                    <a:ext cx="3001031" cy="2573246"/>
                  </a:xfrm>
                  <a:custGeom>
                    <a:avLst/>
                    <a:gdLst>
                      <a:gd name="T0" fmla="*/ 943 w 974"/>
                      <a:gd name="T1" fmla="*/ 0 h 835"/>
                      <a:gd name="T2" fmla="*/ 33 w 974"/>
                      <a:gd name="T3" fmla="*/ 0 h 835"/>
                      <a:gd name="T4" fmla="*/ 0 w 974"/>
                      <a:gd name="T5" fmla="*/ 30 h 835"/>
                      <a:gd name="T6" fmla="*/ 0 w 974"/>
                      <a:gd name="T7" fmla="*/ 683 h 835"/>
                      <a:gd name="T8" fmla="*/ 33 w 974"/>
                      <a:gd name="T9" fmla="*/ 714 h 835"/>
                      <a:gd name="T10" fmla="*/ 332 w 974"/>
                      <a:gd name="T11" fmla="*/ 714 h 835"/>
                      <a:gd name="T12" fmla="*/ 323 w 974"/>
                      <a:gd name="T13" fmla="*/ 761 h 835"/>
                      <a:gd name="T14" fmla="*/ 272 w 974"/>
                      <a:gd name="T15" fmla="*/ 779 h 835"/>
                      <a:gd name="T16" fmla="*/ 267 w 974"/>
                      <a:gd name="T17" fmla="*/ 779 h 835"/>
                      <a:gd name="T18" fmla="*/ 246 w 974"/>
                      <a:gd name="T19" fmla="*/ 801 h 835"/>
                      <a:gd name="T20" fmla="*/ 246 w 974"/>
                      <a:gd name="T21" fmla="*/ 813 h 835"/>
                      <a:gd name="T22" fmla="*/ 267 w 974"/>
                      <a:gd name="T23" fmla="*/ 835 h 835"/>
                      <a:gd name="T24" fmla="*/ 719 w 974"/>
                      <a:gd name="T25" fmla="*/ 835 h 835"/>
                      <a:gd name="T26" fmla="*/ 740 w 974"/>
                      <a:gd name="T27" fmla="*/ 813 h 835"/>
                      <a:gd name="T28" fmla="*/ 740 w 974"/>
                      <a:gd name="T29" fmla="*/ 801 h 835"/>
                      <a:gd name="T30" fmla="*/ 719 w 974"/>
                      <a:gd name="T31" fmla="*/ 779 h 835"/>
                      <a:gd name="T32" fmla="*/ 717 w 974"/>
                      <a:gd name="T33" fmla="*/ 779 h 835"/>
                      <a:gd name="T34" fmla="*/ 669 w 974"/>
                      <a:gd name="T35" fmla="*/ 761 h 835"/>
                      <a:gd name="T36" fmla="*/ 661 w 974"/>
                      <a:gd name="T37" fmla="*/ 714 h 835"/>
                      <a:gd name="T38" fmla="*/ 943 w 974"/>
                      <a:gd name="T39" fmla="*/ 714 h 835"/>
                      <a:gd name="T40" fmla="*/ 974 w 974"/>
                      <a:gd name="T41" fmla="*/ 683 h 835"/>
                      <a:gd name="T42" fmla="*/ 974 w 974"/>
                      <a:gd name="T43" fmla="*/ 30 h 835"/>
                      <a:gd name="T44" fmla="*/ 943 w 974"/>
                      <a:gd name="T45" fmla="*/ 0 h 835"/>
                      <a:gd name="T46" fmla="*/ 918 w 974"/>
                      <a:gd name="T47" fmla="*/ 634 h 835"/>
                      <a:gd name="T48" fmla="*/ 892 w 974"/>
                      <a:gd name="T49" fmla="*/ 660 h 835"/>
                      <a:gd name="T50" fmla="*/ 84 w 974"/>
                      <a:gd name="T51" fmla="*/ 660 h 835"/>
                      <a:gd name="T52" fmla="*/ 57 w 974"/>
                      <a:gd name="T53" fmla="*/ 634 h 835"/>
                      <a:gd name="T54" fmla="*/ 57 w 974"/>
                      <a:gd name="T55" fmla="*/ 79 h 835"/>
                      <a:gd name="T56" fmla="*/ 84 w 974"/>
                      <a:gd name="T57" fmla="*/ 53 h 835"/>
                      <a:gd name="T58" fmla="*/ 892 w 974"/>
                      <a:gd name="T59" fmla="*/ 53 h 835"/>
                      <a:gd name="T60" fmla="*/ 918 w 974"/>
                      <a:gd name="T61" fmla="*/ 79 h 835"/>
                      <a:gd name="T62" fmla="*/ 918 w 974"/>
                      <a:gd name="T63" fmla="*/ 634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4" h="835">
                        <a:moveTo>
                          <a:pt x="943" y="0"/>
                        </a:moveTo>
                        <a:cubicBezTo>
                          <a:pt x="33" y="0"/>
                          <a:pt x="33" y="0"/>
                          <a:pt x="33" y="0"/>
                        </a:cubicBezTo>
                        <a:cubicBezTo>
                          <a:pt x="15" y="0"/>
                          <a:pt x="0" y="13"/>
                          <a:pt x="0" y="30"/>
                        </a:cubicBezTo>
                        <a:cubicBezTo>
                          <a:pt x="0" y="683"/>
                          <a:pt x="0" y="683"/>
                          <a:pt x="0" y="683"/>
                        </a:cubicBezTo>
                        <a:cubicBezTo>
                          <a:pt x="0" y="700"/>
                          <a:pt x="15" y="714"/>
                          <a:pt x="33" y="714"/>
                        </a:cubicBezTo>
                        <a:cubicBezTo>
                          <a:pt x="332" y="714"/>
                          <a:pt x="332" y="714"/>
                          <a:pt x="332" y="714"/>
                        </a:cubicBezTo>
                        <a:cubicBezTo>
                          <a:pt x="332" y="714"/>
                          <a:pt x="330" y="751"/>
                          <a:pt x="323" y="761"/>
                        </a:cubicBezTo>
                        <a:cubicBezTo>
                          <a:pt x="311" y="779"/>
                          <a:pt x="288" y="774"/>
                          <a:pt x="272" y="779"/>
                        </a:cubicBezTo>
                        <a:cubicBezTo>
                          <a:pt x="267" y="779"/>
                          <a:pt x="267" y="779"/>
                          <a:pt x="267" y="779"/>
                        </a:cubicBezTo>
                        <a:cubicBezTo>
                          <a:pt x="255" y="779"/>
                          <a:pt x="246" y="789"/>
                          <a:pt x="246" y="801"/>
                        </a:cubicBezTo>
                        <a:cubicBezTo>
                          <a:pt x="246" y="813"/>
                          <a:pt x="246" y="813"/>
                          <a:pt x="246" y="813"/>
                        </a:cubicBezTo>
                        <a:cubicBezTo>
                          <a:pt x="246" y="825"/>
                          <a:pt x="255" y="835"/>
                          <a:pt x="267" y="835"/>
                        </a:cubicBezTo>
                        <a:cubicBezTo>
                          <a:pt x="719" y="835"/>
                          <a:pt x="719" y="835"/>
                          <a:pt x="719" y="835"/>
                        </a:cubicBezTo>
                        <a:cubicBezTo>
                          <a:pt x="730" y="835"/>
                          <a:pt x="740" y="825"/>
                          <a:pt x="740" y="813"/>
                        </a:cubicBezTo>
                        <a:cubicBezTo>
                          <a:pt x="740" y="801"/>
                          <a:pt x="740" y="801"/>
                          <a:pt x="740" y="801"/>
                        </a:cubicBezTo>
                        <a:cubicBezTo>
                          <a:pt x="740" y="789"/>
                          <a:pt x="730" y="779"/>
                          <a:pt x="719" y="779"/>
                        </a:cubicBezTo>
                        <a:cubicBezTo>
                          <a:pt x="717" y="779"/>
                          <a:pt x="717" y="779"/>
                          <a:pt x="717" y="779"/>
                        </a:cubicBezTo>
                        <a:cubicBezTo>
                          <a:pt x="708" y="778"/>
                          <a:pt x="681" y="780"/>
                          <a:pt x="669" y="761"/>
                        </a:cubicBezTo>
                        <a:cubicBezTo>
                          <a:pt x="663" y="751"/>
                          <a:pt x="661" y="714"/>
                          <a:pt x="661" y="714"/>
                        </a:cubicBezTo>
                        <a:cubicBezTo>
                          <a:pt x="943" y="714"/>
                          <a:pt x="943" y="714"/>
                          <a:pt x="943" y="714"/>
                        </a:cubicBezTo>
                        <a:cubicBezTo>
                          <a:pt x="960" y="714"/>
                          <a:pt x="974" y="700"/>
                          <a:pt x="974" y="683"/>
                        </a:cubicBezTo>
                        <a:cubicBezTo>
                          <a:pt x="974" y="30"/>
                          <a:pt x="974" y="30"/>
                          <a:pt x="974" y="30"/>
                        </a:cubicBezTo>
                        <a:cubicBezTo>
                          <a:pt x="974" y="13"/>
                          <a:pt x="960" y="0"/>
                          <a:pt x="943" y="0"/>
                        </a:cubicBezTo>
                        <a:close/>
                        <a:moveTo>
                          <a:pt x="918" y="634"/>
                        </a:moveTo>
                        <a:cubicBezTo>
                          <a:pt x="918" y="649"/>
                          <a:pt x="906" y="660"/>
                          <a:pt x="892" y="660"/>
                        </a:cubicBezTo>
                        <a:cubicBezTo>
                          <a:pt x="84" y="660"/>
                          <a:pt x="84" y="660"/>
                          <a:pt x="84" y="660"/>
                        </a:cubicBezTo>
                        <a:cubicBezTo>
                          <a:pt x="69" y="660"/>
                          <a:pt x="57" y="649"/>
                          <a:pt x="57" y="634"/>
                        </a:cubicBezTo>
                        <a:cubicBezTo>
                          <a:pt x="57" y="79"/>
                          <a:pt x="57" y="79"/>
                          <a:pt x="57" y="79"/>
                        </a:cubicBezTo>
                        <a:cubicBezTo>
                          <a:pt x="57" y="64"/>
                          <a:pt x="69" y="53"/>
                          <a:pt x="84" y="53"/>
                        </a:cubicBezTo>
                        <a:cubicBezTo>
                          <a:pt x="892" y="53"/>
                          <a:pt x="892" y="53"/>
                          <a:pt x="892" y="53"/>
                        </a:cubicBezTo>
                        <a:cubicBezTo>
                          <a:pt x="906" y="53"/>
                          <a:pt x="918" y="64"/>
                          <a:pt x="918" y="79"/>
                        </a:cubicBezTo>
                        <a:cubicBezTo>
                          <a:pt x="918" y="634"/>
                          <a:pt x="918" y="634"/>
                          <a:pt x="918" y="634"/>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dirty="0"/>
                  </a:p>
                </p:txBody>
              </p:sp>
              <p:grpSp>
                <p:nvGrpSpPr>
                  <p:cNvPr id="57" name="Group 56"/>
                  <p:cNvGrpSpPr/>
                  <p:nvPr/>
                </p:nvGrpSpPr>
                <p:grpSpPr>
                  <a:xfrm>
                    <a:off x="2265935" y="2650195"/>
                    <a:ext cx="2147151" cy="1376342"/>
                    <a:chOff x="2265935" y="2635681"/>
                    <a:chExt cx="2147151" cy="1376342"/>
                  </a:xfrm>
                  <a:grpFill/>
                </p:grpSpPr>
                <p:grpSp>
                  <p:nvGrpSpPr>
                    <p:cNvPr id="58" name="Group 57"/>
                    <p:cNvGrpSpPr/>
                    <p:nvPr/>
                  </p:nvGrpSpPr>
                  <p:grpSpPr>
                    <a:xfrm>
                      <a:off x="2265935" y="3027218"/>
                      <a:ext cx="2147151" cy="984805"/>
                      <a:chOff x="2386887" y="2174501"/>
                      <a:chExt cx="1195338" cy="548250"/>
                    </a:xfrm>
                    <a:grpFill/>
                  </p:grpSpPr>
                  <p:sp>
                    <p:nvSpPr>
                      <p:cNvPr id="60" name="Rectangle 59"/>
                      <p:cNvSpPr/>
                      <p:nvPr/>
                    </p:nvSpPr>
                    <p:spPr bwMode="auto">
                      <a:xfrm>
                        <a:off x="2691760" y="2174501"/>
                        <a:ext cx="246889" cy="246889"/>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solidFill>
                            <a:srgbClr val="242424"/>
                          </a:solidFill>
                        </a:endParaRPr>
                      </a:p>
                    </p:txBody>
                  </p:sp>
                  <p:sp>
                    <p:nvSpPr>
                      <p:cNvPr id="61" name="Rectangle 60"/>
                      <p:cNvSpPr/>
                      <p:nvPr/>
                    </p:nvSpPr>
                    <p:spPr bwMode="auto">
                      <a:xfrm>
                        <a:off x="2691760" y="2475864"/>
                        <a:ext cx="246887" cy="24688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solidFill>
                            <a:srgbClr val="242424"/>
                          </a:solidFill>
                        </a:endParaRPr>
                      </a:p>
                    </p:txBody>
                  </p:sp>
                  <p:sp>
                    <p:nvSpPr>
                      <p:cNvPr id="62" name="Rectangle 61"/>
                      <p:cNvSpPr/>
                      <p:nvPr/>
                    </p:nvSpPr>
                    <p:spPr bwMode="auto">
                      <a:xfrm>
                        <a:off x="2386887" y="2174501"/>
                        <a:ext cx="246889" cy="24688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solidFill>
                            <a:srgbClr val="242424"/>
                          </a:solidFill>
                        </a:endParaRPr>
                      </a:p>
                    </p:txBody>
                  </p:sp>
                  <p:sp>
                    <p:nvSpPr>
                      <p:cNvPr id="63" name="Rectangle 62"/>
                      <p:cNvSpPr/>
                      <p:nvPr/>
                    </p:nvSpPr>
                    <p:spPr bwMode="auto">
                      <a:xfrm>
                        <a:off x="2386887" y="2475239"/>
                        <a:ext cx="246887" cy="246887"/>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solidFill>
                            <a:srgbClr val="242424"/>
                          </a:solidFill>
                        </a:endParaRPr>
                      </a:p>
                    </p:txBody>
                  </p:sp>
                  <p:sp>
                    <p:nvSpPr>
                      <p:cNvPr id="64" name="Rectangle 63"/>
                      <p:cNvSpPr/>
                      <p:nvPr/>
                    </p:nvSpPr>
                    <p:spPr bwMode="auto">
                      <a:xfrm>
                        <a:off x="2996372" y="2174501"/>
                        <a:ext cx="585853" cy="547625"/>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dirty="0">
                          <a:solidFill>
                            <a:srgbClr val="242424"/>
                          </a:solidFill>
                        </a:endParaRPr>
                      </a:p>
                    </p:txBody>
                  </p:sp>
                </p:grpSp>
                <p:sp>
                  <p:nvSpPr>
                    <p:cNvPr id="59" name="Rectangle 58"/>
                    <p:cNvSpPr/>
                    <p:nvPr/>
                  </p:nvSpPr>
                  <p:spPr bwMode="auto">
                    <a:xfrm>
                      <a:off x="2265935" y="2635681"/>
                      <a:ext cx="2147151" cy="280785"/>
                    </a:xfrm>
                    <a:prstGeom prst="rect">
                      <a:avLst/>
                    </a:prstGeom>
                    <a:grpFill/>
                    <a:ln w="53975">
                      <a:noFill/>
                      <a:prstDash val="dash"/>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grpSp>
          <p:sp>
            <p:nvSpPr>
              <p:cNvPr id="52" name="Freeform 17"/>
              <p:cNvSpPr>
                <a:spLocks/>
              </p:cNvSpPr>
              <p:nvPr/>
            </p:nvSpPr>
            <p:spPr bwMode="auto">
              <a:xfrm>
                <a:off x="9976681" y="3077349"/>
                <a:ext cx="508403" cy="829924"/>
              </a:xfrm>
              <a:custGeom>
                <a:avLst/>
                <a:gdLst>
                  <a:gd name="T0" fmla="*/ 1176 w 1518"/>
                  <a:gd name="T1" fmla="*/ 17 h 2478"/>
                  <a:gd name="T2" fmla="*/ 1241 w 1518"/>
                  <a:gd name="T3" fmla="*/ 80 h 2478"/>
                  <a:gd name="T4" fmla="*/ 1261 w 1518"/>
                  <a:gd name="T5" fmla="*/ 170 h 2478"/>
                  <a:gd name="T6" fmla="*/ 1162 w 1518"/>
                  <a:gd name="T7" fmla="*/ 385 h 2478"/>
                  <a:gd name="T8" fmla="*/ 942 w 1518"/>
                  <a:gd name="T9" fmla="*/ 859 h 2478"/>
                  <a:gd name="T10" fmla="*/ 865 w 1518"/>
                  <a:gd name="T11" fmla="*/ 1016 h 2478"/>
                  <a:gd name="T12" fmla="*/ 871 w 1518"/>
                  <a:gd name="T13" fmla="*/ 1021 h 2478"/>
                  <a:gd name="T14" fmla="*/ 892 w 1518"/>
                  <a:gd name="T15" fmla="*/ 1034 h 2478"/>
                  <a:gd name="T16" fmla="*/ 938 w 1518"/>
                  <a:gd name="T17" fmla="*/ 1064 h 2478"/>
                  <a:gd name="T18" fmla="*/ 1015 w 1518"/>
                  <a:gd name="T19" fmla="*/ 1114 h 2478"/>
                  <a:gd name="T20" fmla="*/ 1136 w 1518"/>
                  <a:gd name="T21" fmla="*/ 1191 h 2478"/>
                  <a:gd name="T22" fmla="*/ 1307 w 1518"/>
                  <a:gd name="T23" fmla="*/ 1301 h 2478"/>
                  <a:gd name="T24" fmla="*/ 1420 w 1518"/>
                  <a:gd name="T25" fmla="*/ 1381 h 2478"/>
                  <a:gd name="T26" fmla="*/ 1478 w 1518"/>
                  <a:gd name="T27" fmla="*/ 1461 h 2478"/>
                  <a:gd name="T28" fmla="*/ 1513 w 1518"/>
                  <a:gd name="T29" fmla="*/ 1552 h 2478"/>
                  <a:gd name="T30" fmla="*/ 1510 w 1518"/>
                  <a:gd name="T31" fmla="*/ 1629 h 2478"/>
                  <a:gd name="T32" fmla="*/ 1510 w 1518"/>
                  <a:gd name="T33" fmla="*/ 1631 h 2478"/>
                  <a:gd name="T34" fmla="*/ 1503 w 1518"/>
                  <a:gd name="T35" fmla="*/ 1639 h 2478"/>
                  <a:gd name="T36" fmla="*/ 1486 w 1518"/>
                  <a:gd name="T37" fmla="*/ 1666 h 2478"/>
                  <a:gd name="T38" fmla="*/ 1452 w 1518"/>
                  <a:gd name="T39" fmla="*/ 1715 h 2478"/>
                  <a:gd name="T40" fmla="*/ 1396 w 1518"/>
                  <a:gd name="T41" fmla="*/ 1795 h 2478"/>
                  <a:gd name="T42" fmla="*/ 1313 w 1518"/>
                  <a:gd name="T43" fmla="*/ 1917 h 2478"/>
                  <a:gd name="T44" fmla="*/ 1195 w 1518"/>
                  <a:gd name="T45" fmla="*/ 2086 h 2478"/>
                  <a:gd name="T46" fmla="*/ 1097 w 1518"/>
                  <a:gd name="T47" fmla="*/ 2233 h 2478"/>
                  <a:gd name="T48" fmla="*/ 1091 w 1518"/>
                  <a:gd name="T49" fmla="*/ 2244 h 2478"/>
                  <a:gd name="T50" fmla="*/ 1088 w 1518"/>
                  <a:gd name="T51" fmla="*/ 2248 h 2478"/>
                  <a:gd name="T52" fmla="*/ 965 w 1518"/>
                  <a:gd name="T53" fmla="*/ 2382 h 2478"/>
                  <a:gd name="T54" fmla="*/ 806 w 1518"/>
                  <a:gd name="T55" fmla="*/ 2460 h 2478"/>
                  <a:gd name="T56" fmla="*/ 626 w 1518"/>
                  <a:gd name="T57" fmla="*/ 2477 h 2478"/>
                  <a:gd name="T58" fmla="*/ 446 w 1518"/>
                  <a:gd name="T59" fmla="*/ 2425 h 2478"/>
                  <a:gd name="T60" fmla="*/ 318 w 1518"/>
                  <a:gd name="T61" fmla="*/ 2322 h 2478"/>
                  <a:gd name="T62" fmla="*/ 242 w 1518"/>
                  <a:gd name="T63" fmla="*/ 2223 h 2478"/>
                  <a:gd name="T64" fmla="*/ 213 w 1518"/>
                  <a:gd name="T65" fmla="*/ 2159 h 2478"/>
                  <a:gd name="T66" fmla="*/ 187 w 1518"/>
                  <a:gd name="T67" fmla="*/ 2034 h 2478"/>
                  <a:gd name="T68" fmla="*/ 135 w 1518"/>
                  <a:gd name="T69" fmla="*/ 1619 h 2478"/>
                  <a:gd name="T70" fmla="*/ 73 w 1518"/>
                  <a:gd name="T71" fmla="*/ 1068 h 2478"/>
                  <a:gd name="T72" fmla="*/ 34 w 1518"/>
                  <a:gd name="T73" fmla="*/ 832 h 2478"/>
                  <a:gd name="T74" fmla="*/ 15 w 1518"/>
                  <a:gd name="T75" fmla="*/ 752 h 2478"/>
                  <a:gd name="T76" fmla="*/ 1 w 1518"/>
                  <a:gd name="T77" fmla="*/ 676 h 2478"/>
                  <a:gd name="T78" fmla="*/ 7 w 1518"/>
                  <a:gd name="T79" fmla="*/ 620 h 2478"/>
                  <a:gd name="T80" fmla="*/ 46 w 1518"/>
                  <a:gd name="T81" fmla="*/ 598 h 2478"/>
                  <a:gd name="T82" fmla="*/ 149 w 1518"/>
                  <a:gd name="T83" fmla="*/ 621 h 2478"/>
                  <a:gd name="T84" fmla="*/ 250 w 1518"/>
                  <a:gd name="T85" fmla="*/ 690 h 2478"/>
                  <a:gd name="T86" fmla="*/ 324 w 1518"/>
                  <a:gd name="T87" fmla="*/ 777 h 2478"/>
                  <a:gd name="T88" fmla="*/ 349 w 1518"/>
                  <a:gd name="T89" fmla="*/ 838 h 2478"/>
                  <a:gd name="T90" fmla="*/ 363 w 1518"/>
                  <a:gd name="T91" fmla="*/ 890 h 2478"/>
                  <a:gd name="T92" fmla="*/ 384 w 1518"/>
                  <a:gd name="T93" fmla="*/ 979 h 2478"/>
                  <a:gd name="T94" fmla="*/ 407 w 1518"/>
                  <a:gd name="T95" fmla="*/ 1080 h 2478"/>
                  <a:gd name="T96" fmla="*/ 424 w 1518"/>
                  <a:gd name="T97" fmla="*/ 1163 h 2478"/>
                  <a:gd name="T98" fmla="*/ 568 w 1518"/>
                  <a:gd name="T99" fmla="*/ 920 h 2478"/>
                  <a:gd name="T100" fmla="*/ 786 w 1518"/>
                  <a:gd name="T101" fmla="*/ 506 h 2478"/>
                  <a:gd name="T102" fmla="*/ 990 w 1518"/>
                  <a:gd name="T103" fmla="*/ 105 h 2478"/>
                  <a:gd name="T104" fmla="*/ 1048 w 1518"/>
                  <a:gd name="T105" fmla="*/ 31 h 2478"/>
                  <a:gd name="T106" fmla="*/ 1119 w 1518"/>
                  <a:gd name="T107" fmla="*/ 0 h 2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8" h="2478">
                    <a:moveTo>
                      <a:pt x="1119" y="0"/>
                    </a:moveTo>
                    <a:lnTo>
                      <a:pt x="1148" y="4"/>
                    </a:lnTo>
                    <a:lnTo>
                      <a:pt x="1176" y="17"/>
                    </a:lnTo>
                    <a:lnTo>
                      <a:pt x="1203" y="32"/>
                    </a:lnTo>
                    <a:lnTo>
                      <a:pt x="1223" y="53"/>
                    </a:lnTo>
                    <a:lnTo>
                      <a:pt x="1241" y="80"/>
                    </a:lnTo>
                    <a:lnTo>
                      <a:pt x="1253" y="108"/>
                    </a:lnTo>
                    <a:lnTo>
                      <a:pt x="1261" y="139"/>
                    </a:lnTo>
                    <a:lnTo>
                      <a:pt x="1261" y="170"/>
                    </a:lnTo>
                    <a:lnTo>
                      <a:pt x="1255" y="201"/>
                    </a:lnTo>
                    <a:lnTo>
                      <a:pt x="1241" y="231"/>
                    </a:lnTo>
                    <a:lnTo>
                      <a:pt x="1162" y="385"/>
                    </a:lnTo>
                    <a:lnTo>
                      <a:pt x="1090" y="543"/>
                    </a:lnTo>
                    <a:lnTo>
                      <a:pt x="1017" y="700"/>
                    </a:lnTo>
                    <a:lnTo>
                      <a:pt x="942" y="859"/>
                    </a:lnTo>
                    <a:lnTo>
                      <a:pt x="864" y="1016"/>
                    </a:lnTo>
                    <a:lnTo>
                      <a:pt x="864" y="1016"/>
                    </a:lnTo>
                    <a:lnTo>
                      <a:pt x="865" y="1016"/>
                    </a:lnTo>
                    <a:lnTo>
                      <a:pt x="865" y="1018"/>
                    </a:lnTo>
                    <a:lnTo>
                      <a:pt x="868" y="1018"/>
                    </a:lnTo>
                    <a:lnTo>
                      <a:pt x="871" y="1021"/>
                    </a:lnTo>
                    <a:lnTo>
                      <a:pt x="876" y="1024"/>
                    </a:lnTo>
                    <a:lnTo>
                      <a:pt x="883" y="1028"/>
                    </a:lnTo>
                    <a:lnTo>
                      <a:pt x="892" y="1034"/>
                    </a:lnTo>
                    <a:lnTo>
                      <a:pt x="905" y="1041"/>
                    </a:lnTo>
                    <a:lnTo>
                      <a:pt x="920" y="1052"/>
                    </a:lnTo>
                    <a:lnTo>
                      <a:pt x="938" y="1064"/>
                    </a:lnTo>
                    <a:lnTo>
                      <a:pt x="960" y="1077"/>
                    </a:lnTo>
                    <a:lnTo>
                      <a:pt x="986" y="1095"/>
                    </a:lnTo>
                    <a:lnTo>
                      <a:pt x="1015" y="1114"/>
                    </a:lnTo>
                    <a:lnTo>
                      <a:pt x="1051" y="1136"/>
                    </a:lnTo>
                    <a:lnTo>
                      <a:pt x="1091" y="1162"/>
                    </a:lnTo>
                    <a:lnTo>
                      <a:pt x="1136" y="1191"/>
                    </a:lnTo>
                    <a:lnTo>
                      <a:pt x="1186" y="1224"/>
                    </a:lnTo>
                    <a:lnTo>
                      <a:pt x="1243" y="1261"/>
                    </a:lnTo>
                    <a:lnTo>
                      <a:pt x="1307" y="1301"/>
                    </a:lnTo>
                    <a:lnTo>
                      <a:pt x="1376" y="1346"/>
                    </a:lnTo>
                    <a:lnTo>
                      <a:pt x="1397" y="1362"/>
                    </a:lnTo>
                    <a:lnTo>
                      <a:pt x="1420" y="1381"/>
                    </a:lnTo>
                    <a:lnTo>
                      <a:pt x="1440" y="1405"/>
                    </a:lnTo>
                    <a:lnTo>
                      <a:pt x="1460" y="1432"/>
                    </a:lnTo>
                    <a:lnTo>
                      <a:pt x="1478" y="1461"/>
                    </a:lnTo>
                    <a:lnTo>
                      <a:pt x="1492" y="1491"/>
                    </a:lnTo>
                    <a:lnTo>
                      <a:pt x="1504" y="1521"/>
                    </a:lnTo>
                    <a:lnTo>
                      <a:pt x="1513" y="1552"/>
                    </a:lnTo>
                    <a:lnTo>
                      <a:pt x="1518" y="1580"/>
                    </a:lnTo>
                    <a:lnTo>
                      <a:pt x="1516" y="1607"/>
                    </a:lnTo>
                    <a:lnTo>
                      <a:pt x="1510" y="1629"/>
                    </a:lnTo>
                    <a:lnTo>
                      <a:pt x="1510" y="1629"/>
                    </a:lnTo>
                    <a:lnTo>
                      <a:pt x="1510" y="1631"/>
                    </a:lnTo>
                    <a:lnTo>
                      <a:pt x="1510" y="1631"/>
                    </a:lnTo>
                    <a:lnTo>
                      <a:pt x="1509" y="1632"/>
                    </a:lnTo>
                    <a:lnTo>
                      <a:pt x="1507" y="1635"/>
                    </a:lnTo>
                    <a:lnTo>
                      <a:pt x="1503" y="1639"/>
                    </a:lnTo>
                    <a:lnTo>
                      <a:pt x="1500" y="1647"/>
                    </a:lnTo>
                    <a:lnTo>
                      <a:pt x="1494" y="1654"/>
                    </a:lnTo>
                    <a:lnTo>
                      <a:pt x="1486" y="1666"/>
                    </a:lnTo>
                    <a:lnTo>
                      <a:pt x="1476" y="1680"/>
                    </a:lnTo>
                    <a:lnTo>
                      <a:pt x="1466" y="1696"/>
                    </a:lnTo>
                    <a:lnTo>
                      <a:pt x="1452" y="1715"/>
                    </a:lnTo>
                    <a:lnTo>
                      <a:pt x="1436" y="1737"/>
                    </a:lnTo>
                    <a:lnTo>
                      <a:pt x="1418" y="1764"/>
                    </a:lnTo>
                    <a:lnTo>
                      <a:pt x="1396" y="1795"/>
                    </a:lnTo>
                    <a:lnTo>
                      <a:pt x="1372" y="1831"/>
                    </a:lnTo>
                    <a:lnTo>
                      <a:pt x="1344" y="1871"/>
                    </a:lnTo>
                    <a:lnTo>
                      <a:pt x="1313" y="1917"/>
                    </a:lnTo>
                    <a:lnTo>
                      <a:pt x="1277" y="1967"/>
                    </a:lnTo>
                    <a:lnTo>
                      <a:pt x="1238" y="2024"/>
                    </a:lnTo>
                    <a:lnTo>
                      <a:pt x="1195" y="2086"/>
                    </a:lnTo>
                    <a:lnTo>
                      <a:pt x="1149" y="2154"/>
                    </a:lnTo>
                    <a:lnTo>
                      <a:pt x="1097" y="2229"/>
                    </a:lnTo>
                    <a:lnTo>
                      <a:pt x="1097" y="2233"/>
                    </a:lnTo>
                    <a:lnTo>
                      <a:pt x="1096" y="2238"/>
                    </a:lnTo>
                    <a:lnTo>
                      <a:pt x="1093" y="2241"/>
                    </a:lnTo>
                    <a:lnTo>
                      <a:pt x="1091" y="2244"/>
                    </a:lnTo>
                    <a:lnTo>
                      <a:pt x="1090" y="2246"/>
                    </a:lnTo>
                    <a:lnTo>
                      <a:pt x="1088" y="2248"/>
                    </a:lnTo>
                    <a:lnTo>
                      <a:pt x="1088" y="2248"/>
                    </a:lnTo>
                    <a:lnTo>
                      <a:pt x="1052" y="2298"/>
                    </a:lnTo>
                    <a:lnTo>
                      <a:pt x="1011" y="2343"/>
                    </a:lnTo>
                    <a:lnTo>
                      <a:pt x="965" y="2382"/>
                    </a:lnTo>
                    <a:lnTo>
                      <a:pt x="914" y="2414"/>
                    </a:lnTo>
                    <a:lnTo>
                      <a:pt x="861" y="2441"/>
                    </a:lnTo>
                    <a:lnTo>
                      <a:pt x="806" y="2460"/>
                    </a:lnTo>
                    <a:lnTo>
                      <a:pt x="746" y="2472"/>
                    </a:lnTo>
                    <a:lnTo>
                      <a:pt x="687" y="2478"/>
                    </a:lnTo>
                    <a:lnTo>
                      <a:pt x="626" y="2477"/>
                    </a:lnTo>
                    <a:lnTo>
                      <a:pt x="565" y="2466"/>
                    </a:lnTo>
                    <a:lnTo>
                      <a:pt x="505" y="2450"/>
                    </a:lnTo>
                    <a:lnTo>
                      <a:pt x="446" y="2425"/>
                    </a:lnTo>
                    <a:lnTo>
                      <a:pt x="400" y="2396"/>
                    </a:lnTo>
                    <a:lnTo>
                      <a:pt x="357" y="2361"/>
                    </a:lnTo>
                    <a:lnTo>
                      <a:pt x="318" y="2322"/>
                    </a:lnTo>
                    <a:lnTo>
                      <a:pt x="282" y="2281"/>
                    </a:lnTo>
                    <a:lnTo>
                      <a:pt x="250" y="2239"/>
                    </a:lnTo>
                    <a:lnTo>
                      <a:pt x="242" y="2223"/>
                    </a:lnTo>
                    <a:lnTo>
                      <a:pt x="232" y="2202"/>
                    </a:lnTo>
                    <a:lnTo>
                      <a:pt x="221" y="2181"/>
                    </a:lnTo>
                    <a:lnTo>
                      <a:pt x="213" y="2159"/>
                    </a:lnTo>
                    <a:lnTo>
                      <a:pt x="201" y="2119"/>
                    </a:lnTo>
                    <a:lnTo>
                      <a:pt x="192" y="2077"/>
                    </a:lnTo>
                    <a:lnTo>
                      <a:pt x="187" y="2034"/>
                    </a:lnTo>
                    <a:lnTo>
                      <a:pt x="186" y="1987"/>
                    </a:lnTo>
                    <a:lnTo>
                      <a:pt x="158" y="1803"/>
                    </a:lnTo>
                    <a:lnTo>
                      <a:pt x="135" y="1619"/>
                    </a:lnTo>
                    <a:lnTo>
                      <a:pt x="116" y="1436"/>
                    </a:lnTo>
                    <a:lnTo>
                      <a:pt x="95" y="1252"/>
                    </a:lnTo>
                    <a:lnTo>
                      <a:pt x="73" y="1068"/>
                    </a:lnTo>
                    <a:lnTo>
                      <a:pt x="46" y="881"/>
                    </a:lnTo>
                    <a:lnTo>
                      <a:pt x="42" y="857"/>
                    </a:lnTo>
                    <a:lnTo>
                      <a:pt x="34" y="832"/>
                    </a:lnTo>
                    <a:lnTo>
                      <a:pt x="28" y="805"/>
                    </a:lnTo>
                    <a:lnTo>
                      <a:pt x="21" y="779"/>
                    </a:lnTo>
                    <a:lnTo>
                      <a:pt x="15" y="752"/>
                    </a:lnTo>
                    <a:lnTo>
                      <a:pt x="9" y="725"/>
                    </a:lnTo>
                    <a:lnTo>
                      <a:pt x="4" y="700"/>
                    </a:lnTo>
                    <a:lnTo>
                      <a:pt x="1" y="676"/>
                    </a:lnTo>
                    <a:lnTo>
                      <a:pt x="0" y="654"/>
                    </a:lnTo>
                    <a:lnTo>
                      <a:pt x="1" y="635"/>
                    </a:lnTo>
                    <a:lnTo>
                      <a:pt x="7" y="620"/>
                    </a:lnTo>
                    <a:lnTo>
                      <a:pt x="15" y="608"/>
                    </a:lnTo>
                    <a:lnTo>
                      <a:pt x="28" y="601"/>
                    </a:lnTo>
                    <a:lnTo>
                      <a:pt x="46" y="598"/>
                    </a:lnTo>
                    <a:lnTo>
                      <a:pt x="79" y="599"/>
                    </a:lnTo>
                    <a:lnTo>
                      <a:pt x="113" y="607"/>
                    </a:lnTo>
                    <a:lnTo>
                      <a:pt x="149" y="621"/>
                    </a:lnTo>
                    <a:lnTo>
                      <a:pt x="183" y="641"/>
                    </a:lnTo>
                    <a:lnTo>
                      <a:pt x="217" y="663"/>
                    </a:lnTo>
                    <a:lnTo>
                      <a:pt x="250" y="690"/>
                    </a:lnTo>
                    <a:lnTo>
                      <a:pt x="278" y="718"/>
                    </a:lnTo>
                    <a:lnTo>
                      <a:pt x="303" y="748"/>
                    </a:lnTo>
                    <a:lnTo>
                      <a:pt x="324" y="777"/>
                    </a:lnTo>
                    <a:lnTo>
                      <a:pt x="339" y="807"/>
                    </a:lnTo>
                    <a:lnTo>
                      <a:pt x="348" y="835"/>
                    </a:lnTo>
                    <a:lnTo>
                      <a:pt x="349" y="838"/>
                    </a:lnTo>
                    <a:lnTo>
                      <a:pt x="352" y="850"/>
                    </a:lnTo>
                    <a:lnTo>
                      <a:pt x="357" y="868"/>
                    </a:lnTo>
                    <a:lnTo>
                      <a:pt x="363" y="890"/>
                    </a:lnTo>
                    <a:lnTo>
                      <a:pt x="369" y="917"/>
                    </a:lnTo>
                    <a:lnTo>
                      <a:pt x="376" y="946"/>
                    </a:lnTo>
                    <a:lnTo>
                      <a:pt x="384" y="979"/>
                    </a:lnTo>
                    <a:lnTo>
                      <a:pt x="392" y="1013"/>
                    </a:lnTo>
                    <a:lnTo>
                      <a:pt x="400" y="1047"/>
                    </a:lnTo>
                    <a:lnTo>
                      <a:pt x="407" y="1080"/>
                    </a:lnTo>
                    <a:lnTo>
                      <a:pt x="415" y="1111"/>
                    </a:lnTo>
                    <a:lnTo>
                      <a:pt x="419" y="1139"/>
                    </a:lnTo>
                    <a:lnTo>
                      <a:pt x="424" y="1163"/>
                    </a:lnTo>
                    <a:lnTo>
                      <a:pt x="427" y="1184"/>
                    </a:lnTo>
                    <a:lnTo>
                      <a:pt x="496" y="1053"/>
                    </a:lnTo>
                    <a:lnTo>
                      <a:pt x="568" y="920"/>
                    </a:lnTo>
                    <a:lnTo>
                      <a:pt x="641" y="783"/>
                    </a:lnTo>
                    <a:lnTo>
                      <a:pt x="714" y="644"/>
                    </a:lnTo>
                    <a:lnTo>
                      <a:pt x="786" y="506"/>
                    </a:lnTo>
                    <a:lnTo>
                      <a:pt x="856" y="369"/>
                    </a:lnTo>
                    <a:lnTo>
                      <a:pt x="925" y="236"/>
                    </a:lnTo>
                    <a:lnTo>
                      <a:pt x="990" y="105"/>
                    </a:lnTo>
                    <a:lnTo>
                      <a:pt x="1008" y="77"/>
                    </a:lnTo>
                    <a:lnTo>
                      <a:pt x="1027" y="52"/>
                    </a:lnTo>
                    <a:lnTo>
                      <a:pt x="1048" y="31"/>
                    </a:lnTo>
                    <a:lnTo>
                      <a:pt x="1070" y="14"/>
                    </a:lnTo>
                    <a:lnTo>
                      <a:pt x="1094" y="4"/>
                    </a:lnTo>
                    <a:lnTo>
                      <a:pt x="1119" y="0"/>
                    </a:lnTo>
                    <a:close/>
                  </a:path>
                </a:pathLst>
              </a:custGeom>
              <a:solidFill>
                <a:schemeClr val="bg1"/>
              </a:solidFill>
              <a:ln w="1270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6" name="Rectangle 5"/>
          <p:cNvSpPr/>
          <p:nvPr/>
        </p:nvSpPr>
        <p:spPr bwMode="auto">
          <a:xfrm>
            <a:off x="7010400" y="1466850"/>
            <a:ext cx="2124075" cy="1971675"/>
          </a:xfrm>
          <a:prstGeom prst="rect">
            <a:avLst/>
          </a:prstGeom>
          <a:noFill/>
          <a:ln w="31750" cap="sq">
            <a:solidFill>
              <a:srgbClr val="0070C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66" name="Freeform 65"/>
          <p:cNvSpPr>
            <a:spLocks/>
          </p:cNvSpPr>
          <p:nvPr/>
        </p:nvSpPr>
        <p:spPr bwMode="black">
          <a:xfrm>
            <a:off x="10360865" y="1667090"/>
            <a:ext cx="1617258" cy="1663336"/>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chemeClr val="accent1"/>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a:p>
        </p:txBody>
      </p:sp>
    </p:spTree>
    <p:extLst>
      <p:ext uri="{BB962C8B-B14F-4D97-AF65-F5344CB8AC3E}">
        <p14:creationId xmlns:p14="http://schemas.microsoft.com/office/powerpoint/2010/main" val="1938082853"/>
      </p:ext>
    </p:extLst>
  </p:cSld>
  <p:clrMapOvr>
    <a:masterClrMapping/>
  </p:clrMapOvr>
  <p:transition advClick="0">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3027" y="309016"/>
            <a:ext cx="11375536" cy="738664"/>
          </a:xfrm>
        </p:spPr>
        <p:txBody>
          <a:bodyPr/>
          <a:lstStyle/>
          <a:p>
            <a:r>
              <a:rPr lang="en-US" dirty="0" smtClean="0"/>
              <a:t>Why Microsoft VDI?</a:t>
            </a:r>
            <a:endParaRPr lang="en-US" dirty="0"/>
          </a:p>
        </p:txBody>
      </p:sp>
      <p:cxnSp>
        <p:nvCxnSpPr>
          <p:cNvPr id="17" name="Straight Connector 16"/>
          <p:cNvCxnSpPr/>
          <p:nvPr/>
        </p:nvCxnSpPr>
        <p:spPr>
          <a:xfrm>
            <a:off x="3680477" y="3548475"/>
            <a:ext cx="1391925" cy="29173"/>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863408" y="2981779"/>
            <a:ext cx="3317277" cy="1176952"/>
            <a:chOff x="863408" y="2981779"/>
            <a:chExt cx="3317277" cy="1176952"/>
          </a:xfrm>
        </p:grpSpPr>
        <p:sp>
          <p:nvSpPr>
            <p:cNvPr id="27" name="TextBox 26"/>
            <p:cNvSpPr txBox="1"/>
            <p:nvPr/>
          </p:nvSpPr>
          <p:spPr>
            <a:xfrm>
              <a:off x="1644827" y="3151443"/>
              <a:ext cx="2535858" cy="794064"/>
            </a:xfrm>
            <a:prstGeom prst="rect">
              <a:avLst/>
            </a:prstGeom>
            <a:noFill/>
          </p:spPr>
          <p:txBody>
            <a:bodyPr wrap="square" lIns="182880" tIns="146304" rIns="182880" bIns="146304" rtlCol="0">
              <a:spAutoFit/>
            </a:bodyPr>
            <a:lstStyle/>
            <a:p>
              <a:pPr>
                <a:lnSpc>
                  <a:spcPct val="90000"/>
                </a:lnSpc>
              </a:pPr>
              <a:r>
                <a:rPr lang="en-US" sz="1600" spc="-30" dirty="0">
                  <a:solidFill>
                    <a:schemeClr val="bg2">
                      <a:lumMod val="50000"/>
                    </a:schemeClr>
                  </a:solidFill>
                </a:rPr>
                <a:t>Deliver</a:t>
              </a:r>
              <a:r>
                <a:rPr lang="en-US" sz="2000" dirty="0" smtClean="0">
                  <a:solidFill>
                    <a:schemeClr val="tx2">
                      <a:lumMod val="75000"/>
                    </a:schemeClr>
                  </a:solidFill>
                  <a:latin typeface="+mj-lt"/>
                </a:rPr>
                <a:t> </a:t>
              </a:r>
              <a:r>
                <a:rPr lang="en-US" sz="1600" b="1" spc="-30" dirty="0">
                  <a:solidFill>
                    <a:schemeClr val="bg2">
                      <a:lumMod val="50000"/>
                    </a:schemeClr>
                  </a:solidFill>
                </a:rPr>
                <a:t>great user experience</a:t>
              </a:r>
            </a:p>
          </p:txBody>
        </p:sp>
        <p:pic>
          <p:nvPicPr>
            <p:cNvPr id="42"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63408" y="2981779"/>
              <a:ext cx="781419" cy="1176952"/>
            </a:xfrm>
            <a:prstGeom prst="rect">
              <a:avLst/>
            </a:prstGeom>
            <a:blipFill dpi="0" rotWithShape="1">
              <a:blip r:embed="rId5">
                <a:duotone>
                  <a:prstClr val="black"/>
                  <a:schemeClr val="tx1">
                    <a:tint val="45000"/>
                    <a:satMod val="400000"/>
                  </a:schemeClr>
                </a:duotone>
                <a:alphaModFix amt="95000"/>
              </a:blip>
              <a:srcRect/>
              <a:stretch>
                <a:fillRect/>
              </a:stretch>
            </a:blipFill>
            <a:ln w="55000" cap="flat" cmpd="thickThin" algn="ctr">
              <a:noFill/>
              <a:prstDash val="solid"/>
              <a:headEnd type="none" w="med" len="med"/>
              <a:tailEnd type="none" w="med" len="med"/>
            </a:ln>
            <a:effectLst/>
          </p:spPr>
        </p:pic>
      </p:grpSp>
      <p:grpSp>
        <p:nvGrpSpPr>
          <p:cNvPr id="82" name="Group 81"/>
          <p:cNvGrpSpPr/>
          <p:nvPr/>
        </p:nvGrpSpPr>
        <p:grpSpPr>
          <a:xfrm>
            <a:off x="5208030" y="2387998"/>
            <a:ext cx="2452017" cy="2364515"/>
            <a:chOff x="4860883" y="2540404"/>
            <a:chExt cx="2452017" cy="2364515"/>
          </a:xfrm>
        </p:grpSpPr>
        <p:sp>
          <p:nvSpPr>
            <p:cNvPr id="4" name="TextBox 3"/>
            <p:cNvSpPr txBox="1"/>
            <p:nvPr/>
          </p:nvSpPr>
          <p:spPr>
            <a:xfrm>
              <a:off x="5025568" y="4055456"/>
              <a:ext cx="2200162" cy="849463"/>
            </a:xfrm>
            <a:prstGeom prst="rect">
              <a:avLst/>
            </a:prstGeom>
            <a:noFill/>
          </p:spPr>
          <p:txBody>
            <a:bodyPr wrap="square" lIns="182880" tIns="146304" rIns="182880" bIns="146304" rtlCol="0">
              <a:spAutoFit/>
            </a:bodyPr>
            <a:lstStyle/>
            <a:p>
              <a:pPr algn="ctr">
                <a:lnSpc>
                  <a:spcPct val="90000"/>
                </a:lnSpc>
              </a:pPr>
              <a:r>
                <a:rPr lang="en-US" sz="2000" dirty="0" smtClean="0">
                  <a:solidFill>
                    <a:schemeClr val="accent3"/>
                  </a:solidFill>
                </a:rPr>
                <a:t>Why Microsoft </a:t>
              </a:r>
            </a:p>
            <a:p>
              <a:pPr algn="ctr">
                <a:lnSpc>
                  <a:spcPct val="90000"/>
                </a:lnSpc>
              </a:pPr>
              <a:r>
                <a:rPr lang="en-US" sz="2000" dirty="0" smtClean="0">
                  <a:solidFill>
                    <a:schemeClr val="accent3"/>
                  </a:solidFill>
                </a:rPr>
                <a:t>VDI?</a:t>
              </a:r>
            </a:p>
          </p:txBody>
        </p:sp>
        <p:sp>
          <p:nvSpPr>
            <p:cNvPr id="44" name="Oval 43"/>
            <p:cNvSpPr/>
            <p:nvPr>
              <p:custDataLst>
                <p:tags r:id="rId1"/>
              </p:custDataLst>
            </p:nvPr>
          </p:nvSpPr>
          <p:spPr bwMode="auto">
            <a:xfrm>
              <a:off x="4860883" y="2540404"/>
              <a:ext cx="2452017" cy="2364515"/>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38" tIns="54869" rIns="109738" bIns="54869" numCol="1" rtlCol="0" anchor="ctr" anchorCtr="0" compatLnSpc="1">
              <a:prstTxWarp prst="textNoShape">
                <a:avLst/>
              </a:prstTxWarp>
            </a:bodyPr>
            <a:lstStyle/>
            <a:p>
              <a:pPr algn="ctr" defTabSz="1097066" fontAlgn="base">
                <a:spcBef>
                  <a:spcPct val="0"/>
                </a:spcBef>
                <a:spcAft>
                  <a:spcPct val="0"/>
                </a:spcAft>
              </a:pPr>
              <a:endParaRPr lang="en-US" sz="2700" dirty="0">
                <a:solidFill>
                  <a:srgbClr val="595959"/>
                </a:solidFill>
              </a:endParaRPr>
            </a:p>
          </p:txBody>
        </p:sp>
      </p:grpSp>
      <p:cxnSp>
        <p:nvCxnSpPr>
          <p:cNvPr id="18" name="Straight Connector 17"/>
          <p:cNvCxnSpPr/>
          <p:nvPr/>
        </p:nvCxnSpPr>
        <p:spPr>
          <a:xfrm>
            <a:off x="3997805" y="2005896"/>
            <a:ext cx="1216714" cy="635946"/>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746797" y="3506503"/>
            <a:ext cx="1391925" cy="29173"/>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522075" y="4378798"/>
            <a:ext cx="954907" cy="838644"/>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8108238" y="4836639"/>
            <a:ext cx="2449865" cy="1683406"/>
            <a:chOff x="8108238" y="4836639"/>
            <a:chExt cx="2449865" cy="1683406"/>
          </a:xfrm>
        </p:grpSpPr>
        <p:sp>
          <p:nvSpPr>
            <p:cNvPr id="23" name="TextBox 22"/>
            <p:cNvSpPr txBox="1"/>
            <p:nvPr/>
          </p:nvSpPr>
          <p:spPr>
            <a:xfrm>
              <a:off x="8108238" y="5559782"/>
              <a:ext cx="2449865" cy="960263"/>
            </a:xfrm>
            <a:prstGeom prst="rect">
              <a:avLst/>
            </a:prstGeom>
            <a:noFill/>
          </p:spPr>
          <p:txBody>
            <a:bodyPr wrap="square" lIns="182880" tIns="146304" rIns="182880" bIns="146304" rtlCol="0">
              <a:spAutoFit/>
            </a:bodyPr>
            <a:lstStyle/>
            <a:p>
              <a:pPr>
                <a:lnSpc>
                  <a:spcPct val="90000"/>
                </a:lnSpc>
              </a:pPr>
              <a:r>
                <a:rPr lang="en-US" sz="1600" b="1" spc="-30" dirty="0">
                  <a:solidFill>
                    <a:schemeClr val="bg2">
                      <a:lumMod val="50000"/>
                    </a:schemeClr>
                  </a:solidFill>
                </a:rPr>
                <a:t>Reduce time </a:t>
              </a:r>
              <a:r>
                <a:rPr lang="en-US" sz="1600" spc="-30" dirty="0">
                  <a:solidFill>
                    <a:schemeClr val="bg2">
                      <a:lumMod val="50000"/>
                    </a:schemeClr>
                  </a:solidFill>
                </a:rPr>
                <a:t>to deploy applications and updates</a:t>
              </a:r>
            </a:p>
          </p:txBody>
        </p:sp>
        <p:sp>
          <p:nvSpPr>
            <p:cNvPr id="61" name="Freeform 108"/>
            <p:cNvSpPr>
              <a:spLocks noEditPoints="1"/>
            </p:cNvSpPr>
            <p:nvPr/>
          </p:nvSpPr>
          <p:spPr bwMode="black">
            <a:xfrm>
              <a:off x="8849289" y="4836639"/>
              <a:ext cx="740050" cy="830133"/>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rgbClr val="0070C0"/>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cxnSp>
        <p:nvCxnSpPr>
          <p:cNvPr id="13" name="Straight Connector 12"/>
          <p:cNvCxnSpPr/>
          <p:nvPr/>
        </p:nvCxnSpPr>
        <p:spPr>
          <a:xfrm flipV="1">
            <a:off x="7505141" y="2005896"/>
            <a:ext cx="1025079" cy="721238"/>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4204076" y="4456128"/>
            <a:ext cx="1145909" cy="765361"/>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1938136" y="4366098"/>
            <a:ext cx="2535858" cy="1930854"/>
            <a:chOff x="1938136" y="4366098"/>
            <a:chExt cx="2535858" cy="1930854"/>
          </a:xfrm>
        </p:grpSpPr>
        <p:sp>
          <p:nvSpPr>
            <p:cNvPr id="30" name="TextBox 29"/>
            <p:cNvSpPr txBox="1"/>
            <p:nvPr/>
          </p:nvSpPr>
          <p:spPr>
            <a:xfrm>
              <a:off x="1938136" y="5336689"/>
              <a:ext cx="2535858" cy="960263"/>
            </a:xfrm>
            <a:prstGeom prst="rect">
              <a:avLst/>
            </a:prstGeom>
            <a:noFill/>
          </p:spPr>
          <p:txBody>
            <a:bodyPr wrap="square" lIns="182880" tIns="146304" rIns="182880" bIns="146304" rtlCol="0">
              <a:spAutoFit/>
            </a:bodyPr>
            <a:lstStyle/>
            <a:p>
              <a:pPr>
                <a:lnSpc>
                  <a:spcPct val="90000"/>
                </a:lnSpc>
              </a:pPr>
              <a:r>
                <a:rPr lang="en-US" sz="1600" b="1" spc="-30" dirty="0">
                  <a:solidFill>
                    <a:schemeClr val="bg2">
                      <a:lumMod val="50000"/>
                    </a:schemeClr>
                  </a:solidFill>
                </a:rPr>
                <a:t>Balance user requirements with corporate compliance</a:t>
              </a:r>
            </a:p>
          </p:txBody>
        </p:sp>
        <p:grpSp>
          <p:nvGrpSpPr>
            <p:cNvPr id="78" name="Group 77"/>
            <p:cNvGrpSpPr/>
            <p:nvPr/>
          </p:nvGrpSpPr>
          <p:grpSpPr>
            <a:xfrm>
              <a:off x="2529161" y="4366098"/>
              <a:ext cx="1303201" cy="1062831"/>
              <a:chOff x="2182014" y="4518504"/>
              <a:chExt cx="1303201" cy="1062831"/>
            </a:xfrm>
          </p:grpSpPr>
          <p:cxnSp>
            <p:nvCxnSpPr>
              <p:cNvPr id="73" name="Straight Connector 72"/>
              <p:cNvCxnSpPr/>
              <p:nvPr/>
            </p:nvCxnSpPr>
            <p:spPr>
              <a:xfrm>
                <a:off x="2260231" y="5221203"/>
                <a:ext cx="1157604" cy="1"/>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Isosceles Triangle 73"/>
              <p:cNvSpPr/>
              <p:nvPr/>
            </p:nvSpPr>
            <p:spPr bwMode="auto">
              <a:xfrm>
                <a:off x="2520134" y="5227324"/>
                <a:ext cx="460794" cy="354011"/>
              </a:xfrm>
              <a:prstGeom prst="triangl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6" name="Freeform 92"/>
              <p:cNvSpPr>
                <a:spLocks noEditPoints="1"/>
              </p:cNvSpPr>
              <p:nvPr/>
            </p:nvSpPr>
            <p:spPr bwMode="black">
              <a:xfrm>
                <a:off x="2182014" y="4739520"/>
                <a:ext cx="346458" cy="472049"/>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3D5800"/>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pic>
            <p:nvPicPr>
              <p:cNvPr id="77"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3014796" y="4518504"/>
                <a:ext cx="470419" cy="708533"/>
              </a:xfrm>
              <a:prstGeom prst="rect">
                <a:avLst/>
              </a:prstGeom>
              <a:blipFill dpi="0" rotWithShape="1">
                <a:blip r:embed="rId5">
                  <a:duotone>
                    <a:prstClr val="black"/>
                    <a:schemeClr val="tx1">
                      <a:tint val="45000"/>
                      <a:satMod val="400000"/>
                    </a:schemeClr>
                  </a:duotone>
                  <a:alphaModFix amt="95000"/>
                </a:blip>
                <a:srcRect/>
                <a:stretch>
                  <a:fillRect/>
                </a:stretch>
              </a:blipFill>
              <a:ln w="55000" cap="flat" cmpd="thickThin" algn="ctr">
                <a:noFill/>
                <a:prstDash val="solid"/>
                <a:headEnd type="none" w="med" len="med"/>
                <a:tailEnd type="none" w="med" len="med"/>
              </a:ln>
              <a:effectLst/>
            </p:spPr>
          </p:pic>
        </p:grpSp>
      </p:grpSp>
      <p:grpSp>
        <p:nvGrpSpPr>
          <p:cNvPr id="47" name="Group 29"/>
          <p:cNvGrpSpPr>
            <a:grpSpLocks noChangeAspect="1"/>
          </p:cNvGrpSpPr>
          <p:nvPr/>
        </p:nvGrpSpPr>
        <p:grpSpPr bwMode="auto">
          <a:xfrm>
            <a:off x="5931451" y="2767331"/>
            <a:ext cx="849457" cy="1106605"/>
            <a:chOff x="5121" y="2489"/>
            <a:chExt cx="882" cy="1149"/>
          </a:xfrm>
        </p:grpSpPr>
        <p:sp>
          <p:nvSpPr>
            <p:cNvPr id="48"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Group 30"/>
          <p:cNvGrpSpPr/>
          <p:nvPr/>
        </p:nvGrpSpPr>
        <p:grpSpPr>
          <a:xfrm>
            <a:off x="8779050" y="953119"/>
            <a:ext cx="3157046" cy="1379615"/>
            <a:chOff x="8779050" y="953119"/>
            <a:chExt cx="3157046" cy="1379615"/>
          </a:xfrm>
        </p:grpSpPr>
        <p:sp>
          <p:nvSpPr>
            <p:cNvPr id="21" name="TextBox 20"/>
            <p:cNvSpPr txBox="1"/>
            <p:nvPr/>
          </p:nvSpPr>
          <p:spPr>
            <a:xfrm>
              <a:off x="9531951" y="1372471"/>
              <a:ext cx="2404145" cy="960263"/>
            </a:xfrm>
            <a:prstGeom prst="rect">
              <a:avLst/>
            </a:prstGeom>
            <a:noFill/>
          </p:spPr>
          <p:txBody>
            <a:bodyPr wrap="square" lIns="182880" tIns="146304" rIns="182880" bIns="146304" rtlCol="0">
              <a:spAutoFit/>
            </a:bodyPr>
            <a:lstStyle/>
            <a:p>
              <a:pPr>
                <a:lnSpc>
                  <a:spcPct val="90000"/>
                </a:lnSpc>
              </a:pPr>
              <a:r>
                <a:rPr lang="en-US" sz="1600" b="1" spc="-30" dirty="0">
                  <a:solidFill>
                    <a:schemeClr val="bg2">
                      <a:lumMod val="50000"/>
                    </a:schemeClr>
                  </a:solidFill>
                </a:rPr>
                <a:t>Protect against loss and </a:t>
              </a:r>
              <a:r>
                <a:rPr lang="en-US" sz="1600" b="1" spc="-30" dirty="0" smtClean="0">
                  <a:solidFill>
                    <a:schemeClr val="bg2">
                      <a:lumMod val="50000"/>
                    </a:schemeClr>
                  </a:solidFill>
                </a:rPr>
                <a:t>leaks </a:t>
              </a:r>
              <a:r>
                <a:rPr lang="en-US" sz="1600" spc="-30" dirty="0" smtClean="0">
                  <a:solidFill>
                    <a:schemeClr val="bg2">
                      <a:lumMod val="50000"/>
                    </a:schemeClr>
                  </a:solidFill>
                </a:rPr>
                <a:t>of</a:t>
              </a:r>
              <a:r>
                <a:rPr lang="en-US" sz="1600" b="1" spc="-30" dirty="0" smtClean="0">
                  <a:solidFill>
                    <a:schemeClr val="bg2">
                      <a:lumMod val="50000"/>
                    </a:schemeClr>
                  </a:solidFill>
                </a:rPr>
                <a:t> </a:t>
              </a:r>
              <a:r>
                <a:rPr lang="en-US" sz="1600" spc="-30" dirty="0" smtClean="0">
                  <a:solidFill>
                    <a:schemeClr val="bg2">
                      <a:lumMod val="50000"/>
                    </a:schemeClr>
                  </a:solidFill>
                </a:rPr>
                <a:t>sensitive corporate data</a:t>
              </a:r>
              <a:endParaRPr lang="en-US" sz="1600" spc="-30" dirty="0">
                <a:solidFill>
                  <a:schemeClr val="bg2">
                    <a:lumMod val="50000"/>
                  </a:schemeClr>
                </a:solidFill>
              </a:endParaRPr>
            </a:p>
          </p:txBody>
        </p:sp>
        <p:grpSp>
          <p:nvGrpSpPr>
            <p:cNvPr id="60" name="Group 76"/>
            <p:cNvGrpSpPr>
              <a:grpSpLocks noChangeAspect="1"/>
            </p:cNvGrpSpPr>
            <p:nvPr/>
          </p:nvGrpSpPr>
          <p:grpSpPr bwMode="auto">
            <a:xfrm>
              <a:off x="8779050" y="953119"/>
              <a:ext cx="863995" cy="1370750"/>
              <a:chOff x="1483" y="2395"/>
              <a:chExt cx="653" cy="1036"/>
            </a:xfrm>
          </p:grpSpPr>
          <p:sp>
            <p:nvSpPr>
              <p:cNvPr id="72" name="AutoShape 75"/>
              <p:cNvSpPr>
                <a:spLocks noChangeAspect="1" noChangeArrowheads="1" noTextEdit="1"/>
              </p:cNvSpPr>
              <p:nvPr/>
            </p:nvSpPr>
            <p:spPr bwMode="auto">
              <a:xfrm>
                <a:off x="1483" y="2395"/>
                <a:ext cx="653" cy="1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77"/>
              <p:cNvSpPr>
                <a:spLocks noEditPoints="1"/>
              </p:cNvSpPr>
              <p:nvPr/>
            </p:nvSpPr>
            <p:spPr bwMode="auto">
              <a:xfrm>
                <a:off x="1487" y="2493"/>
                <a:ext cx="478" cy="934"/>
              </a:xfrm>
              <a:custGeom>
                <a:avLst/>
                <a:gdLst>
                  <a:gd name="T0" fmla="*/ 40 w 356"/>
                  <a:gd name="T1" fmla="*/ 603 h 698"/>
                  <a:gd name="T2" fmla="*/ 40 w 356"/>
                  <a:gd name="T3" fmla="*/ 638 h 698"/>
                  <a:gd name="T4" fmla="*/ 316 w 356"/>
                  <a:gd name="T5" fmla="*/ 638 h 698"/>
                  <a:gd name="T6" fmla="*/ 316 w 356"/>
                  <a:gd name="T7" fmla="*/ 603 h 698"/>
                  <a:gd name="T8" fmla="*/ 40 w 356"/>
                  <a:gd name="T9" fmla="*/ 603 h 698"/>
                  <a:gd name="T10" fmla="*/ 40 w 356"/>
                  <a:gd name="T11" fmla="*/ 543 h 698"/>
                  <a:gd name="T12" fmla="*/ 40 w 356"/>
                  <a:gd name="T13" fmla="*/ 573 h 698"/>
                  <a:gd name="T14" fmla="*/ 95 w 356"/>
                  <a:gd name="T15" fmla="*/ 573 h 698"/>
                  <a:gd name="T16" fmla="*/ 95 w 356"/>
                  <a:gd name="T17" fmla="*/ 543 h 698"/>
                  <a:gd name="T18" fmla="*/ 40 w 356"/>
                  <a:gd name="T19" fmla="*/ 543 h 698"/>
                  <a:gd name="T20" fmla="*/ 40 w 356"/>
                  <a:gd name="T21" fmla="*/ 489 h 698"/>
                  <a:gd name="T22" fmla="*/ 40 w 356"/>
                  <a:gd name="T23" fmla="*/ 519 h 698"/>
                  <a:gd name="T24" fmla="*/ 95 w 356"/>
                  <a:gd name="T25" fmla="*/ 519 h 698"/>
                  <a:gd name="T26" fmla="*/ 95 w 356"/>
                  <a:gd name="T27" fmla="*/ 489 h 698"/>
                  <a:gd name="T28" fmla="*/ 40 w 356"/>
                  <a:gd name="T29" fmla="*/ 489 h 698"/>
                  <a:gd name="T30" fmla="*/ 40 w 356"/>
                  <a:gd name="T31" fmla="*/ 129 h 698"/>
                  <a:gd name="T32" fmla="*/ 40 w 356"/>
                  <a:gd name="T33" fmla="*/ 166 h 698"/>
                  <a:gd name="T34" fmla="*/ 316 w 356"/>
                  <a:gd name="T35" fmla="*/ 166 h 698"/>
                  <a:gd name="T36" fmla="*/ 316 w 356"/>
                  <a:gd name="T37" fmla="*/ 129 h 698"/>
                  <a:gd name="T38" fmla="*/ 40 w 356"/>
                  <a:gd name="T39" fmla="*/ 129 h 698"/>
                  <a:gd name="T40" fmla="*/ 40 w 356"/>
                  <a:gd name="T41" fmla="*/ 71 h 698"/>
                  <a:gd name="T42" fmla="*/ 40 w 356"/>
                  <a:gd name="T43" fmla="*/ 107 h 698"/>
                  <a:gd name="T44" fmla="*/ 316 w 356"/>
                  <a:gd name="T45" fmla="*/ 107 h 698"/>
                  <a:gd name="T46" fmla="*/ 316 w 356"/>
                  <a:gd name="T47" fmla="*/ 71 h 698"/>
                  <a:gd name="T48" fmla="*/ 40 w 356"/>
                  <a:gd name="T49" fmla="*/ 71 h 698"/>
                  <a:gd name="T50" fmla="*/ 48 w 356"/>
                  <a:gd name="T51" fmla="*/ 0 h 698"/>
                  <a:gd name="T52" fmla="*/ 308 w 356"/>
                  <a:gd name="T53" fmla="*/ 0 h 698"/>
                  <a:gd name="T54" fmla="*/ 356 w 356"/>
                  <a:gd name="T55" fmla="*/ 41 h 698"/>
                  <a:gd name="T56" fmla="*/ 356 w 356"/>
                  <a:gd name="T57" fmla="*/ 656 h 698"/>
                  <a:gd name="T58" fmla="*/ 308 w 356"/>
                  <a:gd name="T59" fmla="*/ 698 h 698"/>
                  <a:gd name="T60" fmla="*/ 48 w 356"/>
                  <a:gd name="T61" fmla="*/ 698 h 698"/>
                  <a:gd name="T62" fmla="*/ 0 w 356"/>
                  <a:gd name="T63" fmla="*/ 656 h 698"/>
                  <a:gd name="T64" fmla="*/ 0 w 356"/>
                  <a:gd name="T65" fmla="*/ 41 h 698"/>
                  <a:gd name="T66" fmla="*/ 48 w 356"/>
                  <a:gd name="T67" fmla="*/ 0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6" h="698">
                    <a:moveTo>
                      <a:pt x="40" y="603"/>
                    </a:moveTo>
                    <a:cubicBezTo>
                      <a:pt x="40" y="638"/>
                      <a:pt x="40" y="638"/>
                      <a:pt x="40" y="638"/>
                    </a:cubicBezTo>
                    <a:cubicBezTo>
                      <a:pt x="316" y="638"/>
                      <a:pt x="316" y="638"/>
                      <a:pt x="316" y="638"/>
                    </a:cubicBezTo>
                    <a:cubicBezTo>
                      <a:pt x="316" y="603"/>
                      <a:pt x="316" y="603"/>
                      <a:pt x="316" y="603"/>
                    </a:cubicBezTo>
                    <a:cubicBezTo>
                      <a:pt x="40" y="603"/>
                      <a:pt x="40" y="603"/>
                      <a:pt x="40" y="603"/>
                    </a:cubicBezTo>
                    <a:close/>
                    <a:moveTo>
                      <a:pt x="40" y="543"/>
                    </a:moveTo>
                    <a:cubicBezTo>
                      <a:pt x="40" y="573"/>
                      <a:pt x="40" y="573"/>
                      <a:pt x="40" y="573"/>
                    </a:cubicBezTo>
                    <a:cubicBezTo>
                      <a:pt x="95" y="573"/>
                      <a:pt x="95" y="573"/>
                      <a:pt x="95" y="573"/>
                    </a:cubicBezTo>
                    <a:cubicBezTo>
                      <a:pt x="95" y="543"/>
                      <a:pt x="95" y="543"/>
                      <a:pt x="95" y="543"/>
                    </a:cubicBezTo>
                    <a:cubicBezTo>
                      <a:pt x="40" y="543"/>
                      <a:pt x="40" y="543"/>
                      <a:pt x="40" y="543"/>
                    </a:cubicBezTo>
                    <a:close/>
                    <a:moveTo>
                      <a:pt x="40" y="489"/>
                    </a:moveTo>
                    <a:cubicBezTo>
                      <a:pt x="40" y="519"/>
                      <a:pt x="40" y="519"/>
                      <a:pt x="40" y="519"/>
                    </a:cubicBezTo>
                    <a:cubicBezTo>
                      <a:pt x="95" y="519"/>
                      <a:pt x="95" y="519"/>
                      <a:pt x="95" y="519"/>
                    </a:cubicBezTo>
                    <a:cubicBezTo>
                      <a:pt x="95" y="489"/>
                      <a:pt x="95" y="489"/>
                      <a:pt x="95" y="489"/>
                    </a:cubicBezTo>
                    <a:cubicBezTo>
                      <a:pt x="40" y="489"/>
                      <a:pt x="40" y="489"/>
                      <a:pt x="40" y="489"/>
                    </a:cubicBezTo>
                    <a:close/>
                    <a:moveTo>
                      <a:pt x="40" y="129"/>
                    </a:moveTo>
                    <a:cubicBezTo>
                      <a:pt x="40" y="166"/>
                      <a:pt x="40" y="166"/>
                      <a:pt x="40" y="166"/>
                    </a:cubicBezTo>
                    <a:cubicBezTo>
                      <a:pt x="316" y="166"/>
                      <a:pt x="316" y="166"/>
                      <a:pt x="316" y="166"/>
                    </a:cubicBezTo>
                    <a:cubicBezTo>
                      <a:pt x="316" y="129"/>
                      <a:pt x="316" y="129"/>
                      <a:pt x="316" y="129"/>
                    </a:cubicBezTo>
                    <a:cubicBezTo>
                      <a:pt x="40" y="129"/>
                      <a:pt x="40" y="129"/>
                      <a:pt x="40" y="129"/>
                    </a:cubicBezTo>
                    <a:close/>
                    <a:moveTo>
                      <a:pt x="40" y="71"/>
                    </a:moveTo>
                    <a:cubicBezTo>
                      <a:pt x="40" y="107"/>
                      <a:pt x="40" y="107"/>
                      <a:pt x="40" y="107"/>
                    </a:cubicBezTo>
                    <a:cubicBezTo>
                      <a:pt x="316" y="107"/>
                      <a:pt x="316" y="107"/>
                      <a:pt x="316" y="107"/>
                    </a:cubicBezTo>
                    <a:cubicBezTo>
                      <a:pt x="316" y="71"/>
                      <a:pt x="316" y="71"/>
                      <a:pt x="316" y="71"/>
                    </a:cubicBezTo>
                    <a:cubicBezTo>
                      <a:pt x="40" y="71"/>
                      <a:pt x="40" y="71"/>
                      <a:pt x="40" y="71"/>
                    </a:cubicBezTo>
                    <a:close/>
                    <a:moveTo>
                      <a:pt x="48" y="0"/>
                    </a:moveTo>
                    <a:cubicBezTo>
                      <a:pt x="308" y="0"/>
                      <a:pt x="308" y="0"/>
                      <a:pt x="308" y="0"/>
                    </a:cubicBezTo>
                    <a:cubicBezTo>
                      <a:pt x="335" y="0"/>
                      <a:pt x="356" y="18"/>
                      <a:pt x="356" y="41"/>
                    </a:cubicBezTo>
                    <a:cubicBezTo>
                      <a:pt x="356" y="656"/>
                      <a:pt x="356" y="656"/>
                      <a:pt x="356" y="656"/>
                    </a:cubicBezTo>
                    <a:cubicBezTo>
                      <a:pt x="356" y="679"/>
                      <a:pt x="335" y="698"/>
                      <a:pt x="308" y="698"/>
                    </a:cubicBezTo>
                    <a:cubicBezTo>
                      <a:pt x="48" y="698"/>
                      <a:pt x="48" y="698"/>
                      <a:pt x="48" y="698"/>
                    </a:cubicBezTo>
                    <a:cubicBezTo>
                      <a:pt x="22" y="698"/>
                      <a:pt x="0" y="679"/>
                      <a:pt x="0" y="656"/>
                    </a:cubicBezTo>
                    <a:cubicBezTo>
                      <a:pt x="0" y="41"/>
                      <a:pt x="0" y="41"/>
                      <a:pt x="0" y="41"/>
                    </a:cubicBezTo>
                    <a:cubicBezTo>
                      <a:pt x="0" y="18"/>
                      <a:pt x="22" y="0"/>
                      <a:pt x="48" y="0"/>
                    </a:cubicBezTo>
                    <a:close/>
                  </a:path>
                </a:pathLst>
              </a:custGeom>
              <a:solidFill>
                <a:srgbClr val="FFFFFF"/>
              </a:solidFill>
              <a:ln w="25400" cap="flat">
                <a:solidFill>
                  <a:srgbClr val="3D580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78"/>
              <p:cNvSpPr>
                <a:spLocks/>
              </p:cNvSpPr>
              <p:nvPr/>
            </p:nvSpPr>
            <p:spPr bwMode="auto">
              <a:xfrm>
                <a:off x="1800" y="2400"/>
                <a:ext cx="167" cy="431"/>
              </a:xfrm>
              <a:custGeom>
                <a:avLst/>
                <a:gdLst>
                  <a:gd name="T0" fmla="*/ 57 w 167"/>
                  <a:gd name="T1" fmla="*/ 25 h 431"/>
                  <a:gd name="T2" fmla="*/ 167 w 167"/>
                  <a:gd name="T3" fmla="*/ 0 h 431"/>
                  <a:gd name="T4" fmla="*/ 167 w 167"/>
                  <a:gd name="T5" fmla="*/ 431 h 431"/>
                  <a:gd name="T6" fmla="*/ 69 w 167"/>
                  <a:gd name="T7" fmla="*/ 382 h 431"/>
                  <a:gd name="T8" fmla="*/ 27 w 167"/>
                  <a:gd name="T9" fmla="*/ 334 h 431"/>
                  <a:gd name="T10" fmla="*/ 0 w 167"/>
                  <a:gd name="T11" fmla="*/ 273 h 431"/>
                  <a:gd name="T12" fmla="*/ 0 w 167"/>
                  <a:gd name="T13" fmla="*/ 97 h 431"/>
                  <a:gd name="T14" fmla="*/ 3 w 167"/>
                  <a:gd name="T15" fmla="*/ 57 h 431"/>
                  <a:gd name="T16" fmla="*/ 57 w 167"/>
                  <a:gd name="T17" fmla="*/ 25 h 431"/>
                  <a:gd name="T18" fmla="*/ 57 w 167"/>
                  <a:gd name="T19" fmla="*/ 25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431">
                    <a:moveTo>
                      <a:pt x="57" y="25"/>
                    </a:moveTo>
                    <a:lnTo>
                      <a:pt x="167" y="0"/>
                    </a:lnTo>
                    <a:lnTo>
                      <a:pt x="167" y="431"/>
                    </a:lnTo>
                    <a:lnTo>
                      <a:pt x="69" y="382"/>
                    </a:lnTo>
                    <a:lnTo>
                      <a:pt x="27" y="334"/>
                    </a:lnTo>
                    <a:lnTo>
                      <a:pt x="0" y="273"/>
                    </a:lnTo>
                    <a:lnTo>
                      <a:pt x="0" y="97"/>
                    </a:lnTo>
                    <a:lnTo>
                      <a:pt x="3" y="57"/>
                    </a:lnTo>
                    <a:lnTo>
                      <a:pt x="57" y="25"/>
                    </a:lnTo>
                    <a:lnTo>
                      <a:pt x="5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79"/>
              <p:cNvSpPr>
                <a:spLocks/>
              </p:cNvSpPr>
              <p:nvPr/>
            </p:nvSpPr>
            <p:spPr bwMode="auto">
              <a:xfrm>
                <a:off x="1961" y="2400"/>
                <a:ext cx="168" cy="431"/>
              </a:xfrm>
              <a:custGeom>
                <a:avLst/>
                <a:gdLst>
                  <a:gd name="T0" fmla="*/ 111 w 168"/>
                  <a:gd name="T1" fmla="*/ 25 h 431"/>
                  <a:gd name="T2" fmla="*/ 0 w 168"/>
                  <a:gd name="T3" fmla="*/ 0 h 431"/>
                  <a:gd name="T4" fmla="*/ 0 w 168"/>
                  <a:gd name="T5" fmla="*/ 431 h 431"/>
                  <a:gd name="T6" fmla="*/ 98 w 168"/>
                  <a:gd name="T7" fmla="*/ 382 h 431"/>
                  <a:gd name="T8" fmla="*/ 140 w 168"/>
                  <a:gd name="T9" fmla="*/ 334 h 431"/>
                  <a:gd name="T10" fmla="*/ 168 w 168"/>
                  <a:gd name="T11" fmla="*/ 273 h 431"/>
                  <a:gd name="T12" fmla="*/ 168 w 168"/>
                  <a:gd name="T13" fmla="*/ 97 h 431"/>
                  <a:gd name="T14" fmla="*/ 164 w 168"/>
                  <a:gd name="T15" fmla="*/ 57 h 431"/>
                  <a:gd name="T16" fmla="*/ 111 w 168"/>
                  <a:gd name="T17" fmla="*/ 25 h 431"/>
                  <a:gd name="T18" fmla="*/ 111 w 168"/>
                  <a:gd name="T19" fmla="*/ 25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431">
                    <a:moveTo>
                      <a:pt x="111" y="25"/>
                    </a:moveTo>
                    <a:lnTo>
                      <a:pt x="0" y="0"/>
                    </a:lnTo>
                    <a:lnTo>
                      <a:pt x="0" y="431"/>
                    </a:lnTo>
                    <a:lnTo>
                      <a:pt x="98" y="382"/>
                    </a:lnTo>
                    <a:lnTo>
                      <a:pt x="140" y="334"/>
                    </a:lnTo>
                    <a:lnTo>
                      <a:pt x="168" y="273"/>
                    </a:lnTo>
                    <a:lnTo>
                      <a:pt x="168" y="97"/>
                    </a:lnTo>
                    <a:lnTo>
                      <a:pt x="164" y="57"/>
                    </a:lnTo>
                    <a:lnTo>
                      <a:pt x="111" y="25"/>
                    </a:lnTo>
                    <a:lnTo>
                      <a:pt x="11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80"/>
              <p:cNvSpPr>
                <a:spLocks noEditPoints="1"/>
              </p:cNvSpPr>
              <p:nvPr/>
            </p:nvSpPr>
            <p:spPr bwMode="auto">
              <a:xfrm>
                <a:off x="1796" y="2399"/>
                <a:ext cx="339" cy="431"/>
              </a:xfrm>
              <a:custGeom>
                <a:avLst/>
                <a:gdLst>
                  <a:gd name="T0" fmla="*/ 23 w 252"/>
                  <a:gd name="T1" fmla="*/ 172 h 322"/>
                  <a:gd name="T2" fmla="*/ 23 w 252"/>
                  <a:gd name="T3" fmla="*/ 184 h 322"/>
                  <a:gd name="T4" fmla="*/ 40 w 252"/>
                  <a:gd name="T5" fmla="*/ 234 h 322"/>
                  <a:gd name="T6" fmla="*/ 126 w 252"/>
                  <a:gd name="T7" fmla="*/ 292 h 322"/>
                  <a:gd name="T8" fmla="*/ 211 w 252"/>
                  <a:gd name="T9" fmla="*/ 234 h 322"/>
                  <a:gd name="T10" fmla="*/ 229 w 252"/>
                  <a:gd name="T11" fmla="*/ 184 h 322"/>
                  <a:gd name="T12" fmla="*/ 229 w 252"/>
                  <a:gd name="T13" fmla="*/ 63 h 322"/>
                  <a:gd name="T14" fmla="*/ 23 w 252"/>
                  <a:gd name="T15" fmla="*/ 172 h 322"/>
                  <a:gd name="T16" fmla="*/ 224 w 252"/>
                  <a:gd name="T17" fmla="*/ 48 h 322"/>
                  <a:gd name="T18" fmla="*/ 205 w 252"/>
                  <a:gd name="T19" fmla="*/ 36 h 322"/>
                  <a:gd name="T20" fmla="*/ 126 w 252"/>
                  <a:gd name="T21" fmla="*/ 21 h 322"/>
                  <a:gd name="T22" fmla="*/ 23 w 252"/>
                  <a:gd name="T23" fmla="*/ 52 h 322"/>
                  <a:gd name="T24" fmla="*/ 23 w 252"/>
                  <a:gd name="T25" fmla="*/ 111 h 322"/>
                  <a:gd name="T26" fmla="*/ 229 w 252"/>
                  <a:gd name="T27" fmla="*/ 60 h 322"/>
                  <a:gd name="T28" fmla="*/ 229 w 252"/>
                  <a:gd name="T29" fmla="*/ 52 h 322"/>
                  <a:gd name="T30" fmla="*/ 228 w 252"/>
                  <a:gd name="T31" fmla="*/ 51 h 322"/>
                  <a:gd name="T32" fmla="*/ 224 w 252"/>
                  <a:gd name="T33" fmla="*/ 48 h 322"/>
                  <a:gd name="T34" fmla="*/ 248 w 252"/>
                  <a:gd name="T35" fmla="*/ 39 h 322"/>
                  <a:gd name="T36" fmla="*/ 126 w 252"/>
                  <a:gd name="T37" fmla="*/ 0 h 322"/>
                  <a:gd name="T38" fmla="*/ 4 w 252"/>
                  <a:gd name="T39" fmla="*/ 39 h 322"/>
                  <a:gd name="T40" fmla="*/ 0 w 252"/>
                  <a:gd name="T41" fmla="*/ 43 h 322"/>
                  <a:gd name="T42" fmla="*/ 0 w 252"/>
                  <a:gd name="T43" fmla="*/ 192 h 322"/>
                  <a:gd name="T44" fmla="*/ 0 w 252"/>
                  <a:gd name="T45" fmla="*/ 193 h 322"/>
                  <a:gd name="T46" fmla="*/ 21 w 252"/>
                  <a:gd name="T47" fmla="*/ 252 h 322"/>
                  <a:gd name="T48" fmla="*/ 125 w 252"/>
                  <a:gd name="T49" fmla="*/ 322 h 322"/>
                  <a:gd name="T50" fmla="*/ 126 w 252"/>
                  <a:gd name="T51" fmla="*/ 322 h 322"/>
                  <a:gd name="T52" fmla="*/ 127 w 252"/>
                  <a:gd name="T53" fmla="*/ 322 h 322"/>
                  <a:gd name="T54" fmla="*/ 231 w 252"/>
                  <a:gd name="T55" fmla="*/ 252 h 322"/>
                  <a:gd name="T56" fmla="*/ 251 w 252"/>
                  <a:gd name="T57" fmla="*/ 193 h 322"/>
                  <a:gd name="T58" fmla="*/ 252 w 252"/>
                  <a:gd name="T59" fmla="*/ 192 h 322"/>
                  <a:gd name="T60" fmla="*/ 252 w 252"/>
                  <a:gd name="T61" fmla="*/ 42 h 322"/>
                  <a:gd name="T62" fmla="*/ 248 w 252"/>
                  <a:gd name="T63" fmla="*/ 39 h 322"/>
                  <a:gd name="T64" fmla="*/ 248 w 252"/>
                  <a:gd name="T65" fmla="*/ 39 h 322"/>
                  <a:gd name="T66" fmla="*/ 235 w 252"/>
                  <a:gd name="T67" fmla="*/ 185 h 322"/>
                  <a:gd name="T68" fmla="*/ 235 w 252"/>
                  <a:gd name="T69" fmla="*/ 185 h 322"/>
                  <a:gd name="T70" fmla="*/ 217 w 252"/>
                  <a:gd name="T71" fmla="*/ 238 h 322"/>
                  <a:gd name="T72" fmla="*/ 126 w 252"/>
                  <a:gd name="T73" fmla="*/ 299 h 322"/>
                  <a:gd name="T74" fmla="*/ 126 w 252"/>
                  <a:gd name="T75" fmla="*/ 299 h 322"/>
                  <a:gd name="T76" fmla="*/ 125 w 252"/>
                  <a:gd name="T77" fmla="*/ 299 h 322"/>
                  <a:gd name="T78" fmla="*/ 35 w 252"/>
                  <a:gd name="T79" fmla="*/ 238 h 322"/>
                  <a:gd name="T80" fmla="*/ 16 w 252"/>
                  <a:gd name="T81" fmla="*/ 185 h 322"/>
                  <a:gd name="T82" fmla="*/ 16 w 252"/>
                  <a:gd name="T83" fmla="*/ 185 h 322"/>
                  <a:gd name="T84" fmla="*/ 16 w 252"/>
                  <a:gd name="T85" fmla="*/ 49 h 322"/>
                  <a:gd name="T86" fmla="*/ 18 w 252"/>
                  <a:gd name="T87" fmla="*/ 48 h 322"/>
                  <a:gd name="T88" fmla="*/ 126 w 252"/>
                  <a:gd name="T89" fmla="*/ 14 h 322"/>
                  <a:gd name="T90" fmla="*/ 234 w 252"/>
                  <a:gd name="T91" fmla="*/ 48 h 322"/>
                  <a:gd name="T92" fmla="*/ 235 w 252"/>
                  <a:gd name="T93" fmla="*/ 49 h 322"/>
                  <a:gd name="T94" fmla="*/ 235 w 252"/>
                  <a:gd name="T95" fmla="*/ 185 h 322"/>
                  <a:gd name="T96" fmla="*/ 235 w 252"/>
                  <a:gd name="T97" fmla="*/ 185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2" h="322">
                    <a:moveTo>
                      <a:pt x="23" y="172"/>
                    </a:moveTo>
                    <a:cubicBezTo>
                      <a:pt x="23" y="184"/>
                      <a:pt x="23" y="184"/>
                      <a:pt x="23" y="184"/>
                    </a:cubicBezTo>
                    <a:cubicBezTo>
                      <a:pt x="23" y="188"/>
                      <a:pt x="27" y="211"/>
                      <a:pt x="40" y="234"/>
                    </a:cubicBezTo>
                    <a:cubicBezTo>
                      <a:pt x="60" y="268"/>
                      <a:pt x="88" y="287"/>
                      <a:pt x="126" y="292"/>
                    </a:cubicBezTo>
                    <a:cubicBezTo>
                      <a:pt x="164" y="287"/>
                      <a:pt x="192" y="268"/>
                      <a:pt x="211" y="234"/>
                    </a:cubicBezTo>
                    <a:cubicBezTo>
                      <a:pt x="224" y="211"/>
                      <a:pt x="228" y="188"/>
                      <a:pt x="229" y="184"/>
                    </a:cubicBezTo>
                    <a:cubicBezTo>
                      <a:pt x="229" y="63"/>
                      <a:pt x="229" y="63"/>
                      <a:pt x="229" y="63"/>
                    </a:cubicBezTo>
                    <a:cubicBezTo>
                      <a:pt x="147" y="64"/>
                      <a:pt x="73" y="106"/>
                      <a:pt x="23" y="172"/>
                    </a:cubicBezTo>
                    <a:close/>
                    <a:moveTo>
                      <a:pt x="224" y="48"/>
                    </a:moveTo>
                    <a:cubicBezTo>
                      <a:pt x="219" y="45"/>
                      <a:pt x="213" y="41"/>
                      <a:pt x="205" y="36"/>
                    </a:cubicBezTo>
                    <a:cubicBezTo>
                      <a:pt x="188" y="29"/>
                      <a:pt x="161" y="21"/>
                      <a:pt x="126" y="21"/>
                    </a:cubicBezTo>
                    <a:cubicBezTo>
                      <a:pt x="60" y="21"/>
                      <a:pt x="28" y="46"/>
                      <a:pt x="23" y="52"/>
                    </a:cubicBezTo>
                    <a:cubicBezTo>
                      <a:pt x="23" y="111"/>
                      <a:pt x="23" y="111"/>
                      <a:pt x="23" y="111"/>
                    </a:cubicBezTo>
                    <a:cubicBezTo>
                      <a:pt x="101" y="63"/>
                      <a:pt x="147" y="60"/>
                      <a:pt x="229" y="60"/>
                    </a:cubicBezTo>
                    <a:cubicBezTo>
                      <a:pt x="229" y="52"/>
                      <a:pt x="229" y="52"/>
                      <a:pt x="229" y="52"/>
                    </a:cubicBezTo>
                    <a:cubicBezTo>
                      <a:pt x="228" y="52"/>
                      <a:pt x="228" y="51"/>
                      <a:pt x="228" y="51"/>
                    </a:cubicBezTo>
                    <a:cubicBezTo>
                      <a:pt x="226" y="51"/>
                      <a:pt x="225" y="49"/>
                      <a:pt x="224" y="48"/>
                    </a:cubicBezTo>
                    <a:close/>
                    <a:moveTo>
                      <a:pt x="248" y="39"/>
                    </a:moveTo>
                    <a:cubicBezTo>
                      <a:pt x="246" y="37"/>
                      <a:pt x="207" y="0"/>
                      <a:pt x="126" y="0"/>
                    </a:cubicBezTo>
                    <a:cubicBezTo>
                      <a:pt x="42" y="0"/>
                      <a:pt x="5" y="37"/>
                      <a:pt x="4" y="39"/>
                    </a:cubicBezTo>
                    <a:cubicBezTo>
                      <a:pt x="0" y="43"/>
                      <a:pt x="0" y="43"/>
                      <a:pt x="0" y="43"/>
                    </a:cubicBezTo>
                    <a:cubicBezTo>
                      <a:pt x="0" y="192"/>
                      <a:pt x="0" y="192"/>
                      <a:pt x="0" y="192"/>
                    </a:cubicBezTo>
                    <a:cubicBezTo>
                      <a:pt x="0" y="193"/>
                      <a:pt x="0" y="193"/>
                      <a:pt x="0" y="193"/>
                    </a:cubicBezTo>
                    <a:cubicBezTo>
                      <a:pt x="1" y="198"/>
                      <a:pt x="5" y="225"/>
                      <a:pt x="21" y="252"/>
                    </a:cubicBezTo>
                    <a:cubicBezTo>
                      <a:pt x="43" y="292"/>
                      <a:pt x="79" y="316"/>
                      <a:pt x="125" y="322"/>
                    </a:cubicBezTo>
                    <a:cubicBezTo>
                      <a:pt x="126" y="322"/>
                      <a:pt x="126" y="322"/>
                      <a:pt x="126" y="322"/>
                    </a:cubicBezTo>
                    <a:cubicBezTo>
                      <a:pt x="127" y="322"/>
                      <a:pt x="127" y="322"/>
                      <a:pt x="127" y="322"/>
                    </a:cubicBezTo>
                    <a:cubicBezTo>
                      <a:pt x="173" y="316"/>
                      <a:pt x="209" y="292"/>
                      <a:pt x="231" y="252"/>
                    </a:cubicBezTo>
                    <a:cubicBezTo>
                      <a:pt x="247" y="225"/>
                      <a:pt x="251" y="198"/>
                      <a:pt x="251" y="193"/>
                    </a:cubicBezTo>
                    <a:cubicBezTo>
                      <a:pt x="252" y="192"/>
                      <a:pt x="252" y="192"/>
                      <a:pt x="252" y="192"/>
                    </a:cubicBezTo>
                    <a:cubicBezTo>
                      <a:pt x="252" y="42"/>
                      <a:pt x="252" y="42"/>
                      <a:pt x="252" y="42"/>
                    </a:cubicBezTo>
                    <a:cubicBezTo>
                      <a:pt x="248" y="39"/>
                      <a:pt x="248" y="39"/>
                      <a:pt x="248" y="39"/>
                    </a:cubicBezTo>
                    <a:cubicBezTo>
                      <a:pt x="248" y="39"/>
                      <a:pt x="248" y="39"/>
                      <a:pt x="248" y="39"/>
                    </a:cubicBezTo>
                    <a:close/>
                    <a:moveTo>
                      <a:pt x="235" y="185"/>
                    </a:moveTo>
                    <a:cubicBezTo>
                      <a:pt x="235" y="185"/>
                      <a:pt x="235" y="185"/>
                      <a:pt x="235" y="185"/>
                    </a:cubicBezTo>
                    <a:cubicBezTo>
                      <a:pt x="234" y="189"/>
                      <a:pt x="231" y="213"/>
                      <a:pt x="217" y="238"/>
                    </a:cubicBezTo>
                    <a:cubicBezTo>
                      <a:pt x="197" y="273"/>
                      <a:pt x="166" y="293"/>
                      <a:pt x="126" y="299"/>
                    </a:cubicBezTo>
                    <a:cubicBezTo>
                      <a:pt x="126" y="299"/>
                      <a:pt x="126" y="299"/>
                      <a:pt x="126" y="299"/>
                    </a:cubicBezTo>
                    <a:cubicBezTo>
                      <a:pt x="125" y="299"/>
                      <a:pt x="125" y="299"/>
                      <a:pt x="125" y="299"/>
                    </a:cubicBezTo>
                    <a:cubicBezTo>
                      <a:pt x="85" y="293"/>
                      <a:pt x="55" y="273"/>
                      <a:pt x="35" y="238"/>
                    </a:cubicBezTo>
                    <a:cubicBezTo>
                      <a:pt x="21" y="213"/>
                      <a:pt x="17" y="189"/>
                      <a:pt x="16" y="185"/>
                    </a:cubicBezTo>
                    <a:cubicBezTo>
                      <a:pt x="16" y="185"/>
                      <a:pt x="16" y="185"/>
                      <a:pt x="16" y="185"/>
                    </a:cubicBezTo>
                    <a:cubicBezTo>
                      <a:pt x="16" y="49"/>
                      <a:pt x="16" y="49"/>
                      <a:pt x="16" y="49"/>
                    </a:cubicBezTo>
                    <a:cubicBezTo>
                      <a:pt x="18" y="48"/>
                      <a:pt x="18" y="48"/>
                      <a:pt x="18" y="48"/>
                    </a:cubicBezTo>
                    <a:cubicBezTo>
                      <a:pt x="18" y="48"/>
                      <a:pt x="50" y="14"/>
                      <a:pt x="126" y="14"/>
                    </a:cubicBezTo>
                    <a:cubicBezTo>
                      <a:pt x="200" y="14"/>
                      <a:pt x="234" y="48"/>
                      <a:pt x="234" y="48"/>
                    </a:cubicBezTo>
                    <a:cubicBezTo>
                      <a:pt x="235" y="49"/>
                      <a:pt x="235" y="49"/>
                      <a:pt x="235" y="49"/>
                    </a:cubicBezTo>
                    <a:cubicBezTo>
                      <a:pt x="235" y="185"/>
                      <a:pt x="235" y="185"/>
                      <a:pt x="235" y="185"/>
                    </a:cubicBezTo>
                    <a:cubicBezTo>
                      <a:pt x="235" y="185"/>
                      <a:pt x="235" y="185"/>
                      <a:pt x="235" y="185"/>
                    </a:cubicBezTo>
                    <a:close/>
                  </a:path>
                </a:pathLst>
              </a:custGeom>
              <a:solidFill>
                <a:srgbClr val="3D5800"/>
              </a:solidFill>
              <a:ln w="6"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cxnSp>
        <p:nvCxnSpPr>
          <p:cNvPr id="46" name="Straight Connector 45"/>
          <p:cNvCxnSpPr/>
          <p:nvPr/>
        </p:nvCxnSpPr>
        <p:spPr>
          <a:xfrm>
            <a:off x="6434039" y="4833758"/>
            <a:ext cx="0" cy="767368"/>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4811823" y="5538880"/>
            <a:ext cx="2946965" cy="1181862"/>
            <a:chOff x="4811823" y="5538880"/>
            <a:chExt cx="2946965" cy="1181862"/>
          </a:xfrm>
        </p:grpSpPr>
        <p:sp>
          <p:nvSpPr>
            <p:cNvPr id="59" name="TextBox 58"/>
            <p:cNvSpPr txBox="1"/>
            <p:nvPr/>
          </p:nvSpPr>
          <p:spPr>
            <a:xfrm>
              <a:off x="5308923" y="5538880"/>
              <a:ext cx="2449865" cy="1181862"/>
            </a:xfrm>
            <a:prstGeom prst="rect">
              <a:avLst/>
            </a:prstGeom>
            <a:noFill/>
          </p:spPr>
          <p:txBody>
            <a:bodyPr wrap="square" lIns="182880" tIns="146304" rIns="182880" bIns="146304" rtlCol="0">
              <a:spAutoFit/>
            </a:bodyPr>
            <a:lstStyle/>
            <a:p>
              <a:pPr>
                <a:lnSpc>
                  <a:spcPct val="90000"/>
                </a:lnSpc>
              </a:pPr>
              <a:r>
                <a:rPr lang="en-US" sz="1600" b="1" spc="-30" dirty="0" smtClean="0">
                  <a:solidFill>
                    <a:schemeClr val="bg2">
                      <a:lumMod val="50000"/>
                    </a:schemeClr>
                  </a:solidFill>
                </a:rPr>
                <a:t>Save resources</a:t>
              </a:r>
              <a:r>
                <a:rPr lang="en-US" sz="1600" spc="-30" dirty="0" smtClean="0">
                  <a:solidFill>
                    <a:schemeClr val="bg2">
                      <a:lumMod val="50000"/>
                    </a:schemeClr>
                  </a:solidFill>
                </a:rPr>
                <a:t> with the flexible </a:t>
              </a:r>
              <a:r>
                <a:rPr lang="en-US" sz="1600" b="1" spc="-30" dirty="0" smtClean="0">
                  <a:solidFill>
                    <a:schemeClr val="bg2">
                      <a:lumMod val="50000"/>
                    </a:schemeClr>
                  </a:solidFill>
                </a:rPr>
                <a:t>storage options </a:t>
              </a:r>
              <a:r>
                <a:rPr lang="en-US" sz="1600" spc="-30" dirty="0" smtClean="0">
                  <a:solidFill>
                    <a:schemeClr val="bg2">
                      <a:lumMod val="50000"/>
                    </a:schemeClr>
                  </a:solidFill>
                </a:rPr>
                <a:t>right to your environment</a:t>
              </a:r>
              <a:endParaRPr lang="en-US" sz="1600" b="1" spc="-30" dirty="0">
                <a:solidFill>
                  <a:schemeClr val="bg2">
                    <a:lumMod val="50000"/>
                  </a:schemeClr>
                </a:solidFill>
              </a:endParaRPr>
            </a:p>
          </p:txBody>
        </p:sp>
        <p:grpSp>
          <p:nvGrpSpPr>
            <p:cNvPr id="19" name="Group 18"/>
            <p:cNvGrpSpPr/>
            <p:nvPr/>
          </p:nvGrpSpPr>
          <p:grpSpPr>
            <a:xfrm>
              <a:off x="4811823" y="5658305"/>
              <a:ext cx="603994" cy="893282"/>
              <a:chOff x="4279900" y="5427663"/>
              <a:chExt cx="792163" cy="1171575"/>
            </a:xfrm>
          </p:grpSpPr>
          <p:sp>
            <p:nvSpPr>
              <p:cNvPr id="16" name="Freeform 13"/>
              <p:cNvSpPr>
                <a:spLocks noEditPoints="1"/>
              </p:cNvSpPr>
              <p:nvPr/>
            </p:nvSpPr>
            <p:spPr bwMode="auto">
              <a:xfrm>
                <a:off x="4279900" y="5427663"/>
                <a:ext cx="792163" cy="1171575"/>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6"/>
              <p:cNvSpPr>
                <a:spLocks/>
              </p:cNvSpPr>
              <p:nvPr/>
            </p:nvSpPr>
            <p:spPr bwMode="auto">
              <a:xfrm>
                <a:off x="4488671" y="5713261"/>
                <a:ext cx="374620" cy="687172"/>
              </a:xfrm>
              <a:custGeom>
                <a:avLst/>
                <a:gdLst>
                  <a:gd name="T0" fmla="*/ 103 w 269"/>
                  <a:gd name="T1" fmla="*/ 493 h 493"/>
                  <a:gd name="T2" fmla="*/ 103 w 269"/>
                  <a:gd name="T3" fmla="*/ 436 h 493"/>
                  <a:gd name="T4" fmla="*/ 0 w 269"/>
                  <a:gd name="T5" fmla="*/ 410 h 493"/>
                  <a:gd name="T6" fmla="*/ 18 w 269"/>
                  <a:gd name="T7" fmla="*/ 339 h 493"/>
                  <a:gd name="T8" fmla="*/ 118 w 269"/>
                  <a:gd name="T9" fmla="*/ 366 h 493"/>
                  <a:gd name="T10" fmla="*/ 176 w 269"/>
                  <a:gd name="T11" fmla="*/ 328 h 493"/>
                  <a:gd name="T12" fmla="*/ 112 w 269"/>
                  <a:gd name="T13" fmla="*/ 276 h 493"/>
                  <a:gd name="T14" fmla="*/ 4 w 269"/>
                  <a:gd name="T15" fmla="*/ 165 h 493"/>
                  <a:gd name="T16" fmla="*/ 106 w 269"/>
                  <a:gd name="T17" fmla="*/ 58 h 493"/>
                  <a:gd name="T18" fmla="*/ 106 w 269"/>
                  <a:gd name="T19" fmla="*/ 0 h 493"/>
                  <a:gd name="T20" fmla="*/ 165 w 269"/>
                  <a:gd name="T21" fmla="*/ 0 h 493"/>
                  <a:gd name="T22" fmla="*/ 165 w 269"/>
                  <a:gd name="T23" fmla="*/ 53 h 493"/>
                  <a:gd name="T24" fmla="*/ 252 w 269"/>
                  <a:gd name="T25" fmla="*/ 73 h 493"/>
                  <a:gd name="T26" fmla="*/ 235 w 269"/>
                  <a:gd name="T27" fmla="*/ 141 h 493"/>
                  <a:gd name="T28" fmla="*/ 148 w 269"/>
                  <a:gd name="T29" fmla="*/ 121 h 493"/>
                  <a:gd name="T30" fmla="*/ 96 w 269"/>
                  <a:gd name="T31" fmla="*/ 155 h 493"/>
                  <a:gd name="T32" fmla="*/ 169 w 269"/>
                  <a:gd name="T33" fmla="*/ 207 h 493"/>
                  <a:gd name="T34" fmla="*/ 269 w 269"/>
                  <a:gd name="T35" fmla="*/ 320 h 493"/>
                  <a:gd name="T36" fmla="*/ 162 w 269"/>
                  <a:gd name="T37" fmla="*/ 431 h 493"/>
                  <a:gd name="T38" fmla="*/ 162 w 269"/>
                  <a:gd name="T39" fmla="*/ 493 h 493"/>
                  <a:gd name="T40" fmla="*/ 103 w 269"/>
                  <a:gd name="T41"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493">
                    <a:moveTo>
                      <a:pt x="103" y="493"/>
                    </a:moveTo>
                    <a:cubicBezTo>
                      <a:pt x="103" y="436"/>
                      <a:pt x="103" y="436"/>
                      <a:pt x="103" y="436"/>
                    </a:cubicBezTo>
                    <a:cubicBezTo>
                      <a:pt x="62" y="434"/>
                      <a:pt x="23" y="423"/>
                      <a:pt x="0" y="410"/>
                    </a:cubicBezTo>
                    <a:cubicBezTo>
                      <a:pt x="18" y="339"/>
                      <a:pt x="18" y="339"/>
                      <a:pt x="18" y="339"/>
                    </a:cubicBezTo>
                    <a:cubicBezTo>
                      <a:pt x="43" y="353"/>
                      <a:pt x="79" y="366"/>
                      <a:pt x="118" y="366"/>
                    </a:cubicBezTo>
                    <a:cubicBezTo>
                      <a:pt x="153" y="366"/>
                      <a:pt x="176" y="352"/>
                      <a:pt x="176" y="328"/>
                    </a:cubicBezTo>
                    <a:cubicBezTo>
                      <a:pt x="176" y="305"/>
                      <a:pt x="157" y="291"/>
                      <a:pt x="112" y="276"/>
                    </a:cubicBezTo>
                    <a:cubicBezTo>
                      <a:pt x="48" y="254"/>
                      <a:pt x="4" y="224"/>
                      <a:pt x="4" y="165"/>
                    </a:cubicBezTo>
                    <a:cubicBezTo>
                      <a:pt x="4" y="112"/>
                      <a:pt x="41" y="70"/>
                      <a:pt x="106" y="58"/>
                    </a:cubicBezTo>
                    <a:cubicBezTo>
                      <a:pt x="106" y="0"/>
                      <a:pt x="106" y="0"/>
                      <a:pt x="106" y="0"/>
                    </a:cubicBezTo>
                    <a:cubicBezTo>
                      <a:pt x="165" y="0"/>
                      <a:pt x="165" y="0"/>
                      <a:pt x="165" y="0"/>
                    </a:cubicBezTo>
                    <a:cubicBezTo>
                      <a:pt x="165" y="53"/>
                      <a:pt x="165" y="53"/>
                      <a:pt x="165" y="53"/>
                    </a:cubicBezTo>
                    <a:cubicBezTo>
                      <a:pt x="205" y="55"/>
                      <a:pt x="233" y="64"/>
                      <a:pt x="252" y="73"/>
                    </a:cubicBezTo>
                    <a:cubicBezTo>
                      <a:pt x="235" y="141"/>
                      <a:pt x="235" y="141"/>
                      <a:pt x="235" y="141"/>
                    </a:cubicBezTo>
                    <a:cubicBezTo>
                      <a:pt x="219" y="135"/>
                      <a:pt x="191" y="121"/>
                      <a:pt x="148" y="121"/>
                    </a:cubicBezTo>
                    <a:cubicBezTo>
                      <a:pt x="109" y="121"/>
                      <a:pt x="96" y="138"/>
                      <a:pt x="96" y="155"/>
                    </a:cubicBezTo>
                    <a:cubicBezTo>
                      <a:pt x="96" y="175"/>
                      <a:pt x="117" y="187"/>
                      <a:pt x="169" y="207"/>
                    </a:cubicBezTo>
                    <a:cubicBezTo>
                      <a:pt x="240" y="232"/>
                      <a:pt x="269" y="265"/>
                      <a:pt x="269" y="320"/>
                    </a:cubicBezTo>
                    <a:cubicBezTo>
                      <a:pt x="269" y="373"/>
                      <a:pt x="231" y="419"/>
                      <a:pt x="162" y="431"/>
                    </a:cubicBezTo>
                    <a:cubicBezTo>
                      <a:pt x="162" y="493"/>
                      <a:pt x="162" y="493"/>
                      <a:pt x="162" y="493"/>
                    </a:cubicBezTo>
                    <a:lnTo>
                      <a:pt x="103" y="493"/>
                    </a:lnTo>
                    <a:close/>
                  </a:path>
                </a:pathLst>
              </a:custGeom>
              <a:solidFill>
                <a:schemeClr val="bg1"/>
              </a:solidFill>
              <a:ln>
                <a:solidFill>
                  <a:schemeClr val="tx1"/>
                </a:solidFill>
              </a:ln>
            </p:spPr>
            <p:txBody>
              <a:bodyPr vert="horz" wrap="square" lIns="91440" tIns="45720" rIns="91440" bIns="45720" numCol="1" anchor="t" anchorCtr="0" compatLnSpc="1">
                <a:prstTxWarp prst="textNoShape">
                  <a:avLst/>
                </a:prstTxWarp>
              </a:bodyPr>
              <a:lstStyle/>
              <a:p>
                <a:endParaRPr lang="en-GB"/>
              </a:p>
            </p:txBody>
          </p:sp>
        </p:grpSp>
      </p:grpSp>
      <p:sp>
        <p:nvSpPr>
          <p:cNvPr id="24" name="TextBox 23"/>
          <p:cNvSpPr txBox="1"/>
          <p:nvPr/>
        </p:nvSpPr>
        <p:spPr>
          <a:xfrm>
            <a:off x="9130255" y="3925444"/>
            <a:ext cx="2678117" cy="738664"/>
          </a:xfrm>
          <a:prstGeom prst="rect">
            <a:avLst/>
          </a:prstGeom>
          <a:noFill/>
        </p:spPr>
        <p:txBody>
          <a:bodyPr wrap="square" lIns="182880" tIns="146304" rIns="182880" bIns="146304" rtlCol="0">
            <a:spAutoFit/>
          </a:bodyPr>
          <a:lstStyle/>
          <a:p>
            <a:pPr>
              <a:lnSpc>
                <a:spcPct val="90000"/>
              </a:lnSpc>
            </a:pPr>
            <a:r>
              <a:rPr lang="en-US" sz="1600" b="1" spc="-30" dirty="0">
                <a:solidFill>
                  <a:schemeClr val="bg2">
                    <a:lumMod val="50000"/>
                  </a:schemeClr>
                </a:solidFill>
              </a:rPr>
              <a:t>Centrally administer </a:t>
            </a:r>
            <a:r>
              <a:rPr lang="en-US" sz="1600" spc="-30" dirty="0">
                <a:solidFill>
                  <a:schemeClr val="bg2">
                    <a:lumMod val="50000"/>
                  </a:schemeClr>
                </a:solidFill>
              </a:rPr>
              <a:t>and manage desktops</a:t>
            </a:r>
          </a:p>
        </p:txBody>
      </p:sp>
      <p:grpSp>
        <p:nvGrpSpPr>
          <p:cNvPr id="40" name="Group 39"/>
          <p:cNvGrpSpPr/>
          <p:nvPr/>
        </p:nvGrpSpPr>
        <p:grpSpPr>
          <a:xfrm>
            <a:off x="9407362" y="2599062"/>
            <a:ext cx="2034260" cy="1362710"/>
            <a:chOff x="9407362" y="2395854"/>
            <a:chExt cx="2034260" cy="1362710"/>
          </a:xfrm>
        </p:grpSpPr>
        <p:grpSp>
          <p:nvGrpSpPr>
            <p:cNvPr id="98" name="Group 97"/>
            <p:cNvGrpSpPr/>
            <p:nvPr/>
          </p:nvGrpSpPr>
          <p:grpSpPr>
            <a:xfrm>
              <a:off x="9407362" y="2395854"/>
              <a:ext cx="901700" cy="1362710"/>
              <a:chOff x="689925" y="1568641"/>
              <a:chExt cx="919137" cy="1389062"/>
            </a:xfrm>
          </p:grpSpPr>
          <p:sp>
            <p:nvSpPr>
              <p:cNvPr id="100" name="Freeform 6"/>
              <p:cNvSpPr>
                <a:spLocks/>
              </p:cNvSpPr>
              <p:nvPr/>
            </p:nvSpPr>
            <p:spPr bwMode="auto">
              <a:xfrm>
                <a:off x="879538" y="1568641"/>
                <a:ext cx="536342" cy="536342"/>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sp>
            <p:nvSpPr>
              <p:cNvPr id="101" name="Freeform 7"/>
              <p:cNvSpPr>
                <a:spLocks/>
              </p:cNvSpPr>
              <p:nvPr/>
            </p:nvSpPr>
            <p:spPr bwMode="auto">
              <a:xfrm>
                <a:off x="689925" y="2045350"/>
                <a:ext cx="919137" cy="912353"/>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158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grpSp>
        <p:grpSp>
          <p:nvGrpSpPr>
            <p:cNvPr id="39" name="Group 38"/>
            <p:cNvGrpSpPr/>
            <p:nvPr/>
          </p:nvGrpSpPr>
          <p:grpSpPr>
            <a:xfrm>
              <a:off x="10394684" y="2448354"/>
              <a:ext cx="1046938" cy="1257710"/>
              <a:chOff x="10276716" y="2455500"/>
              <a:chExt cx="1046938" cy="1257710"/>
            </a:xfrm>
          </p:grpSpPr>
          <p:sp>
            <p:nvSpPr>
              <p:cNvPr id="97" name="Freeform 30"/>
              <p:cNvSpPr>
                <a:spLocks noEditPoints="1"/>
              </p:cNvSpPr>
              <p:nvPr/>
            </p:nvSpPr>
            <p:spPr bwMode="auto">
              <a:xfrm>
                <a:off x="10666287" y="2455500"/>
                <a:ext cx="657367" cy="1257710"/>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2225"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0" name="Rectangle 109"/>
              <p:cNvSpPr/>
              <p:nvPr/>
            </p:nvSpPr>
            <p:spPr bwMode="auto">
              <a:xfrm>
                <a:off x="10541502" y="2703932"/>
                <a:ext cx="493667" cy="35755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90" name="Freeform 32"/>
              <p:cNvSpPr>
                <a:spLocks noEditPoints="1"/>
              </p:cNvSpPr>
              <p:nvPr/>
            </p:nvSpPr>
            <p:spPr bwMode="auto">
              <a:xfrm>
                <a:off x="10529488" y="2698185"/>
                <a:ext cx="517697" cy="441417"/>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Rectangle 108"/>
              <p:cNvSpPr/>
              <p:nvPr/>
            </p:nvSpPr>
            <p:spPr bwMode="auto">
              <a:xfrm>
                <a:off x="10423063" y="2872333"/>
                <a:ext cx="526257" cy="3811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108" name="Freeform 32"/>
              <p:cNvSpPr>
                <a:spLocks noEditPoints="1"/>
              </p:cNvSpPr>
              <p:nvPr/>
            </p:nvSpPr>
            <p:spPr bwMode="auto">
              <a:xfrm>
                <a:off x="10403134" y="2858607"/>
                <a:ext cx="562412" cy="4800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Rectangle 34"/>
              <p:cNvSpPr/>
              <p:nvPr/>
            </p:nvSpPr>
            <p:spPr bwMode="auto">
              <a:xfrm>
                <a:off x="10294974" y="3051446"/>
                <a:ext cx="526257" cy="38115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81" name="Freeform 32"/>
              <p:cNvSpPr>
                <a:spLocks noEditPoints="1"/>
              </p:cNvSpPr>
              <p:nvPr/>
            </p:nvSpPr>
            <p:spPr bwMode="auto">
              <a:xfrm>
                <a:off x="10276716" y="3036874"/>
                <a:ext cx="562412" cy="4800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33" name="Group 32"/>
          <p:cNvGrpSpPr/>
          <p:nvPr/>
        </p:nvGrpSpPr>
        <p:grpSpPr>
          <a:xfrm>
            <a:off x="1299488" y="1231020"/>
            <a:ext cx="3103117" cy="1224480"/>
            <a:chOff x="1299488" y="1231020"/>
            <a:chExt cx="3103117" cy="1224480"/>
          </a:xfrm>
        </p:grpSpPr>
        <p:sp>
          <p:nvSpPr>
            <p:cNvPr id="22" name="TextBox 21"/>
            <p:cNvSpPr txBox="1"/>
            <p:nvPr/>
          </p:nvSpPr>
          <p:spPr>
            <a:xfrm>
              <a:off x="1866747" y="1273638"/>
              <a:ext cx="2535858" cy="1181862"/>
            </a:xfrm>
            <a:prstGeom prst="rect">
              <a:avLst/>
            </a:prstGeom>
            <a:noFill/>
          </p:spPr>
          <p:txBody>
            <a:bodyPr wrap="square" lIns="182880" tIns="146304" rIns="182880" bIns="146304" rtlCol="0">
              <a:spAutoFit/>
            </a:bodyPr>
            <a:lstStyle/>
            <a:p>
              <a:pPr>
                <a:lnSpc>
                  <a:spcPct val="90000"/>
                </a:lnSpc>
              </a:pPr>
              <a:r>
                <a:rPr lang="en-US" sz="1600" spc="-30" dirty="0">
                  <a:solidFill>
                    <a:schemeClr val="bg2">
                      <a:lumMod val="50000"/>
                    </a:schemeClr>
                  </a:solidFill>
                </a:rPr>
                <a:t>Enable users to </a:t>
              </a:r>
              <a:r>
                <a:rPr lang="en-US" sz="1600" b="1" spc="-30" dirty="0">
                  <a:solidFill>
                    <a:schemeClr val="bg2">
                      <a:lumMod val="50000"/>
                    </a:schemeClr>
                  </a:solidFill>
                </a:rPr>
                <a:t>access corporate apps and data from any device/any location</a:t>
              </a:r>
            </a:p>
          </p:txBody>
        </p:sp>
        <p:sp>
          <p:nvSpPr>
            <p:cNvPr id="92" name="Freeform 331"/>
            <p:cNvSpPr>
              <a:spLocks noChangeAspect="1" noEditPoints="1"/>
            </p:cNvSpPr>
            <p:nvPr/>
          </p:nvSpPr>
          <p:spPr bwMode="auto">
            <a:xfrm>
              <a:off x="1299488" y="1797623"/>
              <a:ext cx="599188" cy="587667"/>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nvGrpSpPr>
            <p:cNvPr id="5" name="Group 4"/>
            <p:cNvGrpSpPr>
              <a:grpSpLocks noChangeAspect="1"/>
            </p:cNvGrpSpPr>
            <p:nvPr/>
          </p:nvGrpSpPr>
          <p:grpSpPr bwMode="auto">
            <a:xfrm>
              <a:off x="1323728" y="1231020"/>
              <a:ext cx="515717" cy="514578"/>
              <a:chOff x="3072" y="723"/>
              <a:chExt cx="453" cy="452"/>
            </a:xfrm>
          </p:grpSpPr>
          <p:sp>
            <p:nvSpPr>
              <p:cNvPr id="8" name="Freeform 6"/>
              <p:cNvSpPr>
                <a:spLocks noEditPoints="1"/>
              </p:cNvSpPr>
              <p:nvPr/>
            </p:nvSpPr>
            <p:spPr bwMode="auto">
              <a:xfrm>
                <a:off x="3181" y="972"/>
                <a:ext cx="302" cy="180"/>
              </a:xfrm>
              <a:custGeom>
                <a:avLst/>
                <a:gdLst>
                  <a:gd name="T0" fmla="*/ 928 w 2111"/>
                  <a:gd name="T1" fmla="*/ 1246 h 1261"/>
                  <a:gd name="T2" fmla="*/ 764 w 2111"/>
                  <a:gd name="T3" fmla="*/ 1235 h 1261"/>
                  <a:gd name="T4" fmla="*/ 746 w 2111"/>
                  <a:gd name="T5" fmla="*/ 1224 h 1261"/>
                  <a:gd name="T6" fmla="*/ 759 w 2111"/>
                  <a:gd name="T7" fmla="*/ 1206 h 1261"/>
                  <a:gd name="T8" fmla="*/ 453 w 2111"/>
                  <a:gd name="T9" fmla="*/ 853 h 1261"/>
                  <a:gd name="T10" fmla="*/ 473 w 2111"/>
                  <a:gd name="T11" fmla="*/ 854 h 1261"/>
                  <a:gd name="T12" fmla="*/ 581 w 2111"/>
                  <a:gd name="T13" fmla="*/ 838 h 1261"/>
                  <a:gd name="T14" fmla="*/ 1248 w 2111"/>
                  <a:gd name="T15" fmla="*/ 816 h 1261"/>
                  <a:gd name="T16" fmla="*/ 1318 w 2111"/>
                  <a:gd name="T17" fmla="*/ 759 h 1261"/>
                  <a:gd name="T18" fmla="*/ 833 w 2111"/>
                  <a:gd name="T19" fmla="*/ 726 h 1261"/>
                  <a:gd name="T20" fmla="*/ 925 w 2111"/>
                  <a:gd name="T21" fmla="*/ 714 h 1261"/>
                  <a:gd name="T22" fmla="*/ 927 w 2111"/>
                  <a:gd name="T23" fmla="*/ 693 h 1261"/>
                  <a:gd name="T24" fmla="*/ 1811 w 2111"/>
                  <a:gd name="T25" fmla="*/ 687 h 1261"/>
                  <a:gd name="T26" fmla="*/ 920 w 2111"/>
                  <a:gd name="T27" fmla="*/ 669 h 1261"/>
                  <a:gd name="T28" fmla="*/ 902 w 2111"/>
                  <a:gd name="T29" fmla="*/ 650 h 1261"/>
                  <a:gd name="T30" fmla="*/ 1877 w 2111"/>
                  <a:gd name="T31" fmla="*/ 700 h 1261"/>
                  <a:gd name="T32" fmla="*/ 1836 w 2111"/>
                  <a:gd name="T33" fmla="*/ 741 h 1261"/>
                  <a:gd name="T34" fmla="*/ 1880 w 2111"/>
                  <a:gd name="T35" fmla="*/ 662 h 1261"/>
                  <a:gd name="T36" fmla="*/ 665 w 2111"/>
                  <a:gd name="T37" fmla="*/ 635 h 1261"/>
                  <a:gd name="T38" fmla="*/ 1801 w 2111"/>
                  <a:gd name="T39" fmla="*/ 628 h 1261"/>
                  <a:gd name="T40" fmla="*/ 941 w 2111"/>
                  <a:gd name="T41" fmla="*/ 617 h 1261"/>
                  <a:gd name="T42" fmla="*/ 51 w 2111"/>
                  <a:gd name="T43" fmla="*/ 601 h 1261"/>
                  <a:gd name="T44" fmla="*/ 922 w 2111"/>
                  <a:gd name="T45" fmla="*/ 593 h 1261"/>
                  <a:gd name="T46" fmla="*/ 788 w 2111"/>
                  <a:gd name="T47" fmla="*/ 613 h 1261"/>
                  <a:gd name="T48" fmla="*/ 747 w 2111"/>
                  <a:gd name="T49" fmla="*/ 620 h 1261"/>
                  <a:gd name="T50" fmla="*/ 1422 w 2111"/>
                  <a:gd name="T51" fmla="*/ 584 h 1261"/>
                  <a:gd name="T52" fmla="*/ 881 w 2111"/>
                  <a:gd name="T53" fmla="*/ 584 h 1261"/>
                  <a:gd name="T54" fmla="*/ 1825 w 2111"/>
                  <a:gd name="T55" fmla="*/ 598 h 1261"/>
                  <a:gd name="T56" fmla="*/ 648 w 2111"/>
                  <a:gd name="T57" fmla="*/ 576 h 1261"/>
                  <a:gd name="T58" fmla="*/ 675 w 2111"/>
                  <a:gd name="T59" fmla="*/ 610 h 1261"/>
                  <a:gd name="T60" fmla="*/ 609 w 2111"/>
                  <a:gd name="T61" fmla="*/ 590 h 1261"/>
                  <a:gd name="T62" fmla="*/ 549 w 2111"/>
                  <a:gd name="T63" fmla="*/ 594 h 1261"/>
                  <a:gd name="T64" fmla="*/ 767 w 2111"/>
                  <a:gd name="T65" fmla="*/ 560 h 1261"/>
                  <a:gd name="T66" fmla="*/ 705 w 2111"/>
                  <a:gd name="T67" fmla="*/ 551 h 1261"/>
                  <a:gd name="T68" fmla="*/ 1435 w 2111"/>
                  <a:gd name="T69" fmla="*/ 564 h 1261"/>
                  <a:gd name="T70" fmla="*/ 606 w 2111"/>
                  <a:gd name="T71" fmla="*/ 560 h 1261"/>
                  <a:gd name="T72" fmla="*/ 700 w 2111"/>
                  <a:gd name="T73" fmla="*/ 536 h 1261"/>
                  <a:gd name="T74" fmla="*/ 670 w 2111"/>
                  <a:gd name="T75" fmla="*/ 529 h 1261"/>
                  <a:gd name="T76" fmla="*/ 1749 w 2111"/>
                  <a:gd name="T77" fmla="*/ 487 h 1261"/>
                  <a:gd name="T78" fmla="*/ 2 w 2111"/>
                  <a:gd name="T79" fmla="*/ 452 h 1261"/>
                  <a:gd name="T80" fmla="*/ 896 w 2111"/>
                  <a:gd name="T81" fmla="*/ 411 h 1261"/>
                  <a:gd name="T82" fmla="*/ 2094 w 2111"/>
                  <a:gd name="T83" fmla="*/ 419 h 1261"/>
                  <a:gd name="T84" fmla="*/ 1562 w 2111"/>
                  <a:gd name="T85" fmla="*/ 320 h 1261"/>
                  <a:gd name="T86" fmla="*/ 1434 w 2111"/>
                  <a:gd name="T87" fmla="*/ 252 h 1261"/>
                  <a:gd name="T88" fmla="*/ 1465 w 2111"/>
                  <a:gd name="T89" fmla="*/ 232 h 1261"/>
                  <a:gd name="T90" fmla="*/ 1437 w 2111"/>
                  <a:gd name="T91" fmla="*/ 228 h 1261"/>
                  <a:gd name="T92" fmla="*/ 1875 w 2111"/>
                  <a:gd name="T93" fmla="*/ 197 h 1261"/>
                  <a:gd name="T94" fmla="*/ 1671 w 2111"/>
                  <a:gd name="T95" fmla="*/ 229 h 1261"/>
                  <a:gd name="T96" fmla="*/ 1640 w 2111"/>
                  <a:gd name="T97" fmla="*/ 211 h 1261"/>
                  <a:gd name="T98" fmla="*/ 1794 w 2111"/>
                  <a:gd name="T99" fmla="*/ 180 h 1261"/>
                  <a:gd name="T100" fmla="*/ 1727 w 2111"/>
                  <a:gd name="T101" fmla="*/ 170 h 1261"/>
                  <a:gd name="T102" fmla="*/ 1736 w 2111"/>
                  <a:gd name="T103" fmla="*/ 159 h 1261"/>
                  <a:gd name="T104" fmla="*/ 1773 w 2111"/>
                  <a:gd name="T105" fmla="*/ 167 h 1261"/>
                  <a:gd name="T106" fmla="*/ 1769 w 2111"/>
                  <a:gd name="T107" fmla="*/ 135 h 1261"/>
                  <a:gd name="T108" fmla="*/ 1825 w 2111"/>
                  <a:gd name="T109" fmla="*/ 143 h 1261"/>
                  <a:gd name="T110" fmla="*/ 1809 w 2111"/>
                  <a:gd name="T111" fmla="*/ 117 h 1261"/>
                  <a:gd name="T112" fmla="*/ 471 w 2111"/>
                  <a:gd name="T113" fmla="*/ 87 h 1261"/>
                  <a:gd name="T114" fmla="*/ 1882 w 2111"/>
                  <a:gd name="T115" fmla="*/ 110 h 1261"/>
                  <a:gd name="T116" fmla="*/ 1868 w 2111"/>
                  <a:gd name="T117" fmla="*/ 165 h 1261"/>
                  <a:gd name="T118" fmla="*/ 1842 w 2111"/>
                  <a:gd name="T119" fmla="*/ 129 h 1261"/>
                  <a:gd name="T120" fmla="*/ 1936 w 2111"/>
                  <a:gd name="T121" fmla="*/ 41 h 1261"/>
                  <a:gd name="T122" fmla="*/ 462 w 2111"/>
                  <a:gd name="T123" fmla="*/ 2 h 1261"/>
                  <a:gd name="T124" fmla="*/ 2056 w 2111"/>
                  <a:gd name="T125" fmla="*/ 39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1" h="1261">
                    <a:moveTo>
                      <a:pt x="776" y="1255"/>
                    </a:moveTo>
                    <a:lnTo>
                      <a:pt x="777" y="1256"/>
                    </a:lnTo>
                    <a:lnTo>
                      <a:pt x="778" y="1257"/>
                    </a:lnTo>
                    <a:lnTo>
                      <a:pt x="779" y="1260"/>
                    </a:lnTo>
                    <a:lnTo>
                      <a:pt x="778" y="1261"/>
                    </a:lnTo>
                    <a:lnTo>
                      <a:pt x="777" y="1261"/>
                    </a:lnTo>
                    <a:lnTo>
                      <a:pt x="775" y="1260"/>
                    </a:lnTo>
                    <a:lnTo>
                      <a:pt x="774" y="1259"/>
                    </a:lnTo>
                    <a:lnTo>
                      <a:pt x="773" y="1259"/>
                    </a:lnTo>
                    <a:lnTo>
                      <a:pt x="772" y="1259"/>
                    </a:lnTo>
                    <a:lnTo>
                      <a:pt x="772" y="1258"/>
                    </a:lnTo>
                    <a:lnTo>
                      <a:pt x="772" y="1258"/>
                    </a:lnTo>
                    <a:lnTo>
                      <a:pt x="773" y="1257"/>
                    </a:lnTo>
                    <a:lnTo>
                      <a:pt x="774" y="1256"/>
                    </a:lnTo>
                    <a:lnTo>
                      <a:pt x="776" y="1255"/>
                    </a:lnTo>
                    <a:close/>
                    <a:moveTo>
                      <a:pt x="939" y="1240"/>
                    </a:moveTo>
                    <a:lnTo>
                      <a:pt x="940" y="1240"/>
                    </a:lnTo>
                    <a:lnTo>
                      <a:pt x="941" y="1242"/>
                    </a:lnTo>
                    <a:lnTo>
                      <a:pt x="940" y="1244"/>
                    </a:lnTo>
                    <a:lnTo>
                      <a:pt x="940" y="1245"/>
                    </a:lnTo>
                    <a:lnTo>
                      <a:pt x="938" y="1245"/>
                    </a:lnTo>
                    <a:lnTo>
                      <a:pt x="938" y="1245"/>
                    </a:lnTo>
                    <a:lnTo>
                      <a:pt x="937" y="1245"/>
                    </a:lnTo>
                    <a:lnTo>
                      <a:pt x="936" y="1247"/>
                    </a:lnTo>
                    <a:lnTo>
                      <a:pt x="934" y="1248"/>
                    </a:lnTo>
                    <a:lnTo>
                      <a:pt x="933" y="1249"/>
                    </a:lnTo>
                    <a:lnTo>
                      <a:pt x="932" y="1249"/>
                    </a:lnTo>
                    <a:lnTo>
                      <a:pt x="932" y="1249"/>
                    </a:lnTo>
                    <a:lnTo>
                      <a:pt x="932" y="1248"/>
                    </a:lnTo>
                    <a:lnTo>
                      <a:pt x="931" y="1247"/>
                    </a:lnTo>
                    <a:lnTo>
                      <a:pt x="930" y="1245"/>
                    </a:lnTo>
                    <a:lnTo>
                      <a:pt x="928" y="1246"/>
                    </a:lnTo>
                    <a:lnTo>
                      <a:pt x="927" y="1247"/>
                    </a:lnTo>
                    <a:lnTo>
                      <a:pt x="925" y="1249"/>
                    </a:lnTo>
                    <a:lnTo>
                      <a:pt x="924" y="1250"/>
                    </a:lnTo>
                    <a:lnTo>
                      <a:pt x="923" y="1252"/>
                    </a:lnTo>
                    <a:lnTo>
                      <a:pt x="921" y="1252"/>
                    </a:lnTo>
                    <a:lnTo>
                      <a:pt x="919" y="1252"/>
                    </a:lnTo>
                    <a:lnTo>
                      <a:pt x="918" y="1251"/>
                    </a:lnTo>
                    <a:lnTo>
                      <a:pt x="918" y="1250"/>
                    </a:lnTo>
                    <a:lnTo>
                      <a:pt x="919" y="1249"/>
                    </a:lnTo>
                    <a:lnTo>
                      <a:pt x="921" y="1249"/>
                    </a:lnTo>
                    <a:lnTo>
                      <a:pt x="922" y="1247"/>
                    </a:lnTo>
                    <a:lnTo>
                      <a:pt x="922" y="1246"/>
                    </a:lnTo>
                    <a:lnTo>
                      <a:pt x="922" y="1246"/>
                    </a:lnTo>
                    <a:lnTo>
                      <a:pt x="921" y="1245"/>
                    </a:lnTo>
                    <a:lnTo>
                      <a:pt x="921" y="1244"/>
                    </a:lnTo>
                    <a:lnTo>
                      <a:pt x="921" y="1243"/>
                    </a:lnTo>
                    <a:lnTo>
                      <a:pt x="921" y="1242"/>
                    </a:lnTo>
                    <a:lnTo>
                      <a:pt x="922" y="1242"/>
                    </a:lnTo>
                    <a:lnTo>
                      <a:pt x="923" y="1241"/>
                    </a:lnTo>
                    <a:lnTo>
                      <a:pt x="925" y="1241"/>
                    </a:lnTo>
                    <a:lnTo>
                      <a:pt x="926" y="1241"/>
                    </a:lnTo>
                    <a:lnTo>
                      <a:pt x="927" y="1240"/>
                    </a:lnTo>
                    <a:lnTo>
                      <a:pt x="928" y="1241"/>
                    </a:lnTo>
                    <a:lnTo>
                      <a:pt x="928" y="1242"/>
                    </a:lnTo>
                    <a:lnTo>
                      <a:pt x="929" y="1243"/>
                    </a:lnTo>
                    <a:lnTo>
                      <a:pt x="930" y="1242"/>
                    </a:lnTo>
                    <a:lnTo>
                      <a:pt x="932" y="1242"/>
                    </a:lnTo>
                    <a:lnTo>
                      <a:pt x="934" y="1241"/>
                    </a:lnTo>
                    <a:lnTo>
                      <a:pt x="935" y="1240"/>
                    </a:lnTo>
                    <a:lnTo>
                      <a:pt x="937" y="1240"/>
                    </a:lnTo>
                    <a:lnTo>
                      <a:pt x="939" y="1240"/>
                    </a:lnTo>
                    <a:close/>
                    <a:moveTo>
                      <a:pt x="764" y="1235"/>
                    </a:moveTo>
                    <a:lnTo>
                      <a:pt x="766" y="1235"/>
                    </a:lnTo>
                    <a:lnTo>
                      <a:pt x="766" y="1236"/>
                    </a:lnTo>
                    <a:lnTo>
                      <a:pt x="767" y="1237"/>
                    </a:lnTo>
                    <a:lnTo>
                      <a:pt x="768" y="1237"/>
                    </a:lnTo>
                    <a:lnTo>
                      <a:pt x="769" y="1237"/>
                    </a:lnTo>
                    <a:lnTo>
                      <a:pt x="770" y="1238"/>
                    </a:lnTo>
                    <a:lnTo>
                      <a:pt x="770" y="1238"/>
                    </a:lnTo>
                    <a:lnTo>
                      <a:pt x="770" y="1239"/>
                    </a:lnTo>
                    <a:lnTo>
                      <a:pt x="770" y="1240"/>
                    </a:lnTo>
                    <a:lnTo>
                      <a:pt x="770" y="1240"/>
                    </a:lnTo>
                    <a:lnTo>
                      <a:pt x="770" y="1241"/>
                    </a:lnTo>
                    <a:lnTo>
                      <a:pt x="769" y="1241"/>
                    </a:lnTo>
                    <a:lnTo>
                      <a:pt x="768" y="1241"/>
                    </a:lnTo>
                    <a:lnTo>
                      <a:pt x="766" y="1242"/>
                    </a:lnTo>
                    <a:lnTo>
                      <a:pt x="765" y="1242"/>
                    </a:lnTo>
                    <a:lnTo>
                      <a:pt x="764" y="1242"/>
                    </a:lnTo>
                    <a:lnTo>
                      <a:pt x="764" y="1241"/>
                    </a:lnTo>
                    <a:lnTo>
                      <a:pt x="763" y="1239"/>
                    </a:lnTo>
                    <a:lnTo>
                      <a:pt x="763" y="1238"/>
                    </a:lnTo>
                    <a:lnTo>
                      <a:pt x="763" y="1237"/>
                    </a:lnTo>
                    <a:lnTo>
                      <a:pt x="764" y="1235"/>
                    </a:lnTo>
                    <a:close/>
                    <a:moveTo>
                      <a:pt x="752" y="1221"/>
                    </a:moveTo>
                    <a:lnTo>
                      <a:pt x="753" y="1221"/>
                    </a:lnTo>
                    <a:lnTo>
                      <a:pt x="753" y="1223"/>
                    </a:lnTo>
                    <a:lnTo>
                      <a:pt x="753" y="1224"/>
                    </a:lnTo>
                    <a:lnTo>
                      <a:pt x="752" y="1226"/>
                    </a:lnTo>
                    <a:lnTo>
                      <a:pt x="750" y="1226"/>
                    </a:lnTo>
                    <a:lnTo>
                      <a:pt x="748" y="1227"/>
                    </a:lnTo>
                    <a:lnTo>
                      <a:pt x="746" y="1227"/>
                    </a:lnTo>
                    <a:lnTo>
                      <a:pt x="745" y="1227"/>
                    </a:lnTo>
                    <a:lnTo>
                      <a:pt x="745" y="1225"/>
                    </a:lnTo>
                    <a:lnTo>
                      <a:pt x="746" y="1224"/>
                    </a:lnTo>
                    <a:lnTo>
                      <a:pt x="748" y="1222"/>
                    </a:lnTo>
                    <a:lnTo>
                      <a:pt x="749" y="1222"/>
                    </a:lnTo>
                    <a:lnTo>
                      <a:pt x="751" y="1221"/>
                    </a:lnTo>
                    <a:lnTo>
                      <a:pt x="752" y="1221"/>
                    </a:lnTo>
                    <a:close/>
                    <a:moveTo>
                      <a:pt x="765" y="1220"/>
                    </a:moveTo>
                    <a:lnTo>
                      <a:pt x="765" y="1220"/>
                    </a:lnTo>
                    <a:lnTo>
                      <a:pt x="766" y="1220"/>
                    </a:lnTo>
                    <a:lnTo>
                      <a:pt x="767" y="1221"/>
                    </a:lnTo>
                    <a:lnTo>
                      <a:pt x="768" y="1222"/>
                    </a:lnTo>
                    <a:lnTo>
                      <a:pt x="768" y="1222"/>
                    </a:lnTo>
                    <a:lnTo>
                      <a:pt x="769" y="1222"/>
                    </a:lnTo>
                    <a:lnTo>
                      <a:pt x="770" y="1223"/>
                    </a:lnTo>
                    <a:lnTo>
                      <a:pt x="770" y="1224"/>
                    </a:lnTo>
                    <a:lnTo>
                      <a:pt x="770" y="1225"/>
                    </a:lnTo>
                    <a:lnTo>
                      <a:pt x="769" y="1226"/>
                    </a:lnTo>
                    <a:lnTo>
                      <a:pt x="768" y="1226"/>
                    </a:lnTo>
                    <a:lnTo>
                      <a:pt x="768" y="1225"/>
                    </a:lnTo>
                    <a:lnTo>
                      <a:pt x="767" y="1225"/>
                    </a:lnTo>
                    <a:lnTo>
                      <a:pt x="766" y="1225"/>
                    </a:lnTo>
                    <a:lnTo>
                      <a:pt x="765" y="1225"/>
                    </a:lnTo>
                    <a:lnTo>
                      <a:pt x="764" y="1225"/>
                    </a:lnTo>
                    <a:lnTo>
                      <a:pt x="764" y="1224"/>
                    </a:lnTo>
                    <a:lnTo>
                      <a:pt x="764" y="1223"/>
                    </a:lnTo>
                    <a:lnTo>
                      <a:pt x="764" y="1221"/>
                    </a:lnTo>
                    <a:lnTo>
                      <a:pt x="764" y="1220"/>
                    </a:lnTo>
                    <a:lnTo>
                      <a:pt x="765" y="1220"/>
                    </a:lnTo>
                    <a:close/>
                    <a:moveTo>
                      <a:pt x="753" y="1204"/>
                    </a:moveTo>
                    <a:lnTo>
                      <a:pt x="756" y="1204"/>
                    </a:lnTo>
                    <a:lnTo>
                      <a:pt x="758" y="1205"/>
                    </a:lnTo>
                    <a:lnTo>
                      <a:pt x="759" y="1205"/>
                    </a:lnTo>
                    <a:lnTo>
                      <a:pt x="759" y="1205"/>
                    </a:lnTo>
                    <a:lnTo>
                      <a:pt x="759" y="1206"/>
                    </a:lnTo>
                    <a:lnTo>
                      <a:pt x="758" y="1207"/>
                    </a:lnTo>
                    <a:lnTo>
                      <a:pt x="758" y="1208"/>
                    </a:lnTo>
                    <a:lnTo>
                      <a:pt x="758" y="1208"/>
                    </a:lnTo>
                    <a:lnTo>
                      <a:pt x="758" y="1208"/>
                    </a:lnTo>
                    <a:lnTo>
                      <a:pt x="758" y="1209"/>
                    </a:lnTo>
                    <a:lnTo>
                      <a:pt x="759" y="1210"/>
                    </a:lnTo>
                    <a:lnTo>
                      <a:pt x="760" y="1212"/>
                    </a:lnTo>
                    <a:lnTo>
                      <a:pt x="761" y="1212"/>
                    </a:lnTo>
                    <a:lnTo>
                      <a:pt x="761" y="1213"/>
                    </a:lnTo>
                    <a:lnTo>
                      <a:pt x="761" y="1214"/>
                    </a:lnTo>
                    <a:lnTo>
                      <a:pt x="761" y="1216"/>
                    </a:lnTo>
                    <a:lnTo>
                      <a:pt x="760" y="1218"/>
                    </a:lnTo>
                    <a:lnTo>
                      <a:pt x="760" y="1218"/>
                    </a:lnTo>
                    <a:lnTo>
                      <a:pt x="758" y="1218"/>
                    </a:lnTo>
                    <a:lnTo>
                      <a:pt x="757" y="1218"/>
                    </a:lnTo>
                    <a:lnTo>
                      <a:pt x="755" y="1218"/>
                    </a:lnTo>
                    <a:lnTo>
                      <a:pt x="752" y="1217"/>
                    </a:lnTo>
                    <a:lnTo>
                      <a:pt x="750" y="1216"/>
                    </a:lnTo>
                    <a:lnTo>
                      <a:pt x="750" y="1215"/>
                    </a:lnTo>
                    <a:lnTo>
                      <a:pt x="750" y="1215"/>
                    </a:lnTo>
                    <a:lnTo>
                      <a:pt x="751" y="1214"/>
                    </a:lnTo>
                    <a:lnTo>
                      <a:pt x="752" y="1212"/>
                    </a:lnTo>
                    <a:lnTo>
                      <a:pt x="753" y="1210"/>
                    </a:lnTo>
                    <a:lnTo>
                      <a:pt x="752" y="1208"/>
                    </a:lnTo>
                    <a:lnTo>
                      <a:pt x="750" y="1208"/>
                    </a:lnTo>
                    <a:lnTo>
                      <a:pt x="749" y="1207"/>
                    </a:lnTo>
                    <a:lnTo>
                      <a:pt x="749" y="1206"/>
                    </a:lnTo>
                    <a:lnTo>
                      <a:pt x="750" y="1205"/>
                    </a:lnTo>
                    <a:lnTo>
                      <a:pt x="751" y="1204"/>
                    </a:lnTo>
                    <a:lnTo>
                      <a:pt x="753" y="1204"/>
                    </a:lnTo>
                    <a:close/>
                    <a:moveTo>
                      <a:pt x="446" y="849"/>
                    </a:moveTo>
                    <a:lnTo>
                      <a:pt x="453" y="853"/>
                    </a:lnTo>
                    <a:lnTo>
                      <a:pt x="457" y="857"/>
                    </a:lnTo>
                    <a:lnTo>
                      <a:pt x="461" y="863"/>
                    </a:lnTo>
                    <a:lnTo>
                      <a:pt x="467" y="864"/>
                    </a:lnTo>
                    <a:lnTo>
                      <a:pt x="472" y="866"/>
                    </a:lnTo>
                    <a:lnTo>
                      <a:pt x="478" y="866"/>
                    </a:lnTo>
                    <a:lnTo>
                      <a:pt x="482" y="867"/>
                    </a:lnTo>
                    <a:lnTo>
                      <a:pt x="485" y="870"/>
                    </a:lnTo>
                    <a:lnTo>
                      <a:pt x="485" y="872"/>
                    </a:lnTo>
                    <a:lnTo>
                      <a:pt x="485" y="873"/>
                    </a:lnTo>
                    <a:lnTo>
                      <a:pt x="484" y="874"/>
                    </a:lnTo>
                    <a:lnTo>
                      <a:pt x="482" y="875"/>
                    </a:lnTo>
                    <a:lnTo>
                      <a:pt x="480" y="875"/>
                    </a:lnTo>
                    <a:lnTo>
                      <a:pt x="479" y="875"/>
                    </a:lnTo>
                    <a:lnTo>
                      <a:pt x="477" y="876"/>
                    </a:lnTo>
                    <a:lnTo>
                      <a:pt x="476" y="876"/>
                    </a:lnTo>
                    <a:lnTo>
                      <a:pt x="467" y="874"/>
                    </a:lnTo>
                    <a:lnTo>
                      <a:pt x="458" y="870"/>
                    </a:lnTo>
                    <a:lnTo>
                      <a:pt x="455" y="870"/>
                    </a:lnTo>
                    <a:lnTo>
                      <a:pt x="451" y="870"/>
                    </a:lnTo>
                    <a:lnTo>
                      <a:pt x="448" y="869"/>
                    </a:lnTo>
                    <a:lnTo>
                      <a:pt x="446" y="869"/>
                    </a:lnTo>
                    <a:lnTo>
                      <a:pt x="443" y="867"/>
                    </a:lnTo>
                    <a:lnTo>
                      <a:pt x="439" y="861"/>
                    </a:lnTo>
                    <a:lnTo>
                      <a:pt x="438" y="856"/>
                    </a:lnTo>
                    <a:lnTo>
                      <a:pt x="440" y="851"/>
                    </a:lnTo>
                    <a:lnTo>
                      <a:pt x="446" y="849"/>
                    </a:lnTo>
                    <a:close/>
                    <a:moveTo>
                      <a:pt x="461" y="843"/>
                    </a:moveTo>
                    <a:lnTo>
                      <a:pt x="466" y="844"/>
                    </a:lnTo>
                    <a:lnTo>
                      <a:pt x="472" y="845"/>
                    </a:lnTo>
                    <a:lnTo>
                      <a:pt x="476" y="848"/>
                    </a:lnTo>
                    <a:lnTo>
                      <a:pt x="477" y="852"/>
                    </a:lnTo>
                    <a:lnTo>
                      <a:pt x="473" y="854"/>
                    </a:lnTo>
                    <a:lnTo>
                      <a:pt x="468" y="854"/>
                    </a:lnTo>
                    <a:lnTo>
                      <a:pt x="462" y="853"/>
                    </a:lnTo>
                    <a:lnTo>
                      <a:pt x="458" y="850"/>
                    </a:lnTo>
                    <a:lnTo>
                      <a:pt x="456" y="847"/>
                    </a:lnTo>
                    <a:lnTo>
                      <a:pt x="457" y="844"/>
                    </a:lnTo>
                    <a:lnTo>
                      <a:pt x="461" y="843"/>
                    </a:lnTo>
                    <a:close/>
                    <a:moveTo>
                      <a:pt x="432" y="841"/>
                    </a:moveTo>
                    <a:lnTo>
                      <a:pt x="434" y="841"/>
                    </a:lnTo>
                    <a:lnTo>
                      <a:pt x="436" y="842"/>
                    </a:lnTo>
                    <a:lnTo>
                      <a:pt x="438" y="843"/>
                    </a:lnTo>
                    <a:lnTo>
                      <a:pt x="440" y="844"/>
                    </a:lnTo>
                    <a:lnTo>
                      <a:pt x="442" y="844"/>
                    </a:lnTo>
                    <a:lnTo>
                      <a:pt x="442" y="845"/>
                    </a:lnTo>
                    <a:lnTo>
                      <a:pt x="443" y="846"/>
                    </a:lnTo>
                    <a:lnTo>
                      <a:pt x="443" y="847"/>
                    </a:lnTo>
                    <a:lnTo>
                      <a:pt x="442" y="848"/>
                    </a:lnTo>
                    <a:lnTo>
                      <a:pt x="442" y="849"/>
                    </a:lnTo>
                    <a:lnTo>
                      <a:pt x="440" y="849"/>
                    </a:lnTo>
                    <a:lnTo>
                      <a:pt x="436" y="849"/>
                    </a:lnTo>
                    <a:lnTo>
                      <a:pt x="432" y="848"/>
                    </a:lnTo>
                    <a:lnTo>
                      <a:pt x="430" y="846"/>
                    </a:lnTo>
                    <a:lnTo>
                      <a:pt x="429" y="845"/>
                    </a:lnTo>
                    <a:lnTo>
                      <a:pt x="428" y="843"/>
                    </a:lnTo>
                    <a:lnTo>
                      <a:pt x="428" y="842"/>
                    </a:lnTo>
                    <a:lnTo>
                      <a:pt x="430" y="841"/>
                    </a:lnTo>
                    <a:lnTo>
                      <a:pt x="432" y="841"/>
                    </a:lnTo>
                    <a:close/>
                    <a:moveTo>
                      <a:pt x="577" y="826"/>
                    </a:moveTo>
                    <a:lnTo>
                      <a:pt x="578" y="827"/>
                    </a:lnTo>
                    <a:lnTo>
                      <a:pt x="580" y="829"/>
                    </a:lnTo>
                    <a:lnTo>
                      <a:pt x="581" y="831"/>
                    </a:lnTo>
                    <a:lnTo>
                      <a:pt x="581" y="834"/>
                    </a:lnTo>
                    <a:lnTo>
                      <a:pt x="581" y="838"/>
                    </a:lnTo>
                    <a:lnTo>
                      <a:pt x="580" y="840"/>
                    </a:lnTo>
                    <a:lnTo>
                      <a:pt x="579" y="840"/>
                    </a:lnTo>
                    <a:lnTo>
                      <a:pt x="578" y="840"/>
                    </a:lnTo>
                    <a:lnTo>
                      <a:pt x="576" y="838"/>
                    </a:lnTo>
                    <a:lnTo>
                      <a:pt x="575" y="837"/>
                    </a:lnTo>
                    <a:lnTo>
                      <a:pt x="575" y="835"/>
                    </a:lnTo>
                    <a:lnTo>
                      <a:pt x="574" y="833"/>
                    </a:lnTo>
                    <a:lnTo>
                      <a:pt x="574" y="830"/>
                    </a:lnTo>
                    <a:lnTo>
                      <a:pt x="575" y="828"/>
                    </a:lnTo>
                    <a:lnTo>
                      <a:pt x="576" y="827"/>
                    </a:lnTo>
                    <a:lnTo>
                      <a:pt x="577" y="826"/>
                    </a:lnTo>
                    <a:close/>
                    <a:moveTo>
                      <a:pt x="452" y="817"/>
                    </a:moveTo>
                    <a:lnTo>
                      <a:pt x="455" y="817"/>
                    </a:lnTo>
                    <a:lnTo>
                      <a:pt x="456" y="817"/>
                    </a:lnTo>
                    <a:lnTo>
                      <a:pt x="458" y="817"/>
                    </a:lnTo>
                    <a:lnTo>
                      <a:pt x="460" y="818"/>
                    </a:lnTo>
                    <a:lnTo>
                      <a:pt x="460" y="818"/>
                    </a:lnTo>
                    <a:lnTo>
                      <a:pt x="460" y="819"/>
                    </a:lnTo>
                    <a:lnTo>
                      <a:pt x="461" y="820"/>
                    </a:lnTo>
                    <a:lnTo>
                      <a:pt x="460" y="821"/>
                    </a:lnTo>
                    <a:lnTo>
                      <a:pt x="460" y="822"/>
                    </a:lnTo>
                    <a:lnTo>
                      <a:pt x="459" y="822"/>
                    </a:lnTo>
                    <a:lnTo>
                      <a:pt x="456" y="823"/>
                    </a:lnTo>
                    <a:lnTo>
                      <a:pt x="454" y="823"/>
                    </a:lnTo>
                    <a:lnTo>
                      <a:pt x="452" y="822"/>
                    </a:lnTo>
                    <a:lnTo>
                      <a:pt x="451" y="822"/>
                    </a:lnTo>
                    <a:lnTo>
                      <a:pt x="450" y="820"/>
                    </a:lnTo>
                    <a:lnTo>
                      <a:pt x="449" y="819"/>
                    </a:lnTo>
                    <a:lnTo>
                      <a:pt x="449" y="818"/>
                    </a:lnTo>
                    <a:lnTo>
                      <a:pt x="450" y="817"/>
                    </a:lnTo>
                    <a:lnTo>
                      <a:pt x="452" y="817"/>
                    </a:lnTo>
                    <a:close/>
                    <a:moveTo>
                      <a:pt x="1248" y="816"/>
                    </a:moveTo>
                    <a:lnTo>
                      <a:pt x="1249" y="817"/>
                    </a:lnTo>
                    <a:lnTo>
                      <a:pt x="1250" y="817"/>
                    </a:lnTo>
                    <a:lnTo>
                      <a:pt x="1251" y="818"/>
                    </a:lnTo>
                    <a:lnTo>
                      <a:pt x="1250" y="819"/>
                    </a:lnTo>
                    <a:lnTo>
                      <a:pt x="1249" y="821"/>
                    </a:lnTo>
                    <a:lnTo>
                      <a:pt x="1248" y="822"/>
                    </a:lnTo>
                    <a:lnTo>
                      <a:pt x="1247" y="821"/>
                    </a:lnTo>
                    <a:lnTo>
                      <a:pt x="1246" y="820"/>
                    </a:lnTo>
                    <a:lnTo>
                      <a:pt x="1246" y="818"/>
                    </a:lnTo>
                    <a:lnTo>
                      <a:pt x="1248" y="816"/>
                    </a:lnTo>
                    <a:close/>
                    <a:moveTo>
                      <a:pt x="477" y="809"/>
                    </a:moveTo>
                    <a:lnTo>
                      <a:pt x="479" y="809"/>
                    </a:lnTo>
                    <a:lnTo>
                      <a:pt x="482" y="810"/>
                    </a:lnTo>
                    <a:lnTo>
                      <a:pt x="485" y="811"/>
                    </a:lnTo>
                    <a:lnTo>
                      <a:pt x="487" y="812"/>
                    </a:lnTo>
                    <a:lnTo>
                      <a:pt x="487" y="819"/>
                    </a:lnTo>
                    <a:lnTo>
                      <a:pt x="486" y="821"/>
                    </a:lnTo>
                    <a:lnTo>
                      <a:pt x="485" y="821"/>
                    </a:lnTo>
                    <a:lnTo>
                      <a:pt x="483" y="821"/>
                    </a:lnTo>
                    <a:lnTo>
                      <a:pt x="481" y="820"/>
                    </a:lnTo>
                    <a:lnTo>
                      <a:pt x="479" y="819"/>
                    </a:lnTo>
                    <a:lnTo>
                      <a:pt x="478" y="818"/>
                    </a:lnTo>
                    <a:lnTo>
                      <a:pt x="477" y="817"/>
                    </a:lnTo>
                    <a:lnTo>
                      <a:pt x="475" y="814"/>
                    </a:lnTo>
                    <a:lnTo>
                      <a:pt x="475" y="812"/>
                    </a:lnTo>
                    <a:lnTo>
                      <a:pt x="475" y="810"/>
                    </a:lnTo>
                    <a:lnTo>
                      <a:pt x="476" y="809"/>
                    </a:lnTo>
                    <a:lnTo>
                      <a:pt x="477" y="809"/>
                    </a:lnTo>
                    <a:close/>
                    <a:moveTo>
                      <a:pt x="1316" y="757"/>
                    </a:moveTo>
                    <a:lnTo>
                      <a:pt x="1317" y="757"/>
                    </a:lnTo>
                    <a:lnTo>
                      <a:pt x="1318" y="758"/>
                    </a:lnTo>
                    <a:lnTo>
                      <a:pt x="1318" y="759"/>
                    </a:lnTo>
                    <a:lnTo>
                      <a:pt x="1317" y="761"/>
                    </a:lnTo>
                    <a:lnTo>
                      <a:pt x="1316" y="762"/>
                    </a:lnTo>
                    <a:lnTo>
                      <a:pt x="1315" y="763"/>
                    </a:lnTo>
                    <a:lnTo>
                      <a:pt x="1313" y="763"/>
                    </a:lnTo>
                    <a:lnTo>
                      <a:pt x="1313" y="762"/>
                    </a:lnTo>
                    <a:lnTo>
                      <a:pt x="1313" y="760"/>
                    </a:lnTo>
                    <a:lnTo>
                      <a:pt x="1314" y="759"/>
                    </a:lnTo>
                    <a:lnTo>
                      <a:pt x="1315" y="758"/>
                    </a:lnTo>
                    <a:lnTo>
                      <a:pt x="1316" y="757"/>
                    </a:lnTo>
                    <a:close/>
                    <a:moveTo>
                      <a:pt x="856" y="730"/>
                    </a:moveTo>
                    <a:lnTo>
                      <a:pt x="859" y="731"/>
                    </a:lnTo>
                    <a:lnTo>
                      <a:pt x="861" y="731"/>
                    </a:lnTo>
                    <a:lnTo>
                      <a:pt x="861" y="732"/>
                    </a:lnTo>
                    <a:lnTo>
                      <a:pt x="860" y="733"/>
                    </a:lnTo>
                    <a:lnTo>
                      <a:pt x="859" y="734"/>
                    </a:lnTo>
                    <a:lnTo>
                      <a:pt x="856" y="734"/>
                    </a:lnTo>
                    <a:lnTo>
                      <a:pt x="854" y="735"/>
                    </a:lnTo>
                    <a:lnTo>
                      <a:pt x="852" y="735"/>
                    </a:lnTo>
                    <a:lnTo>
                      <a:pt x="851" y="734"/>
                    </a:lnTo>
                    <a:lnTo>
                      <a:pt x="850" y="733"/>
                    </a:lnTo>
                    <a:lnTo>
                      <a:pt x="849" y="732"/>
                    </a:lnTo>
                    <a:lnTo>
                      <a:pt x="848" y="732"/>
                    </a:lnTo>
                    <a:lnTo>
                      <a:pt x="849" y="731"/>
                    </a:lnTo>
                    <a:lnTo>
                      <a:pt x="850" y="731"/>
                    </a:lnTo>
                    <a:lnTo>
                      <a:pt x="853" y="730"/>
                    </a:lnTo>
                    <a:lnTo>
                      <a:pt x="856" y="730"/>
                    </a:lnTo>
                    <a:close/>
                    <a:moveTo>
                      <a:pt x="821" y="722"/>
                    </a:moveTo>
                    <a:lnTo>
                      <a:pt x="824" y="722"/>
                    </a:lnTo>
                    <a:lnTo>
                      <a:pt x="826" y="723"/>
                    </a:lnTo>
                    <a:lnTo>
                      <a:pt x="828" y="724"/>
                    </a:lnTo>
                    <a:lnTo>
                      <a:pt x="830" y="725"/>
                    </a:lnTo>
                    <a:lnTo>
                      <a:pt x="833" y="726"/>
                    </a:lnTo>
                    <a:lnTo>
                      <a:pt x="836" y="725"/>
                    </a:lnTo>
                    <a:lnTo>
                      <a:pt x="838" y="726"/>
                    </a:lnTo>
                    <a:lnTo>
                      <a:pt x="838" y="726"/>
                    </a:lnTo>
                    <a:lnTo>
                      <a:pt x="838" y="727"/>
                    </a:lnTo>
                    <a:lnTo>
                      <a:pt x="838" y="728"/>
                    </a:lnTo>
                    <a:lnTo>
                      <a:pt x="836" y="728"/>
                    </a:lnTo>
                    <a:lnTo>
                      <a:pt x="834" y="728"/>
                    </a:lnTo>
                    <a:lnTo>
                      <a:pt x="832" y="729"/>
                    </a:lnTo>
                    <a:lnTo>
                      <a:pt x="830" y="729"/>
                    </a:lnTo>
                    <a:lnTo>
                      <a:pt x="827" y="729"/>
                    </a:lnTo>
                    <a:lnTo>
                      <a:pt x="824" y="728"/>
                    </a:lnTo>
                    <a:lnTo>
                      <a:pt x="822" y="727"/>
                    </a:lnTo>
                    <a:lnTo>
                      <a:pt x="820" y="726"/>
                    </a:lnTo>
                    <a:lnTo>
                      <a:pt x="818" y="725"/>
                    </a:lnTo>
                    <a:lnTo>
                      <a:pt x="817" y="724"/>
                    </a:lnTo>
                    <a:lnTo>
                      <a:pt x="817" y="724"/>
                    </a:lnTo>
                    <a:lnTo>
                      <a:pt x="817" y="723"/>
                    </a:lnTo>
                    <a:lnTo>
                      <a:pt x="819" y="722"/>
                    </a:lnTo>
                    <a:lnTo>
                      <a:pt x="821" y="722"/>
                    </a:lnTo>
                    <a:close/>
                    <a:moveTo>
                      <a:pt x="927" y="714"/>
                    </a:moveTo>
                    <a:lnTo>
                      <a:pt x="930" y="714"/>
                    </a:lnTo>
                    <a:lnTo>
                      <a:pt x="931" y="715"/>
                    </a:lnTo>
                    <a:lnTo>
                      <a:pt x="932" y="716"/>
                    </a:lnTo>
                    <a:lnTo>
                      <a:pt x="932" y="718"/>
                    </a:lnTo>
                    <a:lnTo>
                      <a:pt x="929" y="719"/>
                    </a:lnTo>
                    <a:lnTo>
                      <a:pt x="927" y="719"/>
                    </a:lnTo>
                    <a:lnTo>
                      <a:pt x="924" y="719"/>
                    </a:lnTo>
                    <a:lnTo>
                      <a:pt x="922" y="718"/>
                    </a:lnTo>
                    <a:lnTo>
                      <a:pt x="921" y="717"/>
                    </a:lnTo>
                    <a:lnTo>
                      <a:pt x="921" y="716"/>
                    </a:lnTo>
                    <a:lnTo>
                      <a:pt x="922" y="714"/>
                    </a:lnTo>
                    <a:lnTo>
                      <a:pt x="925" y="714"/>
                    </a:lnTo>
                    <a:lnTo>
                      <a:pt x="927" y="714"/>
                    </a:lnTo>
                    <a:close/>
                    <a:moveTo>
                      <a:pt x="929" y="696"/>
                    </a:moveTo>
                    <a:lnTo>
                      <a:pt x="930" y="697"/>
                    </a:lnTo>
                    <a:lnTo>
                      <a:pt x="931" y="698"/>
                    </a:lnTo>
                    <a:lnTo>
                      <a:pt x="932" y="699"/>
                    </a:lnTo>
                    <a:lnTo>
                      <a:pt x="932" y="699"/>
                    </a:lnTo>
                    <a:lnTo>
                      <a:pt x="932" y="700"/>
                    </a:lnTo>
                    <a:lnTo>
                      <a:pt x="931" y="701"/>
                    </a:lnTo>
                    <a:lnTo>
                      <a:pt x="930" y="703"/>
                    </a:lnTo>
                    <a:lnTo>
                      <a:pt x="928" y="703"/>
                    </a:lnTo>
                    <a:lnTo>
                      <a:pt x="927" y="703"/>
                    </a:lnTo>
                    <a:lnTo>
                      <a:pt x="926" y="703"/>
                    </a:lnTo>
                    <a:lnTo>
                      <a:pt x="926" y="701"/>
                    </a:lnTo>
                    <a:lnTo>
                      <a:pt x="926" y="701"/>
                    </a:lnTo>
                    <a:lnTo>
                      <a:pt x="927" y="700"/>
                    </a:lnTo>
                    <a:lnTo>
                      <a:pt x="928" y="699"/>
                    </a:lnTo>
                    <a:lnTo>
                      <a:pt x="928" y="697"/>
                    </a:lnTo>
                    <a:lnTo>
                      <a:pt x="929" y="696"/>
                    </a:lnTo>
                    <a:close/>
                    <a:moveTo>
                      <a:pt x="927" y="680"/>
                    </a:moveTo>
                    <a:lnTo>
                      <a:pt x="929" y="680"/>
                    </a:lnTo>
                    <a:lnTo>
                      <a:pt x="929" y="681"/>
                    </a:lnTo>
                    <a:lnTo>
                      <a:pt x="930" y="682"/>
                    </a:lnTo>
                    <a:lnTo>
                      <a:pt x="932" y="683"/>
                    </a:lnTo>
                    <a:lnTo>
                      <a:pt x="933" y="684"/>
                    </a:lnTo>
                    <a:lnTo>
                      <a:pt x="933" y="686"/>
                    </a:lnTo>
                    <a:lnTo>
                      <a:pt x="933" y="688"/>
                    </a:lnTo>
                    <a:lnTo>
                      <a:pt x="932" y="691"/>
                    </a:lnTo>
                    <a:lnTo>
                      <a:pt x="930" y="693"/>
                    </a:lnTo>
                    <a:lnTo>
                      <a:pt x="929" y="695"/>
                    </a:lnTo>
                    <a:lnTo>
                      <a:pt x="928" y="695"/>
                    </a:lnTo>
                    <a:lnTo>
                      <a:pt x="927" y="695"/>
                    </a:lnTo>
                    <a:lnTo>
                      <a:pt x="927" y="693"/>
                    </a:lnTo>
                    <a:lnTo>
                      <a:pt x="927" y="692"/>
                    </a:lnTo>
                    <a:lnTo>
                      <a:pt x="927" y="691"/>
                    </a:lnTo>
                    <a:lnTo>
                      <a:pt x="928" y="689"/>
                    </a:lnTo>
                    <a:lnTo>
                      <a:pt x="929" y="688"/>
                    </a:lnTo>
                    <a:lnTo>
                      <a:pt x="929" y="687"/>
                    </a:lnTo>
                    <a:lnTo>
                      <a:pt x="928" y="686"/>
                    </a:lnTo>
                    <a:lnTo>
                      <a:pt x="928" y="685"/>
                    </a:lnTo>
                    <a:lnTo>
                      <a:pt x="927" y="684"/>
                    </a:lnTo>
                    <a:lnTo>
                      <a:pt x="927" y="683"/>
                    </a:lnTo>
                    <a:lnTo>
                      <a:pt x="926" y="682"/>
                    </a:lnTo>
                    <a:lnTo>
                      <a:pt x="926" y="681"/>
                    </a:lnTo>
                    <a:lnTo>
                      <a:pt x="927" y="680"/>
                    </a:lnTo>
                    <a:lnTo>
                      <a:pt x="927" y="680"/>
                    </a:lnTo>
                    <a:close/>
                    <a:moveTo>
                      <a:pt x="1819" y="659"/>
                    </a:moveTo>
                    <a:lnTo>
                      <a:pt x="1818" y="660"/>
                    </a:lnTo>
                    <a:lnTo>
                      <a:pt x="1817" y="661"/>
                    </a:lnTo>
                    <a:lnTo>
                      <a:pt x="1816" y="663"/>
                    </a:lnTo>
                    <a:lnTo>
                      <a:pt x="1815" y="665"/>
                    </a:lnTo>
                    <a:lnTo>
                      <a:pt x="1815" y="665"/>
                    </a:lnTo>
                    <a:lnTo>
                      <a:pt x="1815" y="667"/>
                    </a:lnTo>
                    <a:lnTo>
                      <a:pt x="1814" y="669"/>
                    </a:lnTo>
                    <a:lnTo>
                      <a:pt x="1813" y="671"/>
                    </a:lnTo>
                    <a:lnTo>
                      <a:pt x="1812" y="673"/>
                    </a:lnTo>
                    <a:lnTo>
                      <a:pt x="1811" y="675"/>
                    </a:lnTo>
                    <a:lnTo>
                      <a:pt x="1811" y="677"/>
                    </a:lnTo>
                    <a:lnTo>
                      <a:pt x="1810" y="682"/>
                    </a:lnTo>
                    <a:lnTo>
                      <a:pt x="1808" y="688"/>
                    </a:lnTo>
                    <a:lnTo>
                      <a:pt x="1808" y="692"/>
                    </a:lnTo>
                    <a:lnTo>
                      <a:pt x="1809" y="696"/>
                    </a:lnTo>
                    <a:lnTo>
                      <a:pt x="1809" y="691"/>
                    </a:lnTo>
                    <a:lnTo>
                      <a:pt x="1810" y="689"/>
                    </a:lnTo>
                    <a:lnTo>
                      <a:pt x="1811" y="687"/>
                    </a:lnTo>
                    <a:lnTo>
                      <a:pt x="1811" y="685"/>
                    </a:lnTo>
                    <a:lnTo>
                      <a:pt x="1817" y="673"/>
                    </a:lnTo>
                    <a:lnTo>
                      <a:pt x="1817" y="672"/>
                    </a:lnTo>
                    <a:lnTo>
                      <a:pt x="1818" y="670"/>
                    </a:lnTo>
                    <a:lnTo>
                      <a:pt x="1818" y="668"/>
                    </a:lnTo>
                    <a:lnTo>
                      <a:pt x="1819" y="665"/>
                    </a:lnTo>
                    <a:lnTo>
                      <a:pt x="1820" y="663"/>
                    </a:lnTo>
                    <a:lnTo>
                      <a:pt x="1820" y="661"/>
                    </a:lnTo>
                    <a:lnTo>
                      <a:pt x="1820" y="660"/>
                    </a:lnTo>
                    <a:lnTo>
                      <a:pt x="1819" y="659"/>
                    </a:lnTo>
                    <a:close/>
                    <a:moveTo>
                      <a:pt x="914" y="655"/>
                    </a:moveTo>
                    <a:lnTo>
                      <a:pt x="917" y="655"/>
                    </a:lnTo>
                    <a:lnTo>
                      <a:pt x="921" y="657"/>
                    </a:lnTo>
                    <a:lnTo>
                      <a:pt x="923" y="660"/>
                    </a:lnTo>
                    <a:lnTo>
                      <a:pt x="924" y="662"/>
                    </a:lnTo>
                    <a:lnTo>
                      <a:pt x="925" y="664"/>
                    </a:lnTo>
                    <a:lnTo>
                      <a:pt x="924" y="666"/>
                    </a:lnTo>
                    <a:lnTo>
                      <a:pt x="924" y="667"/>
                    </a:lnTo>
                    <a:lnTo>
                      <a:pt x="925" y="667"/>
                    </a:lnTo>
                    <a:lnTo>
                      <a:pt x="926" y="667"/>
                    </a:lnTo>
                    <a:lnTo>
                      <a:pt x="927" y="668"/>
                    </a:lnTo>
                    <a:lnTo>
                      <a:pt x="928" y="668"/>
                    </a:lnTo>
                    <a:lnTo>
                      <a:pt x="929" y="669"/>
                    </a:lnTo>
                    <a:lnTo>
                      <a:pt x="931" y="670"/>
                    </a:lnTo>
                    <a:lnTo>
                      <a:pt x="931" y="671"/>
                    </a:lnTo>
                    <a:lnTo>
                      <a:pt x="930" y="672"/>
                    </a:lnTo>
                    <a:lnTo>
                      <a:pt x="928" y="674"/>
                    </a:lnTo>
                    <a:lnTo>
                      <a:pt x="926" y="675"/>
                    </a:lnTo>
                    <a:lnTo>
                      <a:pt x="924" y="675"/>
                    </a:lnTo>
                    <a:lnTo>
                      <a:pt x="922" y="675"/>
                    </a:lnTo>
                    <a:lnTo>
                      <a:pt x="920" y="673"/>
                    </a:lnTo>
                    <a:lnTo>
                      <a:pt x="920" y="669"/>
                    </a:lnTo>
                    <a:lnTo>
                      <a:pt x="918" y="668"/>
                    </a:lnTo>
                    <a:lnTo>
                      <a:pt x="917" y="668"/>
                    </a:lnTo>
                    <a:lnTo>
                      <a:pt x="916" y="668"/>
                    </a:lnTo>
                    <a:lnTo>
                      <a:pt x="915" y="667"/>
                    </a:lnTo>
                    <a:lnTo>
                      <a:pt x="915" y="666"/>
                    </a:lnTo>
                    <a:lnTo>
                      <a:pt x="916" y="665"/>
                    </a:lnTo>
                    <a:lnTo>
                      <a:pt x="915" y="664"/>
                    </a:lnTo>
                    <a:lnTo>
                      <a:pt x="915" y="663"/>
                    </a:lnTo>
                    <a:lnTo>
                      <a:pt x="913" y="663"/>
                    </a:lnTo>
                    <a:lnTo>
                      <a:pt x="912" y="663"/>
                    </a:lnTo>
                    <a:lnTo>
                      <a:pt x="910" y="663"/>
                    </a:lnTo>
                    <a:lnTo>
                      <a:pt x="906" y="662"/>
                    </a:lnTo>
                    <a:lnTo>
                      <a:pt x="905" y="662"/>
                    </a:lnTo>
                    <a:lnTo>
                      <a:pt x="904" y="661"/>
                    </a:lnTo>
                    <a:lnTo>
                      <a:pt x="904" y="660"/>
                    </a:lnTo>
                    <a:lnTo>
                      <a:pt x="905" y="658"/>
                    </a:lnTo>
                    <a:lnTo>
                      <a:pt x="906" y="657"/>
                    </a:lnTo>
                    <a:lnTo>
                      <a:pt x="909" y="656"/>
                    </a:lnTo>
                    <a:lnTo>
                      <a:pt x="911" y="655"/>
                    </a:lnTo>
                    <a:lnTo>
                      <a:pt x="914" y="655"/>
                    </a:lnTo>
                    <a:close/>
                    <a:moveTo>
                      <a:pt x="905" y="644"/>
                    </a:moveTo>
                    <a:lnTo>
                      <a:pt x="909" y="645"/>
                    </a:lnTo>
                    <a:lnTo>
                      <a:pt x="911" y="646"/>
                    </a:lnTo>
                    <a:lnTo>
                      <a:pt x="913" y="647"/>
                    </a:lnTo>
                    <a:lnTo>
                      <a:pt x="914" y="648"/>
                    </a:lnTo>
                    <a:lnTo>
                      <a:pt x="914" y="650"/>
                    </a:lnTo>
                    <a:lnTo>
                      <a:pt x="913" y="651"/>
                    </a:lnTo>
                    <a:lnTo>
                      <a:pt x="912" y="652"/>
                    </a:lnTo>
                    <a:lnTo>
                      <a:pt x="909" y="653"/>
                    </a:lnTo>
                    <a:lnTo>
                      <a:pt x="905" y="652"/>
                    </a:lnTo>
                    <a:lnTo>
                      <a:pt x="903" y="651"/>
                    </a:lnTo>
                    <a:lnTo>
                      <a:pt x="902" y="650"/>
                    </a:lnTo>
                    <a:lnTo>
                      <a:pt x="902" y="648"/>
                    </a:lnTo>
                    <a:lnTo>
                      <a:pt x="903" y="646"/>
                    </a:lnTo>
                    <a:lnTo>
                      <a:pt x="905" y="644"/>
                    </a:lnTo>
                    <a:close/>
                    <a:moveTo>
                      <a:pt x="1894" y="642"/>
                    </a:moveTo>
                    <a:lnTo>
                      <a:pt x="1894" y="642"/>
                    </a:lnTo>
                    <a:lnTo>
                      <a:pt x="1895" y="644"/>
                    </a:lnTo>
                    <a:lnTo>
                      <a:pt x="1895" y="645"/>
                    </a:lnTo>
                    <a:lnTo>
                      <a:pt x="1895" y="647"/>
                    </a:lnTo>
                    <a:lnTo>
                      <a:pt x="1894" y="650"/>
                    </a:lnTo>
                    <a:lnTo>
                      <a:pt x="1894" y="652"/>
                    </a:lnTo>
                    <a:lnTo>
                      <a:pt x="1894" y="653"/>
                    </a:lnTo>
                    <a:lnTo>
                      <a:pt x="1894" y="654"/>
                    </a:lnTo>
                    <a:lnTo>
                      <a:pt x="1895" y="655"/>
                    </a:lnTo>
                    <a:lnTo>
                      <a:pt x="1896" y="656"/>
                    </a:lnTo>
                    <a:lnTo>
                      <a:pt x="1896" y="658"/>
                    </a:lnTo>
                    <a:lnTo>
                      <a:pt x="1895" y="660"/>
                    </a:lnTo>
                    <a:lnTo>
                      <a:pt x="1894" y="662"/>
                    </a:lnTo>
                    <a:lnTo>
                      <a:pt x="1894" y="665"/>
                    </a:lnTo>
                    <a:lnTo>
                      <a:pt x="1894" y="667"/>
                    </a:lnTo>
                    <a:lnTo>
                      <a:pt x="1892" y="669"/>
                    </a:lnTo>
                    <a:lnTo>
                      <a:pt x="1890" y="671"/>
                    </a:lnTo>
                    <a:lnTo>
                      <a:pt x="1889" y="673"/>
                    </a:lnTo>
                    <a:lnTo>
                      <a:pt x="1887" y="676"/>
                    </a:lnTo>
                    <a:lnTo>
                      <a:pt x="1887" y="679"/>
                    </a:lnTo>
                    <a:lnTo>
                      <a:pt x="1885" y="683"/>
                    </a:lnTo>
                    <a:lnTo>
                      <a:pt x="1883" y="685"/>
                    </a:lnTo>
                    <a:lnTo>
                      <a:pt x="1882" y="687"/>
                    </a:lnTo>
                    <a:lnTo>
                      <a:pt x="1881" y="689"/>
                    </a:lnTo>
                    <a:lnTo>
                      <a:pt x="1880" y="692"/>
                    </a:lnTo>
                    <a:lnTo>
                      <a:pt x="1879" y="695"/>
                    </a:lnTo>
                    <a:lnTo>
                      <a:pt x="1878" y="697"/>
                    </a:lnTo>
                    <a:lnTo>
                      <a:pt x="1877" y="700"/>
                    </a:lnTo>
                    <a:lnTo>
                      <a:pt x="1865" y="725"/>
                    </a:lnTo>
                    <a:lnTo>
                      <a:pt x="1861" y="735"/>
                    </a:lnTo>
                    <a:lnTo>
                      <a:pt x="1856" y="745"/>
                    </a:lnTo>
                    <a:lnTo>
                      <a:pt x="1850" y="758"/>
                    </a:lnTo>
                    <a:lnTo>
                      <a:pt x="1849" y="760"/>
                    </a:lnTo>
                    <a:lnTo>
                      <a:pt x="1848" y="761"/>
                    </a:lnTo>
                    <a:lnTo>
                      <a:pt x="1846" y="763"/>
                    </a:lnTo>
                    <a:lnTo>
                      <a:pt x="1846" y="764"/>
                    </a:lnTo>
                    <a:lnTo>
                      <a:pt x="1843" y="766"/>
                    </a:lnTo>
                    <a:lnTo>
                      <a:pt x="1841" y="768"/>
                    </a:lnTo>
                    <a:lnTo>
                      <a:pt x="1839" y="770"/>
                    </a:lnTo>
                    <a:lnTo>
                      <a:pt x="1837" y="771"/>
                    </a:lnTo>
                    <a:lnTo>
                      <a:pt x="1834" y="771"/>
                    </a:lnTo>
                    <a:lnTo>
                      <a:pt x="1833" y="771"/>
                    </a:lnTo>
                    <a:lnTo>
                      <a:pt x="1832" y="769"/>
                    </a:lnTo>
                    <a:lnTo>
                      <a:pt x="1830" y="768"/>
                    </a:lnTo>
                    <a:lnTo>
                      <a:pt x="1829" y="767"/>
                    </a:lnTo>
                    <a:lnTo>
                      <a:pt x="1828" y="765"/>
                    </a:lnTo>
                    <a:lnTo>
                      <a:pt x="1828" y="763"/>
                    </a:lnTo>
                    <a:lnTo>
                      <a:pt x="1829" y="760"/>
                    </a:lnTo>
                    <a:lnTo>
                      <a:pt x="1830" y="758"/>
                    </a:lnTo>
                    <a:lnTo>
                      <a:pt x="1831" y="756"/>
                    </a:lnTo>
                    <a:lnTo>
                      <a:pt x="1831" y="755"/>
                    </a:lnTo>
                    <a:lnTo>
                      <a:pt x="1831" y="754"/>
                    </a:lnTo>
                    <a:lnTo>
                      <a:pt x="1831" y="753"/>
                    </a:lnTo>
                    <a:lnTo>
                      <a:pt x="1831" y="752"/>
                    </a:lnTo>
                    <a:lnTo>
                      <a:pt x="1831" y="749"/>
                    </a:lnTo>
                    <a:lnTo>
                      <a:pt x="1831" y="747"/>
                    </a:lnTo>
                    <a:lnTo>
                      <a:pt x="1832" y="745"/>
                    </a:lnTo>
                    <a:lnTo>
                      <a:pt x="1832" y="743"/>
                    </a:lnTo>
                    <a:lnTo>
                      <a:pt x="1834" y="742"/>
                    </a:lnTo>
                    <a:lnTo>
                      <a:pt x="1836" y="741"/>
                    </a:lnTo>
                    <a:lnTo>
                      <a:pt x="1837" y="739"/>
                    </a:lnTo>
                    <a:lnTo>
                      <a:pt x="1838" y="737"/>
                    </a:lnTo>
                    <a:lnTo>
                      <a:pt x="1839" y="735"/>
                    </a:lnTo>
                    <a:lnTo>
                      <a:pt x="1840" y="733"/>
                    </a:lnTo>
                    <a:lnTo>
                      <a:pt x="1845" y="724"/>
                    </a:lnTo>
                    <a:lnTo>
                      <a:pt x="1848" y="714"/>
                    </a:lnTo>
                    <a:lnTo>
                      <a:pt x="1849" y="710"/>
                    </a:lnTo>
                    <a:lnTo>
                      <a:pt x="1850" y="706"/>
                    </a:lnTo>
                    <a:lnTo>
                      <a:pt x="1852" y="702"/>
                    </a:lnTo>
                    <a:lnTo>
                      <a:pt x="1852" y="700"/>
                    </a:lnTo>
                    <a:lnTo>
                      <a:pt x="1853" y="698"/>
                    </a:lnTo>
                    <a:lnTo>
                      <a:pt x="1853" y="696"/>
                    </a:lnTo>
                    <a:lnTo>
                      <a:pt x="1854" y="693"/>
                    </a:lnTo>
                    <a:lnTo>
                      <a:pt x="1855" y="691"/>
                    </a:lnTo>
                    <a:lnTo>
                      <a:pt x="1857" y="689"/>
                    </a:lnTo>
                    <a:lnTo>
                      <a:pt x="1859" y="687"/>
                    </a:lnTo>
                    <a:lnTo>
                      <a:pt x="1861" y="685"/>
                    </a:lnTo>
                    <a:lnTo>
                      <a:pt x="1861" y="683"/>
                    </a:lnTo>
                    <a:lnTo>
                      <a:pt x="1863" y="681"/>
                    </a:lnTo>
                    <a:lnTo>
                      <a:pt x="1865" y="680"/>
                    </a:lnTo>
                    <a:lnTo>
                      <a:pt x="1867" y="679"/>
                    </a:lnTo>
                    <a:lnTo>
                      <a:pt x="1873" y="673"/>
                    </a:lnTo>
                    <a:lnTo>
                      <a:pt x="1874" y="672"/>
                    </a:lnTo>
                    <a:lnTo>
                      <a:pt x="1875" y="670"/>
                    </a:lnTo>
                    <a:lnTo>
                      <a:pt x="1877" y="668"/>
                    </a:lnTo>
                    <a:lnTo>
                      <a:pt x="1879" y="667"/>
                    </a:lnTo>
                    <a:lnTo>
                      <a:pt x="1881" y="665"/>
                    </a:lnTo>
                    <a:lnTo>
                      <a:pt x="1881" y="663"/>
                    </a:lnTo>
                    <a:lnTo>
                      <a:pt x="1881" y="662"/>
                    </a:lnTo>
                    <a:lnTo>
                      <a:pt x="1881" y="662"/>
                    </a:lnTo>
                    <a:lnTo>
                      <a:pt x="1880" y="662"/>
                    </a:lnTo>
                    <a:lnTo>
                      <a:pt x="1880" y="662"/>
                    </a:lnTo>
                    <a:lnTo>
                      <a:pt x="1879" y="660"/>
                    </a:lnTo>
                    <a:lnTo>
                      <a:pt x="1880" y="658"/>
                    </a:lnTo>
                    <a:lnTo>
                      <a:pt x="1881" y="656"/>
                    </a:lnTo>
                    <a:lnTo>
                      <a:pt x="1881" y="654"/>
                    </a:lnTo>
                    <a:lnTo>
                      <a:pt x="1883" y="653"/>
                    </a:lnTo>
                    <a:lnTo>
                      <a:pt x="1885" y="652"/>
                    </a:lnTo>
                    <a:lnTo>
                      <a:pt x="1888" y="650"/>
                    </a:lnTo>
                    <a:lnTo>
                      <a:pt x="1889" y="649"/>
                    </a:lnTo>
                    <a:lnTo>
                      <a:pt x="1890" y="647"/>
                    </a:lnTo>
                    <a:lnTo>
                      <a:pt x="1892" y="646"/>
                    </a:lnTo>
                    <a:lnTo>
                      <a:pt x="1892" y="644"/>
                    </a:lnTo>
                    <a:lnTo>
                      <a:pt x="1893" y="642"/>
                    </a:lnTo>
                    <a:lnTo>
                      <a:pt x="1894" y="642"/>
                    </a:lnTo>
                    <a:close/>
                    <a:moveTo>
                      <a:pt x="903" y="635"/>
                    </a:moveTo>
                    <a:lnTo>
                      <a:pt x="903" y="636"/>
                    </a:lnTo>
                    <a:lnTo>
                      <a:pt x="904" y="636"/>
                    </a:lnTo>
                    <a:lnTo>
                      <a:pt x="904" y="637"/>
                    </a:lnTo>
                    <a:lnTo>
                      <a:pt x="905" y="639"/>
                    </a:lnTo>
                    <a:lnTo>
                      <a:pt x="905" y="640"/>
                    </a:lnTo>
                    <a:lnTo>
                      <a:pt x="905" y="641"/>
                    </a:lnTo>
                    <a:lnTo>
                      <a:pt x="904" y="642"/>
                    </a:lnTo>
                    <a:lnTo>
                      <a:pt x="902" y="642"/>
                    </a:lnTo>
                    <a:lnTo>
                      <a:pt x="901" y="642"/>
                    </a:lnTo>
                    <a:lnTo>
                      <a:pt x="901" y="641"/>
                    </a:lnTo>
                    <a:lnTo>
                      <a:pt x="900" y="640"/>
                    </a:lnTo>
                    <a:lnTo>
                      <a:pt x="900" y="639"/>
                    </a:lnTo>
                    <a:lnTo>
                      <a:pt x="901" y="637"/>
                    </a:lnTo>
                    <a:lnTo>
                      <a:pt x="901" y="636"/>
                    </a:lnTo>
                    <a:lnTo>
                      <a:pt x="902" y="636"/>
                    </a:lnTo>
                    <a:lnTo>
                      <a:pt x="902" y="635"/>
                    </a:lnTo>
                    <a:lnTo>
                      <a:pt x="903" y="635"/>
                    </a:lnTo>
                    <a:close/>
                    <a:moveTo>
                      <a:pt x="665" y="635"/>
                    </a:moveTo>
                    <a:lnTo>
                      <a:pt x="669" y="636"/>
                    </a:lnTo>
                    <a:lnTo>
                      <a:pt x="672" y="637"/>
                    </a:lnTo>
                    <a:lnTo>
                      <a:pt x="675" y="637"/>
                    </a:lnTo>
                    <a:lnTo>
                      <a:pt x="678" y="639"/>
                    </a:lnTo>
                    <a:lnTo>
                      <a:pt x="682" y="639"/>
                    </a:lnTo>
                    <a:lnTo>
                      <a:pt x="685" y="637"/>
                    </a:lnTo>
                    <a:lnTo>
                      <a:pt x="688" y="637"/>
                    </a:lnTo>
                    <a:lnTo>
                      <a:pt x="691" y="639"/>
                    </a:lnTo>
                    <a:lnTo>
                      <a:pt x="693" y="640"/>
                    </a:lnTo>
                    <a:lnTo>
                      <a:pt x="693" y="642"/>
                    </a:lnTo>
                    <a:lnTo>
                      <a:pt x="692" y="642"/>
                    </a:lnTo>
                    <a:lnTo>
                      <a:pt x="690" y="643"/>
                    </a:lnTo>
                    <a:lnTo>
                      <a:pt x="688" y="643"/>
                    </a:lnTo>
                    <a:lnTo>
                      <a:pt x="686" y="643"/>
                    </a:lnTo>
                    <a:lnTo>
                      <a:pt x="684" y="643"/>
                    </a:lnTo>
                    <a:lnTo>
                      <a:pt x="682" y="643"/>
                    </a:lnTo>
                    <a:lnTo>
                      <a:pt x="673" y="643"/>
                    </a:lnTo>
                    <a:lnTo>
                      <a:pt x="671" y="643"/>
                    </a:lnTo>
                    <a:lnTo>
                      <a:pt x="669" y="642"/>
                    </a:lnTo>
                    <a:lnTo>
                      <a:pt x="668" y="642"/>
                    </a:lnTo>
                    <a:lnTo>
                      <a:pt x="665" y="641"/>
                    </a:lnTo>
                    <a:lnTo>
                      <a:pt x="663" y="641"/>
                    </a:lnTo>
                    <a:lnTo>
                      <a:pt x="662" y="640"/>
                    </a:lnTo>
                    <a:lnTo>
                      <a:pt x="662" y="639"/>
                    </a:lnTo>
                    <a:lnTo>
                      <a:pt x="662" y="637"/>
                    </a:lnTo>
                    <a:lnTo>
                      <a:pt x="663" y="636"/>
                    </a:lnTo>
                    <a:lnTo>
                      <a:pt x="664" y="635"/>
                    </a:lnTo>
                    <a:lnTo>
                      <a:pt x="665" y="635"/>
                    </a:lnTo>
                    <a:close/>
                    <a:moveTo>
                      <a:pt x="1803" y="625"/>
                    </a:moveTo>
                    <a:lnTo>
                      <a:pt x="1803" y="625"/>
                    </a:lnTo>
                    <a:lnTo>
                      <a:pt x="1802" y="626"/>
                    </a:lnTo>
                    <a:lnTo>
                      <a:pt x="1801" y="628"/>
                    </a:lnTo>
                    <a:lnTo>
                      <a:pt x="1800" y="630"/>
                    </a:lnTo>
                    <a:lnTo>
                      <a:pt x="1799" y="633"/>
                    </a:lnTo>
                    <a:lnTo>
                      <a:pt x="1798" y="635"/>
                    </a:lnTo>
                    <a:lnTo>
                      <a:pt x="1797" y="639"/>
                    </a:lnTo>
                    <a:lnTo>
                      <a:pt x="1796" y="642"/>
                    </a:lnTo>
                    <a:lnTo>
                      <a:pt x="1796" y="645"/>
                    </a:lnTo>
                    <a:lnTo>
                      <a:pt x="1796" y="647"/>
                    </a:lnTo>
                    <a:lnTo>
                      <a:pt x="1797" y="648"/>
                    </a:lnTo>
                    <a:lnTo>
                      <a:pt x="1798" y="649"/>
                    </a:lnTo>
                    <a:lnTo>
                      <a:pt x="1800" y="650"/>
                    </a:lnTo>
                    <a:lnTo>
                      <a:pt x="1801" y="651"/>
                    </a:lnTo>
                    <a:lnTo>
                      <a:pt x="1801" y="652"/>
                    </a:lnTo>
                    <a:lnTo>
                      <a:pt x="1801" y="652"/>
                    </a:lnTo>
                    <a:lnTo>
                      <a:pt x="1801" y="651"/>
                    </a:lnTo>
                    <a:lnTo>
                      <a:pt x="1801" y="651"/>
                    </a:lnTo>
                    <a:lnTo>
                      <a:pt x="1801" y="651"/>
                    </a:lnTo>
                    <a:lnTo>
                      <a:pt x="1802" y="650"/>
                    </a:lnTo>
                    <a:lnTo>
                      <a:pt x="1802" y="649"/>
                    </a:lnTo>
                    <a:lnTo>
                      <a:pt x="1801" y="649"/>
                    </a:lnTo>
                    <a:lnTo>
                      <a:pt x="1801" y="632"/>
                    </a:lnTo>
                    <a:lnTo>
                      <a:pt x="1803" y="630"/>
                    </a:lnTo>
                    <a:lnTo>
                      <a:pt x="1803" y="628"/>
                    </a:lnTo>
                    <a:lnTo>
                      <a:pt x="1803" y="626"/>
                    </a:lnTo>
                    <a:lnTo>
                      <a:pt x="1803" y="625"/>
                    </a:lnTo>
                    <a:lnTo>
                      <a:pt x="1803" y="625"/>
                    </a:lnTo>
                    <a:close/>
                    <a:moveTo>
                      <a:pt x="938" y="612"/>
                    </a:moveTo>
                    <a:lnTo>
                      <a:pt x="940" y="612"/>
                    </a:lnTo>
                    <a:lnTo>
                      <a:pt x="941" y="613"/>
                    </a:lnTo>
                    <a:lnTo>
                      <a:pt x="942" y="615"/>
                    </a:lnTo>
                    <a:lnTo>
                      <a:pt x="943" y="616"/>
                    </a:lnTo>
                    <a:lnTo>
                      <a:pt x="942" y="617"/>
                    </a:lnTo>
                    <a:lnTo>
                      <a:pt x="941" y="617"/>
                    </a:lnTo>
                    <a:lnTo>
                      <a:pt x="939" y="617"/>
                    </a:lnTo>
                    <a:lnTo>
                      <a:pt x="937" y="616"/>
                    </a:lnTo>
                    <a:lnTo>
                      <a:pt x="936" y="616"/>
                    </a:lnTo>
                    <a:lnTo>
                      <a:pt x="935" y="615"/>
                    </a:lnTo>
                    <a:lnTo>
                      <a:pt x="934" y="614"/>
                    </a:lnTo>
                    <a:lnTo>
                      <a:pt x="936" y="612"/>
                    </a:lnTo>
                    <a:lnTo>
                      <a:pt x="938" y="612"/>
                    </a:lnTo>
                    <a:close/>
                    <a:moveTo>
                      <a:pt x="69" y="610"/>
                    </a:moveTo>
                    <a:lnTo>
                      <a:pt x="71" y="610"/>
                    </a:lnTo>
                    <a:lnTo>
                      <a:pt x="74" y="611"/>
                    </a:lnTo>
                    <a:lnTo>
                      <a:pt x="77" y="612"/>
                    </a:lnTo>
                    <a:lnTo>
                      <a:pt x="79" y="612"/>
                    </a:lnTo>
                    <a:lnTo>
                      <a:pt x="79" y="615"/>
                    </a:lnTo>
                    <a:lnTo>
                      <a:pt x="81" y="617"/>
                    </a:lnTo>
                    <a:lnTo>
                      <a:pt x="82" y="619"/>
                    </a:lnTo>
                    <a:lnTo>
                      <a:pt x="83" y="620"/>
                    </a:lnTo>
                    <a:lnTo>
                      <a:pt x="85" y="622"/>
                    </a:lnTo>
                    <a:lnTo>
                      <a:pt x="82" y="623"/>
                    </a:lnTo>
                    <a:lnTo>
                      <a:pt x="81" y="624"/>
                    </a:lnTo>
                    <a:lnTo>
                      <a:pt x="79" y="623"/>
                    </a:lnTo>
                    <a:lnTo>
                      <a:pt x="77" y="623"/>
                    </a:lnTo>
                    <a:lnTo>
                      <a:pt x="75" y="622"/>
                    </a:lnTo>
                    <a:lnTo>
                      <a:pt x="73" y="620"/>
                    </a:lnTo>
                    <a:lnTo>
                      <a:pt x="72" y="619"/>
                    </a:lnTo>
                    <a:lnTo>
                      <a:pt x="70" y="617"/>
                    </a:lnTo>
                    <a:lnTo>
                      <a:pt x="69" y="615"/>
                    </a:lnTo>
                    <a:lnTo>
                      <a:pt x="68" y="613"/>
                    </a:lnTo>
                    <a:lnTo>
                      <a:pt x="68" y="611"/>
                    </a:lnTo>
                    <a:lnTo>
                      <a:pt x="69" y="610"/>
                    </a:lnTo>
                    <a:close/>
                    <a:moveTo>
                      <a:pt x="47" y="599"/>
                    </a:moveTo>
                    <a:lnTo>
                      <a:pt x="48" y="600"/>
                    </a:lnTo>
                    <a:lnTo>
                      <a:pt x="51" y="601"/>
                    </a:lnTo>
                    <a:lnTo>
                      <a:pt x="53" y="604"/>
                    </a:lnTo>
                    <a:lnTo>
                      <a:pt x="54" y="606"/>
                    </a:lnTo>
                    <a:lnTo>
                      <a:pt x="55" y="608"/>
                    </a:lnTo>
                    <a:lnTo>
                      <a:pt x="56" y="609"/>
                    </a:lnTo>
                    <a:lnTo>
                      <a:pt x="57" y="610"/>
                    </a:lnTo>
                    <a:lnTo>
                      <a:pt x="57" y="611"/>
                    </a:lnTo>
                    <a:lnTo>
                      <a:pt x="57" y="613"/>
                    </a:lnTo>
                    <a:lnTo>
                      <a:pt x="56" y="615"/>
                    </a:lnTo>
                    <a:lnTo>
                      <a:pt x="55" y="616"/>
                    </a:lnTo>
                    <a:lnTo>
                      <a:pt x="54" y="616"/>
                    </a:lnTo>
                    <a:lnTo>
                      <a:pt x="52" y="615"/>
                    </a:lnTo>
                    <a:lnTo>
                      <a:pt x="50" y="615"/>
                    </a:lnTo>
                    <a:lnTo>
                      <a:pt x="48" y="613"/>
                    </a:lnTo>
                    <a:lnTo>
                      <a:pt x="47" y="611"/>
                    </a:lnTo>
                    <a:lnTo>
                      <a:pt x="45" y="608"/>
                    </a:lnTo>
                    <a:lnTo>
                      <a:pt x="45" y="605"/>
                    </a:lnTo>
                    <a:lnTo>
                      <a:pt x="44" y="603"/>
                    </a:lnTo>
                    <a:lnTo>
                      <a:pt x="45" y="601"/>
                    </a:lnTo>
                    <a:lnTo>
                      <a:pt x="45" y="600"/>
                    </a:lnTo>
                    <a:lnTo>
                      <a:pt x="47" y="599"/>
                    </a:lnTo>
                    <a:close/>
                    <a:moveTo>
                      <a:pt x="924" y="593"/>
                    </a:moveTo>
                    <a:lnTo>
                      <a:pt x="924" y="593"/>
                    </a:lnTo>
                    <a:lnTo>
                      <a:pt x="924" y="594"/>
                    </a:lnTo>
                    <a:lnTo>
                      <a:pt x="924" y="596"/>
                    </a:lnTo>
                    <a:lnTo>
                      <a:pt x="923" y="597"/>
                    </a:lnTo>
                    <a:lnTo>
                      <a:pt x="922" y="598"/>
                    </a:lnTo>
                    <a:lnTo>
                      <a:pt x="920" y="599"/>
                    </a:lnTo>
                    <a:lnTo>
                      <a:pt x="919" y="598"/>
                    </a:lnTo>
                    <a:lnTo>
                      <a:pt x="919" y="597"/>
                    </a:lnTo>
                    <a:lnTo>
                      <a:pt x="919" y="595"/>
                    </a:lnTo>
                    <a:lnTo>
                      <a:pt x="921" y="594"/>
                    </a:lnTo>
                    <a:lnTo>
                      <a:pt x="922" y="593"/>
                    </a:lnTo>
                    <a:lnTo>
                      <a:pt x="924" y="593"/>
                    </a:lnTo>
                    <a:close/>
                    <a:moveTo>
                      <a:pt x="802" y="586"/>
                    </a:moveTo>
                    <a:lnTo>
                      <a:pt x="803" y="586"/>
                    </a:lnTo>
                    <a:lnTo>
                      <a:pt x="804" y="587"/>
                    </a:lnTo>
                    <a:lnTo>
                      <a:pt x="806" y="588"/>
                    </a:lnTo>
                    <a:lnTo>
                      <a:pt x="807" y="589"/>
                    </a:lnTo>
                    <a:lnTo>
                      <a:pt x="808" y="590"/>
                    </a:lnTo>
                    <a:lnTo>
                      <a:pt x="810" y="590"/>
                    </a:lnTo>
                    <a:lnTo>
                      <a:pt x="811" y="592"/>
                    </a:lnTo>
                    <a:lnTo>
                      <a:pt x="811" y="593"/>
                    </a:lnTo>
                    <a:lnTo>
                      <a:pt x="812" y="595"/>
                    </a:lnTo>
                    <a:lnTo>
                      <a:pt x="814" y="596"/>
                    </a:lnTo>
                    <a:lnTo>
                      <a:pt x="816" y="596"/>
                    </a:lnTo>
                    <a:lnTo>
                      <a:pt x="823" y="596"/>
                    </a:lnTo>
                    <a:lnTo>
                      <a:pt x="825" y="597"/>
                    </a:lnTo>
                    <a:lnTo>
                      <a:pt x="826" y="598"/>
                    </a:lnTo>
                    <a:lnTo>
                      <a:pt x="825" y="599"/>
                    </a:lnTo>
                    <a:lnTo>
                      <a:pt x="824" y="600"/>
                    </a:lnTo>
                    <a:lnTo>
                      <a:pt x="822" y="601"/>
                    </a:lnTo>
                    <a:lnTo>
                      <a:pt x="820" y="602"/>
                    </a:lnTo>
                    <a:lnTo>
                      <a:pt x="818" y="603"/>
                    </a:lnTo>
                    <a:lnTo>
                      <a:pt x="817" y="604"/>
                    </a:lnTo>
                    <a:lnTo>
                      <a:pt x="816" y="605"/>
                    </a:lnTo>
                    <a:lnTo>
                      <a:pt x="810" y="606"/>
                    </a:lnTo>
                    <a:lnTo>
                      <a:pt x="803" y="608"/>
                    </a:lnTo>
                    <a:lnTo>
                      <a:pt x="797" y="609"/>
                    </a:lnTo>
                    <a:lnTo>
                      <a:pt x="795" y="609"/>
                    </a:lnTo>
                    <a:lnTo>
                      <a:pt x="793" y="609"/>
                    </a:lnTo>
                    <a:lnTo>
                      <a:pt x="791" y="609"/>
                    </a:lnTo>
                    <a:lnTo>
                      <a:pt x="789" y="611"/>
                    </a:lnTo>
                    <a:lnTo>
                      <a:pt x="788" y="612"/>
                    </a:lnTo>
                    <a:lnTo>
                      <a:pt x="788" y="613"/>
                    </a:lnTo>
                    <a:lnTo>
                      <a:pt x="788" y="614"/>
                    </a:lnTo>
                    <a:lnTo>
                      <a:pt x="787" y="614"/>
                    </a:lnTo>
                    <a:lnTo>
                      <a:pt x="785" y="615"/>
                    </a:lnTo>
                    <a:lnTo>
                      <a:pt x="783" y="617"/>
                    </a:lnTo>
                    <a:lnTo>
                      <a:pt x="782" y="618"/>
                    </a:lnTo>
                    <a:lnTo>
                      <a:pt x="781" y="620"/>
                    </a:lnTo>
                    <a:lnTo>
                      <a:pt x="780" y="622"/>
                    </a:lnTo>
                    <a:lnTo>
                      <a:pt x="779" y="623"/>
                    </a:lnTo>
                    <a:lnTo>
                      <a:pt x="777" y="624"/>
                    </a:lnTo>
                    <a:lnTo>
                      <a:pt x="775" y="625"/>
                    </a:lnTo>
                    <a:lnTo>
                      <a:pt x="770" y="625"/>
                    </a:lnTo>
                    <a:lnTo>
                      <a:pt x="764" y="625"/>
                    </a:lnTo>
                    <a:lnTo>
                      <a:pt x="758" y="627"/>
                    </a:lnTo>
                    <a:lnTo>
                      <a:pt x="747" y="632"/>
                    </a:lnTo>
                    <a:lnTo>
                      <a:pt x="737" y="633"/>
                    </a:lnTo>
                    <a:lnTo>
                      <a:pt x="726" y="633"/>
                    </a:lnTo>
                    <a:lnTo>
                      <a:pt x="724" y="633"/>
                    </a:lnTo>
                    <a:lnTo>
                      <a:pt x="723" y="632"/>
                    </a:lnTo>
                    <a:lnTo>
                      <a:pt x="723" y="631"/>
                    </a:lnTo>
                    <a:lnTo>
                      <a:pt x="724" y="630"/>
                    </a:lnTo>
                    <a:lnTo>
                      <a:pt x="725" y="629"/>
                    </a:lnTo>
                    <a:lnTo>
                      <a:pt x="727" y="628"/>
                    </a:lnTo>
                    <a:lnTo>
                      <a:pt x="729" y="627"/>
                    </a:lnTo>
                    <a:lnTo>
                      <a:pt x="731" y="627"/>
                    </a:lnTo>
                    <a:lnTo>
                      <a:pt x="734" y="627"/>
                    </a:lnTo>
                    <a:lnTo>
                      <a:pt x="736" y="627"/>
                    </a:lnTo>
                    <a:lnTo>
                      <a:pt x="738" y="627"/>
                    </a:lnTo>
                    <a:lnTo>
                      <a:pt x="739" y="625"/>
                    </a:lnTo>
                    <a:lnTo>
                      <a:pt x="740" y="624"/>
                    </a:lnTo>
                    <a:lnTo>
                      <a:pt x="742" y="622"/>
                    </a:lnTo>
                    <a:lnTo>
                      <a:pt x="745" y="621"/>
                    </a:lnTo>
                    <a:lnTo>
                      <a:pt x="747" y="620"/>
                    </a:lnTo>
                    <a:lnTo>
                      <a:pt x="749" y="620"/>
                    </a:lnTo>
                    <a:lnTo>
                      <a:pt x="751" y="619"/>
                    </a:lnTo>
                    <a:lnTo>
                      <a:pt x="753" y="619"/>
                    </a:lnTo>
                    <a:lnTo>
                      <a:pt x="755" y="618"/>
                    </a:lnTo>
                    <a:lnTo>
                      <a:pt x="756" y="617"/>
                    </a:lnTo>
                    <a:lnTo>
                      <a:pt x="753" y="613"/>
                    </a:lnTo>
                    <a:lnTo>
                      <a:pt x="751" y="610"/>
                    </a:lnTo>
                    <a:lnTo>
                      <a:pt x="749" y="607"/>
                    </a:lnTo>
                    <a:lnTo>
                      <a:pt x="748" y="605"/>
                    </a:lnTo>
                    <a:lnTo>
                      <a:pt x="748" y="603"/>
                    </a:lnTo>
                    <a:lnTo>
                      <a:pt x="748" y="601"/>
                    </a:lnTo>
                    <a:lnTo>
                      <a:pt x="749" y="598"/>
                    </a:lnTo>
                    <a:lnTo>
                      <a:pt x="749" y="596"/>
                    </a:lnTo>
                    <a:lnTo>
                      <a:pt x="749" y="594"/>
                    </a:lnTo>
                    <a:lnTo>
                      <a:pt x="752" y="594"/>
                    </a:lnTo>
                    <a:lnTo>
                      <a:pt x="756" y="594"/>
                    </a:lnTo>
                    <a:lnTo>
                      <a:pt x="758" y="593"/>
                    </a:lnTo>
                    <a:lnTo>
                      <a:pt x="760" y="593"/>
                    </a:lnTo>
                    <a:lnTo>
                      <a:pt x="762" y="592"/>
                    </a:lnTo>
                    <a:lnTo>
                      <a:pt x="765" y="593"/>
                    </a:lnTo>
                    <a:lnTo>
                      <a:pt x="768" y="593"/>
                    </a:lnTo>
                    <a:lnTo>
                      <a:pt x="771" y="593"/>
                    </a:lnTo>
                    <a:lnTo>
                      <a:pt x="773" y="592"/>
                    </a:lnTo>
                    <a:lnTo>
                      <a:pt x="783" y="591"/>
                    </a:lnTo>
                    <a:lnTo>
                      <a:pt x="792" y="589"/>
                    </a:lnTo>
                    <a:lnTo>
                      <a:pt x="801" y="586"/>
                    </a:lnTo>
                    <a:lnTo>
                      <a:pt x="802" y="586"/>
                    </a:lnTo>
                    <a:close/>
                    <a:moveTo>
                      <a:pt x="1420" y="578"/>
                    </a:moveTo>
                    <a:lnTo>
                      <a:pt x="1421" y="579"/>
                    </a:lnTo>
                    <a:lnTo>
                      <a:pt x="1422" y="580"/>
                    </a:lnTo>
                    <a:lnTo>
                      <a:pt x="1422" y="581"/>
                    </a:lnTo>
                    <a:lnTo>
                      <a:pt x="1422" y="584"/>
                    </a:lnTo>
                    <a:lnTo>
                      <a:pt x="1422" y="586"/>
                    </a:lnTo>
                    <a:lnTo>
                      <a:pt x="1421" y="588"/>
                    </a:lnTo>
                    <a:lnTo>
                      <a:pt x="1420" y="590"/>
                    </a:lnTo>
                    <a:lnTo>
                      <a:pt x="1419" y="591"/>
                    </a:lnTo>
                    <a:lnTo>
                      <a:pt x="1418" y="591"/>
                    </a:lnTo>
                    <a:lnTo>
                      <a:pt x="1417" y="589"/>
                    </a:lnTo>
                    <a:lnTo>
                      <a:pt x="1417" y="588"/>
                    </a:lnTo>
                    <a:lnTo>
                      <a:pt x="1417" y="585"/>
                    </a:lnTo>
                    <a:lnTo>
                      <a:pt x="1417" y="583"/>
                    </a:lnTo>
                    <a:lnTo>
                      <a:pt x="1418" y="580"/>
                    </a:lnTo>
                    <a:lnTo>
                      <a:pt x="1419" y="579"/>
                    </a:lnTo>
                    <a:lnTo>
                      <a:pt x="1420" y="578"/>
                    </a:lnTo>
                    <a:close/>
                    <a:moveTo>
                      <a:pt x="732" y="577"/>
                    </a:moveTo>
                    <a:lnTo>
                      <a:pt x="734" y="577"/>
                    </a:lnTo>
                    <a:lnTo>
                      <a:pt x="735" y="578"/>
                    </a:lnTo>
                    <a:lnTo>
                      <a:pt x="735" y="578"/>
                    </a:lnTo>
                    <a:lnTo>
                      <a:pt x="735" y="579"/>
                    </a:lnTo>
                    <a:lnTo>
                      <a:pt x="735" y="581"/>
                    </a:lnTo>
                    <a:lnTo>
                      <a:pt x="734" y="583"/>
                    </a:lnTo>
                    <a:lnTo>
                      <a:pt x="733" y="584"/>
                    </a:lnTo>
                    <a:lnTo>
                      <a:pt x="732" y="583"/>
                    </a:lnTo>
                    <a:lnTo>
                      <a:pt x="731" y="581"/>
                    </a:lnTo>
                    <a:lnTo>
                      <a:pt x="730" y="579"/>
                    </a:lnTo>
                    <a:lnTo>
                      <a:pt x="731" y="578"/>
                    </a:lnTo>
                    <a:lnTo>
                      <a:pt x="731" y="577"/>
                    </a:lnTo>
                    <a:lnTo>
                      <a:pt x="732" y="577"/>
                    </a:lnTo>
                    <a:close/>
                    <a:moveTo>
                      <a:pt x="876" y="576"/>
                    </a:moveTo>
                    <a:lnTo>
                      <a:pt x="879" y="576"/>
                    </a:lnTo>
                    <a:lnTo>
                      <a:pt x="881" y="577"/>
                    </a:lnTo>
                    <a:lnTo>
                      <a:pt x="882" y="579"/>
                    </a:lnTo>
                    <a:lnTo>
                      <a:pt x="883" y="581"/>
                    </a:lnTo>
                    <a:lnTo>
                      <a:pt x="881" y="584"/>
                    </a:lnTo>
                    <a:lnTo>
                      <a:pt x="876" y="586"/>
                    </a:lnTo>
                    <a:lnTo>
                      <a:pt x="870" y="588"/>
                    </a:lnTo>
                    <a:lnTo>
                      <a:pt x="864" y="588"/>
                    </a:lnTo>
                    <a:lnTo>
                      <a:pt x="859" y="586"/>
                    </a:lnTo>
                    <a:lnTo>
                      <a:pt x="856" y="581"/>
                    </a:lnTo>
                    <a:lnTo>
                      <a:pt x="858" y="580"/>
                    </a:lnTo>
                    <a:lnTo>
                      <a:pt x="858" y="579"/>
                    </a:lnTo>
                    <a:lnTo>
                      <a:pt x="859" y="579"/>
                    </a:lnTo>
                    <a:lnTo>
                      <a:pt x="860" y="579"/>
                    </a:lnTo>
                    <a:lnTo>
                      <a:pt x="861" y="580"/>
                    </a:lnTo>
                    <a:lnTo>
                      <a:pt x="862" y="581"/>
                    </a:lnTo>
                    <a:lnTo>
                      <a:pt x="864" y="581"/>
                    </a:lnTo>
                    <a:lnTo>
                      <a:pt x="867" y="579"/>
                    </a:lnTo>
                    <a:lnTo>
                      <a:pt x="869" y="577"/>
                    </a:lnTo>
                    <a:lnTo>
                      <a:pt x="871" y="576"/>
                    </a:lnTo>
                    <a:lnTo>
                      <a:pt x="874" y="576"/>
                    </a:lnTo>
                    <a:lnTo>
                      <a:pt x="876" y="576"/>
                    </a:lnTo>
                    <a:close/>
                    <a:moveTo>
                      <a:pt x="1845" y="571"/>
                    </a:moveTo>
                    <a:lnTo>
                      <a:pt x="1844" y="572"/>
                    </a:lnTo>
                    <a:lnTo>
                      <a:pt x="1841" y="572"/>
                    </a:lnTo>
                    <a:lnTo>
                      <a:pt x="1838" y="572"/>
                    </a:lnTo>
                    <a:lnTo>
                      <a:pt x="1836" y="574"/>
                    </a:lnTo>
                    <a:lnTo>
                      <a:pt x="1833" y="574"/>
                    </a:lnTo>
                    <a:lnTo>
                      <a:pt x="1832" y="575"/>
                    </a:lnTo>
                    <a:lnTo>
                      <a:pt x="1831" y="576"/>
                    </a:lnTo>
                    <a:lnTo>
                      <a:pt x="1830" y="577"/>
                    </a:lnTo>
                    <a:lnTo>
                      <a:pt x="1829" y="580"/>
                    </a:lnTo>
                    <a:lnTo>
                      <a:pt x="1827" y="585"/>
                    </a:lnTo>
                    <a:lnTo>
                      <a:pt x="1825" y="590"/>
                    </a:lnTo>
                    <a:lnTo>
                      <a:pt x="1823" y="595"/>
                    </a:lnTo>
                    <a:lnTo>
                      <a:pt x="1823" y="598"/>
                    </a:lnTo>
                    <a:lnTo>
                      <a:pt x="1825" y="598"/>
                    </a:lnTo>
                    <a:lnTo>
                      <a:pt x="1827" y="598"/>
                    </a:lnTo>
                    <a:lnTo>
                      <a:pt x="1829" y="596"/>
                    </a:lnTo>
                    <a:lnTo>
                      <a:pt x="1831" y="595"/>
                    </a:lnTo>
                    <a:lnTo>
                      <a:pt x="1832" y="594"/>
                    </a:lnTo>
                    <a:lnTo>
                      <a:pt x="1833" y="594"/>
                    </a:lnTo>
                    <a:lnTo>
                      <a:pt x="1833" y="592"/>
                    </a:lnTo>
                    <a:lnTo>
                      <a:pt x="1836" y="591"/>
                    </a:lnTo>
                    <a:lnTo>
                      <a:pt x="1836" y="590"/>
                    </a:lnTo>
                    <a:lnTo>
                      <a:pt x="1837" y="589"/>
                    </a:lnTo>
                    <a:lnTo>
                      <a:pt x="1838" y="589"/>
                    </a:lnTo>
                    <a:lnTo>
                      <a:pt x="1840" y="586"/>
                    </a:lnTo>
                    <a:lnTo>
                      <a:pt x="1842" y="581"/>
                    </a:lnTo>
                    <a:lnTo>
                      <a:pt x="1844" y="578"/>
                    </a:lnTo>
                    <a:lnTo>
                      <a:pt x="1844" y="576"/>
                    </a:lnTo>
                    <a:lnTo>
                      <a:pt x="1845" y="575"/>
                    </a:lnTo>
                    <a:lnTo>
                      <a:pt x="1845" y="574"/>
                    </a:lnTo>
                    <a:lnTo>
                      <a:pt x="1845" y="572"/>
                    </a:lnTo>
                    <a:lnTo>
                      <a:pt x="1845" y="572"/>
                    </a:lnTo>
                    <a:lnTo>
                      <a:pt x="1845" y="571"/>
                    </a:lnTo>
                    <a:close/>
                    <a:moveTo>
                      <a:pt x="611" y="567"/>
                    </a:moveTo>
                    <a:lnTo>
                      <a:pt x="613" y="567"/>
                    </a:lnTo>
                    <a:lnTo>
                      <a:pt x="615" y="567"/>
                    </a:lnTo>
                    <a:lnTo>
                      <a:pt x="618" y="567"/>
                    </a:lnTo>
                    <a:lnTo>
                      <a:pt x="619" y="569"/>
                    </a:lnTo>
                    <a:lnTo>
                      <a:pt x="621" y="569"/>
                    </a:lnTo>
                    <a:lnTo>
                      <a:pt x="623" y="570"/>
                    </a:lnTo>
                    <a:lnTo>
                      <a:pt x="625" y="570"/>
                    </a:lnTo>
                    <a:lnTo>
                      <a:pt x="627" y="570"/>
                    </a:lnTo>
                    <a:lnTo>
                      <a:pt x="629" y="571"/>
                    </a:lnTo>
                    <a:lnTo>
                      <a:pt x="638" y="572"/>
                    </a:lnTo>
                    <a:lnTo>
                      <a:pt x="646" y="575"/>
                    </a:lnTo>
                    <a:lnTo>
                      <a:pt x="648" y="576"/>
                    </a:lnTo>
                    <a:lnTo>
                      <a:pt x="652" y="576"/>
                    </a:lnTo>
                    <a:lnTo>
                      <a:pt x="654" y="576"/>
                    </a:lnTo>
                    <a:lnTo>
                      <a:pt x="657" y="576"/>
                    </a:lnTo>
                    <a:lnTo>
                      <a:pt x="661" y="577"/>
                    </a:lnTo>
                    <a:lnTo>
                      <a:pt x="663" y="578"/>
                    </a:lnTo>
                    <a:lnTo>
                      <a:pt x="665" y="580"/>
                    </a:lnTo>
                    <a:lnTo>
                      <a:pt x="667" y="583"/>
                    </a:lnTo>
                    <a:lnTo>
                      <a:pt x="670" y="584"/>
                    </a:lnTo>
                    <a:lnTo>
                      <a:pt x="673" y="584"/>
                    </a:lnTo>
                    <a:lnTo>
                      <a:pt x="677" y="586"/>
                    </a:lnTo>
                    <a:lnTo>
                      <a:pt x="681" y="586"/>
                    </a:lnTo>
                    <a:lnTo>
                      <a:pt x="685" y="586"/>
                    </a:lnTo>
                    <a:lnTo>
                      <a:pt x="692" y="589"/>
                    </a:lnTo>
                    <a:lnTo>
                      <a:pt x="699" y="590"/>
                    </a:lnTo>
                    <a:lnTo>
                      <a:pt x="706" y="591"/>
                    </a:lnTo>
                    <a:lnTo>
                      <a:pt x="711" y="594"/>
                    </a:lnTo>
                    <a:lnTo>
                      <a:pt x="717" y="595"/>
                    </a:lnTo>
                    <a:lnTo>
                      <a:pt x="722" y="595"/>
                    </a:lnTo>
                    <a:lnTo>
                      <a:pt x="725" y="596"/>
                    </a:lnTo>
                    <a:lnTo>
                      <a:pt x="726" y="598"/>
                    </a:lnTo>
                    <a:lnTo>
                      <a:pt x="726" y="599"/>
                    </a:lnTo>
                    <a:lnTo>
                      <a:pt x="725" y="601"/>
                    </a:lnTo>
                    <a:lnTo>
                      <a:pt x="722" y="603"/>
                    </a:lnTo>
                    <a:lnTo>
                      <a:pt x="714" y="607"/>
                    </a:lnTo>
                    <a:lnTo>
                      <a:pt x="705" y="610"/>
                    </a:lnTo>
                    <a:lnTo>
                      <a:pt x="694" y="612"/>
                    </a:lnTo>
                    <a:lnTo>
                      <a:pt x="685" y="612"/>
                    </a:lnTo>
                    <a:lnTo>
                      <a:pt x="682" y="611"/>
                    </a:lnTo>
                    <a:lnTo>
                      <a:pt x="680" y="610"/>
                    </a:lnTo>
                    <a:lnTo>
                      <a:pt x="678" y="609"/>
                    </a:lnTo>
                    <a:lnTo>
                      <a:pt x="676" y="609"/>
                    </a:lnTo>
                    <a:lnTo>
                      <a:pt x="675" y="610"/>
                    </a:lnTo>
                    <a:lnTo>
                      <a:pt x="673" y="612"/>
                    </a:lnTo>
                    <a:lnTo>
                      <a:pt x="672" y="614"/>
                    </a:lnTo>
                    <a:lnTo>
                      <a:pt x="670" y="616"/>
                    </a:lnTo>
                    <a:lnTo>
                      <a:pt x="668" y="617"/>
                    </a:lnTo>
                    <a:lnTo>
                      <a:pt x="666" y="618"/>
                    </a:lnTo>
                    <a:lnTo>
                      <a:pt x="663" y="618"/>
                    </a:lnTo>
                    <a:lnTo>
                      <a:pt x="663" y="616"/>
                    </a:lnTo>
                    <a:lnTo>
                      <a:pt x="663" y="613"/>
                    </a:lnTo>
                    <a:lnTo>
                      <a:pt x="662" y="610"/>
                    </a:lnTo>
                    <a:lnTo>
                      <a:pt x="661" y="607"/>
                    </a:lnTo>
                    <a:lnTo>
                      <a:pt x="660" y="605"/>
                    </a:lnTo>
                    <a:lnTo>
                      <a:pt x="659" y="603"/>
                    </a:lnTo>
                    <a:lnTo>
                      <a:pt x="657" y="602"/>
                    </a:lnTo>
                    <a:lnTo>
                      <a:pt x="655" y="602"/>
                    </a:lnTo>
                    <a:lnTo>
                      <a:pt x="652" y="601"/>
                    </a:lnTo>
                    <a:lnTo>
                      <a:pt x="649" y="601"/>
                    </a:lnTo>
                    <a:lnTo>
                      <a:pt x="648" y="601"/>
                    </a:lnTo>
                    <a:lnTo>
                      <a:pt x="642" y="596"/>
                    </a:lnTo>
                    <a:lnTo>
                      <a:pt x="636" y="592"/>
                    </a:lnTo>
                    <a:lnTo>
                      <a:pt x="629" y="589"/>
                    </a:lnTo>
                    <a:lnTo>
                      <a:pt x="628" y="588"/>
                    </a:lnTo>
                    <a:lnTo>
                      <a:pt x="627" y="589"/>
                    </a:lnTo>
                    <a:lnTo>
                      <a:pt x="625" y="590"/>
                    </a:lnTo>
                    <a:lnTo>
                      <a:pt x="624" y="591"/>
                    </a:lnTo>
                    <a:lnTo>
                      <a:pt x="623" y="592"/>
                    </a:lnTo>
                    <a:lnTo>
                      <a:pt x="621" y="593"/>
                    </a:lnTo>
                    <a:lnTo>
                      <a:pt x="619" y="594"/>
                    </a:lnTo>
                    <a:lnTo>
                      <a:pt x="617" y="594"/>
                    </a:lnTo>
                    <a:lnTo>
                      <a:pt x="615" y="593"/>
                    </a:lnTo>
                    <a:lnTo>
                      <a:pt x="614" y="592"/>
                    </a:lnTo>
                    <a:lnTo>
                      <a:pt x="611" y="591"/>
                    </a:lnTo>
                    <a:lnTo>
                      <a:pt x="609" y="590"/>
                    </a:lnTo>
                    <a:lnTo>
                      <a:pt x="607" y="591"/>
                    </a:lnTo>
                    <a:lnTo>
                      <a:pt x="605" y="592"/>
                    </a:lnTo>
                    <a:lnTo>
                      <a:pt x="603" y="593"/>
                    </a:lnTo>
                    <a:lnTo>
                      <a:pt x="600" y="593"/>
                    </a:lnTo>
                    <a:lnTo>
                      <a:pt x="596" y="593"/>
                    </a:lnTo>
                    <a:lnTo>
                      <a:pt x="595" y="591"/>
                    </a:lnTo>
                    <a:lnTo>
                      <a:pt x="593" y="590"/>
                    </a:lnTo>
                    <a:lnTo>
                      <a:pt x="591" y="589"/>
                    </a:lnTo>
                    <a:lnTo>
                      <a:pt x="588" y="589"/>
                    </a:lnTo>
                    <a:lnTo>
                      <a:pt x="585" y="589"/>
                    </a:lnTo>
                    <a:lnTo>
                      <a:pt x="583" y="589"/>
                    </a:lnTo>
                    <a:lnTo>
                      <a:pt x="580" y="589"/>
                    </a:lnTo>
                    <a:lnTo>
                      <a:pt x="578" y="591"/>
                    </a:lnTo>
                    <a:lnTo>
                      <a:pt x="576" y="593"/>
                    </a:lnTo>
                    <a:lnTo>
                      <a:pt x="575" y="594"/>
                    </a:lnTo>
                    <a:lnTo>
                      <a:pt x="574" y="595"/>
                    </a:lnTo>
                    <a:lnTo>
                      <a:pt x="572" y="596"/>
                    </a:lnTo>
                    <a:lnTo>
                      <a:pt x="570" y="596"/>
                    </a:lnTo>
                    <a:lnTo>
                      <a:pt x="568" y="596"/>
                    </a:lnTo>
                    <a:lnTo>
                      <a:pt x="566" y="597"/>
                    </a:lnTo>
                    <a:lnTo>
                      <a:pt x="559" y="602"/>
                    </a:lnTo>
                    <a:lnTo>
                      <a:pt x="547" y="603"/>
                    </a:lnTo>
                    <a:lnTo>
                      <a:pt x="545" y="603"/>
                    </a:lnTo>
                    <a:lnTo>
                      <a:pt x="543" y="602"/>
                    </a:lnTo>
                    <a:lnTo>
                      <a:pt x="542" y="601"/>
                    </a:lnTo>
                    <a:lnTo>
                      <a:pt x="541" y="600"/>
                    </a:lnTo>
                    <a:lnTo>
                      <a:pt x="541" y="599"/>
                    </a:lnTo>
                    <a:lnTo>
                      <a:pt x="541" y="597"/>
                    </a:lnTo>
                    <a:lnTo>
                      <a:pt x="543" y="596"/>
                    </a:lnTo>
                    <a:lnTo>
                      <a:pt x="544" y="595"/>
                    </a:lnTo>
                    <a:lnTo>
                      <a:pt x="546" y="595"/>
                    </a:lnTo>
                    <a:lnTo>
                      <a:pt x="549" y="594"/>
                    </a:lnTo>
                    <a:lnTo>
                      <a:pt x="551" y="594"/>
                    </a:lnTo>
                    <a:lnTo>
                      <a:pt x="552" y="593"/>
                    </a:lnTo>
                    <a:lnTo>
                      <a:pt x="556" y="590"/>
                    </a:lnTo>
                    <a:lnTo>
                      <a:pt x="559" y="586"/>
                    </a:lnTo>
                    <a:lnTo>
                      <a:pt x="562" y="581"/>
                    </a:lnTo>
                    <a:lnTo>
                      <a:pt x="565" y="579"/>
                    </a:lnTo>
                    <a:lnTo>
                      <a:pt x="570" y="579"/>
                    </a:lnTo>
                    <a:lnTo>
                      <a:pt x="576" y="580"/>
                    </a:lnTo>
                    <a:lnTo>
                      <a:pt x="582" y="581"/>
                    </a:lnTo>
                    <a:lnTo>
                      <a:pt x="588" y="583"/>
                    </a:lnTo>
                    <a:lnTo>
                      <a:pt x="593" y="583"/>
                    </a:lnTo>
                    <a:lnTo>
                      <a:pt x="596" y="579"/>
                    </a:lnTo>
                    <a:lnTo>
                      <a:pt x="601" y="576"/>
                    </a:lnTo>
                    <a:lnTo>
                      <a:pt x="604" y="573"/>
                    </a:lnTo>
                    <a:lnTo>
                      <a:pt x="607" y="570"/>
                    </a:lnTo>
                    <a:lnTo>
                      <a:pt x="611" y="567"/>
                    </a:lnTo>
                    <a:close/>
                    <a:moveTo>
                      <a:pt x="580" y="561"/>
                    </a:moveTo>
                    <a:lnTo>
                      <a:pt x="581" y="561"/>
                    </a:lnTo>
                    <a:lnTo>
                      <a:pt x="582" y="562"/>
                    </a:lnTo>
                    <a:lnTo>
                      <a:pt x="582" y="564"/>
                    </a:lnTo>
                    <a:lnTo>
                      <a:pt x="582" y="565"/>
                    </a:lnTo>
                    <a:lnTo>
                      <a:pt x="581" y="565"/>
                    </a:lnTo>
                    <a:lnTo>
                      <a:pt x="580" y="565"/>
                    </a:lnTo>
                    <a:lnTo>
                      <a:pt x="579" y="564"/>
                    </a:lnTo>
                    <a:lnTo>
                      <a:pt x="578" y="564"/>
                    </a:lnTo>
                    <a:lnTo>
                      <a:pt x="577" y="564"/>
                    </a:lnTo>
                    <a:lnTo>
                      <a:pt x="576" y="563"/>
                    </a:lnTo>
                    <a:lnTo>
                      <a:pt x="576" y="563"/>
                    </a:lnTo>
                    <a:lnTo>
                      <a:pt x="577" y="562"/>
                    </a:lnTo>
                    <a:lnTo>
                      <a:pt x="578" y="562"/>
                    </a:lnTo>
                    <a:lnTo>
                      <a:pt x="580" y="561"/>
                    </a:lnTo>
                    <a:close/>
                    <a:moveTo>
                      <a:pt x="767" y="560"/>
                    </a:moveTo>
                    <a:lnTo>
                      <a:pt x="768" y="560"/>
                    </a:lnTo>
                    <a:lnTo>
                      <a:pt x="769" y="561"/>
                    </a:lnTo>
                    <a:lnTo>
                      <a:pt x="770" y="562"/>
                    </a:lnTo>
                    <a:lnTo>
                      <a:pt x="769" y="564"/>
                    </a:lnTo>
                    <a:lnTo>
                      <a:pt x="769" y="565"/>
                    </a:lnTo>
                    <a:lnTo>
                      <a:pt x="768" y="566"/>
                    </a:lnTo>
                    <a:lnTo>
                      <a:pt x="767" y="566"/>
                    </a:lnTo>
                    <a:lnTo>
                      <a:pt x="766" y="566"/>
                    </a:lnTo>
                    <a:lnTo>
                      <a:pt x="765" y="565"/>
                    </a:lnTo>
                    <a:lnTo>
                      <a:pt x="764" y="564"/>
                    </a:lnTo>
                    <a:lnTo>
                      <a:pt x="765" y="562"/>
                    </a:lnTo>
                    <a:lnTo>
                      <a:pt x="766" y="561"/>
                    </a:lnTo>
                    <a:lnTo>
                      <a:pt x="767" y="560"/>
                    </a:lnTo>
                    <a:close/>
                    <a:moveTo>
                      <a:pt x="742" y="556"/>
                    </a:moveTo>
                    <a:lnTo>
                      <a:pt x="743" y="557"/>
                    </a:lnTo>
                    <a:lnTo>
                      <a:pt x="744" y="559"/>
                    </a:lnTo>
                    <a:lnTo>
                      <a:pt x="744" y="560"/>
                    </a:lnTo>
                    <a:lnTo>
                      <a:pt x="744" y="561"/>
                    </a:lnTo>
                    <a:lnTo>
                      <a:pt x="744" y="561"/>
                    </a:lnTo>
                    <a:lnTo>
                      <a:pt x="743" y="562"/>
                    </a:lnTo>
                    <a:lnTo>
                      <a:pt x="742" y="563"/>
                    </a:lnTo>
                    <a:lnTo>
                      <a:pt x="741" y="563"/>
                    </a:lnTo>
                    <a:lnTo>
                      <a:pt x="740" y="563"/>
                    </a:lnTo>
                    <a:lnTo>
                      <a:pt x="739" y="562"/>
                    </a:lnTo>
                    <a:lnTo>
                      <a:pt x="739" y="560"/>
                    </a:lnTo>
                    <a:lnTo>
                      <a:pt x="740" y="559"/>
                    </a:lnTo>
                    <a:lnTo>
                      <a:pt x="740" y="557"/>
                    </a:lnTo>
                    <a:lnTo>
                      <a:pt x="741" y="556"/>
                    </a:lnTo>
                    <a:lnTo>
                      <a:pt x="742" y="556"/>
                    </a:lnTo>
                    <a:close/>
                    <a:moveTo>
                      <a:pt x="701" y="551"/>
                    </a:moveTo>
                    <a:lnTo>
                      <a:pt x="704" y="551"/>
                    </a:lnTo>
                    <a:lnTo>
                      <a:pt x="705" y="551"/>
                    </a:lnTo>
                    <a:lnTo>
                      <a:pt x="707" y="552"/>
                    </a:lnTo>
                    <a:lnTo>
                      <a:pt x="708" y="553"/>
                    </a:lnTo>
                    <a:lnTo>
                      <a:pt x="710" y="555"/>
                    </a:lnTo>
                    <a:lnTo>
                      <a:pt x="711" y="558"/>
                    </a:lnTo>
                    <a:lnTo>
                      <a:pt x="711" y="560"/>
                    </a:lnTo>
                    <a:lnTo>
                      <a:pt x="711" y="562"/>
                    </a:lnTo>
                    <a:lnTo>
                      <a:pt x="711" y="565"/>
                    </a:lnTo>
                    <a:lnTo>
                      <a:pt x="710" y="566"/>
                    </a:lnTo>
                    <a:lnTo>
                      <a:pt x="710" y="566"/>
                    </a:lnTo>
                    <a:lnTo>
                      <a:pt x="708" y="566"/>
                    </a:lnTo>
                    <a:lnTo>
                      <a:pt x="707" y="565"/>
                    </a:lnTo>
                    <a:lnTo>
                      <a:pt x="706" y="563"/>
                    </a:lnTo>
                    <a:lnTo>
                      <a:pt x="704" y="561"/>
                    </a:lnTo>
                    <a:lnTo>
                      <a:pt x="703" y="559"/>
                    </a:lnTo>
                    <a:lnTo>
                      <a:pt x="701" y="557"/>
                    </a:lnTo>
                    <a:lnTo>
                      <a:pt x="699" y="555"/>
                    </a:lnTo>
                    <a:lnTo>
                      <a:pt x="698" y="554"/>
                    </a:lnTo>
                    <a:lnTo>
                      <a:pt x="698" y="553"/>
                    </a:lnTo>
                    <a:lnTo>
                      <a:pt x="697" y="552"/>
                    </a:lnTo>
                    <a:lnTo>
                      <a:pt x="697" y="552"/>
                    </a:lnTo>
                    <a:lnTo>
                      <a:pt x="698" y="551"/>
                    </a:lnTo>
                    <a:lnTo>
                      <a:pt x="699" y="551"/>
                    </a:lnTo>
                    <a:lnTo>
                      <a:pt x="701" y="551"/>
                    </a:lnTo>
                    <a:close/>
                    <a:moveTo>
                      <a:pt x="1437" y="550"/>
                    </a:moveTo>
                    <a:lnTo>
                      <a:pt x="1441" y="550"/>
                    </a:lnTo>
                    <a:lnTo>
                      <a:pt x="1441" y="552"/>
                    </a:lnTo>
                    <a:lnTo>
                      <a:pt x="1440" y="555"/>
                    </a:lnTo>
                    <a:lnTo>
                      <a:pt x="1440" y="558"/>
                    </a:lnTo>
                    <a:lnTo>
                      <a:pt x="1439" y="561"/>
                    </a:lnTo>
                    <a:lnTo>
                      <a:pt x="1438" y="563"/>
                    </a:lnTo>
                    <a:lnTo>
                      <a:pt x="1436" y="564"/>
                    </a:lnTo>
                    <a:lnTo>
                      <a:pt x="1435" y="564"/>
                    </a:lnTo>
                    <a:lnTo>
                      <a:pt x="1435" y="562"/>
                    </a:lnTo>
                    <a:lnTo>
                      <a:pt x="1434" y="559"/>
                    </a:lnTo>
                    <a:lnTo>
                      <a:pt x="1434" y="557"/>
                    </a:lnTo>
                    <a:lnTo>
                      <a:pt x="1434" y="554"/>
                    </a:lnTo>
                    <a:lnTo>
                      <a:pt x="1435" y="551"/>
                    </a:lnTo>
                    <a:lnTo>
                      <a:pt x="1437" y="550"/>
                    </a:lnTo>
                    <a:close/>
                    <a:moveTo>
                      <a:pt x="1424" y="550"/>
                    </a:moveTo>
                    <a:lnTo>
                      <a:pt x="1428" y="554"/>
                    </a:lnTo>
                    <a:lnTo>
                      <a:pt x="1429" y="561"/>
                    </a:lnTo>
                    <a:lnTo>
                      <a:pt x="1426" y="570"/>
                    </a:lnTo>
                    <a:lnTo>
                      <a:pt x="1425" y="572"/>
                    </a:lnTo>
                    <a:lnTo>
                      <a:pt x="1422" y="572"/>
                    </a:lnTo>
                    <a:lnTo>
                      <a:pt x="1420" y="572"/>
                    </a:lnTo>
                    <a:lnTo>
                      <a:pt x="1418" y="571"/>
                    </a:lnTo>
                    <a:lnTo>
                      <a:pt x="1416" y="570"/>
                    </a:lnTo>
                    <a:lnTo>
                      <a:pt x="1414" y="569"/>
                    </a:lnTo>
                    <a:lnTo>
                      <a:pt x="1413" y="568"/>
                    </a:lnTo>
                    <a:lnTo>
                      <a:pt x="1413" y="568"/>
                    </a:lnTo>
                    <a:lnTo>
                      <a:pt x="1411" y="565"/>
                    </a:lnTo>
                    <a:lnTo>
                      <a:pt x="1412" y="561"/>
                    </a:lnTo>
                    <a:lnTo>
                      <a:pt x="1416" y="557"/>
                    </a:lnTo>
                    <a:lnTo>
                      <a:pt x="1420" y="553"/>
                    </a:lnTo>
                    <a:lnTo>
                      <a:pt x="1424" y="550"/>
                    </a:lnTo>
                    <a:close/>
                    <a:moveTo>
                      <a:pt x="613" y="550"/>
                    </a:moveTo>
                    <a:lnTo>
                      <a:pt x="614" y="551"/>
                    </a:lnTo>
                    <a:lnTo>
                      <a:pt x="614" y="552"/>
                    </a:lnTo>
                    <a:lnTo>
                      <a:pt x="614" y="553"/>
                    </a:lnTo>
                    <a:lnTo>
                      <a:pt x="613" y="555"/>
                    </a:lnTo>
                    <a:lnTo>
                      <a:pt x="611" y="556"/>
                    </a:lnTo>
                    <a:lnTo>
                      <a:pt x="610" y="557"/>
                    </a:lnTo>
                    <a:lnTo>
                      <a:pt x="609" y="558"/>
                    </a:lnTo>
                    <a:lnTo>
                      <a:pt x="606" y="560"/>
                    </a:lnTo>
                    <a:lnTo>
                      <a:pt x="601" y="562"/>
                    </a:lnTo>
                    <a:lnTo>
                      <a:pt x="593" y="563"/>
                    </a:lnTo>
                    <a:lnTo>
                      <a:pt x="588" y="564"/>
                    </a:lnTo>
                    <a:lnTo>
                      <a:pt x="584" y="563"/>
                    </a:lnTo>
                    <a:lnTo>
                      <a:pt x="584" y="562"/>
                    </a:lnTo>
                    <a:lnTo>
                      <a:pt x="585" y="561"/>
                    </a:lnTo>
                    <a:lnTo>
                      <a:pt x="587" y="561"/>
                    </a:lnTo>
                    <a:lnTo>
                      <a:pt x="589" y="560"/>
                    </a:lnTo>
                    <a:lnTo>
                      <a:pt x="591" y="560"/>
                    </a:lnTo>
                    <a:lnTo>
                      <a:pt x="593" y="560"/>
                    </a:lnTo>
                    <a:lnTo>
                      <a:pt x="595" y="560"/>
                    </a:lnTo>
                    <a:lnTo>
                      <a:pt x="595" y="560"/>
                    </a:lnTo>
                    <a:lnTo>
                      <a:pt x="598" y="559"/>
                    </a:lnTo>
                    <a:lnTo>
                      <a:pt x="602" y="559"/>
                    </a:lnTo>
                    <a:lnTo>
                      <a:pt x="605" y="558"/>
                    </a:lnTo>
                    <a:lnTo>
                      <a:pt x="607" y="556"/>
                    </a:lnTo>
                    <a:lnTo>
                      <a:pt x="609" y="555"/>
                    </a:lnTo>
                    <a:lnTo>
                      <a:pt x="610" y="552"/>
                    </a:lnTo>
                    <a:lnTo>
                      <a:pt x="612" y="550"/>
                    </a:lnTo>
                    <a:lnTo>
                      <a:pt x="613" y="550"/>
                    </a:lnTo>
                    <a:close/>
                    <a:moveTo>
                      <a:pt x="683" y="527"/>
                    </a:moveTo>
                    <a:lnTo>
                      <a:pt x="688" y="527"/>
                    </a:lnTo>
                    <a:lnTo>
                      <a:pt x="691" y="529"/>
                    </a:lnTo>
                    <a:lnTo>
                      <a:pt x="693" y="533"/>
                    </a:lnTo>
                    <a:lnTo>
                      <a:pt x="692" y="534"/>
                    </a:lnTo>
                    <a:lnTo>
                      <a:pt x="693" y="535"/>
                    </a:lnTo>
                    <a:lnTo>
                      <a:pt x="693" y="535"/>
                    </a:lnTo>
                    <a:lnTo>
                      <a:pt x="695" y="535"/>
                    </a:lnTo>
                    <a:lnTo>
                      <a:pt x="696" y="535"/>
                    </a:lnTo>
                    <a:lnTo>
                      <a:pt x="697" y="535"/>
                    </a:lnTo>
                    <a:lnTo>
                      <a:pt x="699" y="535"/>
                    </a:lnTo>
                    <a:lnTo>
                      <a:pt x="700" y="536"/>
                    </a:lnTo>
                    <a:lnTo>
                      <a:pt x="700" y="538"/>
                    </a:lnTo>
                    <a:lnTo>
                      <a:pt x="700" y="540"/>
                    </a:lnTo>
                    <a:lnTo>
                      <a:pt x="700" y="542"/>
                    </a:lnTo>
                    <a:lnTo>
                      <a:pt x="699" y="545"/>
                    </a:lnTo>
                    <a:lnTo>
                      <a:pt x="697" y="547"/>
                    </a:lnTo>
                    <a:lnTo>
                      <a:pt x="695" y="547"/>
                    </a:lnTo>
                    <a:lnTo>
                      <a:pt x="694" y="547"/>
                    </a:lnTo>
                    <a:lnTo>
                      <a:pt x="692" y="545"/>
                    </a:lnTo>
                    <a:lnTo>
                      <a:pt x="691" y="543"/>
                    </a:lnTo>
                    <a:lnTo>
                      <a:pt x="690" y="541"/>
                    </a:lnTo>
                    <a:lnTo>
                      <a:pt x="690" y="539"/>
                    </a:lnTo>
                    <a:lnTo>
                      <a:pt x="689" y="537"/>
                    </a:lnTo>
                    <a:lnTo>
                      <a:pt x="687" y="536"/>
                    </a:lnTo>
                    <a:lnTo>
                      <a:pt x="686" y="536"/>
                    </a:lnTo>
                    <a:lnTo>
                      <a:pt x="673" y="536"/>
                    </a:lnTo>
                    <a:lnTo>
                      <a:pt x="671" y="534"/>
                    </a:lnTo>
                    <a:lnTo>
                      <a:pt x="670" y="532"/>
                    </a:lnTo>
                    <a:lnTo>
                      <a:pt x="671" y="531"/>
                    </a:lnTo>
                    <a:lnTo>
                      <a:pt x="673" y="530"/>
                    </a:lnTo>
                    <a:lnTo>
                      <a:pt x="675" y="530"/>
                    </a:lnTo>
                    <a:lnTo>
                      <a:pt x="679" y="528"/>
                    </a:lnTo>
                    <a:lnTo>
                      <a:pt x="683" y="527"/>
                    </a:lnTo>
                    <a:close/>
                    <a:moveTo>
                      <a:pt x="662" y="515"/>
                    </a:moveTo>
                    <a:lnTo>
                      <a:pt x="663" y="515"/>
                    </a:lnTo>
                    <a:lnTo>
                      <a:pt x="665" y="516"/>
                    </a:lnTo>
                    <a:lnTo>
                      <a:pt x="667" y="517"/>
                    </a:lnTo>
                    <a:lnTo>
                      <a:pt x="669" y="518"/>
                    </a:lnTo>
                    <a:lnTo>
                      <a:pt x="671" y="520"/>
                    </a:lnTo>
                    <a:lnTo>
                      <a:pt x="673" y="522"/>
                    </a:lnTo>
                    <a:lnTo>
                      <a:pt x="673" y="524"/>
                    </a:lnTo>
                    <a:lnTo>
                      <a:pt x="672" y="527"/>
                    </a:lnTo>
                    <a:lnTo>
                      <a:pt x="670" y="529"/>
                    </a:lnTo>
                    <a:lnTo>
                      <a:pt x="668" y="529"/>
                    </a:lnTo>
                    <a:lnTo>
                      <a:pt x="666" y="528"/>
                    </a:lnTo>
                    <a:lnTo>
                      <a:pt x="664" y="525"/>
                    </a:lnTo>
                    <a:lnTo>
                      <a:pt x="663" y="522"/>
                    </a:lnTo>
                    <a:lnTo>
                      <a:pt x="662" y="520"/>
                    </a:lnTo>
                    <a:lnTo>
                      <a:pt x="661" y="517"/>
                    </a:lnTo>
                    <a:lnTo>
                      <a:pt x="662" y="515"/>
                    </a:lnTo>
                    <a:close/>
                    <a:moveTo>
                      <a:pt x="1747" y="486"/>
                    </a:moveTo>
                    <a:lnTo>
                      <a:pt x="1747" y="486"/>
                    </a:lnTo>
                    <a:lnTo>
                      <a:pt x="1745" y="487"/>
                    </a:lnTo>
                    <a:lnTo>
                      <a:pt x="1744" y="489"/>
                    </a:lnTo>
                    <a:lnTo>
                      <a:pt x="1743" y="491"/>
                    </a:lnTo>
                    <a:lnTo>
                      <a:pt x="1743" y="492"/>
                    </a:lnTo>
                    <a:lnTo>
                      <a:pt x="1744" y="494"/>
                    </a:lnTo>
                    <a:lnTo>
                      <a:pt x="1745" y="495"/>
                    </a:lnTo>
                    <a:lnTo>
                      <a:pt x="1747" y="496"/>
                    </a:lnTo>
                    <a:lnTo>
                      <a:pt x="1748" y="497"/>
                    </a:lnTo>
                    <a:lnTo>
                      <a:pt x="1749" y="498"/>
                    </a:lnTo>
                    <a:lnTo>
                      <a:pt x="1750" y="498"/>
                    </a:lnTo>
                    <a:lnTo>
                      <a:pt x="1751" y="498"/>
                    </a:lnTo>
                    <a:lnTo>
                      <a:pt x="1753" y="496"/>
                    </a:lnTo>
                    <a:lnTo>
                      <a:pt x="1754" y="494"/>
                    </a:lnTo>
                    <a:lnTo>
                      <a:pt x="1756" y="491"/>
                    </a:lnTo>
                    <a:lnTo>
                      <a:pt x="1756" y="490"/>
                    </a:lnTo>
                    <a:lnTo>
                      <a:pt x="1756" y="489"/>
                    </a:lnTo>
                    <a:lnTo>
                      <a:pt x="1755" y="489"/>
                    </a:lnTo>
                    <a:lnTo>
                      <a:pt x="1754" y="489"/>
                    </a:lnTo>
                    <a:lnTo>
                      <a:pt x="1752" y="489"/>
                    </a:lnTo>
                    <a:lnTo>
                      <a:pt x="1751" y="489"/>
                    </a:lnTo>
                    <a:lnTo>
                      <a:pt x="1750" y="489"/>
                    </a:lnTo>
                    <a:lnTo>
                      <a:pt x="1749" y="488"/>
                    </a:lnTo>
                    <a:lnTo>
                      <a:pt x="1749" y="487"/>
                    </a:lnTo>
                    <a:lnTo>
                      <a:pt x="1748" y="486"/>
                    </a:lnTo>
                    <a:lnTo>
                      <a:pt x="1747" y="486"/>
                    </a:lnTo>
                    <a:close/>
                    <a:moveTo>
                      <a:pt x="29" y="459"/>
                    </a:moveTo>
                    <a:lnTo>
                      <a:pt x="34" y="460"/>
                    </a:lnTo>
                    <a:lnTo>
                      <a:pt x="38" y="461"/>
                    </a:lnTo>
                    <a:lnTo>
                      <a:pt x="42" y="462"/>
                    </a:lnTo>
                    <a:lnTo>
                      <a:pt x="45" y="463"/>
                    </a:lnTo>
                    <a:lnTo>
                      <a:pt x="47" y="466"/>
                    </a:lnTo>
                    <a:lnTo>
                      <a:pt x="47" y="467"/>
                    </a:lnTo>
                    <a:lnTo>
                      <a:pt x="47" y="469"/>
                    </a:lnTo>
                    <a:lnTo>
                      <a:pt x="45" y="472"/>
                    </a:lnTo>
                    <a:lnTo>
                      <a:pt x="43" y="473"/>
                    </a:lnTo>
                    <a:lnTo>
                      <a:pt x="41" y="473"/>
                    </a:lnTo>
                    <a:lnTo>
                      <a:pt x="37" y="471"/>
                    </a:lnTo>
                    <a:lnTo>
                      <a:pt x="34" y="468"/>
                    </a:lnTo>
                    <a:lnTo>
                      <a:pt x="30" y="466"/>
                    </a:lnTo>
                    <a:lnTo>
                      <a:pt x="28" y="463"/>
                    </a:lnTo>
                    <a:lnTo>
                      <a:pt x="28" y="460"/>
                    </a:lnTo>
                    <a:lnTo>
                      <a:pt x="29" y="459"/>
                    </a:lnTo>
                    <a:close/>
                    <a:moveTo>
                      <a:pt x="1" y="443"/>
                    </a:moveTo>
                    <a:lnTo>
                      <a:pt x="2" y="444"/>
                    </a:lnTo>
                    <a:lnTo>
                      <a:pt x="3" y="445"/>
                    </a:lnTo>
                    <a:lnTo>
                      <a:pt x="3" y="445"/>
                    </a:lnTo>
                    <a:lnTo>
                      <a:pt x="3" y="446"/>
                    </a:lnTo>
                    <a:lnTo>
                      <a:pt x="4" y="446"/>
                    </a:lnTo>
                    <a:lnTo>
                      <a:pt x="5" y="447"/>
                    </a:lnTo>
                    <a:lnTo>
                      <a:pt x="7" y="448"/>
                    </a:lnTo>
                    <a:lnTo>
                      <a:pt x="7" y="450"/>
                    </a:lnTo>
                    <a:lnTo>
                      <a:pt x="6" y="452"/>
                    </a:lnTo>
                    <a:lnTo>
                      <a:pt x="5" y="453"/>
                    </a:lnTo>
                    <a:lnTo>
                      <a:pt x="3" y="453"/>
                    </a:lnTo>
                    <a:lnTo>
                      <a:pt x="2" y="452"/>
                    </a:lnTo>
                    <a:lnTo>
                      <a:pt x="1" y="450"/>
                    </a:lnTo>
                    <a:lnTo>
                      <a:pt x="1" y="449"/>
                    </a:lnTo>
                    <a:lnTo>
                      <a:pt x="0" y="448"/>
                    </a:lnTo>
                    <a:lnTo>
                      <a:pt x="0" y="446"/>
                    </a:lnTo>
                    <a:lnTo>
                      <a:pt x="0" y="445"/>
                    </a:lnTo>
                    <a:lnTo>
                      <a:pt x="0" y="444"/>
                    </a:lnTo>
                    <a:lnTo>
                      <a:pt x="0" y="443"/>
                    </a:lnTo>
                    <a:lnTo>
                      <a:pt x="1" y="443"/>
                    </a:lnTo>
                    <a:close/>
                    <a:moveTo>
                      <a:pt x="952" y="413"/>
                    </a:moveTo>
                    <a:lnTo>
                      <a:pt x="954" y="415"/>
                    </a:lnTo>
                    <a:lnTo>
                      <a:pt x="957" y="415"/>
                    </a:lnTo>
                    <a:lnTo>
                      <a:pt x="960" y="416"/>
                    </a:lnTo>
                    <a:lnTo>
                      <a:pt x="962" y="417"/>
                    </a:lnTo>
                    <a:lnTo>
                      <a:pt x="962" y="418"/>
                    </a:lnTo>
                    <a:lnTo>
                      <a:pt x="962" y="420"/>
                    </a:lnTo>
                    <a:lnTo>
                      <a:pt x="961" y="421"/>
                    </a:lnTo>
                    <a:lnTo>
                      <a:pt x="958" y="422"/>
                    </a:lnTo>
                    <a:lnTo>
                      <a:pt x="956" y="423"/>
                    </a:lnTo>
                    <a:lnTo>
                      <a:pt x="953" y="424"/>
                    </a:lnTo>
                    <a:lnTo>
                      <a:pt x="951" y="424"/>
                    </a:lnTo>
                    <a:lnTo>
                      <a:pt x="949" y="424"/>
                    </a:lnTo>
                    <a:lnTo>
                      <a:pt x="946" y="423"/>
                    </a:lnTo>
                    <a:lnTo>
                      <a:pt x="945" y="421"/>
                    </a:lnTo>
                    <a:lnTo>
                      <a:pt x="945" y="419"/>
                    </a:lnTo>
                    <a:lnTo>
                      <a:pt x="945" y="417"/>
                    </a:lnTo>
                    <a:lnTo>
                      <a:pt x="947" y="416"/>
                    </a:lnTo>
                    <a:lnTo>
                      <a:pt x="949" y="415"/>
                    </a:lnTo>
                    <a:lnTo>
                      <a:pt x="952" y="413"/>
                    </a:lnTo>
                    <a:close/>
                    <a:moveTo>
                      <a:pt x="891" y="408"/>
                    </a:moveTo>
                    <a:lnTo>
                      <a:pt x="892" y="408"/>
                    </a:lnTo>
                    <a:lnTo>
                      <a:pt x="894" y="409"/>
                    </a:lnTo>
                    <a:lnTo>
                      <a:pt x="896" y="411"/>
                    </a:lnTo>
                    <a:lnTo>
                      <a:pt x="896" y="413"/>
                    </a:lnTo>
                    <a:lnTo>
                      <a:pt x="896" y="417"/>
                    </a:lnTo>
                    <a:lnTo>
                      <a:pt x="895" y="419"/>
                    </a:lnTo>
                    <a:lnTo>
                      <a:pt x="893" y="422"/>
                    </a:lnTo>
                    <a:lnTo>
                      <a:pt x="891" y="423"/>
                    </a:lnTo>
                    <a:lnTo>
                      <a:pt x="890" y="424"/>
                    </a:lnTo>
                    <a:lnTo>
                      <a:pt x="888" y="423"/>
                    </a:lnTo>
                    <a:lnTo>
                      <a:pt x="887" y="421"/>
                    </a:lnTo>
                    <a:lnTo>
                      <a:pt x="886" y="419"/>
                    </a:lnTo>
                    <a:lnTo>
                      <a:pt x="886" y="417"/>
                    </a:lnTo>
                    <a:lnTo>
                      <a:pt x="886" y="413"/>
                    </a:lnTo>
                    <a:lnTo>
                      <a:pt x="887" y="410"/>
                    </a:lnTo>
                    <a:lnTo>
                      <a:pt x="889" y="408"/>
                    </a:lnTo>
                    <a:lnTo>
                      <a:pt x="891" y="408"/>
                    </a:lnTo>
                    <a:close/>
                    <a:moveTo>
                      <a:pt x="2102" y="395"/>
                    </a:moveTo>
                    <a:lnTo>
                      <a:pt x="2104" y="396"/>
                    </a:lnTo>
                    <a:lnTo>
                      <a:pt x="2106" y="397"/>
                    </a:lnTo>
                    <a:lnTo>
                      <a:pt x="2107" y="399"/>
                    </a:lnTo>
                    <a:lnTo>
                      <a:pt x="2108" y="401"/>
                    </a:lnTo>
                    <a:lnTo>
                      <a:pt x="2109" y="403"/>
                    </a:lnTo>
                    <a:lnTo>
                      <a:pt x="2110" y="406"/>
                    </a:lnTo>
                    <a:lnTo>
                      <a:pt x="2111" y="409"/>
                    </a:lnTo>
                    <a:lnTo>
                      <a:pt x="2111" y="412"/>
                    </a:lnTo>
                    <a:lnTo>
                      <a:pt x="2108" y="417"/>
                    </a:lnTo>
                    <a:lnTo>
                      <a:pt x="2105" y="420"/>
                    </a:lnTo>
                    <a:lnTo>
                      <a:pt x="2102" y="423"/>
                    </a:lnTo>
                    <a:lnTo>
                      <a:pt x="2100" y="425"/>
                    </a:lnTo>
                    <a:lnTo>
                      <a:pt x="2099" y="426"/>
                    </a:lnTo>
                    <a:lnTo>
                      <a:pt x="2097" y="428"/>
                    </a:lnTo>
                    <a:lnTo>
                      <a:pt x="2095" y="428"/>
                    </a:lnTo>
                    <a:lnTo>
                      <a:pt x="2094" y="428"/>
                    </a:lnTo>
                    <a:lnTo>
                      <a:pt x="2094" y="419"/>
                    </a:lnTo>
                    <a:lnTo>
                      <a:pt x="2094" y="416"/>
                    </a:lnTo>
                    <a:lnTo>
                      <a:pt x="2094" y="413"/>
                    </a:lnTo>
                    <a:lnTo>
                      <a:pt x="2095" y="411"/>
                    </a:lnTo>
                    <a:lnTo>
                      <a:pt x="2097" y="408"/>
                    </a:lnTo>
                    <a:lnTo>
                      <a:pt x="2097" y="406"/>
                    </a:lnTo>
                    <a:lnTo>
                      <a:pt x="2097" y="404"/>
                    </a:lnTo>
                    <a:lnTo>
                      <a:pt x="2098" y="401"/>
                    </a:lnTo>
                    <a:lnTo>
                      <a:pt x="2099" y="399"/>
                    </a:lnTo>
                    <a:lnTo>
                      <a:pt x="2101" y="397"/>
                    </a:lnTo>
                    <a:lnTo>
                      <a:pt x="2102" y="395"/>
                    </a:lnTo>
                    <a:close/>
                    <a:moveTo>
                      <a:pt x="1566" y="362"/>
                    </a:moveTo>
                    <a:lnTo>
                      <a:pt x="1568" y="362"/>
                    </a:lnTo>
                    <a:lnTo>
                      <a:pt x="1569" y="364"/>
                    </a:lnTo>
                    <a:lnTo>
                      <a:pt x="1567" y="370"/>
                    </a:lnTo>
                    <a:lnTo>
                      <a:pt x="1565" y="377"/>
                    </a:lnTo>
                    <a:lnTo>
                      <a:pt x="1562" y="383"/>
                    </a:lnTo>
                    <a:lnTo>
                      <a:pt x="1558" y="387"/>
                    </a:lnTo>
                    <a:lnTo>
                      <a:pt x="1557" y="385"/>
                    </a:lnTo>
                    <a:lnTo>
                      <a:pt x="1557" y="382"/>
                    </a:lnTo>
                    <a:lnTo>
                      <a:pt x="1559" y="377"/>
                    </a:lnTo>
                    <a:lnTo>
                      <a:pt x="1561" y="371"/>
                    </a:lnTo>
                    <a:lnTo>
                      <a:pt x="1563" y="367"/>
                    </a:lnTo>
                    <a:lnTo>
                      <a:pt x="1565" y="364"/>
                    </a:lnTo>
                    <a:lnTo>
                      <a:pt x="1566" y="362"/>
                    </a:lnTo>
                    <a:close/>
                    <a:moveTo>
                      <a:pt x="1566" y="300"/>
                    </a:moveTo>
                    <a:lnTo>
                      <a:pt x="1567" y="304"/>
                    </a:lnTo>
                    <a:lnTo>
                      <a:pt x="1567" y="306"/>
                    </a:lnTo>
                    <a:lnTo>
                      <a:pt x="1567" y="309"/>
                    </a:lnTo>
                    <a:lnTo>
                      <a:pt x="1566" y="311"/>
                    </a:lnTo>
                    <a:lnTo>
                      <a:pt x="1564" y="314"/>
                    </a:lnTo>
                    <a:lnTo>
                      <a:pt x="1562" y="317"/>
                    </a:lnTo>
                    <a:lnTo>
                      <a:pt x="1562" y="320"/>
                    </a:lnTo>
                    <a:lnTo>
                      <a:pt x="1561" y="322"/>
                    </a:lnTo>
                    <a:lnTo>
                      <a:pt x="1560" y="324"/>
                    </a:lnTo>
                    <a:lnTo>
                      <a:pt x="1559" y="324"/>
                    </a:lnTo>
                    <a:lnTo>
                      <a:pt x="1557" y="324"/>
                    </a:lnTo>
                    <a:lnTo>
                      <a:pt x="1556" y="323"/>
                    </a:lnTo>
                    <a:lnTo>
                      <a:pt x="1555" y="321"/>
                    </a:lnTo>
                    <a:lnTo>
                      <a:pt x="1554" y="320"/>
                    </a:lnTo>
                    <a:lnTo>
                      <a:pt x="1554" y="317"/>
                    </a:lnTo>
                    <a:lnTo>
                      <a:pt x="1554" y="314"/>
                    </a:lnTo>
                    <a:lnTo>
                      <a:pt x="1556" y="311"/>
                    </a:lnTo>
                    <a:lnTo>
                      <a:pt x="1558" y="309"/>
                    </a:lnTo>
                    <a:lnTo>
                      <a:pt x="1560" y="307"/>
                    </a:lnTo>
                    <a:lnTo>
                      <a:pt x="1562" y="305"/>
                    </a:lnTo>
                    <a:lnTo>
                      <a:pt x="1564" y="304"/>
                    </a:lnTo>
                    <a:lnTo>
                      <a:pt x="1565" y="303"/>
                    </a:lnTo>
                    <a:lnTo>
                      <a:pt x="1566" y="303"/>
                    </a:lnTo>
                    <a:lnTo>
                      <a:pt x="1566" y="300"/>
                    </a:lnTo>
                    <a:close/>
                    <a:moveTo>
                      <a:pt x="1441" y="250"/>
                    </a:moveTo>
                    <a:lnTo>
                      <a:pt x="1441" y="251"/>
                    </a:lnTo>
                    <a:lnTo>
                      <a:pt x="1441" y="252"/>
                    </a:lnTo>
                    <a:lnTo>
                      <a:pt x="1441" y="254"/>
                    </a:lnTo>
                    <a:lnTo>
                      <a:pt x="1440" y="257"/>
                    </a:lnTo>
                    <a:lnTo>
                      <a:pt x="1440" y="259"/>
                    </a:lnTo>
                    <a:lnTo>
                      <a:pt x="1439" y="262"/>
                    </a:lnTo>
                    <a:lnTo>
                      <a:pt x="1439" y="264"/>
                    </a:lnTo>
                    <a:lnTo>
                      <a:pt x="1437" y="265"/>
                    </a:lnTo>
                    <a:lnTo>
                      <a:pt x="1436" y="264"/>
                    </a:lnTo>
                    <a:lnTo>
                      <a:pt x="1434" y="263"/>
                    </a:lnTo>
                    <a:lnTo>
                      <a:pt x="1433" y="260"/>
                    </a:lnTo>
                    <a:lnTo>
                      <a:pt x="1433" y="258"/>
                    </a:lnTo>
                    <a:lnTo>
                      <a:pt x="1432" y="255"/>
                    </a:lnTo>
                    <a:lnTo>
                      <a:pt x="1434" y="252"/>
                    </a:lnTo>
                    <a:lnTo>
                      <a:pt x="1435" y="251"/>
                    </a:lnTo>
                    <a:lnTo>
                      <a:pt x="1437" y="250"/>
                    </a:lnTo>
                    <a:lnTo>
                      <a:pt x="1439" y="250"/>
                    </a:lnTo>
                    <a:lnTo>
                      <a:pt x="1441" y="250"/>
                    </a:lnTo>
                    <a:close/>
                    <a:moveTo>
                      <a:pt x="1465" y="232"/>
                    </a:moveTo>
                    <a:lnTo>
                      <a:pt x="1465" y="234"/>
                    </a:lnTo>
                    <a:lnTo>
                      <a:pt x="1465" y="236"/>
                    </a:lnTo>
                    <a:lnTo>
                      <a:pt x="1467" y="237"/>
                    </a:lnTo>
                    <a:lnTo>
                      <a:pt x="1469" y="239"/>
                    </a:lnTo>
                    <a:lnTo>
                      <a:pt x="1470" y="240"/>
                    </a:lnTo>
                    <a:lnTo>
                      <a:pt x="1472" y="241"/>
                    </a:lnTo>
                    <a:lnTo>
                      <a:pt x="1472" y="242"/>
                    </a:lnTo>
                    <a:lnTo>
                      <a:pt x="1473" y="245"/>
                    </a:lnTo>
                    <a:lnTo>
                      <a:pt x="1475" y="249"/>
                    </a:lnTo>
                    <a:lnTo>
                      <a:pt x="1475" y="252"/>
                    </a:lnTo>
                    <a:lnTo>
                      <a:pt x="1473" y="254"/>
                    </a:lnTo>
                    <a:lnTo>
                      <a:pt x="1472" y="257"/>
                    </a:lnTo>
                    <a:lnTo>
                      <a:pt x="1470" y="258"/>
                    </a:lnTo>
                    <a:lnTo>
                      <a:pt x="1468" y="258"/>
                    </a:lnTo>
                    <a:lnTo>
                      <a:pt x="1465" y="258"/>
                    </a:lnTo>
                    <a:lnTo>
                      <a:pt x="1463" y="257"/>
                    </a:lnTo>
                    <a:lnTo>
                      <a:pt x="1461" y="255"/>
                    </a:lnTo>
                    <a:lnTo>
                      <a:pt x="1459" y="254"/>
                    </a:lnTo>
                    <a:lnTo>
                      <a:pt x="1458" y="251"/>
                    </a:lnTo>
                    <a:lnTo>
                      <a:pt x="1458" y="248"/>
                    </a:lnTo>
                    <a:lnTo>
                      <a:pt x="1458" y="245"/>
                    </a:lnTo>
                    <a:lnTo>
                      <a:pt x="1458" y="242"/>
                    </a:lnTo>
                    <a:lnTo>
                      <a:pt x="1459" y="239"/>
                    </a:lnTo>
                    <a:lnTo>
                      <a:pt x="1460" y="237"/>
                    </a:lnTo>
                    <a:lnTo>
                      <a:pt x="1461" y="234"/>
                    </a:lnTo>
                    <a:lnTo>
                      <a:pt x="1463" y="233"/>
                    </a:lnTo>
                    <a:lnTo>
                      <a:pt x="1465" y="232"/>
                    </a:lnTo>
                    <a:close/>
                    <a:moveTo>
                      <a:pt x="1445" y="218"/>
                    </a:moveTo>
                    <a:lnTo>
                      <a:pt x="1448" y="218"/>
                    </a:lnTo>
                    <a:lnTo>
                      <a:pt x="1451" y="219"/>
                    </a:lnTo>
                    <a:lnTo>
                      <a:pt x="1453" y="221"/>
                    </a:lnTo>
                    <a:lnTo>
                      <a:pt x="1455" y="223"/>
                    </a:lnTo>
                    <a:lnTo>
                      <a:pt x="1456" y="225"/>
                    </a:lnTo>
                    <a:lnTo>
                      <a:pt x="1456" y="229"/>
                    </a:lnTo>
                    <a:lnTo>
                      <a:pt x="1456" y="231"/>
                    </a:lnTo>
                    <a:lnTo>
                      <a:pt x="1455" y="233"/>
                    </a:lnTo>
                    <a:lnTo>
                      <a:pt x="1453" y="234"/>
                    </a:lnTo>
                    <a:lnTo>
                      <a:pt x="1452" y="235"/>
                    </a:lnTo>
                    <a:lnTo>
                      <a:pt x="1450" y="236"/>
                    </a:lnTo>
                    <a:lnTo>
                      <a:pt x="1448" y="236"/>
                    </a:lnTo>
                    <a:lnTo>
                      <a:pt x="1446" y="237"/>
                    </a:lnTo>
                    <a:lnTo>
                      <a:pt x="1444" y="238"/>
                    </a:lnTo>
                    <a:lnTo>
                      <a:pt x="1443" y="239"/>
                    </a:lnTo>
                    <a:lnTo>
                      <a:pt x="1442" y="241"/>
                    </a:lnTo>
                    <a:lnTo>
                      <a:pt x="1440" y="243"/>
                    </a:lnTo>
                    <a:lnTo>
                      <a:pt x="1438" y="245"/>
                    </a:lnTo>
                    <a:lnTo>
                      <a:pt x="1436" y="245"/>
                    </a:lnTo>
                    <a:lnTo>
                      <a:pt x="1433" y="245"/>
                    </a:lnTo>
                    <a:lnTo>
                      <a:pt x="1431" y="245"/>
                    </a:lnTo>
                    <a:lnTo>
                      <a:pt x="1429" y="243"/>
                    </a:lnTo>
                    <a:lnTo>
                      <a:pt x="1428" y="242"/>
                    </a:lnTo>
                    <a:lnTo>
                      <a:pt x="1427" y="240"/>
                    </a:lnTo>
                    <a:lnTo>
                      <a:pt x="1428" y="237"/>
                    </a:lnTo>
                    <a:lnTo>
                      <a:pt x="1429" y="236"/>
                    </a:lnTo>
                    <a:lnTo>
                      <a:pt x="1431" y="235"/>
                    </a:lnTo>
                    <a:lnTo>
                      <a:pt x="1433" y="234"/>
                    </a:lnTo>
                    <a:lnTo>
                      <a:pt x="1435" y="233"/>
                    </a:lnTo>
                    <a:lnTo>
                      <a:pt x="1436" y="231"/>
                    </a:lnTo>
                    <a:lnTo>
                      <a:pt x="1437" y="228"/>
                    </a:lnTo>
                    <a:lnTo>
                      <a:pt x="1439" y="224"/>
                    </a:lnTo>
                    <a:lnTo>
                      <a:pt x="1440" y="221"/>
                    </a:lnTo>
                    <a:lnTo>
                      <a:pt x="1442" y="219"/>
                    </a:lnTo>
                    <a:lnTo>
                      <a:pt x="1445" y="218"/>
                    </a:lnTo>
                    <a:close/>
                    <a:moveTo>
                      <a:pt x="800" y="217"/>
                    </a:moveTo>
                    <a:lnTo>
                      <a:pt x="798" y="218"/>
                    </a:lnTo>
                    <a:lnTo>
                      <a:pt x="796" y="220"/>
                    </a:lnTo>
                    <a:lnTo>
                      <a:pt x="798" y="220"/>
                    </a:lnTo>
                    <a:lnTo>
                      <a:pt x="800" y="221"/>
                    </a:lnTo>
                    <a:lnTo>
                      <a:pt x="802" y="222"/>
                    </a:lnTo>
                    <a:lnTo>
                      <a:pt x="804" y="223"/>
                    </a:lnTo>
                    <a:lnTo>
                      <a:pt x="806" y="224"/>
                    </a:lnTo>
                    <a:lnTo>
                      <a:pt x="804" y="220"/>
                    </a:lnTo>
                    <a:lnTo>
                      <a:pt x="803" y="218"/>
                    </a:lnTo>
                    <a:lnTo>
                      <a:pt x="801" y="217"/>
                    </a:lnTo>
                    <a:lnTo>
                      <a:pt x="800" y="217"/>
                    </a:lnTo>
                    <a:close/>
                    <a:moveTo>
                      <a:pt x="1866" y="192"/>
                    </a:moveTo>
                    <a:lnTo>
                      <a:pt x="1867" y="192"/>
                    </a:lnTo>
                    <a:lnTo>
                      <a:pt x="1868" y="193"/>
                    </a:lnTo>
                    <a:lnTo>
                      <a:pt x="1870" y="193"/>
                    </a:lnTo>
                    <a:lnTo>
                      <a:pt x="1871" y="193"/>
                    </a:lnTo>
                    <a:lnTo>
                      <a:pt x="1871" y="193"/>
                    </a:lnTo>
                    <a:lnTo>
                      <a:pt x="1872" y="193"/>
                    </a:lnTo>
                    <a:lnTo>
                      <a:pt x="1874" y="192"/>
                    </a:lnTo>
                    <a:lnTo>
                      <a:pt x="1875" y="192"/>
                    </a:lnTo>
                    <a:lnTo>
                      <a:pt x="1877" y="193"/>
                    </a:lnTo>
                    <a:lnTo>
                      <a:pt x="1878" y="193"/>
                    </a:lnTo>
                    <a:lnTo>
                      <a:pt x="1878" y="195"/>
                    </a:lnTo>
                    <a:lnTo>
                      <a:pt x="1877" y="195"/>
                    </a:lnTo>
                    <a:lnTo>
                      <a:pt x="1876" y="196"/>
                    </a:lnTo>
                    <a:lnTo>
                      <a:pt x="1876" y="197"/>
                    </a:lnTo>
                    <a:lnTo>
                      <a:pt x="1875" y="197"/>
                    </a:lnTo>
                    <a:lnTo>
                      <a:pt x="1874" y="198"/>
                    </a:lnTo>
                    <a:lnTo>
                      <a:pt x="1874" y="198"/>
                    </a:lnTo>
                    <a:lnTo>
                      <a:pt x="1873" y="198"/>
                    </a:lnTo>
                    <a:lnTo>
                      <a:pt x="1873" y="198"/>
                    </a:lnTo>
                    <a:lnTo>
                      <a:pt x="1871" y="198"/>
                    </a:lnTo>
                    <a:lnTo>
                      <a:pt x="1869" y="197"/>
                    </a:lnTo>
                    <a:lnTo>
                      <a:pt x="1867" y="197"/>
                    </a:lnTo>
                    <a:lnTo>
                      <a:pt x="1867" y="197"/>
                    </a:lnTo>
                    <a:lnTo>
                      <a:pt x="1866" y="197"/>
                    </a:lnTo>
                    <a:lnTo>
                      <a:pt x="1864" y="196"/>
                    </a:lnTo>
                    <a:lnTo>
                      <a:pt x="1863" y="196"/>
                    </a:lnTo>
                    <a:lnTo>
                      <a:pt x="1863" y="195"/>
                    </a:lnTo>
                    <a:lnTo>
                      <a:pt x="1863" y="193"/>
                    </a:lnTo>
                    <a:lnTo>
                      <a:pt x="1864" y="192"/>
                    </a:lnTo>
                    <a:lnTo>
                      <a:pt x="1866" y="192"/>
                    </a:lnTo>
                    <a:close/>
                    <a:moveTo>
                      <a:pt x="1706" y="175"/>
                    </a:moveTo>
                    <a:lnTo>
                      <a:pt x="1705" y="181"/>
                    </a:lnTo>
                    <a:lnTo>
                      <a:pt x="1703" y="188"/>
                    </a:lnTo>
                    <a:lnTo>
                      <a:pt x="1700" y="204"/>
                    </a:lnTo>
                    <a:lnTo>
                      <a:pt x="1693" y="216"/>
                    </a:lnTo>
                    <a:lnTo>
                      <a:pt x="1691" y="219"/>
                    </a:lnTo>
                    <a:lnTo>
                      <a:pt x="1688" y="222"/>
                    </a:lnTo>
                    <a:lnTo>
                      <a:pt x="1686" y="226"/>
                    </a:lnTo>
                    <a:lnTo>
                      <a:pt x="1683" y="228"/>
                    </a:lnTo>
                    <a:lnTo>
                      <a:pt x="1681" y="230"/>
                    </a:lnTo>
                    <a:lnTo>
                      <a:pt x="1678" y="231"/>
                    </a:lnTo>
                    <a:lnTo>
                      <a:pt x="1677" y="231"/>
                    </a:lnTo>
                    <a:lnTo>
                      <a:pt x="1676" y="231"/>
                    </a:lnTo>
                    <a:lnTo>
                      <a:pt x="1675" y="230"/>
                    </a:lnTo>
                    <a:lnTo>
                      <a:pt x="1673" y="230"/>
                    </a:lnTo>
                    <a:lnTo>
                      <a:pt x="1672" y="229"/>
                    </a:lnTo>
                    <a:lnTo>
                      <a:pt x="1671" y="229"/>
                    </a:lnTo>
                    <a:lnTo>
                      <a:pt x="1670" y="230"/>
                    </a:lnTo>
                    <a:lnTo>
                      <a:pt x="1668" y="232"/>
                    </a:lnTo>
                    <a:lnTo>
                      <a:pt x="1667" y="234"/>
                    </a:lnTo>
                    <a:lnTo>
                      <a:pt x="1665" y="236"/>
                    </a:lnTo>
                    <a:lnTo>
                      <a:pt x="1664" y="238"/>
                    </a:lnTo>
                    <a:lnTo>
                      <a:pt x="1662" y="240"/>
                    </a:lnTo>
                    <a:lnTo>
                      <a:pt x="1661" y="241"/>
                    </a:lnTo>
                    <a:lnTo>
                      <a:pt x="1660" y="238"/>
                    </a:lnTo>
                    <a:lnTo>
                      <a:pt x="1659" y="236"/>
                    </a:lnTo>
                    <a:lnTo>
                      <a:pt x="1658" y="234"/>
                    </a:lnTo>
                    <a:lnTo>
                      <a:pt x="1657" y="232"/>
                    </a:lnTo>
                    <a:lnTo>
                      <a:pt x="1656" y="230"/>
                    </a:lnTo>
                    <a:lnTo>
                      <a:pt x="1655" y="228"/>
                    </a:lnTo>
                    <a:lnTo>
                      <a:pt x="1654" y="227"/>
                    </a:lnTo>
                    <a:lnTo>
                      <a:pt x="1652" y="227"/>
                    </a:lnTo>
                    <a:lnTo>
                      <a:pt x="1650" y="228"/>
                    </a:lnTo>
                    <a:lnTo>
                      <a:pt x="1647" y="230"/>
                    </a:lnTo>
                    <a:lnTo>
                      <a:pt x="1646" y="231"/>
                    </a:lnTo>
                    <a:lnTo>
                      <a:pt x="1645" y="231"/>
                    </a:lnTo>
                    <a:lnTo>
                      <a:pt x="1643" y="232"/>
                    </a:lnTo>
                    <a:lnTo>
                      <a:pt x="1641" y="232"/>
                    </a:lnTo>
                    <a:lnTo>
                      <a:pt x="1640" y="232"/>
                    </a:lnTo>
                    <a:lnTo>
                      <a:pt x="1639" y="230"/>
                    </a:lnTo>
                    <a:lnTo>
                      <a:pt x="1639" y="229"/>
                    </a:lnTo>
                    <a:lnTo>
                      <a:pt x="1639" y="226"/>
                    </a:lnTo>
                    <a:lnTo>
                      <a:pt x="1640" y="224"/>
                    </a:lnTo>
                    <a:lnTo>
                      <a:pt x="1641" y="222"/>
                    </a:lnTo>
                    <a:lnTo>
                      <a:pt x="1642" y="220"/>
                    </a:lnTo>
                    <a:lnTo>
                      <a:pt x="1642" y="217"/>
                    </a:lnTo>
                    <a:lnTo>
                      <a:pt x="1641" y="215"/>
                    </a:lnTo>
                    <a:lnTo>
                      <a:pt x="1641" y="213"/>
                    </a:lnTo>
                    <a:lnTo>
                      <a:pt x="1640" y="211"/>
                    </a:lnTo>
                    <a:lnTo>
                      <a:pt x="1640" y="210"/>
                    </a:lnTo>
                    <a:lnTo>
                      <a:pt x="1673" y="192"/>
                    </a:lnTo>
                    <a:lnTo>
                      <a:pt x="1674" y="191"/>
                    </a:lnTo>
                    <a:lnTo>
                      <a:pt x="1678" y="188"/>
                    </a:lnTo>
                    <a:lnTo>
                      <a:pt x="1706" y="175"/>
                    </a:lnTo>
                    <a:close/>
                    <a:moveTo>
                      <a:pt x="1799" y="172"/>
                    </a:moveTo>
                    <a:lnTo>
                      <a:pt x="1801" y="173"/>
                    </a:lnTo>
                    <a:lnTo>
                      <a:pt x="1802" y="174"/>
                    </a:lnTo>
                    <a:lnTo>
                      <a:pt x="1804" y="176"/>
                    </a:lnTo>
                    <a:lnTo>
                      <a:pt x="1806" y="177"/>
                    </a:lnTo>
                    <a:lnTo>
                      <a:pt x="1807" y="179"/>
                    </a:lnTo>
                    <a:lnTo>
                      <a:pt x="1808" y="180"/>
                    </a:lnTo>
                    <a:lnTo>
                      <a:pt x="1809" y="181"/>
                    </a:lnTo>
                    <a:lnTo>
                      <a:pt x="1810" y="182"/>
                    </a:lnTo>
                    <a:lnTo>
                      <a:pt x="1810" y="184"/>
                    </a:lnTo>
                    <a:lnTo>
                      <a:pt x="1810" y="185"/>
                    </a:lnTo>
                    <a:lnTo>
                      <a:pt x="1810" y="187"/>
                    </a:lnTo>
                    <a:lnTo>
                      <a:pt x="1809" y="188"/>
                    </a:lnTo>
                    <a:lnTo>
                      <a:pt x="1808" y="189"/>
                    </a:lnTo>
                    <a:lnTo>
                      <a:pt x="1806" y="189"/>
                    </a:lnTo>
                    <a:lnTo>
                      <a:pt x="1805" y="189"/>
                    </a:lnTo>
                    <a:lnTo>
                      <a:pt x="1804" y="188"/>
                    </a:lnTo>
                    <a:lnTo>
                      <a:pt x="1804" y="188"/>
                    </a:lnTo>
                    <a:lnTo>
                      <a:pt x="1802" y="188"/>
                    </a:lnTo>
                    <a:lnTo>
                      <a:pt x="1801" y="187"/>
                    </a:lnTo>
                    <a:lnTo>
                      <a:pt x="1800" y="187"/>
                    </a:lnTo>
                    <a:lnTo>
                      <a:pt x="1799" y="186"/>
                    </a:lnTo>
                    <a:lnTo>
                      <a:pt x="1798" y="185"/>
                    </a:lnTo>
                    <a:lnTo>
                      <a:pt x="1798" y="183"/>
                    </a:lnTo>
                    <a:lnTo>
                      <a:pt x="1797" y="182"/>
                    </a:lnTo>
                    <a:lnTo>
                      <a:pt x="1795" y="181"/>
                    </a:lnTo>
                    <a:lnTo>
                      <a:pt x="1794" y="180"/>
                    </a:lnTo>
                    <a:lnTo>
                      <a:pt x="1793" y="178"/>
                    </a:lnTo>
                    <a:lnTo>
                      <a:pt x="1793" y="176"/>
                    </a:lnTo>
                    <a:lnTo>
                      <a:pt x="1794" y="174"/>
                    </a:lnTo>
                    <a:lnTo>
                      <a:pt x="1796" y="173"/>
                    </a:lnTo>
                    <a:lnTo>
                      <a:pt x="1797" y="172"/>
                    </a:lnTo>
                    <a:lnTo>
                      <a:pt x="1799" y="172"/>
                    </a:lnTo>
                    <a:close/>
                    <a:moveTo>
                      <a:pt x="1720" y="172"/>
                    </a:moveTo>
                    <a:lnTo>
                      <a:pt x="1721" y="173"/>
                    </a:lnTo>
                    <a:lnTo>
                      <a:pt x="1721" y="173"/>
                    </a:lnTo>
                    <a:lnTo>
                      <a:pt x="1721" y="174"/>
                    </a:lnTo>
                    <a:lnTo>
                      <a:pt x="1721" y="176"/>
                    </a:lnTo>
                    <a:lnTo>
                      <a:pt x="1720" y="177"/>
                    </a:lnTo>
                    <a:lnTo>
                      <a:pt x="1720" y="177"/>
                    </a:lnTo>
                    <a:lnTo>
                      <a:pt x="1720" y="178"/>
                    </a:lnTo>
                    <a:lnTo>
                      <a:pt x="1718" y="178"/>
                    </a:lnTo>
                    <a:lnTo>
                      <a:pt x="1717" y="178"/>
                    </a:lnTo>
                    <a:lnTo>
                      <a:pt x="1716" y="177"/>
                    </a:lnTo>
                    <a:lnTo>
                      <a:pt x="1716" y="175"/>
                    </a:lnTo>
                    <a:lnTo>
                      <a:pt x="1717" y="174"/>
                    </a:lnTo>
                    <a:lnTo>
                      <a:pt x="1718" y="173"/>
                    </a:lnTo>
                    <a:lnTo>
                      <a:pt x="1720" y="172"/>
                    </a:lnTo>
                    <a:close/>
                    <a:moveTo>
                      <a:pt x="1725" y="164"/>
                    </a:moveTo>
                    <a:lnTo>
                      <a:pt x="1725" y="164"/>
                    </a:lnTo>
                    <a:lnTo>
                      <a:pt x="1724" y="164"/>
                    </a:lnTo>
                    <a:lnTo>
                      <a:pt x="1725" y="164"/>
                    </a:lnTo>
                    <a:close/>
                    <a:moveTo>
                      <a:pt x="1731" y="162"/>
                    </a:moveTo>
                    <a:lnTo>
                      <a:pt x="1731" y="162"/>
                    </a:lnTo>
                    <a:lnTo>
                      <a:pt x="1731" y="165"/>
                    </a:lnTo>
                    <a:lnTo>
                      <a:pt x="1730" y="168"/>
                    </a:lnTo>
                    <a:lnTo>
                      <a:pt x="1729" y="169"/>
                    </a:lnTo>
                    <a:lnTo>
                      <a:pt x="1728" y="170"/>
                    </a:lnTo>
                    <a:lnTo>
                      <a:pt x="1727" y="170"/>
                    </a:lnTo>
                    <a:lnTo>
                      <a:pt x="1726" y="170"/>
                    </a:lnTo>
                    <a:lnTo>
                      <a:pt x="1726" y="168"/>
                    </a:lnTo>
                    <a:lnTo>
                      <a:pt x="1725" y="167"/>
                    </a:lnTo>
                    <a:lnTo>
                      <a:pt x="1725" y="164"/>
                    </a:lnTo>
                    <a:lnTo>
                      <a:pt x="1725" y="164"/>
                    </a:lnTo>
                    <a:lnTo>
                      <a:pt x="1726" y="164"/>
                    </a:lnTo>
                    <a:lnTo>
                      <a:pt x="1727" y="164"/>
                    </a:lnTo>
                    <a:lnTo>
                      <a:pt x="1729" y="163"/>
                    </a:lnTo>
                    <a:lnTo>
                      <a:pt x="1730" y="162"/>
                    </a:lnTo>
                    <a:lnTo>
                      <a:pt x="1731" y="162"/>
                    </a:lnTo>
                    <a:close/>
                    <a:moveTo>
                      <a:pt x="1728" y="158"/>
                    </a:moveTo>
                    <a:lnTo>
                      <a:pt x="1728" y="159"/>
                    </a:lnTo>
                    <a:lnTo>
                      <a:pt x="1728" y="161"/>
                    </a:lnTo>
                    <a:lnTo>
                      <a:pt x="1727" y="163"/>
                    </a:lnTo>
                    <a:lnTo>
                      <a:pt x="1727" y="163"/>
                    </a:lnTo>
                    <a:lnTo>
                      <a:pt x="1726" y="164"/>
                    </a:lnTo>
                    <a:lnTo>
                      <a:pt x="1725" y="164"/>
                    </a:lnTo>
                    <a:lnTo>
                      <a:pt x="1725" y="162"/>
                    </a:lnTo>
                    <a:lnTo>
                      <a:pt x="1725" y="160"/>
                    </a:lnTo>
                    <a:lnTo>
                      <a:pt x="1725" y="158"/>
                    </a:lnTo>
                    <a:lnTo>
                      <a:pt x="1727" y="158"/>
                    </a:lnTo>
                    <a:lnTo>
                      <a:pt x="1728" y="158"/>
                    </a:lnTo>
                    <a:lnTo>
                      <a:pt x="1728" y="158"/>
                    </a:lnTo>
                    <a:close/>
                    <a:moveTo>
                      <a:pt x="1742" y="155"/>
                    </a:moveTo>
                    <a:lnTo>
                      <a:pt x="1741" y="157"/>
                    </a:lnTo>
                    <a:lnTo>
                      <a:pt x="1740" y="158"/>
                    </a:lnTo>
                    <a:lnTo>
                      <a:pt x="1739" y="160"/>
                    </a:lnTo>
                    <a:lnTo>
                      <a:pt x="1738" y="161"/>
                    </a:lnTo>
                    <a:lnTo>
                      <a:pt x="1737" y="161"/>
                    </a:lnTo>
                    <a:lnTo>
                      <a:pt x="1736" y="161"/>
                    </a:lnTo>
                    <a:lnTo>
                      <a:pt x="1736" y="160"/>
                    </a:lnTo>
                    <a:lnTo>
                      <a:pt x="1736" y="159"/>
                    </a:lnTo>
                    <a:lnTo>
                      <a:pt x="1735" y="159"/>
                    </a:lnTo>
                    <a:lnTo>
                      <a:pt x="1735" y="158"/>
                    </a:lnTo>
                    <a:lnTo>
                      <a:pt x="1735" y="157"/>
                    </a:lnTo>
                    <a:lnTo>
                      <a:pt x="1736" y="157"/>
                    </a:lnTo>
                    <a:lnTo>
                      <a:pt x="1736" y="156"/>
                    </a:lnTo>
                    <a:lnTo>
                      <a:pt x="1738" y="156"/>
                    </a:lnTo>
                    <a:lnTo>
                      <a:pt x="1739" y="155"/>
                    </a:lnTo>
                    <a:lnTo>
                      <a:pt x="1742" y="155"/>
                    </a:lnTo>
                    <a:close/>
                    <a:moveTo>
                      <a:pt x="1729" y="155"/>
                    </a:moveTo>
                    <a:lnTo>
                      <a:pt x="1733" y="155"/>
                    </a:lnTo>
                    <a:lnTo>
                      <a:pt x="1733" y="158"/>
                    </a:lnTo>
                    <a:lnTo>
                      <a:pt x="1731" y="161"/>
                    </a:lnTo>
                    <a:lnTo>
                      <a:pt x="1731" y="162"/>
                    </a:lnTo>
                    <a:lnTo>
                      <a:pt x="1730" y="160"/>
                    </a:lnTo>
                    <a:lnTo>
                      <a:pt x="1730" y="157"/>
                    </a:lnTo>
                    <a:lnTo>
                      <a:pt x="1729" y="155"/>
                    </a:lnTo>
                    <a:close/>
                    <a:moveTo>
                      <a:pt x="1728" y="155"/>
                    </a:moveTo>
                    <a:lnTo>
                      <a:pt x="1729" y="155"/>
                    </a:lnTo>
                    <a:lnTo>
                      <a:pt x="1729" y="157"/>
                    </a:lnTo>
                    <a:lnTo>
                      <a:pt x="1728" y="158"/>
                    </a:lnTo>
                    <a:lnTo>
                      <a:pt x="1728" y="155"/>
                    </a:lnTo>
                    <a:close/>
                    <a:moveTo>
                      <a:pt x="1779" y="129"/>
                    </a:moveTo>
                    <a:lnTo>
                      <a:pt x="1781" y="131"/>
                    </a:lnTo>
                    <a:lnTo>
                      <a:pt x="1781" y="133"/>
                    </a:lnTo>
                    <a:lnTo>
                      <a:pt x="1781" y="136"/>
                    </a:lnTo>
                    <a:lnTo>
                      <a:pt x="1782" y="138"/>
                    </a:lnTo>
                    <a:lnTo>
                      <a:pt x="1782" y="139"/>
                    </a:lnTo>
                    <a:lnTo>
                      <a:pt x="1782" y="141"/>
                    </a:lnTo>
                    <a:lnTo>
                      <a:pt x="1781" y="144"/>
                    </a:lnTo>
                    <a:lnTo>
                      <a:pt x="1781" y="152"/>
                    </a:lnTo>
                    <a:lnTo>
                      <a:pt x="1774" y="164"/>
                    </a:lnTo>
                    <a:lnTo>
                      <a:pt x="1773" y="167"/>
                    </a:lnTo>
                    <a:lnTo>
                      <a:pt x="1771" y="168"/>
                    </a:lnTo>
                    <a:lnTo>
                      <a:pt x="1770" y="170"/>
                    </a:lnTo>
                    <a:lnTo>
                      <a:pt x="1768" y="170"/>
                    </a:lnTo>
                    <a:lnTo>
                      <a:pt x="1767" y="168"/>
                    </a:lnTo>
                    <a:lnTo>
                      <a:pt x="1767" y="165"/>
                    </a:lnTo>
                    <a:lnTo>
                      <a:pt x="1768" y="161"/>
                    </a:lnTo>
                    <a:lnTo>
                      <a:pt x="1769" y="157"/>
                    </a:lnTo>
                    <a:lnTo>
                      <a:pt x="1769" y="154"/>
                    </a:lnTo>
                    <a:lnTo>
                      <a:pt x="1770" y="151"/>
                    </a:lnTo>
                    <a:lnTo>
                      <a:pt x="1771" y="149"/>
                    </a:lnTo>
                    <a:lnTo>
                      <a:pt x="1771" y="146"/>
                    </a:lnTo>
                    <a:lnTo>
                      <a:pt x="1770" y="144"/>
                    </a:lnTo>
                    <a:lnTo>
                      <a:pt x="1769" y="142"/>
                    </a:lnTo>
                    <a:lnTo>
                      <a:pt x="1769" y="137"/>
                    </a:lnTo>
                    <a:lnTo>
                      <a:pt x="1769" y="136"/>
                    </a:lnTo>
                    <a:lnTo>
                      <a:pt x="1773" y="133"/>
                    </a:lnTo>
                    <a:lnTo>
                      <a:pt x="1774" y="132"/>
                    </a:lnTo>
                    <a:lnTo>
                      <a:pt x="1776" y="131"/>
                    </a:lnTo>
                    <a:lnTo>
                      <a:pt x="1779" y="129"/>
                    </a:lnTo>
                    <a:close/>
                    <a:moveTo>
                      <a:pt x="1773" y="129"/>
                    </a:moveTo>
                    <a:lnTo>
                      <a:pt x="1775" y="129"/>
                    </a:lnTo>
                    <a:lnTo>
                      <a:pt x="1775" y="130"/>
                    </a:lnTo>
                    <a:lnTo>
                      <a:pt x="1775" y="131"/>
                    </a:lnTo>
                    <a:lnTo>
                      <a:pt x="1774" y="132"/>
                    </a:lnTo>
                    <a:lnTo>
                      <a:pt x="1772" y="133"/>
                    </a:lnTo>
                    <a:lnTo>
                      <a:pt x="1769" y="136"/>
                    </a:lnTo>
                    <a:lnTo>
                      <a:pt x="1769" y="137"/>
                    </a:lnTo>
                    <a:lnTo>
                      <a:pt x="1767" y="139"/>
                    </a:lnTo>
                    <a:lnTo>
                      <a:pt x="1767" y="136"/>
                    </a:lnTo>
                    <a:lnTo>
                      <a:pt x="1768" y="136"/>
                    </a:lnTo>
                    <a:lnTo>
                      <a:pt x="1769" y="135"/>
                    </a:lnTo>
                    <a:lnTo>
                      <a:pt x="1769" y="135"/>
                    </a:lnTo>
                    <a:lnTo>
                      <a:pt x="1770" y="135"/>
                    </a:lnTo>
                    <a:lnTo>
                      <a:pt x="1771" y="133"/>
                    </a:lnTo>
                    <a:lnTo>
                      <a:pt x="1771" y="132"/>
                    </a:lnTo>
                    <a:lnTo>
                      <a:pt x="1771" y="130"/>
                    </a:lnTo>
                    <a:lnTo>
                      <a:pt x="1772" y="130"/>
                    </a:lnTo>
                    <a:lnTo>
                      <a:pt x="1773" y="129"/>
                    </a:lnTo>
                    <a:close/>
                    <a:moveTo>
                      <a:pt x="1825" y="108"/>
                    </a:moveTo>
                    <a:lnTo>
                      <a:pt x="1825" y="108"/>
                    </a:lnTo>
                    <a:lnTo>
                      <a:pt x="1826" y="110"/>
                    </a:lnTo>
                    <a:lnTo>
                      <a:pt x="1828" y="113"/>
                    </a:lnTo>
                    <a:lnTo>
                      <a:pt x="1830" y="116"/>
                    </a:lnTo>
                    <a:lnTo>
                      <a:pt x="1831" y="118"/>
                    </a:lnTo>
                    <a:lnTo>
                      <a:pt x="1834" y="120"/>
                    </a:lnTo>
                    <a:lnTo>
                      <a:pt x="1836" y="124"/>
                    </a:lnTo>
                    <a:lnTo>
                      <a:pt x="1836" y="130"/>
                    </a:lnTo>
                    <a:lnTo>
                      <a:pt x="1836" y="138"/>
                    </a:lnTo>
                    <a:lnTo>
                      <a:pt x="1834" y="138"/>
                    </a:lnTo>
                    <a:lnTo>
                      <a:pt x="1834" y="137"/>
                    </a:lnTo>
                    <a:lnTo>
                      <a:pt x="1833" y="135"/>
                    </a:lnTo>
                    <a:lnTo>
                      <a:pt x="1832" y="132"/>
                    </a:lnTo>
                    <a:lnTo>
                      <a:pt x="1831" y="130"/>
                    </a:lnTo>
                    <a:lnTo>
                      <a:pt x="1830" y="128"/>
                    </a:lnTo>
                    <a:lnTo>
                      <a:pt x="1830" y="126"/>
                    </a:lnTo>
                    <a:lnTo>
                      <a:pt x="1828" y="126"/>
                    </a:lnTo>
                    <a:lnTo>
                      <a:pt x="1827" y="127"/>
                    </a:lnTo>
                    <a:lnTo>
                      <a:pt x="1827" y="129"/>
                    </a:lnTo>
                    <a:lnTo>
                      <a:pt x="1826" y="131"/>
                    </a:lnTo>
                    <a:lnTo>
                      <a:pt x="1826" y="132"/>
                    </a:lnTo>
                    <a:lnTo>
                      <a:pt x="1825" y="137"/>
                    </a:lnTo>
                    <a:lnTo>
                      <a:pt x="1824" y="139"/>
                    </a:lnTo>
                    <a:lnTo>
                      <a:pt x="1824" y="141"/>
                    </a:lnTo>
                    <a:lnTo>
                      <a:pt x="1825" y="143"/>
                    </a:lnTo>
                    <a:lnTo>
                      <a:pt x="1826" y="146"/>
                    </a:lnTo>
                    <a:lnTo>
                      <a:pt x="1826" y="151"/>
                    </a:lnTo>
                    <a:lnTo>
                      <a:pt x="1824" y="157"/>
                    </a:lnTo>
                    <a:lnTo>
                      <a:pt x="1822" y="164"/>
                    </a:lnTo>
                    <a:lnTo>
                      <a:pt x="1821" y="165"/>
                    </a:lnTo>
                    <a:lnTo>
                      <a:pt x="1820" y="166"/>
                    </a:lnTo>
                    <a:lnTo>
                      <a:pt x="1819" y="167"/>
                    </a:lnTo>
                    <a:lnTo>
                      <a:pt x="1818" y="168"/>
                    </a:lnTo>
                    <a:lnTo>
                      <a:pt x="1816" y="168"/>
                    </a:lnTo>
                    <a:lnTo>
                      <a:pt x="1815" y="168"/>
                    </a:lnTo>
                    <a:lnTo>
                      <a:pt x="1815" y="166"/>
                    </a:lnTo>
                    <a:lnTo>
                      <a:pt x="1815" y="164"/>
                    </a:lnTo>
                    <a:lnTo>
                      <a:pt x="1816" y="161"/>
                    </a:lnTo>
                    <a:lnTo>
                      <a:pt x="1818" y="158"/>
                    </a:lnTo>
                    <a:lnTo>
                      <a:pt x="1818" y="154"/>
                    </a:lnTo>
                    <a:lnTo>
                      <a:pt x="1818" y="144"/>
                    </a:lnTo>
                    <a:lnTo>
                      <a:pt x="1817" y="137"/>
                    </a:lnTo>
                    <a:lnTo>
                      <a:pt x="1815" y="131"/>
                    </a:lnTo>
                    <a:lnTo>
                      <a:pt x="1813" y="126"/>
                    </a:lnTo>
                    <a:lnTo>
                      <a:pt x="1812" y="124"/>
                    </a:lnTo>
                    <a:lnTo>
                      <a:pt x="1811" y="122"/>
                    </a:lnTo>
                    <a:lnTo>
                      <a:pt x="1810" y="120"/>
                    </a:lnTo>
                    <a:lnTo>
                      <a:pt x="1809" y="118"/>
                    </a:lnTo>
                    <a:lnTo>
                      <a:pt x="1807" y="117"/>
                    </a:lnTo>
                    <a:lnTo>
                      <a:pt x="1805" y="116"/>
                    </a:lnTo>
                    <a:lnTo>
                      <a:pt x="1803" y="116"/>
                    </a:lnTo>
                    <a:lnTo>
                      <a:pt x="1801" y="116"/>
                    </a:lnTo>
                    <a:lnTo>
                      <a:pt x="1801" y="114"/>
                    </a:lnTo>
                    <a:lnTo>
                      <a:pt x="1804" y="112"/>
                    </a:lnTo>
                    <a:lnTo>
                      <a:pt x="1805" y="113"/>
                    </a:lnTo>
                    <a:lnTo>
                      <a:pt x="1807" y="116"/>
                    </a:lnTo>
                    <a:lnTo>
                      <a:pt x="1809" y="117"/>
                    </a:lnTo>
                    <a:lnTo>
                      <a:pt x="1818" y="112"/>
                    </a:lnTo>
                    <a:lnTo>
                      <a:pt x="1825" y="108"/>
                    </a:lnTo>
                    <a:close/>
                    <a:moveTo>
                      <a:pt x="1781" y="97"/>
                    </a:moveTo>
                    <a:lnTo>
                      <a:pt x="1782" y="98"/>
                    </a:lnTo>
                    <a:lnTo>
                      <a:pt x="1782" y="100"/>
                    </a:lnTo>
                    <a:lnTo>
                      <a:pt x="1782" y="102"/>
                    </a:lnTo>
                    <a:lnTo>
                      <a:pt x="1781" y="105"/>
                    </a:lnTo>
                    <a:lnTo>
                      <a:pt x="1781" y="108"/>
                    </a:lnTo>
                    <a:lnTo>
                      <a:pt x="1780" y="110"/>
                    </a:lnTo>
                    <a:lnTo>
                      <a:pt x="1780" y="112"/>
                    </a:lnTo>
                    <a:lnTo>
                      <a:pt x="1780" y="113"/>
                    </a:lnTo>
                    <a:lnTo>
                      <a:pt x="1780" y="115"/>
                    </a:lnTo>
                    <a:lnTo>
                      <a:pt x="1780" y="117"/>
                    </a:lnTo>
                    <a:lnTo>
                      <a:pt x="1780" y="118"/>
                    </a:lnTo>
                    <a:lnTo>
                      <a:pt x="1779" y="119"/>
                    </a:lnTo>
                    <a:lnTo>
                      <a:pt x="1779" y="119"/>
                    </a:lnTo>
                    <a:lnTo>
                      <a:pt x="1777" y="117"/>
                    </a:lnTo>
                    <a:lnTo>
                      <a:pt x="1777" y="115"/>
                    </a:lnTo>
                    <a:lnTo>
                      <a:pt x="1777" y="112"/>
                    </a:lnTo>
                    <a:lnTo>
                      <a:pt x="1776" y="110"/>
                    </a:lnTo>
                    <a:lnTo>
                      <a:pt x="1776" y="108"/>
                    </a:lnTo>
                    <a:lnTo>
                      <a:pt x="1775" y="106"/>
                    </a:lnTo>
                    <a:lnTo>
                      <a:pt x="1776" y="105"/>
                    </a:lnTo>
                    <a:lnTo>
                      <a:pt x="1777" y="103"/>
                    </a:lnTo>
                    <a:lnTo>
                      <a:pt x="1778" y="102"/>
                    </a:lnTo>
                    <a:lnTo>
                      <a:pt x="1779" y="101"/>
                    </a:lnTo>
                    <a:lnTo>
                      <a:pt x="1780" y="99"/>
                    </a:lnTo>
                    <a:lnTo>
                      <a:pt x="1780" y="97"/>
                    </a:lnTo>
                    <a:lnTo>
                      <a:pt x="1781" y="97"/>
                    </a:lnTo>
                    <a:close/>
                    <a:moveTo>
                      <a:pt x="466" y="83"/>
                    </a:moveTo>
                    <a:lnTo>
                      <a:pt x="469" y="84"/>
                    </a:lnTo>
                    <a:lnTo>
                      <a:pt x="471" y="87"/>
                    </a:lnTo>
                    <a:lnTo>
                      <a:pt x="470" y="90"/>
                    </a:lnTo>
                    <a:lnTo>
                      <a:pt x="470" y="93"/>
                    </a:lnTo>
                    <a:lnTo>
                      <a:pt x="470" y="93"/>
                    </a:lnTo>
                    <a:lnTo>
                      <a:pt x="465" y="91"/>
                    </a:lnTo>
                    <a:lnTo>
                      <a:pt x="457" y="88"/>
                    </a:lnTo>
                    <a:lnTo>
                      <a:pt x="455" y="90"/>
                    </a:lnTo>
                    <a:lnTo>
                      <a:pt x="454" y="89"/>
                    </a:lnTo>
                    <a:lnTo>
                      <a:pt x="458" y="87"/>
                    </a:lnTo>
                    <a:lnTo>
                      <a:pt x="462" y="84"/>
                    </a:lnTo>
                    <a:lnTo>
                      <a:pt x="466" y="83"/>
                    </a:lnTo>
                    <a:close/>
                    <a:moveTo>
                      <a:pt x="1902" y="53"/>
                    </a:moveTo>
                    <a:lnTo>
                      <a:pt x="1901" y="58"/>
                    </a:lnTo>
                    <a:lnTo>
                      <a:pt x="1899" y="65"/>
                    </a:lnTo>
                    <a:lnTo>
                      <a:pt x="1897" y="71"/>
                    </a:lnTo>
                    <a:lnTo>
                      <a:pt x="1896" y="74"/>
                    </a:lnTo>
                    <a:lnTo>
                      <a:pt x="1896" y="76"/>
                    </a:lnTo>
                    <a:lnTo>
                      <a:pt x="1895" y="79"/>
                    </a:lnTo>
                    <a:lnTo>
                      <a:pt x="1895" y="82"/>
                    </a:lnTo>
                    <a:lnTo>
                      <a:pt x="1895" y="84"/>
                    </a:lnTo>
                    <a:lnTo>
                      <a:pt x="1895" y="86"/>
                    </a:lnTo>
                    <a:lnTo>
                      <a:pt x="1896" y="88"/>
                    </a:lnTo>
                    <a:lnTo>
                      <a:pt x="1896" y="91"/>
                    </a:lnTo>
                    <a:lnTo>
                      <a:pt x="1897" y="94"/>
                    </a:lnTo>
                    <a:lnTo>
                      <a:pt x="1896" y="97"/>
                    </a:lnTo>
                    <a:lnTo>
                      <a:pt x="1895" y="100"/>
                    </a:lnTo>
                    <a:lnTo>
                      <a:pt x="1894" y="102"/>
                    </a:lnTo>
                    <a:lnTo>
                      <a:pt x="1893" y="103"/>
                    </a:lnTo>
                    <a:lnTo>
                      <a:pt x="1891" y="103"/>
                    </a:lnTo>
                    <a:lnTo>
                      <a:pt x="1889" y="105"/>
                    </a:lnTo>
                    <a:lnTo>
                      <a:pt x="1887" y="106"/>
                    </a:lnTo>
                    <a:lnTo>
                      <a:pt x="1884" y="107"/>
                    </a:lnTo>
                    <a:lnTo>
                      <a:pt x="1882" y="110"/>
                    </a:lnTo>
                    <a:lnTo>
                      <a:pt x="1881" y="111"/>
                    </a:lnTo>
                    <a:lnTo>
                      <a:pt x="1879" y="111"/>
                    </a:lnTo>
                    <a:lnTo>
                      <a:pt x="1878" y="111"/>
                    </a:lnTo>
                    <a:lnTo>
                      <a:pt x="1876" y="111"/>
                    </a:lnTo>
                    <a:lnTo>
                      <a:pt x="1874" y="112"/>
                    </a:lnTo>
                    <a:lnTo>
                      <a:pt x="1872" y="113"/>
                    </a:lnTo>
                    <a:lnTo>
                      <a:pt x="1871" y="116"/>
                    </a:lnTo>
                    <a:lnTo>
                      <a:pt x="1870" y="119"/>
                    </a:lnTo>
                    <a:lnTo>
                      <a:pt x="1869" y="122"/>
                    </a:lnTo>
                    <a:lnTo>
                      <a:pt x="1868" y="125"/>
                    </a:lnTo>
                    <a:lnTo>
                      <a:pt x="1867" y="127"/>
                    </a:lnTo>
                    <a:lnTo>
                      <a:pt x="1866" y="129"/>
                    </a:lnTo>
                    <a:lnTo>
                      <a:pt x="1864" y="129"/>
                    </a:lnTo>
                    <a:lnTo>
                      <a:pt x="1863" y="131"/>
                    </a:lnTo>
                    <a:lnTo>
                      <a:pt x="1862" y="133"/>
                    </a:lnTo>
                    <a:lnTo>
                      <a:pt x="1862" y="136"/>
                    </a:lnTo>
                    <a:lnTo>
                      <a:pt x="1863" y="137"/>
                    </a:lnTo>
                    <a:lnTo>
                      <a:pt x="1863" y="138"/>
                    </a:lnTo>
                    <a:lnTo>
                      <a:pt x="1864" y="139"/>
                    </a:lnTo>
                    <a:lnTo>
                      <a:pt x="1864" y="140"/>
                    </a:lnTo>
                    <a:lnTo>
                      <a:pt x="1864" y="142"/>
                    </a:lnTo>
                    <a:lnTo>
                      <a:pt x="1864" y="145"/>
                    </a:lnTo>
                    <a:lnTo>
                      <a:pt x="1864" y="147"/>
                    </a:lnTo>
                    <a:lnTo>
                      <a:pt x="1864" y="149"/>
                    </a:lnTo>
                    <a:lnTo>
                      <a:pt x="1864" y="151"/>
                    </a:lnTo>
                    <a:lnTo>
                      <a:pt x="1866" y="153"/>
                    </a:lnTo>
                    <a:lnTo>
                      <a:pt x="1868" y="153"/>
                    </a:lnTo>
                    <a:lnTo>
                      <a:pt x="1869" y="155"/>
                    </a:lnTo>
                    <a:lnTo>
                      <a:pt x="1869" y="158"/>
                    </a:lnTo>
                    <a:lnTo>
                      <a:pt x="1869" y="161"/>
                    </a:lnTo>
                    <a:lnTo>
                      <a:pt x="1869" y="163"/>
                    </a:lnTo>
                    <a:lnTo>
                      <a:pt x="1868" y="165"/>
                    </a:lnTo>
                    <a:lnTo>
                      <a:pt x="1866" y="165"/>
                    </a:lnTo>
                    <a:lnTo>
                      <a:pt x="1865" y="164"/>
                    </a:lnTo>
                    <a:lnTo>
                      <a:pt x="1863" y="164"/>
                    </a:lnTo>
                    <a:lnTo>
                      <a:pt x="1862" y="165"/>
                    </a:lnTo>
                    <a:lnTo>
                      <a:pt x="1861" y="167"/>
                    </a:lnTo>
                    <a:lnTo>
                      <a:pt x="1860" y="169"/>
                    </a:lnTo>
                    <a:lnTo>
                      <a:pt x="1859" y="172"/>
                    </a:lnTo>
                    <a:lnTo>
                      <a:pt x="1858" y="175"/>
                    </a:lnTo>
                    <a:lnTo>
                      <a:pt x="1857" y="177"/>
                    </a:lnTo>
                    <a:lnTo>
                      <a:pt x="1855" y="178"/>
                    </a:lnTo>
                    <a:lnTo>
                      <a:pt x="1853" y="179"/>
                    </a:lnTo>
                    <a:lnTo>
                      <a:pt x="1851" y="178"/>
                    </a:lnTo>
                    <a:lnTo>
                      <a:pt x="1849" y="178"/>
                    </a:lnTo>
                    <a:lnTo>
                      <a:pt x="1848" y="177"/>
                    </a:lnTo>
                    <a:lnTo>
                      <a:pt x="1848" y="175"/>
                    </a:lnTo>
                    <a:lnTo>
                      <a:pt x="1848" y="172"/>
                    </a:lnTo>
                    <a:lnTo>
                      <a:pt x="1848" y="169"/>
                    </a:lnTo>
                    <a:lnTo>
                      <a:pt x="1848" y="166"/>
                    </a:lnTo>
                    <a:lnTo>
                      <a:pt x="1848" y="163"/>
                    </a:lnTo>
                    <a:lnTo>
                      <a:pt x="1848" y="162"/>
                    </a:lnTo>
                    <a:lnTo>
                      <a:pt x="1848" y="160"/>
                    </a:lnTo>
                    <a:lnTo>
                      <a:pt x="1847" y="159"/>
                    </a:lnTo>
                    <a:lnTo>
                      <a:pt x="1846" y="159"/>
                    </a:lnTo>
                    <a:lnTo>
                      <a:pt x="1845" y="159"/>
                    </a:lnTo>
                    <a:lnTo>
                      <a:pt x="1843" y="159"/>
                    </a:lnTo>
                    <a:lnTo>
                      <a:pt x="1842" y="158"/>
                    </a:lnTo>
                    <a:lnTo>
                      <a:pt x="1841" y="157"/>
                    </a:lnTo>
                    <a:lnTo>
                      <a:pt x="1840" y="155"/>
                    </a:lnTo>
                    <a:lnTo>
                      <a:pt x="1839" y="150"/>
                    </a:lnTo>
                    <a:lnTo>
                      <a:pt x="1840" y="143"/>
                    </a:lnTo>
                    <a:lnTo>
                      <a:pt x="1841" y="136"/>
                    </a:lnTo>
                    <a:lnTo>
                      <a:pt x="1842" y="129"/>
                    </a:lnTo>
                    <a:lnTo>
                      <a:pt x="1843" y="126"/>
                    </a:lnTo>
                    <a:lnTo>
                      <a:pt x="1843" y="123"/>
                    </a:lnTo>
                    <a:lnTo>
                      <a:pt x="1843" y="120"/>
                    </a:lnTo>
                    <a:lnTo>
                      <a:pt x="1843" y="118"/>
                    </a:lnTo>
                    <a:lnTo>
                      <a:pt x="1844" y="115"/>
                    </a:lnTo>
                    <a:lnTo>
                      <a:pt x="1844" y="113"/>
                    </a:lnTo>
                    <a:lnTo>
                      <a:pt x="1845" y="111"/>
                    </a:lnTo>
                    <a:lnTo>
                      <a:pt x="1845" y="109"/>
                    </a:lnTo>
                    <a:lnTo>
                      <a:pt x="1845" y="108"/>
                    </a:lnTo>
                    <a:lnTo>
                      <a:pt x="1844" y="105"/>
                    </a:lnTo>
                    <a:lnTo>
                      <a:pt x="1844" y="102"/>
                    </a:lnTo>
                    <a:lnTo>
                      <a:pt x="1843" y="99"/>
                    </a:lnTo>
                    <a:lnTo>
                      <a:pt x="1842" y="97"/>
                    </a:lnTo>
                    <a:lnTo>
                      <a:pt x="1841" y="95"/>
                    </a:lnTo>
                    <a:lnTo>
                      <a:pt x="1839" y="94"/>
                    </a:lnTo>
                    <a:lnTo>
                      <a:pt x="1838" y="92"/>
                    </a:lnTo>
                    <a:lnTo>
                      <a:pt x="1844" y="88"/>
                    </a:lnTo>
                    <a:lnTo>
                      <a:pt x="1845" y="89"/>
                    </a:lnTo>
                    <a:lnTo>
                      <a:pt x="1846" y="91"/>
                    </a:lnTo>
                    <a:lnTo>
                      <a:pt x="1848" y="93"/>
                    </a:lnTo>
                    <a:lnTo>
                      <a:pt x="1902" y="53"/>
                    </a:lnTo>
                    <a:close/>
                    <a:moveTo>
                      <a:pt x="1936" y="27"/>
                    </a:moveTo>
                    <a:lnTo>
                      <a:pt x="1936" y="28"/>
                    </a:lnTo>
                    <a:lnTo>
                      <a:pt x="1936" y="29"/>
                    </a:lnTo>
                    <a:lnTo>
                      <a:pt x="1935" y="30"/>
                    </a:lnTo>
                    <a:lnTo>
                      <a:pt x="1935" y="30"/>
                    </a:lnTo>
                    <a:lnTo>
                      <a:pt x="1935" y="29"/>
                    </a:lnTo>
                    <a:lnTo>
                      <a:pt x="1935" y="31"/>
                    </a:lnTo>
                    <a:lnTo>
                      <a:pt x="1935" y="34"/>
                    </a:lnTo>
                    <a:lnTo>
                      <a:pt x="1936" y="36"/>
                    </a:lnTo>
                    <a:lnTo>
                      <a:pt x="1936" y="38"/>
                    </a:lnTo>
                    <a:lnTo>
                      <a:pt x="1936" y="41"/>
                    </a:lnTo>
                    <a:lnTo>
                      <a:pt x="1935" y="43"/>
                    </a:lnTo>
                    <a:lnTo>
                      <a:pt x="1933" y="45"/>
                    </a:lnTo>
                    <a:lnTo>
                      <a:pt x="1931" y="47"/>
                    </a:lnTo>
                    <a:lnTo>
                      <a:pt x="1931" y="49"/>
                    </a:lnTo>
                    <a:lnTo>
                      <a:pt x="1931" y="51"/>
                    </a:lnTo>
                    <a:lnTo>
                      <a:pt x="1930" y="51"/>
                    </a:lnTo>
                    <a:lnTo>
                      <a:pt x="1930" y="52"/>
                    </a:lnTo>
                    <a:lnTo>
                      <a:pt x="1929" y="51"/>
                    </a:lnTo>
                    <a:lnTo>
                      <a:pt x="1929" y="51"/>
                    </a:lnTo>
                    <a:lnTo>
                      <a:pt x="1928" y="49"/>
                    </a:lnTo>
                    <a:lnTo>
                      <a:pt x="1927" y="47"/>
                    </a:lnTo>
                    <a:lnTo>
                      <a:pt x="1927" y="45"/>
                    </a:lnTo>
                    <a:lnTo>
                      <a:pt x="1927" y="43"/>
                    </a:lnTo>
                    <a:lnTo>
                      <a:pt x="1927" y="42"/>
                    </a:lnTo>
                    <a:lnTo>
                      <a:pt x="1925" y="40"/>
                    </a:lnTo>
                    <a:lnTo>
                      <a:pt x="1924" y="40"/>
                    </a:lnTo>
                    <a:lnTo>
                      <a:pt x="1923" y="40"/>
                    </a:lnTo>
                    <a:lnTo>
                      <a:pt x="1923" y="39"/>
                    </a:lnTo>
                    <a:lnTo>
                      <a:pt x="1922" y="38"/>
                    </a:lnTo>
                    <a:lnTo>
                      <a:pt x="1923" y="38"/>
                    </a:lnTo>
                    <a:lnTo>
                      <a:pt x="1923" y="37"/>
                    </a:lnTo>
                    <a:lnTo>
                      <a:pt x="1923" y="36"/>
                    </a:lnTo>
                    <a:lnTo>
                      <a:pt x="1926" y="33"/>
                    </a:lnTo>
                    <a:lnTo>
                      <a:pt x="1930" y="31"/>
                    </a:lnTo>
                    <a:lnTo>
                      <a:pt x="1932" y="29"/>
                    </a:lnTo>
                    <a:lnTo>
                      <a:pt x="1932" y="30"/>
                    </a:lnTo>
                    <a:lnTo>
                      <a:pt x="1932" y="31"/>
                    </a:lnTo>
                    <a:lnTo>
                      <a:pt x="1932" y="31"/>
                    </a:lnTo>
                    <a:lnTo>
                      <a:pt x="1936" y="28"/>
                    </a:lnTo>
                    <a:lnTo>
                      <a:pt x="1936" y="27"/>
                    </a:lnTo>
                    <a:close/>
                    <a:moveTo>
                      <a:pt x="464" y="1"/>
                    </a:moveTo>
                    <a:lnTo>
                      <a:pt x="462" y="2"/>
                    </a:lnTo>
                    <a:lnTo>
                      <a:pt x="460" y="4"/>
                    </a:lnTo>
                    <a:lnTo>
                      <a:pt x="457" y="6"/>
                    </a:lnTo>
                    <a:lnTo>
                      <a:pt x="455" y="8"/>
                    </a:lnTo>
                    <a:lnTo>
                      <a:pt x="453" y="11"/>
                    </a:lnTo>
                    <a:lnTo>
                      <a:pt x="452" y="13"/>
                    </a:lnTo>
                    <a:lnTo>
                      <a:pt x="452" y="15"/>
                    </a:lnTo>
                    <a:lnTo>
                      <a:pt x="453" y="19"/>
                    </a:lnTo>
                    <a:lnTo>
                      <a:pt x="459" y="23"/>
                    </a:lnTo>
                    <a:lnTo>
                      <a:pt x="465" y="24"/>
                    </a:lnTo>
                    <a:lnTo>
                      <a:pt x="470" y="21"/>
                    </a:lnTo>
                    <a:lnTo>
                      <a:pt x="472" y="14"/>
                    </a:lnTo>
                    <a:lnTo>
                      <a:pt x="470" y="7"/>
                    </a:lnTo>
                    <a:lnTo>
                      <a:pt x="466" y="1"/>
                    </a:lnTo>
                    <a:lnTo>
                      <a:pt x="464" y="1"/>
                    </a:lnTo>
                    <a:close/>
                    <a:moveTo>
                      <a:pt x="2068" y="0"/>
                    </a:moveTo>
                    <a:lnTo>
                      <a:pt x="2068" y="0"/>
                    </a:lnTo>
                    <a:lnTo>
                      <a:pt x="2066" y="1"/>
                    </a:lnTo>
                    <a:lnTo>
                      <a:pt x="2065" y="2"/>
                    </a:lnTo>
                    <a:lnTo>
                      <a:pt x="2064" y="3"/>
                    </a:lnTo>
                    <a:lnTo>
                      <a:pt x="2063" y="4"/>
                    </a:lnTo>
                    <a:lnTo>
                      <a:pt x="2062" y="5"/>
                    </a:lnTo>
                    <a:lnTo>
                      <a:pt x="2060" y="7"/>
                    </a:lnTo>
                    <a:lnTo>
                      <a:pt x="2059" y="10"/>
                    </a:lnTo>
                    <a:lnTo>
                      <a:pt x="2057" y="14"/>
                    </a:lnTo>
                    <a:lnTo>
                      <a:pt x="2057" y="18"/>
                    </a:lnTo>
                    <a:lnTo>
                      <a:pt x="2056" y="23"/>
                    </a:lnTo>
                    <a:lnTo>
                      <a:pt x="2055" y="27"/>
                    </a:lnTo>
                    <a:lnTo>
                      <a:pt x="2055" y="28"/>
                    </a:lnTo>
                    <a:lnTo>
                      <a:pt x="2055" y="31"/>
                    </a:lnTo>
                    <a:lnTo>
                      <a:pt x="2055" y="34"/>
                    </a:lnTo>
                    <a:lnTo>
                      <a:pt x="2056" y="37"/>
                    </a:lnTo>
                    <a:lnTo>
                      <a:pt x="2056" y="39"/>
                    </a:lnTo>
                    <a:lnTo>
                      <a:pt x="2057" y="41"/>
                    </a:lnTo>
                    <a:lnTo>
                      <a:pt x="2059" y="41"/>
                    </a:lnTo>
                    <a:lnTo>
                      <a:pt x="2060" y="40"/>
                    </a:lnTo>
                    <a:lnTo>
                      <a:pt x="2061" y="40"/>
                    </a:lnTo>
                    <a:lnTo>
                      <a:pt x="2062" y="40"/>
                    </a:lnTo>
                    <a:lnTo>
                      <a:pt x="2062" y="40"/>
                    </a:lnTo>
                    <a:lnTo>
                      <a:pt x="2063" y="39"/>
                    </a:lnTo>
                    <a:lnTo>
                      <a:pt x="2064" y="38"/>
                    </a:lnTo>
                    <a:lnTo>
                      <a:pt x="2066" y="36"/>
                    </a:lnTo>
                    <a:lnTo>
                      <a:pt x="2066" y="34"/>
                    </a:lnTo>
                    <a:lnTo>
                      <a:pt x="2067" y="31"/>
                    </a:lnTo>
                    <a:lnTo>
                      <a:pt x="2067" y="29"/>
                    </a:lnTo>
                    <a:lnTo>
                      <a:pt x="2068" y="27"/>
                    </a:lnTo>
                    <a:lnTo>
                      <a:pt x="2069" y="25"/>
                    </a:lnTo>
                    <a:lnTo>
                      <a:pt x="2070" y="21"/>
                    </a:lnTo>
                    <a:lnTo>
                      <a:pt x="2071" y="19"/>
                    </a:lnTo>
                    <a:lnTo>
                      <a:pt x="2071" y="16"/>
                    </a:lnTo>
                    <a:lnTo>
                      <a:pt x="2071" y="14"/>
                    </a:lnTo>
                    <a:lnTo>
                      <a:pt x="2070" y="12"/>
                    </a:lnTo>
                    <a:lnTo>
                      <a:pt x="2070" y="10"/>
                    </a:lnTo>
                    <a:lnTo>
                      <a:pt x="2069" y="8"/>
                    </a:lnTo>
                    <a:lnTo>
                      <a:pt x="2070" y="6"/>
                    </a:lnTo>
                    <a:lnTo>
                      <a:pt x="2071" y="5"/>
                    </a:lnTo>
                    <a:lnTo>
                      <a:pt x="2071" y="3"/>
                    </a:lnTo>
                    <a:lnTo>
                      <a:pt x="2070" y="2"/>
                    </a:lnTo>
                    <a:lnTo>
                      <a:pt x="2069" y="2"/>
                    </a:lnTo>
                    <a:lnTo>
                      <a:pt x="2069" y="1"/>
                    </a:lnTo>
                    <a:lnTo>
                      <a:pt x="2068"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noEditPoints="1"/>
              </p:cNvSpPr>
              <p:nvPr/>
            </p:nvSpPr>
            <p:spPr bwMode="auto">
              <a:xfrm>
                <a:off x="3095" y="938"/>
                <a:ext cx="406" cy="166"/>
              </a:xfrm>
              <a:custGeom>
                <a:avLst/>
                <a:gdLst>
                  <a:gd name="T0" fmla="*/ 2615 w 2842"/>
                  <a:gd name="T1" fmla="*/ 327 h 1164"/>
                  <a:gd name="T2" fmla="*/ 2627 w 2842"/>
                  <a:gd name="T3" fmla="*/ 374 h 1164"/>
                  <a:gd name="T4" fmla="*/ 2636 w 2842"/>
                  <a:gd name="T5" fmla="*/ 312 h 1164"/>
                  <a:gd name="T6" fmla="*/ 2638 w 2842"/>
                  <a:gd name="T7" fmla="*/ 256 h 1164"/>
                  <a:gd name="T8" fmla="*/ 2732 w 2842"/>
                  <a:gd name="T9" fmla="*/ 231 h 1164"/>
                  <a:gd name="T10" fmla="*/ 21 w 2842"/>
                  <a:gd name="T11" fmla="*/ 154 h 1164"/>
                  <a:gd name="T12" fmla="*/ 856 w 2842"/>
                  <a:gd name="T13" fmla="*/ 193 h 1164"/>
                  <a:gd name="T14" fmla="*/ 376 w 2842"/>
                  <a:gd name="T15" fmla="*/ 163 h 1164"/>
                  <a:gd name="T16" fmla="*/ 864 w 2842"/>
                  <a:gd name="T17" fmla="*/ 131 h 1164"/>
                  <a:gd name="T18" fmla="*/ 878 w 2842"/>
                  <a:gd name="T19" fmla="*/ 127 h 1164"/>
                  <a:gd name="T20" fmla="*/ 52 w 2842"/>
                  <a:gd name="T21" fmla="*/ 125 h 1164"/>
                  <a:gd name="T22" fmla="*/ 60 w 2842"/>
                  <a:gd name="T23" fmla="*/ 103 h 1164"/>
                  <a:gd name="T24" fmla="*/ 100 w 2842"/>
                  <a:gd name="T25" fmla="*/ 103 h 1164"/>
                  <a:gd name="T26" fmla="*/ 2268 w 2842"/>
                  <a:gd name="T27" fmla="*/ 173 h 1164"/>
                  <a:gd name="T28" fmla="*/ 2245 w 2842"/>
                  <a:gd name="T29" fmla="*/ 116 h 1164"/>
                  <a:gd name="T30" fmla="*/ 2262 w 2842"/>
                  <a:gd name="T31" fmla="*/ 88 h 1164"/>
                  <a:gd name="T32" fmla="*/ 80 w 2842"/>
                  <a:gd name="T33" fmla="*/ 96 h 1164"/>
                  <a:gd name="T34" fmla="*/ 370 w 2842"/>
                  <a:gd name="T35" fmla="*/ 72 h 1164"/>
                  <a:gd name="T36" fmla="*/ 342 w 2842"/>
                  <a:gd name="T37" fmla="*/ 44 h 1164"/>
                  <a:gd name="T38" fmla="*/ 2822 w 2842"/>
                  <a:gd name="T39" fmla="*/ 323 h 1164"/>
                  <a:gd name="T40" fmla="*/ 2732 w 2842"/>
                  <a:gd name="T41" fmla="*/ 557 h 1164"/>
                  <a:gd name="T42" fmla="*/ 2701 w 2842"/>
                  <a:gd name="T43" fmla="*/ 632 h 1164"/>
                  <a:gd name="T44" fmla="*/ 2692 w 2842"/>
                  <a:gd name="T45" fmla="*/ 528 h 1164"/>
                  <a:gd name="T46" fmla="*/ 2670 w 2842"/>
                  <a:gd name="T47" fmla="*/ 498 h 1164"/>
                  <a:gd name="T48" fmla="*/ 2625 w 2842"/>
                  <a:gd name="T49" fmla="*/ 490 h 1164"/>
                  <a:gd name="T50" fmla="*/ 2593 w 2842"/>
                  <a:gd name="T51" fmla="*/ 467 h 1164"/>
                  <a:gd name="T52" fmla="*/ 2622 w 2842"/>
                  <a:gd name="T53" fmla="*/ 505 h 1164"/>
                  <a:gd name="T54" fmla="*/ 2622 w 2842"/>
                  <a:gd name="T55" fmla="*/ 564 h 1164"/>
                  <a:gd name="T56" fmla="*/ 2573 w 2842"/>
                  <a:gd name="T57" fmla="*/ 629 h 1164"/>
                  <a:gd name="T58" fmla="*/ 2535 w 2842"/>
                  <a:gd name="T59" fmla="*/ 637 h 1164"/>
                  <a:gd name="T60" fmla="*/ 2519 w 2842"/>
                  <a:gd name="T61" fmla="*/ 519 h 1164"/>
                  <a:gd name="T62" fmla="*/ 2511 w 2842"/>
                  <a:gd name="T63" fmla="*/ 610 h 1164"/>
                  <a:gd name="T64" fmla="*/ 2529 w 2842"/>
                  <a:gd name="T65" fmla="*/ 677 h 1164"/>
                  <a:gd name="T66" fmla="*/ 2558 w 2842"/>
                  <a:gd name="T67" fmla="*/ 694 h 1164"/>
                  <a:gd name="T68" fmla="*/ 2462 w 2842"/>
                  <a:gd name="T69" fmla="*/ 850 h 1164"/>
                  <a:gd name="T70" fmla="*/ 2412 w 2842"/>
                  <a:gd name="T71" fmla="*/ 966 h 1164"/>
                  <a:gd name="T72" fmla="*/ 2325 w 2842"/>
                  <a:gd name="T73" fmla="*/ 1102 h 1164"/>
                  <a:gd name="T74" fmla="*/ 2237 w 2842"/>
                  <a:gd name="T75" fmla="*/ 1164 h 1164"/>
                  <a:gd name="T76" fmla="*/ 2236 w 2842"/>
                  <a:gd name="T77" fmla="*/ 1125 h 1164"/>
                  <a:gd name="T78" fmla="*/ 2242 w 2842"/>
                  <a:gd name="T79" fmla="*/ 1026 h 1164"/>
                  <a:gd name="T80" fmla="*/ 2279 w 2842"/>
                  <a:gd name="T81" fmla="*/ 947 h 1164"/>
                  <a:gd name="T82" fmla="*/ 2293 w 2842"/>
                  <a:gd name="T83" fmla="*/ 843 h 1164"/>
                  <a:gd name="T84" fmla="*/ 2251 w 2842"/>
                  <a:gd name="T85" fmla="*/ 839 h 1164"/>
                  <a:gd name="T86" fmla="*/ 2141 w 2842"/>
                  <a:gd name="T87" fmla="*/ 889 h 1164"/>
                  <a:gd name="T88" fmla="*/ 2107 w 2842"/>
                  <a:gd name="T89" fmla="*/ 845 h 1164"/>
                  <a:gd name="T90" fmla="*/ 2125 w 2842"/>
                  <a:gd name="T91" fmla="*/ 701 h 1164"/>
                  <a:gd name="T92" fmla="*/ 2247 w 2842"/>
                  <a:gd name="T93" fmla="*/ 513 h 1164"/>
                  <a:gd name="T94" fmla="*/ 2316 w 2842"/>
                  <a:gd name="T95" fmla="*/ 462 h 1164"/>
                  <a:gd name="T96" fmla="*/ 2374 w 2842"/>
                  <a:gd name="T97" fmla="*/ 438 h 1164"/>
                  <a:gd name="T98" fmla="*/ 2384 w 2842"/>
                  <a:gd name="T99" fmla="*/ 487 h 1164"/>
                  <a:gd name="T100" fmla="*/ 2423 w 2842"/>
                  <a:gd name="T101" fmla="*/ 514 h 1164"/>
                  <a:gd name="T102" fmla="*/ 2471 w 2842"/>
                  <a:gd name="T103" fmla="*/ 487 h 1164"/>
                  <a:gd name="T104" fmla="*/ 2509 w 2842"/>
                  <a:gd name="T105" fmla="*/ 467 h 1164"/>
                  <a:gd name="T106" fmla="*/ 2539 w 2842"/>
                  <a:gd name="T107" fmla="*/ 403 h 1164"/>
                  <a:gd name="T108" fmla="*/ 2497 w 2842"/>
                  <a:gd name="T109" fmla="*/ 411 h 1164"/>
                  <a:gd name="T110" fmla="*/ 2519 w 2842"/>
                  <a:gd name="T111" fmla="*/ 344 h 1164"/>
                  <a:gd name="T112" fmla="*/ 2574 w 2842"/>
                  <a:gd name="T113" fmla="*/ 312 h 1164"/>
                  <a:gd name="T114" fmla="*/ 2564 w 2842"/>
                  <a:gd name="T115" fmla="*/ 251 h 1164"/>
                  <a:gd name="T116" fmla="*/ 2460 w 2842"/>
                  <a:gd name="T117" fmla="*/ 26 h 1164"/>
                  <a:gd name="T118" fmla="*/ 2564 w 2842"/>
                  <a:gd name="T119" fmla="*/ 12 h 1164"/>
                  <a:gd name="T120" fmla="*/ 341 w 2842"/>
                  <a:gd name="T121" fmla="*/ 16 h 1164"/>
                  <a:gd name="T122" fmla="*/ 168 w 2842"/>
                  <a:gd name="T123" fmla="*/ 8 h 1164"/>
                  <a:gd name="T124" fmla="*/ 165 w 2842"/>
                  <a:gd name="T125" fmla="*/ 1 h 1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2" h="1164">
                    <a:moveTo>
                      <a:pt x="2633" y="225"/>
                    </a:moveTo>
                    <a:lnTo>
                      <a:pt x="2631" y="226"/>
                    </a:lnTo>
                    <a:lnTo>
                      <a:pt x="2629" y="227"/>
                    </a:lnTo>
                    <a:lnTo>
                      <a:pt x="2627" y="229"/>
                    </a:lnTo>
                    <a:lnTo>
                      <a:pt x="2627" y="231"/>
                    </a:lnTo>
                    <a:lnTo>
                      <a:pt x="2626" y="233"/>
                    </a:lnTo>
                    <a:lnTo>
                      <a:pt x="2625" y="235"/>
                    </a:lnTo>
                    <a:lnTo>
                      <a:pt x="2623" y="236"/>
                    </a:lnTo>
                    <a:lnTo>
                      <a:pt x="2622" y="237"/>
                    </a:lnTo>
                    <a:lnTo>
                      <a:pt x="2620" y="237"/>
                    </a:lnTo>
                    <a:lnTo>
                      <a:pt x="2619" y="237"/>
                    </a:lnTo>
                    <a:lnTo>
                      <a:pt x="2617" y="237"/>
                    </a:lnTo>
                    <a:lnTo>
                      <a:pt x="2615" y="239"/>
                    </a:lnTo>
                    <a:lnTo>
                      <a:pt x="2614" y="241"/>
                    </a:lnTo>
                    <a:lnTo>
                      <a:pt x="2613" y="244"/>
                    </a:lnTo>
                    <a:lnTo>
                      <a:pt x="2613" y="247"/>
                    </a:lnTo>
                    <a:lnTo>
                      <a:pt x="2612" y="250"/>
                    </a:lnTo>
                    <a:lnTo>
                      <a:pt x="2611" y="253"/>
                    </a:lnTo>
                    <a:lnTo>
                      <a:pt x="2609" y="260"/>
                    </a:lnTo>
                    <a:lnTo>
                      <a:pt x="2608" y="266"/>
                    </a:lnTo>
                    <a:lnTo>
                      <a:pt x="2607" y="274"/>
                    </a:lnTo>
                    <a:lnTo>
                      <a:pt x="2607" y="294"/>
                    </a:lnTo>
                    <a:lnTo>
                      <a:pt x="2608" y="298"/>
                    </a:lnTo>
                    <a:lnTo>
                      <a:pt x="2609" y="302"/>
                    </a:lnTo>
                    <a:lnTo>
                      <a:pt x="2609" y="306"/>
                    </a:lnTo>
                    <a:lnTo>
                      <a:pt x="2610" y="308"/>
                    </a:lnTo>
                    <a:lnTo>
                      <a:pt x="2611" y="310"/>
                    </a:lnTo>
                    <a:lnTo>
                      <a:pt x="2612" y="312"/>
                    </a:lnTo>
                    <a:lnTo>
                      <a:pt x="2613" y="314"/>
                    </a:lnTo>
                    <a:lnTo>
                      <a:pt x="2613" y="323"/>
                    </a:lnTo>
                    <a:lnTo>
                      <a:pt x="2614" y="324"/>
                    </a:lnTo>
                    <a:lnTo>
                      <a:pt x="2615" y="327"/>
                    </a:lnTo>
                    <a:lnTo>
                      <a:pt x="2615" y="330"/>
                    </a:lnTo>
                    <a:lnTo>
                      <a:pt x="2615" y="333"/>
                    </a:lnTo>
                    <a:lnTo>
                      <a:pt x="2614" y="336"/>
                    </a:lnTo>
                    <a:lnTo>
                      <a:pt x="2612" y="339"/>
                    </a:lnTo>
                    <a:lnTo>
                      <a:pt x="2611" y="342"/>
                    </a:lnTo>
                    <a:lnTo>
                      <a:pt x="2611" y="344"/>
                    </a:lnTo>
                    <a:lnTo>
                      <a:pt x="2610" y="348"/>
                    </a:lnTo>
                    <a:lnTo>
                      <a:pt x="2609" y="352"/>
                    </a:lnTo>
                    <a:lnTo>
                      <a:pt x="2609" y="356"/>
                    </a:lnTo>
                    <a:lnTo>
                      <a:pt x="2609" y="358"/>
                    </a:lnTo>
                    <a:lnTo>
                      <a:pt x="2608" y="361"/>
                    </a:lnTo>
                    <a:lnTo>
                      <a:pt x="2608" y="363"/>
                    </a:lnTo>
                    <a:lnTo>
                      <a:pt x="2609" y="366"/>
                    </a:lnTo>
                    <a:lnTo>
                      <a:pt x="2609" y="367"/>
                    </a:lnTo>
                    <a:lnTo>
                      <a:pt x="2610" y="367"/>
                    </a:lnTo>
                    <a:lnTo>
                      <a:pt x="2610" y="367"/>
                    </a:lnTo>
                    <a:lnTo>
                      <a:pt x="2611" y="368"/>
                    </a:lnTo>
                    <a:lnTo>
                      <a:pt x="2611" y="368"/>
                    </a:lnTo>
                    <a:lnTo>
                      <a:pt x="2613" y="370"/>
                    </a:lnTo>
                    <a:lnTo>
                      <a:pt x="2614" y="373"/>
                    </a:lnTo>
                    <a:lnTo>
                      <a:pt x="2615" y="375"/>
                    </a:lnTo>
                    <a:lnTo>
                      <a:pt x="2615" y="378"/>
                    </a:lnTo>
                    <a:lnTo>
                      <a:pt x="2615" y="379"/>
                    </a:lnTo>
                    <a:lnTo>
                      <a:pt x="2616" y="380"/>
                    </a:lnTo>
                    <a:lnTo>
                      <a:pt x="2617" y="381"/>
                    </a:lnTo>
                    <a:lnTo>
                      <a:pt x="2618" y="382"/>
                    </a:lnTo>
                    <a:lnTo>
                      <a:pt x="2620" y="381"/>
                    </a:lnTo>
                    <a:lnTo>
                      <a:pt x="2621" y="379"/>
                    </a:lnTo>
                    <a:lnTo>
                      <a:pt x="2623" y="377"/>
                    </a:lnTo>
                    <a:lnTo>
                      <a:pt x="2625" y="375"/>
                    </a:lnTo>
                    <a:lnTo>
                      <a:pt x="2626" y="375"/>
                    </a:lnTo>
                    <a:lnTo>
                      <a:pt x="2627" y="374"/>
                    </a:lnTo>
                    <a:lnTo>
                      <a:pt x="2628" y="374"/>
                    </a:lnTo>
                    <a:lnTo>
                      <a:pt x="2629" y="373"/>
                    </a:lnTo>
                    <a:lnTo>
                      <a:pt x="2630" y="372"/>
                    </a:lnTo>
                    <a:lnTo>
                      <a:pt x="2631" y="370"/>
                    </a:lnTo>
                    <a:lnTo>
                      <a:pt x="2631" y="369"/>
                    </a:lnTo>
                    <a:lnTo>
                      <a:pt x="2631" y="366"/>
                    </a:lnTo>
                    <a:lnTo>
                      <a:pt x="2632" y="353"/>
                    </a:lnTo>
                    <a:lnTo>
                      <a:pt x="2633" y="340"/>
                    </a:lnTo>
                    <a:lnTo>
                      <a:pt x="2633" y="338"/>
                    </a:lnTo>
                    <a:lnTo>
                      <a:pt x="2633" y="336"/>
                    </a:lnTo>
                    <a:lnTo>
                      <a:pt x="2633" y="334"/>
                    </a:lnTo>
                    <a:lnTo>
                      <a:pt x="2632" y="333"/>
                    </a:lnTo>
                    <a:lnTo>
                      <a:pt x="2631" y="333"/>
                    </a:lnTo>
                    <a:lnTo>
                      <a:pt x="2630" y="332"/>
                    </a:lnTo>
                    <a:lnTo>
                      <a:pt x="2629" y="331"/>
                    </a:lnTo>
                    <a:lnTo>
                      <a:pt x="2629" y="329"/>
                    </a:lnTo>
                    <a:lnTo>
                      <a:pt x="2629" y="327"/>
                    </a:lnTo>
                    <a:lnTo>
                      <a:pt x="2629" y="325"/>
                    </a:lnTo>
                    <a:lnTo>
                      <a:pt x="2630" y="324"/>
                    </a:lnTo>
                    <a:lnTo>
                      <a:pt x="2630" y="324"/>
                    </a:lnTo>
                    <a:lnTo>
                      <a:pt x="2631" y="324"/>
                    </a:lnTo>
                    <a:lnTo>
                      <a:pt x="2631" y="325"/>
                    </a:lnTo>
                    <a:lnTo>
                      <a:pt x="2633" y="325"/>
                    </a:lnTo>
                    <a:lnTo>
                      <a:pt x="2634" y="325"/>
                    </a:lnTo>
                    <a:lnTo>
                      <a:pt x="2636" y="325"/>
                    </a:lnTo>
                    <a:lnTo>
                      <a:pt x="2637" y="325"/>
                    </a:lnTo>
                    <a:lnTo>
                      <a:pt x="2638" y="323"/>
                    </a:lnTo>
                    <a:lnTo>
                      <a:pt x="2638" y="321"/>
                    </a:lnTo>
                    <a:lnTo>
                      <a:pt x="2638" y="318"/>
                    </a:lnTo>
                    <a:lnTo>
                      <a:pt x="2637" y="316"/>
                    </a:lnTo>
                    <a:lnTo>
                      <a:pt x="2637" y="314"/>
                    </a:lnTo>
                    <a:lnTo>
                      <a:pt x="2636" y="312"/>
                    </a:lnTo>
                    <a:lnTo>
                      <a:pt x="2636" y="310"/>
                    </a:lnTo>
                    <a:lnTo>
                      <a:pt x="2635" y="308"/>
                    </a:lnTo>
                    <a:lnTo>
                      <a:pt x="2634" y="307"/>
                    </a:lnTo>
                    <a:lnTo>
                      <a:pt x="2633" y="307"/>
                    </a:lnTo>
                    <a:lnTo>
                      <a:pt x="2631" y="308"/>
                    </a:lnTo>
                    <a:lnTo>
                      <a:pt x="2630" y="307"/>
                    </a:lnTo>
                    <a:lnTo>
                      <a:pt x="2630" y="306"/>
                    </a:lnTo>
                    <a:lnTo>
                      <a:pt x="2630" y="304"/>
                    </a:lnTo>
                    <a:lnTo>
                      <a:pt x="2630" y="302"/>
                    </a:lnTo>
                    <a:lnTo>
                      <a:pt x="2631" y="300"/>
                    </a:lnTo>
                    <a:lnTo>
                      <a:pt x="2631" y="298"/>
                    </a:lnTo>
                    <a:lnTo>
                      <a:pt x="2631" y="296"/>
                    </a:lnTo>
                    <a:lnTo>
                      <a:pt x="2631" y="294"/>
                    </a:lnTo>
                    <a:lnTo>
                      <a:pt x="2630" y="292"/>
                    </a:lnTo>
                    <a:lnTo>
                      <a:pt x="2628" y="291"/>
                    </a:lnTo>
                    <a:lnTo>
                      <a:pt x="2627" y="290"/>
                    </a:lnTo>
                    <a:lnTo>
                      <a:pt x="2627" y="288"/>
                    </a:lnTo>
                    <a:lnTo>
                      <a:pt x="2627" y="278"/>
                    </a:lnTo>
                    <a:lnTo>
                      <a:pt x="2627" y="276"/>
                    </a:lnTo>
                    <a:lnTo>
                      <a:pt x="2626" y="274"/>
                    </a:lnTo>
                    <a:lnTo>
                      <a:pt x="2625" y="272"/>
                    </a:lnTo>
                    <a:lnTo>
                      <a:pt x="2625" y="268"/>
                    </a:lnTo>
                    <a:lnTo>
                      <a:pt x="2626" y="264"/>
                    </a:lnTo>
                    <a:lnTo>
                      <a:pt x="2628" y="261"/>
                    </a:lnTo>
                    <a:lnTo>
                      <a:pt x="2629" y="257"/>
                    </a:lnTo>
                    <a:lnTo>
                      <a:pt x="2630" y="255"/>
                    </a:lnTo>
                    <a:lnTo>
                      <a:pt x="2632" y="253"/>
                    </a:lnTo>
                    <a:lnTo>
                      <a:pt x="2633" y="253"/>
                    </a:lnTo>
                    <a:lnTo>
                      <a:pt x="2635" y="253"/>
                    </a:lnTo>
                    <a:lnTo>
                      <a:pt x="2637" y="255"/>
                    </a:lnTo>
                    <a:lnTo>
                      <a:pt x="2637" y="255"/>
                    </a:lnTo>
                    <a:lnTo>
                      <a:pt x="2638" y="256"/>
                    </a:lnTo>
                    <a:lnTo>
                      <a:pt x="2639" y="256"/>
                    </a:lnTo>
                    <a:lnTo>
                      <a:pt x="2640" y="257"/>
                    </a:lnTo>
                    <a:lnTo>
                      <a:pt x="2641" y="256"/>
                    </a:lnTo>
                    <a:lnTo>
                      <a:pt x="2641" y="255"/>
                    </a:lnTo>
                    <a:lnTo>
                      <a:pt x="2641" y="251"/>
                    </a:lnTo>
                    <a:lnTo>
                      <a:pt x="2640" y="247"/>
                    </a:lnTo>
                    <a:lnTo>
                      <a:pt x="2639" y="243"/>
                    </a:lnTo>
                    <a:lnTo>
                      <a:pt x="2637" y="236"/>
                    </a:lnTo>
                    <a:lnTo>
                      <a:pt x="2635" y="229"/>
                    </a:lnTo>
                    <a:lnTo>
                      <a:pt x="2633" y="225"/>
                    </a:lnTo>
                    <a:close/>
                    <a:moveTo>
                      <a:pt x="2738" y="223"/>
                    </a:moveTo>
                    <a:lnTo>
                      <a:pt x="2735" y="223"/>
                    </a:lnTo>
                    <a:lnTo>
                      <a:pt x="2733" y="224"/>
                    </a:lnTo>
                    <a:lnTo>
                      <a:pt x="2731" y="225"/>
                    </a:lnTo>
                    <a:lnTo>
                      <a:pt x="2730" y="228"/>
                    </a:lnTo>
                    <a:lnTo>
                      <a:pt x="2729" y="231"/>
                    </a:lnTo>
                    <a:lnTo>
                      <a:pt x="2728" y="233"/>
                    </a:lnTo>
                    <a:lnTo>
                      <a:pt x="2727" y="235"/>
                    </a:lnTo>
                    <a:lnTo>
                      <a:pt x="2727" y="238"/>
                    </a:lnTo>
                    <a:lnTo>
                      <a:pt x="2727" y="241"/>
                    </a:lnTo>
                    <a:lnTo>
                      <a:pt x="2727" y="244"/>
                    </a:lnTo>
                    <a:lnTo>
                      <a:pt x="2727" y="247"/>
                    </a:lnTo>
                    <a:lnTo>
                      <a:pt x="2728" y="246"/>
                    </a:lnTo>
                    <a:lnTo>
                      <a:pt x="2728" y="245"/>
                    </a:lnTo>
                    <a:lnTo>
                      <a:pt x="2728" y="243"/>
                    </a:lnTo>
                    <a:lnTo>
                      <a:pt x="2729" y="240"/>
                    </a:lnTo>
                    <a:lnTo>
                      <a:pt x="2729" y="238"/>
                    </a:lnTo>
                    <a:lnTo>
                      <a:pt x="2729" y="237"/>
                    </a:lnTo>
                    <a:lnTo>
                      <a:pt x="2730" y="236"/>
                    </a:lnTo>
                    <a:lnTo>
                      <a:pt x="2731" y="234"/>
                    </a:lnTo>
                    <a:lnTo>
                      <a:pt x="2732" y="232"/>
                    </a:lnTo>
                    <a:lnTo>
                      <a:pt x="2732" y="231"/>
                    </a:lnTo>
                    <a:lnTo>
                      <a:pt x="2733" y="231"/>
                    </a:lnTo>
                    <a:lnTo>
                      <a:pt x="2735" y="230"/>
                    </a:lnTo>
                    <a:lnTo>
                      <a:pt x="2737" y="229"/>
                    </a:lnTo>
                    <a:lnTo>
                      <a:pt x="2740" y="228"/>
                    </a:lnTo>
                    <a:lnTo>
                      <a:pt x="2741" y="227"/>
                    </a:lnTo>
                    <a:lnTo>
                      <a:pt x="2742" y="227"/>
                    </a:lnTo>
                    <a:lnTo>
                      <a:pt x="2742" y="227"/>
                    </a:lnTo>
                    <a:lnTo>
                      <a:pt x="2743" y="226"/>
                    </a:lnTo>
                    <a:lnTo>
                      <a:pt x="2744" y="225"/>
                    </a:lnTo>
                    <a:lnTo>
                      <a:pt x="2742" y="226"/>
                    </a:lnTo>
                    <a:lnTo>
                      <a:pt x="2741" y="225"/>
                    </a:lnTo>
                    <a:lnTo>
                      <a:pt x="2740" y="224"/>
                    </a:lnTo>
                    <a:lnTo>
                      <a:pt x="2739" y="223"/>
                    </a:lnTo>
                    <a:lnTo>
                      <a:pt x="2738" y="223"/>
                    </a:lnTo>
                    <a:close/>
                    <a:moveTo>
                      <a:pt x="0" y="161"/>
                    </a:moveTo>
                    <a:lnTo>
                      <a:pt x="2" y="161"/>
                    </a:lnTo>
                    <a:lnTo>
                      <a:pt x="4" y="162"/>
                    </a:lnTo>
                    <a:lnTo>
                      <a:pt x="4" y="163"/>
                    </a:lnTo>
                    <a:lnTo>
                      <a:pt x="4" y="165"/>
                    </a:lnTo>
                    <a:lnTo>
                      <a:pt x="3" y="166"/>
                    </a:lnTo>
                    <a:lnTo>
                      <a:pt x="2" y="167"/>
                    </a:lnTo>
                    <a:lnTo>
                      <a:pt x="1" y="168"/>
                    </a:lnTo>
                    <a:lnTo>
                      <a:pt x="0" y="169"/>
                    </a:lnTo>
                    <a:lnTo>
                      <a:pt x="0" y="169"/>
                    </a:lnTo>
                    <a:lnTo>
                      <a:pt x="0" y="161"/>
                    </a:lnTo>
                    <a:close/>
                    <a:moveTo>
                      <a:pt x="15" y="153"/>
                    </a:moveTo>
                    <a:lnTo>
                      <a:pt x="26" y="153"/>
                    </a:lnTo>
                    <a:lnTo>
                      <a:pt x="26" y="154"/>
                    </a:lnTo>
                    <a:lnTo>
                      <a:pt x="25" y="155"/>
                    </a:lnTo>
                    <a:lnTo>
                      <a:pt x="24" y="155"/>
                    </a:lnTo>
                    <a:lnTo>
                      <a:pt x="23" y="155"/>
                    </a:lnTo>
                    <a:lnTo>
                      <a:pt x="21" y="154"/>
                    </a:lnTo>
                    <a:lnTo>
                      <a:pt x="20" y="154"/>
                    </a:lnTo>
                    <a:lnTo>
                      <a:pt x="17" y="155"/>
                    </a:lnTo>
                    <a:lnTo>
                      <a:pt x="16" y="156"/>
                    </a:lnTo>
                    <a:lnTo>
                      <a:pt x="15" y="157"/>
                    </a:lnTo>
                    <a:lnTo>
                      <a:pt x="14" y="159"/>
                    </a:lnTo>
                    <a:lnTo>
                      <a:pt x="13" y="160"/>
                    </a:lnTo>
                    <a:lnTo>
                      <a:pt x="12" y="159"/>
                    </a:lnTo>
                    <a:lnTo>
                      <a:pt x="11" y="158"/>
                    </a:lnTo>
                    <a:lnTo>
                      <a:pt x="11" y="157"/>
                    </a:lnTo>
                    <a:lnTo>
                      <a:pt x="12" y="156"/>
                    </a:lnTo>
                    <a:lnTo>
                      <a:pt x="14" y="155"/>
                    </a:lnTo>
                    <a:lnTo>
                      <a:pt x="15" y="154"/>
                    </a:lnTo>
                    <a:lnTo>
                      <a:pt x="15" y="153"/>
                    </a:lnTo>
                    <a:close/>
                    <a:moveTo>
                      <a:pt x="841" y="149"/>
                    </a:moveTo>
                    <a:lnTo>
                      <a:pt x="837" y="149"/>
                    </a:lnTo>
                    <a:lnTo>
                      <a:pt x="834" y="151"/>
                    </a:lnTo>
                    <a:lnTo>
                      <a:pt x="834" y="155"/>
                    </a:lnTo>
                    <a:lnTo>
                      <a:pt x="835" y="158"/>
                    </a:lnTo>
                    <a:lnTo>
                      <a:pt x="836" y="159"/>
                    </a:lnTo>
                    <a:lnTo>
                      <a:pt x="838" y="161"/>
                    </a:lnTo>
                    <a:lnTo>
                      <a:pt x="841" y="162"/>
                    </a:lnTo>
                    <a:lnTo>
                      <a:pt x="844" y="163"/>
                    </a:lnTo>
                    <a:lnTo>
                      <a:pt x="847" y="165"/>
                    </a:lnTo>
                    <a:lnTo>
                      <a:pt x="848" y="167"/>
                    </a:lnTo>
                    <a:lnTo>
                      <a:pt x="849" y="169"/>
                    </a:lnTo>
                    <a:lnTo>
                      <a:pt x="850" y="172"/>
                    </a:lnTo>
                    <a:lnTo>
                      <a:pt x="850" y="174"/>
                    </a:lnTo>
                    <a:lnTo>
                      <a:pt x="851" y="177"/>
                    </a:lnTo>
                    <a:lnTo>
                      <a:pt x="852" y="180"/>
                    </a:lnTo>
                    <a:lnTo>
                      <a:pt x="853" y="185"/>
                    </a:lnTo>
                    <a:lnTo>
                      <a:pt x="854" y="190"/>
                    </a:lnTo>
                    <a:lnTo>
                      <a:pt x="856" y="193"/>
                    </a:lnTo>
                    <a:lnTo>
                      <a:pt x="857" y="193"/>
                    </a:lnTo>
                    <a:lnTo>
                      <a:pt x="858" y="188"/>
                    </a:lnTo>
                    <a:lnTo>
                      <a:pt x="858" y="182"/>
                    </a:lnTo>
                    <a:lnTo>
                      <a:pt x="857" y="177"/>
                    </a:lnTo>
                    <a:lnTo>
                      <a:pt x="858" y="168"/>
                    </a:lnTo>
                    <a:lnTo>
                      <a:pt x="857" y="159"/>
                    </a:lnTo>
                    <a:lnTo>
                      <a:pt x="855" y="156"/>
                    </a:lnTo>
                    <a:lnTo>
                      <a:pt x="851" y="153"/>
                    </a:lnTo>
                    <a:lnTo>
                      <a:pt x="847" y="150"/>
                    </a:lnTo>
                    <a:lnTo>
                      <a:pt x="841" y="149"/>
                    </a:lnTo>
                    <a:close/>
                    <a:moveTo>
                      <a:pt x="371" y="136"/>
                    </a:moveTo>
                    <a:lnTo>
                      <a:pt x="372" y="137"/>
                    </a:lnTo>
                    <a:lnTo>
                      <a:pt x="373" y="137"/>
                    </a:lnTo>
                    <a:lnTo>
                      <a:pt x="375" y="138"/>
                    </a:lnTo>
                    <a:lnTo>
                      <a:pt x="376" y="139"/>
                    </a:lnTo>
                    <a:lnTo>
                      <a:pt x="377" y="140"/>
                    </a:lnTo>
                    <a:lnTo>
                      <a:pt x="378" y="140"/>
                    </a:lnTo>
                    <a:lnTo>
                      <a:pt x="378" y="143"/>
                    </a:lnTo>
                    <a:lnTo>
                      <a:pt x="378" y="144"/>
                    </a:lnTo>
                    <a:lnTo>
                      <a:pt x="377" y="145"/>
                    </a:lnTo>
                    <a:lnTo>
                      <a:pt x="376" y="146"/>
                    </a:lnTo>
                    <a:lnTo>
                      <a:pt x="376" y="148"/>
                    </a:lnTo>
                    <a:lnTo>
                      <a:pt x="376" y="149"/>
                    </a:lnTo>
                    <a:lnTo>
                      <a:pt x="376" y="151"/>
                    </a:lnTo>
                    <a:lnTo>
                      <a:pt x="377" y="153"/>
                    </a:lnTo>
                    <a:lnTo>
                      <a:pt x="380" y="156"/>
                    </a:lnTo>
                    <a:lnTo>
                      <a:pt x="382" y="161"/>
                    </a:lnTo>
                    <a:lnTo>
                      <a:pt x="383" y="164"/>
                    </a:lnTo>
                    <a:lnTo>
                      <a:pt x="382" y="167"/>
                    </a:lnTo>
                    <a:lnTo>
                      <a:pt x="380" y="168"/>
                    </a:lnTo>
                    <a:lnTo>
                      <a:pt x="377" y="166"/>
                    </a:lnTo>
                    <a:lnTo>
                      <a:pt x="376" y="163"/>
                    </a:lnTo>
                    <a:lnTo>
                      <a:pt x="375" y="160"/>
                    </a:lnTo>
                    <a:lnTo>
                      <a:pt x="374" y="156"/>
                    </a:lnTo>
                    <a:lnTo>
                      <a:pt x="373" y="153"/>
                    </a:lnTo>
                    <a:lnTo>
                      <a:pt x="372" y="151"/>
                    </a:lnTo>
                    <a:lnTo>
                      <a:pt x="371" y="148"/>
                    </a:lnTo>
                    <a:lnTo>
                      <a:pt x="369" y="144"/>
                    </a:lnTo>
                    <a:lnTo>
                      <a:pt x="369" y="142"/>
                    </a:lnTo>
                    <a:lnTo>
                      <a:pt x="370" y="141"/>
                    </a:lnTo>
                    <a:lnTo>
                      <a:pt x="370" y="140"/>
                    </a:lnTo>
                    <a:lnTo>
                      <a:pt x="371" y="139"/>
                    </a:lnTo>
                    <a:lnTo>
                      <a:pt x="371" y="137"/>
                    </a:lnTo>
                    <a:lnTo>
                      <a:pt x="371" y="136"/>
                    </a:lnTo>
                    <a:close/>
                    <a:moveTo>
                      <a:pt x="37" y="130"/>
                    </a:moveTo>
                    <a:lnTo>
                      <a:pt x="38" y="131"/>
                    </a:lnTo>
                    <a:lnTo>
                      <a:pt x="39" y="132"/>
                    </a:lnTo>
                    <a:lnTo>
                      <a:pt x="40" y="133"/>
                    </a:lnTo>
                    <a:lnTo>
                      <a:pt x="40" y="135"/>
                    </a:lnTo>
                    <a:lnTo>
                      <a:pt x="40" y="136"/>
                    </a:lnTo>
                    <a:lnTo>
                      <a:pt x="41" y="137"/>
                    </a:lnTo>
                    <a:lnTo>
                      <a:pt x="41" y="138"/>
                    </a:lnTo>
                    <a:lnTo>
                      <a:pt x="40" y="139"/>
                    </a:lnTo>
                    <a:lnTo>
                      <a:pt x="39" y="139"/>
                    </a:lnTo>
                    <a:lnTo>
                      <a:pt x="38" y="139"/>
                    </a:lnTo>
                    <a:lnTo>
                      <a:pt x="37" y="139"/>
                    </a:lnTo>
                    <a:lnTo>
                      <a:pt x="36" y="138"/>
                    </a:lnTo>
                    <a:lnTo>
                      <a:pt x="35" y="136"/>
                    </a:lnTo>
                    <a:lnTo>
                      <a:pt x="35" y="134"/>
                    </a:lnTo>
                    <a:lnTo>
                      <a:pt x="36" y="131"/>
                    </a:lnTo>
                    <a:lnTo>
                      <a:pt x="37" y="130"/>
                    </a:lnTo>
                    <a:close/>
                    <a:moveTo>
                      <a:pt x="872" y="127"/>
                    </a:moveTo>
                    <a:lnTo>
                      <a:pt x="867" y="128"/>
                    </a:lnTo>
                    <a:lnTo>
                      <a:pt x="864" y="131"/>
                    </a:lnTo>
                    <a:lnTo>
                      <a:pt x="863" y="136"/>
                    </a:lnTo>
                    <a:lnTo>
                      <a:pt x="864" y="139"/>
                    </a:lnTo>
                    <a:lnTo>
                      <a:pt x="865" y="142"/>
                    </a:lnTo>
                    <a:lnTo>
                      <a:pt x="867" y="144"/>
                    </a:lnTo>
                    <a:lnTo>
                      <a:pt x="869" y="146"/>
                    </a:lnTo>
                    <a:lnTo>
                      <a:pt x="872" y="149"/>
                    </a:lnTo>
                    <a:lnTo>
                      <a:pt x="874" y="150"/>
                    </a:lnTo>
                    <a:lnTo>
                      <a:pt x="875" y="151"/>
                    </a:lnTo>
                    <a:lnTo>
                      <a:pt x="875" y="152"/>
                    </a:lnTo>
                    <a:lnTo>
                      <a:pt x="875" y="154"/>
                    </a:lnTo>
                    <a:lnTo>
                      <a:pt x="875" y="157"/>
                    </a:lnTo>
                    <a:lnTo>
                      <a:pt x="877" y="165"/>
                    </a:lnTo>
                    <a:lnTo>
                      <a:pt x="882" y="173"/>
                    </a:lnTo>
                    <a:lnTo>
                      <a:pt x="887" y="179"/>
                    </a:lnTo>
                    <a:lnTo>
                      <a:pt x="890" y="182"/>
                    </a:lnTo>
                    <a:lnTo>
                      <a:pt x="896" y="186"/>
                    </a:lnTo>
                    <a:lnTo>
                      <a:pt x="901" y="191"/>
                    </a:lnTo>
                    <a:lnTo>
                      <a:pt x="906" y="194"/>
                    </a:lnTo>
                    <a:lnTo>
                      <a:pt x="908" y="195"/>
                    </a:lnTo>
                    <a:lnTo>
                      <a:pt x="909" y="192"/>
                    </a:lnTo>
                    <a:lnTo>
                      <a:pt x="908" y="187"/>
                    </a:lnTo>
                    <a:lnTo>
                      <a:pt x="906" y="181"/>
                    </a:lnTo>
                    <a:lnTo>
                      <a:pt x="904" y="177"/>
                    </a:lnTo>
                    <a:lnTo>
                      <a:pt x="902" y="173"/>
                    </a:lnTo>
                    <a:lnTo>
                      <a:pt x="901" y="166"/>
                    </a:lnTo>
                    <a:lnTo>
                      <a:pt x="900" y="157"/>
                    </a:lnTo>
                    <a:lnTo>
                      <a:pt x="900" y="148"/>
                    </a:lnTo>
                    <a:lnTo>
                      <a:pt x="898" y="139"/>
                    </a:lnTo>
                    <a:lnTo>
                      <a:pt x="895" y="132"/>
                    </a:lnTo>
                    <a:lnTo>
                      <a:pt x="887" y="128"/>
                    </a:lnTo>
                    <a:lnTo>
                      <a:pt x="883" y="128"/>
                    </a:lnTo>
                    <a:lnTo>
                      <a:pt x="878" y="127"/>
                    </a:lnTo>
                    <a:lnTo>
                      <a:pt x="872" y="127"/>
                    </a:lnTo>
                    <a:close/>
                    <a:moveTo>
                      <a:pt x="54" y="118"/>
                    </a:moveTo>
                    <a:lnTo>
                      <a:pt x="56" y="118"/>
                    </a:lnTo>
                    <a:lnTo>
                      <a:pt x="58" y="120"/>
                    </a:lnTo>
                    <a:lnTo>
                      <a:pt x="60" y="123"/>
                    </a:lnTo>
                    <a:lnTo>
                      <a:pt x="60" y="123"/>
                    </a:lnTo>
                    <a:lnTo>
                      <a:pt x="59" y="124"/>
                    </a:lnTo>
                    <a:lnTo>
                      <a:pt x="57" y="126"/>
                    </a:lnTo>
                    <a:lnTo>
                      <a:pt x="55" y="127"/>
                    </a:lnTo>
                    <a:lnTo>
                      <a:pt x="54" y="128"/>
                    </a:lnTo>
                    <a:lnTo>
                      <a:pt x="52" y="129"/>
                    </a:lnTo>
                    <a:lnTo>
                      <a:pt x="51" y="129"/>
                    </a:lnTo>
                    <a:lnTo>
                      <a:pt x="51" y="129"/>
                    </a:lnTo>
                    <a:lnTo>
                      <a:pt x="50" y="129"/>
                    </a:lnTo>
                    <a:lnTo>
                      <a:pt x="49" y="130"/>
                    </a:lnTo>
                    <a:lnTo>
                      <a:pt x="49" y="132"/>
                    </a:lnTo>
                    <a:lnTo>
                      <a:pt x="48" y="133"/>
                    </a:lnTo>
                    <a:lnTo>
                      <a:pt x="47" y="133"/>
                    </a:lnTo>
                    <a:lnTo>
                      <a:pt x="46" y="133"/>
                    </a:lnTo>
                    <a:lnTo>
                      <a:pt x="45" y="132"/>
                    </a:lnTo>
                    <a:lnTo>
                      <a:pt x="44" y="130"/>
                    </a:lnTo>
                    <a:lnTo>
                      <a:pt x="44" y="129"/>
                    </a:lnTo>
                    <a:lnTo>
                      <a:pt x="45" y="127"/>
                    </a:lnTo>
                    <a:lnTo>
                      <a:pt x="45" y="126"/>
                    </a:lnTo>
                    <a:lnTo>
                      <a:pt x="46" y="125"/>
                    </a:lnTo>
                    <a:lnTo>
                      <a:pt x="47" y="125"/>
                    </a:lnTo>
                    <a:lnTo>
                      <a:pt x="48" y="125"/>
                    </a:lnTo>
                    <a:lnTo>
                      <a:pt x="49" y="126"/>
                    </a:lnTo>
                    <a:lnTo>
                      <a:pt x="49" y="126"/>
                    </a:lnTo>
                    <a:lnTo>
                      <a:pt x="50" y="126"/>
                    </a:lnTo>
                    <a:lnTo>
                      <a:pt x="51" y="125"/>
                    </a:lnTo>
                    <a:lnTo>
                      <a:pt x="52" y="125"/>
                    </a:lnTo>
                    <a:lnTo>
                      <a:pt x="53" y="125"/>
                    </a:lnTo>
                    <a:lnTo>
                      <a:pt x="53" y="124"/>
                    </a:lnTo>
                    <a:lnTo>
                      <a:pt x="52" y="123"/>
                    </a:lnTo>
                    <a:lnTo>
                      <a:pt x="51" y="121"/>
                    </a:lnTo>
                    <a:lnTo>
                      <a:pt x="52" y="120"/>
                    </a:lnTo>
                    <a:lnTo>
                      <a:pt x="53" y="118"/>
                    </a:lnTo>
                    <a:lnTo>
                      <a:pt x="54" y="118"/>
                    </a:lnTo>
                    <a:close/>
                    <a:moveTo>
                      <a:pt x="67" y="102"/>
                    </a:moveTo>
                    <a:lnTo>
                      <a:pt x="69" y="102"/>
                    </a:lnTo>
                    <a:lnTo>
                      <a:pt x="72" y="102"/>
                    </a:lnTo>
                    <a:lnTo>
                      <a:pt x="72" y="103"/>
                    </a:lnTo>
                    <a:lnTo>
                      <a:pt x="74" y="104"/>
                    </a:lnTo>
                    <a:lnTo>
                      <a:pt x="76" y="105"/>
                    </a:lnTo>
                    <a:lnTo>
                      <a:pt x="76" y="107"/>
                    </a:lnTo>
                    <a:lnTo>
                      <a:pt x="76" y="110"/>
                    </a:lnTo>
                    <a:lnTo>
                      <a:pt x="76" y="112"/>
                    </a:lnTo>
                    <a:lnTo>
                      <a:pt x="74" y="113"/>
                    </a:lnTo>
                    <a:lnTo>
                      <a:pt x="72" y="114"/>
                    </a:lnTo>
                    <a:lnTo>
                      <a:pt x="69" y="114"/>
                    </a:lnTo>
                    <a:lnTo>
                      <a:pt x="66" y="114"/>
                    </a:lnTo>
                    <a:lnTo>
                      <a:pt x="63" y="116"/>
                    </a:lnTo>
                    <a:lnTo>
                      <a:pt x="61" y="117"/>
                    </a:lnTo>
                    <a:lnTo>
                      <a:pt x="60" y="117"/>
                    </a:lnTo>
                    <a:lnTo>
                      <a:pt x="59" y="117"/>
                    </a:lnTo>
                    <a:lnTo>
                      <a:pt x="57" y="116"/>
                    </a:lnTo>
                    <a:lnTo>
                      <a:pt x="56" y="114"/>
                    </a:lnTo>
                    <a:lnTo>
                      <a:pt x="55" y="112"/>
                    </a:lnTo>
                    <a:lnTo>
                      <a:pt x="56" y="110"/>
                    </a:lnTo>
                    <a:lnTo>
                      <a:pt x="57" y="109"/>
                    </a:lnTo>
                    <a:lnTo>
                      <a:pt x="59" y="107"/>
                    </a:lnTo>
                    <a:lnTo>
                      <a:pt x="60" y="105"/>
                    </a:lnTo>
                    <a:lnTo>
                      <a:pt x="60" y="103"/>
                    </a:lnTo>
                    <a:lnTo>
                      <a:pt x="62" y="102"/>
                    </a:lnTo>
                    <a:lnTo>
                      <a:pt x="64" y="102"/>
                    </a:lnTo>
                    <a:lnTo>
                      <a:pt x="67" y="102"/>
                    </a:lnTo>
                    <a:close/>
                    <a:moveTo>
                      <a:pt x="369" y="101"/>
                    </a:moveTo>
                    <a:lnTo>
                      <a:pt x="372" y="102"/>
                    </a:lnTo>
                    <a:lnTo>
                      <a:pt x="374" y="103"/>
                    </a:lnTo>
                    <a:lnTo>
                      <a:pt x="376" y="106"/>
                    </a:lnTo>
                    <a:lnTo>
                      <a:pt x="377" y="109"/>
                    </a:lnTo>
                    <a:lnTo>
                      <a:pt x="378" y="113"/>
                    </a:lnTo>
                    <a:lnTo>
                      <a:pt x="376" y="115"/>
                    </a:lnTo>
                    <a:lnTo>
                      <a:pt x="374" y="116"/>
                    </a:lnTo>
                    <a:lnTo>
                      <a:pt x="372" y="118"/>
                    </a:lnTo>
                    <a:lnTo>
                      <a:pt x="371" y="120"/>
                    </a:lnTo>
                    <a:lnTo>
                      <a:pt x="369" y="122"/>
                    </a:lnTo>
                    <a:lnTo>
                      <a:pt x="369" y="124"/>
                    </a:lnTo>
                    <a:lnTo>
                      <a:pt x="367" y="126"/>
                    </a:lnTo>
                    <a:lnTo>
                      <a:pt x="365" y="126"/>
                    </a:lnTo>
                    <a:lnTo>
                      <a:pt x="364" y="124"/>
                    </a:lnTo>
                    <a:lnTo>
                      <a:pt x="363" y="122"/>
                    </a:lnTo>
                    <a:lnTo>
                      <a:pt x="363" y="119"/>
                    </a:lnTo>
                    <a:lnTo>
                      <a:pt x="363" y="117"/>
                    </a:lnTo>
                    <a:lnTo>
                      <a:pt x="363" y="115"/>
                    </a:lnTo>
                    <a:lnTo>
                      <a:pt x="362" y="112"/>
                    </a:lnTo>
                    <a:lnTo>
                      <a:pt x="362" y="110"/>
                    </a:lnTo>
                    <a:lnTo>
                      <a:pt x="362" y="108"/>
                    </a:lnTo>
                    <a:lnTo>
                      <a:pt x="363" y="106"/>
                    </a:lnTo>
                    <a:lnTo>
                      <a:pt x="365" y="103"/>
                    </a:lnTo>
                    <a:lnTo>
                      <a:pt x="367" y="102"/>
                    </a:lnTo>
                    <a:lnTo>
                      <a:pt x="369" y="101"/>
                    </a:lnTo>
                    <a:close/>
                    <a:moveTo>
                      <a:pt x="97" y="101"/>
                    </a:moveTo>
                    <a:lnTo>
                      <a:pt x="98" y="102"/>
                    </a:lnTo>
                    <a:lnTo>
                      <a:pt x="100" y="103"/>
                    </a:lnTo>
                    <a:lnTo>
                      <a:pt x="101" y="104"/>
                    </a:lnTo>
                    <a:lnTo>
                      <a:pt x="101" y="106"/>
                    </a:lnTo>
                    <a:lnTo>
                      <a:pt x="101" y="108"/>
                    </a:lnTo>
                    <a:lnTo>
                      <a:pt x="100" y="109"/>
                    </a:lnTo>
                    <a:lnTo>
                      <a:pt x="99" y="110"/>
                    </a:lnTo>
                    <a:lnTo>
                      <a:pt x="99" y="109"/>
                    </a:lnTo>
                    <a:lnTo>
                      <a:pt x="97" y="109"/>
                    </a:lnTo>
                    <a:lnTo>
                      <a:pt x="96" y="109"/>
                    </a:lnTo>
                    <a:lnTo>
                      <a:pt x="95" y="108"/>
                    </a:lnTo>
                    <a:lnTo>
                      <a:pt x="95" y="106"/>
                    </a:lnTo>
                    <a:lnTo>
                      <a:pt x="95" y="105"/>
                    </a:lnTo>
                    <a:lnTo>
                      <a:pt x="95" y="104"/>
                    </a:lnTo>
                    <a:lnTo>
                      <a:pt x="95" y="102"/>
                    </a:lnTo>
                    <a:lnTo>
                      <a:pt x="96" y="101"/>
                    </a:lnTo>
                    <a:lnTo>
                      <a:pt x="97" y="101"/>
                    </a:lnTo>
                    <a:close/>
                    <a:moveTo>
                      <a:pt x="2270" y="83"/>
                    </a:moveTo>
                    <a:lnTo>
                      <a:pt x="2274" y="89"/>
                    </a:lnTo>
                    <a:lnTo>
                      <a:pt x="2277" y="97"/>
                    </a:lnTo>
                    <a:lnTo>
                      <a:pt x="2278" y="103"/>
                    </a:lnTo>
                    <a:lnTo>
                      <a:pt x="2280" y="109"/>
                    </a:lnTo>
                    <a:lnTo>
                      <a:pt x="2279" y="115"/>
                    </a:lnTo>
                    <a:lnTo>
                      <a:pt x="2277" y="120"/>
                    </a:lnTo>
                    <a:lnTo>
                      <a:pt x="2275" y="124"/>
                    </a:lnTo>
                    <a:lnTo>
                      <a:pt x="2275" y="143"/>
                    </a:lnTo>
                    <a:lnTo>
                      <a:pt x="2275" y="146"/>
                    </a:lnTo>
                    <a:lnTo>
                      <a:pt x="2275" y="150"/>
                    </a:lnTo>
                    <a:lnTo>
                      <a:pt x="2274" y="152"/>
                    </a:lnTo>
                    <a:lnTo>
                      <a:pt x="2274" y="154"/>
                    </a:lnTo>
                    <a:lnTo>
                      <a:pt x="2273" y="156"/>
                    </a:lnTo>
                    <a:lnTo>
                      <a:pt x="2271" y="161"/>
                    </a:lnTo>
                    <a:lnTo>
                      <a:pt x="2270" y="167"/>
                    </a:lnTo>
                    <a:lnTo>
                      <a:pt x="2268" y="173"/>
                    </a:lnTo>
                    <a:lnTo>
                      <a:pt x="2267" y="177"/>
                    </a:lnTo>
                    <a:lnTo>
                      <a:pt x="2264" y="179"/>
                    </a:lnTo>
                    <a:lnTo>
                      <a:pt x="2261" y="177"/>
                    </a:lnTo>
                    <a:lnTo>
                      <a:pt x="2260" y="176"/>
                    </a:lnTo>
                    <a:lnTo>
                      <a:pt x="2260" y="174"/>
                    </a:lnTo>
                    <a:lnTo>
                      <a:pt x="2259" y="172"/>
                    </a:lnTo>
                    <a:lnTo>
                      <a:pt x="2259" y="171"/>
                    </a:lnTo>
                    <a:lnTo>
                      <a:pt x="2258" y="171"/>
                    </a:lnTo>
                    <a:lnTo>
                      <a:pt x="2257" y="171"/>
                    </a:lnTo>
                    <a:lnTo>
                      <a:pt x="2255" y="174"/>
                    </a:lnTo>
                    <a:lnTo>
                      <a:pt x="2253" y="175"/>
                    </a:lnTo>
                    <a:lnTo>
                      <a:pt x="2252" y="176"/>
                    </a:lnTo>
                    <a:lnTo>
                      <a:pt x="2250" y="174"/>
                    </a:lnTo>
                    <a:lnTo>
                      <a:pt x="2247" y="171"/>
                    </a:lnTo>
                    <a:lnTo>
                      <a:pt x="2245" y="165"/>
                    </a:lnTo>
                    <a:lnTo>
                      <a:pt x="2244" y="158"/>
                    </a:lnTo>
                    <a:lnTo>
                      <a:pt x="2247" y="152"/>
                    </a:lnTo>
                    <a:lnTo>
                      <a:pt x="2248" y="150"/>
                    </a:lnTo>
                    <a:lnTo>
                      <a:pt x="2248" y="148"/>
                    </a:lnTo>
                    <a:lnTo>
                      <a:pt x="2249" y="144"/>
                    </a:lnTo>
                    <a:lnTo>
                      <a:pt x="2249" y="141"/>
                    </a:lnTo>
                    <a:lnTo>
                      <a:pt x="2250" y="139"/>
                    </a:lnTo>
                    <a:lnTo>
                      <a:pt x="2250" y="137"/>
                    </a:lnTo>
                    <a:lnTo>
                      <a:pt x="2251" y="135"/>
                    </a:lnTo>
                    <a:lnTo>
                      <a:pt x="2252" y="134"/>
                    </a:lnTo>
                    <a:lnTo>
                      <a:pt x="2252" y="131"/>
                    </a:lnTo>
                    <a:lnTo>
                      <a:pt x="2250" y="129"/>
                    </a:lnTo>
                    <a:lnTo>
                      <a:pt x="2248" y="126"/>
                    </a:lnTo>
                    <a:lnTo>
                      <a:pt x="2246" y="123"/>
                    </a:lnTo>
                    <a:lnTo>
                      <a:pt x="2245" y="120"/>
                    </a:lnTo>
                    <a:lnTo>
                      <a:pt x="2245" y="118"/>
                    </a:lnTo>
                    <a:lnTo>
                      <a:pt x="2245" y="116"/>
                    </a:lnTo>
                    <a:lnTo>
                      <a:pt x="2246" y="113"/>
                    </a:lnTo>
                    <a:lnTo>
                      <a:pt x="2246" y="111"/>
                    </a:lnTo>
                    <a:lnTo>
                      <a:pt x="2248" y="109"/>
                    </a:lnTo>
                    <a:lnTo>
                      <a:pt x="2249" y="107"/>
                    </a:lnTo>
                    <a:lnTo>
                      <a:pt x="2250" y="107"/>
                    </a:lnTo>
                    <a:lnTo>
                      <a:pt x="2252" y="106"/>
                    </a:lnTo>
                    <a:lnTo>
                      <a:pt x="2254" y="105"/>
                    </a:lnTo>
                    <a:lnTo>
                      <a:pt x="2255" y="104"/>
                    </a:lnTo>
                    <a:lnTo>
                      <a:pt x="2256" y="104"/>
                    </a:lnTo>
                    <a:lnTo>
                      <a:pt x="2257" y="105"/>
                    </a:lnTo>
                    <a:lnTo>
                      <a:pt x="2258" y="107"/>
                    </a:lnTo>
                    <a:lnTo>
                      <a:pt x="2259" y="109"/>
                    </a:lnTo>
                    <a:lnTo>
                      <a:pt x="2261" y="112"/>
                    </a:lnTo>
                    <a:lnTo>
                      <a:pt x="2262" y="114"/>
                    </a:lnTo>
                    <a:lnTo>
                      <a:pt x="2263" y="115"/>
                    </a:lnTo>
                    <a:lnTo>
                      <a:pt x="2263" y="115"/>
                    </a:lnTo>
                    <a:lnTo>
                      <a:pt x="2263" y="114"/>
                    </a:lnTo>
                    <a:lnTo>
                      <a:pt x="2263" y="113"/>
                    </a:lnTo>
                    <a:lnTo>
                      <a:pt x="2263" y="112"/>
                    </a:lnTo>
                    <a:lnTo>
                      <a:pt x="2263" y="111"/>
                    </a:lnTo>
                    <a:lnTo>
                      <a:pt x="2263" y="109"/>
                    </a:lnTo>
                    <a:lnTo>
                      <a:pt x="2263" y="109"/>
                    </a:lnTo>
                    <a:lnTo>
                      <a:pt x="2263" y="101"/>
                    </a:lnTo>
                    <a:lnTo>
                      <a:pt x="2263" y="99"/>
                    </a:lnTo>
                    <a:lnTo>
                      <a:pt x="2263" y="98"/>
                    </a:lnTo>
                    <a:lnTo>
                      <a:pt x="2262" y="97"/>
                    </a:lnTo>
                    <a:lnTo>
                      <a:pt x="2260" y="96"/>
                    </a:lnTo>
                    <a:lnTo>
                      <a:pt x="2259" y="96"/>
                    </a:lnTo>
                    <a:lnTo>
                      <a:pt x="2260" y="93"/>
                    </a:lnTo>
                    <a:lnTo>
                      <a:pt x="2260" y="90"/>
                    </a:lnTo>
                    <a:lnTo>
                      <a:pt x="2261" y="89"/>
                    </a:lnTo>
                    <a:lnTo>
                      <a:pt x="2262" y="88"/>
                    </a:lnTo>
                    <a:lnTo>
                      <a:pt x="2263" y="87"/>
                    </a:lnTo>
                    <a:lnTo>
                      <a:pt x="2264" y="87"/>
                    </a:lnTo>
                    <a:lnTo>
                      <a:pt x="2266" y="87"/>
                    </a:lnTo>
                    <a:lnTo>
                      <a:pt x="2268" y="85"/>
                    </a:lnTo>
                    <a:lnTo>
                      <a:pt x="2270" y="83"/>
                    </a:lnTo>
                    <a:close/>
                    <a:moveTo>
                      <a:pt x="81" y="78"/>
                    </a:moveTo>
                    <a:lnTo>
                      <a:pt x="82" y="78"/>
                    </a:lnTo>
                    <a:lnTo>
                      <a:pt x="84" y="79"/>
                    </a:lnTo>
                    <a:lnTo>
                      <a:pt x="85" y="80"/>
                    </a:lnTo>
                    <a:lnTo>
                      <a:pt x="86" y="81"/>
                    </a:lnTo>
                    <a:lnTo>
                      <a:pt x="87" y="82"/>
                    </a:lnTo>
                    <a:lnTo>
                      <a:pt x="87" y="84"/>
                    </a:lnTo>
                    <a:lnTo>
                      <a:pt x="88" y="86"/>
                    </a:lnTo>
                    <a:lnTo>
                      <a:pt x="89" y="87"/>
                    </a:lnTo>
                    <a:lnTo>
                      <a:pt x="90" y="89"/>
                    </a:lnTo>
                    <a:lnTo>
                      <a:pt x="92" y="89"/>
                    </a:lnTo>
                    <a:lnTo>
                      <a:pt x="92" y="90"/>
                    </a:lnTo>
                    <a:lnTo>
                      <a:pt x="93" y="92"/>
                    </a:lnTo>
                    <a:lnTo>
                      <a:pt x="93" y="94"/>
                    </a:lnTo>
                    <a:lnTo>
                      <a:pt x="93" y="96"/>
                    </a:lnTo>
                    <a:lnTo>
                      <a:pt x="92" y="96"/>
                    </a:lnTo>
                    <a:lnTo>
                      <a:pt x="90" y="96"/>
                    </a:lnTo>
                    <a:lnTo>
                      <a:pt x="89" y="96"/>
                    </a:lnTo>
                    <a:lnTo>
                      <a:pt x="87" y="95"/>
                    </a:lnTo>
                    <a:lnTo>
                      <a:pt x="86" y="95"/>
                    </a:lnTo>
                    <a:lnTo>
                      <a:pt x="84" y="94"/>
                    </a:lnTo>
                    <a:lnTo>
                      <a:pt x="83" y="93"/>
                    </a:lnTo>
                    <a:lnTo>
                      <a:pt x="83" y="92"/>
                    </a:lnTo>
                    <a:lnTo>
                      <a:pt x="82" y="92"/>
                    </a:lnTo>
                    <a:lnTo>
                      <a:pt x="81" y="93"/>
                    </a:lnTo>
                    <a:lnTo>
                      <a:pt x="81" y="94"/>
                    </a:lnTo>
                    <a:lnTo>
                      <a:pt x="80" y="96"/>
                    </a:lnTo>
                    <a:lnTo>
                      <a:pt x="80" y="98"/>
                    </a:lnTo>
                    <a:lnTo>
                      <a:pt x="80" y="99"/>
                    </a:lnTo>
                    <a:lnTo>
                      <a:pt x="80" y="101"/>
                    </a:lnTo>
                    <a:lnTo>
                      <a:pt x="79" y="101"/>
                    </a:lnTo>
                    <a:lnTo>
                      <a:pt x="77" y="101"/>
                    </a:lnTo>
                    <a:lnTo>
                      <a:pt x="76" y="100"/>
                    </a:lnTo>
                    <a:lnTo>
                      <a:pt x="75" y="99"/>
                    </a:lnTo>
                    <a:lnTo>
                      <a:pt x="74" y="98"/>
                    </a:lnTo>
                    <a:lnTo>
                      <a:pt x="73" y="98"/>
                    </a:lnTo>
                    <a:lnTo>
                      <a:pt x="72" y="98"/>
                    </a:lnTo>
                    <a:lnTo>
                      <a:pt x="71" y="97"/>
                    </a:lnTo>
                    <a:lnTo>
                      <a:pt x="69" y="97"/>
                    </a:lnTo>
                    <a:lnTo>
                      <a:pt x="68" y="96"/>
                    </a:lnTo>
                    <a:lnTo>
                      <a:pt x="69" y="93"/>
                    </a:lnTo>
                    <a:lnTo>
                      <a:pt x="69" y="92"/>
                    </a:lnTo>
                    <a:lnTo>
                      <a:pt x="69" y="90"/>
                    </a:lnTo>
                    <a:lnTo>
                      <a:pt x="71" y="89"/>
                    </a:lnTo>
                    <a:lnTo>
                      <a:pt x="73" y="89"/>
                    </a:lnTo>
                    <a:lnTo>
                      <a:pt x="74" y="88"/>
                    </a:lnTo>
                    <a:lnTo>
                      <a:pt x="76" y="87"/>
                    </a:lnTo>
                    <a:lnTo>
                      <a:pt x="78" y="85"/>
                    </a:lnTo>
                    <a:lnTo>
                      <a:pt x="79" y="82"/>
                    </a:lnTo>
                    <a:lnTo>
                      <a:pt x="79" y="80"/>
                    </a:lnTo>
                    <a:lnTo>
                      <a:pt x="80" y="79"/>
                    </a:lnTo>
                    <a:lnTo>
                      <a:pt x="81" y="78"/>
                    </a:lnTo>
                    <a:close/>
                    <a:moveTo>
                      <a:pt x="360" y="66"/>
                    </a:moveTo>
                    <a:lnTo>
                      <a:pt x="360" y="67"/>
                    </a:lnTo>
                    <a:lnTo>
                      <a:pt x="362" y="68"/>
                    </a:lnTo>
                    <a:lnTo>
                      <a:pt x="364" y="69"/>
                    </a:lnTo>
                    <a:lnTo>
                      <a:pt x="366" y="70"/>
                    </a:lnTo>
                    <a:lnTo>
                      <a:pt x="368" y="71"/>
                    </a:lnTo>
                    <a:lnTo>
                      <a:pt x="370" y="72"/>
                    </a:lnTo>
                    <a:lnTo>
                      <a:pt x="372" y="76"/>
                    </a:lnTo>
                    <a:lnTo>
                      <a:pt x="373" y="80"/>
                    </a:lnTo>
                    <a:lnTo>
                      <a:pt x="375" y="84"/>
                    </a:lnTo>
                    <a:lnTo>
                      <a:pt x="375" y="85"/>
                    </a:lnTo>
                    <a:lnTo>
                      <a:pt x="375" y="87"/>
                    </a:lnTo>
                    <a:lnTo>
                      <a:pt x="376" y="89"/>
                    </a:lnTo>
                    <a:lnTo>
                      <a:pt x="376" y="92"/>
                    </a:lnTo>
                    <a:lnTo>
                      <a:pt x="376" y="94"/>
                    </a:lnTo>
                    <a:lnTo>
                      <a:pt x="376" y="95"/>
                    </a:lnTo>
                    <a:lnTo>
                      <a:pt x="375" y="95"/>
                    </a:lnTo>
                    <a:lnTo>
                      <a:pt x="373" y="96"/>
                    </a:lnTo>
                    <a:lnTo>
                      <a:pt x="372" y="96"/>
                    </a:lnTo>
                    <a:lnTo>
                      <a:pt x="371" y="95"/>
                    </a:lnTo>
                    <a:lnTo>
                      <a:pt x="370" y="95"/>
                    </a:lnTo>
                    <a:lnTo>
                      <a:pt x="369" y="94"/>
                    </a:lnTo>
                    <a:lnTo>
                      <a:pt x="368" y="95"/>
                    </a:lnTo>
                    <a:lnTo>
                      <a:pt x="367" y="95"/>
                    </a:lnTo>
                    <a:lnTo>
                      <a:pt x="365" y="97"/>
                    </a:lnTo>
                    <a:lnTo>
                      <a:pt x="364" y="98"/>
                    </a:lnTo>
                    <a:lnTo>
                      <a:pt x="363" y="99"/>
                    </a:lnTo>
                    <a:lnTo>
                      <a:pt x="361" y="100"/>
                    </a:lnTo>
                    <a:lnTo>
                      <a:pt x="359" y="100"/>
                    </a:lnTo>
                    <a:lnTo>
                      <a:pt x="357" y="99"/>
                    </a:lnTo>
                    <a:lnTo>
                      <a:pt x="358" y="95"/>
                    </a:lnTo>
                    <a:lnTo>
                      <a:pt x="359" y="90"/>
                    </a:lnTo>
                    <a:lnTo>
                      <a:pt x="360" y="86"/>
                    </a:lnTo>
                    <a:lnTo>
                      <a:pt x="359" y="81"/>
                    </a:lnTo>
                    <a:lnTo>
                      <a:pt x="357" y="76"/>
                    </a:lnTo>
                    <a:lnTo>
                      <a:pt x="357" y="71"/>
                    </a:lnTo>
                    <a:lnTo>
                      <a:pt x="360" y="66"/>
                    </a:lnTo>
                    <a:close/>
                    <a:moveTo>
                      <a:pt x="341" y="43"/>
                    </a:moveTo>
                    <a:lnTo>
                      <a:pt x="342" y="44"/>
                    </a:lnTo>
                    <a:lnTo>
                      <a:pt x="343" y="44"/>
                    </a:lnTo>
                    <a:lnTo>
                      <a:pt x="343" y="44"/>
                    </a:lnTo>
                    <a:lnTo>
                      <a:pt x="343" y="45"/>
                    </a:lnTo>
                    <a:lnTo>
                      <a:pt x="343" y="46"/>
                    </a:lnTo>
                    <a:lnTo>
                      <a:pt x="342" y="47"/>
                    </a:lnTo>
                    <a:lnTo>
                      <a:pt x="341" y="48"/>
                    </a:lnTo>
                    <a:lnTo>
                      <a:pt x="339" y="47"/>
                    </a:lnTo>
                    <a:lnTo>
                      <a:pt x="338" y="46"/>
                    </a:lnTo>
                    <a:lnTo>
                      <a:pt x="337" y="45"/>
                    </a:lnTo>
                    <a:lnTo>
                      <a:pt x="338" y="44"/>
                    </a:lnTo>
                    <a:lnTo>
                      <a:pt x="339" y="43"/>
                    </a:lnTo>
                    <a:lnTo>
                      <a:pt x="341" y="43"/>
                    </a:lnTo>
                    <a:close/>
                    <a:moveTo>
                      <a:pt x="21" y="43"/>
                    </a:moveTo>
                    <a:lnTo>
                      <a:pt x="22" y="43"/>
                    </a:lnTo>
                    <a:lnTo>
                      <a:pt x="23" y="44"/>
                    </a:lnTo>
                    <a:lnTo>
                      <a:pt x="24" y="45"/>
                    </a:lnTo>
                    <a:lnTo>
                      <a:pt x="26" y="45"/>
                    </a:lnTo>
                    <a:lnTo>
                      <a:pt x="26" y="46"/>
                    </a:lnTo>
                    <a:lnTo>
                      <a:pt x="25" y="47"/>
                    </a:lnTo>
                    <a:lnTo>
                      <a:pt x="24" y="48"/>
                    </a:lnTo>
                    <a:lnTo>
                      <a:pt x="22" y="48"/>
                    </a:lnTo>
                    <a:lnTo>
                      <a:pt x="21" y="48"/>
                    </a:lnTo>
                    <a:lnTo>
                      <a:pt x="19" y="47"/>
                    </a:lnTo>
                    <a:lnTo>
                      <a:pt x="17" y="46"/>
                    </a:lnTo>
                    <a:lnTo>
                      <a:pt x="17" y="44"/>
                    </a:lnTo>
                    <a:lnTo>
                      <a:pt x="19" y="43"/>
                    </a:lnTo>
                    <a:lnTo>
                      <a:pt x="20" y="43"/>
                    </a:lnTo>
                    <a:lnTo>
                      <a:pt x="21" y="43"/>
                    </a:lnTo>
                    <a:close/>
                    <a:moveTo>
                      <a:pt x="2842" y="32"/>
                    </a:moveTo>
                    <a:lnTo>
                      <a:pt x="2842" y="143"/>
                    </a:lnTo>
                    <a:lnTo>
                      <a:pt x="2835" y="234"/>
                    </a:lnTo>
                    <a:lnTo>
                      <a:pt x="2822" y="323"/>
                    </a:lnTo>
                    <a:lnTo>
                      <a:pt x="2805" y="410"/>
                    </a:lnTo>
                    <a:lnTo>
                      <a:pt x="2781" y="495"/>
                    </a:lnTo>
                    <a:lnTo>
                      <a:pt x="2781" y="493"/>
                    </a:lnTo>
                    <a:lnTo>
                      <a:pt x="2779" y="492"/>
                    </a:lnTo>
                    <a:lnTo>
                      <a:pt x="2778" y="493"/>
                    </a:lnTo>
                    <a:lnTo>
                      <a:pt x="2777" y="494"/>
                    </a:lnTo>
                    <a:lnTo>
                      <a:pt x="2777" y="495"/>
                    </a:lnTo>
                    <a:lnTo>
                      <a:pt x="2777" y="497"/>
                    </a:lnTo>
                    <a:lnTo>
                      <a:pt x="2774" y="500"/>
                    </a:lnTo>
                    <a:lnTo>
                      <a:pt x="2772" y="503"/>
                    </a:lnTo>
                    <a:lnTo>
                      <a:pt x="2769" y="505"/>
                    </a:lnTo>
                    <a:lnTo>
                      <a:pt x="2767" y="507"/>
                    </a:lnTo>
                    <a:lnTo>
                      <a:pt x="2764" y="508"/>
                    </a:lnTo>
                    <a:lnTo>
                      <a:pt x="2762" y="511"/>
                    </a:lnTo>
                    <a:lnTo>
                      <a:pt x="2761" y="513"/>
                    </a:lnTo>
                    <a:lnTo>
                      <a:pt x="2759" y="516"/>
                    </a:lnTo>
                    <a:lnTo>
                      <a:pt x="2757" y="519"/>
                    </a:lnTo>
                    <a:lnTo>
                      <a:pt x="2755" y="521"/>
                    </a:lnTo>
                    <a:lnTo>
                      <a:pt x="2753" y="524"/>
                    </a:lnTo>
                    <a:lnTo>
                      <a:pt x="2751" y="527"/>
                    </a:lnTo>
                    <a:lnTo>
                      <a:pt x="2749" y="529"/>
                    </a:lnTo>
                    <a:lnTo>
                      <a:pt x="2749" y="531"/>
                    </a:lnTo>
                    <a:lnTo>
                      <a:pt x="2748" y="533"/>
                    </a:lnTo>
                    <a:lnTo>
                      <a:pt x="2747" y="535"/>
                    </a:lnTo>
                    <a:lnTo>
                      <a:pt x="2744" y="538"/>
                    </a:lnTo>
                    <a:lnTo>
                      <a:pt x="2741" y="542"/>
                    </a:lnTo>
                    <a:lnTo>
                      <a:pt x="2740" y="544"/>
                    </a:lnTo>
                    <a:lnTo>
                      <a:pt x="2738" y="546"/>
                    </a:lnTo>
                    <a:lnTo>
                      <a:pt x="2737" y="548"/>
                    </a:lnTo>
                    <a:lnTo>
                      <a:pt x="2735" y="550"/>
                    </a:lnTo>
                    <a:lnTo>
                      <a:pt x="2734" y="553"/>
                    </a:lnTo>
                    <a:lnTo>
                      <a:pt x="2732" y="557"/>
                    </a:lnTo>
                    <a:lnTo>
                      <a:pt x="2730" y="561"/>
                    </a:lnTo>
                    <a:lnTo>
                      <a:pt x="2728" y="564"/>
                    </a:lnTo>
                    <a:lnTo>
                      <a:pt x="2725" y="566"/>
                    </a:lnTo>
                    <a:lnTo>
                      <a:pt x="2724" y="568"/>
                    </a:lnTo>
                    <a:lnTo>
                      <a:pt x="2722" y="570"/>
                    </a:lnTo>
                    <a:lnTo>
                      <a:pt x="2720" y="573"/>
                    </a:lnTo>
                    <a:lnTo>
                      <a:pt x="2718" y="576"/>
                    </a:lnTo>
                    <a:lnTo>
                      <a:pt x="2717" y="580"/>
                    </a:lnTo>
                    <a:lnTo>
                      <a:pt x="2716" y="582"/>
                    </a:lnTo>
                    <a:lnTo>
                      <a:pt x="2716" y="585"/>
                    </a:lnTo>
                    <a:lnTo>
                      <a:pt x="2715" y="587"/>
                    </a:lnTo>
                    <a:lnTo>
                      <a:pt x="2715" y="589"/>
                    </a:lnTo>
                    <a:lnTo>
                      <a:pt x="2715" y="591"/>
                    </a:lnTo>
                    <a:lnTo>
                      <a:pt x="2716" y="591"/>
                    </a:lnTo>
                    <a:lnTo>
                      <a:pt x="2716" y="592"/>
                    </a:lnTo>
                    <a:lnTo>
                      <a:pt x="2717" y="593"/>
                    </a:lnTo>
                    <a:lnTo>
                      <a:pt x="2717" y="596"/>
                    </a:lnTo>
                    <a:lnTo>
                      <a:pt x="2716" y="598"/>
                    </a:lnTo>
                    <a:lnTo>
                      <a:pt x="2715" y="601"/>
                    </a:lnTo>
                    <a:lnTo>
                      <a:pt x="2714" y="603"/>
                    </a:lnTo>
                    <a:lnTo>
                      <a:pt x="2713" y="604"/>
                    </a:lnTo>
                    <a:lnTo>
                      <a:pt x="2712" y="607"/>
                    </a:lnTo>
                    <a:lnTo>
                      <a:pt x="2711" y="609"/>
                    </a:lnTo>
                    <a:lnTo>
                      <a:pt x="2710" y="612"/>
                    </a:lnTo>
                    <a:lnTo>
                      <a:pt x="2709" y="614"/>
                    </a:lnTo>
                    <a:lnTo>
                      <a:pt x="2707" y="618"/>
                    </a:lnTo>
                    <a:lnTo>
                      <a:pt x="2706" y="620"/>
                    </a:lnTo>
                    <a:lnTo>
                      <a:pt x="2705" y="622"/>
                    </a:lnTo>
                    <a:lnTo>
                      <a:pt x="2704" y="625"/>
                    </a:lnTo>
                    <a:lnTo>
                      <a:pt x="2703" y="627"/>
                    </a:lnTo>
                    <a:lnTo>
                      <a:pt x="2703" y="630"/>
                    </a:lnTo>
                    <a:lnTo>
                      <a:pt x="2701" y="632"/>
                    </a:lnTo>
                    <a:lnTo>
                      <a:pt x="2701" y="633"/>
                    </a:lnTo>
                    <a:lnTo>
                      <a:pt x="2701" y="635"/>
                    </a:lnTo>
                    <a:lnTo>
                      <a:pt x="2700" y="638"/>
                    </a:lnTo>
                    <a:lnTo>
                      <a:pt x="2699" y="640"/>
                    </a:lnTo>
                    <a:lnTo>
                      <a:pt x="2697" y="643"/>
                    </a:lnTo>
                    <a:lnTo>
                      <a:pt x="2696" y="645"/>
                    </a:lnTo>
                    <a:lnTo>
                      <a:pt x="2694" y="646"/>
                    </a:lnTo>
                    <a:lnTo>
                      <a:pt x="2693" y="647"/>
                    </a:lnTo>
                    <a:lnTo>
                      <a:pt x="2692" y="646"/>
                    </a:lnTo>
                    <a:lnTo>
                      <a:pt x="2692" y="646"/>
                    </a:lnTo>
                    <a:lnTo>
                      <a:pt x="2691" y="645"/>
                    </a:lnTo>
                    <a:lnTo>
                      <a:pt x="2692" y="643"/>
                    </a:lnTo>
                    <a:lnTo>
                      <a:pt x="2692" y="642"/>
                    </a:lnTo>
                    <a:lnTo>
                      <a:pt x="2692" y="640"/>
                    </a:lnTo>
                    <a:lnTo>
                      <a:pt x="2691" y="638"/>
                    </a:lnTo>
                    <a:lnTo>
                      <a:pt x="2691" y="635"/>
                    </a:lnTo>
                    <a:lnTo>
                      <a:pt x="2690" y="633"/>
                    </a:lnTo>
                    <a:lnTo>
                      <a:pt x="2690" y="630"/>
                    </a:lnTo>
                    <a:lnTo>
                      <a:pt x="2690" y="610"/>
                    </a:lnTo>
                    <a:lnTo>
                      <a:pt x="2689" y="601"/>
                    </a:lnTo>
                    <a:lnTo>
                      <a:pt x="2688" y="589"/>
                    </a:lnTo>
                    <a:lnTo>
                      <a:pt x="2688" y="579"/>
                    </a:lnTo>
                    <a:lnTo>
                      <a:pt x="2688" y="568"/>
                    </a:lnTo>
                    <a:lnTo>
                      <a:pt x="2688" y="564"/>
                    </a:lnTo>
                    <a:lnTo>
                      <a:pt x="2689" y="560"/>
                    </a:lnTo>
                    <a:lnTo>
                      <a:pt x="2690" y="556"/>
                    </a:lnTo>
                    <a:lnTo>
                      <a:pt x="2690" y="546"/>
                    </a:lnTo>
                    <a:lnTo>
                      <a:pt x="2691" y="541"/>
                    </a:lnTo>
                    <a:lnTo>
                      <a:pt x="2691" y="537"/>
                    </a:lnTo>
                    <a:lnTo>
                      <a:pt x="2692" y="533"/>
                    </a:lnTo>
                    <a:lnTo>
                      <a:pt x="2692" y="529"/>
                    </a:lnTo>
                    <a:lnTo>
                      <a:pt x="2692" y="528"/>
                    </a:lnTo>
                    <a:lnTo>
                      <a:pt x="2692" y="526"/>
                    </a:lnTo>
                    <a:lnTo>
                      <a:pt x="2692" y="525"/>
                    </a:lnTo>
                    <a:lnTo>
                      <a:pt x="2691" y="524"/>
                    </a:lnTo>
                    <a:lnTo>
                      <a:pt x="2691" y="524"/>
                    </a:lnTo>
                    <a:lnTo>
                      <a:pt x="2690" y="525"/>
                    </a:lnTo>
                    <a:lnTo>
                      <a:pt x="2690" y="527"/>
                    </a:lnTo>
                    <a:lnTo>
                      <a:pt x="2688" y="531"/>
                    </a:lnTo>
                    <a:lnTo>
                      <a:pt x="2686" y="534"/>
                    </a:lnTo>
                    <a:lnTo>
                      <a:pt x="2684" y="535"/>
                    </a:lnTo>
                    <a:lnTo>
                      <a:pt x="2682" y="536"/>
                    </a:lnTo>
                    <a:lnTo>
                      <a:pt x="2680" y="537"/>
                    </a:lnTo>
                    <a:lnTo>
                      <a:pt x="2679" y="537"/>
                    </a:lnTo>
                    <a:lnTo>
                      <a:pt x="2678" y="536"/>
                    </a:lnTo>
                    <a:lnTo>
                      <a:pt x="2677" y="535"/>
                    </a:lnTo>
                    <a:lnTo>
                      <a:pt x="2677" y="533"/>
                    </a:lnTo>
                    <a:lnTo>
                      <a:pt x="2676" y="531"/>
                    </a:lnTo>
                    <a:lnTo>
                      <a:pt x="2676" y="529"/>
                    </a:lnTo>
                    <a:lnTo>
                      <a:pt x="2676" y="527"/>
                    </a:lnTo>
                    <a:lnTo>
                      <a:pt x="2676" y="517"/>
                    </a:lnTo>
                    <a:lnTo>
                      <a:pt x="2676" y="515"/>
                    </a:lnTo>
                    <a:lnTo>
                      <a:pt x="2676" y="513"/>
                    </a:lnTo>
                    <a:lnTo>
                      <a:pt x="2674" y="511"/>
                    </a:lnTo>
                    <a:lnTo>
                      <a:pt x="2674" y="510"/>
                    </a:lnTo>
                    <a:lnTo>
                      <a:pt x="2674" y="509"/>
                    </a:lnTo>
                    <a:lnTo>
                      <a:pt x="2674" y="508"/>
                    </a:lnTo>
                    <a:lnTo>
                      <a:pt x="2673" y="507"/>
                    </a:lnTo>
                    <a:lnTo>
                      <a:pt x="2672" y="507"/>
                    </a:lnTo>
                    <a:lnTo>
                      <a:pt x="2671" y="505"/>
                    </a:lnTo>
                    <a:lnTo>
                      <a:pt x="2670" y="503"/>
                    </a:lnTo>
                    <a:lnTo>
                      <a:pt x="2670" y="501"/>
                    </a:lnTo>
                    <a:lnTo>
                      <a:pt x="2670" y="499"/>
                    </a:lnTo>
                    <a:lnTo>
                      <a:pt x="2670" y="498"/>
                    </a:lnTo>
                    <a:lnTo>
                      <a:pt x="2670" y="496"/>
                    </a:lnTo>
                    <a:lnTo>
                      <a:pt x="2669" y="495"/>
                    </a:lnTo>
                    <a:lnTo>
                      <a:pt x="2668" y="495"/>
                    </a:lnTo>
                    <a:lnTo>
                      <a:pt x="2666" y="495"/>
                    </a:lnTo>
                    <a:lnTo>
                      <a:pt x="2664" y="497"/>
                    </a:lnTo>
                    <a:lnTo>
                      <a:pt x="2662" y="499"/>
                    </a:lnTo>
                    <a:lnTo>
                      <a:pt x="2660" y="499"/>
                    </a:lnTo>
                    <a:lnTo>
                      <a:pt x="2658" y="499"/>
                    </a:lnTo>
                    <a:lnTo>
                      <a:pt x="2656" y="501"/>
                    </a:lnTo>
                    <a:lnTo>
                      <a:pt x="2654" y="501"/>
                    </a:lnTo>
                    <a:lnTo>
                      <a:pt x="2652" y="502"/>
                    </a:lnTo>
                    <a:lnTo>
                      <a:pt x="2650" y="503"/>
                    </a:lnTo>
                    <a:lnTo>
                      <a:pt x="2641" y="503"/>
                    </a:lnTo>
                    <a:lnTo>
                      <a:pt x="2639" y="503"/>
                    </a:lnTo>
                    <a:lnTo>
                      <a:pt x="2637" y="504"/>
                    </a:lnTo>
                    <a:lnTo>
                      <a:pt x="2635" y="505"/>
                    </a:lnTo>
                    <a:lnTo>
                      <a:pt x="2634" y="505"/>
                    </a:lnTo>
                    <a:lnTo>
                      <a:pt x="2633" y="505"/>
                    </a:lnTo>
                    <a:lnTo>
                      <a:pt x="2632" y="506"/>
                    </a:lnTo>
                    <a:lnTo>
                      <a:pt x="2631" y="506"/>
                    </a:lnTo>
                    <a:lnTo>
                      <a:pt x="2630" y="506"/>
                    </a:lnTo>
                    <a:lnTo>
                      <a:pt x="2629" y="505"/>
                    </a:lnTo>
                    <a:lnTo>
                      <a:pt x="2629" y="503"/>
                    </a:lnTo>
                    <a:lnTo>
                      <a:pt x="2629" y="501"/>
                    </a:lnTo>
                    <a:lnTo>
                      <a:pt x="2629" y="498"/>
                    </a:lnTo>
                    <a:lnTo>
                      <a:pt x="2629" y="495"/>
                    </a:lnTo>
                    <a:lnTo>
                      <a:pt x="2629" y="492"/>
                    </a:lnTo>
                    <a:lnTo>
                      <a:pt x="2628" y="490"/>
                    </a:lnTo>
                    <a:lnTo>
                      <a:pt x="2628" y="489"/>
                    </a:lnTo>
                    <a:lnTo>
                      <a:pt x="2627" y="489"/>
                    </a:lnTo>
                    <a:lnTo>
                      <a:pt x="2626" y="489"/>
                    </a:lnTo>
                    <a:lnTo>
                      <a:pt x="2625" y="490"/>
                    </a:lnTo>
                    <a:lnTo>
                      <a:pt x="2625" y="492"/>
                    </a:lnTo>
                    <a:lnTo>
                      <a:pt x="2624" y="493"/>
                    </a:lnTo>
                    <a:lnTo>
                      <a:pt x="2623" y="495"/>
                    </a:lnTo>
                    <a:lnTo>
                      <a:pt x="2621" y="497"/>
                    </a:lnTo>
                    <a:lnTo>
                      <a:pt x="2620" y="499"/>
                    </a:lnTo>
                    <a:lnTo>
                      <a:pt x="2619" y="501"/>
                    </a:lnTo>
                    <a:lnTo>
                      <a:pt x="2617" y="502"/>
                    </a:lnTo>
                    <a:lnTo>
                      <a:pt x="2615" y="503"/>
                    </a:lnTo>
                    <a:lnTo>
                      <a:pt x="2613" y="503"/>
                    </a:lnTo>
                    <a:lnTo>
                      <a:pt x="2612" y="502"/>
                    </a:lnTo>
                    <a:lnTo>
                      <a:pt x="2610" y="501"/>
                    </a:lnTo>
                    <a:lnTo>
                      <a:pt x="2609" y="499"/>
                    </a:lnTo>
                    <a:lnTo>
                      <a:pt x="2608" y="496"/>
                    </a:lnTo>
                    <a:lnTo>
                      <a:pt x="2607" y="493"/>
                    </a:lnTo>
                    <a:lnTo>
                      <a:pt x="2606" y="489"/>
                    </a:lnTo>
                    <a:lnTo>
                      <a:pt x="2605" y="485"/>
                    </a:lnTo>
                    <a:lnTo>
                      <a:pt x="2605" y="484"/>
                    </a:lnTo>
                    <a:lnTo>
                      <a:pt x="2604" y="482"/>
                    </a:lnTo>
                    <a:lnTo>
                      <a:pt x="2604" y="481"/>
                    </a:lnTo>
                    <a:lnTo>
                      <a:pt x="2603" y="480"/>
                    </a:lnTo>
                    <a:lnTo>
                      <a:pt x="2603" y="478"/>
                    </a:lnTo>
                    <a:lnTo>
                      <a:pt x="2602" y="476"/>
                    </a:lnTo>
                    <a:lnTo>
                      <a:pt x="2601" y="474"/>
                    </a:lnTo>
                    <a:lnTo>
                      <a:pt x="2601" y="472"/>
                    </a:lnTo>
                    <a:lnTo>
                      <a:pt x="2601" y="470"/>
                    </a:lnTo>
                    <a:lnTo>
                      <a:pt x="2601" y="468"/>
                    </a:lnTo>
                    <a:lnTo>
                      <a:pt x="2600" y="467"/>
                    </a:lnTo>
                    <a:lnTo>
                      <a:pt x="2599" y="466"/>
                    </a:lnTo>
                    <a:lnTo>
                      <a:pt x="2597" y="466"/>
                    </a:lnTo>
                    <a:lnTo>
                      <a:pt x="2595" y="466"/>
                    </a:lnTo>
                    <a:lnTo>
                      <a:pt x="2594" y="466"/>
                    </a:lnTo>
                    <a:lnTo>
                      <a:pt x="2593" y="467"/>
                    </a:lnTo>
                    <a:lnTo>
                      <a:pt x="2591" y="470"/>
                    </a:lnTo>
                    <a:lnTo>
                      <a:pt x="2590" y="473"/>
                    </a:lnTo>
                    <a:lnTo>
                      <a:pt x="2590" y="478"/>
                    </a:lnTo>
                    <a:lnTo>
                      <a:pt x="2589" y="486"/>
                    </a:lnTo>
                    <a:lnTo>
                      <a:pt x="2590" y="493"/>
                    </a:lnTo>
                    <a:lnTo>
                      <a:pt x="2593" y="499"/>
                    </a:lnTo>
                    <a:lnTo>
                      <a:pt x="2594" y="507"/>
                    </a:lnTo>
                    <a:lnTo>
                      <a:pt x="2597" y="517"/>
                    </a:lnTo>
                    <a:lnTo>
                      <a:pt x="2597" y="519"/>
                    </a:lnTo>
                    <a:lnTo>
                      <a:pt x="2597" y="521"/>
                    </a:lnTo>
                    <a:lnTo>
                      <a:pt x="2598" y="523"/>
                    </a:lnTo>
                    <a:lnTo>
                      <a:pt x="2599" y="525"/>
                    </a:lnTo>
                    <a:lnTo>
                      <a:pt x="2599" y="526"/>
                    </a:lnTo>
                    <a:lnTo>
                      <a:pt x="2599" y="528"/>
                    </a:lnTo>
                    <a:lnTo>
                      <a:pt x="2599" y="529"/>
                    </a:lnTo>
                    <a:lnTo>
                      <a:pt x="2600" y="530"/>
                    </a:lnTo>
                    <a:lnTo>
                      <a:pt x="2601" y="531"/>
                    </a:lnTo>
                    <a:lnTo>
                      <a:pt x="2601" y="531"/>
                    </a:lnTo>
                    <a:lnTo>
                      <a:pt x="2603" y="531"/>
                    </a:lnTo>
                    <a:lnTo>
                      <a:pt x="2604" y="530"/>
                    </a:lnTo>
                    <a:lnTo>
                      <a:pt x="2606" y="529"/>
                    </a:lnTo>
                    <a:lnTo>
                      <a:pt x="2607" y="527"/>
                    </a:lnTo>
                    <a:lnTo>
                      <a:pt x="2609" y="524"/>
                    </a:lnTo>
                    <a:lnTo>
                      <a:pt x="2611" y="521"/>
                    </a:lnTo>
                    <a:lnTo>
                      <a:pt x="2613" y="519"/>
                    </a:lnTo>
                    <a:lnTo>
                      <a:pt x="2614" y="517"/>
                    </a:lnTo>
                    <a:lnTo>
                      <a:pt x="2616" y="515"/>
                    </a:lnTo>
                    <a:lnTo>
                      <a:pt x="2617" y="513"/>
                    </a:lnTo>
                    <a:lnTo>
                      <a:pt x="2618" y="511"/>
                    </a:lnTo>
                    <a:lnTo>
                      <a:pt x="2619" y="509"/>
                    </a:lnTo>
                    <a:lnTo>
                      <a:pt x="2621" y="507"/>
                    </a:lnTo>
                    <a:lnTo>
                      <a:pt x="2622" y="505"/>
                    </a:lnTo>
                    <a:lnTo>
                      <a:pt x="2623" y="503"/>
                    </a:lnTo>
                    <a:lnTo>
                      <a:pt x="2623" y="503"/>
                    </a:lnTo>
                    <a:lnTo>
                      <a:pt x="2624" y="503"/>
                    </a:lnTo>
                    <a:lnTo>
                      <a:pt x="2624" y="505"/>
                    </a:lnTo>
                    <a:lnTo>
                      <a:pt x="2623" y="507"/>
                    </a:lnTo>
                    <a:lnTo>
                      <a:pt x="2623" y="509"/>
                    </a:lnTo>
                    <a:lnTo>
                      <a:pt x="2622" y="511"/>
                    </a:lnTo>
                    <a:lnTo>
                      <a:pt x="2622" y="514"/>
                    </a:lnTo>
                    <a:lnTo>
                      <a:pt x="2621" y="516"/>
                    </a:lnTo>
                    <a:lnTo>
                      <a:pt x="2621" y="517"/>
                    </a:lnTo>
                    <a:lnTo>
                      <a:pt x="2622" y="520"/>
                    </a:lnTo>
                    <a:lnTo>
                      <a:pt x="2624" y="522"/>
                    </a:lnTo>
                    <a:lnTo>
                      <a:pt x="2626" y="523"/>
                    </a:lnTo>
                    <a:lnTo>
                      <a:pt x="2628" y="524"/>
                    </a:lnTo>
                    <a:lnTo>
                      <a:pt x="2629" y="525"/>
                    </a:lnTo>
                    <a:lnTo>
                      <a:pt x="2629" y="525"/>
                    </a:lnTo>
                    <a:lnTo>
                      <a:pt x="2630" y="524"/>
                    </a:lnTo>
                    <a:lnTo>
                      <a:pt x="2630" y="524"/>
                    </a:lnTo>
                    <a:lnTo>
                      <a:pt x="2631" y="524"/>
                    </a:lnTo>
                    <a:lnTo>
                      <a:pt x="2631" y="525"/>
                    </a:lnTo>
                    <a:lnTo>
                      <a:pt x="2631" y="527"/>
                    </a:lnTo>
                    <a:lnTo>
                      <a:pt x="2631" y="530"/>
                    </a:lnTo>
                    <a:lnTo>
                      <a:pt x="2632" y="532"/>
                    </a:lnTo>
                    <a:lnTo>
                      <a:pt x="2633" y="535"/>
                    </a:lnTo>
                    <a:lnTo>
                      <a:pt x="2633" y="542"/>
                    </a:lnTo>
                    <a:lnTo>
                      <a:pt x="2631" y="548"/>
                    </a:lnTo>
                    <a:lnTo>
                      <a:pt x="2627" y="554"/>
                    </a:lnTo>
                    <a:lnTo>
                      <a:pt x="2626" y="555"/>
                    </a:lnTo>
                    <a:lnTo>
                      <a:pt x="2624" y="557"/>
                    </a:lnTo>
                    <a:lnTo>
                      <a:pt x="2623" y="559"/>
                    </a:lnTo>
                    <a:lnTo>
                      <a:pt x="2623" y="562"/>
                    </a:lnTo>
                    <a:lnTo>
                      <a:pt x="2622" y="564"/>
                    </a:lnTo>
                    <a:lnTo>
                      <a:pt x="2621" y="566"/>
                    </a:lnTo>
                    <a:lnTo>
                      <a:pt x="2621" y="570"/>
                    </a:lnTo>
                    <a:lnTo>
                      <a:pt x="2620" y="571"/>
                    </a:lnTo>
                    <a:lnTo>
                      <a:pt x="2619" y="573"/>
                    </a:lnTo>
                    <a:lnTo>
                      <a:pt x="2617" y="575"/>
                    </a:lnTo>
                    <a:lnTo>
                      <a:pt x="2616" y="577"/>
                    </a:lnTo>
                    <a:lnTo>
                      <a:pt x="2615" y="578"/>
                    </a:lnTo>
                    <a:lnTo>
                      <a:pt x="2614" y="579"/>
                    </a:lnTo>
                    <a:lnTo>
                      <a:pt x="2613" y="579"/>
                    </a:lnTo>
                    <a:lnTo>
                      <a:pt x="2613" y="580"/>
                    </a:lnTo>
                    <a:lnTo>
                      <a:pt x="2612" y="582"/>
                    </a:lnTo>
                    <a:lnTo>
                      <a:pt x="2611" y="583"/>
                    </a:lnTo>
                    <a:lnTo>
                      <a:pt x="2609" y="586"/>
                    </a:lnTo>
                    <a:lnTo>
                      <a:pt x="2607" y="589"/>
                    </a:lnTo>
                    <a:lnTo>
                      <a:pt x="2605" y="592"/>
                    </a:lnTo>
                    <a:lnTo>
                      <a:pt x="2603" y="594"/>
                    </a:lnTo>
                    <a:lnTo>
                      <a:pt x="2601" y="596"/>
                    </a:lnTo>
                    <a:lnTo>
                      <a:pt x="2600" y="598"/>
                    </a:lnTo>
                    <a:lnTo>
                      <a:pt x="2599" y="600"/>
                    </a:lnTo>
                    <a:lnTo>
                      <a:pt x="2598" y="603"/>
                    </a:lnTo>
                    <a:lnTo>
                      <a:pt x="2597" y="605"/>
                    </a:lnTo>
                    <a:lnTo>
                      <a:pt x="2595" y="606"/>
                    </a:lnTo>
                    <a:lnTo>
                      <a:pt x="2595" y="607"/>
                    </a:lnTo>
                    <a:lnTo>
                      <a:pt x="2594" y="607"/>
                    </a:lnTo>
                    <a:lnTo>
                      <a:pt x="2593" y="607"/>
                    </a:lnTo>
                    <a:lnTo>
                      <a:pt x="2591" y="608"/>
                    </a:lnTo>
                    <a:lnTo>
                      <a:pt x="2590" y="608"/>
                    </a:lnTo>
                    <a:lnTo>
                      <a:pt x="2584" y="620"/>
                    </a:lnTo>
                    <a:lnTo>
                      <a:pt x="2581" y="623"/>
                    </a:lnTo>
                    <a:lnTo>
                      <a:pt x="2579" y="625"/>
                    </a:lnTo>
                    <a:lnTo>
                      <a:pt x="2576" y="627"/>
                    </a:lnTo>
                    <a:lnTo>
                      <a:pt x="2573" y="629"/>
                    </a:lnTo>
                    <a:lnTo>
                      <a:pt x="2570" y="632"/>
                    </a:lnTo>
                    <a:lnTo>
                      <a:pt x="2570" y="633"/>
                    </a:lnTo>
                    <a:lnTo>
                      <a:pt x="2569" y="634"/>
                    </a:lnTo>
                    <a:lnTo>
                      <a:pt x="2567" y="635"/>
                    </a:lnTo>
                    <a:lnTo>
                      <a:pt x="2566" y="636"/>
                    </a:lnTo>
                    <a:lnTo>
                      <a:pt x="2565" y="637"/>
                    </a:lnTo>
                    <a:lnTo>
                      <a:pt x="2564" y="638"/>
                    </a:lnTo>
                    <a:lnTo>
                      <a:pt x="2564" y="639"/>
                    </a:lnTo>
                    <a:lnTo>
                      <a:pt x="2563" y="641"/>
                    </a:lnTo>
                    <a:lnTo>
                      <a:pt x="2562" y="642"/>
                    </a:lnTo>
                    <a:lnTo>
                      <a:pt x="2560" y="643"/>
                    </a:lnTo>
                    <a:lnTo>
                      <a:pt x="2559" y="644"/>
                    </a:lnTo>
                    <a:lnTo>
                      <a:pt x="2557" y="646"/>
                    </a:lnTo>
                    <a:lnTo>
                      <a:pt x="2556" y="648"/>
                    </a:lnTo>
                    <a:lnTo>
                      <a:pt x="2554" y="650"/>
                    </a:lnTo>
                    <a:lnTo>
                      <a:pt x="2551" y="653"/>
                    </a:lnTo>
                    <a:lnTo>
                      <a:pt x="2548" y="655"/>
                    </a:lnTo>
                    <a:lnTo>
                      <a:pt x="2546" y="657"/>
                    </a:lnTo>
                    <a:lnTo>
                      <a:pt x="2544" y="658"/>
                    </a:lnTo>
                    <a:lnTo>
                      <a:pt x="2542" y="659"/>
                    </a:lnTo>
                    <a:lnTo>
                      <a:pt x="2539" y="661"/>
                    </a:lnTo>
                    <a:lnTo>
                      <a:pt x="2538" y="662"/>
                    </a:lnTo>
                    <a:lnTo>
                      <a:pt x="2536" y="662"/>
                    </a:lnTo>
                    <a:lnTo>
                      <a:pt x="2535" y="661"/>
                    </a:lnTo>
                    <a:lnTo>
                      <a:pt x="2534" y="660"/>
                    </a:lnTo>
                    <a:lnTo>
                      <a:pt x="2534" y="659"/>
                    </a:lnTo>
                    <a:lnTo>
                      <a:pt x="2533" y="658"/>
                    </a:lnTo>
                    <a:lnTo>
                      <a:pt x="2532" y="656"/>
                    </a:lnTo>
                    <a:lnTo>
                      <a:pt x="2532" y="654"/>
                    </a:lnTo>
                    <a:lnTo>
                      <a:pt x="2533" y="650"/>
                    </a:lnTo>
                    <a:lnTo>
                      <a:pt x="2534" y="643"/>
                    </a:lnTo>
                    <a:lnTo>
                      <a:pt x="2535" y="637"/>
                    </a:lnTo>
                    <a:lnTo>
                      <a:pt x="2535" y="630"/>
                    </a:lnTo>
                    <a:lnTo>
                      <a:pt x="2535" y="623"/>
                    </a:lnTo>
                    <a:lnTo>
                      <a:pt x="2534" y="618"/>
                    </a:lnTo>
                    <a:lnTo>
                      <a:pt x="2533" y="612"/>
                    </a:lnTo>
                    <a:lnTo>
                      <a:pt x="2533" y="609"/>
                    </a:lnTo>
                    <a:lnTo>
                      <a:pt x="2533" y="605"/>
                    </a:lnTo>
                    <a:lnTo>
                      <a:pt x="2532" y="601"/>
                    </a:lnTo>
                    <a:lnTo>
                      <a:pt x="2532" y="598"/>
                    </a:lnTo>
                    <a:lnTo>
                      <a:pt x="2531" y="596"/>
                    </a:lnTo>
                    <a:lnTo>
                      <a:pt x="2530" y="596"/>
                    </a:lnTo>
                    <a:lnTo>
                      <a:pt x="2528" y="594"/>
                    </a:lnTo>
                    <a:lnTo>
                      <a:pt x="2527" y="594"/>
                    </a:lnTo>
                    <a:lnTo>
                      <a:pt x="2526" y="594"/>
                    </a:lnTo>
                    <a:lnTo>
                      <a:pt x="2526" y="593"/>
                    </a:lnTo>
                    <a:lnTo>
                      <a:pt x="2527" y="591"/>
                    </a:lnTo>
                    <a:lnTo>
                      <a:pt x="2527" y="587"/>
                    </a:lnTo>
                    <a:lnTo>
                      <a:pt x="2528" y="584"/>
                    </a:lnTo>
                    <a:lnTo>
                      <a:pt x="2529" y="580"/>
                    </a:lnTo>
                    <a:lnTo>
                      <a:pt x="2529" y="576"/>
                    </a:lnTo>
                    <a:lnTo>
                      <a:pt x="2529" y="572"/>
                    </a:lnTo>
                    <a:lnTo>
                      <a:pt x="2529" y="570"/>
                    </a:lnTo>
                    <a:lnTo>
                      <a:pt x="2529" y="566"/>
                    </a:lnTo>
                    <a:lnTo>
                      <a:pt x="2529" y="563"/>
                    </a:lnTo>
                    <a:lnTo>
                      <a:pt x="2529" y="560"/>
                    </a:lnTo>
                    <a:lnTo>
                      <a:pt x="2527" y="554"/>
                    </a:lnTo>
                    <a:lnTo>
                      <a:pt x="2525" y="550"/>
                    </a:lnTo>
                    <a:lnTo>
                      <a:pt x="2523" y="546"/>
                    </a:lnTo>
                    <a:lnTo>
                      <a:pt x="2521" y="535"/>
                    </a:lnTo>
                    <a:lnTo>
                      <a:pt x="2521" y="525"/>
                    </a:lnTo>
                    <a:lnTo>
                      <a:pt x="2520" y="523"/>
                    </a:lnTo>
                    <a:lnTo>
                      <a:pt x="2520" y="521"/>
                    </a:lnTo>
                    <a:lnTo>
                      <a:pt x="2519" y="519"/>
                    </a:lnTo>
                    <a:lnTo>
                      <a:pt x="2519" y="517"/>
                    </a:lnTo>
                    <a:lnTo>
                      <a:pt x="2518" y="516"/>
                    </a:lnTo>
                    <a:lnTo>
                      <a:pt x="2517" y="515"/>
                    </a:lnTo>
                    <a:lnTo>
                      <a:pt x="2516" y="516"/>
                    </a:lnTo>
                    <a:lnTo>
                      <a:pt x="2515" y="517"/>
                    </a:lnTo>
                    <a:lnTo>
                      <a:pt x="2514" y="518"/>
                    </a:lnTo>
                    <a:lnTo>
                      <a:pt x="2513" y="519"/>
                    </a:lnTo>
                    <a:lnTo>
                      <a:pt x="2512" y="520"/>
                    </a:lnTo>
                    <a:lnTo>
                      <a:pt x="2511" y="521"/>
                    </a:lnTo>
                    <a:lnTo>
                      <a:pt x="2511" y="527"/>
                    </a:lnTo>
                    <a:lnTo>
                      <a:pt x="2512" y="540"/>
                    </a:lnTo>
                    <a:lnTo>
                      <a:pt x="2513" y="552"/>
                    </a:lnTo>
                    <a:lnTo>
                      <a:pt x="2513" y="553"/>
                    </a:lnTo>
                    <a:lnTo>
                      <a:pt x="2514" y="556"/>
                    </a:lnTo>
                    <a:lnTo>
                      <a:pt x="2514" y="559"/>
                    </a:lnTo>
                    <a:lnTo>
                      <a:pt x="2515" y="562"/>
                    </a:lnTo>
                    <a:lnTo>
                      <a:pt x="2513" y="563"/>
                    </a:lnTo>
                    <a:lnTo>
                      <a:pt x="2513" y="566"/>
                    </a:lnTo>
                    <a:lnTo>
                      <a:pt x="2513" y="569"/>
                    </a:lnTo>
                    <a:lnTo>
                      <a:pt x="2513" y="572"/>
                    </a:lnTo>
                    <a:lnTo>
                      <a:pt x="2512" y="574"/>
                    </a:lnTo>
                    <a:lnTo>
                      <a:pt x="2512" y="576"/>
                    </a:lnTo>
                    <a:lnTo>
                      <a:pt x="2513" y="577"/>
                    </a:lnTo>
                    <a:lnTo>
                      <a:pt x="2514" y="579"/>
                    </a:lnTo>
                    <a:lnTo>
                      <a:pt x="2515" y="582"/>
                    </a:lnTo>
                    <a:lnTo>
                      <a:pt x="2515" y="583"/>
                    </a:lnTo>
                    <a:lnTo>
                      <a:pt x="2515" y="586"/>
                    </a:lnTo>
                    <a:lnTo>
                      <a:pt x="2515" y="588"/>
                    </a:lnTo>
                    <a:lnTo>
                      <a:pt x="2515" y="591"/>
                    </a:lnTo>
                    <a:lnTo>
                      <a:pt x="2514" y="598"/>
                    </a:lnTo>
                    <a:lnTo>
                      <a:pt x="2513" y="604"/>
                    </a:lnTo>
                    <a:lnTo>
                      <a:pt x="2511" y="610"/>
                    </a:lnTo>
                    <a:lnTo>
                      <a:pt x="2511" y="614"/>
                    </a:lnTo>
                    <a:lnTo>
                      <a:pt x="2513" y="616"/>
                    </a:lnTo>
                    <a:lnTo>
                      <a:pt x="2514" y="616"/>
                    </a:lnTo>
                    <a:lnTo>
                      <a:pt x="2515" y="616"/>
                    </a:lnTo>
                    <a:lnTo>
                      <a:pt x="2516" y="618"/>
                    </a:lnTo>
                    <a:lnTo>
                      <a:pt x="2517" y="620"/>
                    </a:lnTo>
                    <a:lnTo>
                      <a:pt x="2517" y="622"/>
                    </a:lnTo>
                    <a:lnTo>
                      <a:pt x="2517" y="626"/>
                    </a:lnTo>
                    <a:lnTo>
                      <a:pt x="2516" y="632"/>
                    </a:lnTo>
                    <a:lnTo>
                      <a:pt x="2515" y="638"/>
                    </a:lnTo>
                    <a:lnTo>
                      <a:pt x="2515" y="644"/>
                    </a:lnTo>
                    <a:lnTo>
                      <a:pt x="2515" y="647"/>
                    </a:lnTo>
                    <a:lnTo>
                      <a:pt x="2516" y="649"/>
                    </a:lnTo>
                    <a:lnTo>
                      <a:pt x="2517" y="650"/>
                    </a:lnTo>
                    <a:lnTo>
                      <a:pt x="2518" y="652"/>
                    </a:lnTo>
                    <a:lnTo>
                      <a:pt x="2520" y="652"/>
                    </a:lnTo>
                    <a:lnTo>
                      <a:pt x="2521" y="653"/>
                    </a:lnTo>
                    <a:lnTo>
                      <a:pt x="2523" y="654"/>
                    </a:lnTo>
                    <a:lnTo>
                      <a:pt x="2525" y="655"/>
                    </a:lnTo>
                    <a:lnTo>
                      <a:pt x="2527" y="657"/>
                    </a:lnTo>
                    <a:lnTo>
                      <a:pt x="2527" y="658"/>
                    </a:lnTo>
                    <a:lnTo>
                      <a:pt x="2528" y="659"/>
                    </a:lnTo>
                    <a:lnTo>
                      <a:pt x="2528" y="659"/>
                    </a:lnTo>
                    <a:lnTo>
                      <a:pt x="2529" y="659"/>
                    </a:lnTo>
                    <a:lnTo>
                      <a:pt x="2529" y="661"/>
                    </a:lnTo>
                    <a:lnTo>
                      <a:pt x="2530" y="662"/>
                    </a:lnTo>
                    <a:lnTo>
                      <a:pt x="2529" y="665"/>
                    </a:lnTo>
                    <a:lnTo>
                      <a:pt x="2529" y="667"/>
                    </a:lnTo>
                    <a:lnTo>
                      <a:pt x="2529" y="669"/>
                    </a:lnTo>
                    <a:lnTo>
                      <a:pt x="2529" y="673"/>
                    </a:lnTo>
                    <a:lnTo>
                      <a:pt x="2529" y="675"/>
                    </a:lnTo>
                    <a:lnTo>
                      <a:pt x="2529" y="677"/>
                    </a:lnTo>
                    <a:lnTo>
                      <a:pt x="2529" y="680"/>
                    </a:lnTo>
                    <a:lnTo>
                      <a:pt x="2530" y="683"/>
                    </a:lnTo>
                    <a:lnTo>
                      <a:pt x="2531" y="685"/>
                    </a:lnTo>
                    <a:lnTo>
                      <a:pt x="2533" y="687"/>
                    </a:lnTo>
                    <a:lnTo>
                      <a:pt x="2535" y="687"/>
                    </a:lnTo>
                    <a:lnTo>
                      <a:pt x="2537" y="686"/>
                    </a:lnTo>
                    <a:lnTo>
                      <a:pt x="2539" y="684"/>
                    </a:lnTo>
                    <a:lnTo>
                      <a:pt x="2542" y="681"/>
                    </a:lnTo>
                    <a:lnTo>
                      <a:pt x="2543" y="680"/>
                    </a:lnTo>
                    <a:lnTo>
                      <a:pt x="2544" y="679"/>
                    </a:lnTo>
                    <a:lnTo>
                      <a:pt x="2545" y="679"/>
                    </a:lnTo>
                    <a:lnTo>
                      <a:pt x="2546" y="679"/>
                    </a:lnTo>
                    <a:lnTo>
                      <a:pt x="2548" y="678"/>
                    </a:lnTo>
                    <a:lnTo>
                      <a:pt x="2550" y="677"/>
                    </a:lnTo>
                    <a:lnTo>
                      <a:pt x="2552" y="675"/>
                    </a:lnTo>
                    <a:lnTo>
                      <a:pt x="2553" y="673"/>
                    </a:lnTo>
                    <a:lnTo>
                      <a:pt x="2555" y="671"/>
                    </a:lnTo>
                    <a:lnTo>
                      <a:pt x="2556" y="670"/>
                    </a:lnTo>
                    <a:lnTo>
                      <a:pt x="2558" y="669"/>
                    </a:lnTo>
                    <a:lnTo>
                      <a:pt x="2560" y="668"/>
                    </a:lnTo>
                    <a:lnTo>
                      <a:pt x="2562" y="667"/>
                    </a:lnTo>
                    <a:lnTo>
                      <a:pt x="2564" y="665"/>
                    </a:lnTo>
                    <a:lnTo>
                      <a:pt x="2565" y="664"/>
                    </a:lnTo>
                    <a:lnTo>
                      <a:pt x="2567" y="662"/>
                    </a:lnTo>
                    <a:lnTo>
                      <a:pt x="2567" y="662"/>
                    </a:lnTo>
                    <a:lnTo>
                      <a:pt x="2568" y="661"/>
                    </a:lnTo>
                    <a:lnTo>
                      <a:pt x="2569" y="662"/>
                    </a:lnTo>
                    <a:lnTo>
                      <a:pt x="2569" y="666"/>
                    </a:lnTo>
                    <a:lnTo>
                      <a:pt x="2567" y="672"/>
                    </a:lnTo>
                    <a:lnTo>
                      <a:pt x="2565" y="677"/>
                    </a:lnTo>
                    <a:lnTo>
                      <a:pt x="2564" y="681"/>
                    </a:lnTo>
                    <a:lnTo>
                      <a:pt x="2558" y="694"/>
                    </a:lnTo>
                    <a:lnTo>
                      <a:pt x="2552" y="708"/>
                    </a:lnTo>
                    <a:lnTo>
                      <a:pt x="2539" y="732"/>
                    </a:lnTo>
                    <a:lnTo>
                      <a:pt x="2533" y="744"/>
                    </a:lnTo>
                    <a:lnTo>
                      <a:pt x="2527" y="754"/>
                    </a:lnTo>
                    <a:lnTo>
                      <a:pt x="2525" y="756"/>
                    </a:lnTo>
                    <a:lnTo>
                      <a:pt x="2523" y="759"/>
                    </a:lnTo>
                    <a:lnTo>
                      <a:pt x="2521" y="762"/>
                    </a:lnTo>
                    <a:lnTo>
                      <a:pt x="2519" y="764"/>
                    </a:lnTo>
                    <a:lnTo>
                      <a:pt x="2517" y="765"/>
                    </a:lnTo>
                    <a:lnTo>
                      <a:pt x="2515" y="765"/>
                    </a:lnTo>
                    <a:lnTo>
                      <a:pt x="2513" y="767"/>
                    </a:lnTo>
                    <a:lnTo>
                      <a:pt x="2511" y="770"/>
                    </a:lnTo>
                    <a:lnTo>
                      <a:pt x="2509" y="773"/>
                    </a:lnTo>
                    <a:lnTo>
                      <a:pt x="2507" y="776"/>
                    </a:lnTo>
                    <a:lnTo>
                      <a:pt x="2505" y="779"/>
                    </a:lnTo>
                    <a:lnTo>
                      <a:pt x="2505" y="781"/>
                    </a:lnTo>
                    <a:lnTo>
                      <a:pt x="2503" y="783"/>
                    </a:lnTo>
                    <a:lnTo>
                      <a:pt x="2503" y="785"/>
                    </a:lnTo>
                    <a:lnTo>
                      <a:pt x="2502" y="787"/>
                    </a:lnTo>
                    <a:lnTo>
                      <a:pt x="2501" y="789"/>
                    </a:lnTo>
                    <a:lnTo>
                      <a:pt x="2499" y="791"/>
                    </a:lnTo>
                    <a:lnTo>
                      <a:pt x="2497" y="793"/>
                    </a:lnTo>
                    <a:lnTo>
                      <a:pt x="2497" y="795"/>
                    </a:lnTo>
                    <a:lnTo>
                      <a:pt x="2487" y="806"/>
                    </a:lnTo>
                    <a:lnTo>
                      <a:pt x="2479" y="818"/>
                    </a:lnTo>
                    <a:lnTo>
                      <a:pt x="2471" y="831"/>
                    </a:lnTo>
                    <a:lnTo>
                      <a:pt x="2469" y="835"/>
                    </a:lnTo>
                    <a:lnTo>
                      <a:pt x="2466" y="839"/>
                    </a:lnTo>
                    <a:lnTo>
                      <a:pt x="2463" y="843"/>
                    </a:lnTo>
                    <a:lnTo>
                      <a:pt x="2463" y="845"/>
                    </a:lnTo>
                    <a:lnTo>
                      <a:pt x="2462" y="847"/>
                    </a:lnTo>
                    <a:lnTo>
                      <a:pt x="2462" y="850"/>
                    </a:lnTo>
                    <a:lnTo>
                      <a:pt x="2461" y="851"/>
                    </a:lnTo>
                    <a:lnTo>
                      <a:pt x="2460" y="857"/>
                    </a:lnTo>
                    <a:lnTo>
                      <a:pt x="2458" y="864"/>
                    </a:lnTo>
                    <a:lnTo>
                      <a:pt x="2457" y="871"/>
                    </a:lnTo>
                    <a:lnTo>
                      <a:pt x="2457" y="877"/>
                    </a:lnTo>
                    <a:lnTo>
                      <a:pt x="2457" y="881"/>
                    </a:lnTo>
                    <a:lnTo>
                      <a:pt x="2457" y="885"/>
                    </a:lnTo>
                    <a:lnTo>
                      <a:pt x="2457" y="888"/>
                    </a:lnTo>
                    <a:lnTo>
                      <a:pt x="2457" y="892"/>
                    </a:lnTo>
                    <a:lnTo>
                      <a:pt x="2456" y="895"/>
                    </a:lnTo>
                    <a:lnTo>
                      <a:pt x="2455" y="900"/>
                    </a:lnTo>
                    <a:lnTo>
                      <a:pt x="2453" y="904"/>
                    </a:lnTo>
                    <a:lnTo>
                      <a:pt x="2451" y="912"/>
                    </a:lnTo>
                    <a:lnTo>
                      <a:pt x="2449" y="918"/>
                    </a:lnTo>
                    <a:lnTo>
                      <a:pt x="2447" y="924"/>
                    </a:lnTo>
                    <a:lnTo>
                      <a:pt x="2446" y="927"/>
                    </a:lnTo>
                    <a:lnTo>
                      <a:pt x="2445" y="932"/>
                    </a:lnTo>
                    <a:lnTo>
                      <a:pt x="2443" y="935"/>
                    </a:lnTo>
                    <a:lnTo>
                      <a:pt x="2441" y="938"/>
                    </a:lnTo>
                    <a:lnTo>
                      <a:pt x="2436" y="941"/>
                    </a:lnTo>
                    <a:lnTo>
                      <a:pt x="2435" y="943"/>
                    </a:lnTo>
                    <a:lnTo>
                      <a:pt x="2433" y="944"/>
                    </a:lnTo>
                    <a:lnTo>
                      <a:pt x="2431" y="946"/>
                    </a:lnTo>
                    <a:lnTo>
                      <a:pt x="2428" y="949"/>
                    </a:lnTo>
                    <a:lnTo>
                      <a:pt x="2426" y="951"/>
                    </a:lnTo>
                    <a:lnTo>
                      <a:pt x="2424" y="954"/>
                    </a:lnTo>
                    <a:lnTo>
                      <a:pt x="2422" y="957"/>
                    </a:lnTo>
                    <a:lnTo>
                      <a:pt x="2420" y="958"/>
                    </a:lnTo>
                    <a:lnTo>
                      <a:pt x="2418" y="959"/>
                    </a:lnTo>
                    <a:lnTo>
                      <a:pt x="2416" y="961"/>
                    </a:lnTo>
                    <a:lnTo>
                      <a:pt x="2414" y="963"/>
                    </a:lnTo>
                    <a:lnTo>
                      <a:pt x="2412" y="966"/>
                    </a:lnTo>
                    <a:lnTo>
                      <a:pt x="2410" y="969"/>
                    </a:lnTo>
                    <a:lnTo>
                      <a:pt x="2406" y="974"/>
                    </a:lnTo>
                    <a:lnTo>
                      <a:pt x="2401" y="980"/>
                    </a:lnTo>
                    <a:lnTo>
                      <a:pt x="2396" y="988"/>
                    </a:lnTo>
                    <a:lnTo>
                      <a:pt x="2394" y="990"/>
                    </a:lnTo>
                    <a:lnTo>
                      <a:pt x="2394" y="993"/>
                    </a:lnTo>
                    <a:lnTo>
                      <a:pt x="2394" y="995"/>
                    </a:lnTo>
                    <a:lnTo>
                      <a:pt x="2394" y="997"/>
                    </a:lnTo>
                    <a:lnTo>
                      <a:pt x="2394" y="1000"/>
                    </a:lnTo>
                    <a:lnTo>
                      <a:pt x="2392" y="1004"/>
                    </a:lnTo>
                    <a:lnTo>
                      <a:pt x="2391" y="1008"/>
                    </a:lnTo>
                    <a:lnTo>
                      <a:pt x="2390" y="1012"/>
                    </a:lnTo>
                    <a:lnTo>
                      <a:pt x="2389" y="1014"/>
                    </a:lnTo>
                    <a:lnTo>
                      <a:pt x="2388" y="1016"/>
                    </a:lnTo>
                    <a:lnTo>
                      <a:pt x="2387" y="1019"/>
                    </a:lnTo>
                    <a:lnTo>
                      <a:pt x="2385" y="1022"/>
                    </a:lnTo>
                    <a:lnTo>
                      <a:pt x="2383" y="1026"/>
                    </a:lnTo>
                    <a:lnTo>
                      <a:pt x="2380" y="1029"/>
                    </a:lnTo>
                    <a:lnTo>
                      <a:pt x="2377" y="1031"/>
                    </a:lnTo>
                    <a:lnTo>
                      <a:pt x="2374" y="1033"/>
                    </a:lnTo>
                    <a:lnTo>
                      <a:pt x="2371" y="1036"/>
                    </a:lnTo>
                    <a:lnTo>
                      <a:pt x="2367" y="1039"/>
                    </a:lnTo>
                    <a:lnTo>
                      <a:pt x="2364" y="1044"/>
                    </a:lnTo>
                    <a:lnTo>
                      <a:pt x="2361" y="1048"/>
                    </a:lnTo>
                    <a:lnTo>
                      <a:pt x="2359" y="1053"/>
                    </a:lnTo>
                    <a:lnTo>
                      <a:pt x="2354" y="1062"/>
                    </a:lnTo>
                    <a:lnTo>
                      <a:pt x="2349" y="1070"/>
                    </a:lnTo>
                    <a:lnTo>
                      <a:pt x="2337" y="1088"/>
                    </a:lnTo>
                    <a:lnTo>
                      <a:pt x="2333" y="1091"/>
                    </a:lnTo>
                    <a:lnTo>
                      <a:pt x="2330" y="1094"/>
                    </a:lnTo>
                    <a:lnTo>
                      <a:pt x="2328" y="1097"/>
                    </a:lnTo>
                    <a:lnTo>
                      <a:pt x="2325" y="1102"/>
                    </a:lnTo>
                    <a:lnTo>
                      <a:pt x="2322" y="1105"/>
                    </a:lnTo>
                    <a:lnTo>
                      <a:pt x="2319" y="1108"/>
                    </a:lnTo>
                    <a:lnTo>
                      <a:pt x="2317" y="1110"/>
                    </a:lnTo>
                    <a:lnTo>
                      <a:pt x="2315" y="1112"/>
                    </a:lnTo>
                    <a:lnTo>
                      <a:pt x="2312" y="1113"/>
                    </a:lnTo>
                    <a:lnTo>
                      <a:pt x="2310" y="1117"/>
                    </a:lnTo>
                    <a:lnTo>
                      <a:pt x="2308" y="1120"/>
                    </a:lnTo>
                    <a:lnTo>
                      <a:pt x="2306" y="1123"/>
                    </a:lnTo>
                    <a:lnTo>
                      <a:pt x="2302" y="1125"/>
                    </a:lnTo>
                    <a:lnTo>
                      <a:pt x="2299" y="1127"/>
                    </a:lnTo>
                    <a:lnTo>
                      <a:pt x="2296" y="1129"/>
                    </a:lnTo>
                    <a:lnTo>
                      <a:pt x="2294" y="1131"/>
                    </a:lnTo>
                    <a:lnTo>
                      <a:pt x="2293" y="1132"/>
                    </a:lnTo>
                    <a:lnTo>
                      <a:pt x="2291" y="1133"/>
                    </a:lnTo>
                    <a:lnTo>
                      <a:pt x="2289" y="1134"/>
                    </a:lnTo>
                    <a:lnTo>
                      <a:pt x="2288" y="1135"/>
                    </a:lnTo>
                    <a:lnTo>
                      <a:pt x="2285" y="1137"/>
                    </a:lnTo>
                    <a:lnTo>
                      <a:pt x="2282" y="1139"/>
                    </a:lnTo>
                    <a:lnTo>
                      <a:pt x="2279" y="1141"/>
                    </a:lnTo>
                    <a:lnTo>
                      <a:pt x="2277" y="1143"/>
                    </a:lnTo>
                    <a:lnTo>
                      <a:pt x="2275" y="1143"/>
                    </a:lnTo>
                    <a:lnTo>
                      <a:pt x="2273" y="1144"/>
                    </a:lnTo>
                    <a:lnTo>
                      <a:pt x="2271" y="1145"/>
                    </a:lnTo>
                    <a:lnTo>
                      <a:pt x="2269" y="1145"/>
                    </a:lnTo>
                    <a:lnTo>
                      <a:pt x="2266" y="1147"/>
                    </a:lnTo>
                    <a:lnTo>
                      <a:pt x="2263" y="1149"/>
                    </a:lnTo>
                    <a:lnTo>
                      <a:pt x="2259" y="1149"/>
                    </a:lnTo>
                    <a:lnTo>
                      <a:pt x="2253" y="1156"/>
                    </a:lnTo>
                    <a:lnTo>
                      <a:pt x="2249" y="1159"/>
                    </a:lnTo>
                    <a:lnTo>
                      <a:pt x="2244" y="1162"/>
                    </a:lnTo>
                    <a:lnTo>
                      <a:pt x="2239" y="1163"/>
                    </a:lnTo>
                    <a:lnTo>
                      <a:pt x="2237" y="1164"/>
                    </a:lnTo>
                    <a:lnTo>
                      <a:pt x="2235" y="1164"/>
                    </a:lnTo>
                    <a:lnTo>
                      <a:pt x="2235" y="1163"/>
                    </a:lnTo>
                    <a:lnTo>
                      <a:pt x="2234" y="1162"/>
                    </a:lnTo>
                    <a:lnTo>
                      <a:pt x="2233" y="1162"/>
                    </a:lnTo>
                    <a:lnTo>
                      <a:pt x="2230" y="1162"/>
                    </a:lnTo>
                    <a:lnTo>
                      <a:pt x="2230" y="1161"/>
                    </a:lnTo>
                    <a:lnTo>
                      <a:pt x="2230" y="1160"/>
                    </a:lnTo>
                    <a:lnTo>
                      <a:pt x="2230" y="1158"/>
                    </a:lnTo>
                    <a:lnTo>
                      <a:pt x="2230" y="1157"/>
                    </a:lnTo>
                    <a:lnTo>
                      <a:pt x="2230" y="1156"/>
                    </a:lnTo>
                    <a:lnTo>
                      <a:pt x="2230" y="1154"/>
                    </a:lnTo>
                    <a:lnTo>
                      <a:pt x="2231" y="1153"/>
                    </a:lnTo>
                    <a:lnTo>
                      <a:pt x="2233" y="1151"/>
                    </a:lnTo>
                    <a:lnTo>
                      <a:pt x="2233" y="1150"/>
                    </a:lnTo>
                    <a:lnTo>
                      <a:pt x="2234" y="1149"/>
                    </a:lnTo>
                    <a:lnTo>
                      <a:pt x="2235" y="1147"/>
                    </a:lnTo>
                    <a:lnTo>
                      <a:pt x="2236" y="1145"/>
                    </a:lnTo>
                    <a:lnTo>
                      <a:pt x="2237" y="1143"/>
                    </a:lnTo>
                    <a:lnTo>
                      <a:pt x="2238" y="1140"/>
                    </a:lnTo>
                    <a:lnTo>
                      <a:pt x="2238" y="1137"/>
                    </a:lnTo>
                    <a:lnTo>
                      <a:pt x="2238" y="1135"/>
                    </a:lnTo>
                    <a:lnTo>
                      <a:pt x="2237" y="1133"/>
                    </a:lnTo>
                    <a:lnTo>
                      <a:pt x="2236" y="1133"/>
                    </a:lnTo>
                    <a:lnTo>
                      <a:pt x="2236" y="1132"/>
                    </a:lnTo>
                    <a:lnTo>
                      <a:pt x="2235" y="1132"/>
                    </a:lnTo>
                    <a:lnTo>
                      <a:pt x="2235" y="1132"/>
                    </a:lnTo>
                    <a:lnTo>
                      <a:pt x="2234" y="1131"/>
                    </a:lnTo>
                    <a:lnTo>
                      <a:pt x="2234" y="1131"/>
                    </a:lnTo>
                    <a:lnTo>
                      <a:pt x="2235" y="1129"/>
                    </a:lnTo>
                    <a:lnTo>
                      <a:pt x="2235" y="1128"/>
                    </a:lnTo>
                    <a:lnTo>
                      <a:pt x="2235" y="1126"/>
                    </a:lnTo>
                    <a:lnTo>
                      <a:pt x="2236" y="1125"/>
                    </a:lnTo>
                    <a:lnTo>
                      <a:pt x="2236" y="1124"/>
                    </a:lnTo>
                    <a:lnTo>
                      <a:pt x="2237" y="1123"/>
                    </a:lnTo>
                    <a:lnTo>
                      <a:pt x="2235" y="1120"/>
                    </a:lnTo>
                    <a:lnTo>
                      <a:pt x="2234" y="1118"/>
                    </a:lnTo>
                    <a:lnTo>
                      <a:pt x="2233" y="1115"/>
                    </a:lnTo>
                    <a:lnTo>
                      <a:pt x="2233" y="1113"/>
                    </a:lnTo>
                    <a:lnTo>
                      <a:pt x="2231" y="1112"/>
                    </a:lnTo>
                    <a:lnTo>
                      <a:pt x="2231" y="1110"/>
                    </a:lnTo>
                    <a:lnTo>
                      <a:pt x="2231" y="1108"/>
                    </a:lnTo>
                    <a:lnTo>
                      <a:pt x="2231" y="1107"/>
                    </a:lnTo>
                    <a:lnTo>
                      <a:pt x="2233" y="1105"/>
                    </a:lnTo>
                    <a:lnTo>
                      <a:pt x="2233" y="1096"/>
                    </a:lnTo>
                    <a:lnTo>
                      <a:pt x="2233" y="1095"/>
                    </a:lnTo>
                    <a:lnTo>
                      <a:pt x="2234" y="1093"/>
                    </a:lnTo>
                    <a:lnTo>
                      <a:pt x="2235" y="1091"/>
                    </a:lnTo>
                    <a:lnTo>
                      <a:pt x="2236" y="1090"/>
                    </a:lnTo>
                    <a:lnTo>
                      <a:pt x="2237" y="1088"/>
                    </a:lnTo>
                    <a:lnTo>
                      <a:pt x="2238" y="1085"/>
                    </a:lnTo>
                    <a:lnTo>
                      <a:pt x="2239" y="1083"/>
                    </a:lnTo>
                    <a:lnTo>
                      <a:pt x="2240" y="1080"/>
                    </a:lnTo>
                    <a:lnTo>
                      <a:pt x="2241" y="1078"/>
                    </a:lnTo>
                    <a:lnTo>
                      <a:pt x="2243" y="1069"/>
                    </a:lnTo>
                    <a:lnTo>
                      <a:pt x="2243" y="1061"/>
                    </a:lnTo>
                    <a:lnTo>
                      <a:pt x="2241" y="1055"/>
                    </a:lnTo>
                    <a:lnTo>
                      <a:pt x="2239" y="1049"/>
                    </a:lnTo>
                    <a:lnTo>
                      <a:pt x="2238" y="1046"/>
                    </a:lnTo>
                    <a:lnTo>
                      <a:pt x="2237" y="1044"/>
                    </a:lnTo>
                    <a:lnTo>
                      <a:pt x="2237" y="1040"/>
                    </a:lnTo>
                    <a:lnTo>
                      <a:pt x="2238" y="1036"/>
                    </a:lnTo>
                    <a:lnTo>
                      <a:pt x="2239" y="1032"/>
                    </a:lnTo>
                    <a:lnTo>
                      <a:pt x="2241" y="1029"/>
                    </a:lnTo>
                    <a:lnTo>
                      <a:pt x="2242" y="1026"/>
                    </a:lnTo>
                    <a:lnTo>
                      <a:pt x="2243" y="1022"/>
                    </a:lnTo>
                    <a:lnTo>
                      <a:pt x="2244" y="1020"/>
                    </a:lnTo>
                    <a:lnTo>
                      <a:pt x="2245" y="1018"/>
                    </a:lnTo>
                    <a:lnTo>
                      <a:pt x="2245" y="1015"/>
                    </a:lnTo>
                    <a:lnTo>
                      <a:pt x="2247" y="1014"/>
                    </a:lnTo>
                    <a:lnTo>
                      <a:pt x="2250" y="1010"/>
                    </a:lnTo>
                    <a:lnTo>
                      <a:pt x="2253" y="1006"/>
                    </a:lnTo>
                    <a:lnTo>
                      <a:pt x="2255" y="1004"/>
                    </a:lnTo>
                    <a:lnTo>
                      <a:pt x="2255" y="1001"/>
                    </a:lnTo>
                    <a:lnTo>
                      <a:pt x="2256" y="999"/>
                    </a:lnTo>
                    <a:lnTo>
                      <a:pt x="2257" y="997"/>
                    </a:lnTo>
                    <a:lnTo>
                      <a:pt x="2259" y="994"/>
                    </a:lnTo>
                    <a:lnTo>
                      <a:pt x="2262" y="991"/>
                    </a:lnTo>
                    <a:lnTo>
                      <a:pt x="2266" y="988"/>
                    </a:lnTo>
                    <a:lnTo>
                      <a:pt x="2269" y="983"/>
                    </a:lnTo>
                    <a:lnTo>
                      <a:pt x="2273" y="979"/>
                    </a:lnTo>
                    <a:lnTo>
                      <a:pt x="2275" y="976"/>
                    </a:lnTo>
                    <a:lnTo>
                      <a:pt x="2276" y="973"/>
                    </a:lnTo>
                    <a:lnTo>
                      <a:pt x="2277" y="969"/>
                    </a:lnTo>
                    <a:lnTo>
                      <a:pt x="2277" y="968"/>
                    </a:lnTo>
                    <a:lnTo>
                      <a:pt x="2277" y="967"/>
                    </a:lnTo>
                    <a:lnTo>
                      <a:pt x="2277" y="967"/>
                    </a:lnTo>
                    <a:lnTo>
                      <a:pt x="2276" y="966"/>
                    </a:lnTo>
                    <a:lnTo>
                      <a:pt x="2275" y="965"/>
                    </a:lnTo>
                    <a:lnTo>
                      <a:pt x="2275" y="963"/>
                    </a:lnTo>
                    <a:lnTo>
                      <a:pt x="2275" y="962"/>
                    </a:lnTo>
                    <a:lnTo>
                      <a:pt x="2276" y="960"/>
                    </a:lnTo>
                    <a:lnTo>
                      <a:pt x="2277" y="957"/>
                    </a:lnTo>
                    <a:lnTo>
                      <a:pt x="2278" y="954"/>
                    </a:lnTo>
                    <a:lnTo>
                      <a:pt x="2278" y="952"/>
                    </a:lnTo>
                    <a:lnTo>
                      <a:pt x="2279" y="950"/>
                    </a:lnTo>
                    <a:lnTo>
                      <a:pt x="2279" y="947"/>
                    </a:lnTo>
                    <a:lnTo>
                      <a:pt x="2279" y="939"/>
                    </a:lnTo>
                    <a:lnTo>
                      <a:pt x="2279" y="937"/>
                    </a:lnTo>
                    <a:lnTo>
                      <a:pt x="2279" y="935"/>
                    </a:lnTo>
                    <a:lnTo>
                      <a:pt x="2280" y="933"/>
                    </a:lnTo>
                    <a:lnTo>
                      <a:pt x="2281" y="930"/>
                    </a:lnTo>
                    <a:lnTo>
                      <a:pt x="2282" y="926"/>
                    </a:lnTo>
                    <a:lnTo>
                      <a:pt x="2282" y="922"/>
                    </a:lnTo>
                    <a:lnTo>
                      <a:pt x="2282" y="920"/>
                    </a:lnTo>
                    <a:lnTo>
                      <a:pt x="2282" y="918"/>
                    </a:lnTo>
                    <a:lnTo>
                      <a:pt x="2281" y="916"/>
                    </a:lnTo>
                    <a:lnTo>
                      <a:pt x="2278" y="913"/>
                    </a:lnTo>
                    <a:lnTo>
                      <a:pt x="2276" y="909"/>
                    </a:lnTo>
                    <a:lnTo>
                      <a:pt x="2274" y="905"/>
                    </a:lnTo>
                    <a:lnTo>
                      <a:pt x="2273" y="902"/>
                    </a:lnTo>
                    <a:lnTo>
                      <a:pt x="2272" y="901"/>
                    </a:lnTo>
                    <a:lnTo>
                      <a:pt x="2271" y="900"/>
                    </a:lnTo>
                    <a:lnTo>
                      <a:pt x="2270" y="899"/>
                    </a:lnTo>
                    <a:lnTo>
                      <a:pt x="2269" y="898"/>
                    </a:lnTo>
                    <a:lnTo>
                      <a:pt x="2269" y="896"/>
                    </a:lnTo>
                    <a:lnTo>
                      <a:pt x="2269" y="893"/>
                    </a:lnTo>
                    <a:lnTo>
                      <a:pt x="2271" y="890"/>
                    </a:lnTo>
                    <a:lnTo>
                      <a:pt x="2277" y="878"/>
                    </a:lnTo>
                    <a:lnTo>
                      <a:pt x="2284" y="865"/>
                    </a:lnTo>
                    <a:lnTo>
                      <a:pt x="2286" y="862"/>
                    </a:lnTo>
                    <a:lnTo>
                      <a:pt x="2288" y="859"/>
                    </a:lnTo>
                    <a:lnTo>
                      <a:pt x="2290" y="855"/>
                    </a:lnTo>
                    <a:lnTo>
                      <a:pt x="2291" y="854"/>
                    </a:lnTo>
                    <a:lnTo>
                      <a:pt x="2292" y="851"/>
                    </a:lnTo>
                    <a:lnTo>
                      <a:pt x="2293" y="848"/>
                    </a:lnTo>
                    <a:lnTo>
                      <a:pt x="2294" y="845"/>
                    </a:lnTo>
                    <a:lnTo>
                      <a:pt x="2294" y="844"/>
                    </a:lnTo>
                    <a:lnTo>
                      <a:pt x="2293" y="843"/>
                    </a:lnTo>
                    <a:lnTo>
                      <a:pt x="2292" y="843"/>
                    </a:lnTo>
                    <a:lnTo>
                      <a:pt x="2291" y="842"/>
                    </a:lnTo>
                    <a:lnTo>
                      <a:pt x="2290" y="841"/>
                    </a:lnTo>
                    <a:lnTo>
                      <a:pt x="2289" y="841"/>
                    </a:lnTo>
                    <a:lnTo>
                      <a:pt x="2289" y="840"/>
                    </a:lnTo>
                    <a:lnTo>
                      <a:pt x="2289" y="839"/>
                    </a:lnTo>
                    <a:lnTo>
                      <a:pt x="2289" y="838"/>
                    </a:lnTo>
                    <a:lnTo>
                      <a:pt x="2288" y="837"/>
                    </a:lnTo>
                    <a:lnTo>
                      <a:pt x="2287" y="836"/>
                    </a:lnTo>
                    <a:lnTo>
                      <a:pt x="2285" y="837"/>
                    </a:lnTo>
                    <a:lnTo>
                      <a:pt x="2282" y="838"/>
                    </a:lnTo>
                    <a:lnTo>
                      <a:pt x="2280" y="839"/>
                    </a:lnTo>
                    <a:lnTo>
                      <a:pt x="2278" y="841"/>
                    </a:lnTo>
                    <a:lnTo>
                      <a:pt x="2275" y="844"/>
                    </a:lnTo>
                    <a:lnTo>
                      <a:pt x="2273" y="845"/>
                    </a:lnTo>
                    <a:lnTo>
                      <a:pt x="2270" y="847"/>
                    </a:lnTo>
                    <a:lnTo>
                      <a:pt x="2267" y="849"/>
                    </a:lnTo>
                    <a:lnTo>
                      <a:pt x="2265" y="849"/>
                    </a:lnTo>
                    <a:lnTo>
                      <a:pt x="2264" y="849"/>
                    </a:lnTo>
                    <a:lnTo>
                      <a:pt x="2263" y="848"/>
                    </a:lnTo>
                    <a:lnTo>
                      <a:pt x="2263" y="845"/>
                    </a:lnTo>
                    <a:lnTo>
                      <a:pt x="2263" y="843"/>
                    </a:lnTo>
                    <a:lnTo>
                      <a:pt x="2262" y="841"/>
                    </a:lnTo>
                    <a:lnTo>
                      <a:pt x="2262" y="839"/>
                    </a:lnTo>
                    <a:lnTo>
                      <a:pt x="2261" y="837"/>
                    </a:lnTo>
                    <a:lnTo>
                      <a:pt x="2260" y="836"/>
                    </a:lnTo>
                    <a:lnTo>
                      <a:pt x="2259" y="835"/>
                    </a:lnTo>
                    <a:lnTo>
                      <a:pt x="2257" y="836"/>
                    </a:lnTo>
                    <a:lnTo>
                      <a:pt x="2256" y="837"/>
                    </a:lnTo>
                    <a:lnTo>
                      <a:pt x="2254" y="838"/>
                    </a:lnTo>
                    <a:lnTo>
                      <a:pt x="2252" y="839"/>
                    </a:lnTo>
                    <a:lnTo>
                      <a:pt x="2251" y="839"/>
                    </a:lnTo>
                    <a:lnTo>
                      <a:pt x="2245" y="839"/>
                    </a:lnTo>
                    <a:lnTo>
                      <a:pt x="2243" y="840"/>
                    </a:lnTo>
                    <a:lnTo>
                      <a:pt x="2241" y="840"/>
                    </a:lnTo>
                    <a:lnTo>
                      <a:pt x="2239" y="841"/>
                    </a:lnTo>
                    <a:lnTo>
                      <a:pt x="2237" y="843"/>
                    </a:lnTo>
                    <a:lnTo>
                      <a:pt x="2237" y="845"/>
                    </a:lnTo>
                    <a:lnTo>
                      <a:pt x="2236" y="848"/>
                    </a:lnTo>
                    <a:lnTo>
                      <a:pt x="2235" y="849"/>
                    </a:lnTo>
                    <a:lnTo>
                      <a:pt x="2230" y="852"/>
                    </a:lnTo>
                    <a:lnTo>
                      <a:pt x="2227" y="855"/>
                    </a:lnTo>
                    <a:lnTo>
                      <a:pt x="2223" y="857"/>
                    </a:lnTo>
                    <a:lnTo>
                      <a:pt x="2220" y="859"/>
                    </a:lnTo>
                    <a:lnTo>
                      <a:pt x="2217" y="859"/>
                    </a:lnTo>
                    <a:lnTo>
                      <a:pt x="2216" y="860"/>
                    </a:lnTo>
                    <a:lnTo>
                      <a:pt x="2214" y="861"/>
                    </a:lnTo>
                    <a:lnTo>
                      <a:pt x="2212" y="862"/>
                    </a:lnTo>
                    <a:lnTo>
                      <a:pt x="2210" y="864"/>
                    </a:lnTo>
                    <a:lnTo>
                      <a:pt x="2209" y="866"/>
                    </a:lnTo>
                    <a:lnTo>
                      <a:pt x="2207" y="867"/>
                    </a:lnTo>
                    <a:lnTo>
                      <a:pt x="2202" y="870"/>
                    </a:lnTo>
                    <a:lnTo>
                      <a:pt x="2197" y="873"/>
                    </a:lnTo>
                    <a:lnTo>
                      <a:pt x="2192" y="876"/>
                    </a:lnTo>
                    <a:lnTo>
                      <a:pt x="2189" y="873"/>
                    </a:lnTo>
                    <a:lnTo>
                      <a:pt x="2187" y="869"/>
                    </a:lnTo>
                    <a:lnTo>
                      <a:pt x="2184" y="869"/>
                    </a:lnTo>
                    <a:lnTo>
                      <a:pt x="2178" y="871"/>
                    </a:lnTo>
                    <a:lnTo>
                      <a:pt x="2172" y="876"/>
                    </a:lnTo>
                    <a:lnTo>
                      <a:pt x="2162" y="883"/>
                    </a:lnTo>
                    <a:lnTo>
                      <a:pt x="2150" y="890"/>
                    </a:lnTo>
                    <a:lnTo>
                      <a:pt x="2147" y="891"/>
                    </a:lnTo>
                    <a:lnTo>
                      <a:pt x="2144" y="890"/>
                    </a:lnTo>
                    <a:lnTo>
                      <a:pt x="2141" y="889"/>
                    </a:lnTo>
                    <a:lnTo>
                      <a:pt x="2139" y="887"/>
                    </a:lnTo>
                    <a:lnTo>
                      <a:pt x="2136" y="884"/>
                    </a:lnTo>
                    <a:lnTo>
                      <a:pt x="2136" y="882"/>
                    </a:lnTo>
                    <a:lnTo>
                      <a:pt x="2134" y="881"/>
                    </a:lnTo>
                    <a:lnTo>
                      <a:pt x="2132" y="880"/>
                    </a:lnTo>
                    <a:lnTo>
                      <a:pt x="2131" y="879"/>
                    </a:lnTo>
                    <a:lnTo>
                      <a:pt x="2128" y="879"/>
                    </a:lnTo>
                    <a:lnTo>
                      <a:pt x="2127" y="879"/>
                    </a:lnTo>
                    <a:lnTo>
                      <a:pt x="2125" y="878"/>
                    </a:lnTo>
                    <a:lnTo>
                      <a:pt x="2125" y="877"/>
                    </a:lnTo>
                    <a:lnTo>
                      <a:pt x="2125" y="874"/>
                    </a:lnTo>
                    <a:lnTo>
                      <a:pt x="2125" y="873"/>
                    </a:lnTo>
                    <a:lnTo>
                      <a:pt x="2124" y="872"/>
                    </a:lnTo>
                    <a:lnTo>
                      <a:pt x="2123" y="871"/>
                    </a:lnTo>
                    <a:lnTo>
                      <a:pt x="2122" y="871"/>
                    </a:lnTo>
                    <a:lnTo>
                      <a:pt x="2120" y="870"/>
                    </a:lnTo>
                    <a:lnTo>
                      <a:pt x="2118" y="871"/>
                    </a:lnTo>
                    <a:lnTo>
                      <a:pt x="2117" y="871"/>
                    </a:lnTo>
                    <a:lnTo>
                      <a:pt x="2115" y="871"/>
                    </a:lnTo>
                    <a:lnTo>
                      <a:pt x="2113" y="871"/>
                    </a:lnTo>
                    <a:lnTo>
                      <a:pt x="2112" y="870"/>
                    </a:lnTo>
                    <a:lnTo>
                      <a:pt x="2111" y="869"/>
                    </a:lnTo>
                    <a:lnTo>
                      <a:pt x="2111" y="867"/>
                    </a:lnTo>
                    <a:lnTo>
                      <a:pt x="2111" y="865"/>
                    </a:lnTo>
                    <a:lnTo>
                      <a:pt x="2111" y="863"/>
                    </a:lnTo>
                    <a:lnTo>
                      <a:pt x="2111" y="860"/>
                    </a:lnTo>
                    <a:lnTo>
                      <a:pt x="2110" y="858"/>
                    </a:lnTo>
                    <a:lnTo>
                      <a:pt x="2109" y="855"/>
                    </a:lnTo>
                    <a:lnTo>
                      <a:pt x="2108" y="854"/>
                    </a:lnTo>
                    <a:lnTo>
                      <a:pt x="2107" y="851"/>
                    </a:lnTo>
                    <a:lnTo>
                      <a:pt x="2107" y="848"/>
                    </a:lnTo>
                    <a:lnTo>
                      <a:pt x="2107" y="845"/>
                    </a:lnTo>
                    <a:lnTo>
                      <a:pt x="2107" y="844"/>
                    </a:lnTo>
                    <a:lnTo>
                      <a:pt x="2107" y="841"/>
                    </a:lnTo>
                    <a:lnTo>
                      <a:pt x="2106" y="839"/>
                    </a:lnTo>
                    <a:lnTo>
                      <a:pt x="2105" y="837"/>
                    </a:lnTo>
                    <a:lnTo>
                      <a:pt x="2105" y="836"/>
                    </a:lnTo>
                    <a:lnTo>
                      <a:pt x="2103" y="834"/>
                    </a:lnTo>
                    <a:lnTo>
                      <a:pt x="2102" y="834"/>
                    </a:lnTo>
                    <a:lnTo>
                      <a:pt x="2099" y="834"/>
                    </a:lnTo>
                    <a:lnTo>
                      <a:pt x="2097" y="835"/>
                    </a:lnTo>
                    <a:lnTo>
                      <a:pt x="2094" y="835"/>
                    </a:lnTo>
                    <a:lnTo>
                      <a:pt x="2093" y="834"/>
                    </a:lnTo>
                    <a:lnTo>
                      <a:pt x="2091" y="833"/>
                    </a:lnTo>
                    <a:lnTo>
                      <a:pt x="2091" y="831"/>
                    </a:lnTo>
                    <a:lnTo>
                      <a:pt x="2090" y="828"/>
                    </a:lnTo>
                    <a:lnTo>
                      <a:pt x="2091" y="822"/>
                    </a:lnTo>
                    <a:lnTo>
                      <a:pt x="2094" y="816"/>
                    </a:lnTo>
                    <a:lnTo>
                      <a:pt x="2097" y="811"/>
                    </a:lnTo>
                    <a:lnTo>
                      <a:pt x="2099" y="802"/>
                    </a:lnTo>
                    <a:lnTo>
                      <a:pt x="2101" y="793"/>
                    </a:lnTo>
                    <a:lnTo>
                      <a:pt x="2105" y="785"/>
                    </a:lnTo>
                    <a:lnTo>
                      <a:pt x="2110" y="776"/>
                    </a:lnTo>
                    <a:lnTo>
                      <a:pt x="2114" y="768"/>
                    </a:lnTo>
                    <a:lnTo>
                      <a:pt x="2117" y="758"/>
                    </a:lnTo>
                    <a:lnTo>
                      <a:pt x="2118" y="754"/>
                    </a:lnTo>
                    <a:lnTo>
                      <a:pt x="2118" y="751"/>
                    </a:lnTo>
                    <a:lnTo>
                      <a:pt x="2118" y="749"/>
                    </a:lnTo>
                    <a:lnTo>
                      <a:pt x="2117" y="746"/>
                    </a:lnTo>
                    <a:lnTo>
                      <a:pt x="2117" y="744"/>
                    </a:lnTo>
                    <a:lnTo>
                      <a:pt x="2117" y="730"/>
                    </a:lnTo>
                    <a:lnTo>
                      <a:pt x="2119" y="721"/>
                    </a:lnTo>
                    <a:lnTo>
                      <a:pt x="2121" y="711"/>
                    </a:lnTo>
                    <a:lnTo>
                      <a:pt x="2125" y="701"/>
                    </a:lnTo>
                    <a:lnTo>
                      <a:pt x="2137" y="687"/>
                    </a:lnTo>
                    <a:lnTo>
                      <a:pt x="2144" y="673"/>
                    </a:lnTo>
                    <a:lnTo>
                      <a:pt x="2150" y="662"/>
                    </a:lnTo>
                    <a:lnTo>
                      <a:pt x="2156" y="652"/>
                    </a:lnTo>
                    <a:lnTo>
                      <a:pt x="2160" y="640"/>
                    </a:lnTo>
                    <a:lnTo>
                      <a:pt x="2164" y="636"/>
                    </a:lnTo>
                    <a:lnTo>
                      <a:pt x="2167" y="632"/>
                    </a:lnTo>
                    <a:lnTo>
                      <a:pt x="2170" y="628"/>
                    </a:lnTo>
                    <a:lnTo>
                      <a:pt x="2172" y="624"/>
                    </a:lnTo>
                    <a:lnTo>
                      <a:pt x="2174" y="621"/>
                    </a:lnTo>
                    <a:lnTo>
                      <a:pt x="2176" y="618"/>
                    </a:lnTo>
                    <a:lnTo>
                      <a:pt x="2179" y="616"/>
                    </a:lnTo>
                    <a:lnTo>
                      <a:pt x="2182" y="614"/>
                    </a:lnTo>
                    <a:lnTo>
                      <a:pt x="2184" y="612"/>
                    </a:lnTo>
                    <a:lnTo>
                      <a:pt x="2185" y="610"/>
                    </a:lnTo>
                    <a:lnTo>
                      <a:pt x="2188" y="609"/>
                    </a:lnTo>
                    <a:lnTo>
                      <a:pt x="2190" y="607"/>
                    </a:lnTo>
                    <a:lnTo>
                      <a:pt x="2193" y="605"/>
                    </a:lnTo>
                    <a:lnTo>
                      <a:pt x="2195" y="602"/>
                    </a:lnTo>
                    <a:lnTo>
                      <a:pt x="2202" y="594"/>
                    </a:lnTo>
                    <a:lnTo>
                      <a:pt x="2208" y="587"/>
                    </a:lnTo>
                    <a:lnTo>
                      <a:pt x="2214" y="578"/>
                    </a:lnTo>
                    <a:lnTo>
                      <a:pt x="2215" y="574"/>
                    </a:lnTo>
                    <a:lnTo>
                      <a:pt x="2215" y="570"/>
                    </a:lnTo>
                    <a:lnTo>
                      <a:pt x="2215" y="566"/>
                    </a:lnTo>
                    <a:lnTo>
                      <a:pt x="2216" y="562"/>
                    </a:lnTo>
                    <a:lnTo>
                      <a:pt x="2222" y="550"/>
                    </a:lnTo>
                    <a:lnTo>
                      <a:pt x="2225" y="540"/>
                    </a:lnTo>
                    <a:lnTo>
                      <a:pt x="2229" y="530"/>
                    </a:lnTo>
                    <a:lnTo>
                      <a:pt x="2237" y="523"/>
                    </a:lnTo>
                    <a:lnTo>
                      <a:pt x="2242" y="518"/>
                    </a:lnTo>
                    <a:lnTo>
                      <a:pt x="2247" y="513"/>
                    </a:lnTo>
                    <a:lnTo>
                      <a:pt x="2253" y="505"/>
                    </a:lnTo>
                    <a:lnTo>
                      <a:pt x="2255" y="498"/>
                    </a:lnTo>
                    <a:lnTo>
                      <a:pt x="2258" y="491"/>
                    </a:lnTo>
                    <a:lnTo>
                      <a:pt x="2261" y="485"/>
                    </a:lnTo>
                    <a:lnTo>
                      <a:pt x="2262" y="482"/>
                    </a:lnTo>
                    <a:lnTo>
                      <a:pt x="2263" y="482"/>
                    </a:lnTo>
                    <a:lnTo>
                      <a:pt x="2264" y="482"/>
                    </a:lnTo>
                    <a:lnTo>
                      <a:pt x="2265" y="484"/>
                    </a:lnTo>
                    <a:lnTo>
                      <a:pt x="2267" y="485"/>
                    </a:lnTo>
                    <a:lnTo>
                      <a:pt x="2268" y="485"/>
                    </a:lnTo>
                    <a:lnTo>
                      <a:pt x="2271" y="485"/>
                    </a:lnTo>
                    <a:lnTo>
                      <a:pt x="2273" y="486"/>
                    </a:lnTo>
                    <a:lnTo>
                      <a:pt x="2275" y="487"/>
                    </a:lnTo>
                    <a:lnTo>
                      <a:pt x="2276" y="487"/>
                    </a:lnTo>
                    <a:lnTo>
                      <a:pt x="2278" y="487"/>
                    </a:lnTo>
                    <a:lnTo>
                      <a:pt x="2280" y="486"/>
                    </a:lnTo>
                    <a:lnTo>
                      <a:pt x="2282" y="485"/>
                    </a:lnTo>
                    <a:lnTo>
                      <a:pt x="2286" y="485"/>
                    </a:lnTo>
                    <a:lnTo>
                      <a:pt x="2288" y="484"/>
                    </a:lnTo>
                    <a:lnTo>
                      <a:pt x="2290" y="482"/>
                    </a:lnTo>
                    <a:lnTo>
                      <a:pt x="2294" y="480"/>
                    </a:lnTo>
                    <a:lnTo>
                      <a:pt x="2297" y="477"/>
                    </a:lnTo>
                    <a:lnTo>
                      <a:pt x="2299" y="476"/>
                    </a:lnTo>
                    <a:lnTo>
                      <a:pt x="2302" y="475"/>
                    </a:lnTo>
                    <a:lnTo>
                      <a:pt x="2304" y="473"/>
                    </a:lnTo>
                    <a:lnTo>
                      <a:pt x="2306" y="471"/>
                    </a:lnTo>
                    <a:lnTo>
                      <a:pt x="2308" y="468"/>
                    </a:lnTo>
                    <a:lnTo>
                      <a:pt x="2309" y="465"/>
                    </a:lnTo>
                    <a:lnTo>
                      <a:pt x="2310" y="463"/>
                    </a:lnTo>
                    <a:lnTo>
                      <a:pt x="2312" y="462"/>
                    </a:lnTo>
                    <a:lnTo>
                      <a:pt x="2314" y="462"/>
                    </a:lnTo>
                    <a:lnTo>
                      <a:pt x="2316" y="462"/>
                    </a:lnTo>
                    <a:lnTo>
                      <a:pt x="2317" y="462"/>
                    </a:lnTo>
                    <a:lnTo>
                      <a:pt x="2319" y="462"/>
                    </a:lnTo>
                    <a:lnTo>
                      <a:pt x="2320" y="460"/>
                    </a:lnTo>
                    <a:lnTo>
                      <a:pt x="2322" y="458"/>
                    </a:lnTo>
                    <a:lnTo>
                      <a:pt x="2322" y="456"/>
                    </a:lnTo>
                    <a:lnTo>
                      <a:pt x="2322" y="453"/>
                    </a:lnTo>
                    <a:lnTo>
                      <a:pt x="2322" y="452"/>
                    </a:lnTo>
                    <a:lnTo>
                      <a:pt x="2323" y="450"/>
                    </a:lnTo>
                    <a:lnTo>
                      <a:pt x="2324" y="450"/>
                    </a:lnTo>
                    <a:lnTo>
                      <a:pt x="2326" y="449"/>
                    </a:lnTo>
                    <a:lnTo>
                      <a:pt x="2327" y="449"/>
                    </a:lnTo>
                    <a:lnTo>
                      <a:pt x="2328" y="449"/>
                    </a:lnTo>
                    <a:lnTo>
                      <a:pt x="2329" y="450"/>
                    </a:lnTo>
                    <a:lnTo>
                      <a:pt x="2330" y="450"/>
                    </a:lnTo>
                    <a:lnTo>
                      <a:pt x="2336" y="450"/>
                    </a:lnTo>
                    <a:lnTo>
                      <a:pt x="2341" y="447"/>
                    </a:lnTo>
                    <a:lnTo>
                      <a:pt x="2347" y="444"/>
                    </a:lnTo>
                    <a:lnTo>
                      <a:pt x="2349" y="444"/>
                    </a:lnTo>
                    <a:lnTo>
                      <a:pt x="2350" y="444"/>
                    </a:lnTo>
                    <a:lnTo>
                      <a:pt x="2352" y="443"/>
                    </a:lnTo>
                    <a:lnTo>
                      <a:pt x="2355" y="442"/>
                    </a:lnTo>
                    <a:lnTo>
                      <a:pt x="2356" y="440"/>
                    </a:lnTo>
                    <a:lnTo>
                      <a:pt x="2357" y="438"/>
                    </a:lnTo>
                    <a:lnTo>
                      <a:pt x="2358" y="436"/>
                    </a:lnTo>
                    <a:lnTo>
                      <a:pt x="2359" y="434"/>
                    </a:lnTo>
                    <a:lnTo>
                      <a:pt x="2361" y="434"/>
                    </a:lnTo>
                    <a:lnTo>
                      <a:pt x="2364" y="435"/>
                    </a:lnTo>
                    <a:lnTo>
                      <a:pt x="2366" y="436"/>
                    </a:lnTo>
                    <a:lnTo>
                      <a:pt x="2368" y="437"/>
                    </a:lnTo>
                    <a:lnTo>
                      <a:pt x="2369" y="438"/>
                    </a:lnTo>
                    <a:lnTo>
                      <a:pt x="2371" y="439"/>
                    </a:lnTo>
                    <a:lnTo>
                      <a:pt x="2374" y="438"/>
                    </a:lnTo>
                    <a:lnTo>
                      <a:pt x="2376" y="437"/>
                    </a:lnTo>
                    <a:lnTo>
                      <a:pt x="2378" y="434"/>
                    </a:lnTo>
                    <a:lnTo>
                      <a:pt x="2379" y="432"/>
                    </a:lnTo>
                    <a:lnTo>
                      <a:pt x="2380" y="431"/>
                    </a:lnTo>
                    <a:lnTo>
                      <a:pt x="2381" y="430"/>
                    </a:lnTo>
                    <a:lnTo>
                      <a:pt x="2382" y="429"/>
                    </a:lnTo>
                    <a:lnTo>
                      <a:pt x="2383" y="429"/>
                    </a:lnTo>
                    <a:lnTo>
                      <a:pt x="2384" y="429"/>
                    </a:lnTo>
                    <a:lnTo>
                      <a:pt x="2385" y="430"/>
                    </a:lnTo>
                    <a:lnTo>
                      <a:pt x="2385" y="432"/>
                    </a:lnTo>
                    <a:lnTo>
                      <a:pt x="2385" y="434"/>
                    </a:lnTo>
                    <a:lnTo>
                      <a:pt x="2385" y="436"/>
                    </a:lnTo>
                    <a:lnTo>
                      <a:pt x="2384" y="438"/>
                    </a:lnTo>
                    <a:lnTo>
                      <a:pt x="2384" y="440"/>
                    </a:lnTo>
                    <a:lnTo>
                      <a:pt x="2385" y="442"/>
                    </a:lnTo>
                    <a:lnTo>
                      <a:pt x="2387" y="448"/>
                    </a:lnTo>
                    <a:lnTo>
                      <a:pt x="2389" y="453"/>
                    </a:lnTo>
                    <a:lnTo>
                      <a:pt x="2390" y="460"/>
                    </a:lnTo>
                    <a:lnTo>
                      <a:pt x="2390" y="463"/>
                    </a:lnTo>
                    <a:lnTo>
                      <a:pt x="2388" y="465"/>
                    </a:lnTo>
                    <a:lnTo>
                      <a:pt x="2385" y="468"/>
                    </a:lnTo>
                    <a:lnTo>
                      <a:pt x="2383" y="471"/>
                    </a:lnTo>
                    <a:lnTo>
                      <a:pt x="2381" y="474"/>
                    </a:lnTo>
                    <a:lnTo>
                      <a:pt x="2380" y="476"/>
                    </a:lnTo>
                    <a:lnTo>
                      <a:pt x="2380" y="478"/>
                    </a:lnTo>
                    <a:lnTo>
                      <a:pt x="2381" y="479"/>
                    </a:lnTo>
                    <a:lnTo>
                      <a:pt x="2381" y="480"/>
                    </a:lnTo>
                    <a:lnTo>
                      <a:pt x="2382" y="480"/>
                    </a:lnTo>
                    <a:lnTo>
                      <a:pt x="2383" y="480"/>
                    </a:lnTo>
                    <a:lnTo>
                      <a:pt x="2383" y="482"/>
                    </a:lnTo>
                    <a:lnTo>
                      <a:pt x="2383" y="485"/>
                    </a:lnTo>
                    <a:lnTo>
                      <a:pt x="2384" y="487"/>
                    </a:lnTo>
                    <a:lnTo>
                      <a:pt x="2384" y="489"/>
                    </a:lnTo>
                    <a:lnTo>
                      <a:pt x="2385" y="491"/>
                    </a:lnTo>
                    <a:lnTo>
                      <a:pt x="2387" y="492"/>
                    </a:lnTo>
                    <a:lnTo>
                      <a:pt x="2388" y="492"/>
                    </a:lnTo>
                    <a:lnTo>
                      <a:pt x="2389" y="492"/>
                    </a:lnTo>
                    <a:lnTo>
                      <a:pt x="2391" y="492"/>
                    </a:lnTo>
                    <a:lnTo>
                      <a:pt x="2392" y="493"/>
                    </a:lnTo>
                    <a:lnTo>
                      <a:pt x="2393" y="493"/>
                    </a:lnTo>
                    <a:lnTo>
                      <a:pt x="2394" y="494"/>
                    </a:lnTo>
                    <a:lnTo>
                      <a:pt x="2394" y="495"/>
                    </a:lnTo>
                    <a:lnTo>
                      <a:pt x="2395" y="496"/>
                    </a:lnTo>
                    <a:lnTo>
                      <a:pt x="2396" y="497"/>
                    </a:lnTo>
                    <a:lnTo>
                      <a:pt x="2398" y="496"/>
                    </a:lnTo>
                    <a:lnTo>
                      <a:pt x="2400" y="495"/>
                    </a:lnTo>
                    <a:lnTo>
                      <a:pt x="2402" y="495"/>
                    </a:lnTo>
                    <a:lnTo>
                      <a:pt x="2404" y="495"/>
                    </a:lnTo>
                    <a:lnTo>
                      <a:pt x="2406" y="497"/>
                    </a:lnTo>
                    <a:lnTo>
                      <a:pt x="2406" y="499"/>
                    </a:lnTo>
                    <a:lnTo>
                      <a:pt x="2407" y="501"/>
                    </a:lnTo>
                    <a:lnTo>
                      <a:pt x="2408" y="503"/>
                    </a:lnTo>
                    <a:lnTo>
                      <a:pt x="2409" y="505"/>
                    </a:lnTo>
                    <a:lnTo>
                      <a:pt x="2410" y="507"/>
                    </a:lnTo>
                    <a:lnTo>
                      <a:pt x="2411" y="508"/>
                    </a:lnTo>
                    <a:lnTo>
                      <a:pt x="2411" y="509"/>
                    </a:lnTo>
                    <a:lnTo>
                      <a:pt x="2413" y="509"/>
                    </a:lnTo>
                    <a:lnTo>
                      <a:pt x="2414" y="509"/>
                    </a:lnTo>
                    <a:lnTo>
                      <a:pt x="2416" y="510"/>
                    </a:lnTo>
                    <a:lnTo>
                      <a:pt x="2418" y="511"/>
                    </a:lnTo>
                    <a:lnTo>
                      <a:pt x="2420" y="511"/>
                    </a:lnTo>
                    <a:lnTo>
                      <a:pt x="2421" y="512"/>
                    </a:lnTo>
                    <a:lnTo>
                      <a:pt x="2422" y="514"/>
                    </a:lnTo>
                    <a:lnTo>
                      <a:pt x="2423" y="514"/>
                    </a:lnTo>
                    <a:lnTo>
                      <a:pt x="2424" y="515"/>
                    </a:lnTo>
                    <a:lnTo>
                      <a:pt x="2427" y="515"/>
                    </a:lnTo>
                    <a:lnTo>
                      <a:pt x="2428" y="515"/>
                    </a:lnTo>
                    <a:lnTo>
                      <a:pt x="2430" y="513"/>
                    </a:lnTo>
                    <a:lnTo>
                      <a:pt x="2432" y="511"/>
                    </a:lnTo>
                    <a:lnTo>
                      <a:pt x="2434" y="509"/>
                    </a:lnTo>
                    <a:lnTo>
                      <a:pt x="2437" y="507"/>
                    </a:lnTo>
                    <a:lnTo>
                      <a:pt x="2439" y="505"/>
                    </a:lnTo>
                    <a:lnTo>
                      <a:pt x="2439" y="503"/>
                    </a:lnTo>
                    <a:lnTo>
                      <a:pt x="2439" y="500"/>
                    </a:lnTo>
                    <a:lnTo>
                      <a:pt x="2439" y="498"/>
                    </a:lnTo>
                    <a:lnTo>
                      <a:pt x="2439" y="495"/>
                    </a:lnTo>
                    <a:lnTo>
                      <a:pt x="2440" y="492"/>
                    </a:lnTo>
                    <a:lnTo>
                      <a:pt x="2440" y="491"/>
                    </a:lnTo>
                    <a:lnTo>
                      <a:pt x="2442" y="489"/>
                    </a:lnTo>
                    <a:lnTo>
                      <a:pt x="2443" y="488"/>
                    </a:lnTo>
                    <a:lnTo>
                      <a:pt x="2444" y="487"/>
                    </a:lnTo>
                    <a:lnTo>
                      <a:pt x="2445" y="485"/>
                    </a:lnTo>
                    <a:lnTo>
                      <a:pt x="2447" y="481"/>
                    </a:lnTo>
                    <a:lnTo>
                      <a:pt x="2449" y="478"/>
                    </a:lnTo>
                    <a:lnTo>
                      <a:pt x="2451" y="476"/>
                    </a:lnTo>
                    <a:lnTo>
                      <a:pt x="2453" y="475"/>
                    </a:lnTo>
                    <a:lnTo>
                      <a:pt x="2455" y="474"/>
                    </a:lnTo>
                    <a:lnTo>
                      <a:pt x="2456" y="475"/>
                    </a:lnTo>
                    <a:lnTo>
                      <a:pt x="2458" y="477"/>
                    </a:lnTo>
                    <a:lnTo>
                      <a:pt x="2460" y="479"/>
                    </a:lnTo>
                    <a:lnTo>
                      <a:pt x="2461" y="482"/>
                    </a:lnTo>
                    <a:lnTo>
                      <a:pt x="2463" y="485"/>
                    </a:lnTo>
                    <a:lnTo>
                      <a:pt x="2465" y="486"/>
                    </a:lnTo>
                    <a:lnTo>
                      <a:pt x="2467" y="487"/>
                    </a:lnTo>
                    <a:lnTo>
                      <a:pt x="2469" y="487"/>
                    </a:lnTo>
                    <a:lnTo>
                      <a:pt x="2471" y="487"/>
                    </a:lnTo>
                    <a:lnTo>
                      <a:pt x="2473" y="486"/>
                    </a:lnTo>
                    <a:lnTo>
                      <a:pt x="2475" y="486"/>
                    </a:lnTo>
                    <a:lnTo>
                      <a:pt x="2477" y="487"/>
                    </a:lnTo>
                    <a:lnTo>
                      <a:pt x="2478" y="487"/>
                    </a:lnTo>
                    <a:lnTo>
                      <a:pt x="2478" y="486"/>
                    </a:lnTo>
                    <a:lnTo>
                      <a:pt x="2478" y="484"/>
                    </a:lnTo>
                    <a:lnTo>
                      <a:pt x="2479" y="482"/>
                    </a:lnTo>
                    <a:lnTo>
                      <a:pt x="2479" y="482"/>
                    </a:lnTo>
                    <a:lnTo>
                      <a:pt x="2481" y="481"/>
                    </a:lnTo>
                    <a:lnTo>
                      <a:pt x="2483" y="481"/>
                    </a:lnTo>
                    <a:lnTo>
                      <a:pt x="2484" y="482"/>
                    </a:lnTo>
                    <a:lnTo>
                      <a:pt x="2486" y="484"/>
                    </a:lnTo>
                    <a:lnTo>
                      <a:pt x="2488" y="485"/>
                    </a:lnTo>
                    <a:lnTo>
                      <a:pt x="2488" y="486"/>
                    </a:lnTo>
                    <a:lnTo>
                      <a:pt x="2488" y="486"/>
                    </a:lnTo>
                    <a:lnTo>
                      <a:pt x="2490" y="485"/>
                    </a:lnTo>
                    <a:lnTo>
                      <a:pt x="2491" y="484"/>
                    </a:lnTo>
                    <a:lnTo>
                      <a:pt x="2493" y="482"/>
                    </a:lnTo>
                    <a:lnTo>
                      <a:pt x="2494" y="480"/>
                    </a:lnTo>
                    <a:lnTo>
                      <a:pt x="2494" y="479"/>
                    </a:lnTo>
                    <a:lnTo>
                      <a:pt x="2495" y="478"/>
                    </a:lnTo>
                    <a:lnTo>
                      <a:pt x="2496" y="478"/>
                    </a:lnTo>
                    <a:lnTo>
                      <a:pt x="2497" y="478"/>
                    </a:lnTo>
                    <a:lnTo>
                      <a:pt x="2498" y="476"/>
                    </a:lnTo>
                    <a:lnTo>
                      <a:pt x="2500" y="474"/>
                    </a:lnTo>
                    <a:lnTo>
                      <a:pt x="2502" y="471"/>
                    </a:lnTo>
                    <a:lnTo>
                      <a:pt x="2503" y="469"/>
                    </a:lnTo>
                    <a:lnTo>
                      <a:pt x="2505" y="467"/>
                    </a:lnTo>
                    <a:lnTo>
                      <a:pt x="2507" y="466"/>
                    </a:lnTo>
                    <a:lnTo>
                      <a:pt x="2508" y="466"/>
                    </a:lnTo>
                    <a:lnTo>
                      <a:pt x="2508" y="467"/>
                    </a:lnTo>
                    <a:lnTo>
                      <a:pt x="2509" y="467"/>
                    </a:lnTo>
                    <a:lnTo>
                      <a:pt x="2510" y="467"/>
                    </a:lnTo>
                    <a:lnTo>
                      <a:pt x="2511" y="466"/>
                    </a:lnTo>
                    <a:lnTo>
                      <a:pt x="2512" y="466"/>
                    </a:lnTo>
                    <a:lnTo>
                      <a:pt x="2513" y="465"/>
                    </a:lnTo>
                    <a:lnTo>
                      <a:pt x="2514" y="463"/>
                    </a:lnTo>
                    <a:lnTo>
                      <a:pt x="2514" y="462"/>
                    </a:lnTo>
                    <a:lnTo>
                      <a:pt x="2515" y="462"/>
                    </a:lnTo>
                    <a:lnTo>
                      <a:pt x="2516" y="462"/>
                    </a:lnTo>
                    <a:lnTo>
                      <a:pt x="2518" y="462"/>
                    </a:lnTo>
                    <a:lnTo>
                      <a:pt x="2519" y="462"/>
                    </a:lnTo>
                    <a:lnTo>
                      <a:pt x="2521" y="462"/>
                    </a:lnTo>
                    <a:lnTo>
                      <a:pt x="2522" y="461"/>
                    </a:lnTo>
                    <a:lnTo>
                      <a:pt x="2523" y="460"/>
                    </a:lnTo>
                    <a:lnTo>
                      <a:pt x="2523" y="459"/>
                    </a:lnTo>
                    <a:lnTo>
                      <a:pt x="2523" y="456"/>
                    </a:lnTo>
                    <a:lnTo>
                      <a:pt x="2522" y="454"/>
                    </a:lnTo>
                    <a:lnTo>
                      <a:pt x="2523" y="452"/>
                    </a:lnTo>
                    <a:lnTo>
                      <a:pt x="2524" y="451"/>
                    </a:lnTo>
                    <a:lnTo>
                      <a:pt x="2525" y="450"/>
                    </a:lnTo>
                    <a:lnTo>
                      <a:pt x="2526" y="449"/>
                    </a:lnTo>
                    <a:lnTo>
                      <a:pt x="2528" y="449"/>
                    </a:lnTo>
                    <a:lnTo>
                      <a:pt x="2529" y="448"/>
                    </a:lnTo>
                    <a:lnTo>
                      <a:pt x="2530" y="446"/>
                    </a:lnTo>
                    <a:lnTo>
                      <a:pt x="2531" y="444"/>
                    </a:lnTo>
                    <a:lnTo>
                      <a:pt x="2532" y="441"/>
                    </a:lnTo>
                    <a:lnTo>
                      <a:pt x="2533" y="438"/>
                    </a:lnTo>
                    <a:lnTo>
                      <a:pt x="2534" y="434"/>
                    </a:lnTo>
                    <a:lnTo>
                      <a:pt x="2535" y="430"/>
                    </a:lnTo>
                    <a:lnTo>
                      <a:pt x="2535" y="425"/>
                    </a:lnTo>
                    <a:lnTo>
                      <a:pt x="2537" y="418"/>
                    </a:lnTo>
                    <a:lnTo>
                      <a:pt x="2538" y="410"/>
                    </a:lnTo>
                    <a:lnTo>
                      <a:pt x="2539" y="403"/>
                    </a:lnTo>
                    <a:lnTo>
                      <a:pt x="2538" y="401"/>
                    </a:lnTo>
                    <a:lnTo>
                      <a:pt x="2538" y="399"/>
                    </a:lnTo>
                    <a:lnTo>
                      <a:pt x="2537" y="399"/>
                    </a:lnTo>
                    <a:lnTo>
                      <a:pt x="2535" y="399"/>
                    </a:lnTo>
                    <a:lnTo>
                      <a:pt x="2534" y="399"/>
                    </a:lnTo>
                    <a:lnTo>
                      <a:pt x="2533" y="400"/>
                    </a:lnTo>
                    <a:lnTo>
                      <a:pt x="2532" y="402"/>
                    </a:lnTo>
                    <a:lnTo>
                      <a:pt x="2531" y="403"/>
                    </a:lnTo>
                    <a:lnTo>
                      <a:pt x="2525" y="409"/>
                    </a:lnTo>
                    <a:lnTo>
                      <a:pt x="2524" y="410"/>
                    </a:lnTo>
                    <a:lnTo>
                      <a:pt x="2524" y="411"/>
                    </a:lnTo>
                    <a:lnTo>
                      <a:pt x="2523" y="412"/>
                    </a:lnTo>
                    <a:lnTo>
                      <a:pt x="2523" y="412"/>
                    </a:lnTo>
                    <a:lnTo>
                      <a:pt x="2523" y="411"/>
                    </a:lnTo>
                    <a:lnTo>
                      <a:pt x="2521" y="411"/>
                    </a:lnTo>
                    <a:lnTo>
                      <a:pt x="2520" y="409"/>
                    </a:lnTo>
                    <a:lnTo>
                      <a:pt x="2518" y="407"/>
                    </a:lnTo>
                    <a:lnTo>
                      <a:pt x="2517" y="405"/>
                    </a:lnTo>
                    <a:lnTo>
                      <a:pt x="2515" y="405"/>
                    </a:lnTo>
                    <a:lnTo>
                      <a:pt x="2513" y="405"/>
                    </a:lnTo>
                    <a:lnTo>
                      <a:pt x="2511" y="403"/>
                    </a:lnTo>
                    <a:lnTo>
                      <a:pt x="2509" y="403"/>
                    </a:lnTo>
                    <a:lnTo>
                      <a:pt x="2508" y="404"/>
                    </a:lnTo>
                    <a:lnTo>
                      <a:pt x="2506" y="405"/>
                    </a:lnTo>
                    <a:lnTo>
                      <a:pt x="2505" y="407"/>
                    </a:lnTo>
                    <a:lnTo>
                      <a:pt x="2504" y="408"/>
                    </a:lnTo>
                    <a:lnTo>
                      <a:pt x="2503" y="409"/>
                    </a:lnTo>
                    <a:lnTo>
                      <a:pt x="2501" y="410"/>
                    </a:lnTo>
                    <a:lnTo>
                      <a:pt x="2500" y="411"/>
                    </a:lnTo>
                    <a:lnTo>
                      <a:pt x="2499" y="412"/>
                    </a:lnTo>
                    <a:lnTo>
                      <a:pt x="2498" y="412"/>
                    </a:lnTo>
                    <a:lnTo>
                      <a:pt x="2497" y="411"/>
                    </a:lnTo>
                    <a:lnTo>
                      <a:pt x="2497" y="409"/>
                    </a:lnTo>
                    <a:lnTo>
                      <a:pt x="2496" y="407"/>
                    </a:lnTo>
                    <a:lnTo>
                      <a:pt x="2496" y="405"/>
                    </a:lnTo>
                    <a:lnTo>
                      <a:pt x="2495" y="403"/>
                    </a:lnTo>
                    <a:lnTo>
                      <a:pt x="2494" y="402"/>
                    </a:lnTo>
                    <a:lnTo>
                      <a:pt x="2493" y="400"/>
                    </a:lnTo>
                    <a:lnTo>
                      <a:pt x="2493" y="397"/>
                    </a:lnTo>
                    <a:lnTo>
                      <a:pt x="2492" y="395"/>
                    </a:lnTo>
                    <a:lnTo>
                      <a:pt x="2492" y="392"/>
                    </a:lnTo>
                    <a:lnTo>
                      <a:pt x="2491" y="390"/>
                    </a:lnTo>
                    <a:lnTo>
                      <a:pt x="2491" y="387"/>
                    </a:lnTo>
                    <a:lnTo>
                      <a:pt x="2491" y="385"/>
                    </a:lnTo>
                    <a:lnTo>
                      <a:pt x="2492" y="383"/>
                    </a:lnTo>
                    <a:lnTo>
                      <a:pt x="2492" y="380"/>
                    </a:lnTo>
                    <a:lnTo>
                      <a:pt x="2493" y="377"/>
                    </a:lnTo>
                    <a:lnTo>
                      <a:pt x="2493" y="364"/>
                    </a:lnTo>
                    <a:lnTo>
                      <a:pt x="2493" y="361"/>
                    </a:lnTo>
                    <a:lnTo>
                      <a:pt x="2493" y="358"/>
                    </a:lnTo>
                    <a:lnTo>
                      <a:pt x="2495" y="356"/>
                    </a:lnTo>
                    <a:lnTo>
                      <a:pt x="2496" y="354"/>
                    </a:lnTo>
                    <a:lnTo>
                      <a:pt x="2498" y="352"/>
                    </a:lnTo>
                    <a:lnTo>
                      <a:pt x="2499" y="352"/>
                    </a:lnTo>
                    <a:lnTo>
                      <a:pt x="2500" y="352"/>
                    </a:lnTo>
                    <a:lnTo>
                      <a:pt x="2502" y="352"/>
                    </a:lnTo>
                    <a:lnTo>
                      <a:pt x="2503" y="352"/>
                    </a:lnTo>
                    <a:lnTo>
                      <a:pt x="2505" y="352"/>
                    </a:lnTo>
                    <a:lnTo>
                      <a:pt x="2509" y="352"/>
                    </a:lnTo>
                    <a:lnTo>
                      <a:pt x="2511" y="349"/>
                    </a:lnTo>
                    <a:lnTo>
                      <a:pt x="2513" y="347"/>
                    </a:lnTo>
                    <a:lnTo>
                      <a:pt x="2515" y="346"/>
                    </a:lnTo>
                    <a:lnTo>
                      <a:pt x="2517" y="346"/>
                    </a:lnTo>
                    <a:lnTo>
                      <a:pt x="2519" y="344"/>
                    </a:lnTo>
                    <a:lnTo>
                      <a:pt x="2521" y="343"/>
                    </a:lnTo>
                    <a:lnTo>
                      <a:pt x="2521" y="339"/>
                    </a:lnTo>
                    <a:lnTo>
                      <a:pt x="2523" y="335"/>
                    </a:lnTo>
                    <a:lnTo>
                      <a:pt x="2525" y="333"/>
                    </a:lnTo>
                    <a:lnTo>
                      <a:pt x="2525" y="331"/>
                    </a:lnTo>
                    <a:lnTo>
                      <a:pt x="2526" y="331"/>
                    </a:lnTo>
                    <a:lnTo>
                      <a:pt x="2527" y="330"/>
                    </a:lnTo>
                    <a:lnTo>
                      <a:pt x="2529" y="329"/>
                    </a:lnTo>
                    <a:lnTo>
                      <a:pt x="2531" y="328"/>
                    </a:lnTo>
                    <a:lnTo>
                      <a:pt x="2533" y="326"/>
                    </a:lnTo>
                    <a:lnTo>
                      <a:pt x="2535" y="325"/>
                    </a:lnTo>
                    <a:lnTo>
                      <a:pt x="2540" y="324"/>
                    </a:lnTo>
                    <a:lnTo>
                      <a:pt x="2547" y="326"/>
                    </a:lnTo>
                    <a:lnTo>
                      <a:pt x="2551" y="330"/>
                    </a:lnTo>
                    <a:lnTo>
                      <a:pt x="2556" y="335"/>
                    </a:lnTo>
                    <a:lnTo>
                      <a:pt x="2557" y="336"/>
                    </a:lnTo>
                    <a:lnTo>
                      <a:pt x="2559" y="337"/>
                    </a:lnTo>
                    <a:lnTo>
                      <a:pt x="2561" y="337"/>
                    </a:lnTo>
                    <a:lnTo>
                      <a:pt x="2563" y="336"/>
                    </a:lnTo>
                    <a:lnTo>
                      <a:pt x="2566" y="334"/>
                    </a:lnTo>
                    <a:lnTo>
                      <a:pt x="2568" y="333"/>
                    </a:lnTo>
                    <a:lnTo>
                      <a:pt x="2569" y="331"/>
                    </a:lnTo>
                    <a:lnTo>
                      <a:pt x="2571" y="331"/>
                    </a:lnTo>
                    <a:lnTo>
                      <a:pt x="2573" y="329"/>
                    </a:lnTo>
                    <a:lnTo>
                      <a:pt x="2574" y="327"/>
                    </a:lnTo>
                    <a:lnTo>
                      <a:pt x="2576" y="325"/>
                    </a:lnTo>
                    <a:lnTo>
                      <a:pt x="2576" y="317"/>
                    </a:lnTo>
                    <a:lnTo>
                      <a:pt x="2575" y="316"/>
                    </a:lnTo>
                    <a:lnTo>
                      <a:pt x="2574" y="314"/>
                    </a:lnTo>
                    <a:lnTo>
                      <a:pt x="2573" y="313"/>
                    </a:lnTo>
                    <a:lnTo>
                      <a:pt x="2573" y="313"/>
                    </a:lnTo>
                    <a:lnTo>
                      <a:pt x="2574" y="312"/>
                    </a:lnTo>
                    <a:lnTo>
                      <a:pt x="2574" y="310"/>
                    </a:lnTo>
                    <a:lnTo>
                      <a:pt x="2575" y="308"/>
                    </a:lnTo>
                    <a:lnTo>
                      <a:pt x="2576" y="306"/>
                    </a:lnTo>
                    <a:lnTo>
                      <a:pt x="2576" y="304"/>
                    </a:lnTo>
                    <a:lnTo>
                      <a:pt x="2575" y="304"/>
                    </a:lnTo>
                    <a:lnTo>
                      <a:pt x="2574" y="303"/>
                    </a:lnTo>
                    <a:lnTo>
                      <a:pt x="2574" y="302"/>
                    </a:lnTo>
                    <a:lnTo>
                      <a:pt x="2572" y="299"/>
                    </a:lnTo>
                    <a:lnTo>
                      <a:pt x="2570" y="296"/>
                    </a:lnTo>
                    <a:lnTo>
                      <a:pt x="2568" y="294"/>
                    </a:lnTo>
                    <a:lnTo>
                      <a:pt x="2568" y="292"/>
                    </a:lnTo>
                    <a:lnTo>
                      <a:pt x="2566" y="288"/>
                    </a:lnTo>
                    <a:lnTo>
                      <a:pt x="2566" y="286"/>
                    </a:lnTo>
                    <a:lnTo>
                      <a:pt x="2564" y="284"/>
                    </a:lnTo>
                    <a:lnTo>
                      <a:pt x="2563" y="282"/>
                    </a:lnTo>
                    <a:lnTo>
                      <a:pt x="2562" y="280"/>
                    </a:lnTo>
                    <a:lnTo>
                      <a:pt x="2561" y="280"/>
                    </a:lnTo>
                    <a:lnTo>
                      <a:pt x="2560" y="280"/>
                    </a:lnTo>
                    <a:lnTo>
                      <a:pt x="2559" y="279"/>
                    </a:lnTo>
                    <a:lnTo>
                      <a:pt x="2558" y="278"/>
                    </a:lnTo>
                    <a:lnTo>
                      <a:pt x="2558" y="276"/>
                    </a:lnTo>
                    <a:lnTo>
                      <a:pt x="2557" y="274"/>
                    </a:lnTo>
                    <a:lnTo>
                      <a:pt x="2557" y="273"/>
                    </a:lnTo>
                    <a:lnTo>
                      <a:pt x="2558" y="271"/>
                    </a:lnTo>
                    <a:lnTo>
                      <a:pt x="2559" y="269"/>
                    </a:lnTo>
                    <a:lnTo>
                      <a:pt x="2560" y="268"/>
                    </a:lnTo>
                    <a:lnTo>
                      <a:pt x="2562" y="264"/>
                    </a:lnTo>
                    <a:lnTo>
                      <a:pt x="2564" y="261"/>
                    </a:lnTo>
                    <a:lnTo>
                      <a:pt x="2566" y="257"/>
                    </a:lnTo>
                    <a:lnTo>
                      <a:pt x="2566" y="254"/>
                    </a:lnTo>
                    <a:lnTo>
                      <a:pt x="2565" y="253"/>
                    </a:lnTo>
                    <a:lnTo>
                      <a:pt x="2564" y="251"/>
                    </a:lnTo>
                    <a:lnTo>
                      <a:pt x="2563" y="250"/>
                    </a:lnTo>
                    <a:lnTo>
                      <a:pt x="2562" y="249"/>
                    </a:lnTo>
                    <a:lnTo>
                      <a:pt x="2562" y="247"/>
                    </a:lnTo>
                    <a:lnTo>
                      <a:pt x="2617" y="202"/>
                    </a:lnTo>
                    <a:lnTo>
                      <a:pt x="2670" y="159"/>
                    </a:lnTo>
                    <a:lnTo>
                      <a:pt x="2720" y="117"/>
                    </a:lnTo>
                    <a:lnTo>
                      <a:pt x="2769" y="79"/>
                    </a:lnTo>
                    <a:lnTo>
                      <a:pt x="2818" y="47"/>
                    </a:lnTo>
                    <a:lnTo>
                      <a:pt x="2830" y="40"/>
                    </a:lnTo>
                    <a:lnTo>
                      <a:pt x="2842" y="32"/>
                    </a:lnTo>
                    <a:close/>
                    <a:moveTo>
                      <a:pt x="2460" y="26"/>
                    </a:moveTo>
                    <a:lnTo>
                      <a:pt x="2461" y="27"/>
                    </a:lnTo>
                    <a:lnTo>
                      <a:pt x="2462" y="28"/>
                    </a:lnTo>
                    <a:lnTo>
                      <a:pt x="2463" y="31"/>
                    </a:lnTo>
                    <a:lnTo>
                      <a:pt x="2463" y="33"/>
                    </a:lnTo>
                    <a:lnTo>
                      <a:pt x="2463" y="37"/>
                    </a:lnTo>
                    <a:lnTo>
                      <a:pt x="2462" y="39"/>
                    </a:lnTo>
                    <a:lnTo>
                      <a:pt x="2462" y="41"/>
                    </a:lnTo>
                    <a:lnTo>
                      <a:pt x="2462" y="42"/>
                    </a:lnTo>
                    <a:lnTo>
                      <a:pt x="2461" y="44"/>
                    </a:lnTo>
                    <a:lnTo>
                      <a:pt x="2461" y="45"/>
                    </a:lnTo>
                    <a:lnTo>
                      <a:pt x="2460" y="46"/>
                    </a:lnTo>
                    <a:lnTo>
                      <a:pt x="2459" y="46"/>
                    </a:lnTo>
                    <a:lnTo>
                      <a:pt x="2458" y="45"/>
                    </a:lnTo>
                    <a:lnTo>
                      <a:pt x="2457" y="41"/>
                    </a:lnTo>
                    <a:lnTo>
                      <a:pt x="2457" y="37"/>
                    </a:lnTo>
                    <a:lnTo>
                      <a:pt x="2457" y="33"/>
                    </a:lnTo>
                    <a:lnTo>
                      <a:pt x="2458" y="30"/>
                    </a:lnTo>
                    <a:lnTo>
                      <a:pt x="2458" y="28"/>
                    </a:lnTo>
                    <a:lnTo>
                      <a:pt x="2459" y="27"/>
                    </a:lnTo>
                    <a:lnTo>
                      <a:pt x="2459" y="26"/>
                    </a:lnTo>
                    <a:lnTo>
                      <a:pt x="2460" y="26"/>
                    </a:lnTo>
                    <a:close/>
                    <a:moveTo>
                      <a:pt x="1235" y="16"/>
                    </a:moveTo>
                    <a:lnTo>
                      <a:pt x="1237" y="16"/>
                    </a:lnTo>
                    <a:lnTo>
                      <a:pt x="1239" y="17"/>
                    </a:lnTo>
                    <a:lnTo>
                      <a:pt x="1240" y="19"/>
                    </a:lnTo>
                    <a:lnTo>
                      <a:pt x="1241" y="20"/>
                    </a:lnTo>
                    <a:lnTo>
                      <a:pt x="1241" y="22"/>
                    </a:lnTo>
                    <a:lnTo>
                      <a:pt x="1242" y="28"/>
                    </a:lnTo>
                    <a:lnTo>
                      <a:pt x="1246" y="33"/>
                    </a:lnTo>
                    <a:lnTo>
                      <a:pt x="1250" y="39"/>
                    </a:lnTo>
                    <a:lnTo>
                      <a:pt x="1251" y="44"/>
                    </a:lnTo>
                    <a:lnTo>
                      <a:pt x="1250" y="49"/>
                    </a:lnTo>
                    <a:lnTo>
                      <a:pt x="1244" y="53"/>
                    </a:lnTo>
                    <a:lnTo>
                      <a:pt x="1236" y="56"/>
                    </a:lnTo>
                    <a:lnTo>
                      <a:pt x="1230" y="56"/>
                    </a:lnTo>
                    <a:lnTo>
                      <a:pt x="1227" y="53"/>
                    </a:lnTo>
                    <a:lnTo>
                      <a:pt x="1227" y="48"/>
                    </a:lnTo>
                    <a:lnTo>
                      <a:pt x="1228" y="43"/>
                    </a:lnTo>
                    <a:lnTo>
                      <a:pt x="1230" y="37"/>
                    </a:lnTo>
                    <a:lnTo>
                      <a:pt x="1232" y="31"/>
                    </a:lnTo>
                    <a:lnTo>
                      <a:pt x="1232" y="27"/>
                    </a:lnTo>
                    <a:lnTo>
                      <a:pt x="1232" y="26"/>
                    </a:lnTo>
                    <a:lnTo>
                      <a:pt x="1232" y="25"/>
                    </a:lnTo>
                    <a:lnTo>
                      <a:pt x="1231" y="23"/>
                    </a:lnTo>
                    <a:lnTo>
                      <a:pt x="1230" y="21"/>
                    </a:lnTo>
                    <a:lnTo>
                      <a:pt x="1230" y="19"/>
                    </a:lnTo>
                    <a:lnTo>
                      <a:pt x="1231" y="18"/>
                    </a:lnTo>
                    <a:lnTo>
                      <a:pt x="1232" y="17"/>
                    </a:lnTo>
                    <a:lnTo>
                      <a:pt x="1235" y="16"/>
                    </a:lnTo>
                    <a:close/>
                    <a:moveTo>
                      <a:pt x="2564" y="9"/>
                    </a:moveTo>
                    <a:lnTo>
                      <a:pt x="2564" y="9"/>
                    </a:lnTo>
                    <a:lnTo>
                      <a:pt x="2564" y="10"/>
                    </a:lnTo>
                    <a:lnTo>
                      <a:pt x="2564" y="12"/>
                    </a:lnTo>
                    <a:lnTo>
                      <a:pt x="2564" y="14"/>
                    </a:lnTo>
                    <a:lnTo>
                      <a:pt x="2565" y="15"/>
                    </a:lnTo>
                    <a:lnTo>
                      <a:pt x="2565" y="16"/>
                    </a:lnTo>
                    <a:lnTo>
                      <a:pt x="2566" y="17"/>
                    </a:lnTo>
                    <a:lnTo>
                      <a:pt x="2566" y="18"/>
                    </a:lnTo>
                    <a:lnTo>
                      <a:pt x="2567" y="20"/>
                    </a:lnTo>
                    <a:lnTo>
                      <a:pt x="2568" y="22"/>
                    </a:lnTo>
                    <a:lnTo>
                      <a:pt x="2568" y="24"/>
                    </a:lnTo>
                    <a:lnTo>
                      <a:pt x="2568" y="26"/>
                    </a:lnTo>
                    <a:lnTo>
                      <a:pt x="2569" y="27"/>
                    </a:lnTo>
                    <a:lnTo>
                      <a:pt x="2571" y="27"/>
                    </a:lnTo>
                    <a:lnTo>
                      <a:pt x="2572" y="26"/>
                    </a:lnTo>
                    <a:lnTo>
                      <a:pt x="2572" y="24"/>
                    </a:lnTo>
                    <a:lnTo>
                      <a:pt x="2573" y="22"/>
                    </a:lnTo>
                    <a:lnTo>
                      <a:pt x="2573" y="20"/>
                    </a:lnTo>
                    <a:lnTo>
                      <a:pt x="2572" y="19"/>
                    </a:lnTo>
                    <a:lnTo>
                      <a:pt x="2571" y="18"/>
                    </a:lnTo>
                    <a:lnTo>
                      <a:pt x="2570" y="16"/>
                    </a:lnTo>
                    <a:lnTo>
                      <a:pt x="2570" y="15"/>
                    </a:lnTo>
                    <a:lnTo>
                      <a:pt x="2570" y="14"/>
                    </a:lnTo>
                    <a:lnTo>
                      <a:pt x="2569" y="13"/>
                    </a:lnTo>
                    <a:lnTo>
                      <a:pt x="2568" y="12"/>
                    </a:lnTo>
                    <a:lnTo>
                      <a:pt x="2567" y="12"/>
                    </a:lnTo>
                    <a:lnTo>
                      <a:pt x="2566" y="11"/>
                    </a:lnTo>
                    <a:lnTo>
                      <a:pt x="2565" y="10"/>
                    </a:lnTo>
                    <a:lnTo>
                      <a:pt x="2565" y="10"/>
                    </a:lnTo>
                    <a:lnTo>
                      <a:pt x="2564" y="9"/>
                    </a:lnTo>
                    <a:close/>
                    <a:moveTo>
                      <a:pt x="331" y="2"/>
                    </a:moveTo>
                    <a:lnTo>
                      <a:pt x="333" y="2"/>
                    </a:lnTo>
                    <a:lnTo>
                      <a:pt x="335" y="4"/>
                    </a:lnTo>
                    <a:lnTo>
                      <a:pt x="340" y="15"/>
                    </a:lnTo>
                    <a:lnTo>
                      <a:pt x="341" y="16"/>
                    </a:lnTo>
                    <a:lnTo>
                      <a:pt x="342" y="17"/>
                    </a:lnTo>
                    <a:lnTo>
                      <a:pt x="343" y="18"/>
                    </a:lnTo>
                    <a:lnTo>
                      <a:pt x="344" y="19"/>
                    </a:lnTo>
                    <a:lnTo>
                      <a:pt x="344" y="21"/>
                    </a:lnTo>
                    <a:lnTo>
                      <a:pt x="344" y="24"/>
                    </a:lnTo>
                    <a:lnTo>
                      <a:pt x="343" y="26"/>
                    </a:lnTo>
                    <a:lnTo>
                      <a:pt x="342" y="27"/>
                    </a:lnTo>
                    <a:lnTo>
                      <a:pt x="341" y="27"/>
                    </a:lnTo>
                    <a:lnTo>
                      <a:pt x="340" y="27"/>
                    </a:lnTo>
                    <a:lnTo>
                      <a:pt x="339" y="26"/>
                    </a:lnTo>
                    <a:lnTo>
                      <a:pt x="338" y="25"/>
                    </a:lnTo>
                    <a:lnTo>
                      <a:pt x="336" y="24"/>
                    </a:lnTo>
                    <a:lnTo>
                      <a:pt x="335" y="22"/>
                    </a:lnTo>
                    <a:lnTo>
                      <a:pt x="335" y="21"/>
                    </a:lnTo>
                    <a:lnTo>
                      <a:pt x="334" y="20"/>
                    </a:lnTo>
                    <a:lnTo>
                      <a:pt x="333" y="19"/>
                    </a:lnTo>
                    <a:lnTo>
                      <a:pt x="333" y="19"/>
                    </a:lnTo>
                    <a:lnTo>
                      <a:pt x="331" y="19"/>
                    </a:lnTo>
                    <a:lnTo>
                      <a:pt x="330" y="18"/>
                    </a:lnTo>
                    <a:lnTo>
                      <a:pt x="329" y="17"/>
                    </a:lnTo>
                    <a:lnTo>
                      <a:pt x="328" y="15"/>
                    </a:lnTo>
                    <a:lnTo>
                      <a:pt x="328" y="10"/>
                    </a:lnTo>
                    <a:lnTo>
                      <a:pt x="329" y="6"/>
                    </a:lnTo>
                    <a:lnTo>
                      <a:pt x="330" y="3"/>
                    </a:lnTo>
                    <a:lnTo>
                      <a:pt x="331" y="2"/>
                    </a:lnTo>
                    <a:close/>
                    <a:moveTo>
                      <a:pt x="169" y="0"/>
                    </a:moveTo>
                    <a:lnTo>
                      <a:pt x="169" y="0"/>
                    </a:lnTo>
                    <a:lnTo>
                      <a:pt x="170" y="1"/>
                    </a:lnTo>
                    <a:lnTo>
                      <a:pt x="170" y="3"/>
                    </a:lnTo>
                    <a:lnTo>
                      <a:pt x="169" y="5"/>
                    </a:lnTo>
                    <a:lnTo>
                      <a:pt x="169" y="6"/>
                    </a:lnTo>
                    <a:lnTo>
                      <a:pt x="168" y="8"/>
                    </a:lnTo>
                    <a:lnTo>
                      <a:pt x="167" y="9"/>
                    </a:lnTo>
                    <a:lnTo>
                      <a:pt x="167" y="15"/>
                    </a:lnTo>
                    <a:lnTo>
                      <a:pt x="169" y="21"/>
                    </a:lnTo>
                    <a:lnTo>
                      <a:pt x="167" y="26"/>
                    </a:lnTo>
                    <a:lnTo>
                      <a:pt x="166" y="28"/>
                    </a:lnTo>
                    <a:lnTo>
                      <a:pt x="164" y="30"/>
                    </a:lnTo>
                    <a:lnTo>
                      <a:pt x="162" y="31"/>
                    </a:lnTo>
                    <a:lnTo>
                      <a:pt x="160" y="33"/>
                    </a:lnTo>
                    <a:lnTo>
                      <a:pt x="158" y="34"/>
                    </a:lnTo>
                    <a:lnTo>
                      <a:pt x="157" y="38"/>
                    </a:lnTo>
                    <a:lnTo>
                      <a:pt x="155" y="39"/>
                    </a:lnTo>
                    <a:lnTo>
                      <a:pt x="154" y="39"/>
                    </a:lnTo>
                    <a:lnTo>
                      <a:pt x="154" y="40"/>
                    </a:lnTo>
                    <a:lnTo>
                      <a:pt x="153" y="40"/>
                    </a:lnTo>
                    <a:lnTo>
                      <a:pt x="152" y="40"/>
                    </a:lnTo>
                    <a:lnTo>
                      <a:pt x="150" y="39"/>
                    </a:lnTo>
                    <a:lnTo>
                      <a:pt x="148" y="39"/>
                    </a:lnTo>
                    <a:lnTo>
                      <a:pt x="147" y="38"/>
                    </a:lnTo>
                    <a:lnTo>
                      <a:pt x="146" y="36"/>
                    </a:lnTo>
                    <a:lnTo>
                      <a:pt x="147" y="31"/>
                    </a:lnTo>
                    <a:lnTo>
                      <a:pt x="148" y="28"/>
                    </a:lnTo>
                    <a:lnTo>
                      <a:pt x="150" y="26"/>
                    </a:lnTo>
                    <a:lnTo>
                      <a:pt x="152" y="24"/>
                    </a:lnTo>
                    <a:lnTo>
                      <a:pt x="153" y="22"/>
                    </a:lnTo>
                    <a:lnTo>
                      <a:pt x="156" y="20"/>
                    </a:lnTo>
                    <a:lnTo>
                      <a:pt x="158" y="19"/>
                    </a:lnTo>
                    <a:lnTo>
                      <a:pt x="159" y="16"/>
                    </a:lnTo>
                    <a:lnTo>
                      <a:pt x="161" y="14"/>
                    </a:lnTo>
                    <a:lnTo>
                      <a:pt x="161" y="10"/>
                    </a:lnTo>
                    <a:lnTo>
                      <a:pt x="161" y="7"/>
                    </a:lnTo>
                    <a:lnTo>
                      <a:pt x="163" y="4"/>
                    </a:lnTo>
                    <a:lnTo>
                      <a:pt x="165" y="1"/>
                    </a:lnTo>
                    <a:lnTo>
                      <a:pt x="167" y="0"/>
                    </a:lnTo>
                    <a:lnTo>
                      <a:pt x="169"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noEditPoints="1"/>
              </p:cNvSpPr>
              <p:nvPr/>
            </p:nvSpPr>
            <p:spPr bwMode="auto">
              <a:xfrm>
                <a:off x="3098" y="913"/>
                <a:ext cx="362" cy="239"/>
              </a:xfrm>
              <a:custGeom>
                <a:avLst/>
                <a:gdLst>
                  <a:gd name="T0" fmla="*/ 2295 w 2537"/>
                  <a:gd name="T1" fmla="*/ 278 h 1672"/>
                  <a:gd name="T2" fmla="*/ 2267 w 2537"/>
                  <a:gd name="T3" fmla="*/ 386 h 1672"/>
                  <a:gd name="T4" fmla="*/ 2278 w 2537"/>
                  <a:gd name="T5" fmla="*/ 286 h 1672"/>
                  <a:gd name="T6" fmla="*/ 2259 w 2537"/>
                  <a:gd name="T7" fmla="*/ 218 h 1672"/>
                  <a:gd name="T8" fmla="*/ 2277 w 2537"/>
                  <a:gd name="T9" fmla="*/ 167 h 1672"/>
                  <a:gd name="T10" fmla="*/ 2504 w 2537"/>
                  <a:gd name="T11" fmla="*/ 116 h 1672"/>
                  <a:gd name="T12" fmla="*/ 651 w 2537"/>
                  <a:gd name="T13" fmla="*/ 142 h 1672"/>
                  <a:gd name="T14" fmla="*/ 2533 w 2537"/>
                  <a:gd name="T15" fmla="*/ 111 h 1672"/>
                  <a:gd name="T16" fmla="*/ 1436 w 2537"/>
                  <a:gd name="T17" fmla="*/ 65 h 1672"/>
                  <a:gd name="T18" fmla="*/ 6 w 2537"/>
                  <a:gd name="T19" fmla="*/ 62 h 1672"/>
                  <a:gd name="T20" fmla="*/ 87 w 2537"/>
                  <a:gd name="T21" fmla="*/ 1 h 1672"/>
                  <a:gd name="T22" fmla="*/ 1007 w 2537"/>
                  <a:gd name="T23" fmla="*/ 516 h 1672"/>
                  <a:gd name="T24" fmla="*/ 1069 w 2537"/>
                  <a:gd name="T25" fmla="*/ 571 h 1672"/>
                  <a:gd name="T26" fmla="*/ 1142 w 2537"/>
                  <a:gd name="T27" fmla="*/ 559 h 1672"/>
                  <a:gd name="T28" fmla="*/ 1208 w 2537"/>
                  <a:gd name="T29" fmla="*/ 571 h 1672"/>
                  <a:gd name="T30" fmla="*/ 1280 w 2537"/>
                  <a:gd name="T31" fmla="*/ 601 h 1672"/>
                  <a:gd name="T32" fmla="*/ 1351 w 2537"/>
                  <a:gd name="T33" fmla="*/ 655 h 1672"/>
                  <a:gd name="T34" fmla="*/ 1277 w 2537"/>
                  <a:gd name="T35" fmla="*/ 779 h 1672"/>
                  <a:gd name="T36" fmla="*/ 1202 w 2537"/>
                  <a:gd name="T37" fmla="*/ 950 h 1672"/>
                  <a:gd name="T38" fmla="*/ 1034 w 2537"/>
                  <a:gd name="T39" fmla="*/ 873 h 1672"/>
                  <a:gd name="T40" fmla="*/ 905 w 2537"/>
                  <a:gd name="T41" fmla="*/ 966 h 1672"/>
                  <a:gd name="T42" fmla="*/ 1018 w 2537"/>
                  <a:gd name="T43" fmla="*/ 1051 h 1672"/>
                  <a:gd name="T44" fmla="*/ 1077 w 2537"/>
                  <a:gd name="T45" fmla="*/ 1091 h 1672"/>
                  <a:gd name="T46" fmla="*/ 1201 w 2537"/>
                  <a:gd name="T47" fmla="*/ 1173 h 1672"/>
                  <a:gd name="T48" fmla="*/ 1356 w 2537"/>
                  <a:gd name="T49" fmla="*/ 1129 h 1672"/>
                  <a:gd name="T50" fmla="*/ 1372 w 2537"/>
                  <a:gd name="T51" fmla="*/ 1135 h 1672"/>
                  <a:gd name="T52" fmla="*/ 1474 w 2537"/>
                  <a:gd name="T53" fmla="*/ 1136 h 1672"/>
                  <a:gd name="T54" fmla="*/ 1535 w 2537"/>
                  <a:gd name="T55" fmla="*/ 1168 h 1672"/>
                  <a:gd name="T56" fmla="*/ 1640 w 2537"/>
                  <a:gd name="T57" fmla="*/ 1238 h 1672"/>
                  <a:gd name="T58" fmla="*/ 1657 w 2537"/>
                  <a:gd name="T59" fmla="*/ 1244 h 1672"/>
                  <a:gd name="T60" fmla="*/ 1719 w 2537"/>
                  <a:gd name="T61" fmla="*/ 1255 h 1672"/>
                  <a:gd name="T62" fmla="*/ 1762 w 2537"/>
                  <a:gd name="T63" fmla="*/ 1343 h 1672"/>
                  <a:gd name="T64" fmla="*/ 1680 w 2537"/>
                  <a:gd name="T65" fmla="*/ 1442 h 1672"/>
                  <a:gd name="T66" fmla="*/ 1601 w 2537"/>
                  <a:gd name="T67" fmla="*/ 1502 h 1672"/>
                  <a:gd name="T68" fmla="*/ 1499 w 2537"/>
                  <a:gd name="T69" fmla="*/ 1551 h 1672"/>
                  <a:gd name="T70" fmla="*/ 1458 w 2537"/>
                  <a:gd name="T71" fmla="*/ 1601 h 1672"/>
                  <a:gd name="T72" fmla="*/ 1423 w 2537"/>
                  <a:gd name="T73" fmla="*/ 1631 h 1672"/>
                  <a:gd name="T74" fmla="*/ 1395 w 2537"/>
                  <a:gd name="T75" fmla="*/ 1671 h 1672"/>
                  <a:gd name="T76" fmla="*/ 1346 w 2537"/>
                  <a:gd name="T77" fmla="*/ 1641 h 1672"/>
                  <a:gd name="T78" fmla="*/ 1340 w 2537"/>
                  <a:gd name="T79" fmla="*/ 1599 h 1672"/>
                  <a:gd name="T80" fmla="*/ 1340 w 2537"/>
                  <a:gd name="T81" fmla="*/ 1524 h 1672"/>
                  <a:gd name="T82" fmla="*/ 1343 w 2537"/>
                  <a:gd name="T83" fmla="*/ 1453 h 1672"/>
                  <a:gd name="T84" fmla="*/ 1225 w 2537"/>
                  <a:gd name="T85" fmla="*/ 1380 h 1672"/>
                  <a:gd name="T86" fmla="*/ 1184 w 2537"/>
                  <a:gd name="T87" fmla="*/ 1306 h 1672"/>
                  <a:gd name="T88" fmla="*/ 1229 w 2537"/>
                  <a:gd name="T89" fmla="*/ 1252 h 1672"/>
                  <a:gd name="T90" fmla="*/ 1167 w 2537"/>
                  <a:gd name="T91" fmla="*/ 1196 h 1672"/>
                  <a:gd name="T92" fmla="*/ 1000 w 2537"/>
                  <a:gd name="T93" fmla="*/ 1097 h 1672"/>
                  <a:gd name="T94" fmla="*/ 739 w 2537"/>
                  <a:gd name="T95" fmla="*/ 945 h 1672"/>
                  <a:gd name="T96" fmla="*/ 686 w 2537"/>
                  <a:gd name="T97" fmla="*/ 917 h 1672"/>
                  <a:gd name="T98" fmla="*/ 641 w 2537"/>
                  <a:gd name="T99" fmla="*/ 895 h 1672"/>
                  <a:gd name="T100" fmla="*/ 453 w 2537"/>
                  <a:gd name="T101" fmla="*/ 561 h 1672"/>
                  <a:gd name="T102" fmla="*/ 400 w 2537"/>
                  <a:gd name="T103" fmla="*/ 343 h 1672"/>
                  <a:gd name="T104" fmla="*/ 364 w 2537"/>
                  <a:gd name="T105" fmla="*/ 264 h 1672"/>
                  <a:gd name="T106" fmla="*/ 325 w 2537"/>
                  <a:gd name="T107" fmla="*/ 176 h 1672"/>
                  <a:gd name="T108" fmla="*/ 268 w 2537"/>
                  <a:gd name="T109" fmla="*/ 108 h 1672"/>
                  <a:gd name="T110" fmla="*/ 184 w 2537"/>
                  <a:gd name="T111" fmla="*/ 126 h 1672"/>
                  <a:gd name="T112" fmla="*/ 164 w 2537"/>
                  <a:gd name="T113" fmla="*/ 90 h 1672"/>
                  <a:gd name="T114" fmla="*/ 124 w 2537"/>
                  <a:gd name="T115" fmla="*/ 190 h 1672"/>
                  <a:gd name="T116" fmla="*/ 94 w 2537"/>
                  <a:gd name="T117" fmla="*/ 205 h 1672"/>
                  <a:gd name="T118" fmla="*/ 74 w 2537"/>
                  <a:gd name="T119" fmla="*/ 169 h 1672"/>
                  <a:gd name="T120" fmla="*/ 36 w 2537"/>
                  <a:gd name="T121" fmla="*/ 127 h 1672"/>
                  <a:gd name="T122" fmla="*/ 49 w 2537"/>
                  <a:gd name="T123" fmla="*/ 53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7" h="1672">
                    <a:moveTo>
                      <a:pt x="2278" y="174"/>
                    </a:moveTo>
                    <a:lnTo>
                      <a:pt x="2279" y="175"/>
                    </a:lnTo>
                    <a:lnTo>
                      <a:pt x="2280" y="177"/>
                    </a:lnTo>
                    <a:lnTo>
                      <a:pt x="2280" y="181"/>
                    </a:lnTo>
                    <a:lnTo>
                      <a:pt x="2277" y="187"/>
                    </a:lnTo>
                    <a:lnTo>
                      <a:pt x="2275" y="193"/>
                    </a:lnTo>
                    <a:lnTo>
                      <a:pt x="2274" y="199"/>
                    </a:lnTo>
                    <a:lnTo>
                      <a:pt x="2276" y="203"/>
                    </a:lnTo>
                    <a:lnTo>
                      <a:pt x="2278" y="204"/>
                    </a:lnTo>
                    <a:lnTo>
                      <a:pt x="2279" y="204"/>
                    </a:lnTo>
                    <a:lnTo>
                      <a:pt x="2281" y="203"/>
                    </a:lnTo>
                    <a:lnTo>
                      <a:pt x="2282" y="203"/>
                    </a:lnTo>
                    <a:lnTo>
                      <a:pt x="2284" y="203"/>
                    </a:lnTo>
                    <a:lnTo>
                      <a:pt x="2286" y="204"/>
                    </a:lnTo>
                    <a:lnTo>
                      <a:pt x="2288" y="205"/>
                    </a:lnTo>
                    <a:lnTo>
                      <a:pt x="2289" y="206"/>
                    </a:lnTo>
                    <a:lnTo>
                      <a:pt x="2290" y="207"/>
                    </a:lnTo>
                    <a:lnTo>
                      <a:pt x="2290" y="209"/>
                    </a:lnTo>
                    <a:lnTo>
                      <a:pt x="2291" y="211"/>
                    </a:lnTo>
                    <a:lnTo>
                      <a:pt x="2291" y="215"/>
                    </a:lnTo>
                    <a:lnTo>
                      <a:pt x="2290" y="217"/>
                    </a:lnTo>
                    <a:lnTo>
                      <a:pt x="2289" y="220"/>
                    </a:lnTo>
                    <a:lnTo>
                      <a:pt x="2288" y="222"/>
                    </a:lnTo>
                    <a:lnTo>
                      <a:pt x="2287" y="226"/>
                    </a:lnTo>
                    <a:lnTo>
                      <a:pt x="2286" y="229"/>
                    </a:lnTo>
                    <a:lnTo>
                      <a:pt x="2285" y="233"/>
                    </a:lnTo>
                    <a:lnTo>
                      <a:pt x="2284" y="237"/>
                    </a:lnTo>
                    <a:lnTo>
                      <a:pt x="2284" y="239"/>
                    </a:lnTo>
                    <a:lnTo>
                      <a:pt x="2283" y="241"/>
                    </a:lnTo>
                    <a:lnTo>
                      <a:pt x="2283" y="243"/>
                    </a:lnTo>
                    <a:lnTo>
                      <a:pt x="2284" y="245"/>
                    </a:lnTo>
                    <a:lnTo>
                      <a:pt x="2286" y="246"/>
                    </a:lnTo>
                    <a:lnTo>
                      <a:pt x="2288" y="247"/>
                    </a:lnTo>
                    <a:lnTo>
                      <a:pt x="2290" y="249"/>
                    </a:lnTo>
                    <a:lnTo>
                      <a:pt x="2290" y="250"/>
                    </a:lnTo>
                    <a:lnTo>
                      <a:pt x="2290" y="251"/>
                    </a:lnTo>
                    <a:lnTo>
                      <a:pt x="2291" y="253"/>
                    </a:lnTo>
                    <a:lnTo>
                      <a:pt x="2291" y="256"/>
                    </a:lnTo>
                    <a:lnTo>
                      <a:pt x="2291" y="259"/>
                    </a:lnTo>
                    <a:lnTo>
                      <a:pt x="2292" y="261"/>
                    </a:lnTo>
                    <a:lnTo>
                      <a:pt x="2292" y="262"/>
                    </a:lnTo>
                    <a:lnTo>
                      <a:pt x="2293" y="264"/>
                    </a:lnTo>
                    <a:lnTo>
                      <a:pt x="2293" y="265"/>
                    </a:lnTo>
                    <a:lnTo>
                      <a:pt x="2293" y="267"/>
                    </a:lnTo>
                    <a:lnTo>
                      <a:pt x="2294" y="270"/>
                    </a:lnTo>
                    <a:lnTo>
                      <a:pt x="2294" y="273"/>
                    </a:lnTo>
                    <a:lnTo>
                      <a:pt x="2294" y="275"/>
                    </a:lnTo>
                    <a:lnTo>
                      <a:pt x="2294" y="277"/>
                    </a:lnTo>
                    <a:lnTo>
                      <a:pt x="2295" y="278"/>
                    </a:lnTo>
                    <a:lnTo>
                      <a:pt x="2296" y="280"/>
                    </a:lnTo>
                    <a:lnTo>
                      <a:pt x="2297" y="282"/>
                    </a:lnTo>
                    <a:lnTo>
                      <a:pt x="2298" y="284"/>
                    </a:lnTo>
                    <a:lnTo>
                      <a:pt x="2299" y="285"/>
                    </a:lnTo>
                    <a:lnTo>
                      <a:pt x="2299" y="286"/>
                    </a:lnTo>
                    <a:lnTo>
                      <a:pt x="2300" y="290"/>
                    </a:lnTo>
                    <a:lnTo>
                      <a:pt x="2301" y="294"/>
                    </a:lnTo>
                    <a:lnTo>
                      <a:pt x="2303" y="298"/>
                    </a:lnTo>
                    <a:lnTo>
                      <a:pt x="2305" y="306"/>
                    </a:lnTo>
                    <a:lnTo>
                      <a:pt x="2307" y="315"/>
                    </a:lnTo>
                    <a:lnTo>
                      <a:pt x="2309" y="318"/>
                    </a:lnTo>
                    <a:lnTo>
                      <a:pt x="2310" y="321"/>
                    </a:lnTo>
                    <a:lnTo>
                      <a:pt x="2312" y="326"/>
                    </a:lnTo>
                    <a:lnTo>
                      <a:pt x="2315" y="332"/>
                    </a:lnTo>
                    <a:lnTo>
                      <a:pt x="2315" y="339"/>
                    </a:lnTo>
                    <a:lnTo>
                      <a:pt x="2314" y="348"/>
                    </a:lnTo>
                    <a:lnTo>
                      <a:pt x="2312" y="353"/>
                    </a:lnTo>
                    <a:lnTo>
                      <a:pt x="2311" y="358"/>
                    </a:lnTo>
                    <a:lnTo>
                      <a:pt x="2310" y="364"/>
                    </a:lnTo>
                    <a:lnTo>
                      <a:pt x="2310" y="367"/>
                    </a:lnTo>
                    <a:lnTo>
                      <a:pt x="2310" y="369"/>
                    </a:lnTo>
                    <a:lnTo>
                      <a:pt x="2309" y="370"/>
                    </a:lnTo>
                    <a:lnTo>
                      <a:pt x="2308" y="371"/>
                    </a:lnTo>
                    <a:lnTo>
                      <a:pt x="2307" y="372"/>
                    </a:lnTo>
                    <a:lnTo>
                      <a:pt x="2305" y="374"/>
                    </a:lnTo>
                    <a:lnTo>
                      <a:pt x="2304" y="374"/>
                    </a:lnTo>
                    <a:lnTo>
                      <a:pt x="2303" y="373"/>
                    </a:lnTo>
                    <a:lnTo>
                      <a:pt x="2302" y="372"/>
                    </a:lnTo>
                    <a:lnTo>
                      <a:pt x="2301" y="370"/>
                    </a:lnTo>
                    <a:lnTo>
                      <a:pt x="2297" y="370"/>
                    </a:lnTo>
                    <a:lnTo>
                      <a:pt x="2297" y="371"/>
                    </a:lnTo>
                    <a:lnTo>
                      <a:pt x="2297" y="371"/>
                    </a:lnTo>
                    <a:lnTo>
                      <a:pt x="2296" y="372"/>
                    </a:lnTo>
                    <a:lnTo>
                      <a:pt x="2295" y="372"/>
                    </a:lnTo>
                    <a:lnTo>
                      <a:pt x="2294" y="374"/>
                    </a:lnTo>
                    <a:lnTo>
                      <a:pt x="2291" y="374"/>
                    </a:lnTo>
                    <a:lnTo>
                      <a:pt x="2289" y="374"/>
                    </a:lnTo>
                    <a:lnTo>
                      <a:pt x="2288" y="374"/>
                    </a:lnTo>
                    <a:lnTo>
                      <a:pt x="2285" y="375"/>
                    </a:lnTo>
                    <a:lnTo>
                      <a:pt x="2283" y="376"/>
                    </a:lnTo>
                    <a:lnTo>
                      <a:pt x="2281" y="378"/>
                    </a:lnTo>
                    <a:lnTo>
                      <a:pt x="2280" y="381"/>
                    </a:lnTo>
                    <a:lnTo>
                      <a:pt x="2278" y="383"/>
                    </a:lnTo>
                    <a:lnTo>
                      <a:pt x="2276" y="384"/>
                    </a:lnTo>
                    <a:lnTo>
                      <a:pt x="2274" y="385"/>
                    </a:lnTo>
                    <a:lnTo>
                      <a:pt x="2272" y="386"/>
                    </a:lnTo>
                    <a:lnTo>
                      <a:pt x="2270" y="387"/>
                    </a:lnTo>
                    <a:lnTo>
                      <a:pt x="2268" y="387"/>
                    </a:lnTo>
                    <a:lnTo>
                      <a:pt x="2267" y="386"/>
                    </a:lnTo>
                    <a:lnTo>
                      <a:pt x="2265" y="382"/>
                    </a:lnTo>
                    <a:lnTo>
                      <a:pt x="2267" y="376"/>
                    </a:lnTo>
                    <a:lnTo>
                      <a:pt x="2270" y="372"/>
                    </a:lnTo>
                    <a:lnTo>
                      <a:pt x="2274" y="368"/>
                    </a:lnTo>
                    <a:lnTo>
                      <a:pt x="2276" y="366"/>
                    </a:lnTo>
                    <a:lnTo>
                      <a:pt x="2278" y="363"/>
                    </a:lnTo>
                    <a:lnTo>
                      <a:pt x="2281" y="358"/>
                    </a:lnTo>
                    <a:lnTo>
                      <a:pt x="2282" y="353"/>
                    </a:lnTo>
                    <a:lnTo>
                      <a:pt x="2280" y="348"/>
                    </a:lnTo>
                    <a:lnTo>
                      <a:pt x="2280" y="348"/>
                    </a:lnTo>
                    <a:lnTo>
                      <a:pt x="2279" y="349"/>
                    </a:lnTo>
                    <a:lnTo>
                      <a:pt x="2278" y="349"/>
                    </a:lnTo>
                    <a:lnTo>
                      <a:pt x="2277" y="349"/>
                    </a:lnTo>
                    <a:lnTo>
                      <a:pt x="2276" y="348"/>
                    </a:lnTo>
                    <a:lnTo>
                      <a:pt x="2276" y="342"/>
                    </a:lnTo>
                    <a:lnTo>
                      <a:pt x="2275" y="340"/>
                    </a:lnTo>
                    <a:lnTo>
                      <a:pt x="2274" y="339"/>
                    </a:lnTo>
                    <a:lnTo>
                      <a:pt x="2274" y="337"/>
                    </a:lnTo>
                    <a:lnTo>
                      <a:pt x="2274" y="336"/>
                    </a:lnTo>
                    <a:lnTo>
                      <a:pt x="2274" y="333"/>
                    </a:lnTo>
                    <a:lnTo>
                      <a:pt x="2274" y="330"/>
                    </a:lnTo>
                    <a:lnTo>
                      <a:pt x="2274" y="328"/>
                    </a:lnTo>
                    <a:lnTo>
                      <a:pt x="2273" y="325"/>
                    </a:lnTo>
                    <a:lnTo>
                      <a:pt x="2272" y="321"/>
                    </a:lnTo>
                    <a:lnTo>
                      <a:pt x="2271" y="317"/>
                    </a:lnTo>
                    <a:lnTo>
                      <a:pt x="2271" y="313"/>
                    </a:lnTo>
                    <a:lnTo>
                      <a:pt x="2271" y="309"/>
                    </a:lnTo>
                    <a:lnTo>
                      <a:pt x="2271" y="308"/>
                    </a:lnTo>
                    <a:lnTo>
                      <a:pt x="2272" y="310"/>
                    </a:lnTo>
                    <a:lnTo>
                      <a:pt x="2273" y="311"/>
                    </a:lnTo>
                    <a:lnTo>
                      <a:pt x="2275" y="313"/>
                    </a:lnTo>
                    <a:lnTo>
                      <a:pt x="2276" y="315"/>
                    </a:lnTo>
                    <a:lnTo>
                      <a:pt x="2277" y="317"/>
                    </a:lnTo>
                    <a:lnTo>
                      <a:pt x="2279" y="317"/>
                    </a:lnTo>
                    <a:lnTo>
                      <a:pt x="2280" y="317"/>
                    </a:lnTo>
                    <a:lnTo>
                      <a:pt x="2281" y="314"/>
                    </a:lnTo>
                    <a:lnTo>
                      <a:pt x="2281" y="311"/>
                    </a:lnTo>
                    <a:lnTo>
                      <a:pt x="2281" y="308"/>
                    </a:lnTo>
                    <a:lnTo>
                      <a:pt x="2280" y="305"/>
                    </a:lnTo>
                    <a:lnTo>
                      <a:pt x="2280" y="302"/>
                    </a:lnTo>
                    <a:lnTo>
                      <a:pt x="2281" y="300"/>
                    </a:lnTo>
                    <a:lnTo>
                      <a:pt x="2281" y="299"/>
                    </a:lnTo>
                    <a:lnTo>
                      <a:pt x="2281" y="298"/>
                    </a:lnTo>
                    <a:lnTo>
                      <a:pt x="2281" y="296"/>
                    </a:lnTo>
                    <a:lnTo>
                      <a:pt x="2280" y="294"/>
                    </a:lnTo>
                    <a:lnTo>
                      <a:pt x="2280" y="293"/>
                    </a:lnTo>
                    <a:lnTo>
                      <a:pt x="2280" y="291"/>
                    </a:lnTo>
                    <a:lnTo>
                      <a:pt x="2279" y="289"/>
                    </a:lnTo>
                    <a:lnTo>
                      <a:pt x="2278" y="286"/>
                    </a:lnTo>
                    <a:lnTo>
                      <a:pt x="2278" y="285"/>
                    </a:lnTo>
                    <a:lnTo>
                      <a:pt x="2278" y="283"/>
                    </a:lnTo>
                    <a:lnTo>
                      <a:pt x="2278" y="281"/>
                    </a:lnTo>
                    <a:lnTo>
                      <a:pt x="2278" y="279"/>
                    </a:lnTo>
                    <a:lnTo>
                      <a:pt x="2278" y="277"/>
                    </a:lnTo>
                    <a:lnTo>
                      <a:pt x="2277" y="276"/>
                    </a:lnTo>
                    <a:lnTo>
                      <a:pt x="2276" y="276"/>
                    </a:lnTo>
                    <a:lnTo>
                      <a:pt x="2274" y="276"/>
                    </a:lnTo>
                    <a:lnTo>
                      <a:pt x="2274" y="277"/>
                    </a:lnTo>
                    <a:lnTo>
                      <a:pt x="2273" y="277"/>
                    </a:lnTo>
                    <a:lnTo>
                      <a:pt x="2271" y="278"/>
                    </a:lnTo>
                    <a:lnTo>
                      <a:pt x="2270" y="279"/>
                    </a:lnTo>
                    <a:lnTo>
                      <a:pt x="2269" y="278"/>
                    </a:lnTo>
                    <a:lnTo>
                      <a:pt x="2267" y="276"/>
                    </a:lnTo>
                    <a:lnTo>
                      <a:pt x="2267" y="274"/>
                    </a:lnTo>
                    <a:lnTo>
                      <a:pt x="2267" y="272"/>
                    </a:lnTo>
                    <a:lnTo>
                      <a:pt x="2268" y="270"/>
                    </a:lnTo>
                    <a:lnTo>
                      <a:pt x="2269" y="269"/>
                    </a:lnTo>
                    <a:lnTo>
                      <a:pt x="2269" y="266"/>
                    </a:lnTo>
                    <a:lnTo>
                      <a:pt x="2271" y="263"/>
                    </a:lnTo>
                    <a:lnTo>
                      <a:pt x="2270" y="261"/>
                    </a:lnTo>
                    <a:lnTo>
                      <a:pt x="2270" y="260"/>
                    </a:lnTo>
                    <a:lnTo>
                      <a:pt x="2269" y="258"/>
                    </a:lnTo>
                    <a:lnTo>
                      <a:pt x="2269" y="255"/>
                    </a:lnTo>
                    <a:lnTo>
                      <a:pt x="2268" y="253"/>
                    </a:lnTo>
                    <a:lnTo>
                      <a:pt x="2268" y="251"/>
                    </a:lnTo>
                    <a:lnTo>
                      <a:pt x="2267" y="251"/>
                    </a:lnTo>
                    <a:lnTo>
                      <a:pt x="2266" y="251"/>
                    </a:lnTo>
                    <a:lnTo>
                      <a:pt x="2265" y="250"/>
                    </a:lnTo>
                    <a:lnTo>
                      <a:pt x="2263" y="250"/>
                    </a:lnTo>
                    <a:lnTo>
                      <a:pt x="2263" y="249"/>
                    </a:lnTo>
                    <a:lnTo>
                      <a:pt x="2262" y="247"/>
                    </a:lnTo>
                    <a:lnTo>
                      <a:pt x="2262" y="245"/>
                    </a:lnTo>
                    <a:lnTo>
                      <a:pt x="2262" y="242"/>
                    </a:lnTo>
                    <a:lnTo>
                      <a:pt x="2263" y="240"/>
                    </a:lnTo>
                    <a:lnTo>
                      <a:pt x="2265" y="238"/>
                    </a:lnTo>
                    <a:lnTo>
                      <a:pt x="2265" y="237"/>
                    </a:lnTo>
                    <a:lnTo>
                      <a:pt x="2262" y="235"/>
                    </a:lnTo>
                    <a:lnTo>
                      <a:pt x="2261" y="235"/>
                    </a:lnTo>
                    <a:lnTo>
                      <a:pt x="2260" y="235"/>
                    </a:lnTo>
                    <a:lnTo>
                      <a:pt x="2259" y="233"/>
                    </a:lnTo>
                    <a:lnTo>
                      <a:pt x="2258" y="231"/>
                    </a:lnTo>
                    <a:lnTo>
                      <a:pt x="2258" y="228"/>
                    </a:lnTo>
                    <a:lnTo>
                      <a:pt x="2258" y="226"/>
                    </a:lnTo>
                    <a:lnTo>
                      <a:pt x="2259" y="224"/>
                    </a:lnTo>
                    <a:lnTo>
                      <a:pt x="2260" y="222"/>
                    </a:lnTo>
                    <a:lnTo>
                      <a:pt x="2260" y="220"/>
                    </a:lnTo>
                    <a:lnTo>
                      <a:pt x="2260" y="219"/>
                    </a:lnTo>
                    <a:lnTo>
                      <a:pt x="2259" y="218"/>
                    </a:lnTo>
                    <a:lnTo>
                      <a:pt x="2258" y="216"/>
                    </a:lnTo>
                    <a:lnTo>
                      <a:pt x="2258" y="215"/>
                    </a:lnTo>
                    <a:lnTo>
                      <a:pt x="2259" y="211"/>
                    </a:lnTo>
                    <a:lnTo>
                      <a:pt x="2259" y="209"/>
                    </a:lnTo>
                    <a:lnTo>
                      <a:pt x="2260" y="207"/>
                    </a:lnTo>
                    <a:lnTo>
                      <a:pt x="2260" y="205"/>
                    </a:lnTo>
                    <a:lnTo>
                      <a:pt x="2260" y="202"/>
                    </a:lnTo>
                    <a:lnTo>
                      <a:pt x="2261" y="199"/>
                    </a:lnTo>
                    <a:lnTo>
                      <a:pt x="2262" y="195"/>
                    </a:lnTo>
                    <a:lnTo>
                      <a:pt x="2262" y="191"/>
                    </a:lnTo>
                    <a:lnTo>
                      <a:pt x="2262" y="186"/>
                    </a:lnTo>
                    <a:lnTo>
                      <a:pt x="2265" y="180"/>
                    </a:lnTo>
                    <a:lnTo>
                      <a:pt x="2267" y="175"/>
                    </a:lnTo>
                    <a:lnTo>
                      <a:pt x="2268" y="177"/>
                    </a:lnTo>
                    <a:lnTo>
                      <a:pt x="2270" y="179"/>
                    </a:lnTo>
                    <a:lnTo>
                      <a:pt x="2271" y="179"/>
                    </a:lnTo>
                    <a:lnTo>
                      <a:pt x="2272" y="178"/>
                    </a:lnTo>
                    <a:lnTo>
                      <a:pt x="2274" y="177"/>
                    </a:lnTo>
                    <a:lnTo>
                      <a:pt x="2275" y="176"/>
                    </a:lnTo>
                    <a:lnTo>
                      <a:pt x="2276" y="175"/>
                    </a:lnTo>
                    <a:lnTo>
                      <a:pt x="2277" y="174"/>
                    </a:lnTo>
                    <a:lnTo>
                      <a:pt x="2278" y="174"/>
                    </a:lnTo>
                    <a:close/>
                    <a:moveTo>
                      <a:pt x="1213" y="167"/>
                    </a:moveTo>
                    <a:lnTo>
                      <a:pt x="1215" y="168"/>
                    </a:lnTo>
                    <a:lnTo>
                      <a:pt x="1216" y="169"/>
                    </a:lnTo>
                    <a:lnTo>
                      <a:pt x="1216" y="171"/>
                    </a:lnTo>
                    <a:lnTo>
                      <a:pt x="1217" y="173"/>
                    </a:lnTo>
                    <a:lnTo>
                      <a:pt x="1216" y="174"/>
                    </a:lnTo>
                    <a:lnTo>
                      <a:pt x="1215" y="174"/>
                    </a:lnTo>
                    <a:lnTo>
                      <a:pt x="1213" y="174"/>
                    </a:lnTo>
                    <a:lnTo>
                      <a:pt x="1211" y="173"/>
                    </a:lnTo>
                    <a:lnTo>
                      <a:pt x="1210" y="171"/>
                    </a:lnTo>
                    <a:lnTo>
                      <a:pt x="1210" y="169"/>
                    </a:lnTo>
                    <a:lnTo>
                      <a:pt x="1211" y="168"/>
                    </a:lnTo>
                    <a:lnTo>
                      <a:pt x="1213" y="167"/>
                    </a:lnTo>
                    <a:close/>
                    <a:moveTo>
                      <a:pt x="2278" y="159"/>
                    </a:moveTo>
                    <a:lnTo>
                      <a:pt x="2279" y="159"/>
                    </a:lnTo>
                    <a:lnTo>
                      <a:pt x="2280" y="159"/>
                    </a:lnTo>
                    <a:lnTo>
                      <a:pt x="2280" y="160"/>
                    </a:lnTo>
                    <a:lnTo>
                      <a:pt x="2281" y="162"/>
                    </a:lnTo>
                    <a:lnTo>
                      <a:pt x="2282" y="164"/>
                    </a:lnTo>
                    <a:lnTo>
                      <a:pt x="2282" y="166"/>
                    </a:lnTo>
                    <a:lnTo>
                      <a:pt x="2281" y="168"/>
                    </a:lnTo>
                    <a:lnTo>
                      <a:pt x="2280" y="169"/>
                    </a:lnTo>
                    <a:lnTo>
                      <a:pt x="2280" y="171"/>
                    </a:lnTo>
                    <a:lnTo>
                      <a:pt x="2279" y="171"/>
                    </a:lnTo>
                    <a:lnTo>
                      <a:pt x="2279" y="170"/>
                    </a:lnTo>
                    <a:lnTo>
                      <a:pt x="2277" y="169"/>
                    </a:lnTo>
                    <a:lnTo>
                      <a:pt x="2277" y="167"/>
                    </a:lnTo>
                    <a:lnTo>
                      <a:pt x="2276" y="165"/>
                    </a:lnTo>
                    <a:lnTo>
                      <a:pt x="2276" y="162"/>
                    </a:lnTo>
                    <a:lnTo>
                      <a:pt x="2276" y="160"/>
                    </a:lnTo>
                    <a:lnTo>
                      <a:pt x="2277" y="159"/>
                    </a:lnTo>
                    <a:lnTo>
                      <a:pt x="2278" y="159"/>
                    </a:lnTo>
                    <a:close/>
                    <a:moveTo>
                      <a:pt x="36" y="143"/>
                    </a:moveTo>
                    <a:lnTo>
                      <a:pt x="38" y="143"/>
                    </a:lnTo>
                    <a:lnTo>
                      <a:pt x="39" y="144"/>
                    </a:lnTo>
                    <a:lnTo>
                      <a:pt x="40" y="146"/>
                    </a:lnTo>
                    <a:lnTo>
                      <a:pt x="39" y="149"/>
                    </a:lnTo>
                    <a:lnTo>
                      <a:pt x="38" y="151"/>
                    </a:lnTo>
                    <a:lnTo>
                      <a:pt x="37" y="154"/>
                    </a:lnTo>
                    <a:lnTo>
                      <a:pt x="36" y="157"/>
                    </a:lnTo>
                    <a:lnTo>
                      <a:pt x="35" y="159"/>
                    </a:lnTo>
                    <a:lnTo>
                      <a:pt x="34" y="161"/>
                    </a:lnTo>
                    <a:lnTo>
                      <a:pt x="33" y="161"/>
                    </a:lnTo>
                    <a:lnTo>
                      <a:pt x="33" y="161"/>
                    </a:lnTo>
                    <a:lnTo>
                      <a:pt x="32" y="160"/>
                    </a:lnTo>
                    <a:lnTo>
                      <a:pt x="31" y="158"/>
                    </a:lnTo>
                    <a:lnTo>
                      <a:pt x="31" y="155"/>
                    </a:lnTo>
                    <a:lnTo>
                      <a:pt x="30" y="154"/>
                    </a:lnTo>
                    <a:lnTo>
                      <a:pt x="29" y="153"/>
                    </a:lnTo>
                    <a:lnTo>
                      <a:pt x="28" y="152"/>
                    </a:lnTo>
                    <a:lnTo>
                      <a:pt x="28" y="149"/>
                    </a:lnTo>
                    <a:lnTo>
                      <a:pt x="28" y="147"/>
                    </a:lnTo>
                    <a:lnTo>
                      <a:pt x="29" y="145"/>
                    </a:lnTo>
                    <a:lnTo>
                      <a:pt x="31" y="144"/>
                    </a:lnTo>
                    <a:lnTo>
                      <a:pt x="34" y="143"/>
                    </a:lnTo>
                    <a:lnTo>
                      <a:pt x="36" y="143"/>
                    </a:lnTo>
                    <a:close/>
                    <a:moveTo>
                      <a:pt x="2293" y="124"/>
                    </a:moveTo>
                    <a:lnTo>
                      <a:pt x="2294" y="124"/>
                    </a:lnTo>
                    <a:lnTo>
                      <a:pt x="2296" y="124"/>
                    </a:lnTo>
                    <a:lnTo>
                      <a:pt x="2298" y="124"/>
                    </a:lnTo>
                    <a:lnTo>
                      <a:pt x="2299" y="125"/>
                    </a:lnTo>
                    <a:lnTo>
                      <a:pt x="2299" y="127"/>
                    </a:lnTo>
                    <a:lnTo>
                      <a:pt x="2299" y="129"/>
                    </a:lnTo>
                    <a:lnTo>
                      <a:pt x="2298" y="132"/>
                    </a:lnTo>
                    <a:lnTo>
                      <a:pt x="2297" y="135"/>
                    </a:lnTo>
                    <a:lnTo>
                      <a:pt x="2296" y="137"/>
                    </a:lnTo>
                    <a:lnTo>
                      <a:pt x="2295" y="139"/>
                    </a:lnTo>
                    <a:lnTo>
                      <a:pt x="2294" y="139"/>
                    </a:lnTo>
                    <a:lnTo>
                      <a:pt x="2294" y="137"/>
                    </a:lnTo>
                    <a:lnTo>
                      <a:pt x="2293" y="135"/>
                    </a:lnTo>
                    <a:lnTo>
                      <a:pt x="2292" y="132"/>
                    </a:lnTo>
                    <a:lnTo>
                      <a:pt x="2292" y="129"/>
                    </a:lnTo>
                    <a:lnTo>
                      <a:pt x="2292" y="126"/>
                    </a:lnTo>
                    <a:lnTo>
                      <a:pt x="2292" y="124"/>
                    </a:lnTo>
                    <a:lnTo>
                      <a:pt x="2293" y="124"/>
                    </a:lnTo>
                    <a:close/>
                    <a:moveTo>
                      <a:pt x="2504" y="116"/>
                    </a:moveTo>
                    <a:lnTo>
                      <a:pt x="2502" y="117"/>
                    </a:lnTo>
                    <a:lnTo>
                      <a:pt x="2502" y="120"/>
                    </a:lnTo>
                    <a:lnTo>
                      <a:pt x="2503" y="125"/>
                    </a:lnTo>
                    <a:lnTo>
                      <a:pt x="2504" y="130"/>
                    </a:lnTo>
                    <a:lnTo>
                      <a:pt x="2504" y="134"/>
                    </a:lnTo>
                    <a:lnTo>
                      <a:pt x="2506" y="138"/>
                    </a:lnTo>
                    <a:lnTo>
                      <a:pt x="2508" y="142"/>
                    </a:lnTo>
                    <a:lnTo>
                      <a:pt x="2508" y="146"/>
                    </a:lnTo>
                    <a:lnTo>
                      <a:pt x="2509" y="149"/>
                    </a:lnTo>
                    <a:lnTo>
                      <a:pt x="2509" y="152"/>
                    </a:lnTo>
                    <a:lnTo>
                      <a:pt x="2509" y="155"/>
                    </a:lnTo>
                    <a:lnTo>
                      <a:pt x="2510" y="159"/>
                    </a:lnTo>
                    <a:lnTo>
                      <a:pt x="2511" y="160"/>
                    </a:lnTo>
                    <a:lnTo>
                      <a:pt x="2513" y="161"/>
                    </a:lnTo>
                    <a:lnTo>
                      <a:pt x="2514" y="160"/>
                    </a:lnTo>
                    <a:lnTo>
                      <a:pt x="2515" y="159"/>
                    </a:lnTo>
                    <a:lnTo>
                      <a:pt x="2516" y="158"/>
                    </a:lnTo>
                    <a:lnTo>
                      <a:pt x="2516" y="157"/>
                    </a:lnTo>
                    <a:lnTo>
                      <a:pt x="2516" y="154"/>
                    </a:lnTo>
                    <a:lnTo>
                      <a:pt x="2516" y="152"/>
                    </a:lnTo>
                    <a:lnTo>
                      <a:pt x="2517" y="150"/>
                    </a:lnTo>
                    <a:lnTo>
                      <a:pt x="2518" y="148"/>
                    </a:lnTo>
                    <a:lnTo>
                      <a:pt x="2518" y="142"/>
                    </a:lnTo>
                    <a:lnTo>
                      <a:pt x="2519" y="140"/>
                    </a:lnTo>
                    <a:lnTo>
                      <a:pt x="2519" y="138"/>
                    </a:lnTo>
                    <a:lnTo>
                      <a:pt x="2519" y="136"/>
                    </a:lnTo>
                    <a:lnTo>
                      <a:pt x="2518" y="134"/>
                    </a:lnTo>
                    <a:lnTo>
                      <a:pt x="2518" y="132"/>
                    </a:lnTo>
                    <a:lnTo>
                      <a:pt x="2517" y="131"/>
                    </a:lnTo>
                    <a:lnTo>
                      <a:pt x="2515" y="130"/>
                    </a:lnTo>
                    <a:lnTo>
                      <a:pt x="2514" y="128"/>
                    </a:lnTo>
                    <a:lnTo>
                      <a:pt x="2512" y="126"/>
                    </a:lnTo>
                    <a:lnTo>
                      <a:pt x="2512" y="124"/>
                    </a:lnTo>
                    <a:lnTo>
                      <a:pt x="2512" y="122"/>
                    </a:lnTo>
                    <a:lnTo>
                      <a:pt x="2511" y="120"/>
                    </a:lnTo>
                    <a:lnTo>
                      <a:pt x="2510" y="118"/>
                    </a:lnTo>
                    <a:lnTo>
                      <a:pt x="2508" y="118"/>
                    </a:lnTo>
                    <a:lnTo>
                      <a:pt x="2506" y="117"/>
                    </a:lnTo>
                    <a:lnTo>
                      <a:pt x="2504" y="116"/>
                    </a:lnTo>
                    <a:close/>
                    <a:moveTo>
                      <a:pt x="677" y="105"/>
                    </a:moveTo>
                    <a:lnTo>
                      <a:pt x="675" y="105"/>
                    </a:lnTo>
                    <a:lnTo>
                      <a:pt x="674" y="107"/>
                    </a:lnTo>
                    <a:lnTo>
                      <a:pt x="672" y="110"/>
                    </a:lnTo>
                    <a:lnTo>
                      <a:pt x="665" y="118"/>
                    </a:lnTo>
                    <a:lnTo>
                      <a:pt x="659" y="124"/>
                    </a:lnTo>
                    <a:lnTo>
                      <a:pt x="654" y="130"/>
                    </a:lnTo>
                    <a:lnTo>
                      <a:pt x="651" y="138"/>
                    </a:lnTo>
                    <a:lnTo>
                      <a:pt x="651" y="141"/>
                    </a:lnTo>
                    <a:lnTo>
                      <a:pt x="651" y="142"/>
                    </a:lnTo>
                    <a:lnTo>
                      <a:pt x="651" y="143"/>
                    </a:lnTo>
                    <a:lnTo>
                      <a:pt x="652" y="143"/>
                    </a:lnTo>
                    <a:lnTo>
                      <a:pt x="653" y="142"/>
                    </a:lnTo>
                    <a:lnTo>
                      <a:pt x="654" y="141"/>
                    </a:lnTo>
                    <a:lnTo>
                      <a:pt x="655" y="140"/>
                    </a:lnTo>
                    <a:lnTo>
                      <a:pt x="656" y="138"/>
                    </a:lnTo>
                    <a:lnTo>
                      <a:pt x="657" y="137"/>
                    </a:lnTo>
                    <a:lnTo>
                      <a:pt x="658" y="135"/>
                    </a:lnTo>
                    <a:lnTo>
                      <a:pt x="659" y="134"/>
                    </a:lnTo>
                    <a:lnTo>
                      <a:pt x="663" y="131"/>
                    </a:lnTo>
                    <a:lnTo>
                      <a:pt x="669" y="129"/>
                    </a:lnTo>
                    <a:lnTo>
                      <a:pt x="674" y="129"/>
                    </a:lnTo>
                    <a:lnTo>
                      <a:pt x="679" y="127"/>
                    </a:lnTo>
                    <a:lnTo>
                      <a:pt x="682" y="124"/>
                    </a:lnTo>
                    <a:lnTo>
                      <a:pt x="683" y="121"/>
                    </a:lnTo>
                    <a:lnTo>
                      <a:pt x="684" y="118"/>
                    </a:lnTo>
                    <a:lnTo>
                      <a:pt x="684" y="115"/>
                    </a:lnTo>
                    <a:lnTo>
                      <a:pt x="683" y="112"/>
                    </a:lnTo>
                    <a:lnTo>
                      <a:pt x="682" y="109"/>
                    </a:lnTo>
                    <a:lnTo>
                      <a:pt x="681" y="107"/>
                    </a:lnTo>
                    <a:lnTo>
                      <a:pt x="679" y="105"/>
                    </a:lnTo>
                    <a:lnTo>
                      <a:pt x="677" y="105"/>
                    </a:lnTo>
                    <a:close/>
                    <a:moveTo>
                      <a:pt x="2527" y="95"/>
                    </a:moveTo>
                    <a:lnTo>
                      <a:pt x="2526" y="96"/>
                    </a:lnTo>
                    <a:lnTo>
                      <a:pt x="2525" y="97"/>
                    </a:lnTo>
                    <a:lnTo>
                      <a:pt x="2525" y="110"/>
                    </a:lnTo>
                    <a:lnTo>
                      <a:pt x="2525" y="112"/>
                    </a:lnTo>
                    <a:lnTo>
                      <a:pt x="2525" y="114"/>
                    </a:lnTo>
                    <a:lnTo>
                      <a:pt x="2526" y="116"/>
                    </a:lnTo>
                    <a:lnTo>
                      <a:pt x="2527" y="118"/>
                    </a:lnTo>
                    <a:lnTo>
                      <a:pt x="2527" y="121"/>
                    </a:lnTo>
                    <a:lnTo>
                      <a:pt x="2528" y="123"/>
                    </a:lnTo>
                    <a:lnTo>
                      <a:pt x="2530" y="125"/>
                    </a:lnTo>
                    <a:lnTo>
                      <a:pt x="2531" y="128"/>
                    </a:lnTo>
                    <a:lnTo>
                      <a:pt x="2532" y="131"/>
                    </a:lnTo>
                    <a:lnTo>
                      <a:pt x="2533" y="133"/>
                    </a:lnTo>
                    <a:lnTo>
                      <a:pt x="2534" y="135"/>
                    </a:lnTo>
                    <a:lnTo>
                      <a:pt x="2535" y="138"/>
                    </a:lnTo>
                    <a:lnTo>
                      <a:pt x="2535" y="138"/>
                    </a:lnTo>
                    <a:lnTo>
                      <a:pt x="2535" y="137"/>
                    </a:lnTo>
                    <a:lnTo>
                      <a:pt x="2536" y="136"/>
                    </a:lnTo>
                    <a:lnTo>
                      <a:pt x="2537" y="136"/>
                    </a:lnTo>
                    <a:lnTo>
                      <a:pt x="2537" y="132"/>
                    </a:lnTo>
                    <a:lnTo>
                      <a:pt x="2536" y="128"/>
                    </a:lnTo>
                    <a:lnTo>
                      <a:pt x="2535" y="124"/>
                    </a:lnTo>
                    <a:lnTo>
                      <a:pt x="2534" y="120"/>
                    </a:lnTo>
                    <a:lnTo>
                      <a:pt x="2533" y="116"/>
                    </a:lnTo>
                    <a:lnTo>
                      <a:pt x="2533" y="112"/>
                    </a:lnTo>
                    <a:lnTo>
                      <a:pt x="2533" y="111"/>
                    </a:lnTo>
                    <a:lnTo>
                      <a:pt x="2532" y="108"/>
                    </a:lnTo>
                    <a:lnTo>
                      <a:pt x="2531" y="106"/>
                    </a:lnTo>
                    <a:lnTo>
                      <a:pt x="2530" y="103"/>
                    </a:lnTo>
                    <a:lnTo>
                      <a:pt x="2529" y="101"/>
                    </a:lnTo>
                    <a:lnTo>
                      <a:pt x="2528" y="98"/>
                    </a:lnTo>
                    <a:lnTo>
                      <a:pt x="2527" y="96"/>
                    </a:lnTo>
                    <a:lnTo>
                      <a:pt x="2527" y="95"/>
                    </a:lnTo>
                    <a:close/>
                    <a:moveTo>
                      <a:pt x="1209" y="80"/>
                    </a:moveTo>
                    <a:lnTo>
                      <a:pt x="1211" y="82"/>
                    </a:lnTo>
                    <a:lnTo>
                      <a:pt x="1212" y="84"/>
                    </a:lnTo>
                    <a:lnTo>
                      <a:pt x="1212" y="86"/>
                    </a:lnTo>
                    <a:lnTo>
                      <a:pt x="1211" y="88"/>
                    </a:lnTo>
                    <a:lnTo>
                      <a:pt x="1210" y="90"/>
                    </a:lnTo>
                    <a:lnTo>
                      <a:pt x="1208" y="91"/>
                    </a:lnTo>
                    <a:lnTo>
                      <a:pt x="1206" y="93"/>
                    </a:lnTo>
                    <a:lnTo>
                      <a:pt x="1204" y="94"/>
                    </a:lnTo>
                    <a:lnTo>
                      <a:pt x="1203" y="95"/>
                    </a:lnTo>
                    <a:lnTo>
                      <a:pt x="1197" y="104"/>
                    </a:lnTo>
                    <a:lnTo>
                      <a:pt x="1192" y="113"/>
                    </a:lnTo>
                    <a:lnTo>
                      <a:pt x="1190" y="121"/>
                    </a:lnTo>
                    <a:lnTo>
                      <a:pt x="1188" y="121"/>
                    </a:lnTo>
                    <a:lnTo>
                      <a:pt x="1188" y="117"/>
                    </a:lnTo>
                    <a:lnTo>
                      <a:pt x="1189" y="111"/>
                    </a:lnTo>
                    <a:lnTo>
                      <a:pt x="1190" y="106"/>
                    </a:lnTo>
                    <a:lnTo>
                      <a:pt x="1192" y="101"/>
                    </a:lnTo>
                    <a:lnTo>
                      <a:pt x="1192" y="97"/>
                    </a:lnTo>
                    <a:lnTo>
                      <a:pt x="1194" y="96"/>
                    </a:lnTo>
                    <a:lnTo>
                      <a:pt x="1195" y="94"/>
                    </a:lnTo>
                    <a:lnTo>
                      <a:pt x="1198" y="93"/>
                    </a:lnTo>
                    <a:lnTo>
                      <a:pt x="1200" y="93"/>
                    </a:lnTo>
                    <a:lnTo>
                      <a:pt x="1201" y="92"/>
                    </a:lnTo>
                    <a:lnTo>
                      <a:pt x="1203" y="91"/>
                    </a:lnTo>
                    <a:lnTo>
                      <a:pt x="1204" y="89"/>
                    </a:lnTo>
                    <a:lnTo>
                      <a:pt x="1204" y="87"/>
                    </a:lnTo>
                    <a:lnTo>
                      <a:pt x="1204" y="85"/>
                    </a:lnTo>
                    <a:lnTo>
                      <a:pt x="1204" y="84"/>
                    </a:lnTo>
                    <a:lnTo>
                      <a:pt x="1203" y="83"/>
                    </a:lnTo>
                    <a:lnTo>
                      <a:pt x="1204" y="82"/>
                    </a:lnTo>
                    <a:lnTo>
                      <a:pt x="1205" y="81"/>
                    </a:lnTo>
                    <a:lnTo>
                      <a:pt x="1206" y="81"/>
                    </a:lnTo>
                    <a:lnTo>
                      <a:pt x="1209" y="80"/>
                    </a:lnTo>
                    <a:close/>
                    <a:moveTo>
                      <a:pt x="1426" y="64"/>
                    </a:moveTo>
                    <a:lnTo>
                      <a:pt x="1426" y="64"/>
                    </a:lnTo>
                    <a:lnTo>
                      <a:pt x="1427" y="64"/>
                    </a:lnTo>
                    <a:lnTo>
                      <a:pt x="1427" y="64"/>
                    </a:lnTo>
                    <a:lnTo>
                      <a:pt x="1428" y="64"/>
                    </a:lnTo>
                    <a:lnTo>
                      <a:pt x="1430" y="64"/>
                    </a:lnTo>
                    <a:lnTo>
                      <a:pt x="1432" y="65"/>
                    </a:lnTo>
                    <a:lnTo>
                      <a:pt x="1436" y="65"/>
                    </a:lnTo>
                    <a:lnTo>
                      <a:pt x="1440" y="66"/>
                    </a:lnTo>
                    <a:lnTo>
                      <a:pt x="1440" y="67"/>
                    </a:lnTo>
                    <a:lnTo>
                      <a:pt x="1439" y="69"/>
                    </a:lnTo>
                    <a:lnTo>
                      <a:pt x="1437" y="70"/>
                    </a:lnTo>
                    <a:lnTo>
                      <a:pt x="1435" y="72"/>
                    </a:lnTo>
                    <a:lnTo>
                      <a:pt x="1432" y="72"/>
                    </a:lnTo>
                    <a:lnTo>
                      <a:pt x="1429" y="71"/>
                    </a:lnTo>
                    <a:lnTo>
                      <a:pt x="1427" y="71"/>
                    </a:lnTo>
                    <a:lnTo>
                      <a:pt x="1425" y="70"/>
                    </a:lnTo>
                    <a:lnTo>
                      <a:pt x="1424" y="69"/>
                    </a:lnTo>
                    <a:lnTo>
                      <a:pt x="1424" y="67"/>
                    </a:lnTo>
                    <a:lnTo>
                      <a:pt x="1424" y="67"/>
                    </a:lnTo>
                    <a:lnTo>
                      <a:pt x="1424" y="66"/>
                    </a:lnTo>
                    <a:lnTo>
                      <a:pt x="1424" y="65"/>
                    </a:lnTo>
                    <a:lnTo>
                      <a:pt x="1425" y="64"/>
                    </a:lnTo>
                    <a:lnTo>
                      <a:pt x="1426" y="64"/>
                    </a:lnTo>
                    <a:close/>
                    <a:moveTo>
                      <a:pt x="4" y="48"/>
                    </a:moveTo>
                    <a:lnTo>
                      <a:pt x="5" y="49"/>
                    </a:lnTo>
                    <a:lnTo>
                      <a:pt x="5" y="49"/>
                    </a:lnTo>
                    <a:lnTo>
                      <a:pt x="6" y="50"/>
                    </a:lnTo>
                    <a:lnTo>
                      <a:pt x="7" y="51"/>
                    </a:lnTo>
                    <a:lnTo>
                      <a:pt x="7" y="51"/>
                    </a:lnTo>
                    <a:lnTo>
                      <a:pt x="9" y="52"/>
                    </a:lnTo>
                    <a:lnTo>
                      <a:pt x="11" y="53"/>
                    </a:lnTo>
                    <a:lnTo>
                      <a:pt x="12" y="54"/>
                    </a:lnTo>
                    <a:lnTo>
                      <a:pt x="13" y="55"/>
                    </a:lnTo>
                    <a:lnTo>
                      <a:pt x="14" y="57"/>
                    </a:lnTo>
                    <a:lnTo>
                      <a:pt x="16" y="58"/>
                    </a:lnTo>
                    <a:lnTo>
                      <a:pt x="16" y="60"/>
                    </a:lnTo>
                    <a:lnTo>
                      <a:pt x="17" y="60"/>
                    </a:lnTo>
                    <a:lnTo>
                      <a:pt x="18" y="61"/>
                    </a:lnTo>
                    <a:lnTo>
                      <a:pt x="20" y="61"/>
                    </a:lnTo>
                    <a:lnTo>
                      <a:pt x="21" y="62"/>
                    </a:lnTo>
                    <a:lnTo>
                      <a:pt x="21" y="63"/>
                    </a:lnTo>
                    <a:lnTo>
                      <a:pt x="20" y="64"/>
                    </a:lnTo>
                    <a:lnTo>
                      <a:pt x="19" y="65"/>
                    </a:lnTo>
                    <a:lnTo>
                      <a:pt x="17" y="66"/>
                    </a:lnTo>
                    <a:lnTo>
                      <a:pt x="16" y="67"/>
                    </a:lnTo>
                    <a:lnTo>
                      <a:pt x="15" y="69"/>
                    </a:lnTo>
                    <a:lnTo>
                      <a:pt x="15" y="71"/>
                    </a:lnTo>
                    <a:lnTo>
                      <a:pt x="14" y="72"/>
                    </a:lnTo>
                    <a:lnTo>
                      <a:pt x="14" y="72"/>
                    </a:lnTo>
                    <a:lnTo>
                      <a:pt x="13" y="70"/>
                    </a:lnTo>
                    <a:lnTo>
                      <a:pt x="12" y="67"/>
                    </a:lnTo>
                    <a:lnTo>
                      <a:pt x="12" y="65"/>
                    </a:lnTo>
                    <a:lnTo>
                      <a:pt x="10" y="63"/>
                    </a:lnTo>
                    <a:lnTo>
                      <a:pt x="9" y="62"/>
                    </a:lnTo>
                    <a:lnTo>
                      <a:pt x="7" y="62"/>
                    </a:lnTo>
                    <a:lnTo>
                      <a:pt x="6" y="62"/>
                    </a:lnTo>
                    <a:lnTo>
                      <a:pt x="5" y="63"/>
                    </a:lnTo>
                    <a:lnTo>
                      <a:pt x="3" y="65"/>
                    </a:lnTo>
                    <a:lnTo>
                      <a:pt x="1" y="64"/>
                    </a:lnTo>
                    <a:lnTo>
                      <a:pt x="0" y="60"/>
                    </a:lnTo>
                    <a:lnTo>
                      <a:pt x="1" y="54"/>
                    </a:lnTo>
                    <a:lnTo>
                      <a:pt x="3" y="49"/>
                    </a:lnTo>
                    <a:lnTo>
                      <a:pt x="4" y="48"/>
                    </a:lnTo>
                    <a:close/>
                    <a:moveTo>
                      <a:pt x="1483" y="14"/>
                    </a:moveTo>
                    <a:lnTo>
                      <a:pt x="1485" y="14"/>
                    </a:lnTo>
                    <a:lnTo>
                      <a:pt x="1486" y="15"/>
                    </a:lnTo>
                    <a:lnTo>
                      <a:pt x="1488" y="16"/>
                    </a:lnTo>
                    <a:lnTo>
                      <a:pt x="1488" y="18"/>
                    </a:lnTo>
                    <a:lnTo>
                      <a:pt x="1488" y="20"/>
                    </a:lnTo>
                    <a:lnTo>
                      <a:pt x="1487" y="22"/>
                    </a:lnTo>
                    <a:lnTo>
                      <a:pt x="1485" y="23"/>
                    </a:lnTo>
                    <a:lnTo>
                      <a:pt x="1484" y="24"/>
                    </a:lnTo>
                    <a:lnTo>
                      <a:pt x="1482" y="24"/>
                    </a:lnTo>
                    <a:lnTo>
                      <a:pt x="1480" y="24"/>
                    </a:lnTo>
                    <a:lnTo>
                      <a:pt x="1479" y="22"/>
                    </a:lnTo>
                    <a:lnTo>
                      <a:pt x="1478" y="19"/>
                    </a:lnTo>
                    <a:lnTo>
                      <a:pt x="1478" y="17"/>
                    </a:lnTo>
                    <a:lnTo>
                      <a:pt x="1479" y="15"/>
                    </a:lnTo>
                    <a:lnTo>
                      <a:pt x="1481" y="14"/>
                    </a:lnTo>
                    <a:lnTo>
                      <a:pt x="1483" y="14"/>
                    </a:lnTo>
                    <a:close/>
                    <a:moveTo>
                      <a:pt x="83" y="4"/>
                    </a:moveTo>
                    <a:lnTo>
                      <a:pt x="83" y="7"/>
                    </a:lnTo>
                    <a:lnTo>
                      <a:pt x="82" y="8"/>
                    </a:lnTo>
                    <a:lnTo>
                      <a:pt x="81" y="10"/>
                    </a:lnTo>
                    <a:lnTo>
                      <a:pt x="79" y="13"/>
                    </a:lnTo>
                    <a:lnTo>
                      <a:pt x="76" y="15"/>
                    </a:lnTo>
                    <a:lnTo>
                      <a:pt x="74" y="16"/>
                    </a:lnTo>
                    <a:lnTo>
                      <a:pt x="72" y="17"/>
                    </a:lnTo>
                    <a:lnTo>
                      <a:pt x="70" y="19"/>
                    </a:lnTo>
                    <a:lnTo>
                      <a:pt x="68" y="22"/>
                    </a:lnTo>
                    <a:lnTo>
                      <a:pt x="64" y="25"/>
                    </a:lnTo>
                    <a:lnTo>
                      <a:pt x="59" y="25"/>
                    </a:lnTo>
                    <a:lnTo>
                      <a:pt x="55" y="23"/>
                    </a:lnTo>
                    <a:lnTo>
                      <a:pt x="52" y="22"/>
                    </a:lnTo>
                    <a:lnTo>
                      <a:pt x="49" y="23"/>
                    </a:lnTo>
                    <a:lnTo>
                      <a:pt x="46" y="22"/>
                    </a:lnTo>
                    <a:lnTo>
                      <a:pt x="44" y="19"/>
                    </a:lnTo>
                    <a:lnTo>
                      <a:pt x="42" y="16"/>
                    </a:lnTo>
                    <a:lnTo>
                      <a:pt x="41" y="11"/>
                    </a:lnTo>
                    <a:lnTo>
                      <a:pt x="43" y="8"/>
                    </a:lnTo>
                    <a:lnTo>
                      <a:pt x="63" y="5"/>
                    </a:lnTo>
                    <a:lnTo>
                      <a:pt x="83" y="4"/>
                    </a:lnTo>
                    <a:close/>
                    <a:moveTo>
                      <a:pt x="85" y="0"/>
                    </a:moveTo>
                    <a:lnTo>
                      <a:pt x="87" y="0"/>
                    </a:lnTo>
                    <a:lnTo>
                      <a:pt x="87" y="1"/>
                    </a:lnTo>
                    <a:lnTo>
                      <a:pt x="87" y="2"/>
                    </a:lnTo>
                    <a:lnTo>
                      <a:pt x="101" y="2"/>
                    </a:lnTo>
                    <a:lnTo>
                      <a:pt x="143" y="7"/>
                    </a:lnTo>
                    <a:lnTo>
                      <a:pt x="185" y="17"/>
                    </a:lnTo>
                    <a:lnTo>
                      <a:pt x="229" y="33"/>
                    </a:lnTo>
                    <a:lnTo>
                      <a:pt x="274" y="53"/>
                    </a:lnTo>
                    <a:lnTo>
                      <a:pt x="321" y="77"/>
                    </a:lnTo>
                    <a:lnTo>
                      <a:pt x="370" y="106"/>
                    </a:lnTo>
                    <a:lnTo>
                      <a:pt x="422" y="138"/>
                    </a:lnTo>
                    <a:lnTo>
                      <a:pt x="477" y="174"/>
                    </a:lnTo>
                    <a:lnTo>
                      <a:pt x="536" y="213"/>
                    </a:lnTo>
                    <a:lnTo>
                      <a:pt x="598" y="253"/>
                    </a:lnTo>
                    <a:lnTo>
                      <a:pt x="663" y="296"/>
                    </a:lnTo>
                    <a:lnTo>
                      <a:pt x="731" y="339"/>
                    </a:lnTo>
                    <a:lnTo>
                      <a:pt x="802" y="382"/>
                    </a:lnTo>
                    <a:lnTo>
                      <a:pt x="877" y="423"/>
                    </a:lnTo>
                    <a:lnTo>
                      <a:pt x="945" y="459"/>
                    </a:lnTo>
                    <a:lnTo>
                      <a:pt x="1012" y="491"/>
                    </a:lnTo>
                    <a:lnTo>
                      <a:pt x="1010" y="491"/>
                    </a:lnTo>
                    <a:lnTo>
                      <a:pt x="1007" y="493"/>
                    </a:lnTo>
                    <a:lnTo>
                      <a:pt x="1004" y="494"/>
                    </a:lnTo>
                    <a:lnTo>
                      <a:pt x="1002" y="496"/>
                    </a:lnTo>
                    <a:lnTo>
                      <a:pt x="999" y="498"/>
                    </a:lnTo>
                    <a:lnTo>
                      <a:pt x="997" y="500"/>
                    </a:lnTo>
                    <a:lnTo>
                      <a:pt x="994" y="502"/>
                    </a:lnTo>
                    <a:lnTo>
                      <a:pt x="992" y="504"/>
                    </a:lnTo>
                    <a:lnTo>
                      <a:pt x="990" y="505"/>
                    </a:lnTo>
                    <a:lnTo>
                      <a:pt x="987" y="506"/>
                    </a:lnTo>
                    <a:lnTo>
                      <a:pt x="984" y="507"/>
                    </a:lnTo>
                    <a:lnTo>
                      <a:pt x="982" y="508"/>
                    </a:lnTo>
                    <a:lnTo>
                      <a:pt x="980" y="510"/>
                    </a:lnTo>
                    <a:lnTo>
                      <a:pt x="978" y="512"/>
                    </a:lnTo>
                    <a:lnTo>
                      <a:pt x="978" y="513"/>
                    </a:lnTo>
                    <a:lnTo>
                      <a:pt x="979" y="514"/>
                    </a:lnTo>
                    <a:lnTo>
                      <a:pt x="981" y="514"/>
                    </a:lnTo>
                    <a:lnTo>
                      <a:pt x="983" y="514"/>
                    </a:lnTo>
                    <a:lnTo>
                      <a:pt x="986" y="514"/>
                    </a:lnTo>
                    <a:lnTo>
                      <a:pt x="988" y="514"/>
                    </a:lnTo>
                    <a:lnTo>
                      <a:pt x="990" y="514"/>
                    </a:lnTo>
                    <a:lnTo>
                      <a:pt x="992" y="514"/>
                    </a:lnTo>
                    <a:lnTo>
                      <a:pt x="992" y="514"/>
                    </a:lnTo>
                    <a:lnTo>
                      <a:pt x="995" y="514"/>
                    </a:lnTo>
                    <a:lnTo>
                      <a:pt x="997" y="513"/>
                    </a:lnTo>
                    <a:lnTo>
                      <a:pt x="1000" y="512"/>
                    </a:lnTo>
                    <a:lnTo>
                      <a:pt x="1002" y="512"/>
                    </a:lnTo>
                    <a:lnTo>
                      <a:pt x="1004" y="512"/>
                    </a:lnTo>
                    <a:lnTo>
                      <a:pt x="1006" y="513"/>
                    </a:lnTo>
                    <a:lnTo>
                      <a:pt x="1006" y="515"/>
                    </a:lnTo>
                    <a:lnTo>
                      <a:pt x="1007" y="516"/>
                    </a:lnTo>
                    <a:lnTo>
                      <a:pt x="1008" y="516"/>
                    </a:lnTo>
                    <a:lnTo>
                      <a:pt x="1017" y="514"/>
                    </a:lnTo>
                    <a:lnTo>
                      <a:pt x="1025" y="510"/>
                    </a:lnTo>
                    <a:lnTo>
                      <a:pt x="1033" y="506"/>
                    </a:lnTo>
                    <a:lnTo>
                      <a:pt x="1035" y="505"/>
                    </a:lnTo>
                    <a:lnTo>
                      <a:pt x="1038" y="504"/>
                    </a:lnTo>
                    <a:lnTo>
                      <a:pt x="1039" y="504"/>
                    </a:lnTo>
                    <a:lnTo>
                      <a:pt x="1045" y="506"/>
                    </a:lnTo>
                    <a:lnTo>
                      <a:pt x="1054" y="509"/>
                    </a:lnTo>
                    <a:lnTo>
                      <a:pt x="1054" y="509"/>
                    </a:lnTo>
                    <a:lnTo>
                      <a:pt x="1055" y="509"/>
                    </a:lnTo>
                    <a:lnTo>
                      <a:pt x="1054" y="509"/>
                    </a:lnTo>
                    <a:lnTo>
                      <a:pt x="1054" y="508"/>
                    </a:lnTo>
                    <a:lnTo>
                      <a:pt x="1054" y="507"/>
                    </a:lnTo>
                    <a:lnTo>
                      <a:pt x="1057" y="508"/>
                    </a:lnTo>
                    <a:lnTo>
                      <a:pt x="1058" y="509"/>
                    </a:lnTo>
                    <a:lnTo>
                      <a:pt x="1059" y="510"/>
                    </a:lnTo>
                    <a:lnTo>
                      <a:pt x="1060" y="511"/>
                    </a:lnTo>
                    <a:lnTo>
                      <a:pt x="1061" y="512"/>
                    </a:lnTo>
                    <a:lnTo>
                      <a:pt x="1064" y="513"/>
                    </a:lnTo>
                    <a:lnTo>
                      <a:pt x="1065" y="515"/>
                    </a:lnTo>
                    <a:lnTo>
                      <a:pt x="1067" y="516"/>
                    </a:lnTo>
                    <a:lnTo>
                      <a:pt x="1069" y="518"/>
                    </a:lnTo>
                    <a:lnTo>
                      <a:pt x="1071" y="518"/>
                    </a:lnTo>
                    <a:lnTo>
                      <a:pt x="1077" y="518"/>
                    </a:lnTo>
                    <a:lnTo>
                      <a:pt x="1082" y="519"/>
                    </a:lnTo>
                    <a:lnTo>
                      <a:pt x="1081" y="520"/>
                    </a:lnTo>
                    <a:lnTo>
                      <a:pt x="1078" y="521"/>
                    </a:lnTo>
                    <a:lnTo>
                      <a:pt x="1099" y="530"/>
                    </a:lnTo>
                    <a:lnTo>
                      <a:pt x="1112" y="536"/>
                    </a:lnTo>
                    <a:lnTo>
                      <a:pt x="1108" y="536"/>
                    </a:lnTo>
                    <a:lnTo>
                      <a:pt x="1107" y="536"/>
                    </a:lnTo>
                    <a:lnTo>
                      <a:pt x="1105" y="536"/>
                    </a:lnTo>
                    <a:lnTo>
                      <a:pt x="1103" y="535"/>
                    </a:lnTo>
                    <a:lnTo>
                      <a:pt x="1101" y="535"/>
                    </a:lnTo>
                    <a:lnTo>
                      <a:pt x="1099" y="536"/>
                    </a:lnTo>
                    <a:lnTo>
                      <a:pt x="1098" y="537"/>
                    </a:lnTo>
                    <a:lnTo>
                      <a:pt x="1096" y="538"/>
                    </a:lnTo>
                    <a:lnTo>
                      <a:pt x="1094" y="537"/>
                    </a:lnTo>
                    <a:lnTo>
                      <a:pt x="1090" y="539"/>
                    </a:lnTo>
                    <a:lnTo>
                      <a:pt x="1084" y="543"/>
                    </a:lnTo>
                    <a:lnTo>
                      <a:pt x="1078" y="547"/>
                    </a:lnTo>
                    <a:lnTo>
                      <a:pt x="1074" y="552"/>
                    </a:lnTo>
                    <a:lnTo>
                      <a:pt x="1071" y="555"/>
                    </a:lnTo>
                    <a:lnTo>
                      <a:pt x="1071" y="558"/>
                    </a:lnTo>
                    <a:lnTo>
                      <a:pt x="1070" y="561"/>
                    </a:lnTo>
                    <a:lnTo>
                      <a:pt x="1070" y="564"/>
                    </a:lnTo>
                    <a:lnTo>
                      <a:pt x="1070" y="567"/>
                    </a:lnTo>
                    <a:lnTo>
                      <a:pt x="1069" y="571"/>
                    </a:lnTo>
                    <a:lnTo>
                      <a:pt x="1069" y="574"/>
                    </a:lnTo>
                    <a:lnTo>
                      <a:pt x="1068" y="576"/>
                    </a:lnTo>
                    <a:lnTo>
                      <a:pt x="1066" y="579"/>
                    </a:lnTo>
                    <a:lnTo>
                      <a:pt x="1065" y="581"/>
                    </a:lnTo>
                    <a:lnTo>
                      <a:pt x="1063" y="583"/>
                    </a:lnTo>
                    <a:lnTo>
                      <a:pt x="1057" y="596"/>
                    </a:lnTo>
                    <a:lnTo>
                      <a:pt x="1055" y="611"/>
                    </a:lnTo>
                    <a:lnTo>
                      <a:pt x="1057" y="624"/>
                    </a:lnTo>
                    <a:lnTo>
                      <a:pt x="1058" y="627"/>
                    </a:lnTo>
                    <a:lnTo>
                      <a:pt x="1060" y="632"/>
                    </a:lnTo>
                    <a:lnTo>
                      <a:pt x="1061" y="639"/>
                    </a:lnTo>
                    <a:lnTo>
                      <a:pt x="1063" y="645"/>
                    </a:lnTo>
                    <a:lnTo>
                      <a:pt x="1066" y="648"/>
                    </a:lnTo>
                    <a:lnTo>
                      <a:pt x="1069" y="648"/>
                    </a:lnTo>
                    <a:lnTo>
                      <a:pt x="1071" y="646"/>
                    </a:lnTo>
                    <a:lnTo>
                      <a:pt x="1072" y="642"/>
                    </a:lnTo>
                    <a:lnTo>
                      <a:pt x="1074" y="639"/>
                    </a:lnTo>
                    <a:lnTo>
                      <a:pt x="1075" y="636"/>
                    </a:lnTo>
                    <a:lnTo>
                      <a:pt x="1077" y="634"/>
                    </a:lnTo>
                    <a:lnTo>
                      <a:pt x="1079" y="633"/>
                    </a:lnTo>
                    <a:lnTo>
                      <a:pt x="1082" y="632"/>
                    </a:lnTo>
                    <a:lnTo>
                      <a:pt x="1084" y="630"/>
                    </a:lnTo>
                    <a:lnTo>
                      <a:pt x="1084" y="628"/>
                    </a:lnTo>
                    <a:lnTo>
                      <a:pt x="1085" y="619"/>
                    </a:lnTo>
                    <a:lnTo>
                      <a:pt x="1082" y="610"/>
                    </a:lnTo>
                    <a:lnTo>
                      <a:pt x="1082" y="597"/>
                    </a:lnTo>
                    <a:lnTo>
                      <a:pt x="1082" y="587"/>
                    </a:lnTo>
                    <a:lnTo>
                      <a:pt x="1084" y="581"/>
                    </a:lnTo>
                    <a:lnTo>
                      <a:pt x="1085" y="575"/>
                    </a:lnTo>
                    <a:lnTo>
                      <a:pt x="1087" y="569"/>
                    </a:lnTo>
                    <a:lnTo>
                      <a:pt x="1090" y="565"/>
                    </a:lnTo>
                    <a:lnTo>
                      <a:pt x="1093" y="564"/>
                    </a:lnTo>
                    <a:lnTo>
                      <a:pt x="1096" y="564"/>
                    </a:lnTo>
                    <a:lnTo>
                      <a:pt x="1099" y="564"/>
                    </a:lnTo>
                    <a:lnTo>
                      <a:pt x="1102" y="564"/>
                    </a:lnTo>
                    <a:lnTo>
                      <a:pt x="1104" y="563"/>
                    </a:lnTo>
                    <a:lnTo>
                      <a:pt x="1107" y="558"/>
                    </a:lnTo>
                    <a:lnTo>
                      <a:pt x="1110" y="551"/>
                    </a:lnTo>
                    <a:lnTo>
                      <a:pt x="1113" y="544"/>
                    </a:lnTo>
                    <a:lnTo>
                      <a:pt x="1118" y="540"/>
                    </a:lnTo>
                    <a:lnTo>
                      <a:pt x="1124" y="540"/>
                    </a:lnTo>
                    <a:lnTo>
                      <a:pt x="1127" y="541"/>
                    </a:lnTo>
                    <a:lnTo>
                      <a:pt x="1129" y="543"/>
                    </a:lnTo>
                    <a:lnTo>
                      <a:pt x="1131" y="546"/>
                    </a:lnTo>
                    <a:lnTo>
                      <a:pt x="1133" y="550"/>
                    </a:lnTo>
                    <a:lnTo>
                      <a:pt x="1135" y="552"/>
                    </a:lnTo>
                    <a:lnTo>
                      <a:pt x="1137" y="555"/>
                    </a:lnTo>
                    <a:lnTo>
                      <a:pt x="1139" y="557"/>
                    </a:lnTo>
                    <a:lnTo>
                      <a:pt x="1142" y="559"/>
                    </a:lnTo>
                    <a:lnTo>
                      <a:pt x="1144" y="560"/>
                    </a:lnTo>
                    <a:lnTo>
                      <a:pt x="1146" y="561"/>
                    </a:lnTo>
                    <a:lnTo>
                      <a:pt x="1148" y="563"/>
                    </a:lnTo>
                    <a:lnTo>
                      <a:pt x="1149" y="564"/>
                    </a:lnTo>
                    <a:lnTo>
                      <a:pt x="1149" y="567"/>
                    </a:lnTo>
                    <a:lnTo>
                      <a:pt x="1149" y="573"/>
                    </a:lnTo>
                    <a:lnTo>
                      <a:pt x="1147" y="580"/>
                    </a:lnTo>
                    <a:lnTo>
                      <a:pt x="1147" y="586"/>
                    </a:lnTo>
                    <a:lnTo>
                      <a:pt x="1149" y="591"/>
                    </a:lnTo>
                    <a:lnTo>
                      <a:pt x="1151" y="592"/>
                    </a:lnTo>
                    <a:lnTo>
                      <a:pt x="1153" y="593"/>
                    </a:lnTo>
                    <a:lnTo>
                      <a:pt x="1155" y="593"/>
                    </a:lnTo>
                    <a:lnTo>
                      <a:pt x="1157" y="593"/>
                    </a:lnTo>
                    <a:lnTo>
                      <a:pt x="1159" y="594"/>
                    </a:lnTo>
                    <a:lnTo>
                      <a:pt x="1160" y="595"/>
                    </a:lnTo>
                    <a:lnTo>
                      <a:pt x="1161" y="597"/>
                    </a:lnTo>
                    <a:lnTo>
                      <a:pt x="1163" y="599"/>
                    </a:lnTo>
                    <a:lnTo>
                      <a:pt x="1164" y="601"/>
                    </a:lnTo>
                    <a:lnTo>
                      <a:pt x="1165" y="603"/>
                    </a:lnTo>
                    <a:lnTo>
                      <a:pt x="1166" y="606"/>
                    </a:lnTo>
                    <a:lnTo>
                      <a:pt x="1168" y="608"/>
                    </a:lnTo>
                    <a:lnTo>
                      <a:pt x="1169" y="609"/>
                    </a:lnTo>
                    <a:lnTo>
                      <a:pt x="1171" y="610"/>
                    </a:lnTo>
                    <a:lnTo>
                      <a:pt x="1174" y="609"/>
                    </a:lnTo>
                    <a:lnTo>
                      <a:pt x="1175" y="603"/>
                    </a:lnTo>
                    <a:lnTo>
                      <a:pt x="1175" y="595"/>
                    </a:lnTo>
                    <a:lnTo>
                      <a:pt x="1174" y="586"/>
                    </a:lnTo>
                    <a:lnTo>
                      <a:pt x="1174" y="579"/>
                    </a:lnTo>
                    <a:lnTo>
                      <a:pt x="1173" y="575"/>
                    </a:lnTo>
                    <a:lnTo>
                      <a:pt x="1174" y="574"/>
                    </a:lnTo>
                    <a:lnTo>
                      <a:pt x="1175" y="572"/>
                    </a:lnTo>
                    <a:lnTo>
                      <a:pt x="1175" y="569"/>
                    </a:lnTo>
                    <a:lnTo>
                      <a:pt x="1175" y="567"/>
                    </a:lnTo>
                    <a:lnTo>
                      <a:pt x="1176" y="564"/>
                    </a:lnTo>
                    <a:lnTo>
                      <a:pt x="1177" y="562"/>
                    </a:lnTo>
                    <a:lnTo>
                      <a:pt x="1177" y="561"/>
                    </a:lnTo>
                    <a:lnTo>
                      <a:pt x="1178" y="560"/>
                    </a:lnTo>
                    <a:lnTo>
                      <a:pt x="1179" y="561"/>
                    </a:lnTo>
                    <a:lnTo>
                      <a:pt x="1181" y="563"/>
                    </a:lnTo>
                    <a:lnTo>
                      <a:pt x="1184" y="566"/>
                    </a:lnTo>
                    <a:lnTo>
                      <a:pt x="1186" y="569"/>
                    </a:lnTo>
                    <a:lnTo>
                      <a:pt x="1190" y="571"/>
                    </a:lnTo>
                    <a:lnTo>
                      <a:pt x="1194" y="574"/>
                    </a:lnTo>
                    <a:lnTo>
                      <a:pt x="1199" y="576"/>
                    </a:lnTo>
                    <a:lnTo>
                      <a:pt x="1203" y="577"/>
                    </a:lnTo>
                    <a:lnTo>
                      <a:pt x="1206" y="575"/>
                    </a:lnTo>
                    <a:lnTo>
                      <a:pt x="1208" y="573"/>
                    </a:lnTo>
                    <a:lnTo>
                      <a:pt x="1208" y="571"/>
                    </a:lnTo>
                    <a:lnTo>
                      <a:pt x="1208" y="571"/>
                    </a:lnTo>
                    <a:lnTo>
                      <a:pt x="1209" y="571"/>
                    </a:lnTo>
                    <a:lnTo>
                      <a:pt x="1208" y="574"/>
                    </a:lnTo>
                    <a:lnTo>
                      <a:pt x="1230" y="582"/>
                    </a:lnTo>
                    <a:lnTo>
                      <a:pt x="1248" y="588"/>
                    </a:lnTo>
                    <a:lnTo>
                      <a:pt x="1244" y="590"/>
                    </a:lnTo>
                    <a:lnTo>
                      <a:pt x="1238" y="593"/>
                    </a:lnTo>
                    <a:lnTo>
                      <a:pt x="1230" y="595"/>
                    </a:lnTo>
                    <a:lnTo>
                      <a:pt x="1224" y="597"/>
                    </a:lnTo>
                    <a:lnTo>
                      <a:pt x="1220" y="602"/>
                    </a:lnTo>
                    <a:lnTo>
                      <a:pt x="1218" y="608"/>
                    </a:lnTo>
                    <a:lnTo>
                      <a:pt x="1214" y="614"/>
                    </a:lnTo>
                    <a:lnTo>
                      <a:pt x="1209" y="617"/>
                    </a:lnTo>
                    <a:lnTo>
                      <a:pt x="1203" y="619"/>
                    </a:lnTo>
                    <a:lnTo>
                      <a:pt x="1196" y="622"/>
                    </a:lnTo>
                    <a:lnTo>
                      <a:pt x="1196" y="621"/>
                    </a:lnTo>
                    <a:lnTo>
                      <a:pt x="1194" y="621"/>
                    </a:lnTo>
                    <a:lnTo>
                      <a:pt x="1192" y="620"/>
                    </a:lnTo>
                    <a:lnTo>
                      <a:pt x="1190" y="620"/>
                    </a:lnTo>
                    <a:lnTo>
                      <a:pt x="1188" y="620"/>
                    </a:lnTo>
                    <a:lnTo>
                      <a:pt x="1185" y="622"/>
                    </a:lnTo>
                    <a:lnTo>
                      <a:pt x="1181" y="624"/>
                    </a:lnTo>
                    <a:lnTo>
                      <a:pt x="1179" y="626"/>
                    </a:lnTo>
                    <a:lnTo>
                      <a:pt x="1174" y="630"/>
                    </a:lnTo>
                    <a:lnTo>
                      <a:pt x="1168" y="633"/>
                    </a:lnTo>
                    <a:lnTo>
                      <a:pt x="1161" y="636"/>
                    </a:lnTo>
                    <a:lnTo>
                      <a:pt x="1160" y="637"/>
                    </a:lnTo>
                    <a:lnTo>
                      <a:pt x="1159" y="638"/>
                    </a:lnTo>
                    <a:lnTo>
                      <a:pt x="1158" y="640"/>
                    </a:lnTo>
                    <a:lnTo>
                      <a:pt x="1157" y="641"/>
                    </a:lnTo>
                    <a:lnTo>
                      <a:pt x="1157" y="643"/>
                    </a:lnTo>
                    <a:lnTo>
                      <a:pt x="1157" y="644"/>
                    </a:lnTo>
                    <a:lnTo>
                      <a:pt x="1159" y="645"/>
                    </a:lnTo>
                    <a:lnTo>
                      <a:pt x="1161" y="646"/>
                    </a:lnTo>
                    <a:lnTo>
                      <a:pt x="1174" y="645"/>
                    </a:lnTo>
                    <a:lnTo>
                      <a:pt x="1188" y="642"/>
                    </a:lnTo>
                    <a:lnTo>
                      <a:pt x="1200" y="638"/>
                    </a:lnTo>
                    <a:lnTo>
                      <a:pt x="1207" y="636"/>
                    </a:lnTo>
                    <a:lnTo>
                      <a:pt x="1214" y="633"/>
                    </a:lnTo>
                    <a:lnTo>
                      <a:pt x="1220" y="629"/>
                    </a:lnTo>
                    <a:lnTo>
                      <a:pt x="1224" y="623"/>
                    </a:lnTo>
                    <a:lnTo>
                      <a:pt x="1224" y="616"/>
                    </a:lnTo>
                    <a:lnTo>
                      <a:pt x="1226" y="610"/>
                    </a:lnTo>
                    <a:lnTo>
                      <a:pt x="1231" y="607"/>
                    </a:lnTo>
                    <a:lnTo>
                      <a:pt x="1239" y="605"/>
                    </a:lnTo>
                    <a:lnTo>
                      <a:pt x="1248" y="605"/>
                    </a:lnTo>
                    <a:lnTo>
                      <a:pt x="1257" y="605"/>
                    </a:lnTo>
                    <a:lnTo>
                      <a:pt x="1266" y="606"/>
                    </a:lnTo>
                    <a:lnTo>
                      <a:pt x="1274" y="605"/>
                    </a:lnTo>
                    <a:lnTo>
                      <a:pt x="1280" y="601"/>
                    </a:lnTo>
                    <a:lnTo>
                      <a:pt x="1283" y="597"/>
                    </a:lnTo>
                    <a:lnTo>
                      <a:pt x="1283" y="600"/>
                    </a:lnTo>
                    <a:lnTo>
                      <a:pt x="1330" y="616"/>
                    </a:lnTo>
                    <a:lnTo>
                      <a:pt x="1377" y="629"/>
                    </a:lnTo>
                    <a:lnTo>
                      <a:pt x="1376" y="628"/>
                    </a:lnTo>
                    <a:lnTo>
                      <a:pt x="1377" y="626"/>
                    </a:lnTo>
                    <a:lnTo>
                      <a:pt x="1377" y="626"/>
                    </a:lnTo>
                    <a:lnTo>
                      <a:pt x="1378" y="626"/>
                    </a:lnTo>
                    <a:lnTo>
                      <a:pt x="1378" y="627"/>
                    </a:lnTo>
                    <a:lnTo>
                      <a:pt x="1379" y="627"/>
                    </a:lnTo>
                    <a:lnTo>
                      <a:pt x="1380" y="628"/>
                    </a:lnTo>
                    <a:lnTo>
                      <a:pt x="1382" y="628"/>
                    </a:lnTo>
                    <a:lnTo>
                      <a:pt x="1383" y="629"/>
                    </a:lnTo>
                    <a:lnTo>
                      <a:pt x="1384" y="629"/>
                    </a:lnTo>
                    <a:lnTo>
                      <a:pt x="1384" y="630"/>
                    </a:lnTo>
                    <a:lnTo>
                      <a:pt x="1386" y="630"/>
                    </a:lnTo>
                    <a:lnTo>
                      <a:pt x="1390" y="630"/>
                    </a:lnTo>
                    <a:lnTo>
                      <a:pt x="1392" y="631"/>
                    </a:lnTo>
                    <a:lnTo>
                      <a:pt x="1395" y="631"/>
                    </a:lnTo>
                    <a:lnTo>
                      <a:pt x="1397" y="632"/>
                    </a:lnTo>
                    <a:lnTo>
                      <a:pt x="1398" y="636"/>
                    </a:lnTo>
                    <a:lnTo>
                      <a:pt x="1397" y="639"/>
                    </a:lnTo>
                    <a:lnTo>
                      <a:pt x="1393" y="641"/>
                    </a:lnTo>
                    <a:lnTo>
                      <a:pt x="1387" y="641"/>
                    </a:lnTo>
                    <a:lnTo>
                      <a:pt x="1382" y="642"/>
                    </a:lnTo>
                    <a:lnTo>
                      <a:pt x="1378" y="644"/>
                    </a:lnTo>
                    <a:lnTo>
                      <a:pt x="1375" y="644"/>
                    </a:lnTo>
                    <a:lnTo>
                      <a:pt x="1374" y="645"/>
                    </a:lnTo>
                    <a:lnTo>
                      <a:pt x="1372" y="647"/>
                    </a:lnTo>
                    <a:lnTo>
                      <a:pt x="1371" y="648"/>
                    </a:lnTo>
                    <a:lnTo>
                      <a:pt x="1370" y="650"/>
                    </a:lnTo>
                    <a:lnTo>
                      <a:pt x="1358" y="650"/>
                    </a:lnTo>
                    <a:lnTo>
                      <a:pt x="1346" y="650"/>
                    </a:lnTo>
                    <a:lnTo>
                      <a:pt x="1333" y="650"/>
                    </a:lnTo>
                    <a:lnTo>
                      <a:pt x="1331" y="651"/>
                    </a:lnTo>
                    <a:lnTo>
                      <a:pt x="1329" y="652"/>
                    </a:lnTo>
                    <a:lnTo>
                      <a:pt x="1328" y="654"/>
                    </a:lnTo>
                    <a:lnTo>
                      <a:pt x="1327" y="656"/>
                    </a:lnTo>
                    <a:lnTo>
                      <a:pt x="1328" y="658"/>
                    </a:lnTo>
                    <a:lnTo>
                      <a:pt x="1331" y="661"/>
                    </a:lnTo>
                    <a:lnTo>
                      <a:pt x="1332" y="661"/>
                    </a:lnTo>
                    <a:lnTo>
                      <a:pt x="1334" y="661"/>
                    </a:lnTo>
                    <a:lnTo>
                      <a:pt x="1337" y="661"/>
                    </a:lnTo>
                    <a:lnTo>
                      <a:pt x="1341" y="659"/>
                    </a:lnTo>
                    <a:lnTo>
                      <a:pt x="1344" y="658"/>
                    </a:lnTo>
                    <a:lnTo>
                      <a:pt x="1346" y="657"/>
                    </a:lnTo>
                    <a:lnTo>
                      <a:pt x="1348" y="656"/>
                    </a:lnTo>
                    <a:lnTo>
                      <a:pt x="1349" y="655"/>
                    </a:lnTo>
                    <a:lnTo>
                      <a:pt x="1351" y="655"/>
                    </a:lnTo>
                    <a:lnTo>
                      <a:pt x="1354" y="655"/>
                    </a:lnTo>
                    <a:lnTo>
                      <a:pt x="1356" y="655"/>
                    </a:lnTo>
                    <a:lnTo>
                      <a:pt x="1358" y="656"/>
                    </a:lnTo>
                    <a:lnTo>
                      <a:pt x="1358" y="656"/>
                    </a:lnTo>
                    <a:lnTo>
                      <a:pt x="1356" y="657"/>
                    </a:lnTo>
                    <a:lnTo>
                      <a:pt x="1354" y="658"/>
                    </a:lnTo>
                    <a:lnTo>
                      <a:pt x="1352" y="659"/>
                    </a:lnTo>
                    <a:lnTo>
                      <a:pt x="1350" y="661"/>
                    </a:lnTo>
                    <a:lnTo>
                      <a:pt x="1348" y="662"/>
                    </a:lnTo>
                    <a:lnTo>
                      <a:pt x="1348" y="663"/>
                    </a:lnTo>
                    <a:lnTo>
                      <a:pt x="1340" y="665"/>
                    </a:lnTo>
                    <a:lnTo>
                      <a:pt x="1331" y="667"/>
                    </a:lnTo>
                    <a:lnTo>
                      <a:pt x="1324" y="669"/>
                    </a:lnTo>
                    <a:lnTo>
                      <a:pt x="1321" y="673"/>
                    </a:lnTo>
                    <a:lnTo>
                      <a:pt x="1315" y="686"/>
                    </a:lnTo>
                    <a:lnTo>
                      <a:pt x="1308" y="698"/>
                    </a:lnTo>
                    <a:lnTo>
                      <a:pt x="1303" y="710"/>
                    </a:lnTo>
                    <a:lnTo>
                      <a:pt x="1301" y="714"/>
                    </a:lnTo>
                    <a:lnTo>
                      <a:pt x="1298" y="722"/>
                    </a:lnTo>
                    <a:lnTo>
                      <a:pt x="1295" y="729"/>
                    </a:lnTo>
                    <a:lnTo>
                      <a:pt x="1293" y="731"/>
                    </a:lnTo>
                    <a:lnTo>
                      <a:pt x="1289" y="730"/>
                    </a:lnTo>
                    <a:lnTo>
                      <a:pt x="1285" y="726"/>
                    </a:lnTo>
                    <a:lnTo>
                      <a:pt x="1284" y="721"/>
                    </a:lnTo>
                    <a:lnTo>
                      <a:pt x="1283" y="717"/>
                    </a:lnTo>
                    <a:lnTo>
                      <a:pt x="1282" y="712"/>
                    </a:lnTo>
                    <a:lnTo>
                      <a:pt x="1279" y="710"/>
                    </a:lnTo>
                    <a:lnTo>
                      <a:pt x="1278" y="711"/>
                    </a:lnTo>
                    <a:lnTo>
                      <a:pt x="1277" y="712"/>
                    </a:lnTo>
                    <a:lnTo>
                      <a:pt x="1277" y="714"/>
                    </a:lnTo>
                    <a:lnTo>
                      <a:pt x="1277" y="717"/>
                    </a:lnTo>
                    <a:lnTo>
                      <a:pt x="1277" y="720"/>
                    </a:lnTo>
                    <a:lnTo>
                      <a:pt x="1278" y="722"/>
                    </a:lnTo>
                    <a:lnTo>
                      <a:pt x="1279" y="725"/>
                    </a:lnTo>
                    <a:lnTo>
                      <a:pt x="1279" y="726"/>
                    </a:lnTo>
                    <a:lnTo>
                      <a:pt x="1279" y="727"/>
                    </a:lnTo>
                    <a:lnTo>
                      <a:pt x="1280" y="730"/>
                    </a:lnTo>
                    <a:lnTo>
                      <a:pt x="1280" y="733"/>
                    </a:lnTo>
                    <a:lnTo>
                      <a:pt x="1280" y="736"/>
                    </a:lnTo>
                    <a:lnTo>
                      <a:pt x="1280" y="740"/>
                    </a:lnTo>
                    <a:lnTo>
                      <a:pt x="1279" y="743"/>
                    </a:lnTo>
                    <a:lnTo>
                      <a:pt x="1281" y="749"/>
                    </a:lnTo>
                    <a:lnTo>
                      <a:pt x="1284" y="753"/>
                    </a:lnTo>
                    <a:lnTo>
                      <a:pt x="1288" y="758"/>
                    </a:lnTo>
                    <a:lnTo>
                      <a:pt x="1290" y="763"/>
                    </a:lnTo>
                    <a:lnTo>
                      <a:pt x="1288" y="769"/>
                    </a:lnTo>
                    <a:lnTo>
                      <a:pt x="1285" y="774"/>
                    </a:lnTo>
                    <a:lnTo>
                      <a:pt x="1281" y="777"/>
                    </a:lnTo>
                    <a:lnTo>
                      <a:pt x="1277" y="779"/>
                    </a:lnTo>
                    <a:lnTo>
                      <a:pt x="1274" y="781"/>
                    </a:lnTo>
                    <a:lnTo>
                      <a:pt x="1273" y="784"/>
                    </a:lnTo>
                    <a:lnTo>
                      <a:pt x="1273" y="788"/>
                    </a:lnTo>
                    <a:lnTo>
                      <a:pt x="1274" y="791"/>
                    </a:lnTo>
                    <a:lnTo>
                      <a:pt x="1273" y="792"/>
                    </a:lnTo>
                    <a:lnTo>
                      <a:pt x="1272" y="793"/>
                    </a:lnTo>
                    <a:lnTo>
                      <a:pt x="1270" y="794"/>
                    </a:lnTo>
                    <a:lnTo>
                      <a:pt x="1268" y="795"/>
                    </a:lnTo>
                    <a:lnTo>
                      <a:pt x="1267" y="795"/>
                    </a:lnTo>
                    <a:lnTo>
                      <a:pt x="1265" y="796"/>
                    </a:lnTo>
                    <a:lnTo>
                      <a:pt x="1261" y="798"/>
                    </a:lnTo>
                    <a:lnTo>
                      <a:pt x="1257" y="800"/>
                    </a:lnTo>
                    <a:lnTo>
                      <a:pt x="1253" y="802"/>
                    </a:lnTo>
                    <a:lnTo>
                      <a:pt x="1249" y="804"/>
                    </a:lnTo>
                    <a:lnTo>
                      <a:pt x="1241" y="809"/>
                    </a:lnTo>
                    <a:lnTo>
                      <a:pt x="1232" y="813"/>
                    </a:lnTo>
                    <a:lnTo>
                      <a:pt x="1223" y="818"/>
                    </a:lnTo>
                    <a:lnTo>
                      <a:pt x="1216" y="824"/>
                    </a:lnTo>
                    <a:lnTo>
                      <a:pt x="1211" y="829"/>
                    </a:lnTo>
                    <a:lnTo>
                      <a:pt x="1204" y="831"/>
                    </a:lnTo>
                    <a:lnTo>
                      <a:pt x="1198" y="833"/>
                    </a:lnTo>
                    <a:lnTo>
                      <a:pt x="1195" y="835"/>
                    </a:lnTo>
                    <a:lnTo>
                      <a:pt x="1191" y="837"/>
                    </a:lnTo>
                    <a:lnTo>
                      <a:pt x="1188" y="840"/>
                    </a:lnTo>
                    <a:lnTo>
                      <a:pt x="1186" y="842"/>
                    </a:lnTo>
                    <a:lnTo>
                      <a:pt x="1184" y="845"/>
                    </a:lnTo>
                    <a:lnTo>
                      <a:pt x="1184" y="849"/>
                    </a:lnTo>
                    <a:lnTo>
                      <a:pt x="1184" y="852"/>
                    </a:lnTo>
                    <a:lnTo>
                      <a:pt x="1184" y="855"/>
                    </a:lnTo>
                    <a:lnTo>
                      <a:pt x="1181" y="858"/>
                    </a:lnTo>
                    <a:lnTo>
                      <a:pt x="1179" y="861"/>
                    </a:lnTo>
                    <a:lnTo>
                      <a:pt x="1179" y="866"/>
                    </a:lnTo>
                    <a:lnTo>
                      <a:pt x="1180" y="871"/>
                    </a:lnTo>
                    <a:lnTo>
                      <a:pt x="1181" y="877"/>
                    </a:lnTo>
                    <a:lnTo>
                      <a:pt x="1185" y="885"/>
                    </a:lnTo>
                    <a:lnTo>
                      <a:pt x="1189" y="891"/>
                    </a:lnTo>
                    <a:lnTo>
                      <a:pt x="1192" y="898"/>
                    </a:lnTo>
                    <a:lnTo>
                      <a:pt x="1193" y="900"/>
                    </a:lnTo>
                    <a:lnTo>
                      <a:pt x="1193" y="902"/>
                    </a:lnTo>
                    <a:lnTo>
                      <a:pt x="1194" y="905"/>
                    </a:lnTo>
                    <a:lnTo>
                      <a:pt x="1194" y="907"/>
                    </a:lnTo>
                    <a:lnTo>
                      <a:pt x="1195" y="909"/>
                    </a:lnTo>
                    <a:lnTo>
                      <a:pt x="1196" y="910"/>
                    </a:lnTo>
                    <a:lnTo>
                      <a:pt x="1201" y="920"/>
                    </a:lnTo>
                    <a:lnTo>
                      <a:pt x="1202" y="931"/>
                    </a:lnTo>
                    <a:lnTo>
                      <a:pt x="1202" y="943"/>
                    </a:lnTo>
                    <a:lnTo>
                      <a:pt x="1203" y="945"/>
                    </a:lnTo>
                    <a:lnTo>
                      <a:pt x="1203" y="948"/>
                    </a:lnTo>
                    <a:lnTo>
                      <a:pt x="1202" y="950"/>
                    </a:lnTo>
                    <a:lnTo>
                      <a:pt x="1201" y="952"/>
                    </a:lnTo>
                    <a:lnTo>
                      <a:pt x="1198" y="955"/>
                    </a:lnTo>
                    <a:lnTo>
                      <a:pt x="1197" y="957"/>
                    </a:lnTo>
                    <a:lnTo>
                      <a:pt x="1195" y="959"/>
                    </a:lnTo>
                    <a:lnTo>
                      <a:pt x="1193" y="961"/>
                    </a:lnTo>
                    <a:lnTo>
                      <a:pt x="1191" y="961"/>
                    </a:lnTo>
                    <a:lnTo>
                      <a:pt x="1188" y="961"/>
                    </a:lnTo>
                    <a:lnTo>
                      <a:pt x="1184" y="956"/>
                    </a:lnTo>
                    <a:lnTo>
                      <a:pt x="1180" y="949"/>
                    </a:lnTo>
                    <a:lnTo>
                      <a:pt x="1177" y="943"/>
                    </a:lnTo>
                    <a:lnTo>
                      <a:pt x="1175" y="938"/>
                    </a:lnTo>
                    <a:lnTo>
                      <a:pt x="1171" y="935"/>
                    </a:lnTo>
                    <a:lnTo>
                      <a:pt x="1167" y="932"/>
                    </a:lnTo>
                    <a:lnTo>
                      <a:pt x="1164" y="930"/>
                    </a:lnTo>
                    <a:lnTo>
                      <a:pt x="1162" y="929"/>
                    </a:lnTo>
                    <a:lnTo>
                      <a:pt x="1160" y="926"/>
                    </a:lnTo>
                    <a:lnTo>
                      <a:pt x="1160" y="923"/>
                    </a:lnTo>
                    <a:lnTo>
                      <a:pt x="1159" y="920"/>
                    </a:lnTo>
                    <a:lnTo>
                      <a:pt x="1158" y="916"/>
                    </a:lnTo>
                    <a:lnTo>
                      <a:pt x="1156" y="913"/>
                    </a:lnTo>
                    <a:lnTo>
                      <a:pt x="1155" y="910"/>
                    </a:lnTo>
                    <a:lnTo>
                      <a:pt x="1153" y="906"/>
                    </a:lnTo>
                    <a:lnTo>
                      <a:pt x="1153" y="904"/>
                    </a:lnTo>
                    <a:lnTo>
                      <a:pt x="1153" y="901"/>
                    </a:lnTo>
                    <a:lnTo>
                      <a:pt x="1153" y="899"/>
                    </a:lnTo>
                    <a:lnTo>
                      <a:pt x="1153" y="897"/>
                    </a:lnTo>
                    <a:lnTo>
                      <a:pt x="1153" y="894"/>
                    </a:lnTo>
                    <a:lnTo>
                      <a:pt x="1151" y="892"/>
                    </a:lnTo>
                    <a:lnTo>
                      <a:pt x="1148" y="887"/>
                    </a:lnTo>
                    <a:lnTo>
                      <a:pt x="1144" y="881"/>
                    </a:lnTo>
                    <a:lnTo>
                      <a:pt x="1140" y="878"/>
                    </a:lnTo>
                    <a:lnTo>
                      <a:pt x="1136" y="878"/>
                    </a:lnTo>
                    <a:lnTo>
                      <a:pt x="1130" y="881"/>
                    </a:lnTo>
                    <a:lnTo>
                      <a:pt x="1123" y="886"/>
                    </a:lnTo>
                    <a:lnTo>
                      <a:pt x="1115" y="886"/>
                    </a:lnTo>
                    <a:lnTo>
                      <a:pt x="1107" y="882"/>
                    </a:lnTo>
                    <a:lnTo>
                      <a:pt x="1100" y="879"/>
                    </a:lnTo>
                    <a:lnTo>
                      <a:pt x="1091" y="874"/>
                    </a:lnTo>
                    <a:lnTo>
                      <a:pt x="1081" y="872"/>
                    </a:lnTo>
                    <a:lnTo>
                      <a:pt x="1070" y="873"/>
                    </a:lnTo>
                    <a:lnTo>
                      <a:pt x="1059" y="873"/>
                    </a:lnTo>
                    <a:lnTo>
                      <a:pt x="1056" y="872"/>
                    </a:lnTo>
                    <a:lnTo>
                      <a:pt x="1049" y="870"/>
                    </a:lnTo>
                    <a:lnTo>
                      <a:pt x="1041" y="869"/>
                    </a:lnTo>
                    <a:lnTo>
                      <a:pt x="1035" y="869"/>
                    </a:lnTo>
                    <a:lnTo>
                      <a:pt x="1031" y="869"/>
                    </a:lnTo>
                    <a:lnTo>
                      <a:pt x="1032" y="870"/>
                    </a:lnTo>
                    <a:lnTo>
                      <a:pt x="1033" y="872"/>
                    </a:lnTo>
                    <a:lnTo>
                      <a:pt x="1034" y="873"/>
                    </a:lnTo>
                    <a:lnTo>
                      <a:pt x="1035" y="875"/>
                    </a:lnTo>
                    <a:lnTo>
                      <a:pt x="1037" y="877"/>
                    </a:lnTo>
                    <a:lnTo>
                      <a:pt x="1039" y="878"/>
                    </a:lnTo>
                    <a:lnTo>
                      <a:pt x="1040" y="880"/>
                    </a:lnTo>
                    <a:lnTo>
                      <a:pt x="1041" y="881"/>
                    </a:lnTo>
                    <a:lnTo>
                      <a:pt x="1041" y="882"/>
                    </a:lnTo>
                    <a:lnTo>
                      <a:pt x="1040" y="883"/>
                    </a:lnTo>
                    <a:lnTo>
                      <a:pt x="1038" y="883"/>
                    </a:lnTo>
                    <a:lnTo>
                      <a:pt x="1035" y="883"/>
                    </a:lnTo>
                    <a:lnTo>
                      <a:pt x="1031" y="885"/>
                    </a:lnTo>
                    <a:lnTo>
                      <a:pt x="1027" y="888"/>
                    </a:lnTo>
                    <a:lnTo>
                      <a:pt x="1025" y="891"/>
                    </a:lnTo>
                    <a:lnTo>
                      <a:pt x="1023" y="893"/>
                    </a:lnTo>
                    <a:lnTo>
                      <a:pt x="1018" y="892"/>
                    </a:lnTo>
                    <a:lnTo>
                      <a:pt x="1012" y="889"/>
                    </a:lnTo>
                    <a:lnTo>
                      <a:pt x="1007" y="885"/>
                    </a:lnTo>
                    <a:lnTo>
                      <a:pt x="1003" y="881"/>
                    </a:lnTo>
                    <a:lnTo>
                      <a:pt x="997" y="879"/>
                    </a:lnTo>
                    <a:lnTo>
                      <a:pt x="990" y="881"/>
                    </a:lnTo>
                    <a:lnTo>
                      <a:pt x="983" y="882"/>
                    </a:lnTo>
                    <a:lnTo>
                      <a:pt x="974" y="881"/>
                    </a:lnTo>
                    <a:lnTo>
                      <a:pt x="966" y="879"/>
                    </a:lnTo>
                    <a:lnTo>
                      <a:pt x="958" y="878"/>
                    </a:lnTo>
                    <a:lnTo>
                      <a:pt x="951" y="879"/>
                    </a:lnTo>
                    <a:lnTo>
                      <a:pt x="950" y="881"/>
                    </a:lnTo>
                    <a:lnTo>
                      <a:pt x="949" y="883"/>
                    </a:lnTo>
                    <a:lnTo>
                      <a:pt x="947" y="886"/>
                    </a:lnTo>
                    <a:lnTo>
                      <a:pt x="945" y="886"/>
                    </a:lnTo>
                    <a:lnTo>
                      <a:pt x="943" y="887"/>
                    </a:lnTo>
                    <a:lnTo>
                      <a:pt x="941" y="888"/>
                    </a:lnTo>
                    <a:lnTo>
                      <a:pt x="932" y="890"/>
                    </a:lnTo>
                    <a:lnTo>
                      <a:pt x="922" y="894"/>
                    </a:lnTo>
                    <a:lnTo>
                      <a:pt x="914" y="897"/>
                    </a:lnTo>
                    <a:lnTo>
                      <a:pt x="908" y="900"/>
                    </a:lnTo>
                    <a:lnTo>
                      <a:pt x="905" y="905"/>
                    </a:lnTo>
                    <a:lnTo>
                      <a:pt x="902" y="912"/>
                    </a:lnTo>
                    <a:lnTo>
                      <a:pt x="902" y="915"/>
                    </a:lnTo>
                    <a:lnTo>
                      <a:pt x="902" y="917"/>
                    </a:lnTo>
                    <a:lnTo>
                      <a:pt x="901" y="920"/>
                    </a:lnTo>
                    <a:lnTo>
                      <a:pt x="901" y="923"/>
                    </a:lnTo>
                    <a:lnTo>
                      <a:pt x="902" y="926"/>
                    </a:lnTo>
                    <a:lnTo>
                      <a:pt x="904" y="929"/>
                    </a:lnTo>
                    <a:lnTo>
                      <a:pt x="905" y="932"/>
                    </a:lnTo>
                    <a:lnTo>
                      <a:pt x="907" y="934"/>
                    </a:lnTo>
                    <a:lnTo>
                      <a:pt x="909" y="937"/>
                    </a:lnTo>
                    <a:lnTo>
                      <a:pt x="910" y="941"/>
                    </a:lnTo>
                    <a:lnTo>
                      <a:pt x="910" y="950"/>
                    </a:lnTo>
                    <a:lnTo>
                      <a:pt x="908" y="958"/>
                    </a:lnTo>
                    <a:lnTo>
                      <a:pt x="905" y="966"/>
                    </a:lnTo>
                    <a:lnTo>
                      <a:pt x="904" y="975"/>
                    </a:lnTo>
                    <a:lnTo>
                      <a:pt x="905" y="981"/>
                    </a:lnTo>
                    <a:lnTo>
                      <a:pt x="907" y="987"/>
                    </a:lnTo>
                    <a:lnTo>
                      <a:pt x="908" y="995"/>
                    </a:lnTo>
                    <a:lnTo>
                      <a:pt x="910" y="998"/>
                    </a:lnTo>
                    <a:lnTo>
                      <a:pt x="911" y="999"/>
                    </a:lnTo>
                    <a:lnTo>
                      <a:pt x="913" y="1000"/>
                    </a:lnTo>
                    <a:lnTo>
                      <a:pt x="915" y="1002"/>
                    </a:lnTo>
                    <a:lnTo>
                      <a:pt x="916" y="1004"/>
                    </a:lnTo>
                    <a:lnTo>
                      <a:pt x="919" y="1007"/>
                    </a:lnTo>
                    <a:lnTo>
                      <a:pt x="920" y="1010"/>
                    </a:lnTo>
                    <a:lnTo>
                      <a:pt x="921" y="1013"/>
                    </a:lnTo>
                    <a:lnTo>
                      <a:pt x="922" y="1016"/>
                    </a:lnTo>
                    <a:lnTo>
                      <a:pt x="927" y="1021"/>
                    </a:lnTo>
                    <a:lnTo>
                      <a:pt x="931" y="1026"/>
                    </a:lnTo>
                    <a:lnTo>
                      <a:pt x="935" y="1030"/>
                    </a:lnTo>
                    <a:lnTo>
                      <a:pt x="937" y="1032"/>
                    </a:lnTo>
                    <a:lnTo>
                      <a:pt x="939" y="1035"/>
                    </a:lnTo>
                    <a:lnTo>
                      <a:pt x="940" y="1038"/>
                    </a:lnTo>
                    <a:lnTo>
                      <a:pt x="941" y="1041"/>
                    </a:lnTo>
                    <a:lnTo>
                      <a:pt x="943" y="1044"/>
                    </a:lnTo>
                    <a:lnTo>
                      <a:pt x="947" y="1045"/>
                    </a:lnTo>
                    <a:lnTo>
                      <a:pt x="950" y="1046"/>
                    </a:lnTo>
                    <a:lnTo>
                      <a:pt x="953" y="1046"/>
                    </a:lnTo>
                    <a:lnTo>
                      <a:pt x="956" y="1047"/>
                    </a:lnTo>
                    <a:lnTo>
                      <a:pt x="959" y="1048"/>
                    </a:lnTo>
                    <a:lnTo>
                      <a:pt x="961" y="1049"/>
                    </a:lnTo>
                    <a:lnTo>
                      <a:pt x="963" y="1050"/>
                    </a:lnTo>
                    <a:lnTo>
                      <a:pt x="965" y="1051"/>
                    </a:lnTo>
                    <a:lnTo>
                      <a:pt x="968" y="1053"/>
                    </a:lnTo>
                    <a:lnTo>
                      <a:pt x="970" y="1053"/>
                    </a:lnTo>
                    <a:lnTo>
                      <a:pt x="971" y="1053"/>
                    </a:lnTo>
                    <a:lnTo>
                      <a:pt x="974" y="1050"/>
                    </a:lnTo>
                    <a:lnTo>
                      <a:pt x="976" y="1049"/>
                    </a:lnTo>
                    <a:lnTo>
                      <a:pt x="979" y="1049"/>
                    </a:lnTo>
                    <a:lnTo>
                      <a:pt x="981" y="1049"/>
                    </a:lnTo>
                    <a:lnTo>
                      <a:pt x="984" y="1050"/>
                    </a:lnTo>
                    <a:lnTo>
                      <a:pt x="996" y="1050"/>
                    </a:lnTo>
                    <a:lnTo>
                      <a:pt x="998" y="1049"/>
                    </a:lnTo>
                    <a:lnTo>
                      <a:pt x="1000" y="1048"/>
                    </a:lnTo>
                    <a:lnTo>
                      <a:pt x="1002" y="1048"/>
                    </a:lnTo>
                    <a:lnTo>
                      <a:pt x="1005" y="1049"/>
                    </a:lnTo>
                    <a:lnTo>
                      <a:pt x="1007" y="1050"/>
                    </a:lnTo>
                    <a:lnTo>
                      <a:pt x="1008" y="1051"/>
                    </a:lnTo>
                    <a:lnTo>
                      <a:pt x="1010" y="1053"/>
                    </a:lnTo>
                    <a:lnTo>
                      <a:pt x="1012" y="1053"/>
                    </a:lnTo>
                    <a:lnTo>
                      <a:pt x="1014" y="1053"/>
                    </a:lnTo>
                    <a:lnTo>
                      <a:pt x="1017" y="1051"/>
                    </a:lnTo>
                    <a:lnTo>
                      <a:pt x="1018" y="1051"/>
                    </a:lnTo>
                    <a:lnTo>
                      <a:pt x="1019" y="1049"/>
                    </a:lnTo>
                    <a:lnTo>
                      <a:pt x="1019" y="1048"/>
                    </a:lnTo>
                    <a:lnTo>
                      <a:pt x="1019" y="1047"/>
                    </a:lnTo>
                    <a:lnTo>
                      <a:pt x="1018" y="1046"/>
                    </a:lnTo>
                    <a:lnTo>
                      <a:pt x="1019" y="1044"/>
                    </a:lnTo>
                    <a:lnTo>
                      <a:pt x="1019" y="1042"/>
                    </a:lnTo>
                    <a:lnTo>
                      <a:pt x="1020" y="1041"/>
                    </a:lnTo>
                    <a:lnTo>
                      <a:pt x="1022" y="1040"/>
                    </a:lnTo>
                    <a:lnTo>
                      <a:pt x="1024" y="1038"/>
                    </a:lnTo>
                    <a:lnTo>
                      <a:pt x="1026" y="1035"/>
                    </a:lnTo>
                    <a:lnTo>
                      <a:pt x="1027" y="1032"/>
                    </a:lnTo>
                    <a:lnTo>
                      <a:pt x="1028" y="1029"/>
                    </a:lnTo>
                    <a:lnTo>
                      <a:pt x="1028" y="1025"/>
                    </a:lnTo>
                    <a:lnTo>
                      <a:pt x="1028" y="1022"/>
                    </a:lnTo>
                    <a:lnTo>
                      <a:pt x="1032" y="1018"/>
                    </a:lnTo>
                    <a:lnTo>
                      <a:pt x="1038" y="1017"/>
                    </a:lnTo>
                    <a:lnTo>
                      <a:pt x="1045" y="1016"/>
                    </a:lnTo>
                    <a:lnTo>
                      <a:pt x="1052" y="1016"/>
                    </a:lnTo>
                    <a:lnTo>
                      <a:pt x="1057" y="1016"/>
                    </a:lnTo>
                    <a:lnTo>
                      <a:pt x="1063" y="1015"/>
                    </a:lnTo>
                    <a:lnTo>
                      <a:pt x="1070" y="1014"/>
                    </a:lnTo>
                    <a:lnTo>
                      <a:pt x="1077" y="1014"/>
                    </a:lnTo>
                    <a:lnTo>
                      <a:pt x="1085" y="1015"/>
                    </a:lnTo>
                    <a:lnTo>
                      <a:pt x="1089" y="1018"/>
                    </a:lnTo>
                    <a:lnTo>
                      <a:pt x="1090" y="1022"/>
                    </a:lnTo>
                    <a:lnTo>
                      <a:pt x="1088" y="1025"/>
                    </a:lnTo>
                    <a:lnTo>
                      <a:pt x="1086" y="1028"/>
                    </a:lnTo>
                    <a:lnTo>
                      <a:pt x="1084" y="1030"/>
                    </a:lnTo>
                    <a:lnTo>
                      <a:pt x="1082" y="1033"/>
                    </a:lnTo>
                    <a:lnTo>
                      <a:pt x="1081" y="1036"/>
                    </a:lnTo>
                    <a:lnTo>
                      <a:pt x="1079" y="1039"/>
                    </a:lnTo>
                    <a:lnTo>
                      <a:pt x="1079" y="1042"/>
                    </a:lnTo>
                    <a:lnTo>
                      <a:pt x="1078" y="1051"/>
                    </a:lnTo>
                    <a:lnTo>
                      <a:pt x="1073" y="1059"/>
                    </a:lnTo>
                    <a:lnTo>
                      <a:pt x="1065" y="1063"/>
                    </a:lnTo>
                    <a:lnTo>
                      <a:pt x="1063" y="1063"/>
                    </a:lnTo>
                    <a:lnTo>
                      <a:pt x="1060" y="1063"/>
                    </a:lnTo>
                    <a:lnTo>
                      <a:pt x="1058" y="1064"/>
                    </a:lnTo>
                    <a:lnTo>
                      <a:pt x="1056" y="1065"/>
                    </a:lnTo>
                    <a:lnTo>
                      <a:pt x="1055" y="1067"/>
                    </a:lnTo>
                    <a:lnTo>
                      <a:pt x="1057" y="1069"/>
                    </a:lnTo>
                    <a:lnTo>
                      <a:pt x="1059" y="1070"/>
                    </a:lnTo>
                    <a:lnTo>
                      <a:pt x="1061" y="1071"/>
                    </a:lnTo>
                    <a:lnTo>
                      <a:pt x="1063" y="1073"/>
                    </a:lnTo>
                    <a:lnTo>
                      <a:pt x="1065" y="1076"/>
                    </a:lnTo>
                    <a:lnTo>
                      <a:pt x="1067" y="1081"/>
                    </a:lnTo>
                    <a:lnTo>
                      <a:pt x="1069" y="1085"/>
                    </a:lnTo>
                    <a:lnTo>
                      <a:pt x="1072" y="1089"/>
                    </a:lnTo>
                    <a:lnTo>
                      <a:pt x="1077" y="1091"/>
                    </a:lnTo>
                    <a:lnTo>
                      <a:pt x="1086" y="1091"/>
                    </a:lnTo>
                    <a:lnTo>
                      <a:pt x="1094" y="1089"/>
                    </a:lnTo>
                    <a:lnTo>
                      <a:pt x="1100" y="1091"/>
                    </a:lnTo>
                    <a:lnTo>
                      <a:pt x="1108" y="1091"/>
                    </a:lnTo>
                    <a:lnTo>
                      <a:pt x="1115" y="1090"/>
                    </a:lnTo>
                    <a:lnTo>
                      <a:pt x="1122" y="1089"/>
                    </a:lnTo>
                    <a:lnTo>
                      <a:pt x="1125" y="1089"/>
                    </a:lnTo>
                    <a:lnTo>
                      <a:pt x="1128" y="1089"/>
                    </a:lnTo>
                    <a:lnTo>
                      <a:pt x="1133" y="1089"/>
                    </a:lnTo>
                    <a:lnTo>
                      <a:pt x="1136" y="1090"/>
                    </a:lnTo>
                    <a:lnTo>
                      <a:pt x="1137" y="1091"/>
                    </a:lnTo>
                    <a:lnTo>
                      <a:pt x="1139" y="1093"/>
                    </a:lnTo>
                    <a:lnTo>
                      <a:pt x="1140" y="1095"/>
                    </a:lnTo>
                    <a:lnTo>
                      <a:pt x="1141" y="1096"/>
                    </a:lnTo>
                    <a:lnTo>
                      <a:pt x="1143" y="1097"/>
                    </a:lnTo>
                    <a:lnTo>
                      <a:pt x="1145" y="1097"/>
                    </a:lnTo>
                    <a:lnTo>
                      <a:pt x="1147" y="1097"/>
                    </a:lnTo>
                    <a:lnTo>
                      <a:pt x="1149" y="1097"/>
                    </a:lnTo>
                    <a:lnTo>
                      <a:pt x="1151" y="1096"/>
                    </a:lnTo>
                    <a:lnTo>
                      <a:pt x="1156" y="1098"/>
                    </a:lnTo>
                    <a:lnTo>
                      <a:pt x="1158" y="1102"/>
                    </a:lnTo>
                    <a:lnTo>
                      <a:pt x="1158" y="1109"/>
                    </a:lnTo>
                    <a:lnTo>
                      <a:pt x="1158" y="1114"/>
                    </a:lnTo>
                    <a:lnTo>
                      <a:pt x="1157" y="1117"/>
                    </a:lnTo>
                    <a:lnTo>
                      <a:pt x="1156" y="1121"/>
                    </a:lnTo>
                    <a:lnTo>
                      <a:pt x="1155" y="1124"/>
                    </a:lnTo>
                    <a:lnTo>
                      <a:pt x="1155" y="1128"/>
                    </a:lnTo>
                    <a:lnTo>
                      <a:pt x="1153" y="1131"/>
                    </a:lnTo>
                    <a:lnTo>
                      <a:pt x="1153" y="1135"/>
                    </a:lnTo>
                    <a:lnTo>
                      <a:pt x="1152" y="1138"/>
                    </a:lnTo>
                    <a:lnTo>
                      <a:pt x="1151" y="1140"/>
                    </a:lnTo>
                    <a:lnTo>
                      <a:pt x="1150" y="1143"/>
                    </a:lnTo>
                    <a:lnTo>
                      <a:pt x="1149" y="1145"/>
                    </a:lnTo>
                    <a:lnTo>
                      <a:pt x="1149" y="1159"/>
                    </a:lnTo>
                    <a:lnTo>
                      <a:pt x="1151" y="1162"/>
                    </a:lnTo>
                    <a:lnTo>
                      <a:pt x="1153" y="1163"/>
                    </a:lnTo>
                    <a:lnTo>
                      <a:pt x="1156" y="1166"/>
                    </a:lnTo>
                    <a:lnTo>
                      <a:pt x="1159" y="1167"/>
                    </a:lnTo>
                    <a:lnTo>
                      <a:pt x="1161" y="1168"/>
                    </a:lnTo>
                    <a:lnTo>
                      <a:pt x="1162" y="1169"/>
                    </a:lnTo>
                    <a:lnTo>
                      <a:pt x="1163" y="1171"/>
                    </a:lnTo>
                    <a:lnTo>
                      <a:pt x="1165" y="1172"/>
                    </a:lnTo>
                    <a:lnTo>
                      <a:pt x="1166" y="1173"/>
                    </a:lnTo>
                    <a:lnTo>
                      <a:pt x="1169" y="1174"/>
                    </a:lnTo>
                    <a:lnTo>
                      <a:pt x="1173" y="1176"/>
                    </a:lnTo>
                    <a:lnTo>
                      <a:pt x="1177" y="1176"/>
                    </a:lnTo>
                    <a:lnTo>
                      <a:pt x="1181" y="1176"/>
                    </a:lnTo>
                    <a:lnTo>
                      <a:pt x="1193" y="1175"/>
                    </a:lnTo>
                    <a:lnTo>
                      <a:pt x="1201" y="1173"/>
                    </a:lnTo>
                    <a:lnTo>
                      <a:pt x="1208" y="1170"/>
                    </a:lnTo>
                    <a:lnTo>
                      <a:pt x="1219" y="1169"/>
                    </a:lnTo>
                    <a:lnTo>
                      <a:pt x="1229" y="1171"/>
                    </a:lnTo>
                    <a:lnTo>
                      <a:pt x="1239" y="1174"/>
                    </a:lnTo>
                    <a:lnTo>
                      <a:pt x="1240" y="1175"/>
                    </a:lnTo>
                    <a:lnTo>
                      <a:pt x="1241" y="1176"/>
                    </a:lnTo>
                    <a:lnTo>
                      <a:pt x="1243" y="1177"/>
                    </a:lnTo>
                    <a:lnTo>
                      <a:pt x="1246" y="1178"/>
                    </a:lnTo>
                    <a:lnTo>
                      <a:pt x="1248" y="1179"/>
                    </a:lnTo>
                    <a:lnTo>
                      <a:pt x="1250" y="1180"/>
                    </a:lnTo>
                    <a:lnTo>
                      <a:pt x="1252" y="1181"/>
                    </a:lnTo>
                    <a:lnTo>
                      <a:pt x="1253" y="1180"/>
                    </a:lnTo>
                    <a:lnTo>
                      <a:pt x="1257" y="1179"/>
                    </a:lnTo>
                    <a:lnTo>
                      <a:pt x="1259" y="1177"/>
                    </a:lnTo>
                    <a:lnTo>
                      <a:pt x="1262" y="1175"/>
                    </a:lnTo>
                    <a:lnTo>
                      <a:pt x="1264" y="1173"/>
                    </a:lnTo>
                    <a:lnTo>
                      <a:pt x="1267" y="1170"/>
                    </a:lnTo>
                    <a:lnTo>
                      <a:pt x="1273" y="1167"/>
                    </a:lnTo>
                    <a:lnTo>
                      <a:pt x="1275" y="1162"/>
                    </a:lnTo>
                    <a:lnTo>
                      <a:pt x="1277" y="1158"/>
                    </a:lnTo>
                    <a:lnTo>
                      <a:pt x="1279" y="1153"/>
                    </a:lnTo>
                    <a:lnTo>
                      <a:pt x="1283" y="1149"/>
                    </a:lnTo>
                    <a:lnTo>
                      <a:pt x="1285" y="1149"/>
                    </a:lnTo>
                    <a:lnTo>
                      <a:pt x="1287" y="1147"/>
                    </a:lnTo>
                    <a:lnTo>
                      <a:pt x="1289" y="1146"/>
                    </a:lnTo>
                    <a:lnTo>
                      <a:pt x="1290" y="1145"/>
                    </a:lnTo>
                    <a:lnTo>
                      <a:pt x="1292" y="1146"/>
                    </a:lnTo>
                    <a:lnTo>
                      <a:pt x="1294" y="1146"/>
                    </a:lnTo>
                    <a:lnTo>
                      <a:pt x="1295" y="1147"/>
                    </a:lnTo>
                    <a:lnTo>
                      <a:pt x="1295" y="1147"/>
                    </a:lnTo>
                    <a:lnTo>
                      <a:pt x="1297" y="1147"/>
                    </a:lnTo>
                    <a:lnTo>
                      <a:pt x="1298" y="1148"/>
                    </a:lnTo>
                    <a:lnTo>
                      <a:pt x="1299" y="1147"/>
                    </a:lnTo>
                    <a:lnTo>
                      <a:pt x="1300" y="1146"/>
                    </a:lnTo>
                    <a:lnTo>
                      <a:pt x="1301" y="1145"/>
                    </a:lnTo>
                    <a:lnTo>
                      <a:pt x="1302" y="1144"/>
                    </a:lnTo>
                    <a:lnTo>
                      <a:pt x="1303" y="1142"/>
                    </a:lnTo>
                    <a:lnTo>
                      <a:pt x="1304" y="1141"/>
                    </a:lnTo>
                    <a:lnTo>
                      <a:pt x="1324" y="1137"/>
                    </a:lnTo>
                    <a:lnTo>
                      <a:pt x="1342" y="1129"/>
                    </a:lnTo>
                    <a:lnTo>
                      <a:pt x="1343" y="1128"/>
                    </a:lnTo>
                    <a:lnTo>
                      <a:pt x="1345" y="1127"/>
                    </a:lnTo>
                    <a:lnTo>
                      <a:pt x="1347" y="1126"/>
                    </a:lnTo>
                    <a:lnTo>
                      <a:pt x="1350" y="1126"/>
                    </a:lnTo>
                    <a:lnTo>
                      <a:pt x="1352" y="1126"/>
                    </a:lnTo>
                    <a:lnTo>
                      <a:pt x="1354" y="1126"/>
                    </a:lnTo>
                    <a:lnTo>
                      <a:pt x="1355" y="1127"/>
                    </a:lnTo>
                    <a:lnTo>
                      <a:pt x="1356" y="1128"/>
                    </a:lnTo>
                    <a:lnTo>
                      <a:pt x="1356" y="1129"/>
                    </a:lnTo>
                    <a:lnTo>
                      <a:pt x="1354" y="1132"/>
                    </a:lnTo>
                    <a:lnTo>
                      <a:pt x="1352" y="1133"/>
                    </a:lnTo>
                    <a:lnTo>
                      <a:pt x="1350" y="1134"/>
                    </a:lnTo>
                    <a:lnTo>
                      <a:pt x="1347" y="1134"/>
                    </a:lnTo>
                    <a:lnTo>
                      <a:pt x="1345" y="1135"/>
                    </a:lnTo>
                    <a:lnTo>
                      <a:pt x="1343" y="1136"/>
                    </a:lnTo>
                    <a:lnTo>
                      <a:pt x="1342" y="1137"/>
                    </a:lnTo>
                    <a:lnTo>
                      <a:pt x="1340" y="1139"/>
                    </a:lnTo>
                    <a:lnTo>
                      <a:pt x="1341" y="1141"/>
                    </a:lnTo>
                    <a:lnTo>
                      <a:pt x="1341" y="1143"/>
                    </a:lnTo>
                    <a:lnTo>
                      <a:pt x="1342" y="1145"/>
                    </a:lnTo>
                    <a:lnTo>
                      <a:pt x="1343" y="1148"/>
                    </a:lnTo>
                    <a:lnTo>
                      <a:pt x="1344" y="1150"/>
                    </a:lnTo>
                    <a:lnTo>
                      <a:pt x="1344" y="1151"/>
                    </a:lnTo>
                    <a:lnTo>
                      <a:pt x="1342" y="1153"/>
                    </a:lnTo>
                    <a:lnTo>
                      <a:pt x="1340" y="1155"/>
                    </a:lnTo>
                    <a:lnTo>
                      <a:pt x="1336" y="1156"/>
                    </a:lnTo>
                    <a:lnTo>
                      <a:pt x="1333" y="1158"/>
                    </a:lnTo>
                    <a:lnTo>
                      <a:pt x="1331" y="1160"/>
                    </a:lnTo>
                    <a:lnTo>
                      <a:pt x="1331" y="1161"/>
                    </a:lnTo>
                    <a:lnTo>
                      <a:pt x="1331" y="1162"/>
                    </a:lnTo>
                    <a:lnTo>
                      <a:pt x="1332" y="1163"/>
                    </a:lnTo>
                    <a:lnTo>
                      <a:pt x="1334" y="1165"/>
                    </a:lnTo>
                    <a:lnTo>
                      <a:pt x="1335" y="1165"/>
                    </a:lnTo>
                    <a:lnTo>
                      <a:pt x="1337" y="1166"/>
                    </a:lnTo>
                    <a:lnTo>
                      <a:pt x="1339" y="1167"/>
                    </a:lnTo>
                    <a:lnTo>
                      <a:pt x="1340" y="1168"/>
                    </a:lnTo>
                    <a:lnTo>
                      <a:pt x="1340" y="1169"/>
                    </a:lnTo>
                    <a:lnTo>
                      <a:pt x="1342" y="1170"/>
                    </a:lnTo>
                    <a:lnTo>
                      <a:pt x="1343" y="1171"/>
                    </a:lnTo>
                    <a:lnTo>
                      <a:pt x="1344" y="1170"/>
                    </a:lnTo>
                    <a:lnTo>
                      <a:pt x="1346" y="1169"/>
                    </a:lnTo>
                    <a:lnTo>
                      <a:pt x="1347" y="1167"/>
                    </a:lnTo>
                    <a:lnTo>
                      <a:pt x="1348" y="1166"/>
                    </a:lnTo>
                    <a:lnTo>
                      <a:pt x="1350" y="1163"/>
                    </a:lnTo>
                    <a:lnTo>
                      <a:pt x="1351" y="1161"/>
                    </a:lnTo>
                    <a:lnTo>
                      <a:pt x="1351" y="1159"/>
                    </a:lnTo>
                    <a:lnTo>
                      <a:pt x="1350" y="1157"/>
                    </a:lnTo>
                    <a:lnTo>
                      <a:pt x="1349" y="1156"/>
                    </a:lnTo>
                    <a:lnTo>
                      <a:pt x="1348" y="1154"/>
                    </a:lnTo>
                    <a:lnTo>
                      <a:pt x="1347" y="1151"/>
                    </a:lnTo>
                    <a:lnTo>
                      <a:pt x="1346" y="1149"/>
                    </a:lnTo>
                    <a:lnTo>
                      <a:pt x="1347" y="1147"/>
                    </a:lnTo>
                    <a:lnTo>
                      <a:pt x="1348" y="1145"/>
                    </a:lnTo>
                    <a:lnTo>
                      <a:pt x="1350" y="1143"/>
                    </a:lnTo>
                    <a:lnTo>
                      <a:pt x="1357" y="1141"/>
                    </a:lnTo>
                    <a:lnTo>
                      <a:pt x="1365" y="1139"/>
                    </a:lnTo>
                    <a:lnTo>
                      <a:pt x="1374" y="1137"/>
                    </a:lnTo>
                    <a:lnTo>
                      <a:pt x="1372" y="1135"/>
                    </a:lnTo>
                    <a:lnTo>
                      <a:pt x="1371" y="1134"/>
                    </a:lnTo>
                    <a:lnTo>
                      <a:pt x="1369" y="1133"/>
                    </a:lnTo>
                    <a:lnTo>
                      <a:pt x="1368" y="1131"/>
                    </a:lnTo>
                    <a:lnTo>
                      <a:pt x="1368" y="1129"/>
                    </a:lnTo>
                    <a:lnTo>
                      <a:pt x="1369" y="1128"/>
                    </a:lnTo>
                    <a:lnTo>
                      <a:pt x="1371" y="1128"/>
                    </a:lnTo>
                    <a:lnTo>
                      <a:pt x="1373" y="1128"/>
                    </a:lnTo>
                    <a:lnTo>
                      <a:pt x="1375" y="1129"/>
                    </a:lnTo>
                    <a:lnTo>
                      <a:pt x="1376" y="1130"/>
                    </a:lnTo>
                    <a:lnTo>
                      <a:pt x="1378" y="1131"/>
                    </a:lnTo>
                    <a:lnTo>
                      <a:pt x="1377" y="1132"/>
                    </a:lnTo>
                    <a:lnTo>
                      <a:pt x="1377" y="1133"/>
                    </a:lnTo>
                    <a:lnTo>
                      <a:pt x="1376" y="1134"/>
                    </a:lnTo>
                    <a:lnTo>
                      <a:pt x="1376" y="1135"/>
                    </a:lnTo>
                    <a:lnTo>
                      <a:pt x="1376" y="1135"/>
                    </a:lnTo>
                    <a:lnTo>
                      <a:pt x="1378" y="1135"/>
                    </a:lnTo>
                    <a:lnTo>
                      <a:pt x="1388" y="1135"/>
                    </a:lnTo>
                    <a:lnTo>
                      <a:pt x="1392" y="1136"/>
                    </a:lnTo>
                    <a:lnTo>
                      <a:pt x="1394" y="1136"/>
                    </a:lnTo>
                    <a:lnTo>
                      <a:pt x="1395" y="1137"/>
                    </a:lnTo>
                    <a:lnTo>
                      <a:pt x="1396" y="1138"/>
                    </a:lnTo>
                    <a:lnTo>
                      <a:pt x="1397" y="1139"/>
                    </a:lnTo>
                    <a:lnTo>
                      <a:pt x="1397" y="1141"/>
                    </a:lnTo>
                    <a:lnTo>
                      <a:pt x="1397" y="1143"/>
                    </a:lnTo>
                    <a:lnTo>
                      <a:pt x="1397" y="1145"/>
                    </a:lnTo>
                    <a:lnTo>
                      <a:pt x="1398" y="1146"/>
                    </a:lnTo>
                    <a:lnTo>
                      <a:pt x="1400" y="1147"/>
                    </a:lnTo>
                    <a:lnTo>
                      <a:pt x="1403" y="1147"/>
                    </a:lnTo>
                    <a:lnTo>
                      <a:pt x="1409" y="1146"/>
                    </a:lnTo>
                    <a:lnTo>
                      <a:pt x="1417" y="1144"/>
                    </a:lnTo>
                    <a:lnTo>
                      <a:pt x="1425" y="1144"/>
                    </a:lnTo>
                    <a:lnTo>
                      <a:pt x="1431" y="1145"/>
                    </a:lnTo>
                    <a:lnTo>
                      <a:pt x="1432" y="1146"/>
                    </a:lnTo>
                    <a:lnTo>
                      <a:pt x="1432" y="1146"/>
                    </a:lnTo>
                    <a:lnTo>
                      <a:pt x="1432" y="1148"/>
                    </a:lnTo>
                    <a:lnTo>
                      <a:pt x="1434" y="1148"/>
                    </a:lnTo>
                    <a:lnTo>
                      <a:pt x="1435" y="1149"/>
                    </a:lnTo>
                    <a:lnTo>
                      <a:pt x="1436" y="1149"/>
                    </a:lnTo>
                    <a:lnTo>
                      <a:pt x="1437" y="1149"/>
                    </a:lnTo>
                    <a:lnTo>
                      <a:pt x="1439" y="1149"/>
                    </a:lnTo>
                    <a:lnTo>
                      <a:pt x="1448" y="1148"/>
                    </a:lnTo>
                    <a:lnTo>
                      <a:pt x="1456" y="1145"/>
                    </a:lnTo>
                    <a:lnTo>
                      <a:pt x="1458" y="1143"/>
                    </a:lnTo>
                    <a:lnTo>
                      <a:pt x="1460" y="1142"/>
                    </a:lnTo>
                    <a:lnTo>
                      <a:pt x="1463" y="1141"/>
                    </a:lnTo>
                    <a:lnTo>
                      <a:pt x="1466" y="1141"/>
                    </a:lnTo>
                    <a:lnTo>
                      <a:pt x="1469" y="1140"/>
                    </a:lnTo>
                    <a:lnTo>
                      <a:pt x="1472" y="1137"/>
                    </a:lnTo>
                    <a:lnTo>
                      <a:pt x="1474" y="1136"/>
                    </a:lnTo>
                    <a:lnTo>
                      <a:pt x="1476" y="1136"/>
                    </a:lnTo>
                    <a:lnTo>
                      <a:pt x="1478" y="1136"/>
                    </a:lnTo>
                    <a:lnTo>
                      <a:pt x="1479" y="1136"/>
                    </a:lnTo>
                    <a:lnTo>
                      <a:pt x="1480" y="1137"/>
                    </a:lnTo>
                    <a:lnTo>
                      <a:pt x="1481" y="1138"/>
                    </a:lnTo>
                    <a:lnTo>
                      <a:pt x="1481" y="1139"/>
                    </a:lnTo>
                    <a:lnTo>
                      <a:pt x="1482" y="1140"/>
                    </a:lnTo>
                    <a:lnTo>
                      <a:pt x="1483" y="1141"/>
                    </a:lnTo>
                    <a:lnTo>
                      <a:pt x="1484" y="1141"/>
                    </a:lnTo>
                    <a:lnTo>
                      <a:pt x="1485" y="1142"/>
                    </a:lnTo>
                    <a:lnTo>
                      <a:pt x="1485" y="1143"/>
                    </a:lnTo>
                    <a:lnTo>
                      <a:pt x="1485" y="1144"/>
                    </a:lnTo>
                    <a:lnTo>
                      <a:pt x="1485" y="1145"/>
                    </a:lnTo>
                    <a:lnTo>
                      <a:pt x="1485" y="1146"/>
                    </a:lnTo>
                    <a:lnTo>
                      <a:pt x="1486" y="1146"/>
                    </a:lnTo>
                    <a:lnTo>
                      <a:pt x="1488" y="1147"/>
                    </a:lnTo>
                    <a:lnTo>
                      <a:pt x="1490" y="1148"/>
                    </a:lnTo>
                    <a:lnTo>
                      <a:pt x="1494" y="1149"/>
                    </a:lnTo>
                    <a:lnTo>
                      <a:pt x="1496" y="1150"/>
                    </a:lnTo>
                    <a:lnTo>
                      <a:pt x="1499" y="1151"/>
                    </a:lnTo>
                    <a:lnTo>
                      <a:pt x="1499" y="1149"/>
                    </a:lnTo>
                    <a:lnTo>
                      <a:pt x="1500" y="1148"/>
                    </a:lnTo>
                    <a:lnTo>
                      <a:pt x="1501" y="1148"/>
                    </a:lnTo>
                    <a:lnTo>
                      <a:pt x="1502" y="1148"/>
                    </a:lnTo>
                    <a:lnTo>
                      <a:pt x="1505" y="1149"/>
                    </a:lnTo>
                    <a:lnTo>
                      <a:pt x="1506" y="1150"/>
                    </a:lnTo>
                    <a:lnTo>
                      <a:pt x="1508" y="1151"/>
                    </a:lnTo>
                    <a:lnTo>
                      <a:pt x="1509" y="1152"/>
                    </a:lnTo>
                    <a:lnTo>
                      <a:pt x="1510" y="1152"/>
                    </a:lnTo>
                    <a:lnTo>
                      <a:pt x="1511" y="1153"/>
                    </a:lnTo>
                    <a:lnTo>
                      <a:pt x="1512" y="1155"/>
                    </a:lnTo>
                    <a:lnTo>
                      <a:pt x="1511" y="1156"/>
                    </a:lnTo>
                    <a:lnTo>
                      <a:pt x="1510" y="1158"/>
                    </a:lnTo>
                    <a:lnTo>
                      <a:pt x="1508" y="1159"/>
                    </a:lnTo>
                    <a:lnTo>
                      <a:pt x="1506" y="1160"/>
                    </a:lnTo>
                    <a:lnTo>
                      <a:pt x="1504" y="1160"/>
                    </a:lnTo>
                    <a:lnTo>
                      <a:pt x="1503" y="1161"/>
                    </a:lnTo>
                    <a:lnTo>
                      <a:pt x="1502" y="1162"/>
                    </a:lnTo>
                    <a:lnTo>
                      <a:pt x="1502" y="1163"/>
                    </a:lnTo>
                    <a:lnTo>
                      <a:pt x="1502" y="1163"/>
                    </a:lnTo>
                    <a:lnTo>
                      <a:pt x="1504" y="1163"/>
                    </a:lnTo>
                    <a:lnTo>
                      <a:pt x="1505" y="1163"/>
                    </a:lnTo>
                    <a:lnTo>
                      <a:pt x="1507" y="1162"/>
                    </a:lnTo>
                    <a:lnTo>
                      <a:pt x="1508" y="1162"/>
                    </a:lnTo>
                    <a:lnTo>
                      <a:pt x="1510" y="1161"/>
                    </a:lnTo>
                    <a:lnTo>
                      <a:pt x="1511" y="1161"/>
                    </a:lnTo>
                    <a:lnTo>
                      <a:pt x="1520" y="1160"/>
                    </a:lnTo>
                    <a:lnTo>
                      <a:pt x="1529" y="1162"/>
                    </a:lnTo>
                    <a:lnTo>
                      <a:pt x="1535" y="1168"/>
                    </a:lnTo>
                    <a:lnTo>
                      <a:pt x="1536" y="1170"/>
                    </a:lnTo>
                    <a:lnTo>
                      <a:pt x="1538" y="1171"/>
                    </a:lnTo>
                    <a:lnTo>
                      <a:pt x="1539" y="1173"/>
                    </a:lnTo>
                    <a:lnTo>
                      <a:pt x="1540" y="1175"/>
                    </a:lnTo>
                    <a:lnTo>
                      <a:pt x="1541" y="1176"/>
                    </a:lnTo>
                    <a:lnTo>
                      <a:pt x="1539" y="1182"/>
                    </a:lnTo>
                    <a:lnTo>
                      <a:pt x="1541" y="1180"/>
                    </a:lnTo>
                    <a:lnTo>
                      <a:pt x="1546" y="1180"/>
                    </a:lnTo>
                    <a:lnTo>
                      <a:pt x="1550" y="1181"/>
                    </a:lnTo>
                    <a:lnTo>
                      <a:pt x="1553" y="1183"/>
                    </a:lnTo>
                    <a:lnTo>
                      <a:pt x="1556" y="1184"/>
                    </a:lnTo>
                    <a:lnTo>
                      <a:pt x="1557" y="1185"/>
                    </a:lnTo>
                    <a:lnTo>
                      <a:pt x="1558" y="1185"/>
                    </a:lnTo>
                    <a:lnTo>
                      <a:pt x="1558" y="1187"/>
                    </a:lnTo>
                    <a:lnTo>
                      <a:pt x="1560" y="1188"/>
                    </a:lnTo>
                    <a:lnTo>
                      <a:pt x="1561" y="1189"/>
                    </a:lnTo>
                    <a:lnTo>
                      <a:pt x="1563" y="1189"/>
                    </a:lnTo>
                    <a:lnTo>
                      <a:pt x="1565" y="1189"/>
                    </a:lnTo>
                    <a:lnTo>
                      <a:pt x="1568" y="1189"/>
                    </a:lnTo>
                    <a:lnTo>
                      <a:pt x="1570" y="1189"/>
                    </a:lnTo>
                    <a:lnTo>
                      <a:pt x="1572" y="1188"/>
                    </a:lnTo>
                    <a:lnTo>
                      <a:pt x="1574" y="1188"/>
                    </a:lnTo>
                    <a:lnTo>
                      <a:pt x="1590" y="1184"/>
                    </a:lnTo>
                    <a:lnTo>
                      <a:pt x="1607" y="1184"/>
                    </a:lnTo>
                    <a:lnTo>
                      <a:pt x="1611" y="1185"/>
                    </a:lnTo>
                    <a:lnTo>
                      <a:pt x="1615" y="1186"/>
                    </a:lnTo>
                    <a:lnTo>
                      <a:pt x="1619" y="1188"/>
                    </a:lnTo>
                    <a:lnTo>
                      <a:pt x="1624" y="1190"/>
                    </a:lnTo>
                    <a:lnTo>
                      <a:pt x="1629" y="1192"/>
                    </a:lnTo>
                    <a:lnTo>
                      <a:pt x="1633" y="1194"/>
                    </a:lnTo>
                    <a:lnTo>
                      <a:pt x="1634" y="1196"/>
                    </a:lnTo>
                    <a:lnTo>
                      <a:pt x="1635" y="1198"/>
                    </a:lnTo>
                    <a:lnTo>
                      <a:pt x="1636" y="1199"/>
                    </a:lnTo>
                    <a:lnTo>
                      <a:pt x="1636" y="1201"/>
                    </a:lnTo>
                    <a:lnTo>
                      <a:pt x="1637" y="1204"/>
                    </a:lnTo>
                    <a:lnTo>
                      <a:pt x="1637" y="1208"/>
                    </a:lnTo>
                    <a:lnTo>
                      <a:pt x="1637" y="1212"/>
                    </a:lnTo>
                    <a:lnTo>
                      <a:pt x="1639" y="1216"/>
                    </a:lnTo>
                    <a:lnTo>
                      <a:pt x="1640" y="1217"/>
                    </a:lnTo>
                    <a:lnTo>
                      <a:pt x="1642" y="1219"/>
                    </a:lnTo>
                    <a:lnTo>
                      <a:pt x="1643" y="1221"/>
                    </a:lnTo>
                    <a:lnTo>
                      <a:pt x="1645" y="1222"/>
                    </a:lnTo>
                    <a:lnTo>
                      <a:pt x="1647" y="1224"/>
                    </a:lnTo>
                    <a:lnTo>
                      <a:pt x="1648" y="1225"/>
                    </a:lnTo>
                    <a:lnTo>
                      <a:pt x="1648" y="1228"/>
                    </a:lnTo>
                    <a:lnTo>
                      <a:pt x="1647" y="1230"/>
                    </a:lnTo>
                    <a:lnTo>
                      <a:pt x="1645" y="1233"/>
                    </a:lnTo>
                    <a:lnTo>
                      <a:pt x="1642" y="1236"/>
                    </a:lnTo>
                    <a:lnTo>
                      <a:pt x="1640" y="1238"/>
                    </a:lnTo>
                    <a:lnTo>
                      <a:pt x="1637" y="1240"/>
                    </a:lnTo>
                    <a:lnTo>
                      <a:pt x="1635" y="1243"/>
                    </a:lnTo>
                    <a:lnTo>
                      <a:pt x="1623" y="1249"/>
                    </a:lnTo>
                    <a:lnTo>
                      <a:pt x="1622" y="1250"/>
                    </a:lnTo>
                    <a:lnTo>
                      <a:pt x="1621" y="1252"/>
                    </a:lnTo>
                    <a:lnTo>
                      <a:pt x="1620" y="1254"/>
                    </a:lnTo>
                    <a:lnTo>
                      <a:pt x="1618" y="1257"/>
                    </a:lnTo>
                    <a:lnTo>
                      <a:pt x="1615" y="1259"/>
                    </a:lnTo>
                    <a:lnTo>
                      <a:pt x="1613" y="1261"/>
                    </a:lnTo>
                    <a:lnTo>
                      <a:pt x="1611" y="1263"/>
                    </a:lnTo>
                    <a:lnTo>
                      <a:pt x="1610" y="1265"/>
                    </a:lnTo>
                    <a:lnTo>
                      <a:pt x="1609" y="1265"/>
                    </a:lnTo>
                    <a:lnTo>
                      <a:pt x="1615" y="1263"/>
                    </a:lnTo>
                    <a:lnTo>
                      <a:pt x="1620" y="1260"/>
                    </a:lnTo>
                    <a:lnTo>
                      <a:pt x="1625" y="1257"/>
                    </a:lnTo>
                    <a:lnTo>
                      <a:pt x="1626" y="1257"/>
                    </a:lnTo>
                    <a:lnTo>
                      <a:pt x="1627" y="1257"/>
                    </a:lnTo>
                    <a:lnTo>
                      <a:pt x="1627" y="1259"/>
                    </a:lnTo>
                    <a:lnTo>
                      <a:pt x="1627" y="1260"/>
                    </a:lnTo>
                    <a:lnTo>
                      <a:pt x="1628" y="1262"/>
                    </a:lnTo>
                    <a:lnTo>
                      <a:pt x="1628" y="1264"/>
                    </a:lnTo>
                    <a:lnTo>
                      <a:pt x="1628" y="1265"/>
                    </a:lnTo>
                    <a:lnTo>
                      <a:pt x="1629" y="1265"/>
                    </a:lnTo>
                    <a:lnTo>
                      <a:pt x="1633" y="1265"/>
                    </a:lnTo>
                    <a:lnTo>
                      <a:pt x="1641" y="1263"/>
                    </a:lnTo>
                    <a:lnTo>
                      <a:pt x="1648" y="1261"/>
                    </a:lnTo>
                    <a:lnTo>
                      <a:pt x="1649" y="1261"/>
                    </a:lnTo>
                    <a:lnTo>
                      <a:pt x="1650" y="1260"/>
                    </a:lnTo>
                    <a:lnTo>
                      <a:pt x="1649" y="1260"/>
                    </a:lnTo>
                    <a:lnTo>
                      <a:pt x="1648" y="1259"/>
                    </a:lnTo>
                    <a:lnTo>
                      <a:pt x="1645" y="1259"/>
                    </a:lnTo>
                    <a:lnTo>
                      <a:pt x="1642" y="1260"/>
                    </a:lnTo>
                    <a:lnTo>
                      <a:pt x="1640" y="1261"/>
                    </a:lnTo>
                    <a:lnTo>
                      <a:pt x="1637" y="1262"/>
                    </a:lnTo>
                    <a:lnTo>
                      <a:pt x="1635" y="1263"/>
                    </a:lnTo>
                    <a:lnTo>
                      <a:pt x="1633" y="1263"/>
                    </a:lnTo>
                    <a:lnTo>
                      <a:pt x="1632" y="1262"/>
                    </a:lnTo>
                    <a:lnTo>
                      <a:pt x="1631" y="1261"/>
                    </a:lnTo>
                    <a:lnTo>
                      <a:pt x="1630" y="1259"/>
                    </a:lnTo>
                    <a:lnTo>
                      <a:pt x="1630" y="1257"/>
                    </a:lnTo>
                    <a:lnTo>
                      <a:pt x="1631" y="1254"/>
                    </a:lnTo>
                    <a:lnTo>
                      <a:pt x="1632" y="1252"/>
                    </a:lnTo>
                    <a:lnTo>
                      <a:pt x="1633" y="1249"/>
                    </a:lnTo>
                    <a:lnTo>
                      <a:pt x="1638" y="1245"/>
                    </a:lnTo>
                    <a:lnTo>
                      <a:pt x="1644" y="1244"/>
                    </a:lnTo>
                    <a:lnTo>
                      <a:pt x="1650" y="1245"/>
                    </a:lnTo>
                    <a:lnTo>
                      <a:pt x="1652" y="1245"/>
                    </a:lnTo>
                    <a:lnTo>
                      <a:pt x="1654" y="1244"/>
                    </a:lnTo>
                    <a:lnTo>
                      <a:pt x="1657" y="1244"/>
                    </a:lnTo>
                    <a:lnTo>
                      <a:pt x="1659" y="1243"/>
                    </a:lnTo>
                    <a:lnTo>
                      <a:pt x="1662" y="1243"/>
                    </a:lnTo>
                    <a:lnTo>
                      <a:pt x="1663" y="1243"/>
                    </a:lnTo>
                    <a:lnTo>
                      <a:pt x="1664" y="1243"/>
                    </a:lnTo>
                    <a:lnTo>
                      <a:pt x="1664" y="1244"/>
                    </a:lnTo>
                    <a:lnTo>
                      <a:pt x="1664" y="1246"/>
                    </a:lnTo>
                    <a:lnTo>
                      <a:pt x="1662" y="1247"/>
                    </a:lnTo>
                    <a:lnTo>
                      <a:pt x="1661" y="1249"/>
                    </a:lnTo>
                    <a:lnTo>
                      <a:pt x="1659" y="1250"/>
                    </a:lnTo>
                    <a:lnTo>
                      <a:pt x="1658" y="1251"/>
                    </a:lnTo>
                    <a:lnTo>
                      <a:pt x="1658" y="1252"/>
                    </a:lnTo>
                    <a:lnTo>
                      <a:pt x="1657" y="1253"/>
                    </a:lnTo>
                    <a:lnTo>
                      <a:pt x="1656" y="1254"/>
                    </a:lnTo>
                    <a:lnTo>
                      <a:pt x="1656" y="1256"/>
                    </a:lnTo>
                    <a:lnTo>
                      <a:pt x="1655" y="1257"/>
                    </a:lnTo>
                    <a:lnTo>
                      <a:pt x="1655" y="1257"/>
                    </a:lnTo>
                    <a:lnTo>
                      <a:pt x="1656" y="1257"/>
                    </a:lnTo>
                    <a:lnTo>
                      <a:pt x="1661" y="1254"/>
                    </a:lnTo>
                    <a:lnTo>
                      <a:pt x="1665" y="1249"/>
                    </a:lnTo>
                    <a:lnTo>
                      <a:pt x="1670" y="1246"/>
                    </a:lnTo>
                    <a:lnTo>
                      <a:pt x="1678" y="1243"/>
                    </a:lnTo>
                    <a:lnTo>
                      <a:pt x="1680" y="1244"/>
                    </a:lnTo>
                    <a:lnTo>
                      <a:pt x="1682" y="1245"/>
                    </a:lnTo>
                    <a:lnTo>
                      <a:pt x="1684" y="1245"/>
                    </a:lnTo>
                    <a:lnTo>
                      <a:pt x="1692" y="1245"/>
                    </a:lnTo>
                    <a:lnTo>
                      <a:pt x="1693" y="1244"/>
                    </a:lnTo>
                    <a:lnTo>
                      <a:pt x="1695" y="1244"/>
                    </a:lnTo>
                    <a:lnTo>
                      <a:pt x="1695" y="1245"/>
                    </a:lnTo>
                    <a:lnTo>
                      <a:pt x="1696" y="1245"/>
                    </a:lnTo>
                    <a:lnTo>
                      <a:pt x="1697" y="1246"/>
                    </a:lnTo>
                    <a:lnTo>
                      <a:pt x="1700" y="1246"/>
                    </a:lnTo>
                    <a:lnTo>
                      <a:pt x="1701" y="1246"/>
                    </a:lnTo>
                    <a:lnTo>
                      <a:pt x="1703" y="1247"/>
                    </a:lnTo>
                    <a:lnTo>
                      <a:pt x="1706" y="1248"/>
                    </a:lnTo>
                    <a:lnTo>
                      <a:pt x="1709" y="1249"/>
                    </a:lnTo>
                    <a:lnTo>
                      <a:pt x="1711" y="1251"/>
                    </a:lnTo>
                    <a:lnTo>
                      <a:pt x="1713" y="1253"/>
                    </a:lnTo>
                    <a:lnTo>
                      <a:pt x="1712" y="1255"/>
                    </a:lnTo>
                    <a:lnTo>
                      <a:pt x="1711" y="1257"/>
                    </a:lnTo>
                    <a:lnTo>
                      <a:pt x="1709" y="1259"/>
                    </a:lnTo>
                    <a:lnTo>
                      <a:pt x="1708" y="1259"/>
                    </a:lnTo>
                    <a:lnTo>
                      <a:pt x="1708" y="1260"/>
                    </a:lnTo>
                    <a:lnTo>
                      <a:pt x="1708" y="1260"/>
                    </a:lnTo>
                    <a:lnTo>
                      <a:pt x="1709" y="1261"/>
                    </a:lnTo>
                    <a:lnTo>
                      <a:pt x="1709" y="1261"/>
                    </a:lnTo>
                    <a:lnTo>
                      <a:pt x="1712" y="1261"/>
                    </a:lnTo>
                    <a:lnTo>
                      <a:pt x="1714" y="1259"/>
                    </a:lnTo>
                    <a:lnTo>
                      <a:pt x="1717" y="1257"/>
                    </a:lnTo>
                    <a:lnTo>
                      <a:pt x="1719" y="1255"/>
                    </a:lnTo>
                    <a:lnTo>
                      <a:pt x="1722" y="1254"/>
                    </a:lnTo>
                    <a:lnTo>
                      <a:pt x="1725" y="1253"/>
                    </a:lnTo>
                    <a:lnTo>
                      <a:pt x="1728" y="1253"/>
                    </a:lnTo>
                    <a:lnTo>
                      <a:pt x="1730" y="1254"/>
                    </a:lnTo>
                    <a:lnTo>
                      <a:pt x="1733" y="1254"/>
                    </a:lnTo>
                    <a:lnTo>
                      <a:pt x="1735" y="1255"/>
                    </a:lnTo>
                    <a:lnTo>
                      <a:pt x="1737" y="1255"/>
                    </a:lnTo>
                    <a:lnTo>
                      <a:pt x="1739" y="1255"/>
                    </a:lnTo>
                    <a:lnTo>
                      <a:pt x="1741" y="1254"/>
                    </a:lnTo>
                    <a:lnTo>
                      <a:pt x="1743" y="1253"/>
                    </a:lnTo>
                    <a:lnTo>
                      <a:pt x="1744" y="1254"/>
                    </a:lnTo>
                    <a:lnTo>
                      <a:pt x="1746" y="1255"/>
                    </a:lnTo>
                    <a:lnTo>
                      <a:pt x="1748" y="1254"/>
                    </a:lnTo>
                    <a:lnTo>
                      <a:pt x="1752" y="1253"/>
                    </a:lnTo>
                    <a:lnTo>
                      <a:pt x="1754" y="1253"/>
                    </a:lnTo>
                    <a:lnTo>
                      <a:pt x="1756" y="1252"/>
                    </a:lnTo>
                    <a:lnTo>
                      <a:pt x="1759" y="1251"/>
                    </a:lnTo>
                    <a:lnTo>
                      <a:pt x="1762" y="1249"/>
                    </a:lnTo>
                    <a:lnTo>
                      <a:pt x="1768" y="1249"/>
                    </a:lnTo>
                    <a:lnTo>
                      <a:pt x="1771" y="1250"/>
                    </a:lnTo>
                    <a:lnTo>
                      <a:pt x="1774" y="1251"/>
                    </a:lnTo>
                    <a:lnTo>
                      <a:pt x="1776" y="1252"/>
                    </a:lnTo>
                    <a:lnTo>
                      <a:pt x="1778" y="1254"/>
                    </a:lnTo>
                    <a:lnTo>
                      <a:pt x="1780" y="1255"/>
                    </a:lnTo>
                    <a:lnTo>
                      <a:pt x="1783" y="1256"/>
                    </a:lnTo>
                    <a:lnTo>
                      <a:pt x="1787" y="1257"/>
                    </a:lnTo>
                    <a:lnTo>
                      <a:pt x="1790" y="1258"/>
                    </a:lnTo>
                    <a:lnTo>
                      <a:pt x="1792" y="1259"/>
                    </a:lnTo>
                    <a:lnTo>
                      <a:pt x="1794" y="1261"/>
                    </a:lnTo>
                    <a:lnTo>
                      <a:pt x="1798" y="1262"/>
                    </a:lnTo>
                    <a:lnTo>
                      <a:pt x="1803" y="1262"/>
                    </a:lnTo>
                    <a:lnTo>
                      <a:pt x="1808" y="1261"/>
                    </a:lnTo>
                    <a:lnTo>
                      <a:pt x="1812" y="1260"/>
                    </a:lnTo>
                    <a:lnTo>
                      <a:pt x="1816" y="1260"/>
                    </a:lnTo>
                    <a:lnTo>
                      <a:pt x="1817" y="1263"/>
                    </a:lnTo>
                    <a:lnTo>
                      <a:pt x="1817" y="1271"/>
                    </a:lnTo>
                    <a:lnTo>
                      <a:pt x="1817" y="1279"/>
                    </a:lnTo>
                    <a:lnTo>
                      <a:pt x="1814" y="1287"/>
                    </a:lnTo>
                    <a:lnTo>
                      <a:pt x="1809" y="1294"/>
                    </a:lnTo>
                    <a:lnTo>
                      <a:pt x="1790" y="1312"/>
                    </a:lnTo>
                    <a:lnTo>
                      <a:pt x="1787" y="1314"/>
                    </a:lnTo>
                    <a:lnTo>
                      <a:pt x="1784" y="1317"/>
                    </a:lnTo>
                    <a:lnTo>
                      <a:pt x="1780" y="1320"/>
                    </a:lnTo>
                    <a:lnTo>
                      <a:pt x="1778" y="1323"/>
                    </a:lnTo>
                    <a:lnTo>
                      <a:pt x="1776" y="1326"/>
                    </a:lnTo>
                    <a:lnTo>
                      <a:pt x="1774" y="1329"/>
                    </a:lnTo>
                    <a:lnTo>
                      <a:pt x="1770" y="1334"/>
                    </a:lnTo>
                    <a:lnTo>
                      <a:pt x="1766" y="1339"/>
                    </a:lnTo>
                    <a:lnTo>
                      <a:pt x="1762" y="1343"/>
                    </a:lnTo>
                    <a:lnTo>
                      <a:pt x="1758" y="1345"/>
                    </a:lnTo>
                    <a:lnTo>
                      <a:pt x="1755" y="1345"/>
                    </a:lnTo>
                    <a:lnTo>
                      <a:pt x="1752" y="1346"/>
                    </a:lnTo>
                    <a:lnTo>
                      <a:pt x="1750" y="1348"/>
                    </a:lnTo>
                    <a:lnTo>
                      <a:pt x="1747" y="1351"/>
                    </a:lnTo>
                    <a:lnTo>
                      <a:pt x="1745" y="1354"/>
                    </a:lnTo>
                    <a:lnTo>
                      <a:pt x="1744" y="1356"/>
                    </a:lnTo>
                    <a:lnTo>
                      <a:pt x="1743" y="1359"/>
                    </a:lnTo>
                    <a:lnTo>
                      <a:pt x="1743" y="1361"/>
                    </a:lnTo>
                    <a:lnTo>
                      <a:pt x="1743" y="1363"/>
                    </a:lnTo>
                    <a:lnTo>
                      <a:pt x="1743" y="1366"/>
                    </a:lnTo>
                    <a:lnTo>
                      <a:pt x="1744" y="1368"/>
                    </a:lnTo>
                    <a:lnTo>
                      <a:pt x="1744" y="1371"/>
                    </a:lnTo>
                    <a:lnTo>
                      <a:pt x="1743" y="1375"/>
                    </a:lnTo>
                    <a:lnTo>
                      <a:pt x="1741" y="1379"/>
                    </a:lnTo>
                    <a:lnTo>
                      <a:pt x="1738" y="1385"/>
                    </a:lnTo>
                    <a:lnTo>
                      <a:pt x="1735" y="1392"/>
                    </a:lnTo>
                    <a:lnTo>
                      <a:pt x="1732" y="1394"/>
                    </a:lnTo>
                    <a:lnTo>
                      <a:pt x="1730" y="1396"/>
                    </a:lnTo>
                    <a:lnTo>
                      <a:pt x="1728" y="1398"/>
                    </a:lnTo>
                    <a:lnTo>
                      <a:pt x="1727" y="1400"/>
                    </a:lnTo>
                    <a:lnTo>
                      <a:pt x="1727" y="1402"/>
                    </a:lnTo>
                    <a:lnTo>
                      <a:pt x="1727" y="1404"/>
                    </a:lnTo>
                    <a:lnTo>
                      <a:pt x="1726" y="1407"/>
                    </a:lnTo>
                    <a:lnTo>
                      <a:pt x="1723" y="1409"/>
                    </a:lnTo>
                    <a:lnTo>
                      <a:pt x="1720" y="1412"/>
                    </a:lnTo>
                    <a:lnTo>
                      <a:pt x="1717" y="1416"/>
                    </a:lnTo>
                    <a:lnTo>
                      <a:pt x="1711" y="1422"/>
                    </a:lnTo>
                    <a:lnTo>
                      <a:pt x="1709" y="1423"/>
                    </a:lnTo>
                    <a:lnTo>
                      <a:pt x="1708" y="1424"/>
                    </a:lnTo>
                    <a:lnTo>
                      <a:pt x="1708" y="1426"/>
                    </a:lnTo>
                    <a:lnTo>
                      <a:pt x="1708" y="1427"/>
                    </a:lnTo>
                    <a:lnTo>
                      <a:pt x="1707" y="1430"/>
                    </a:lnTo>
                    <a:lnTo>
                      <a:pt x="1705" y="1431"/>
                    </a:lnTo>
                    <a:lnTo>
                      <a:pt x="1703" y="1432"/>
                    </a:lnTo>
                    <a:lnTo>
                      <a:pt x="1700" y="1432"/>
                    </a:lnTo>
                    <a:lnTo>
                      <a:pt x="1696" y="1434"/>
                    </a:lnTo>
                    <a:lnTo>
                      <a:pt x="1694" y="1436"/>
                    </a:lnTo>
                    <a:lnTo>
                      <a:pt x="1692" y="1438"/>
                    </a:lnTo>
                    <a:lnTo>
                      <a:pt x="1691" y="1439"/>
                    </a:lnTo>
                    <a:lnTo>
                      <a:pt x="1689" y="1440"/>
                    </a:lnTo>
                    <a:lnTo>
                      <a:pt x="1686" y="1442"/>
                    </a:lnTo>
                    <a:lnTo>
                      <a:pt x="1684" y="1442"/>
                    </a:lnTo>
                    <a:lnTo>
                      <a:pt x="1683" y="1442"/>
                    </a:lnTo>
                    <a:lnTo>
                      <a:pt x="1681" y="1443"/>
                    </a:lnTo>
                    <a:lnTo>
                      <a:pt x="1680" y="1443"/>
                    </a:lnTo>
                    <a:lnTo>
                      <a:pt x="1680" y="1445"/>
                    </a:lnTo>
                    <a:lnTo>
                      <a:pt x="1680" y="1442"/>
                    </a:lnTo>
                    <a:lnTo>
                      <a:pt x="1680" y="1442"/>
                    </a:lnTo>
                    <a:lnTo>
                      <a:pt x="1681" y="1441"/>
                    </a:lnTo>
                    <a:lnTo>
                      <a:pt x="1681" y="1441"/>
                    </a:lnTo>
                    <a:lnTo>
                      <a:pt x="1680" y="1442"/>
                    </a:lnTo>
                    <a:lnTo>
                      <a:pt x="1679" y="1443"/>
                    </a:lnTo>
                    <a:lnTo>
                      <a:pt x="1678" y="1443"/>
                    </a:lnTo>
                    <a:lnTo>
                      <a:pt x="1677" y="1445"/>
                    </a:lnTo>
                    <a:lnTo>
                      <a:pt x="1676" y="1445"/>
                    </a:lnTo>
                    <a:lnTo>
                      <a:pt x="1673" y="1445"/>
                    </a:lnTo>
                    <a:lnTo>
                      <a:pt x="1671" y="1446"/>
                    </a:lnTo>
                    <a:lnTo>
                      <a:pt x="1669" y="1446"/>
                    </a:lnTo>
                    <a:lnTo>
                      <a:pt x="1668" y="1447"/>
                    </a:lnTo>
                    <a:lnTo>
                      <a:pt x="1668" y="1446"/>
                    </a:lnTo>
                    <a:lnTo>
                      <a:pt x="1668" y="1446"/>
                    </a:lnTo>
                    <a:lnTo>
                      <a:pt x="1669" y="1445"/>
                    </a:lnTo>
                    <a:lnTo>
                      <a:pt x="1669" y="1445"/>
                    </a:lnTo>
                    <a:lnTo>
                      <a:pt x="1668" y="1445"/>
                    </a:lnTo>
                    <a:lnTo>
                      <a:pt x="1666" y="1445"/>
                    </a:lnTo>
                    <a:lnTo>
                      <a:pt x="1665" y="1446"/>
                    </a:lnTo>
                    <a:lnTo>
                      <a:pt x="1664" y="1446"/>
                    </a:lnTo>
                    <a:lnTo>
                      <a:pt x="1664" y="1447"/>
                    </a:lnTo>
                    <a:lnTo>
                      <a:pt x="1660" y="1449"/>
                    </a:lnTo>
                    <a:lnTo>
                      <a:pt x="1658" y="1451"/>
                    </a:lnTo>
                    <a:lnTo>
                      <a:pt x="1656" y="1453"/>
                    </a:lnTo>
                    <a:lnTo>
                      <a:pt x="1655" y="1453"/>
                    </a:lnTo>
                    <a:lnTo>
                      <a:pt x="1654" y="1454"/>
                    </a:lnTo>
                    <a:lnTo>
                      <a:pt x="1653" y="1455"/>
                    </a:lnTo>
                    <a:lnTo>
                      <a:pt x="1653" y="1456"/>
                    </a:lnTo>
                    <a:lnTo>
                      <a:pt x="1652" y="1457"/>
                    </a:lnTo>
                    <a:lnTo>
                      <a:pt x="1649" y="1457"/>
                    </a:lnTo>
                    <a:lnTo>
                      <a:pt x="1647" y="1457"/>
                    </a:lnTo>
                    <a:lnTo>
                      <a:pt x="1643" y="1457"/>
                    </a:lnTo>
                    <a:lnTo>
                      <a:pt x="1641" y="1459"/>
                    </a:lnTo>
                    <a:lnTo>
                      <a:pt x="1629" y="1465"/>
                    </a:lnTo>
                    <a:lnTo>
                      <a:pt x="1621" y="1471"/>
                    </a:lnTo>
                    <a:lnTo>
                      <a:pt x="1617" y="1473"/>
                    </a:lnTo>
                    <a:lnTo>
                      <a:pt x="1615" y="1475"/>
                    </a:lnTo>
                    <a:lnTo>
                      <a:pt x="1615" y="1477"/>
                    </a:lnTo>
                    <a:lnTo>
                      <a:pt x="1614" y="1479"/>
                    </a:lnTo>
                    <a:lnTo>
                      <a:pt x="1613" y="1481"/>
                    </a:lnTo>
                    <a:lnTo>
                      <a:pt x="1612" y="1483"/>
                    </a:lnTo>
                    <a:lnTo>
                      <a:pt x="1611" y="1485"/>
                    </a:lnTo>
                    <a:lnTo>
                      <a:pt x="1611" y="1487"/>
                    </a:lnTo>
                    <a:lnTo>
                      <a:pt x="1611" y="1489"/>
                    </a:lnTo>
                    <a:lnTo>
                      <a:pt x="1611" y="1491"/>
                    </a:lnTo>
                    <a:lnTo>
                      <a:pt x="1610" y="1494"/>
                    </a:lnTo>
                    <a:lnTo>
                      <a:pt x="1609" y="1496"/>
                    </a:lnTo>
                    <a:lnTo>
                      <a:pt x="1606" y="1498"/>
                    </a:lnTo>
                    <a:lnTo>
                      <a:pt x="1603" y="1501"/>
                    </a:lnTo>
                    <a:lnTo>
                      <a:pt x="1601" y="1502"/>
                    </a:lnTo>
                    <a:lnTo>
                      <a:pt x="1599" y="1504"/>
                    </a:lnTo>
                    <a:lnTo>
                      <a:pt x="1597" y="1505"/>
                    </a:lnTo>
                    <a:lnTo>
                      <a:pt x="1594" y="1507"/>
                    </a:lnTo>
                    <a:lnTo>
                      <a:pt x="1592" y="1508"/>
                    </a:lnTo>
                    <a:lnTo>
                      <a:pt x="1590" y="1510"/>
                    </a:lnTo>
                    <a:lnTo>
                      <a:pt x="1590" y="1511"/>
                    </a:lnTo>
                    <a:lnTo>
                      <a:pt x="1589" y="1513"/>
                    </a:lnTo>
                    <a:lnTo>
                      <a:pt x="1589" y="1514"/>
                    </a:lnTo>
                    <a:lnTo>
                      <a:pt x="1588" y="1515"/>
                    </a:lnTo>
                    <a:lnTo>
                      <a:pt x="1587" y="1515"/>
                    </a:lnTo>
                    <a:lnTo>
                      <a:pt x="1586" y="1515"/>
                    </a:lnTo>
                    <a:lnTo>
                      <a:pt x="1585" y="1516"/>
                    </a:lnTo>
                    <a:lnTo>
                      <a:pt x="1585" y="1516"/>
                    </a:lnTo>
                    <a:lnTo>
                      <a:pt x="1585" y="1516"/>
                    </a:lnTo>
                    <a:lnTo>
                      <a:pt x="1585" y="1515"/>
                    </a:lnTo>
                    <a:lnTo>
                      <a:pt x="1586" y="1513"/>
                    </a:lnTo>
                    <a:lnTo>
                      <a:pt x="1583" y="1514"/>
                    </a:lnTo>
                    <a:lnTo>
                      <a:pt x="1581" y="1515"/>
                    </a:lnTo>
                    <a:lnTo>
                      <a:pt x="1579" y="1516"/>
                    </a:lnTo>
                    <a:lnTo>
                      <a:pt x="1578" y="1517"/>
                    </a:lnTo>
                    <a:lnTo>
                      <a:pt x="1575" y="1519"/>
                    </a:lnTo>
                    <a:lnTo>
                      <a:pt x="1572" y="1521"/>
                    </a:lnTo>
                    <a:lnTo>
                      <a:pt x="1570" y="1523"/>
                    </a:lnTo>
                    <a:lnTo>
                      <a:pt x="1569" y="1525"/>
                    </a:lnTo>
                    <a:lnTo>
                      <a:pt x="1569" y="1526"/>
                    </a:lnTo>
                    <a:lnTo>
                      <a:pt x="1568" y="1527"/>
                    </a:lnTo>
                    <a:lnTo>
                      <a:pt x="1567" y="1528"/>
                    </a:lnTo>
                    <a:lnTo>
                      <a:pt x="1566" y="1529"/>
                    </a:lnTo>
                    <a:lnTo>
                      <a:pt x="1565" y="1531"/>
                    </a:lnTo>
                    <a:lnTo>
                      <a:pt x="1564" y="1533"/>
                    </a:lnTo>
                    <a:lnTo>
                      <a:pt x="1563" y="1536"/>
                    </a:lnTo>
                    <a:lnTo>
                      <a:pt x="1562" y="1537"/>
                    </a:lnTo>
                    <a:lnTo>
                      <a:pt x="1560" y="1539"/>
                    </a:lnTo>
                    <a:lnTo>
                      <a:pt x="1558" y="1540"/>
                    </a:lnTo>
                    <a:lnTo>
                      <a:pt x="1556" y="1541"/>
                    </a:lnTo>
                    <a:lnTo>
                      <a:pt x="1554" y="1541"/>
                    </a:lnTo>
                    <a:lnTo>
                      <a:pt x="1551" y="1543"/>
                    </a:lnTo>
                    <a:lnTo>
                      <a:pt x="1550" y="1544"/>
                    </a:lnTo>
                    <a:lnTo>
                      <a:pt x="1549" y="1546"/>
                    </a:lnTo>
                    <a:lnTo>
                      <a:pt x="1548" y="1547"/>
                    </a:lnTo>
                    <a:lnTo>
                      <a:pt x="1533" y="1552"/>
                    </a:lnTo>
                    <a:lnTo>
                      <a:pt x="1519" y="1553"/>
                    </a:lnTo>
                    <a:lnTo>
                      <a:pt x="1517" y="1553"/>
                    </a:lnTo>
                    <a:lnTo>
                      <a:pt x="1515" y="1553"/>
                    </a:lnTo>
                    <a:lnTo>
                      <a:pt x="1514" y="1552"/>
                    </a:lnTo>
                    <a:lnTo>
                      <a:pt x="1513" y="1552"/>
                    </a:lnTo>
                    <a:lnTo>
                      <a:pt x="1511" y="1551"/>
                    </a:lnTo>
                    <a:lnTo>
                      <a:pt x="1501" y="1551"/>
                    </a:lnTo>
                    <a:lnTo>
                      <a:pt x="1499" y="1551"/>
                    </a:lnTo>
                    <a:lnTo>
                      <a:pt x="1498" y="1551"/>
                    </a:lnTo>
                    <a:lnTo>
                      <a:pt x="1498" y="1553"/>
                    </a:lnTo>
                    <a:lnTo>
                      <a:pt x="1498" y="1554"/>
                    </a:lnTo>
                    <a:lnTo>
                      <a:pt x="1499" y="1555"/>
                    </a:lnTo>
                    <a:lnTo>
                      <a:pt x="1501" y="1555"/>
                    </a:lnTo>
                    <a:lnTo>
                      <a:pt x="1503" y="1557"/>
                    </a:lnTo>
                    <a:lnTo>
                      <a:pt x="1505" y="1557"/>
                    </a:lnTo>
                    <a:lnTo>
                      <a:pt x="1507" y="1558"/>
                    </a:lnTo>
                    <a:lnTo>
                      <a:pt x="1510" y="1558"/>
                    </a:lnTo>
                    <a:lnTo>
                      <a:pt x="1511" y="1559"/>
                    </a:lnTo>
                    <a:lnTo>
                      <a:pt x="1513" y="1560"/>
                    </a:lnTo>
                    <a:lnTo>
                      <a:pt x="1512" y="1561"/>
                    </a:lnTo>
                    <a:lnTo>
                      <a:pt x="1512" y="1562"/>
                    </a:lnTo>
                    <a:lnTo>
                      <a:pt x="1512" y="1563"/>
                    </a:lnTo>
                    <a:lnTo>
                      <a:pt x="1513" y="1564"/>
                    </a:lnTo>
                    <a:lnTo>
                      <a:pt x="1514" y="1564"/>
                    </a:lnTo>
                    <a:lnTo>
                      <a:pt x="1516" y="1564"/>
                    </a:lnTo>
                    <a:lnTo>
                      <a:pt x="1517" y="1565"/>
                    </a:lnTo>
                    <a:lnTo>
                      <a:pt x="1518" y="1565"/>
                    </a:lnTo>
                    <a:lnTo>
                      <a:pt x="1519" y="1566"/>
                    </a:lnTo>
                    <a:lnTo>
                      <a:pt x="1518" y="1569"/>
                    </a:lnTo>
                    <a:lnTo>
                      <a:pt x="1516" y="1571"/>
                    </a:lnTo>
                    <a:lnTo>
                      <a:pt x="1514" y="1573"/>
                    </a:lnTo>
                    <a:lnTo>
                      <a:pt x="1511" y="1575"/>
                    </a:lnTo>
                    <a:lnTo>
                      <a:pt x="1509" y="1576"/>
                    </a:lnTo>
                    <a:lnTo>
                      <a:pt x="1503" y="1580"/>
                    </a:lnTo>
                    <a:lnTo>
                      <a:pt x="1496" y="1582"/>
                    </a:lnTo>
                    <a:lnTo>
                      <a:pt x="1488" y="1584"/>
                    </a:lnTo>
                    <a:lnTo>
                      <a:pt x="1484" y="1585"/>
                    </a:lnTo>
                    <a:lnTo>
                      <a:pt x="1480" y="1586"/>
                    </a:lnTo>
                    <a:lnTo>
                      <a:pt x="1476" y="1586"/>
                    </a:lnTo>
                    <a:lnTo>
                      <a:pt x="1466" y="1586"/>
                    </a:lnTo>
                    <a:lnTo>
                      <a:pt x="1464" y="1587"/>
                    </a:lnTo>
                    <a:lnTo>
                      <a:pt x="1463" y="1589"/>
                    </a:lnTo>
                    <a:lnTo>
                      <a:pt x="1463" y="1590"/>
                    </a:lnTo>
                    <a:lnTo>
                      <a:pt x="1463" y="1591"/>
                    </a:lnTo>
                    <a:lnTo>
                      <a:pt x="1464" y="1592"/>
                    </a:lnTo>
                    <a:lnTo>
                      <a:pt x="1464" y="1593"/>
                    </a:lnTo>
                    <a:lnTo>
                      <a:pt x="1463" y="1593"/>
                    </a:lnTo>
                    <a:lnTo>
                      <a:pt x="1463" y="1594"/>
                    </a:lnTo>
                    <a:lnTo>
                      <a:pt x="1462" y="1594"/>
                    </a:lnTo>
                    <a:lnTo>
                      <a:pt x="1460" y="1595"/>
                    </a:lnTo>
                    <a:lnTo>
                      <a:pt x="1460" y="1596"/>
                    </a:lnTo>
                    <a:lnTo>
                      <a:pt x="1460" y="1596"/>
                    </a:lnTo>
                    <a:lnTo>
                      <a:pt x="1460" y="1596"/>
                    </a:lnTo>
                    <a:lnTo>
                      <a:pt x="1461" y="1598"/>
                    </a:lnTo>
                    <a:lnTo>
                      <a:pt x="1461" y="1599"/>
                    </a:lnTo>
                    <a:lnTo>
                      <a:pt x="1460" y="1600"/>
                    </a:lnTo>
                    <a:lnTo>
                      <a:pt x="1458" y="1601"/>
                    </a:lnTo>
                    <a:lnTo>
                      <a:pt x="1456" y="1601"/>
                    </a:lnTo>
                    <a:lnTo>
                      <a:pt x="1453" y="1602"/>
                    </a:lnTo>
                    <a:lnTo>
                      <a:pt x="1450" y="1602"/>
                    </a:lnTo>
                    <a:lnTo>
                      <a:pt x="1448" y="1602"/>
                    </a:lnTo>
                    <a:lnTo>
                      <a:pt x="1446" y="1602"/>
                    </a:lnTo>
                    <a:lnTo>
                      <a:pt x="1444" y="1602"/>
                    </a:lnTo>
                    <a:lnTo>
                      <a:pt x="1440" y="1601"/>
                    </a:lnTo>
                    <a:lnTo>
                      <a:pt x="1439" y="1600"/>
                    </a:lnTo>
                    <a:lnTo>
                      <a:pt x="1436" y="1600"/>
                    </a:lnTo>
                    <a:lnTo>
                      <a:pt x="1435" y="1601"/>
                    </a:lnTo>
                    <a:lnTo>
                      <a:pt x="1434" y="1602"/>
                    </a:lnTo>
                    <a:lnTo>
                      <a:pt x="1434" y="1603"/>
                    </a:lnTo>
                    <a:lnTo>
                      <a:pt x="1434" y="1603"/>
                    </a:lnTo>
                    <a:lnTo>
                      <a:pt x="1435" y="1604"/>
                    </a:lnTo>
                    <a:lnTo>
                      <a:pt x="1435" y="1604"/>
                    </a:lnTo>
                    <a:lnTo>
                      <a:pt x="1436" y="1606"/>
                    </a:lnTo>
                    <a:lnTo>
                      <a:pt x="1437" y="1607"/>
                    </a:lnTo>
                    <a:lnTo>
                      <a:pt x="1437" y="1608"/>
                    </a:lnTo>
                    <a:lnTo>
                      <a:pt x="1439" y="1608"/>
                    </a:lnTo>
                    <a:lnTo>
                      <a:pt x="1440" y="1609"/>
                    </a:lnTo>
                    <a:lnTo>
                      <a:pt x="1442" y="1610"/>
                    </a:lnTo>
                    <a:lnTo>
                      <a:pt x="1442" y="1610"/>
                    </a:lnTo>
                    <a:lnTo>
                      <a:pt x="1442" y="1611"/>
                    </a:lnTo>
                    <a:lnTo>
                      <a:pt x="1442" y="1613"/>
                    </a:lnTo>
                    <a:lnTo>
                      <a:pt x="1440" y="1614"/>
                    </a:lnTo>
                    <a:lnTo>
                      <a:pt x="1440" y="1614"/>
                    </a:lnTo>
                    <a:lnTo>
                      <a:pt x="1442" y="1614"/>
                    </a:lnTo>
                    <a:lnTo>
                      <a:pt x="1443" y="1614"/>
                    </a:lnTo>
                    <a:lnTo>
                      <a:pt x="1444" y="1614"/>
                    </a:lnTo>
                    <a:lnTo>
                      <a:pt x="1444" y="1615"/>
                    </a:lnTo>
                    <a:lnTo>
                      <a:pt x="1444" y="1615"/>
                    </a:lnTo>
                    <a:lnTo>
                      <a:pt x="1443" y="1616"/>
                    </a:lnTo>
                    <a:lnTo>
                      <a:pt x="1442" y="1617"/>
                    </a:lnTo>
                    <a:lnTo>
                      <a:pt x="1440" y="1618"/>
                    </a:lnTo>
                    <a:lnTo>
                      <a:pt x="1439" y="1618"/>
                    </a:lnTo>
                    <a:lnTo>
                      <a:pt x="1439" y="1619"/>
                    </a:lnTo>
                    <a:lnTo>
                      <a:pt x="1439" y="1621"/>
                    </a:lnTo>
                    <a:lnTo>
                      <a:pt x="1439" y="1622"/>
                    </a:lnTo>
                    <a:lnTo>
                      <a:pt x="1439" y="1624"/>
                    </a:lnTo>
                    <a:lnTo>
                      <a:pt x="1438" y="1626"/>
                    </a:lnTo>
                    <a:lnTo>
                      <a:pt x="1437" y="1627"/>
                    </a:lnTo>
                    <a:lnTo>
                      <a:pt x="1434" y="1627"/>
                    </a:lnTo>
                    <a:lnTo>
                      <a:pt x="1432" y="1627"/>
                    </a:lnTo>
                    <a:lnTo>
                      <a:pt x="1429" y="1628"/>
                    </a:lnTo>
                    <a:lnTo>
                      <a:pt x="1427" y="1629"/>
                    </a:lnTo>
                    <a:lnTo>
                      <a:pt x="1425" y="1629"/>
                    </a:lnTo>
                    <a:lnTo>
                      <a:pt x="1425" y="1630"/>
                    </a:lnTo>
                    <a:lnTo>
                      <a:pt x="1424" y="1631"/>
                    </a:lnTo>
                    <a:lnTo>
                      <a:pt x="1423" y="1631"/>
                    </a:lnTo>
                    <a:lnTo>
                      <a:pt x="1422" y="1633"/>
                    </a:lnTo>
                    <a:lnTo>
                      <a:pt x="1422" y="1634"/>
                    </a:lnTo>
                    <a:lnTo>
                      <a:pt x="1422" y="1636"/>
                    </a:lnTo>
                    <a:lnTo>
                      <a:pt x="1423" y="1637"/>
                    </a:lnTo>
                    <a:lnTo>
                      <a:pt x="1425" y="1637"/>
                    </a:lnTo>
                    <a:lnTo>
                      <a:pt x="1426" y="1638"/>
                    </a:lnTo>
                    <a:lnTo>
                      <a:pt x="1428" y="1639"/>
                    </a:lnTo>
                    <a:lnTo>
                      <a:pt x="1431" y="1639"/>
                    </a:lnTo>
                    <a:lnTo>
                      <a:pt x="1433" y="1639"/>
                    </a:lnTo>
                    <a:lnTo>
                      <a:pt x="1435" y="1639"/>
                    </a:lnTo>
                    <a:lnTo>
                      <a:pt x="1444" y="1639"/>
                    </a:lnTo>
                    <a:lnTo>
                      <a:pt x="1445" y="1641"/>
                    </a:lnTo>
                    <a:lnTo>
                      <a:pt x="1445" y="1642"/>
                    </a:lnTo>
                    <a:lnTo>
                      <a:pt x="1445" y="1643"/>
                    </a:lnTo>
                    <a:lnTo>
                      <a:pt x="1444" y="1643"/>
                    </a:lnTo>
                    <a:lnTo>
                      <a:pt x="1442" y="1645"/>
                    </a:lnTo>
                    <a:lnTo>
                      <a:pt x="1439" y="1646"/>
                    </a:lnTo>
                    <a:lnTo>
                      <a:pt x="1437" y="1647"/>
                    </a:lnTo>
                    <a:lnTo>
                      <a:pt x="1435" y="1647"/>
                    </a:lnTo>
                    <a:lnTo>
                      <a:pt x="1435" y="1647"/>
                    </a:lnTo>
                    <a:lnTo>
                      <a:pt x="1434" y="1648"/>
                    </a:lnTo>
                    <a:lnTo>
                      <a:pt x="1433" y="1649"/>
                    </a:lnTo>
                    <a:lnTo>
                      <a:pt x="1431" y="1649"/>
                    </a:lnTo>
                    <a:lnTo>
                      <a:pt x="1431" y="1655"/>
                    </a:lnTo>
                    <a:lnTo>
                      <a:pt x="1429" y="1656"/>
                    </a:lnTo>
                    <a:lnTo>
                      <a:pt x="1427" y="1657"/>
                    </a:lnTo>
                    <a:lnTo>
                      <a:pt x="1425" y="1657"/>
                    </a:lnTo>
                    <a:lnTo>
                      <a:pt x="1422" y="1658"/>
                    </a:lnTo>
                    <a:lnTo>
                      <a:pt x="1421" y="1659"/>
                    </a:lnTo>
                    <a:lnTo>
                      <a:pt x="1422" y="1660"/>
                    </a:lnTo>
                    <a:lnTo>
                      <a:pt x="1422" y="1661"/>
                    </a:lnTo>
                    <a:lnTo>
                      <a:pt x="1423" y="1662"/>
                    </a:lnTo>
                    <a:lnTo>
                      <a:pt x="1425" y="1663"/>
                    </a:lnTo>
                    <a:lnTo>
                      <a:pt x="1427" y="1665"/>
                    </a:lnTo>
                    <a:lnTo>
                      <a:pt x="1428" y="1665"/>
                    </a:lnTo>
                    <a:lnTo>
                      <a:pt x="1430" y="1666"/>
                    </a:lnTo>
                    <a:lnTo>
                      <a:pt x="1431" y="1666"/>
                    </a:lnTo>
                    <a:lnTo>
                      <a:pt x="1432" y="1667"/>
                    </a:lnTo>
                    <a:lnTo>
                      <a:pt x="1433" y="1667"/>
                    </a:lnTo>
                    <a:lnTo>
                      <a:pt x="1432" y="1667"/>
                    </a:lnTo>
                    <a:lnTo>
                      <a:pt x="1430" y="1667"/>
                    </a:lnTo>
                    <a:lnTo>
                      <a:pt x="1429" y="1669"/>
                    </a:lnTo>
                    <a:lnTo>
                      <a:pt x="1427" y="1669"/>
                    </a:lnTo>
                    <a:lnTo>
                      <a:pt x="1427" y="1670"/>
                    </a:lnTo>
                    <a:lnTo>
                      <a:pt x="1435" y="1670"/>
                    </a:lnTo>
                    <a:lnTo>
                      <a:pt x="1419" y="1671"/>
                    </a:lnTo>
                    <a:lnTo>
                      <a:pt x="1403" y="1672"/>
                    </a:lnTo>
                    <a:lnTo>
                      <a:pt x="1399" y="1672"/>
                    </a:lnTo>
                    <a:lnTo>
                      <a:pt x="1395" y="1671"/>
                    </a:lnTo>
                    <a:lnTo>
                      <a:pt x="1391" y="1670"/>
                    </a:lnTo>
                    <a:lnTo>
                      <a:pt x="1386" y="1670"/>
                    </a:lnTo>
                    <a:lnTo>
                      <a:pt x="1387" y="1670"/>
                    </a:lnTo>
                    <a:lnTo>
                      <a:pt x="1388" y="1670"/>
                    </a:lnTo>
                    <a:lnTo>
                      <a:pt x="1391" y="1670"/>
                    </a:lnTo>
                    <a:lnTo>
                      <a:pt x="1391" y="1669"/>
                    </a:lnTo>
                    <a:lnTo>
                      <a:pt x="1391" y="1667"/>
                    </a:lnTo>
                    <a:lnTo>
                      <a:pt x="1376" y="1667"/>
                    </a:lnTo>
                    <a:lnTo>
                      <a:pt x="1375" y="1666"/>
                    </a:lnTo>
                    <a:lnTo>
                      <a:pt x="1374" y="1665"/>
                    </a:lnTo>
                    <a:lnTo>
                      <a:pt x="1373" y="1664"/>
                    </a:lnTo>
                    <a:lnTo>
                      <a:pt x="1372" y="1663"/>
                    </a:lnTo>
                    <a:lnTo>
                      <a:pt x="1372" y="1661"/>
                    </a:lnTo>
                    <a:lnTo>
                      <a:pt x="1370" y="1660"/>
                    </a:lnTo>
                    <a:lnTo>
                      <a:pt x="1369" y="1660"/>
                    </a:lnTo>
                    <a:lnTo>
                      <a:pt x="1368" y="1660"/>
                    </a:lnTo>
                    <a:lnTo>
                      <a:pt x="1368" y="1660"/>
                    </a:lnTo>
                    <a:lnTo>
                      <a:pt x="1368" y="1659"/>
                    </a:lnTo>
                    <a:lnTo>
                      <a:pt x="1368" y="1657"/>
                    </a:lnTo>
                    <a:lnTo>
                      <a:pt x="1366" y="1658"/>
                    </a:lnTo>
                    <a:lnTo>
                      <a:pt x="1365" y="1659"/>
                    </a:lnTo>
                    <a:lnTo>
                      <a:pt x="1363" y="1660"/>
                    </a:lnTo>
                    <a:lnTo>
                      <a:pt x="1362" y="1661"/>
                    </a:lnTo>
                    <a:lnTo>
                      <a:pt x="1360" y="1661"/>
                    </a:lnTo>
                    <a:lnTo>
                      <a:pt x="1358" y="1660"/>
                    </a:lnTo>
                    <a:lnTo>
                      <a:pt x="1358" y="1659"/>
                    </a:lnTo>
                    <a:lnTo>
                      <a:pt x="1358" y="1658"/>
                    </a:lnTo>
                    <a:lnTo>
                      <a:pt x="1358" y="1657"/>
                    </a:lnTo>
                    <a:lnTo>
                      <a:pt x="1356" y="1658"/>
                    </a:lnTo>
                    <a:lnTo>
                      <a:pt x="1355" y="1658"/>
                    </a:lnTo>
                    <a:lnTo>
                      <a:pt x="1354" y="1657"/>
                    </a:lnTo>
                    <a:lnTo>
                      <a:pt x="1354" y="1655"/>
                    </a:lnTo>
                    <a:lnTo>
                      <a:pt x="1360" y="1655"/>
                    </a:lnTo>
                    <a:lnTo>
                      <a:pt x="1362" y="1654"/>
                    </a:lnTo>
                    <a:lnTo>
                      <a:pt x="1363" y="1652"/>
                    </a:lnTo>
                    <a:lnTo>
                      <a:pt x="1363" y="1651"/>
                    </a:lnTo>
                    <a:lnTo>
                      <a:pt x="1362" y="1649"/>
                    </a:lnTo>
                    <a:lnTo>
                      <a:pt x="1358" y="1649"/>
                    </a:lnTo>
                    <a:lnTo>
                      <a:pt x="1357" y="1649"/>
                    </a:lnTo>
                    <a:lnTo>
                      <a:pt x="1357" y="1649"/>
                    </a:lnTo>
                    <a:lnTo>
                      <a:pt x="1357" y="1648"/>
                    </a:lnTo>
                    <a:lnTo>
                      <a:pt x="1358" y="1647"/>
                    </a:lnTo>
                    <a:lnTo>
                      <a:pt x="1354" y="1645"/>
                    </a:lnTo>
                    <a:lnTo>
                      <a:pt x="1348" y="1645"/>
                    </a:lnTo>
                    <a:lnTo>
                      <a:pt x="1346" y="1644"/>
                    </a:lnTo>
                    <a:lnTo>
                      <a:pt x="1345" y="1643"/>
                    </a:lnTo>
                    <a:lnTo>
                      <a:pt x="1344" y="1643"/>
                    </a:lnTo>
                    <a:lnTo>
                      <a:pt x="1345" y="1642"/>
                    </a:lnTo>
                    <a:lnTo>
                      <a:pt x="1346" y="1641"/>
                    </a:lnTo>
                    <a:lnTo>
                      <a:pt x="1346" y="1641"/>
                    </a:lnTo>
                    <a:lnTo>
                      <a:pt x="1346" y="1640"/>
                    </a:lnTo>
                    <a:lnTo>
                      <a:pt x="1346" y="1640"/>
                    </a:lnTo>
                    <a:lnTo>
                      <a:pt x="1348" y="1639"/>
                    </a:lnTo>
                    <a:lnTo>
                      <a:pt x="1349" y="1639"/>
                    </a:lnTo>
                    <a:lnTo>
                      <a:pt x="1349" y="1639"/>
                    </a:lnTo>
                    <a:lnTo>
                      <a:pt x="1350" y="1640"/>
                    </a:lnTo>
                    <a:lnTo>
                      <a:pt x="1352" y="1640"/>
                    </a:lnTo>
                    <a:lnTo>
                      <a:pt x="1352" y="1640"/>
                    </a:lnTo>
                    <a:lnTo>
                      <a:pt x="1353" y="1640"/>
                    </a:lnTo>
                    <a:lnTo>
                      <a:pt x="1354" y="1641"/>
                    </a:lnTo>
                    <a:lnTo>
                      <a:pt x="1356" y="1642"/>
                    </a:lnTo>
                    <a:lnTo>
                      <a:pt x="1358" y="1641"/>
                    </a:lnTo>
                    <a:lnTo>
                      <a:pt x="1356" y="1639"/>
                    </a:lnTo>
                    <a:lnTo>
                      <a:pt x="1360" y="1639"/>
                    </a:lnTo>
                    <a:lnTo>
                      <a:pt x="1360" y="1635"/>
                    </a:lnTo>
                    <a:lnTo>
                      <a:pt x="1360" y="1634"/>
                    </a:lnTo>
                    <a:lnTo>
                      <a:pt x="1360" y="1633"/>
                    </a:lnTo>
                    <a:lnTo>
                      <a:pt x="1359" y="1633"/>
                    </a:lnTo>
                    <a:lnTo>
                      <a:pt x="1358" y="1632"/>
                    </a:lnTo>
                    <a:lnTo>
                      <a:pt x="1358" y="1631"/>
                    </a:lnTo>
                    <a:lnTo>
                      <a:pt x="1357" y="1629"/>
                    </a:lnTo>
                    <a:lnTo>
                      <a:pt x="1357" y="1627"/>
                    </a:lnTo>
                    <a:lnTo>
                      <a:pt x="1357" y="1625"/>
                    </a:lnTo>
                    <a:lnTo>
                      <a:pt x="1357" y="1623"/>
                    </a:lnTo>
                    <a:lnTo>
                      <a:pt x="1358" y="1621"/>
                    </a:lnTo>
                    <a:lnTo>
                      <a:pt x="1358" y="1620"/>
                    </a:lnTo>
                    <a:lnTo>
                      <a:pt x="1358" y="1619"/>
                    </a:lnTo>
                    <a:lnTo>
                      <a:pt x="1358" y="1617"/>
                    </a:lnTo>
                    <a:lnTo>
                      <a:pt x="1358" y="1616"/>
                    </a:lnTo>
                    <a:lnTo>
                      <a:pt x="1357" y="1614"/>
                    </a:lnTo>
                    <a:lnTo>
                      <a:pt x="1356" y="1613"/>
                    </a:lnTo>
                    <a:lnTo>
                      <a:pt x="1354" y="1613"/>
                    </a:lnTo>
                    <a:lnTo>
                      <a:pt x="1351" y="1614"/>
                    </a:lnTo>
                    <a:lnTo>
                      <a:pt x="1349" y="1614"/>
                    </a:lnTo>
                    <a:lnTo>
                      <a:pt x="1348" y="1615"/>
                    </a:lnTo>
                    <a:lnTo>
                      <a:pt x="1346" y="1616"/>
                    </a:lnTo>
                    <a:lnTo>
                      <a:pt x="1344" y="1615"/>
                    </a:lnTo>
                    <a:lnTo>
                      <a:pt x="1341" y="1614"/>
                    </a:lnTo>
                    <a:lnTo>
                      <a:pt x="1339" y="1611"/>
                    </a:lnTo>
                    <a:lnTo>
                      <a:pt x="1337" y="1609"/>
                    </a:lnTo>
                    <a:lnTo>
                      <a:pt x="1336" y="1608"/>
                    </a:lnTo>
                    <a:lnTo>
                      <a:pt x="1337" y="1606"/>
                    </a:lnTo>
                    <a:lnTo>
                      <a:pt x="1337" y="1605"/>
                    </a:lnTo>
                    <a:lnTo>
                      <a:pt x="1339" y="1605"/>
                    </a:lnTo>
                    <a:lnTo>
                      <a:pt x="1340" y="1604"/>
                    </a:lnTo>
                    <a:lnTo>
                      <a:pt x="1342" y="1604"/>
                    </a:lnTo>
                    <a:lnTo>
                      <a:pt x="1342" y="1600"/>
                    </a:lnTo>
                    <a:lnTo>
                      <a:pt x="1340" y="1599"/>
                    </a:lnTo>
                    <a:lnTo>
                      <a:pt x="1339" y="1599"/>
                    </a:lnTo>
                    <a:lnTo>
                      <a:pt x="1336" y="1598"/>
                    </a:lnTo>
                    <a:lnTo>
                      <a:pt x="1335" y="1597"/>
                    </a:lnTo>
                    <a:lnTo>
                      <a:pt x="1335" y="1596"/>
                    </a:lnTo>
                    <a:lnTo>
                      <a:pt x="1333" y="1594"/>
                    </a:lnTo>
                    <a:lnTo>
                      <a:pt x="1332" y="1592"/>
                    </a:lnTo>
                    <a:lnTo>
                      <a:pt x="1330" y="1591"/>
                    </a:lnTo>
                    <a:lnTo>
                      <a:pt x="1330" y="1589"/>
                    </a:lnTo>
                    <a:lnTo>
                      <a:pt x="1331" y="1588"/>
                    </a:lnTo>
                    <a:lnTo>
                      <a:pt x="1332" y="1588"/>
                    </a:lnTo>
                    <a:lnTo>
                      <a:pt x="1332" y="1589"/>
                    </a:lnTo>
                    <a:lnTo>
                      <a:pt x="1333" y="1589"/>
                    </a:lnTo>
                    <a:lnTo>
                      <a:pt x="1334" y="1589"/>
                    </a:lnTo>
                    <a:lnTo>
                      <a:pt x="1335" y="1588"/>
                    </a:lnTo>
                    <a:lnTo>
                      <a:pt x="1335" y="1587"/>
                    </a:lnTo>
                    <a:lnTo>
                      <a:pt x="1335" y="1587"/>
                    </a:lnTo>
                    <a:lnTo>
                      <a:pt x="1335" y="1586"/>
                    </a:lnTo>
                    <a:lnTo>
                      <a:pt x="1335" y="1585"/>
                    </a:lnTo>
                    <a:lnTo>
                      <a:pt x="1335" y="1584"/>
                    </a:lnTo>
                    <a:lnTo>
                      <a:pt x="1336" y="1582"/>
                    </a:lnTo>
                    <a:lnTo>
                      <a:pt x="1336" y="1580"/>
                    </a:lnTo>
                    <a:lnTo>
                      <a:pt x="1337" y="1578"/>
                    </a:lnTo>
                    <a:lnTo>
                      <a:pt x="1339" y="1575"/>
                    </a:lnTo>
                    <a:lnTo>
                      <a:pt x="1341" y="1572"/>
                    </a:lnTo>
                    <a:lnTo>
                      <a:pt x="1342" y="1570"/>
                    </a:lnTo>
                    <a:lnTo>
                      <a:pt x="1343" y="1568"/>
                    </a:lnTo>
                    <a:lnTo>
                      <a:pt x="1343" y="1565"/>
                    </a:lnTo>
                    <a:lnTo>
                      <a:pt x="1343" y="1563"/>
                    </a:lnTo>
                    <a:lnTo>
                      <a:pt x="1344" y="1560"/>
                    </a:lnTo>
                    <a:lnTo>
                      <a:pt x="1344" y="1558"/>
                    </a:lnTo>
                    <a:lnTo>
                      <a:pt x="1343" y="1555"/>
                    </a:lnTo>
                    <a:lnTo>
                      <a:pt x="1341" y="1553"/>
                    </a:lnTo>
                    <a:lnTo>
                      <a:pt x="1339" y="1551"/>
                    </a:lnTo>
                    <a:lnTo>
                      <a:pt x="1336" y="1549"/>
                    </a:lnTo>
                    <a:lnTo>
                      <a:pt x="1335" y="1547"/>
                    </a:lnTo>
                    <a:lnTo>
                      <a:pt x="1335" y="1545"/>
                    </a:lnTo>
                    <a:lnTo>
                      <a:pt x="1336" y="1542"/>
                    </a:lnTo>
                    <a:lnTo>
                      <a:pt x="1337" y="1540"/>
                    </a:lnTo>
                    <a:lnTo>
                      <a:pt x="1340" y="1537"/>
                    </a:lnTo>
                    <a:lnTo>
                      <a:pt x="1339" y="1536"/>
                    </a:lnTo>
                    <a:lnTo>
                      <a:pt x="1337" y="1535"/>
                    </a:lnTo>
                    <a:lnTo>
                      <a:pt x="1336" y="1534"/>
                    </a:lnTo>
                    <a:lnTo>
                      <a:pt x="1336" y="1533"/>
                    </a:lnTo>
                    <a:lnTo>
                      <a:pt x="1337" y="1531"/>
                    </a:lnTo>
                    <a:lnTo>
                      <a:pt x="1337" y="1530"/>
                    </a:lnTo>
                    <a:lnTo>
                      <a:pt x="1339" y="1528"/>
                    </a:lnTo>
                    <a:lnTo>
                      <a:pt x="1339" y="1527"/>
                    </a:lnTo>
                    <a:lnTo>
                      <a:pt x="1340" y="1525"/>
                    </a:lnTo>
                    <a:lnTo>
                      <a:pt x="1340" y="1524"/>
                    </a:lnTo>
                    <a:lnTo>
                      <a:pt x="1341" y="1523"/>
                    </a:lnTo>
                    <a:lnTo>
                      <a:pt x="1341" y="1523"/>
                    </a:lnTo>
                    <a:lnTo>
                      <a:pt x="1342" y="1521"/>
                    </a:lnTo>
                    <a:lnTo>
                      <a:pt x="1342" y="1519"/>
                    </a:lnTo>
                    <a:lnTo>
                      <a:pt x="1342" y="1518"/>
                    </a:lnTo>
                    <a:lnTo>
                      <a:pt x="1343" y="1517"/>
                    </a:lnTo>
                    <a:lnTo>
                      <a:pt x="1343" y="1516"/>
                    </a:lnTo>
                    <a:lnTo>
                      <a:pt x="1344" y="1515"/>
                    </a:lnTo>
                    <a:lnTo>
                      <a:pt x="1344" y="1510"/>
                    </a:lnTo>
                    <a:lnTo>
                      <a:pt x="1344" y="1508"/>
                    </a:lnTo>
                    <a:lnTo>
                      <a:pt x="1345" y="1507"/>
                    </a:lnTo>
                    <a:lnTo>
                      <a:pt x="1345" y="1506"/>
                    </a:lnTo>
                    <a:lnTo>
                      <a:pt x="1346" y="1505"/>
                    </a:lnTo>
                    <a:lnTo>
                      <a:pt x="1345" y="1503"/>
                    </a:lnTo>
                    <a:lnTo>
                      <a:pt x="1344" y="1501"/>
                    </a:lnTo>
                    <a:lnTo>
                      <a:pt x="1344" y="1498"/>
                    </a:lnTo>
                    <a:lnTo>
                      <a:pt x="1343" y="1497"/>
                    </a:lnTo>
                    <a:lnTo>
                      <a:pt x="1343" y="1495"/>
                    </a:lnTo>
                    <a:lnTo>
                      <a:pt x="1344" y="1494"/>
                    </a:lnTo>
                    <a:lnTo>
                      <a:pt x="1344" y="1492"/>
                    </a:lnTo>
                    <a:lnTo>
                      <a:pt x="1344" y="1491"/>
                    </a:lnTo>
                    <a:lnTo>
                      <a:pt x="1342" y="1490"/>
                    </a:lnTo>
                    <a:lnTo>
                      <a:pt x="1342" y="1489"/>
                    </a:lnTo>
                    <a:lnTo>
                      <a:pt x="1343" y="1488"/>
                    </a:lnTo>
                    <a:lnTo>
                      <a:pt x="1344" y="1487"/>
                    </a:lnTo>
                    <a:lnTo>
                      <a:pt x="1345" y="1486"/>
                    </a:lnTo>
                    <a:lnTo>
                      <a:pt x="1346" y="1485"/>
                    </a:lnTo>
                    <a:lnTo>
                      <a:pt x="1345" y="1483"/>
                    </a:lnTo>
                    <a:lnTo>
                      <a:pt x="1345" y="1482"/>
                    </a:lnTo>
                    <a:lnTo>
                      <a:pt x="1345" y="1480"/>
                    </a:lnTo>
                    <a:lnTo>
                      <a:pt x="1346" y="1479"/>
                    </a:lnTo>
                    <a:lnTo>
                      <a:pt x="1347" y="1478"/>
                    </a:lnTo>
                    <a:lnTo>
                      <a:pt x="1349" y="1477"/>
                    </a:lnTo>
                    <a:lnTo>
                      <a:pt x="1349" y="1476"/>
                    </a:lnTo>
                    <a:lnTo>
                      <a:pt x="1348" y="1476"/>
                    </a:lnTo>
                    <a:lnTo>
                      <a:pt x="1348" y="1475"/>
                    </a:lnTo>
                    <a:lnTo>
                      <a:pt x="1348" y="1471"/>
                    </a:lnTo>
                    <a:lnTo>
                      <a:pt x="1347" y="1471"/>
                    </a:lnTo>
                    <a:lnTo>
                      <a:pt x="1347" y="1470"/>
                    </a:lnTo>
                    <a:lnTo>
                      <a:pt x="1346" y="1470"/>
                    </a:lnTo>
                    <a:lnTo>
                      <a:pt x="1346" y="1469"/>
                    </a:lnTo>
                    <a:lnTo>
                      <a:pt x="1346" y="1463"/>
                    </a:lnTo>
                    <a:lnTo>
                      <a:pt x="1344" y="1461"/>
                    </a:lnTo>
                    <a:lnTo>
                      <a:pt x="1343" y="1459"/>
                    </a:lnTo>
                    <a:lnTo>
                      <a:pt x="1342" y="1458"/>
                    </a:lnTo>
                    <a:lnTo>
                      <a:pt x="1342" y="1457"/>
                    </a:lnTo>
                    <a:lnTo>
                      <a:pt x="1342" y="1455"/>
                    </a:lnTo>
                    <a:lnTo>
                      <a:pt x="1342" y="1454"/>
                    </a:lnTo>
                    <a:lnTo>
                      <a:pt x="1343" y="1453"/>
                    </a:lnTo>
                    <a:lnTo>
                      <a:pt x="1343" y="1452"/>
                    </a:lnTo>
                    <a:lnTo>
                      <a:pt x="1341" y="1452"/>
                    </a:lnTo>
                    <a:lnTo>
                      <a:pt x="1340" y="1451"/>
                    </a:lnTo>
                    <a:lnTo>
                      <a:pt x="1332" y="1448"/>
                    </a:lnTo>
                    <a:lnTo>
                      <a:pt x="1326" y="1445"/>
                    </a:lnTo>
                    <a:lnTo>
                      <a:pt x="1321" y="1442"/>
                    </a:lnTo>
                    <a:lnTo>
                      <a:pt x="1317" y="1440"/>
                    </a:lnTo>
                    <a:lnTo>
                      <a:pt x="1313" y="1439"/>
                    </a:lnTo>
                    <a:lnTo>
                      <a:pt x="1309" y="1438"/>
                    </a:lnTo>
                    <a:lnTo>
                      <a:pt x="1307" y="1437"/>
                    </a:lnTo>
                    <a:lnTo>
                      <a:pt x="1305" y="1437"/>
                    </a:lnTo>
                    <a:lnTo>
                      <a:pt x="1304" y="1436"/>
                    </a:lnTo>
                    <a:lnTo>
                      <a:pt x="1302" y="1436"/>
                    </a:lnTo>
                    <a:lnTo>
                      <a:pt x="1300" y="1436"/>
                    </a:lnTo>
                    <a:lnTo>
                      <a:pt x="1290" y="1434"/>
                    </a:lnTo>
                    <a:lnTo>
                      <a:pt x="1279" y="1432"/>
                    </a:lnTo>
                    <a:lnTo>
                      <a:pt x="1277" y="1430"/>
                    </a:lnTo>
                    <a:lnTo>
                      <a:pt x="1275" y="1429"/>
                    </a:lnTo>
                    <a:lnTo>
                      <a:pt x="1274" y="1427"/>
                    </a:lnTo>
                    <a:lnTo>
                      <a:pt x="1271" y="1426"/>
                    </a:lnTo>
                    <a:lnTo>
                      <a:pt x="1269" y="1425"/>
                    </a:lnTo>
                    <a:lnTo>
                      <a:pt x="1267" y="1424"/>
                    </a:lnTo>
                    <a:lnTo>
                      <a:pt x="1265" y="1423"/>
                    </a:lnTo>
                    <a:lnTo>
                      <a:pt x="1263" y="1422"/>
                    </a:lnTo>
                    <a:lnTo>
                      <a:pt x="1261" y="1419"/>
                    </a:lnTo>
                    <a:lnTo>
                      <a:pt x="1259" y="1417"/>
                    </a:lnTo>
                    <a:lnTo>
                      <a:pt x="1257" y="1414"/>
                    </a:lnTo>
                    <a:lnTo>
                      <a:pt x="1255" y="1411"/>
                    </a:lnTo>
                    <a:lnTo>
                      <a:pt x="1253" y="1408"/>
                    </a:lnTo>
                    <a:lnTo>
                      <a:pt x="1252" y="1407"/>
                    </a:lnTo>
                    <a:lnTo>
                      <a:pt x="1251" y="1406"/>
                    </a:lnTo>
                    <a:lnTo>
                      <a:pt x="1251" y="1405"/>
                    </a:lnTo>
                    <a:lnTo>
                      <a:pt x="1249" y="1404"/>
                    </a:lnTo>
                    <a:lnTo>
                      <a:pt x="1248" y="1404"/>
                    </a:lnTo>
                    <a:lnTo>
                      <a:pt x="1247" y="1404"/>
                    </a:lnTo>
                    <a:lnTo>
                      <a:pt x="1246" y="1403"/>
                    </a:lnTo>
                    <a:lnTo>
                      <a:pt x="1245" y="1402"/>
                    </a:lnTo>
                    <a:lnTo>
                      <a:pt x="1245" y="1400"/>
                    </a:lnTo>
                    <a:lnTo>
                      <a:pt x="1244" y="1399"/>
                    </a:lnTo>
                    <a:lnTo>
                      <a:pt x="1244" y="1397"/>
                    </a:lnTo>
                    <a:lnTo>
                      <a:pt x="1243" y="1396"/>
                    </a:lnTo>
                    <a:lnTo>
                      <a:pt x="1240" y="1395"/>
                    </a:lnTo>
                    <a:lnTo>
                      <a:pt x="1238" y="1394"/>
                    </a:lnTo>
                    <a:lnTo>
                      <a:pt x="1234" y="1393"/>
                    </a:lnTo>
                    <a:lnTo>
                      <a:pt x="1232" y="1392"/>
                    </a:lnTo>
                    <a:lnTo>
                      <a:pt x="1230" y="1389"/>
                    </a:lnTo>
                    <a:lnTo>
                      <a:pt x="1228" y="1385"/>
                    </a:lnTo>
                    <a:lnTo>
                      <a:pt x="1226" y="1383"/>
                    </a:lnTo>
                    <a:lnTo>
                      <a:pt x="1225" y="1380"/>
                    </a:lnTo>
                    <a:lnTo>
                      <a:pt x="1222" y="1378"/>
                    </a:lnTo>
                    <a:lnTo>
                      <a:pt x="1220" y="1375"/>
                    </a:lnTo>
                    <a:lnTo>
                      <a:pt x="1218" y="1373"/>
                    </a:lnTo>
                    <a:lnTo>
                      <a:pt x="1216" y="1370"/>
                    </a:lnTo>
                    <a:lnTo>
                      <a:pt x="1214" y="1367"/>
                    </a:lnTo>
                    <a:lnTo>
                      <a:pt x="1212" y="1365"/>
                    </a:lnTo>
                    <a:lnTo>
                      <a:pt x="1207" y="1359"/>
                    </a:lnTo>
                    <a:lnTo>
                      <a:pt x="1202" y="1353"/>
                    </a:lnTo>
                    <a:lnTo>
                      <a:pt x="1194" y="1349"/>
                    </a:lnTo>
                    <a:lnTo>
                      <a:pt x="1192" y="1348"/>
                    </a:lnTo>
                    <a:lnTo>
                      <a:pt x="1189" y="1347"/>
                    </a:lnTo>
                    <a:lnTo>
                      <a:pt x="1186" y="1347"/>
                    </a:lnTo>
                    <a:lnTo>
                      <a:pt x="1184" y="1346"/>
                    </a:lnTo>
                    <a:lnTo>
                      <a:pt x="1181" y="1345"/>
                    </a:lnTo>
                    <a:lnTo>
                      <a:pt x="1181" y="1344"/>
                    </a:lnTo>
                    <a:lnTo>
                      <a:pt x="1181" y="1343"/>
                    </a:lnTo>
                    <a:lnTo>
                      <a:pt x="1182" y="1343"/>
                    </a:lnTo>
                    <a:lnTo>
                      <a:pt x="1184" y="1343"/>
                    </a:lnTo>
                    <a:lnTo>
                      <a:pt x="1184" y="1343"/>
                    </a:lnTo>
                    <a:lnTo>
                      <a:pt x="1185" y="1340"/>
                    </a:lnTo>
                    <a:lnTo>
                      <a:pt x="1184" y="1338"/>
                    </a:lnTo>
                    <a:lnTo>
                      <a:pt x="1182" y="1336"/>
                    </a:lnTo>
                    <a:lnTo>
                      <a:pt x="1180" y="1334"/>
                    </a:lnTo>
                    <a:lnTo>
                      <a:pt x="1177" y="1333"/>
                    </a:lnTo>
                    <a:lnTo>
                      <a:pt x="1177" y="1330"/>
                    </a:lnTo>
                    <a:lnTo>
                      <a:pt x="1177" y="1328"/>
                    </a:lnTo>
                    <a:lnTo>
                      <a:pt x="1179" y="1326"/>
                    </a:lnTo>
                    <a:lnTo>
                      <a:pt x="1181" y="1324"/>
                    </a:lnTo>
                    <a:lnTo>
                      <a:pt x="1185" y="1322"/>
                    </a:lnTo>
                    <a:lnTo>
                      <a:pt x="1188" y="1321"/>
                    </a:lnTo>
                    <a:lnTo>
                      <a:pt x="1190" y="1320"/>
                    </a:lnTo>
                    <a:lnTo>
                      <a:pt x="1193" y="1319"/>
                    </a:lnTo>
                    <a:lnTo>
                      <a:pt x="1196" y="1317"/>
                    </a:lnTo>
                    <a:lnTo>
                      <a:pt x="1198" y="1316"/>
                    </a:lnTo>
                    <a:lnTo>
                      <a:pt x="1200" y="1314"/>
                    </a:lnTo>
                    <a:lnTo>
                      <a:pt x="1201" y="1312"/>
                    </a:lnTo>
                    <a:lnTo>
                      <a:pt x="1200" y="1310"/>
                    </a:lnTo>
                    <a:lnTo>
                      <a:pt x="1198" y="1308"/>
                    </a:lnTo>
                    <a:lnTo>
                      <a:pt x="1198" y="1309"/>
                    </a:lnTo>
                    <a:lnTo>
                      <a:pt x="1197" y="1310"/>
                    </a:lnTo>
                    <a:lnTo>
                      <a:pt x="1196" y="1311"/>
                    </a:lnTo>
                    <a:lnTo>
                      <a:pt x="1195" y="1311"/>
                    </a:lnTo>
                    <a:lnTo>
                      <a:pt x="1192" y="1310"/>
                    </a:lnTo>
                    <a:lnTo>
                      <a:pt x="1191" y="1310"/>
                    </a:lnTo>
                    <a:lnTo>
                      <a:pt x="1190" y="1309"/>
                    </a:lnTo>
                    <a:lnTo>
                      <a:pt x="1189" y="1307"/>
                    </a:lnTo>
                    <a:lnTo>
                      <a:pt x="1186" y="1306"/>
                    </a:lnTo>
                    <a:lnTo>
                      <a:pt x="1185" y="1306"/>
                    </a:lnTo>
                    <a:lnTo>
                      <a:pt x="1184" y="1306"/>
                    </a:lnTo>
                    <a:lnTo>
                      <a:pt x="1184" y="1305"/>
                    </a:lnTo>
                    <a:lnTo>
                      <a:pt x="1185" y="1305"/>
                    </a:lnTo>
                    <a:lnTo>
                      <a:pt x="1185" y="1304"/>
                    </a:lnTo>
                    <a:lnTo>
                      <a:pt x="1186" y="1304"/>
                    </a:lnTo>
                    <a:lnTo>
                      <a:pt x="1186" y="1304"/>
                    </a:lnTo>
                    <a:lnTo>
                      <a:pt x="1187" y="1303"/>
                    </a:lnTo>
                    <a:lnTo>
                      <a:pt x="1187" y="1301"/>
                    </a:lnTo>
                    <a:lnTo>
                      <a:pt x="1186" y="1300"/>
                    </a:lnTo>
                    <a:lnTo>
                      <a:pt x="1184" y="1300"/>
                    </a:lnTo>
                    <a:lnTo>
                      <a:pt x="1184" y="1294"/>
                    </a:lnTo>
                    <a:lnTo>
                      <a:pt x="1184" y="1293"/>
                    </a:lnTo>
                    <a:lnTo>
                      <a:pt x="1184" y="1293"/>
                    </a:lnTo>
                    <a:lnTo>
                      <a:pt x="1185" y="1293"/>
                    </a:lnTo>
                    <a:lnTo>
                      <a:pt x="1186" y="1293"/>
                    </a:lnTo>
                    <a:lnTo>
                      <a:pt x="1187" y="1293"/>
                    </a:lnTo>
                    <a:lnTo>
                      <a:pt x="1188" y="1292"/>
                    </a:lnTo>
                    <a:lnTo>
                      <a:pt x="1189" y="1291"/>
                    </a:lnTo>
                    <a:lnTo>
                      <a:pt x="1189" y="1290"/>
                    </a:lnTo>
                    <a:lnTo>
                      <a:pt x="1190" y="1289"/>
                    </a:lnTo>
                    <a:lnTo>
                      <a:pt x="1190" y="1288"/>
                    </a:lnTo>
                    <a:lnTo>
                      <a:pt x="1191" y="1287"/>
                    </a:lnTo>
                    <a:lnTo>
                      <a:pt x="1192" y="1286"/>
                    </a:lnTo>
                    <a:lnTo>
                      <a:pt x="1193" y="1286"/>
                    </a:lnTo>
                    <a:lnTo>
                      <a:pt x="1195" y="1285"/>
                    </a:lnTo>
                    <a:lnTo>
                      <a:pt x="1196" y="1284"/>
                    </a:lnTo>
                    <a:lnTo>
                      <a:pt x="1197" y="1282"/>
                    </a:lnTo>
                    <a:lnTo>
                      <a:pt x="1197" y="1281"/>
                    </a:lnTo>
                    <a:lnTo>
                      <a:pt x="1197" y="1279"/>
                    </a:lnTo>
                    <a:lnTo>
                      <a:pt x="1196" y="1277"/>
                    </a:lnTo>
                    <a:lnTo>
                      <a:pt x="1195" y="1274"/>
                    </a:lnTo>
                    <a:lnTo>
                      <a:pt x="1195" y="1273"/>
                    </a:lnTo>
                    <a:lnTo>
                      <a:pt x="1196" y="1271"/>
                    </a:lnTo>
                    <a:lnTo>
                      <a:pt x="1202" y="1270"/>
                    </a:lnTo>
                    <a:lnTo>
                      <a:pt x="1208" y="1269"/>
                    </a:lnTo>
                    <a:lnTo>
                      <a:pt x="1212" y="1267"/>
                    </a:lnTo>
                    <a:lnTo>
                      <a:pt x="1214" y="1266"/>
                    </a:lnTo>
                    <a:lnTo>
                      <a:pt x="1214" y="1265"/>
                    </a:lnTo>
                    <a:lnTo>
                      <a:pt x="1213" y="1264"/>
                    </a:lnTo>
                    <a:lnTo>
                      <a:pt x="1213" y="1263"/>
                    </a:lnTo>
                    <a:lnTo>
                      <a:pt x="1213" y="1262"/>
                    </a:lnTo>
                    <a:lnTo>
                      <a:pt x="1214" y="1261"/>
                    </a:lnTo>
                    <a:lnTo>
                      <a:pt x="1216" y="1259"/>
                    </a:lnTo>
                    <a:lnTo>
                      <a:pt x="1218" y="1257"/>
                    </a:lnTo>
                    <a:lnTo>
                      <a:pt x="1218" y="1255"/>
                    </a:lnTo>
                    <a:lnTo>
                      <a:pt x="1220" y="1254"/>
                    </a:lnTo>
                    <a:lnTo>
                      <a:pt x="1222" y="1253"/>
                    </a:lnTo>
                    <a:lnTo>
                      <a:pt x="1224" y="1252"/>
                    </a:lnTo>
                    <a:lnTo>
                      <a:pt x="1227" y="1252"/>
                    </a:lnTo>
                    <a:lnTo>
                      <a:pt x="1229" y="1252"/>
                    </a:lnTo>
                    <a:lnTo>
                      <a:pt x="1231" y="1252"/>
                    </a:lnTo>
                    <a:lnTo>
                      <a:pt x="1232" y="1251"/>
                    </a:lnTo>
                    <a:lnTo>
                      <a:pt x="1234" y="1249"/>
                    </a:lnTo>
                    <a:lnTo>
                      <a:pt x="1236" y="1247"/>
                    </a:lnTo>
                    <a:lnTo>
                      <a:pt x="1237" y="1246"/>
                    </a:lnTo>
                    <a:lnTo>
                      <a:pt x="1239" y="1244"/>
                    </a:lnTo>
                    <a:lnTo>
                      <a:pt x="1241" y="1243"/>
                    </a:lnTo>
                    <a:lnTo>
                      <a:pt x="1243" y="1241"/>
                    </a:lnTo>
                    <a:lnTo>
                      <a:pt x="1244" y="1239"/>
                    </a:lnTo>
                    <a:lnTo>
                      <a:pt x="1244" y="1236"/>
                    </a:lnTo>
                    <a:lnTo>
                      <a:pt x="1243" y="1233"/>
                    </a:lnTo>
                    <a:lnTo>
                      <a:pt x="1242" y="1232"/>
                    </a:lnTo>
                    <a:lnTo>
                      <a:pt x="1241" y="1230"/>
                    </a:lnTo>
                    <a:lnTo>
                      <a:pt x="1241" y="1229"/>
                    </a:lnTo>
                    <a:lnTo>
                      <a:pt x="1241" y="1227"/>
                    </a:lnTo>
                    <a:lnTo>
                      <a:pt x="1242" y="1224"/>
                    </a:lnTo>
                    <a:lnTo>
                      <a:pt x="1243" y="1222"/>
                    </a:lnTo>
                    <a:lnTo>
                      <a:pt x="1244" y="1219"/>
                    </a:lnTo>
                    <a:lnTo>
                      <a:pt x="1245" y="1216"/>
                    </a:lnTo>
                    <a:lnTo>
                      <a:pt x="1245" y="1215"/>
                    </a:lnTo>
                    <a:lnTo>
                      <a:pt x="1244" y="1214"/>
                    </a:lnTo>
                    <a:lnTo>
                      <a:pt x="1243" y="1212"/>
                    </a:lnTo>
                    <a:lnTo>
                      <a:pt x="1243" y="1210"/>
                    </a:lnTo>
                    <a:lnTo>
                      <a:pt x="1243" y="1208"/>
                    </a:lnTo>
                    <a:lnTo>
                      <a:pt x="1244" y="1207"/>
                    </a:lnTo>
                    <a:lnTo>
                      <a:pt x="1245" y="1206"/>
                    </a:lnTo>
                    <a:lnTo>
                      <a:pt x="1244" y="1205"/>
                    </a:lnTo>
                    <a:lnTo>
                      <a:pt x="1243" y="1204"/>
                    </a:lnTo>
                    <a:lnTo>
                      <a:pt x="1241" y="1202"/>
                    </a:lnTo>
                    <a:lnTo>
                      <a:pt x="1240" y="1201"/>
                    </a:lnTo>
                    <a:lnTo>
                      <a:pt x="1238" y="1199"/>
                    </a:lnTo>
                    <a:lnTo>
                      <a:pt x="1237" y="1197"/>
                    </a:lnTo>
                    <a:lnTo>
                      <a:pt x="1234" y="1194"/>
                    </a:lnTo>
                    <a:lnTo>
                      <a:pt x="1232" y="1192"/>
                    </a:lnTo>
                    <a:lnTo>
                      <a:pt x="1230" y="1191"/>
                    </a:lnTo>
                    <a:lnTo>
                      <a:pt x="1226" y="1190"/>
                    </a:lnTo>
                    <a:lnTo>
                      <a:pt x="1222" y="1191"/>
                    </a:lnTo>
                    <a:lnTo>
                      <a:pt x="1219" y="1191"/>
                    </a:lnTo>
                    <a:lnTo>
                      <a:pt x="1215" y="1192"/>
                    </a:lnTo>
                    <a:lnTo>
                      <a:pt x="1212" y="1192"/>
                    </a:lnTo>
                    <a:lnTo>
                      <a:pt x="1211" y="1192"/>
                    </a:lnTo>
                    <a:lnTo>
                      <a:pt x="1210" y="1191"/>
                    </a:lnTo>
                    <a:lnTo>
                      <a:pt x="1208" y="1190"/>
                    </a:lnTo>
                    <a:lnTo>
                      <a:pt x="1207" y="1190"/>
                    </a:lnTo>
                    <a:lnTo>
                      <a:pt x="1204" y="1190"/>
                    </a:lnTo>
                    <a:lnTo>
                      <a:pt x="1194" y="1192"/>
                    </a:lnTo>
                    <a:lnTo>
                      <a:pt x="1184" y="1195"/>
                    </a:lnTo>
                    <a:lnTo>
                      <a:pt x="1173" y="1196"/>
                    </a:lnTo>
                    <a:lnTo>
                      <a:pt x="1167" y="1196"/>
                    </a:lnTo>
                    <a:lnTo>
                      <a:pt x="1161" y="1194"/>
                    </a:lnTo>
                    <a:lnTo>
                      <a:pt x="1155" y="1192"/>
                    </a:lnTo>
                    <a:lnTo>
                      <a:pt x="1145" y="1193"/>
                    </a:lnTo>
                    <a:lnTo>
                      <a:pt x="1135" y="1194"/>
                    </a:lnTo>
                    <a:lnTo>
                      <a:pt x="1128" y="1194"/>
                    </a:lnTo>
                    <a:lnTo>
                      <a:pt x="1120" y="1194"/>
                    </a:lnTo>
                    <a:lnTo>
                      <a:pt x="1112" y="1193"/>
                    </a:lnTo>
                    <a:lnTo>
                      <a:pt x="1106" y="1191"/>
                    </a:lnTo>
                    <a:lnTo>
                      <a:pt x="1102" y="1188"/>
                    </a:lnTo>
                    <a:lnTo>
                      <a:pt x="1103" y="1185"/>
                    </a:lnTo>
                    <a:lnTo>
                      <a:pt x="1103" y="1183"/>
                    </a:lnTo>
                    <a:lnTo>
                      <a:pt x="1105" y="1181"/>
                    </a:lnTo>
                    <a:lnTo>
                      <a:pt x="1106" y="1179"/>
                    </a:lnTo>
                    <a:lnTo>
                      <a:pt x="1108" y="1176"/>
                    </a:lnTo>
                    <a:lnTo>
                      <a:pt x="1109" y="1175"/>
                    </a:lnTo>
                    <a:lnTo>
                      <a:pt x="1109" y="1172"/>
                    </a:lnTo>
                    <a:lnTo>
                      <a:pt x="1109" y="1170"/>
                    </a:lnTo>
                    <a:lnTo>
                      <a:pt x="1109" y="1168"/>
                    </a:lnTo>
                    <a:lnTo>
                      <a:pt x="1108" y="1166"/>
                    </a:lnTo>
                    <a:lnTo>
                      <a:pt x="1108" y="1163"/>
                    </a:lnTo>
                    <a:lnTo>
                      <a:pt x="1107" y="1160"/>
                    </a:lnTo>
                    <a:lnTo>
                      <a:pt x="1108" y="1157"/>
                    </a:lnTo>
                    <a:lnTo>
                      <a:pt x="1108" y="1154"/>
                    </a:lnTo>
                    <a:lnTo>
                      <a:pt x="1108" y="1151"/>
                    </a:lnTo>
                    <a:lnTo>
                      <a:pt x="1108" y="1150"/>
                    </a:lnTo>
                    <a:lnTo>
                      <a:pt x="1106" y="1148"/>
                    </a:lnTo>
                    <a:lnTo>
                      <a:pt x="1103" y="1147"/>
                    </a:lnTo>
                    <a:lnTo>
                      <a:pt x="1100" y="1145"/>
                    </a:lnTo>
                    <a:lnTo>
                      <a:pt x="1090" y="1137"/>
                    </a:lnTo>
                    <a:lnTo>
                      <a:pt x="1079" y="1129"/>
                    </a:lnTo>
                    <a:lnTo>
                      <a:pt x="1074" y="1129"/>
                    </a:lnTo>
                    <a:lnTo>
                      <a:pt x="1068" y="1130"/>
                    </a:lnTo>
                    <a:lnTo>
                      <a:pt x="1062" y="1132"/>
                    </a:lnTo>
                    <a:lnTo>
                      <a:pt x="1055" y="1131"/>
                    </a:lnTo>
                    <a:lnTo>
                      <a:pt x="1047" y="1128"/>
                    </a:lnTo>
                    <a:lnTo>
                      <a:pt x="1039" y="1125"/>
                    </a:lnTo>
                    <a:lnTo>
                      <a:pt x="1028" y="1123"/>
                    </a:lnTo>
                    <a:lnTo>
                      <a:pt x="1023" y="1122"/>
                    </a:lnTo>
                    <a:lnTo>
                      <a:pt x="1017" y="1121"/>
                    </a:lnTo>
                    <a:lnTo>
                      <a:pt x="1012" y="1119"/>
                    </a:lnTo>
                    <a:lnTo>
                      <a:pt x="1010" y="1115"/>
                    </a:lnTo>
                    <a:lnTo>
                      <a:pt x="1011" y="1113"/>
                    </a:lnTo>
                    <a:lnTo>
                      <a:pt x="1011" y="1111"/>
                    </a:lnTo>
                    <a:lnTo>
                      <a:pt x="1012" y="1109"/>
                    </a:lnTo>
                    <a:lnTo>
                      <a:pt x="1011" y="1106"/>
                    </a:lnTo>
                    <a:lnTo>
                      <a:pt x="1011" y="1104"/>
                    </a:lnTo>
                    <a:lnTo>
                      <a:pt x="1008" y="1103"/>
                    </a:lnTo>
                    <a:lnTo>
                      <a:pt x="1004" y="1099"/>
                    </a:lnTo>
                    <a:lnTo>
                      <a:pt x="1000" y="1097"/>
                    </a:lnTo>
                    <a:lnTo>
                      <a:pt x="996" y="1095"/>
                    </a:lnTo>
                    <a:lnTo>
                      <a:pt x="987" y="1094"/>
                    </a:lnTo>
                    <a:lnTo>
                      <a:pt x="976" y="1094"/>
                    </a:lnTo>
                    <a:lnTo>
                      <a:pt x="967" y="1095"/>
                    </a:lnTo>
                    <a:lnTo>
                      <a:pt x="965" y="1095"/>
                    </a:lnTo>
                    <a:lnTo>
                      <a:pt x="964" y="1096"/>
                    </a:lnTo>
                    <a:lnTo>
                      <a:pt x="963" y="1097"/>
                    </a:lnTo>
                    <a:lnTo>
                      <a:pt x="963" y="1098"/>
                    </a:lnTo>
                    <a:lnTo>
                      <a:pt x="964" y="1099"/>
                    </a:lnTo>
                    <a:lnTo>
                      <a:pt x="964" y="1101"/>
                    </a:lnTo>
                    <a:lnTo>
                      <a:pt x="964" y="1102"/>
                    </a:lnTo>
                    <a:lnTo>
                      <a:pt x="964" y="1103"/>
                    </a:lnTo>
                    <a:lnTo>
                      <a:pt x="964" y="1104"/>
                    </a:lnTo>
                    <a:lnTo>
                      <a:pt x="963" y="1104"/>
                    </a:lnTo>
                    <a:lnTo>
                      <a:pt x="962" y="1104"/>
                    </a:lnTo>
                    <a:lnTo>
                      <a:pt x="959" y="1103"/>
                    </a:lnTo>
                    <a:lnTo>
                      <a:pt x="951" y="1097"/>
                    </a:lnTo>
                    <a:lnTo>
                      <a:pt x="942" y="1092"/>
                    </a:lnTo>
                    <a:lnTo>
                      <a:pt x="933" y="1087"/>
                    </a:lnTo>
                    <a:lnTo>
                      <a:pt x="919" y="1080"/>
                    </a:lnTo>
                    <a:lnTo>
                      <a:pt x="906" y="1076"/>
                    </a:lnTo>
                    <a:lnTo>
                      <a:pt x="892" y="1073"/>
                    </a:lnTo>
                    <a:lnTo>
                      <a:pt x="873" y="1067"/>
                    </a:lnTo>
                    <a:lnTo>
                      <a:pt x="857" y="1059"/>
                    </a:lnTo>
                    <a:lnTo>
                      <a:pt x="847" y="1053"/>
                    </a:lnTo>
                    <a:lnTo>
                      <a:pt x="839" y="1046"/>
                    </a:lnTo>
                    <a:lnTo>
                      <a:pt x="830" y="1042"/>
                    </a:lnTo>
                    <a:lnTo>
                      <a:pt x="820" y="1038"/>
                    </a:lnTo>
                    <a:lnTo>
                      <a:pt x="806" y="1029"/>
                    </a:lnTo>
                    <a:lnTo>
                      <a:pt x="792" y="1020"/>
                    </a:lnTo>
                    <a:lnTo>
                      <a:pt x="790" y="1017"/>
                    </a:lnTo>
                    <a:lnTo>
                      <a:pt x="787" y="1015"/>
                    </a:lnTo>
                    <a:lnTo>
                      <a:pt x="785" y="1013"/>
                    </a:lnTo>
                    <a:lnTo>
                      <a:pt x="783" y="1011"/>
                    </a:lnTo>
                    <a:lnTo>
                      <a:pt x="782" y="1010"/>
                    </a:lnTo>
                    <a:lnTo>
                      <a:pt x="783" y="1007"/>
                    </a:lnTo>
                    <a:lnTo>
                      <a:pt x="784" y="1004"/>
                    </a:lnTo>
                    <a:lnTo>
                      <a:pt x="785" y="1002"/>
                    </a:lnTo>
                    <a:lnTo>
                      <a:pt x="786" y="1000"/>
                    </a:lnTo>
                    <a:lnTo>
                      <a:pt x="786" y="998"/>
                    </a:lnTo>
                    <a:lnTo>
                      <a:pt x="782" y="987"/>
                    </a:lnTo>
                    <a:lnTo>
                      <a:pt x="776" y="978"/>
                    </a:lnTo>
                    <a:lnTo>
                      <a:pt x="767" y="971"/>
                    </a:lnTo>
                    <a:lnTo>
                      <a:pt x="763" y="965"/>
                    </a:lnTo>
                    <a:lnTo>
                      <a:pt x="759" y="961"/>
                    </a:lnTo>
                    <a:lnTo>
                      <a:pt x="755" y="957"/>
                    </a:lnTo>
                    <a:lnTo>
                      <a:pt x="750" y="953"/>
                    </a:lnTo>
                    <a:lnTo>
                      <a:pt x="745" y="949"/>
                    </a:lnTo>
                    <a:lnTo>
                      <a:pt x="739" y="945"/>
                    </a:lnTo>
                    <a:lnTo>
                      <a:pt x="730" y="934"/>
                    </a:lnTo>
                    <a:lnTo>
                      <a:pt x="721" y="926"/>
                    </a:lnTo>
                    <a:lnTo>
                      <a:pt x="714" y="922"/>
                    </a:lnTo>
                    <a:lnTo>
                      <a:pt x="710" y="916"/>
                    </a:lnTo>
                    <a:lnTo>
                      <a:pt x="707" y="909"/>
                    </a:lnTo>
                    <a:lnTo>
                      <a:pt x="704" y="904"/>
                    </a:lnTo>
                    <a:lnTo>
                      <a:pt x="696" y="895"/>
                    </a:lnTo>
                    <a:lnTo>
                      <a:pt x="687" y="888"/>
                    </a:lnTo>
                    <a:lnTo>
                      <a:pt x="678" y="879"/>
                    </a:lnTo>
                    <a:lnTo>
                      <a:pt x="674" y="875"/>
                    </a:lnTo>
                    <a:lnTo>
                      <a:pt x="670" y="871"/>
                    </a:lnTo>
                    <a:lnTo>
                      <a:pt x="665" y="868"/>
                    </a:lnTo>
                    <a:lnTo>
                      <a:pt x="661" y="865"/>
                    </a:lnTo>
                    <a:lnTo>
                      <a:pt x="658" y="861"/>
                    </a:lnTo>
                    <a:lnTo>
                      <a:pt x="655" y="857"/>
                    </a:lnTo>
                    <a:lnTo>
                      <a:pt x="653" y="851"/>
                    </a:lnTo>
                    <a:lnTo>
                      <a:pt x="646" y="836"/>
                    </a:lnTo>
                    <a:lnTo>
                      <a:pt x="635" y="822"/>
                    </a:lnTo>
                    <a:lnTo>
                      <a:pt x="634" y="820"/>
                    </a:lnTo>
                    <a:lnTo>
                      <a:pt x="632" y="818"/>
                    </a:lnTo>
                    <a:lnTo>
                      <a:pt x="630" y="816"/>
                    </a:lnTo>
                    <a:lnTo>
                      <a:pt x="628" y="815"/>
                    </a:lnTo>
                    <a:lnTo>
                      <a:pt x="627" y="813"/>
                    </a:lnTo>
                    <a:lnTo>
                      <a:pt x="625" y="812"/>
                    </a:lnTo>
                    <a:lnTo>
                      <a:pt x="623" y="812"/>
                    </a:lnTo>
                    <a:lnTo>
                      <a:pt x="622" y="812"/>
                    </a:lnTo>
                    <a:lnTo>
                      <a:pt x="621" y="814"/>
                    </a:lnTo>
                    <a:lnTo>
                      <a:pt x="621" y="816"/>
                    </a:lnTo>
                    <a:lnTo>
                      <a:pt x="624" y="827"/>
                    </a:lnTo>
                    <a:lnTo>
                      <a:pt x="623" y="837"/>
                    </a:lnTo>
                    <a:lnTo>
                      <a:pt x="623" y="840"/>
                    </a:lnTo>
                    <a:lnTo>
                      <a:pt x="623" y="842"/>
                    </a:lnTo>
                    <a:lnTo>
                      <a:pt x="624" y="844"/>
                    </a:lnTo>
                    <a:lnTo>
                      <a:pt x="626" y="847"/>
                    </a:lnTo>
                    <a:lnTo>
                      <a:pt x="629" y="849"/>
                    </a:lnTo>
                    <a:lnTo>
                      <a:pt x="636" y="854"/>
                    </a:lnTo>
                    <a:lnTo>
                      <a:pt x="643" y="859"/>
                    </a:lnTo>
                    <a:lnTo>
                      <a:pt x="647" y="864"/>
                    </a:lnTo>
                    <a:lnTo>
                      <a:pt x="649" y="871"/>
                    </a:lnTo>
                    <a:lnTo>
                      <a:pt x="652" y="875"/>
                    </a:lnTo>
                    <a:lnTo>
                      <a:pt x="655" y="879"/>
                    </a:lnTo>
                    <a:lnTo>
                      <a:pt x="659" y="883"/>
                    </a:lnTo>
                    <a:lnTo>
                      <a:pt x="663" y="889"/>
                    </a:lnTo>
                    <a:lnTo>
                      <a:pt x="667" y="894"/>
                    </a:lnTo>
                    <a:lnTo>
                      <a:pt x="672" y="900"/>
                    </a:lnTo>
                    <a:lnTo>
                      <a:pt x="676" y="905"/>
                    </a:lnTo>
                    <a:lnTo>
                      <a:pt x="680" y="910"/>
                    </a:lnTo>
                    <a:lnTo>
                      <a:pt x="684" y="914"/>
                    </a:lnTo>
                    <a:lnTo>
                      <a:pt x="686" y="917"/>
                    </a:lnTo>
                    <a:lnTo>
                      <a:pt x="687" y="920"/>
                    </a:lnTo>
                    <a:lnTo>
                      <a:pt x="689" y="922"/>
                    </a:lnTo>
                    <a:lnTo>
                      <a:pt x="690" y="924"/>
                    </a:lnTo>
                    <a:lnTo>
                      <a:pt x="692" y="926"/>
                    </a:lnTo>
                    <a:lnTo>
                      <a:pt x="695" y="929"/>
                    </a:lnTo>
                    <a:lnTo>
                      <a:pt x="697" y="933"/>
                    </a:lnTo>
                    <a:lnTo>
                      <a:pt x="699" y="937"/>
                    </a:lnTo>
                    <a:lnTo>
                      <a:pt x="700" y="941"/>
                    </a:lnTo>
                    <a:lnTo>
                      <a:pt x="702" y="943"/>
                    </a:lnTo>
                    <a:lnTo>
                      <a:pt x="704" y="944"/>
                    </a:lnTo>
                    <a:lnTo>
                      <a:pt x="706" y="946"/>
                    </a:lnTo>
                    <a:lnTo>
                      <a:pt x="708" y="947"/>
                    </a:lnTo>
                    <a:lnTo>
                      <a:pt x="710" y="949"/>
                    </a:lnTo>
                    <a:lnTo>
                      <a:pt x="713" y="952"/>
                    </a:lnTo>
                    <a:lnTo>
                      <a:pt x="716" y="956"/>
                    </a:lnTo>
                    <a:lnTo>
                      <a:pt x="718" y="960"/>
                    </a:lnTo>
                    <a:lnTo>
                      <a:pt x="721" y="963"/>
                    </a:lnTo>
                    <a:lnTo>
                      <a:pt x="721" y="964"/>
                    </a:lnTo>
                    <a:lnTo>
                      <a:pt x="719" y="965"/>
                    </a:lnTo>
                    <a:lnTo>
                      <a:pt x="718" y="965"/>
                    </a:lnTo>
                    <a:lnTo>
                      <a:pt x="717" y="965"/>
                    </a:lnTo>
                    <a:lnTo>
                      <a:pt x="715" y="965"/>
                    </a:lnTo>
                    <a:lnTo>
                      <a:pt x="714" y="965"/>
                    </a:lnTo>
                    <a:lnTo>
                      <a:pt x="711" y="963"/>
                    </a:lnTo>
                    <a:lnTo>
                      <a:pt x="709" y="961"/>
                    </a:lnTo>
                    <a:lnTo>
                      <a:pt x="707" y="959"/>
                    </a:lnTo>
                    <a:lnTo>
                      <a:pt x="705" y="956"/>
                    </a:lnTo>
                    <a:lnTo>
                      <a:pt x="704" y="955"/>
                    </a:lnTo>
                    <a:lnTo>
                      <a:pt x="702" y="953"/>
                    </a:lnTo>
                    <a:lnTo>
                      <a:pt x="699" y="951"/>
                    </a:lnTo>
                    <a:lnTo>
                      <a:pt x="696" y="949"/>
                    </a:lnTo>
                    <a:lnTo>
                      <a:pt x="694" y="947"/>
                    </a:lnTo>
                    <a:lnTo>
                      <a:pt x="692" y="945"/>
                    </a:lnTo>
                    <a:lnTo>
                      <a:pt x="690" y="942"/>
                    </a:lnTo>
                    <a:lnTo>
                      <a:pt x="687" y="939"/>
                    </a:lnTo>
                    <a:lnTo>
                      <a:pt x="684" y="936"/>
                    </a:lnTo>
                    <a:lnTo>
                      <a:pt x="681" y="935"/>
                    </a:lnTo>
                    <a:lnTo>
                      <a:pt x="678" y="934"/>
                    </a:lnTo>
                    <a:lnTo>
                      <a:pt x="675" y="934"/>
                    </a:lnTo>
                    <a:lnTo>
                      <a:pt x="673" y="932"/>
                    </a:lnTo>
                    <a:lnTo>
                      <a:pt x="672" y="931"/>
                    </a:lnTo>
                    <a:lnTo>
                      <a:pt x="670" y="928"/>
                    </a:lnTo>
                    <a:lnTo>
                      <a:pt x="669" y="921"/>
                    </a:lnTo>
                    <a:lnTo>
                      <a:pt x="669" y="914"/>
                    </a:lnTo>
                    <a:lnTo>
                      <a:pt x="665" y="909"/>
                    </a:lnTo>
                    <a:lnTo>
                      <a:pt x="659" y="904"/>
                    </a:lnTo>
                    <a:lnTo>
                      <a:pt x="654" y="900"/>
                    </a:lnTo>
                    <a:lnTo>
                      <a:pt x="647" y="898"/>
                    </a:lnTo>
                    <a:lnTo>
                      <a:pt x="641" y="895"/>
                    </a:lnTo>
                    <a:lnTo>
                      <a:pt x="637" y="890"/>
                    </a:lnTo>
                    <a:lnTo>
                      <a:pt x="635" y="883"/>
                    </a:lnTo>
                    <a:lnTo>
                      <a:pt x="636" y="877"/>
                    </a:lnTo>
                    <a:lnTo>
                      <a:pt x="636" y="871"/>
                    </a:lnTo>
                    <a:lnTo>
                      <a:pt x="633" y="865"/>
                    </a:lnTo>
                    <a:lnTo>
                      <a:pt x="629" y="862"/>
                    </a:lnTo>
                    <a:lnTo>
                      <a:pt x="624" y="858"/>
                    </a:lnTo>
                    <a:lnTo>
                      <a:pt x="620" y="854"/>
                    </a:lnTo>
                    <a:lnTo>
                      <a:pt x="616" y="851"/>
                    </a:lnTo>
                    <a:lnTo>
                      <a:pt x="614" y="849"/>
                    </a:lnTo>
                    <a:lnTo>
                      <a:pt x="612" y="847"/>
                    </a:lnTo>
                    <a:lnTo>
                      <a:pt x="611" y="845"/>
                    </a:lnTo>
                    <a:lnTo>
                      <a:pt x="609" y="842"/>
                    </a:lnTo>
                    <a:lnTo>
                      <a:pt x="608" y="839"/>
                    </a:lnTo>
                    <a:lnTo>
                      <a:pt x="602" y="830"/>
                    </a:lnTo>
                    <a:lnTo>
                      <a:pt x="595" y="820"/>
                    </a:lnTo>
                    <a:lnTo>
                      <a:pt x="588" y="810"/>
                    </a:lnTo>
                    <a:lnTo>
                      <a:pt x="575" y="792"/>
                    </a:lnTo>
                    <a:lnTo>
                      <a:pt x="563" y="774"/>
                    </a:lnTo>
                    <a:lnTo>
                      <a:pt x="556" y="765"/>
                    </a:lnTo>
                    <a:lnTo>
                      <a:pt x="547" y="759"/>
                    </a:lnTo>
                    <a:lnTo>
                      <a:pt x="539" y="753"/>
                    </a:lnTo>
                    <a:lnTo>
                      <a:pt x="527" y="744"/>
                    </a:lnTo>
                    <a:lnTo>
                      <a:pt x="516" y="733"/>
                    </a:lnTo>
                    <a:lnTo>
                      <a:pt x="505" y="719"/>
                    </a:lnTo>
                    <a:lnTo>
                      <a:pt x="498" y="703"/>
                    </a:lnTo>
                    <a:lnTo>
                      <a:pt x="492" y="689"/>
                    </a:lnTo>
                    <a:lnTo>
                      <a:pt x="488" y="680"/>
                    </a:lnTo>
                    <a:lnTo>
                      <a:pt x="484" y="671"/>
                    </a:lnTo>
                    <a:lnTo>
                      <a:pt x="483" y="667"/>
                    </a:lnTo>
                    <a:lnTo>
                      <a:pt x="481" y="665"/>
                    </a:lnTo>
                    <a:lnTo>
                      <a:pt x="479" y="662"/>
                    </a:lnTo>
                    <a:lnTo>
                      <a:pt x="476" y="659"/>
                    </a:lnTo>
                    <a:lnTo>
                      <a:pt x="474" y="656"/>
                    </a:lnTo>
                    <a:lnTo>
                      <a:pt x="472" y="651"/>
                    </a:lnTo>
                    <a:lnTo>
                      <a:pt x="470" y="646"/>
                    </a:lnTo>
                    <a:lnTo>
                      <a:pt x="468" y="640"/>
                    </a:lnTo>
                    <a:lnTo>
                      <a:pt x="467" y="637"/>
                    </a:lnTo>
                    <a:lnTo>
                      <a:pt x="465" y="635"/>
                    </a:lnTo>
                    <a:lnTo>
                      <a:pt x="463" y="632"/>
                    </a:lnTo>
                    <a:lnTo>
                      <a:pt x="461" y="629"/>
                    </a:lnTo>
                    <a:lnTo>
                      <a:pt x="461" y="626"/>
                    </a:lnTo>
                    <a:lnTo>
                      <a:pt x="460" y="618"/>
                    </a:lnTo>
                    <a:lnTo>
                      <a:pt x="460" y="612"/>
                    </a:lnTo>
                    <a:lnTo>
                      <a:pt x="461" y="606"/>
                    </a:lnTo>
                    <a:lnTo>
                      <a:pt x="460" y="596"/>
                    </a:lnTo>
                    <a:lnTo>
                      <a:pt x="459" y="587"/>
                    </a:lnTo>
                    <a:lnTo>
                      <a:pt x="453" y="569"/>
                    </a:lnTo>
                    <a:lnTo>
                      <a:pt x="453" y="561"/>
                    </a:lnTo>
                    <a:lnTo>
                      <a:pt x="454" y="555"/>
                    </a:lnTo>
                    <a:lnTo>
                      <a:pt x="455" y="549"/>
                    </a:lnTo>
                    <a:lnTo>
                      <a:pt x="456" y="531"/>
                    </a:lnTo>
                    <a:lnTo>
                      <a:pt x="455" y="514"/>
                    </a:lnTo>
                    <a:lnTo>
                      <a:pt x="453" y="498"/>
                    </a:lnTo>
                    <a:lnTo>
                      <a:pt x="453" y="477"/>
                    </a:lnTo>
                    <a:lnTo>
                      <a:pt x="451" y="473"/>
                    </a:lnTo>
                    <a:lnTo>
                      <a:pt x="450" y="470"/>
                    </a:lnTo>
                    <a:lnTo>
                      <a:pt x="448" y="468"/>
                    </a:lnTo>
                    <a:lnTo>
                      <a:pt x="447" y="465"/>
                    </a:lnTo>
                    <a:lnTo>
                      <a:pt x="445" y="461"/>
                    </a:lnTo>
                    <a:lnTo>
                      <a:pt x="444" y="455"/>
                    </a:lnTo>
                    <a:lnTo>
                      <a:pt x="442" y="448"/>
                    </a:lnTo>
                    <a:lnTo>
                      <a:pt x="443" y="443"/>
                    </a:lnTo>
                    <a:lnTo>
                      <a:pt x="445" y="441"/>
                    </a:lnTo>
                    <a:lnTo>
                      <a:pt x="451" y="443"/>
                    </a:lnTo>
                    <a:lnTo>
                      <a:pt x="457" y="448"/>
                    </a:lnTo>
                    <a:lnTo>
                      <a:pt x="464" y="451"/>
                    </a:lnTo>
                    <a:lnTo>
                      <a:pt x="467" y="451"/>
                    </a:lnTo>
                    <a:lnTo>
                      <a:pt x="469" y="451"/>
                    </a:lnTo>
                    <a:lnTo>
                      <a:pt x="471" y="449"/>
                    </a:lnTo>
                    <a:lnTo>
                      <a:pt x="472" y="446"/>
                    </a:lnTo>
                    <a:lnTo>
                      <a:pt x="472" y="443"/>
                    </a:lnTo>
                    <a:lnTo>
                      <a:pt x="471" y="439"/>
                    </a:lnTo>
                    <a:lnTo>
                      <a:pt x="470" y="434"/>
                    </a:lnTo>
                    <a:lnTo>
                      <a:pt x="467" y="431"/>
                    </a:lnTo>
                    <a:lnTo>
                      <a:pt x="461" y="430"/>
                    </a:lnTo>
                    <a:lnTo>
                      <a:pt x="455" y="430"/>
                    </a:lnTo>
                    <a:lnTo>
                      <a:pt x="451" y="430"/>
                    </a:lnTo>
                    <a:lnTo>
                      <a:pt x="446" y="431"/>
                    </a:lnTo>
                    <a:lnTo>
                      <a:pt x="441" y="434"/>
                    </a:lnTo>
                    <a:lnTo>
                      <a:pt x="437" y="435"/>
                    </a:lnTo>
                    <a:lnTo>
                      <a:pt x="433" y="434"/>
                    </a:lnTo>
                    <a:lnTo>
                      <a:pt x="429" y="428"/>
                    </a:lnTo>
                    <a:lnTo>
                      <a:pt x="419" y="415"/>
                    </a:lnTo>
                    <a:lnTo>
                      <a:pt x="408" y="404"/>
                    </a:lnTo>
                    <a:lnTo>
                      <a:pt x="402" y="397"/>
                    </a:lnTo>
                    <a:lnTo>
                      <a:pt x="399" y="389"/>
                    </a:lnTo>
                    <a:lnTo>
                      <a:pt x="398" y="379"/>
                    </a:lnTo>
                    <a:lnTo>
                      <a:pt x="400" y="369"/>
                    </a:lnTo>
                    <a:lnTo>
                      <a:pt x="401" y="366"/>
                    </a:lnTo>
                    <a:lnTo>
                      <a:pt x="401" y="363"/>
                    </a:lnTo>
                    <a:lnTo>
                      <a:pt x="400" y="360"/>
                    </a:lnTo>
                    <a:lnTo>
                      <a:pt x="399" y="357"/>
                    </a:lnTo>
                    <a:lnTo>
                      <a:pt x="398" y="353"/>
                    </a:lnTo>
                    <a:lnTo>
                      <a:pt x="398" y="345"/>
                    </a:lnTo>
                    <a:lnTo>
                      <a:pt x="398" y="344"/>
                    </a:lnTo>
                    <a:lnTo>
                      <a:pt x="399" y="343"/>
                    </a:lnTo>
                    <a:lnTo>
                      <a:pt x="400" y="343"/>
                    </a:lnTo>
                    <a:lnTo>
                      <a:pt x="400" y="341"/>
                    </a:lnTo>
                    <a:lnTo>
                      <a:pt x="401" y="339"/>
                    </a:lnTo>
                    <a:lnTo>
                      <a:pt x="401" y="338"/>
                    </a:lnTo>
                    <a:lnTo>
                      <a:pt x="399" y="336"/>
                    </a:lnTo>
                    <a:lnTo>
                      <a:pt x="397" y="334"/>
                    </a:lnTo>
                    <a:lnTo>
                      <a:pt x="395" y="333"/>
                    </a:lnTo>
                    <a:lnTo>
                      <a:pt x="394" y="331"/>
                    </a:lnTo>
                    <a:lnTo>
                      <a:pt x="392" y="328"/>
                    </a:lnTo>
                    <a:lnTo>
                      <a:pt x="391" y="323"/>
                    </a:lnTo>
                    <a:lnTo>
                      <a:pt x="389" y="320"/>
                    </a:lnTo>
                    <a:lnTo>
                      <a:pt x="388" y="317"/>
                    </a:lnTo>
                    <a:lnTo>
                      <a:pt x="388" y="313"/>
                    </a:lnTo>
                    <a:lnTo>
                      <a:pt x="388" y="307"/>
                    </a:lnTo>
                    <a:lnTo>
                      <a:pt x="387" y="300"/>
                    </a:lnTo>
                    <a:lnTo>
                      <a:pt x="387" y="295"/>
                    </a:lnTo>
                    <a:lnTo>
                      <a:pt x="386" y="293"/>
                    </a:lnTo>
                    <a:lnTo>
                      <a:pt x="385" y="294"/>
                    </a:lnTo>
                    <a:lnTo>
                      <a:pt x="384" y="296"/>
                    </a:lnTo>
                    <a:lnTo>
                      <a:pt x="384" y="298"/>
                    </a:lnTo>
                    <a:lnTo>
                      <a:pt x="383" y="300"/>
                    </a:lnTo>
                    <a:lnTo>
                      <a:pt x="382" y="302"/>
                    </a:lnTo>
                    <a:lnTo>
                      <a:pt x="380" y="303"/>
                    </a:lnTo>
                    <a:lnTo>
                      <a:pt x="379" y="303"/>
                    </a:lnTo>
                    <a:lnTo>
                      <a:pt x="377" y="303"/>
                    </a:lnTo>
                    <a:lnTo>
                      <a:pt x="375" y="303"/>
                    </a:lnTo>
                    <a:lnTo>
                      <a:pt x="373" y="303"/>
                    </a:lnTo>
                    <a:lnTo>
                      <a:pt x="371" y="302"/>
                    </a:lnTo>
                    <a:lnTo>
                      <a:pt x="370" y="301"/>
                    </a:lnTo>
                    <a:lnTo>
                      <a:pt x="369" y="303"/>
                    </a:lnTo>
                    <a:lnTo>
                      <a:pt x="367" y="305"/>
                    </a:lnTo>
                    <a:lnTo>
                      <a:pt x="367" y="305"/>
                    </a:lnTo>
                    <a:lnTo>
                      <a:pt x="366" y="305"/>
                    </a:lnTo>
                    <a:lnTo>
                      <a:pt x="366" y="304"/>
                    </a:lnTo>
                    <a:lnTo>
                      <a:pt x="366" y="302"/>
                    </a:lnTo>
                    <a:lnTo>
                      <a:pt x="366" y="300"/>
                    </a:lnTo>
                    <a:lnTo>
                      <a:pt x="366" y="297"/>
                    </a:lnTo>
                    <a:lnTo>
                      <a:pt x="366" y="295"/>
                    </a:lnTo>
                    <a:lnTo>
                      <a:pt x="366" y="293"/>
                    </a:lnTo>
                    <a:lnTo>
                      <a:pt x="366" y="290"/>
                    </a:lnTo>
                    <a:lnTo>
                      <a:pt x="366" y="289"/>
                    </a:lnTo>
                    <a:lnTo>
                      <a:pt x="364" y="286"/>
                    </a:lnTo>
                    <a:lnTo>
                      <a:pt x="363" y="283"/>
                    </a:lnTo>
                    <a:lnTo>
                      <a:pt x="361" y="282"/>
                    </a:lnTo>
                    <a:lnTo>
                      <a:pt x="358" y="280"/>
                    </a:lnTo>
                    <a:lnTo>
                      <a:pt x="357" y="277"/>
                    </a:lnTo>
                    <a:lnTo>
                      <a:pt x="358" y="274"/>
                    </a:lnTo>
                    <a:lnTo>
                      <a:pt x="359" y="271"/>
                    </a:lnTo>
                    <a:lnTo>
                      <a:pt x="362" y="267"/>
                    </a:lnTo>
                    <a:lnTo>
                      <a:pt x="364" y="264"/>
                    </a:lnTo>
                    <a:lnTo>
                      <a:pt x="365" y="262"/>
                    </a:lnTo>
                    <a:lnTo>
                      <a:pt x="365" y="260"/>
                    </a:lnTo>
                    <a:lnTo>
                      <a:pt x="364" y="258"/>
                    </a:lnTo>
                    <a:lnTo>
                      <a:pt x="363" y="256"/>
                    </a:lnTo>
                    <a:lnTo>
                      <a:pt x="362" y="254"/>
                    </a:lnTo>
                    <a:lnTo>
                      <a:pt x="359" y="249"/>
                    </a:lnTo>
                    <a:lnTo>
                      <a:pt x="357" y="244"/>
                    </a:lnTo>
                    <a:lnTo>
                      <a:pt x="355" y="240"/>
                    </a:lnTo>
                    <a:lnTo>
                      <a:pt x="353" y="236"/>
                    </a:lnTo>
                    <a:lnTo>
                      <a:pt x="351" y="234"/>
                    </a:lnTo>
                    <a:lnTo>
                      <a:pt x="351" y="232"/>
                    </a:lnTo>
                    <a:lnTo>
                      <a:pt x="350" y="229"/>
                    </a:lnTo>
                    <a:lnTo>
                      <a:pt x="350" y="227"/>
                    </a:lnTo>
                    <a:lnTo>
                      <a:pt x="350" y="225"/>
                    </a:lnTo>
                    <a:lnTo>
                      <a:pt x="350" y="223"/>
                    </a:lnTo>
                    <a:lnTo>
                      <a:pt x="349" y="222"/>
                    </a:lnTo>
                    <a:lnTo>
                      <a:pt x="348" y="220"/>
                    </a:lnTo>
                    <a:lnTo>
                      <a:pt x="347" y="218"/>
                    </a:lnTo>
                    <a:lnTo>
                      <a:pt x="345" y="218"/>
                    </a:lnTo>
                    <a:lnTo>
                      <a:pt x="344" y="216"/>
                    </a:lnTo>
                    <a:lnTo>
                      <a:pt x="343" y="214"/>
                    </a:lnTo>
                    <a:lnTo>
                      <a:pt x="342" y="213"/>
                    </a:lnTo>
                    <a:lnTo>
                      <a:pt x="341" y="210"/>
                    </a:lnTo>
                    <a:lnTo>
                      <a:pt x="340" y="209"/>
                    </a:lnTo>
                    <a:lnTo>
                      <a:pt x="339" y="209"/>
                    </a:lnTo>
                    <a:lnTo>
                      <a:pt x="338" y="210"/>
                    </a:lnTo>
                    <a:lnTo>
                      <a:pt x="337" y="214"/>
                    </a:lnTo>
                    <a:lnTo>
                      <a:pt x="337" y="215"/>
                    </a:lnTo>
                    <a:lnTo>
                      <a:pt x="336" y="217"/>
                    </a:lnTo>
                    <a:lnTo>
                      <a:pt x="335" y="220"/>
                    </a:lnTo>
                    <a:lnTo>
                      <a:pt x="334" y="222"/>
                    </a:lnTo>
                    <a:lnTo>
                      <a:pt x="333" y="225"/>
                    </a:lnTo>
                    <a:lnTo>
                      <a:pt x="332" y="226"/>
                    </a:lnTo>
                    <a:lnTo>
                      <a:pt x="331" y="226"/>
                    </a:lnTo>
                    <a:lnTo>
                      <a:pt x="329" y="222"/>
                    </a:lnTo>
                    <a:lnTo>
                      <a:pt x="327" y="217"/>
                    </a:lnTo>
                    <a:lnTo>
                      <a:pt x="327" y="209"/>
                    </a:lnTo>
                    <a:lnTo>
                      <a:pt x="327" y="205"/>
                    </a:lnTo>
                    <a:lnTo>
                      <a:pt x="328" y="203"/>
                    </a:lnTo>
                    <a:lnTo>
                      <a:pt x="329" y="201"/>
                    </a:lnTo>
                    <a:lnTo>
                      <a:pt x="330" y="200"/>
                    </a:lnTo>
                    <a:lnTo>
                      <a:pt x="331" y="198"/>
                    </a:lnTo>
                    <a:lnTo>
                      <a:pt x="331" y="195"/>
                    </a:lnTo>
                    <a:lnTo>
                      <a:pt x="331" y="193"/>
                    </a:lnTo>
                    <a:lnTo>
                      <a:pt x="331" y="190"/>
                    </a:lnTo>
                    <a:lnTo>
                      <a:pt x="330" y="186"/>
                    </a:lnTo>
                    <a:lnTo>
                      <a:pt x="328" y="182"/>
                    </a:lnTo>
                    <a:lnTo>
                      <a:pt x="327" y="179"/>
                    </a:lnTo>
                    <a:lnTo>
                      <a:pt x="325" y="176"/>
                    </a:lnTo>
                    <a:lnTo>
                      <a:pt x="324" y="175"/>
                    </a:lnTo>
                    <a:lnTo>
                      <a:pt x="322" y="173"/>
                    </a:lnTo>
                    <a:lnTo>
                      <a:pt x="321" y="171"/>
                    </a:lnTo>
                    <a:lnTo>
                      <a:pt x="321" y="170"/>
                    </a:lnTo>
                    <a:lnTo>
                      <a:pt x="321" y="168"/>
                    </a:lnTo>
                    <a:lnTo>
                      <a:pt x="322" y="167"/>
                    </a:lnTo>
                    <a:lnTo>
                      <a:pt x="322" y="165"/>
                    </a:lnTo>
                    <a:lnTo>
                      <a:pt x="321" y="163"/>
                    </a:lnTo>
                    <a:lnTo>
                      <a:pt x="319" y="162"/>
                    </a:lnTo>
                    <a:lnTo>
                      <a:pt x="318" y="163"/>
                    </a:lnTo>
                    <a:lnTo>
                      <a:pt x="316" y="164"/>
                    </a:lnTo>
                    <a:lnTo>
                      <a:pt x="314" y="164"/>
                    </a:lnTo>
                    <a:lnTo>
                      <a:pt x="313" y="165"/>
                    </a:lnTo>
                    <a:lnTo>
                      <a:pt x="309" y="165"/>
                    </a:lnTo>
                    <a:lnTo>
                      <a:pt x="307" y="164"/>
                    </a:lnTo>
                    <a:lnTo>
                      <a:pt x="306" y="163"/>
                    </a:lnTo>
                    <a:lnTo>
                      <a:pt x="306" y="162"/>
                    </a:lnTo>
                    <a:lnTo>
                      <a:pt x="306" y="161"/>
                    </a:lnTo>
                    <a:lnTo>
                      <a:pt x="306" y="161"/>
                    </a:lnTo>
                    <a:lnTo>
                      <a:pt x="304" y="163"/>
                    </a:lnTo>
                    <a:lnTo>
                      <a:pt x="302" y="164"/>
                    </a:lnTo>
                    <a:lnTo>
                      <a:pt x="300" y="165"/>
                    </a:lnTo>
                    <a:lnTo>
                      <a:pt x="299" y="165"/>
                    </a:lnTo>
                    <a:lnTo>
                      <a:pt x="298" y="163"/>
                    </a:lnTo>
                    <a:lnTo>
                      <a:pt x="296" y="160"/>
                    </a:lnTo>
                    <a:lnTo>
                      <a:pt x="294" y="157"/>
                    </a:lnTo>
                    <a:lnTo>
                      <a:pt x="294" y="152"/>
                    </a:lnTo>
                    <a:lnTo>
                      <a:pt x="294" y="148"/>
                    </a:lnTo>
                    <a:lnTo>
                      <a:pt x="293" y="146"/>
                    </a:lnTo>
                    <a:lnTo>
                      <a:pt x="292" y="145"/>
                    </a:lnTo>
                    <a:lnTo>
                      <a:pt x="291" y="144"/>
                    </a:lnTo>
                    <a:lnTo>
                      <a:pt x="289" y="143"/>
                    </a:lnTo>
                    <a:lnTo>
                      <a:pt x="288" y="142"/>
                    </a:lnTo>
                    <a:lnTo>
                      <a:pt x="284" y="137"/>
                    </a:lnTo>
                    <a:lnTo>
                      <a:pt x="282" y="130"/>
                    </a:lnTo>
                    <a:lnTo>
                      <a:pt x="279" y="124"/>
                    </a:lnTo>
                    <a:lnTo>
                      <a:pt x="276" y="120"/>
                    </a:lnTo>
                    <a:lnTo>
                      <a:pt x="275" y="120"/>
                    </a:lnTo>
                    <a:lnTo>
                      <a:pt x="275" y="118"/>
                    </a:lnTo>
                    <a:lnTo>
                      <a:pt x="275" y="117"/>
                    </a:lnTo>
                    <a:lnTo>
                      <a:pt x="275" y="114"/>
                    </a:lnTo>
                    <a:lnTo>
                      <a:pt x="274" y="112"/>
                    </a:lnTo>
                    <a:lnTo>
                      <a:pt x="274" y="111"/>
                    </a:lnTo>
                    <a:lnTo>
                      <a:pt x="274" y="109"/>
                    </a:lnTo>
                    <a:lnTo>
                      <a:pt x="274" y="108"/>
                    </a:lnTo>
                    <a:lnTo>
                      <a:pt x="273" y="106"/>
                    </a:lnTo>
                    <a:lnTo>
                      <a:pt x="273" y="106"/>
                    </a:lnTo>
                    <a:lnTo>
                      <a:pt x="272" y="106"/>
                    </a:lnTo>
                    <a:lnTo>
                      <a:pt x="268" y="108"/>
                    </a:lnTo>
                    <a:lnTo>
                      <a:pt x="265" y="114"/>
                    </a:lnTo>
                    <a:lnTo>
                      <a:pt x="263" y="120"/>
                    </a:lnTo>
                    <a:lnTo>
                      <a:pt x="262" y="126"/>
                    </a:lnTo>
                    <a:lnTo>
                      <a:pt x="260" y="129"/>
                    </a:lnTo>
                    <a:lnTo>
                      <a:pt x="259" y="131"/>
                    </a:lnTo>
                    <a:lnTo>
                      <a:pt x="256" y="132"/>
                    </a:lnTo>
                    <a:lnTo>
                      <a:pt x="255" y="132"/>
                    </a:lnTo>
                    <a:lnTo>
                      <a:pt x="253" y="131"/>
                    </a:lnTo>
                    <a:lnTo>
                      <a:pt x="251" y="130"/>
                    </a:lnTo>
                    <a:lnTo>
                      <a:pt x="249" y="128"/>
                    </a:lnTo>
                    <a:lnTo>
                      <a:pt x="248" y="126"/>
                    </a:lnTo>
                    <a:lnTo>
                      <a:pt x="246" y="125"/>
                    </a:lnTo>
                    <a:lnTo>
                      <a:pt x="245" y="124"/>
                    </a:lnTo>
                    <a:lnTo>
                      <a:pt x="238" y="121"/>
                    </a:lnTo>
                    <a:lnTo>
                      <a:pt x="230" y="120"/>
                    </a:lnTo>
                    <a:lnTo>
                      <a:pt x="223" y="124"/>
                    </a:lnTo>
                    <a:lnTo>
                      <a:pt x="221" y="125"/>
                    </a:lnTo>
                    <a:lnTo>
                      <a:pt x="220" y="125"/>
                    </a:lnTo>
                    <a:lnTo>
                      <a:pt x="219" y="124"/>
                    </a:lnTo>
                    <a:lnTo>
                      <a:pt x="218" y="122"/>
                    </a:lnTo>
                    <a:lnTo>
                      <a:pt x="217" y="120"/>
                    </a:lnTo>
                    <a:lnTo>
                      <a:pt x="216" y="118"/>
                    </a:lnTo>
                    <a:lnTo>
                      <a:pt x="215" y="115"/>
                    </a:lnTo>
                    <a:lnTo>
                      <a:pt x="214" y="113"/>
                    </a:lnTo>
                    <a:lnTo>
                      <a:pt x="212" y="111"/>
                    </a:lnTo>
                    <a:lnTo>
                      <a:pt x="211" y="110"/>
                    </a:lnTo>
                    <a:lnTo>
                      <a:pt x="209" y="110"/>
                    </a:lnTo>
                    <a:lnTo>
                      <a:pt x="208" y="111"/>
                    </a:lnTo>
                    <a:lnTo>
                      <a:pt x="206" y="111"/>
                    </a:lnTo>
                    <a:lnTo>
                      <a:pt x="204" y="110"/>
                    </a:lnTo>
                    <a:lnTo>
                      <a:pt x="203" y="109"/>
                    </a:lnTo>
                    <a:lnTo>
                      <a:pt x="202" y="108"/>
                    </a:lnTo>
                    <a:lnTo>
                      <a:pt x="201" y="106"/>
                    </a:lnTo>
                    <a:lnTo>
                      <a:pt x="201" y="104"/>
                    </a:lnTo>
                    <a:lnTo>
                      <a:pt x="200" y="102"/>
                    </a:lnTo>
                    <a:lnTo>
                      <a:pt x="196" y="101"/>
                    </a:lnTo>
                    <a:lnTo>
                      <a:pt x="191" y="101"/>
                    </a:lnTo>
                    <a:lnTo>
                      <a:pt x="187" y="103"/>
                    </a:lnTo>
                    <a:lnTo>
                      <a:pt x="184" y="106"/>
                    </a:lnTo>
                    <a:lnTo>
                      <a:pt x="183" y="109"/>
                    </a:lnTo>
                    <a:lnTo>
                      <a:pt x="183" y="111"/>
                    </a:lnTo>
                    <a:lnTo>
                      <a:pt x="184" y="113"/>
                    </a:lnTo>
                    <a:lnTo>
                      <a:pt x="185" y="115"/>
                    </a:lnTo>
                    <a:lnTo>
                      <a:pt x="186" y="116"/>
                    </a:lnTo>
                    <a:lnTo>
                      <a:pt x="187" y="118"/>
                    </a:lnTo>
                    <a:lnTo>
                      <a:pt x="187" y="120"/>
                    </a:lnTo>
                    <a:lnTo>
                      <a:pt x="186" y="122"/>
                    </a:lnTo>
                    <a:lnTo>
                      <a:pt x="185" y="124"/>
                    </a:lnTo>
                    <a:lnTo>
                      <a:pt x="184" y="126"/>
                    </a:lnTo>
                    <a:lnTo>
                      <a:pt x="183" y="127"/>
                    </a:lnTo>
                    <a:lnTo>
                      <a:pt x="181" y="128"/>
                    </a:lnTo>
                    <a:lnTo>
                      <a:pt x="180" y="128"/>
                    </a:lnTo>
                    <a:lnTo>
                      <a:pt x="177" y="130"/>
                    </a:lnTo>
                    <a:lnTo>
                      <a:pt x="175" y="132"/>
                    </a:lnTo>
                    <a:lnTo>
                      <a:pt x="173" y="134"/>
                    </a:lnTo>
                    <a:lnTo>
                      <a:pt x="172" y="136"/>
                    </a:lnTo>
                    <a:lnTo>
                      <a:pt x="170" y="139"/>
                    </a:lnTo>
                    <a:lnTo>
                      <a:pt x="168" y="141"/>
                    </a:lnTo>
                    <a:lnTo>
                      <a:pt x="166" y="142"/>
                    </a:lnTo>
                    <a:lnTo>
                      <a:pt x="164" y="144"/>
                    </a:lnTo>
                    <a:lnTo>
                      <a:pt x="162" y="145"/>
                    </a:lnTo>
                    <a:lnTo>
                      <a:pt x="160" y="147"/>
                    </a:lnTo>
                    <a:lnTo>
                      <a:pt x="158" y="148"/>
                    </a:lnTo>
                    <a:lnTo>
                      <a:pt x="156" y="149"/>
                    </a:lnTo>
                    <a:lnTo>
                      <a:pt x="153" y="150"/>
                    </a:lnTo>
                    <a:lnTo>
                      <a:pt x="152" y="150"/>
                    </a:lnTo>
                    <a:lnTo>
                      <a:pt x="152" y="149"/>
                    </a:lnTo>
                    <a:lnTo>
                      <a:pt x="152" y="147"/>
                    </a:lnTo>
                    <a:lnTo>
                      <a:pt x="152" y="145"/>
                    </a:lnTo>
                    <a:lnTo>
                      <a:pt x="152" y="142"/>
                    </a:lnTo>
                    <a:lnTo>
                      <a:pt x="152" y="139"/>
                    </a:lnTo>
                    <a:lnTo>
                      <a:pt x="153" y="137"/>
                    </a:lnTo>
                    <a:lnTo>
                      <a:pt x="153" y="135"/>
                    </a:lnTo>
                    <a:lnTo>
                      <a:pt x="153" y="134"/>
                    </a:lnTo>
                    <a:lnTo>
                      <a:pt x="153" y="132"/>
                    </a:lnTo>
                    <a:lnTo>
                      <a:pt x="152" y="131"/>
                    </a:lnTo>
                    <a:lnTo>
                      <a:pt x="151" y="130"/>
                    </a:lnTo>
                    <a:lnTo>
                      <a:pt x="151" y="129"/>
                    </a:lnTo>
                    <a:lnTo>
                      <a:pt x="150" y="128"/>
                    </a:lnTo>
                    <a:lnTo>
                      <a:pt x="150" y="126"/>
                    </a:lnTo>
                    <a:lnTo>
                      <a:pt x="151" y="124"/>
                    </a:lnTo>
                    <a:lnTo>
                      <a:pt x="153" y="120"/>
                    </a:lnTo>
                    <a:lnTo>
                      <a:pt x="156" y="115"/>
                    </a:lnTo>
                    <a:lnTo>
                      <a:pt x="158" y="110"/>
                    </a:lnTo>
                    <a:lnTo>
                      <a:pt x="158" y="107"/>
                    </a:lnTo>
                    <a:lnTo>
                      <a:pt x="159" y="105"/>
                    </a:lnTo>
                    <a:lnTo>
                      <a:pt x="160" y="104"/>
                    </a:lnTo>
                    <a:lnTo>
                      <a:pt x="162" y="104"/>
                    </a:lnTo>
                    <a:lnTo>
                      <a:pt x="164" y="104"/>
                    </a:lnTo>
                    <a:lnTo>
                      <a:pt x="165" y="103"/>
                    </a:lnTo>
                    <a:lnTo>
                      <a:pt x="166" y="101"/>
                    </a:lnTo>
                    <a:lnTo>
                      <a:pt x="167" y="98"/>
                    </a:lnTo>
                    <a:lnTo>
                      <a:pt x="168" y="95"/>
                    </a:lnTo>
                    <a:lnTo>
                      <a:pt x="168" y="92"/>
                    </a:lnTo>
                    <a:lnTo>
                      <a:pt x="168" y="91"/>
                    </a:lnTo>
                    <a:lnTo>
                      <a:pt x="167" y="90"/>
                    </a:lnTo>
                    <a:lnTo>
                      <a:pt x="166" y="89"/>
                    </a:lnTo>
                    <a:lnTo>
                      <a:pt x="164" y="90"/>
                    </a:lnTo>
                    <a:lnTo>
                      <a:pt x="162" y="91"/>
                    </a:lnTo>
                    <a:lnTo>
                      <a:pt x="161" y="92"/>
                    </a:lnTo>
                    <a:lnTo>
                      <a:pt x="159" y="94"/>
                    </a:lnTo>
                    <a:lnTo>
                      <a:pt x="158" y="96"/>
                    </a:lnTo>
                    <a:lnTo>
                      <a:pt x="156" y="97"/>
                    </a:lnTo>
                    <a:lnTo>
                      <a:pt x="156" y="99"/>
                    </a:lnTo>
                    <a:lnTo>
                      <a:pt x="149" y="112"/>
                    </a:lnTo>
                    <a:lnTo>
                      <a:pt x="146" y="114"/>
                    </a:lnTo>
                    <a:lnTo>
                      <a:pt x="145" y="115"/>
                    </a:lnTo>
                    <a:lnTo>
                      <a:pt x="145" y="117"/>
                    </a:lnTo>
                    <a:lnTo>
                      <a:pt x="145" y="120"/>
                    </a:lnTo>
                    <a:lnTo>
                      <a:pt x="145" y="125"/>
                    </a:lnTo>
                    <a:lnTo>
                      <a:pt x="144" y="130"/>
                    </a:lnTo>
                    <a:lnTo>
                      <a:pt x="143" y="134"/>
                    </a:lnTo>
                    <a:lnTo>
                      <a:pt x="141" y="136"/>
                    </a:lnTo>
                    <a:lnTo>
                      <a:pt x="140" y="137"/>
                    </a:lnTo>
                    <a:lnTo>
                      <a:pt x="138" y="137"/>
                    </a:lnTo>
                    <a:lnTo>
                      <a:pt x="136" y="138"/>
                    </a:lnTo>
                    <a:lnTo>
                      <a:pt x="135" y="140"/>
                    </a:lnTo>
                    <a:lnTo>
                      <a:pt x="133" y="143"/>
                    </a:lnTo>
                    <a:lnTo>
                      <a:pt x="133" y="145"/>
                    </a:lnTo>
                    <a:lnTo>
                      <a:pt x="133" y="147"/>
                    </a:lnTo>
                    <a:lnTo>
                      <a:pt x="133" y="148"/>
                    </a:lnTo>
                    <a:lnTo>
                      <a:pt x="134" y="149"/>
                    </a:lnTo>
                    <a:lnTo>
                      <a:pt x="134" y="150"/>
                    </a:lnTo>
                    <a:lnTo>
                      <a:pt x="135" y="152"/>
                    </a:lnTo>
                    <a:lnTo>
                      <a:pt x="134" y="155"/>
                    </a:lnTo>
                    <a:lnTo>
                      <a:pt x="133" y="157"/>
                    </a:lnTo>
                    <a:lnTo>
                      <a:pt x="132" y="159"/>
                    </a:lnTo>
                    <a:lnTo>
                      <a:pt x="131" y="159"/>
                    </a:lnTo>
                    <a:lnTo>
                      <a:pt x="129" y="158"/>
                    </a:lnTo>
                    <a:lnTo>
                      <a:pt x="127" y="157"/>
                    </a:lnTo>
                    <a:lnTo>
                      <a:pt x="125" y="157"/>
                    </a:lnTo>
                    <a:lnTo>
                      <a:pt x="124" y="159"/>
                    </a:lnTo>
                    <a:lnTo>
                      <a:pt x="124" y="161"/>
                    </a:lnTo>
                    <a:lnTo>
                      <a:pt x="125" y="163"/>
                    </a:lnTo>
                    <a:lnTo>
                      <a:pt x="126" y="164"/>
                    </a:lnTo>
                    <a:lnTo>
                      <a:pt x="127" y="165"/>
                    </a:lnTo>
                    <a:lnTo>
                      <a:pt x="128" y="166"/>
                    </a:lnTo>
                    <a:lnTo>
                      <a:pt x="130" y="168"/>
                    </a:lnTo>
                    <a:lnTo>
                      <a:pt x="131" y="169"/>
                    </a:lnTo>
                    <a:lnTo>
                      <a:pt x="131" y="171"/>
                    </a:lnTo>
                    <a:lnTo>
                      <a:pt x="132" y="172"/>
                    </a:lnTo>
                    <a:lnTo>
                      <a:pt x="131" y="175"/>
                    </a:lnTo>
                    <a:lnTo>
                      <a:pt x="131" y="177"/>
                    </a:lnTo>
                    <a:lnTo>
                      <a:pt x="129" y="181"/>
                    </a:lnTo>
                    <a:lnTo>
                      <a:pt x="128" y="185"/>
                    </a:lnTo>
                    <a:lnTo>
                      <a:pt x="126" y="188"/>
                    </a:lnTo>
                    <a:lnTo>
                      <a:pt x="124" y="190"/>
                    </a:lnTo>
                    <a:lnTo>
                      <a:pt x="121" y="192"/>
                    </a:lnTo>
                    <a:lnTo>
                      <a:pt x="119" y="194"/>
                    </a:lnTo>
                    <a:lnTo>
                      <a:pt x="117" y="195"/>
                    </a:lnTo>
                    <a:lnTo>
                      <a:pt x="115" y="197"/>
                    </a:lnTo>
                    <a:lnTo>
                      <a:pt x="109" y="202"/>
                    </a:lnTo>
                    <a:lnTo>
                      <a:pt x="105" y="210"/>
                    </a:lnTo>
                    <a:lnTo>
                      <a:pt x="100" y="220"/>
                    </a:lnTo>
                    <a:lnTo>
                      <a:pt x="99" y="222"/>
                    </a:lnTo>
                    <a:lnTo>
                      <a:pt x="98" y="224"/>
                    </a:lnTo>
                    <a:lnTo>
                      <a:pt x="98" y="226"/>
                    </a:lnTo>
                    <a:lnTo>
                      <a:pt x="98" y="228"/>
                    </a:lnTo>
                    <a:lnTo>
                      <a:pt x="95" y="229"/>
                    </a:lnTo>
                    <a:lnTo>
                      <a:pt x="93" y="230"/>
                    </a:lnTo>
                    <a:lnTo>
                      <a:pt x="91" y="231"/>
                    </a:lnTo>
                    <a:lnTo>
                      <a:pt x="90" y="234"/>
                    </a:lnTo>
                    <a:lnTo>
                      <a:pt x="88" y="239"/>
                    </a:lnTo>
                    <a:lnTo>
                      <a:pt x="85" y="244"/>
                    </a:lnTo>
                    <a:lnTo>
                      <a:pt x="83" y="247"/>
                    </a:lnTo>
                    <a:lnTo>
                      <a:pt x="80" y="250"/>
                    </a:lnTo>
                    <a:lnTo>
                      <a:pt x="78" y="251"/>
                    </a:lnTo>
                    <a:lnTo>
                      <a:pt x="76" y="252"/>
                    </a:lnTo>
                    <a:lnTo>
                      <a:pt x="74" y="251"/>
                    </a:lnTo>
                    <a:lnTo>
                      <a:pt x="73" y="250"/>
                    </a:lnTo>
                    <a:lnTo>
                      <a:pt x="72" y="247"/>
                    </a:lnTo>
                    <a:lnTo>
                      <a:pt x="72" y="244"/>
                    </a:lnTo>
                    <a:lnTo>
                      <a:pt x="72" y="241"/>
                    </a:lnTo>
                    <a:lnTo>
                      <a:pt x="72" y="238"/>
                    </a:lnTo>
                    <a:lnTo>
                      <a:pt x="73" y="236"/>
                    </a:lnTo>
                    <a:lnTo>
                      <a:pt x="74" y="234"/>
                    </a:lnTo>
                    <a:lnTo>
                      <a:pt x="75" y="233"/>
                    </a:lnTo>
                    <a:lnTo>
                      <a:pt x="76" y="233"/>
                    </a:lnTo>
                    <a:lnTo>
                      <a:pt x="77" y="232"/>
                    </a:lnTo>
                    <a:lnTo>
                      <a:pt x="78" y="231"/>
                    </a:lnTo>
                    <a:lnTo>
                      <a:pt x="80" y="230"/>
                    </a:lnTo>
                    <a:lnTo>
                      <a:pt x="81" y="228"/>
                    </a:lnTo>
                    <a:lnTo>
                      <a:pt x="81" y="226"/>
                    </a:lnTo>
                    <a:lnTo>
                      <a:pt x="82" y="225"/>
                    </a:lnTo>
                    <a:lnTo>
                      <a:pt x="83" y="224"/>
                    </a:lnTo>
                    <a:lnTo>
                      <a:pt x="84" y="222"/>
                    </a:lnTo>
                    <a:lnTo>
                      <a:pt x="85" y="220"/>
                    </a:lnTo>
                    <a:lnTo>
                      <a:pt x="86" y="219"/>
                    </a:lnTo>
                    <a:lnTo>
                      <a:pt x="87" y="216"/>
                    </a:lnTo>
                    <a:lnTo>
                      <a:pt x="87" y="214"/>
                    </a:lnTo>
                    <a:lnTo>
                      <a:pt x="88" y="211"/>
                    </a:lnTo>
                    <a:lnTo>
                      <a:pt x="88" y="209"/>
                    </a:lnTo>
                    <a:lnTo>
                      <a:pt x="89" y="208"/>
                    </a:lnTo>
                    <a:lnTo>
                      <a:pt x="91" y="207"/>
                    </a:lnTo>
                    <a:lnTo>
                      <a:pt x="92" y="206"/>
                    </a:lnTo>
                    <a:lnTo>
                      <a:pt x="94" y="205"/>
                    </a:lnTo>
                    <a:lnTo>
                      <a:pt x="94" y="202"/>
                    </a:lnTo>
                    <a:lnTo>
                      <a:pt x="95" y="199"/>
                    </a:lnTo>
                    <a:lnTo>
                      <a:pt x="95" y="197"/>
                    </a:lnTo>
                    <a:lnTo>
                      <a:pt x="96" y="195"/>
                    </a:lnTo>
                    <a:lnTo>
                      <a:pt x="96" y="188"/>
                    </a:lnTo>
                    <a:lnTo>
                      <a:pt x="98" y="182"/>
                    </a:lnTo>
                    <a:lnTo>
                      <a:pt x="100" y="177"/>
                    </a:lnTo>
                    <a:lnTo>
                      <a:pt x="100" y="175"/>
                    </a:lnTo>
                    <a:lnTo>
                      <a:pt x="100" y="173"/>
                    </a:lnTo>
                    <a:lnTo>
                      <a:pt x="101" y="171"/>
                    </a:lnTo>
                    <a:lnTo>
                      <a:pt x="103" y="168"/>
                    </a:lnTo>
                    <a:lnTo>
                      <a:pt x="103" y="167"/>
                    </a:lnTo>
                    <a:lnTo>
                      <a:pt x="100" y="166"/>
                    </a:lnTo>
                    <a:lnTo>
                      <a:pt x="99" y="166"/>
                    </a:lnTo>
                    <a:lnTo>
                      <a:pt x="98" y="167"/>
                    </a:lnTo>
                    <a:lnTo>
                      <a:pt x="98" y="167"/>
                    </a:lnTo>
                    <a:lnTo>
                      <a:pt x="97" y="169"/>
                    </a:lnTo>
                    <a:lnTo>
                      <a:pt x="96" y="171"/>
                    </a:lnTo>
                    <a:lnTo>
                      <a:pt x="95" y="173"/>
                    </a:lnTo>
                    <a:lnTo>
                      <a:pt x="94" y="173"/>
                    </a:lnTo>
                    <a:lnTo>
                      <a:pt x="93" y="173"/>
                    </a:lnTo>
                    <a:lnTo>
                      <a:pt x="92" y="171"/>
                    </a:lnTo>
                    <a:lnTo>
                      <a:pt x="92" y="170"/>
                    </a:lnTo>
                    <a:lnTo>
                      <a:pt x="92" y="169"/>
                    </a:lnTo>
                    <a:lnTo>
                      <a:pt x="91" y="167"/>
                    </a:lnTo>
                    <a:lnTo>
                      <a:pt x="91" y="166"/>
                    </a:lnTo>
                    <a:lnTo>
                      <a:pt x="91" y="165"/>
                    </a:lnTo>
                    <a:lnTo>
                      <a:pt x="90" y="165"/>
                    </a:lnTo>
                    <a:lnTo>
                      <a:pt x="89" y="166"/>
                    </a:lnTo>
                    <a:lnTo>
                      <a:pt x="88" y="167"/>
                    </a:lnTo>
                    <a:lnTo>
                      <a:pt x="87" y="169"/>
                    </a:lnTo>
                    <a:lnTo>
                      <a:pt x="86" y="171"/>
                    </a:lnTo>
                    <a:lnTo>
                      <a:pt x="86" y="173"/>
                    </a:lnTo>
                    <a:lnTo>
                      <a:pt x="85" y="174"/>
                    </a:lnTo>
                    <a:lnTo>
                      <a:pt x="85" y="176"/>
                    </a:lnTo>
                    <a:lnTo>
                      <a:pt x="85" y="178"/>
                    </a:lnTo>
                    <a:lnTo>
                      <a:pt x="84" y="179"/>
                    </a:lnTo>
                    <a:lnTo>
                      <a:pt x="84" y="181"/>
                    </a:lnTo>
                    <a:lnTo>
                      <a:pt x="83" y="182"/>
                    </a:lnTo>
                    <a:lnTo>
                      <a:pt x="83" y="182"/>
                    </a:lnTo>
                    <a:lnTo>
                      <a:pt x="82" y="182"/>
                    </a:lnTo>
                    <a:lnTo>
                      <a:pt x="81" y="181"/>
                    </a:lnTo>
                    <a:lnTo>
                      <a:pt x="80" y="179"/>
                    </a:lnTo>
                    <a:lnTo>
                      <a:pt x="80" y="178"/>
                    </a:lnTo>
                    <a:lnTo>
                      <a:pt x="80" y="177"/>
                    </a:lnTo>
                    <a:lnTo>
                      <a:pt x="79" y="175"/>
                    </a:lnTo>
                    <a:lnTo>
                      <a:pt x="78" y="172"/>
                    </a:lnTo>
                    <a:lnTo>
                      <a:pt x="76" y="170"/>
                    </a:lnTo>
                    <a:lnTo>
                      <a:pt x="74" y="169"/>
                    </a:lnTo>
                    <a:lnTo>
                      <a:pt x="73" y="168"/>
                    </a:lnTo>
                    <a:lnTo>
                      <a:pt x="71" y="168"/>
                    </a:lnTo>
                    <a:lnTo>
                      <a:pt x="69" y="170"/>
                    </a:lnTo>
                    <a:lnTo>
                      <a:pt x="68" y="173"/>
                    </a:lnTo>
                    <a:lnTo>
                      <a:pt x="66" y="175"/>
                    </a:lnTo>
                    <a:lnTo>
                      <a:pt x="65" y="177"/>
                    </a:lnTo>
                    <a:lnTo>
                      <a:pt x="64" y="178"/>
                    </a:lnTo>
                    <a:lnTo>
                      <a:pt x="64" y="179"/>
                    </a:lnTo>
                    <a:lnTo>
                      <a:pt x="62" y="179"/>
                    </a:lnTo>
                    <a:lnTo>
                      <a:pt x="62" y="179"/>
                    </a:lnTo>
                    <a:lnTo>
                      <a:pt x="61" y="178"/>
                    </a:lnTo>
                    <a:lnTo>
                      <a:pt x="61" y="177"/>
                    </a:lnTo>
                    <a:lnTo>
                      <a:pt x="61" y="175"/>
                    </a:lnTo>
                    <a:lnTo>
                      <a:pt x="62" y="174"/>
                    </a:lnTo>
                    <a:lnTo>
                      <a:pt x="62" y="173"/>
                    </a:lnTo>
                    <a:lnTo>
                      <a:pt x="62" y="170"/>
                    </a:lnTo>
                    <a:lnTo>
                      <a:pt x="62" y="168"/>
                    </a:lnTo>
                    <a:lnTo>
                      <a:pt x="62" y="166"/>
                    </a:lnTo>
                    <a:lnTo>
                      <a:pt x="61" y="164"/>
                    </a:lnTo>
                    <a:lnTo>
                      <a:pt x="61" y="162"/>
                    </a:lnTo>
                    <a:lnTo>
                      <a:pt x="62" y="159"/>
                    </a:lnTo>
                    <a:lnTo>
                      <a:pt x="63" y="155"/>
                    </a:lnTo>
                    <a:lnTo>
                      <a:pt x="63" y="152"/>
                    </a:lnTo>
                    <a:lnTo>
                      <a:pt x="63" y="150"/>
                    </a:lnTo>
                    <a:lnTo>
                      <a:pt x="63" y="148"/>
                    </a:lnTo>
                    <a:lnTo>
                      <a:pt x="62" y="146"/>
                    </a:lnTo>
                    <a:lnTo>
                      <a:pt x="62" y="144"/>
                    </a:lnTo>
                    <a:lnTo>
                      <a:pt x="61" y="142"/>
                    </a:lnTo>
                    <a:lnTo>
                      <a:pt x="60" y="140"/>
                    </a:lnTo>
                    <a:lnTo>
                      <a:pt x="60" y="139"/>
                    </a:lnTo>
                    <a:lnTo>
                      <a:pt x="59" y="139"/>
                    </a:lnTo>
                    <a:lnTo>
                      <a:pt x="58" y="140"/>
                    </a:lnTo>
                    <a:lnTo>
                      <a:pt x="57" y="142"/>
                    </a:lnTo>
                    <a:lnTo>
                      <a:pt x="56" y="144"/>
                    </a:lnTo>
                    <a:lnTo>
                      <a:pt x="55" y="146"/>
                    </a:lnTo>
                    <a:lnTo>
                      <a:pt x="55" y="147"/>
                    </a:lnTo>
                    <a:lnTo>
                      <a:pt x="54" y="148"/>
                    </a:lnTo>
                    <a:lnTo>
                      <a:pt x="52" y="147"/>
                    </a:lnTo>
                    <a:lnTo>
                      <a:pt x="49" y="145"/>
                    </a:lnTo>
                    <a:lnTo>
                      <a:pt x="47" y="142"/>
                    </a:lnTo>
                    <a:lnTo>
                      <a:pt x="45" y="139"/>
                    </a:lnTo>
                    <a:lnTo>
                      <a:pt x="43" y="136"/>
                    </a:lnTo>
                    <a:lnTo>
                      <a:pt x="41" y="134"/>
                    </a:lnTo>
                    <a:lnTo>
                      <a:pt x="40" y="133"/>
                    </a:lnTo>
                    <a:lnTo>
                      <a:pt x="39" y="132"/>
                    </a:lnTo>
                    <a:lnTo>
                      <a:pt x="38" y="131"/>
                    </a:lnTo>
                    <a:lnTo>
                      <a:pt x="37" y="129"/>
                    </a:lnTo>
                    <a:lnTo>
                      <a:pt x="36" y="128"/>
                    </a:lnTo>
                    <a:lnTo>
                      <a:pt x="36" y="127"/>
                    </a:lnTo>
                    <a:lnTo>
                      <a:pt x="36" y="126"/>
                    </a:lnTo>
                    <a:lnTo>
                      <a:pt x="37" y="126"/>
                    </a:lnTo>
                    <a:lnTo>
                      <a:pt x="39" y="126"/>
                    </a:lnTo>
                    <a:lnTo>
                      <a:pt x="43" y="127"/>
                    </a:lnTo>
                    <a:lnTo>
                      <a:pt x="47" y="127"/>
                    </a:lnTo>
                    <a:lnTo>
                      <a:pt x="52" y="126"/>
                    </a:lnTo>
                    <a:lnTo>
                      <a:pt x="53" y="124"/>
                    </a:lnTo>
                    <a:lnTo>
                      <a:pt x="53" y="123"/>
                    </a:lnTo>
                    <a:lnTo>
                      <a:pt x="53" y="122"/>
                    </a:lnTo>
                    <a:lnTo>
                      <a:pt x="52" y="122"/>
                    </a:lnTo>
                    <a:lnTo>
                      <a:pt x="49" y="122"/>
                    </a:lnTo>
                    <a:lnTo>
                      <a:pt x="48" y="122"/>
                    </a:lnTo>
                    <a:lnTo>
                      <a:pt x="46" y="122"/>
                    </a:lnTo>
                    <a:lnTo>
                      <a:pt x="45" y="122"/>
                    </a:lnTo>
                    <a:lnTo>
                      <a:pt x="45" y="122"/>
                    </a:lnTo>
                    <a:lnTo>
                      <a:pt x="43" y="121"/>
                    </a:lnTo>
                    <a:lnTo>
                      <a:pt x="42" y="120"/>
                    </a:lnTo>
                    <a:lnTo>
                      <a:pt x="40" y="118"/>
                    </a:lnTo>
                    <a:lnTo>
                      <a:pt x="39" y="116"/>
                    </a:lnTo>
                    <a:lnTo>
                      <a:pt x="38" y="115"/>
                    </a:lnTo>
                    <a:lnTo>
                      <a:pt x="37" y="115"/>
                    </a:lnTo>
                    <a:lnTo>
                      <a:pt x="36" y="115"/>
                    </a:lnTo>
                    <a:lnTo>
                      <a:pt x="36" y="114"/>
                    </a:lnTo>
                    <a:lnTo>
                      <a:pt x="35" y="112"/>
                    </a:lnTo>
                    <a:lnTo>
                      <a:pt x="35" y="111"/>
                    </a:lnTo>
                    <a:lnTo>
                      <a:pt x="35" y="109"/>
                    </a:lnTo>
                    <a:lnTo>
                      <a:pt x="35" y="106"/>
                    </a:lnTo>
                    <a:lnTo>
                      <a:pt x="34" y="104"/>
                    </a:lnTo>
                    <a:lnTo>
                      <a:pt x="34" y="101"/>
                    </a:lnTo>
                    <a:lnTo>
                      <a:pt x="34" y="98"/>
                    </a:lnTo>
                    <a:lnTo>
                      <a:pt x="33" y="97"/>
                    </a:lnTo>
                    <a:lnTo>
                      <a:pt x="33" y="97"/>
                    </a:lnTo>
                    <a:lnTo>
                      <a:pt x="34" y="94"/>
                    </a:lnTo>
                    <a:lnTo>
                      <a:pt x="37" y="90"/>
                    </a:lnTo>
                    <a:lnTo>
                      <a:pt x="39" y="86"/>
                    </a:lnTo>
                    <a:lnTo>
                      <a:pt x="41" y="81"/>
                    </a:lnTo>
                    <a:lnTo>
                      <a:pt x="41" y="80"/>
                    </a:lnTo>
                    <a:lnTo>
                      <a:pt x="41" y="78"/>
                    </a:lnTo>
                    <a:lnTo>
                      <a:pt x="41" y="77"/>
                    </a:lnTo>
                    <a:lnTo>
                      <a:pt x="42" y="76"/>
                    </a:lnTo>
                    <a:lnTo>
                      <a:pt x="43" y="75"/>
                    </a:lnTo>
                    <a:lnTo>
                      <a:pt x="45" y="74"/>
                    </a:lnTo>
                    <a:lnTo>
                      <a:pt x="46" y="72"/>
                    </a:lnTo>
                    <a:lnTo>
                      <a:pt x="46" y="70"/>
                    </a:lnTo>
                    <a:lnTo>
                      <a:pt x="47" y="68"/>
                    </a:lnTo>
                    <a:lnTo>
                      <a:pt x="47" y="65"/>
                    </a:lnTo>
                    <a:lnTo>
                      <a:pt x="47" y="61"/>
                    </a:lnTo>
                    <a:lnTo>
                      <a:pt x="47" y="57"/>
                    </a:lnTo>
                    <a:lnTo>
                      <a:pt x="49" y="53"/>
                    </a:lnTo>
                    <a:lnTo>
                      <a:pt x="50" y="51"/>
                    </a:lnTo>
                    <a:lnTo>
                      <a:pt x="52" y="50"/>
                    </a:lnTo>
                    <a:lnTo>
                      <a:pt x="53" y="50"/>
                    </a:lnTo>
                    <a:lnTo>
                      <a:pt x="54" y="51"/>
                    </a:lnTo>
                    <a:lnTo>
                      <a:pt x="54" y="52"/>
                    </a:lnTo>
                    <a:lnTo>
                      <a:pt x="55" y="53"/>
                    </a:lnTo>
                    <a:lnTo>
                      <a:pt x="55" y="55"/>
                    </a:lnTo>
                    <a:lnTo>
                      <a:pt x="55" y="56"/>
                    </a:lnTo>
                    <a:lnTo>
                      <a:pt x="56" y="56"/>
                    </a:lnTo>
                    <a:lnTo>
                      <a:pt x="57" y="56"/>
                    </a:lnTo>
                    <a:lnTo>
                      <a:pt x="58" y="55"/>
                    </a:lnTo>
                    <a:lnTo>
                      <a:pt x="60" y="53"/>
                    </a:lnTo>
                    <a:lnTo>
                      <a:pt x="62" y="51"/>
                    </a:lnTo>
                    <a:lnTo>
                      <a:pt x="63" y="48"/>
                    </a:lnTo>
                    <a:lnTo>
                      <a:pt x="64" y="46"/>
                    </a:lnTo>
                    <a:lnTo>
                      <a:pt x="66" y="45"/>
                    </a:lnTo>
                    <a:lnTo>
                      <a:pt x="67" y="45"/>
                    </a:lnTo>
                    <a:lnTo>
                      <a:pt x="69" y="46"/>
                    </a:lnTo>
                    <a:lnTo>
                      <a:pt x="71" y="46"/>
                    </a:lnTo>
                    <a:lnTo>
                      <a:pt x="72" y="46"/>
                    </a:lnTo>
                    <a:lnTo>
                      <a:pt x="74" y="45"/>
                    </a:lnTo>
                    <a:lnTo>
                      <a:pt x="75" y="43"/>
                    </a:lnTo>
                    <a:lnTo>
                      <a:pt x="76" y="40"/>
                    </a:lnTo>
                    <a:lnTo>
                      <a:pt x="77" y="37"/>
                    </a:lnTo>
                    <a:lnTo>
                      <a:pt x="79" y="34"/>
                    </a:lnTo>
                    <a:lnTo>
                      <a:pt x="79" y="31"/>
                    </a:lnTo>
                    <a:lnTo>
                      <a:pt x="80" y="28"/>
                    </a:lnTo>
                    <a:lnTo>
                      <a:pt x="80" y="16"/>
                    </a:lnTo>
                    <a:lnTo>
                      <a:pt x="80" y="15"/>
                    </a:lnTo>
                    <a:lnTo>
                      <a:pt x="81" y="13"/>
                    </a:lnTo>
                    <a:lnTo>
                      <a:pt x="82" y="10"/>
                    </a:lnTo>
                    <a:lnTo>
                      <a:pt x="82" y="8"/>
                    </a:lnTo>
                    <a:lnTo>
                      <a:pt x="83" y="7"/>
                    </a:lnTo>
                    <a:lnTo>
                      <a:pt x="84" y="4"/>
                    </a:lnTo>
                    <a:lnTo>
                      <a:pt x="83" y="4"/>
                    </a:lnTo>
                    <a:lnTo>
                      <a:pt x="83" y="3"/>
                    </a:lnTo>
                    <a:lnTo>
                      <a:pt x="84" y="2"/>
                    </a:lnTo>
                    <a:lnTo>
                      <a:pt x="84" y="2"/>
                    </a:lnTo>
                    <a:lnTo>
                      <a:pt x="85" y="2"/>
                    </a:lnTo>
                    <a:lnTo>
                      <a:pt x="85" y="1"/>
                    </a:lnTo>
                    <a:lnTo>
                      <a:pt x="85"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noEditPoints="1"/>
              </p:cNvSpPr>
              <p:nvPr/>
            </p:nvSpPr>
            <p:spPr bwMode="auto">
              <a:xfrm>
                <a:off x="3164" y="884"/>
                <a:ext cx="337" cy="117"/>
              </a:xfrm>
              <a:custGeom>
                <a:avLst/>
                <a:gdLst>
                  <a:gd name="T0" fmla="*/ 85 w 2362"/>
                  <a:gd name="T1" fmla="*/ 255 h 823"/>
                  <a:gd name="T2" fmla="*/ 210 w 2362"/>
                  <a:gd name="T3" fmla="*/ 205 h 823"/>
                  <a:gd name="T4" fmla="*/ 709 w 2362"/>
                  <a:gd name="T5" fmla="*/ 173 h 823"/>
                  <a:gd name="T6" fmla="*/ 775 w 2362"/>
                  <a:gd name="T7" fmla="*/ 155 h 823"/>
                  <a:gd name="T8" fmla="*/ 2118 w 2362"/>
                  <a:gd name="T9" fmla="*/ 144 h 823"/>
                  <a:gd name="T10" fmla="*/ 1625 w 2362"/>
                  <a:gd name="T11" fmla="*/ 111 h 823"/>
                  <a:gd name="T12" fmla="*/ 1655 w 2362"/>
                  <a:gd name="T13" fmla="*/ 121 h 823"/>
                  <a:gd name="T14" fmla="*/ 1701 w 2362"/>
                  <a:gd name="T15" fmla="*/ 137 h 823"/>
                  <a:gd name="T16" fmla="*/ 1657 w 2362"/>
                  <a:gd name="T17" fmla="*/ 210 h 823"/>
                  <a:gd name="T18" fmla="*/ 1624 w 2362"/>
                  <a:gd name="T19" fmla="*/ 155 h 823"/>
                  <a:gd name="T20" fmla="*/ 1617 w 2362"/>
                  <a:gd name="T21" fmla="*/ 120 h 823"/>
                  <a:gd name="T22" fmla="*/ 672 w 2362"/>
                  <a:gd name="T23" fmla="*/ 82 h 823"/>
                  <a:gd name="T24" fmla="*/ 672 w 2362"/>
                  <a:gd name="T25" fmla="*/ 142 h 823"/>
                  <a:gd name="T26" fmla="*/ 637 w 2362"/>
                  <a:gd name="T27" fmla="*/ 107 h 823"/>
                  <a:gd name="T28" fmla="*/ 2 w 2362"/>
                  <a:gd name="T29" fmla="*/ 91 h 823"/>
                  <a:gd name="T30" fmla="*/ 57 w 2362"/>
                  <a:gd name="T31" fmla="*/ 111 h 823"/>
                  <a:gd name="T32" fmla="*/ 83 w 2362"/>
                  <a:gd name="T33" fmla="*/ 70 h 823"/>
                  <a:gd name="T34" fmla="*/ 2362 w 2362"/>
                  <a:gd name="T35" fmla="*/ 409 h 823"/>
                  <a:gd name="T36" fmla="*/ 2053 w 2362"/>
                  <a:gd name="T37" fmla="*/ 631 h 823"/>
                  <a:gd name="T38" fmla="*/ 1941 w 2362"/>
                  <a:gd name="T39" fmla="*/ 677 h 823"/>
                  <a:gd name="T40" fmla="*/ 1908 w 2362"/>
                  <a:gd name="T41" fmla="*/ 692 h 823"/>
                  <a:gd name="T42" fmla="*/ 1830 w 2362"/>
                  <a:gd name="T43" fmla="*/ 788 h 823"/>
                  <a:gd name="T44" fmla="*/ 1838 w 2362"/>
                  <a:gd name="T45" fmla="*/ 711 h 823"/>
                  <a:gd name="T46" fmla="*/ 1822 w 2362"/>
                  <a:gd name="T47" fmla="*/ 616 h 823"/>
                  <a:gd name="T48" fmla="*/ 1867 w 2362"/>
                  <a:gd name="T49" fmla="*/ 581 h 823"/>
                  <a:gd name="T50" fmla="*/ 1897 w 2362"/>
                  <a:gd name="T51" fmla="*/ 510 h 823"/>
                  <a:gd name="T52" fmla="*/ 1924 w 2362"/>
                  <a:gd name="T53" fmla="*/ 416 h 823"/>
                  <a:gd name="T54" fmla="*/ 1950 w 2362"/>
                  <a:gd name="T55" fmla="*/ 481 h 823"/>
                  <a:gd name="T56" fmla="*/ 1982 w 2362"/>
                  <a:gd name="T57" fmla="*/ 477 h 823"/>
                  <a:gd name="T58" fmla="*/ 2014 w 2362"/>
                  <a:gd name="T59" fmla="*/ 428 h 823"/>
                  <a:gd name="T60" fmla="*/ 2026 w 2362"/>
                  <a:gd name="T61" fmla="*/ 370 h 823"/>
                  <a:gd name="T62" fmla="*/ 2019 w 2362"/>
                  <a:gd name="T63" fmla="*/ 357 h 823"/>
                  <a:gd name="T64" fmla="*/ 1990 w 2362"/>
                  <a:gd name="T65" fmla="*/ 320 h 823"/>
                  <a:gd name="T66" fmla="*/ 1983 w 2362"/>
                  <a:gd name="T67" fmla="*/ 211 h 823"/>
                  <a:gd name="T68" fmla="*/ 1977 w 2362"/>
                  <a:gd name="T69" fmla="*/ 348 h 823"/>
                  <a:gd name="T70" fmla="*/ 1949 w 2362"/>
                  <a:gd name="T71" fmla="*/ 459 h 823"/>
                  <a:gd name="T72" fmla="*/ 1941 w 2362"/>
                  <a:gd name="T73" fmla="*/ 394 h 823"/>
                  <a:gd name="T74" fmla="*/ 1921 w 2362"/>
                  <a:gd name="T75" fmla="*/ 385 h 823"/>
                  <a:gd name="T76" fmla="*/ 1877 w 2362"/>
                  <a:gd name="T77" fmla="*/ 327 h 823"/>
                  <a:gd name="T78" fmla="*/ 1916 w 2362"/>
                  <a:gd name="T79" fmla="*/ 227 h 823"/>
                  <a:gd name="T80" fmla="*/ 1930 w 2362"/>
                  <a:gd name="T81" fmla="*/ 121 h 823"/>
                  <a:gd name="T82" fmla="*/ 1942 w 2362"/>
                  <a:gd name="T83" fmla="*/ 92 h 823"/>
                  <a:gd name="T84" fmla="*/ 1955 w 2362"/>
                  <a:gd name="T85" fmla="*/ 65 h 823"/>
                  <a:gd name="T86" fmla="*/ 1977 w 2362"/>
                  <a:gd name="T87" fmla="*/ 48 h 823"/>
                  <a:gd name="T88" fmla="*/ 2002 w 2362"/>
                  <a:gd name="T89" fmla="*/ 62 h 823"/>
                  <a:gd name="T90" fmla="*/ 2033 w 2362"/>
                  <a:gd name="T91" fmla="*/ 115 h 823"/>
                  <a:gd name="T92" fmla="*/ 2084 w 2362"/>
                  <a:gd name="T93" fmla="*/ 211 h 823"/>
                  <a:gd name="T94" fmla="*/ 2057 w 2362"/>
                  <a:gd name="T95" fmla="*/ 221 h 823"/>
                  <a:gd name="T96" fmla="*/ 2077 w 2362"/>
                  <a:gd name="T97" fmla="*/ 248 h 823"/>
                  <a:gd name="T98" fmla="*/ 2098 w 2362"/>
                  <a:gd name="T99" fmla="*/ 216 h 823"/>
                  <a:gd name="T100" fmla="*/ 2104 w 2362"/>
                  <a:gd name="T101" fmla="*/ 182 h 823"/>
                  <a:gd name="T102" fmla="*/ 2145 w 2362"/>
                  <a:gd name="T103" fmla="*/ 174 h 823"/>
                  <a:gd name="T104" fmla="*/ 2174 w 2362"/>
                  <a:gd name="T105" fmla="*/ 167 h 823"/>
                  <a:gd name="T106" fmla="*/ 2176 w 2362"/>
                  <a:gd name="T107" fmla="*/ 145 h 823"/>
                  <a:gd name="T108" fmla="*/ 2195 w 2362"/>
                  <a:gd name="T109" fmla="*/ 119 h 823"/>
                  <a:gd name="T110" fmla="*/ 2214 w 2362"/>
                  <a:gd name="T111" fmla="*/ 105 h 823"/>
                  <a:gd name="T112" fmla="*/ 2223 w 2362"/>
                  <a:gd name="T113" fmla="*/ 237 h 823"/>
                  <a:gd name="T114" fmla="*/ 2252 w 2362"/>
                  <a:gd name="T115" fmla="*/ 220 h 823"/>
                  <a:gd name="T116" fmla="*/ 2229 w 2362"/>
                  <a:gd name="T117" fmla="*/ 143 h 823"/>
                  <a:gd name="T118" fmla="*/ 2231 w 2362"/>
                  <a:gd name="T119" fmla="*/ 118 h 823"/>
                  <a:gd name="T120" fmla="*/ 2235 w 2362"/>
                  <a:gd name="T121" fmla="*/ 92 h 823"/>
                  <a:gd name="T122" fmla="*/ 2268 w 2362"/>
                  <a:gd name="T123" fmla="*/ 160 h 823"/>
                  <a:gd name="T124" fmla="*/ 2258 w 2362"/>
                  <a:gd name="T125" fmla="*/ 56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2" h="823">
                    <a:moveTo>
                      <a:pt x="221" y="192"/>
                    </a:moveTo>
                    <a:lnTo>
                      <a:pt x="217" y="192"/>
                    </a:lnTo>
                    <a:lnTo>
                      <a:pt x="211" y="194"/>
                    </a:lnTo>
                    <a:lnTo>
                      <a:pt x="204" y="196"/>
                    </a:lnTo>
                    <a:lnTo>
                      <a:pt x="199" y="198"/>
                    </a:lnTo>
                    <a:lnTo>
                      <a:pt x="196" y="200"/>
                    </a:lnTo>
                    <a:lnTo>
                      <a:pt x="189" y="203"/>
                    </a:lnTo>
                    <a:lnTo>
                      <a:pt x="183" y="207"/>
                    </a:lnTo>
                    <a:lnTo>
                      <a:pt x="178" y="214"/>
                    </a:lnTo>
                    <a:lnTo>
                      <a:pt x="172" y="220"/>
                    </a:lnTo>
                    <a:lnTo>
                      <a:pt x="165" y="226"/>
                    </a:lnTo>
                    <a:lnTo>
                      <a:pt x="158" y="228"/>
                    </a:lnTo>
                    <a:lnTo>
                      <a:pt x="154" y="226"/>
                    </a:lnTo>
                    <a:lnTo>
                      <a:pt x="152" y="224"/>
                    </a:lnTo>
                    <a:lnTo>
                      <a:pt x="150" y="222"/>
                    </a:lnTo>
                    <a:lnTo>
                      <a:pt x="149" y="219"/>
                    </a:lnTo>
                    <a:lnTo>
                      <a:pt x="147" y="216"/>
                    </a:lnTo>
                    <a:lnTo>
                      <a:pt x="145" y="214"/>
                    </a:lnTo>
                    <a:lnTo>
                      <a:pt x="143" y="213"/>
                    </a:lnTo>
                    <a:lnTo>
                      <a:pt x="141" y="212"/>
                    </a:lnTo>
                    <a:lnTo>
                      <a:pt x="139" y="213"/>
                    </a:lnTo>
                    <a:lnTo>
                      <a:pt x="137" y="214"/>
                    </a:lnTo>
                    <a:lnTo>
                      <a:pt x="136" y="216"/>
                    </a:lnTo>
                    <a:lnTo>
                      <a:pt x="136" y="219"/>
                    </a:lnTo>
                    <a:lnTo>
                      <a:pt x="137" y="222"/>
                    </a:lnTo>
                    <a:lnTo>
                      <a:pt x="139" y="225"/>
                    </a:lnTo>
                    <a:lnTo>
                      <a:pt x="139" y="227"/>
                    </a:lnTo>
                    <a:lnTo>
                      <a:pt x="139" y="229"/>
                    </a:lnTo>
                    <a:lnTo>
                      <a:pt x="138" y="231"/>
                    </a:lnTo>
                    <a:lnTo>
                      <a:pt x="136" y="233"/>
                    </a:lnTo>
                    <a:lnTo>
                      <a:pt x="133" y="236"/>
                    </a:lnTo>
                    <a:lnTo>
                      <a:pt x="130" y="240"/>
                    </a:lnTo>
                    <a:lnTo>
                      <a:pt x="127" y="244"/>
                    </a:lnTo>
                    <a:lnTo>
                      <a:pt x="123" y="249"/>
                    </a:lnTo>
                    <a:lnTo>
                      <a:pt x="121" y="252"/>
                    </a:lnTo>
                    <a:lnTo>
                      <a:pt x="119" y="255"/>
                    </a:lnTo>
                    <a:lnTo>
                      <a:pt x="117" y="258"/>
                    </a:lnTo>
                    <a:lnTo>
                      <a:pt x="115" y="261"/>
                    </a:lnTo>
                    <a:lnTo>
                      <a:pt x="108" y="263"/>
                    </a:lnTo>
                    <a:lnTo>
                      <a:pt x="99" y="261"/>
                    </a:lnTo>
                    <a:lnTo>
                      <a:pt x="93" y="258"/>
                    </a:lnTo>
                    <a:lnTo>
                      <a:pt x="86" y="255"/>
                    </a:lnTo>
                    <a:lnTo>
                      <a:pt x="85" y="255"/>
                    </a:lnTo>
                    <a:lnTo>
                      <a:pt x="84" y="255"/>
                    </a:lnTo>
                    <a:lnTo>
                      <a:pt x="82" y="255"/>
                    </a:lnTo>
                    <a:lnTo>
                      <a:pt x="80" y="255"/>
                    </a:lnTo>
                    <a:lnTo>
                      <a:pt x="78" y="255"/>
                    </a:lnTo>
                    <a:lnTo>
                      <a:pt x="75" y="255"/>
                    </a:lnTo>
                    <a:lnTo>
                      <a:pt x="74" y="255"/>
                    </a:lnTo>
                    <a:lnTo>
                      <a:pt x="73" y="256"/>
                    </a:lnTo>
                    <a:lnTo>
                      <a:pt x="72" y="256"/>
                    </a:lnTo>
                    <a:lnTo>
                      <a:pt x="73" y="257"/>
                    </a:lnTo>
                    <a:lnTo>
                      <a:pt x="74" y="259"/>
                    </a:lnTo>
                    <a:lnTo>
                      <a:pt x="77" y="260"/>
                    </a:lnTo>
                    <a:lnTo>
                      <a:pt x="79" y="261"/>
                    </a:lnTo>
                    <a:lnTo>
                      <a:pt x="81" y="260"/>
                    </a:lnTo>
                    <a:lnTo>
                      <a:pt x="84" y="259"/>
                    </a:lnTo>
                    <a:lnTo>
                      <a:pt x="86" y="259"/>
                    </a:lnTo>
                    <a:lnTo>
                      <a:pt x="89" y="259"/>
                    </a:lnTo>
                    <a:lnTo>
                      <a:pt x="91" y="259"/>
                    </a:lnTo>
                    <a:lnTo>
                      <a:pt x="93" y="260"/>
                    </a:lnTo>
                    <a:lnTo>
                      <a:pt x="96" y="261"/>
                    </a:lnTo>
                    <a:lnTo>
                      <a:pt x="105" y="266"/>
                    </a:lnTo>
                    <a:lnTo>
                      <a:pt x="112" y="268"/>
                    </a:lnTo>
                    <a:lnTo>
                      <a:pt x="121" y="269"/>
                    </a:lnTo>
                    <a:lnTo>
                      <a:pt x="130" y="267"/>
                    </a:lnTo>
                    <a:lnTo>
                      <a:pt x="138" y="263"/>
                    </a:lnTo>
                    <a:lnTo>
                      <a:pt x="145" y="259"/>
                    </a:lnTo>
                    <a:lnTo>
                      <a:pt x="158" y="251"/>
                    </a:lnTo>
                    <a:lnTo>
                      <a:pt x="170" y="240"/>
                    </a:lnTo>
                    <a:lnTo>
                      <a:pt x="172" y="239"/>
                    </a:lnTo>
                    <a:lnTo>
                      <a:pt x="174" y="237"/>
                    </a:lnTo>
                    <a:lnTo>
                      <a:pt x="175" y="235"/>
                    </a:lnTo>
                    <a:lnTo>
                      <a:pt x="176" y="233"/>
                    </a:lnTo>
                    <a:lnTo>
                      <a:pt x="176" y="230"/>
                    </a:lnTo>
                    <a:lnTo>
                      <a:pt x="176" y="228"/>
                    </a:lnTo>
                    <a:lnTo>
                      <a:pt x="178" y="227"/>
                    </a:lnTo>
                    <a:lnTo>
                      <a:pt x="179" y="226"/>
                    </a:lnTo>
                    <a:lnTo>
                      <a:pt x="181" y="225"/>
                    </a:lnTo>
                    <a:lnTo>
                      <a:pt x="183" y="225"/>
                    </a:lnTo>
                    <a:lnTo>
                      <a:pt x="184" y="224"/>
                    </a:lnTo>
                    <a:lnTo>
                      <a:pt x="187" y="220"/>
                    </a:lnTo>
                    <a:lnTo>
                      <a:pt x="190" y="216"/>
                    </a:lnTo>
                    <a:lnTo>
                      <a:pt x="194" y="212"/>
                    </a:lnTo>
                    <a:lnTo>
                      <a:pt x="206" y="206"/>
                    </a:lnTo>
                    <a:lnTo>
                      <a:pt x="210" y="205"/>
                    </a:lnTo>
                    <a:lnTo>
                      <a:pt x="214" y="204"/>
                    </a:lnTo>
                    <a:lnTo>
                      <a:pt x="217" y="202"/>
                    </a:lnTo>
                    <a:lnTo>
                      <a:pt x="220" y="200"/>
                    </a:lnTo>
                    <a:lnTo>
                      <a:pt x="222" y="197"/>
                    </a:lnTo>
                    <a:lnTo>
                      <a:pt x="223" y="194"/>
                    </a:lnTo>
                    <a:lnTo>
                      <a:pt x="221" y="192"/>
                    </a:lnTo>
                    <a:close/>
                    <a:moveTo>
                      <a:pt x="1029" y="188"/>
                    </a:moveTo>
                    <a:lnTo>
                      <a:pt x="1035" y="188"/>
                    </a:lnTo>
                    <a:lnTo>
                      <a:pt x="1038" y="191"/>
                    </a:lnTo>
                    <a:lnTo>
                      <a:pt x="1039" y="195"/>
                    </a:lnTo>
                    <a:lnTo>
                      <a:pt x="1039" y="200"/>
                    </a:lnTo>
                    <a:lnTo>
                      <a:pt x="1038" y="204"/>
                    </a:lnTo>
                    <a:lnTo>
                      <a:pt x="1035" y="206"/>
                    </a:lnTo>
                    <a:lnTo>
                      <a:pt x="1032" y="204"/>
                    </a:lnTo>
                    <a:lnTo>
                      <a:pt x="1028" y="200"/>
                    </a:lnTo>
                    <a:lnTo>
                      <a:pt x="1026" y="195"/>
                    </a:lnTo>
                    <a:lnTo>
                      <a:pt x="1027" y="191"/>
                    </a:lnTo>
                    <a:lnTo>
                      <a:pt x="1029" y="188"/>
                    </a:lnTo>
                    <a:close/>
                    <a:moveTo>
                      <a:pt x="749" y="183"/>
                    </a:moveTo>
                    <a:lnTo>
                      <a:pt x="755" y="186"/>
                    </a:lnTo>
                    <a:lnTo>
                      <a:pt x="760" y="192"/>
                    </a:lnTo>
                    <a:lnTo>
                      <a:pt x="762" y="197"/>
                    </a:lnTo>
                    <a:lnTo>
                      <a:pt x="762" y="201"/>
                    </a:lnTo>
                    <a:lnTo>
                      <a:pt x="761" y="207"/>
                    </a:lnTo>
                    <a:lnTo>
                      <a:pt x="758" y="214"/>
                    </a:lnTo>
                    <a:lnTo>
                      <a:pt x="754" y="220"/>
                    </a:lnTo>
                    <a:lnTo>
                      <a:pt x="749" y="223"/>
                    </a:lnTo>
                    <a:lnTo>
                      <a:pt x="743" y="219"/>
                    </a:lnTo>
                    <a:lnTo>
                      <a:pt x="738" y="212"/>
                    </a:lnTo>
                    <a:lnTo>
                      <a:pt x="736" y="204"/>
                    </a:lnTo>
                    <a:lnTo>
                      <a:pt x="736" y="196"/>
                    </a:lnTo>
                    <a:lnTo>
                      <a:pt x="737" y="188"/>
                    </a:lnTo>
                    <a:lnTo>
                      <a:pt x="742" y="184"/>
                    </a:lnTo>
                    <a:lnTo>
                      <a:pt x="749" y="183"/>
                    </a:lnTo>
                    <a:close/>
                    <a:moveTo>
                      <a:pt x="683" y="171"/>
                    </a:moveTo>
                    <a:lnTo>
                      <a:pt x="687" y="172"/>
                    </a:lnTo>
                    <a:lnTo>
                      <a:pt x="690" y="173"/>
                    </a:lnTo>
                    <a:lnTo>
                      <a:pt x="694" y="173"/>
                    </a:lnTo>
                    <a:lnTo>
                      <a:pt x="697" y="173"/>
                    </a:lnTo>
                    <a:lnTo>
                      <a:pt x="700" y="172"/>
                    </a:lnTo>
                    <a:lnTo>
                      <a:pt x="703" y="172"/>
                    </a:lnTo>
                    <a:lnTo>
                      <a:pt x="706" y="173"/>
                    </a:lnTo>
                    <a:lnTo>
                      <a:pt x="709" y="173"/>
                    </a:lnTo>
                    <a:lnTo>
                      <a:pt x="709" y="180"/>
                    </a:lnTo>
                    <a:lnTo>
                      <a:pt x="706" y="184"/>
                    </a:lnTo>
                    <a:lnTo>
                      <a:pt x="700" y="187"/>
                    </a:lnTo>
                    <a:lnTo>
                      <a:pt x="694" y="191"/>
                    </a:lnTo>
                    <a:lnTo>
                      <a:pt x="689" y="193"/>
                    </a:lnTo>
                    <a:lnTo>
                      <a:pt x="688" y="195"/>
                    </a:lnTo>
                    <a:lnTo>
                      <a:pt x="687" y="198"/>
                    </a:lnTo>
                    <a:lnTo>
                      <a:pt x="685" y="201"/>
                    </a:lnTo>
                    <a:lnTo>
                      <a:pt x="683" y="203"/>
                    </a:lnTo>
                    <a:lnTo>
                      <a:pt x="681" y="205"/>
                    </a:lnTo>
                    <a:lnTo>
                      <a:pt x="679" y="206"/>
                    </a:lnTo>
                    <a:lnTo>
                      <a:pt x="677" y="205"/>
                    </a:lnTo>
                    <a:lnTo>
                      <a:pt x="676" y="203"/>
                    </a:lnTo>
                    <a:lnTo>
                      <a:pt x="675" y="201"/>
                    </a:lnTo>
                    <a:lnTo>
                      <a:pt x="673" y="198"/>
                    </a:lnTo>
                    <a:lnTo>
                      <a:pt x="672" y="195"/>
                    </a:lnTo>
                    <a:lnTo>
                      <a:pt x="670" y="193"/>
                    </a:lnTo>
                    <a:lnTo>
                      <a:pt x="672" y="188"/>
                    </a:lnTo>
                    <a:lnTo>
                      <a:pt x="673" y="184"/>
                    </a:lnTo>
                    <a:lnTo>
                      <a:pt x="675" y="181"/>
                    </a:lnTo>
                    <a:lnTo>
                      <a:pt x="677" y="177"/>
                    </a:lnTo>
                    <a:lnTo>
                      <a:pt x="679" y="177"/>
                    </a:lnTo>
                    <a:lnTo>
                      <a:pt x="680" y="175"/>
                    </a:lnTo>
                    <a:lnTo>
                      <a:pt x="681" y="173"/>
                    </a:lnTo>
                    <a:lnTo>
                      <a:pt x="682" y="172"/>
                    </a:lnTo>
                    <a:lnTo>
                      <a:pt x="683" y="171"/>
                    </a:lnTo>
                    <a:close/>
                    <a:moveTo>
                      <a:pt x="784" y="148"/>
                    </a:moveTo>
                    <a:lnTo>
                      <a:pt x="785" y="149"/>
                    </a:lnTo>
                    <a:lnTo>
                      <a:pt x="787" y="150"/>
                    </a:lnTo>
                    <a:lnTo>
                      <a:pt x="789" y="152"/>
                    </a:lnTo>
                    <a:lnTo>
                      <a:pt x="791" y="155"/>
                    </a:lnTo>
                    <a:lnTo>
                      <a:pt x="791" y="157"/>
                    </a:lnTo>
                    <a:lnTo>
                      <a:pt x="791" y="159"/>
                    </a:lnTo>
                    <a:lnTo>
                      <a:pt x="789" y="161"/>
                    </a:lnTo>
                    <a:lnTo>
                      <a:pt x="788" y="162"/>
                    </a:lnTo>
                    <a:lnTo>
                      <a:pt x="786" y="163"/>
                    </a:lnTo>
                    <a:lnTo>
                      <a:pt x="783" y="164"/>
                    </a:lnTo>
                    <a:lnTo>
                      <a:pt x="781" y="163"/>
                    </a:lnTo>
                    <a:lnTo>
                      <a:pt x="779" y="162"/>
                    </a:lnTo>
                    <a:lnTo>
                      <a:pt x="777" y="160"/>
                    </a:lnTo>
                    <a:lnTo>
                      <a:pt x="776" y="157"/>
                    </a:lnTo>
                    <a:lnTo>
                      <a:pt x="775" y="156"/>
                    </a:lnTo>
                    <a:lnTo>
                      <a:pt x="775" y="155"/>
                    </a:lnTo>
                    <a:lnTo>
                      <a:pt x="775" y="153"/>
                    </a:lnTo>
                    <a:lnTo>
                      <a:pt x="775" y="151"/>
                    </a:lnTo>
                    <a:lnTo>
                      <a:pt x="776" y="150"/>
                    </a:lnTo>
                    <a:lnTo>
                      <a:pt x="777" y="149"/>
                    </a:lnTo>
                    <a:lnTo>
                      <a:pt x="778" y="150"/>
                    </a:lnTo>
                    <a:lnTo>
                      <a:pt x="780" y="150"/>
                    </a:lnTo>
                    <a:lnTo>
                      <a:pt x="781" y="150"/>
                    </a:lnTo>
                    <a:lnTo>
                      <a:pt x="782" y="149"/>
                    </a:lnTo>
                    <a:lnTo>
                      <a:pt x="782" y="149"/>
                    </a:lnTo>
                    <a:lnTo>
                      <a:pt x="783" y="148"/>
                    </a:lnTo>
                    <a:lnTo>
                      <a:pt x="784" y="148"/>
                    </a:lnTo>
                    <a:close/>
                    <a:moveTo>
                      <a:pt x="802" y="139"/>
                    </a:moveTo>
                    <a:lnTo>
                      <a:pt x="805" y="139"/>
                    </a:lnTo>
                    <a:lnTo>
                      <a:pt x="808" y="140"/>
                    </a:lnTo>
                    <a:lnTo>
                      <a:pt x="810" y="142"/>
                    </a:lnTo>
                    <a:lnTo>
                      <a:pt x="812" y="143"/>
                    </a:lnTo>
                    <a:lnTo>
                      <a:pt x="814" y="145"/>
                    </a:lnTo>
                    <a:lnTo>
                      <a:pt x="814" y="147"/>
                    </a:lnTo>
                    <a:lnTo>
                      <a:pt x="814" y="149"/>
                    </a:lnTo>
                    <a:lnTo>
                      <a:pt x="812" y="150"/>
                    </a:lnTo>
                    <a:lnTo>
                      <a:pt x="809" y="151"/>
                    </a:lnTo>
                    <a:lnTo>
                      <a:pt x="807" y="151"/>
                    </a:lnTo>
                    <a:lnTo>
                      <a:pt x="804" y="150"/>
                    </a:lnTo>
                    <a:lnTo>
                      <a:pt x="802" y="149"/>
                    </a:lnTo>
                    <a:lnTo>
                      <a:pt x="800" y="148"/>
                    </a:lnTo>
                    <a:lnTo>
                      <a:pt x="799" y="147"/>
                    </a:lnTo>
                    <a:lnTo>
                      <a:pt x="798" y="145"/>
                    </a:lnTo>
                    <a:lnTo>
                      <a:pt x="798" y="144"/>
                    </a:lnTo>
                    <a:lnTo>
                      <a:pt x="797" y="143"/>
                    </a:lnTo>
                    <a:lnTo>
                      <a:pt x="796" y="142"/>
                    </a:lnTo>
                    <a:lnTo>
                      <a:pt x="795" y="141"/>
                    </a:lnTo>
                    <a:lnTo>
                      <a:pt x="796" y="140"/>
                    </a:lnTo>
                    <a:lnTo>
                      <a:pt x="797" y="139"/>
                    </a:lnTo>
                    <a:lnTo>
                      <a:pt x="799" y="139"/>
                    </a:lnTo>
                    <a:lnTo>
                      <a:pt x="802" y="139"/>
                    </a:lnTo>
                    <a:close/>
                    <a:moveTo>
                      <a:pt x="2105" y="132"/>
                    </a:moveTo>
                    <a:lnTo>
                      <a:pt x="2107" y="132"/>
                    </a:lnTo>
                    <a:lnTo>
                      <a:pt x="2109" y="133"/>
                    </a:lnTo>
                    <a:lnTo>
                      <a:pt x="2110" y="136"/>
                    </a:lnTo>
                    <a:lnTo>
                      <a:pt x="2113" y="138"/>
                    </a:lnTo>
                    <a:lnTo>
                      <a:pt x="2115" y="140"/>
                    </a:lnTo>
                    <a:lnTo>
                      <a:pt x="2117" y="142"/>
                    </a:lnTo>
                    <a:lnTo>
                      <a:pt x="2118" y="144"/>
                    </a:lnTo>
                    <a:lnTo>
                      <a:pt x="2119" y="145"/>
                    </a:lnTo>
                    <a:lnTo>
                      <a:pt x="2120" y="147"/>
                    </a:lnTo>
                    <a:lnTo>
                      <a:pt x="2120" y="148"/>
                    </a:lnTo>
                    <a:lnTo>
                      <a:pt x="2120" y="149"/>
                    </a:lnTo>
                    <a:lnTo>
                      <a:pt x="2121" y="150"/>
                    </a:lnTo>
                    <a:lnTo>
                      <a:pt x="2120" y="152"/>
                    </a:lnTo>
                    <a:lnTo>
                      <a:pt x="2119" y="154"/>
                    </a:lnTo>
                    <a:lnTo>
                      <a:pt x="2118" y="155"/>
                    </a:lnTo>
                    <a:lnTo>
                      <a:pt x="2117" y="156"/>
                    </a:lnTo>
                    <a:lnTo>
                      <a:pt x="2115" y="157"/>
                    </a:lnTo>
                    <a:lnTo>
                      <a:pt x="2114" y="158"/>
                    </a:lnTo>
                    <a:lnTo>
                      <a:pt x="2113" y="160"/>
                    </a:lnTo>
                    <a:lnTo>
                      <a:pt x="2113" y="160"/>
                    </a:lnTo>
                    <a:lnTo>
                      <a:pt x="2110" y="160"/>
                    </a:lnTo>
                    <a:lnTo>
                      <a:pt x="2109" y="159"/>
                    </a:lnTo>
                    <a:lnTo>
                      <a:pt x="2107" y="157"/>
                    </a:lnTo>
                    <a:lnTo>
                      <a:pt x="2106" y="155"/>
                    </a:lnTo>
                    <a:lnTo>
                      <a:pt x="2104" y="151"/>
                    </a:lnTo>
                    <a:lnTo>
                      <a:pt x="2104" y="132"/>
                    </a:lnTo>
                    <a:lnTo>
                      <a:pt x="2105" y="132"/>
                    </a:lnTo>
                    <a:close/>
                    <a:moveTo>
                      <a:pt x="786" y="122"/>
                    </a:moveTo>
                    <a:lnTo>
                      <a:pt x="788" y="122"/>
                    </a:lnTo>
                    <a:lnTo>
                      <a:pt x="791" y="123"/>
                    </a:lnTo>
                    <a:lnTo>
                      <a:pt x="793" y="124"/>
                    </a:lnTo>
                    <a:lnTo>
                      <a:pt x="794" y="125"/>
                    </a:lnTo>
                    <a:lnTo>
                      <a:pt x="794" y="126"/>
                    </a:lnTo>
                    <a:lnTo>
                      <a:pt x="793" y="126"/>
                    </a:lnTo>
                    <a:lnTo>
                      <a:pt x="791" y="127"/>
                    </a:lnTo>
                    <a:lnTo>
                      <a:pt x="789" y="127"/>
                    </a:lnTo>
                    <a:lnTo>
                      <a:pt x="787" y="128"/>
                    </a:lnTo>
                    <a:lnTo>
                      <a:pt x="785" y="128"/>
                    </a:lnTo>
                    <a:lnTo>
                      <a:pt x="782" y="127"/>
                    </a:lnTo>
                    <a:lnTo>
                      <a:pt x="780" y="126"/>
                    </a:lnTo>
                    <a:lnTo>
                      <a:pt x="780" y="125"/>
                    </a:lnTo>
                    <a:lnTo>
                      <a:pt x="780" y="124"/>
                    </a:lnTo>
                    <a:lnTo>
                      <a:pt x="782" y="123"/>
                    </a:lnTo>
                    <a:lnTo>
                      <a:pt x="783" y="122"/>
                    </a:lnTo>
                    <a:lnTo>
                      <a:pt x="786" y="122"/>
                    </a:lnTo>
                    <a:close/>
                    <a:moveTo>
                      <a:pt x="1618" y="106"/>
                    </a:moveTo>
                    <a:lnTo>
                      <a:pt x="1619" y="107"/>
                    </a:lnTo>
                    <a:lnTo>
                      <a:pt x="1621" y="108"/>
                    </a:lnTo>
                    <a:lnTo>
                      <a:pt x="1623" y="109"/>
                    </a:lnTo>
                    <a:lnTo>
                      <a:pt x="1625" y="111"/>
                    </a:lnTo>
                    <a:lnTo>
                      <a:pt x="1627" y="113"/>
                    </a:lnTo>
                    <a:lnTo>
                      <a:pt x="1630" y="115"/>
                    </a:lnTo>
                    <a:lnTo>
                      <a:pt x="1631" y="117"/>
                    </a:lnTo>
                    <a:lnTo>
                      <a:pt x="1632" y="119"/>
                    </a:lnTo>
                    <a:lnTo>
                      <a:pt x="1633" y="122"/>
                    </a:lnTo>
                    <a:lnTo>
                      <a:pt x="1634" y="124"/>
                    </a:lnTo>
                    <a:lnTo>
                      <a:pt x="1635" y="125"/>
                    </a:lnTo>
                    <a:lnTo>
                      <a:pt x="1637" y="127"/>
                    </a:lnTo>
                    <a:lnTo>
                      <a:pt x="1638" y="129"/>
                    </a:lnTo>
                    <a:lnTo>
                      <a:pt x="1638" y="130"/>
                    </a:lnTo>
                    <a:lnTo>
                      <a:pt x="1637" y="132"/>
                    </a:lnTo>
                    <a:lnTo>
                      <a:pt x="1637" y="133"/>
                    </a:lnTo>
                    <a:lnTo>
                      <a:pt x="1636" y="135"/>
                    </a:lnTo>
                    <a:lnTo>
                      <a:pt x="1636" y="136"/>
                    </a:lnTo>
                    <a:lnTo>
                      <a:pt x="1637" y="138"/>
                    </a:lnTo>
                    <a:lnTo>
                      <a:pt x="1638" y="139"/>
                    </a:lnTo>
                    <a:lnTo>
                      <a:pt x="1639" y="139"/>
                    </a:lnTo>
                    <a:lnTo>
                      <a:pt x="1640" y="138"/>
                    </a:lnTo>
                    <a:lnTo>
                      <a:pt x="1641" y="138"/>
                    </a:lnTo>
                    <a:lnTo>
                      <a:pt x="1642" y="137"/>
                    </a:lnTo>
                    <a:lnTo>
                      <a:pt x="1642" y="136"/>
                    </a:lnTo>
                    <a:lnTo>
                      <a:pt x="1642" y="133"/>
                    </a:lnTo>
                    <a:lnTo>
                      <a:pt x="1642" y="130"/>
                    </a:lnTo>
                    <a:lnTo>
                      <a:pt x="1642" y="127"/>
                    </a:lnTo>
                    <a:lnTo>
                      <a:pt x="1643" y="124"/>
                    </a:lnTo>
                    <a:lnTo>
                      <a:pt x="1644" y="123"/>
                    </a:lnTo>
                    <a:lnTo>
                      <a:pt x="1645" y="123"/>
                    </a:lnTo>
                    <a:lnTo>
                      <a:pt x="1646" y="124"/>
                    </a:lnTo>
                    <a:lnTo>
                      <a:pt x="1647" y="126"/>
                    </a:lnTo>
                    <a:lnTo>
                      <a:pt x="1648" y="128"/>
                    </a:lnTo>
                    <a:lnTo>
                      <a:pt x="1650" y="130"/>
                    </a:lnTo>
                    <a:lnTo>
                      <a:pt x="1651" y="131"/>
                    </a:lnTo>
                    <a:lnTo>
                      <a:pt x="1652" y="132"/>
                    </a:lnTo>
                    <a:lnTo>
                      <a:pt x="1653" y="133"/>
                    </a:lnTo>
                    <a:lnTo>
                      <a:pt x="1653" y="132"/>
                    </a:lnTo>
                    <a:lnTo>
                      <a:pt x="1653" y="131"/>
                    </a:lnTo>
                    <a:lnTo>
                      <a:pt x="1653" y="129"/>
                    </a:lnTo>
                    <a:lnTo>
                      <a:pt x="1653" y="127"/>
                    </a:lnTo>
                    <a:lnTo>
                      <a:pt x="1653" y="125"/>
                    </a:lnTo>
                    <a:lnTo>
                      <a:pt x="1653" y="123"/>
                    </a:lnTo>
                    <a:lnTo>
                      <a:pt x="1653" y="122"/>
                    </a:lnTo>
                    <a:lnTo>
                      <a:pt x="1654" y="121"/>
                    </a:lnTo>
                    <a:lnTo>
                      <a:pt x="1655" y="121"/>
                    </a:lnTo>
                    <a:lnTo>
                      <a:pt x="1657" y="120"/>
                    </a:lnTo>
                    <a:lnTo>
                      <a:pt x="1659" y="121"/>
                    </a:lnTo>
                    <a:lnTo>
                      <a:pt x="1660" y="122"/>
                    </a:lnTo>
                    <a:lnTo>
                      <a:pt x="1661" y="124"/>
                    </a:lnTo>
                    <a:lnTo>
                      <a:pt x="1662" y="126"/>
                    </a:lnTo>
                    <a:lnTo>
                      <a:pt x="1663" y="127"/>
                    </a:lnTo>
                    <a:lnTo>
                      <a:pt x="1664" y="129"/>
                    </a:lnTo>
                    <a:lnTo>
                      <a:pt x="1666" y="128"/>
                    </a:lnTo>
                    <a:lnTo>
                      <a:pt x="1668" y="127"/>
                    </a:lnTo>
                    <a:lnTo>
                      <a:pt x="1669" y="126"/>
                    </a:lnTo>
                    <a:lnTo>
                      <a:pt x="1671" y="125"/>
                    </a:lnTo>
                    <a:lnTo>
                      <a:pt x="1672" y="125"/>
                    </a:lnTo>
                    <a:lnTo>
                      <a:pt x="1674" y="125"/>
                    </a:lnTo>
                    <a:lnTo>
                      <a:pt x="1676" y="126"/>
                    </a:lnTo>
                    <a:lnTo>
                      <a:pt x="1678" y="126"/>
                    </a:lnTo>
                    <a:lnTo>
                      <a:pt x="1680" y="127"/>
                    </a:lnTo>
                    <a:lnTo>
                      <a:pt x="1681" y="125"/>
                    </a:lnTo>
                    <a:lnTo>
                      <a:pt x="1682" y="123"/>
                    </a:lnTo>
                    <a:lnTo>
                      <a:pt x="1683" y="120"/>
                    </a:lnTo>
                    <a:lnTo>
                      <a:pt x="1683" y="118"/>
                    </a:lnTo>
                    <a:lnTo>
                      <a:pt x="1684" y="117"/>
                    </a:lnTo>
                    <a:lnTo>
                      <a:pt x="1686" y="117"/>
                    </a:lnTo>
                    <a:lnTo>
                      <a:pt x="1689" y="119"/>
                    </a:lnTo>
                    <a:lnTo>
                      <a:pt x="1691" y="121"/>
                    </a:lnTo>
                    <a:lnTo>
                      <a:pt x="1692" y="123"/>
                    </a:lnTo>
                    <a:lnTo>
                      <a:pt x="1693" y="125"/>
                    </a:lnTo>
                    <a:lnTo>
                      <a:pt x="1694" y="126"/>
                    </a:lnTo>
                    <a:lnTo>
                      <a:pt x="1695" y="126"/>
                    </a:lnTo>
                    <a:lnTo>
                      <a:pt x="1696" y="126"/>
                    </a:lnTo>
                    <a:lnTo>
                      <a:pt x="1697" y="126"/>
                    </a:lnTo>
                    <a:lnTo>
                      <a:pt x="1699" y="125"/>
                    </a:lnTo>
                    <a:lnTo>
                      <a:pt x="1701" y="124"/>
                    </a:lnTo>
                    <a:lnTo>
                      <a:pt x="1702" y="124"/>
                    </a:lnTo>
                    <a:lnTo>
                      <a:pt x="1702" y="124"/>
                    </a:lnTo>
                    <a:lnTo>
                      <a:pt x="1702" y="125"/>
                    </a:lnTo>
                    <a:lnTo>
                      <a:pt x="1702" y="127"/>
                    </a:lnTo>
                    <a:lnTo>
                      <a:pt x="1702" y="128"/>
                    </a:lnTo>
                    <a:lnTo>
                      <a:pt x="1702" y="130"/>
                    </a:lnTo>
                    <a:lnTo>
                      <a:pt x="1702" y="131"/>
                    </a:lnTo>
                    <a:lnTo>
                      <a:pt x="1701" y="131"/>
                    </a:lnTo>
                    <a:lnTo>
                      <a:pt x="1699" y="132"/>
                    </a:lnTo>
                    <a:lnTo>
                      <a:pt x="1699" y="135"/>
                    </a:lnTo>
                    <a:lnTo>
                      <a:pt x="1701" y="137"/>
                    </a:lnTo>
                    <a:lnTo>
                      <a:pt x="1702" y="140"/>
                    </a:lnTo>
                    <a:lnTo>
                      <a:pt x="1704" y="143"/>
                    </a:lnTo>
                    <a:lnTo>
                      <a:pt x="1706" y="146"/>
                    </a:lnTo>
                    <a:lnTo>
                      <a:pt x="1708" y="149"/>
                    </a:lnTo>
                    <a:lnTo>
                      <a:pt x="1711" y="152"/>
                    </a:lnTo>
                    <a:lnTo>
                      <a:pt x="1712" y="156"/>
                    </a:lnTo>
                    <a:lnTo>
                      <a:pt x="1714" y="158"/>
                    </a:lnTo>
                    <a:lnTo>
                      <a:pt x="1715" y="160"/>
                    </a:lnTo>
                    <a:lnTo>
                      <a:pt x="1717" y="162"/>
                    </a:lnTo>
                    <a:lnTo>
                      <a:pt x="1718" y="164"/>
                    </a:lnTo>
                    <a:lnTo>
                      <a:pt x="1718" y="168"/>
                    </a:lnTo>
                    <a:lnTo>
                      <a:pt x="1718" y="170"/>
                    </a:lnTo>
                    <a:lnTo>
                      <a:pt x="1717" y="173"/>
                    </a:lnTo>
                    <a:lnTo>
                      <a:pt x="1716" y="175"/>
                    </a:lnTo>
                    <a:lnTo>
                      <a:pt x="1714" y="178"/>
                    </a:lnTo>
                    <a:lnTo>
                      <a:pt x="1714" y="179"/>
                    </a:lnTo>
                    <a:lnTo>
                      <a:pt x="1714" y="181"/>
                    </a:lnTo>
                    <a:lnTo>
                      <a:pt x="1714" y="184"/>
                    </a:lnTo>
                    <a:lnTo>
                      <a:pt x="1713" y="186"/>
                    </a:lnTo>
                    <a:lnTo>
                      <a:pt x="1712" y="188"/>
                    </a:lnTo>
                    <a:lnTo>
                      <a:pt x="1711" y="191"/>
                    </a:lnTo>
                    <a:lnTo>
                      <a:pt x="1709" y="192"/>
                    </a:lnTo>
                    <a:lnTo>
                      <a:pt x="1707" y="192"/>
                    </a:lnTo>
                    <a:lnTo>
                      <a:pt x="1704" y="193"/>
                    </a:lnTo>
                    <a:lnTo>
                      <a:pt x="1702" y="193"/>
                    </a:lnTo>
                    <a:lnTo>
                      <a:pt x="1699" y="195"/>
                    </a:lnTo>
                    <a:lnTo>
                      <a:pt x="1698" y="197"/>
                    </a:lnTo>
                    <a:lnTo>
                      <a:pt x="1697" y="199"/>
                    </a:lnTo>
                    <a:lnTo>
                      <a:pt x="1695" y="199"/>
                    </a:lnTo>
                    <a:lnTo>
                      <a:pt x="1693" y="201"/>
                    </a:lnTo>
                    <a:lnTo>
                      <a:pt x="1691" y="203"/>
                    </a:lnTo>
                    <a:lnTo>
                      <a:pt x="1688" y="203"/>
                    </a:lnTo>
                    <a:lnTo>
                      <a:pt x="1686" y="204"/>
                    </a:lnTo>
                    <a:lnTo>
                      <a:pt x="1684" y="205"/>
                    </a:lnTo>
                    <a:lnTo>
                      <a:pt x="1681" y="206"/>
                    </a:lnTo>
                    <a:lnTo>
                      <a:pt x="1680" y="208"/>
                    </a:lnTo>
                    <a:lnTo>
                      <a:pt x="1678" y="211"/>
                    </a:lnTo>
                    <a:lnTo>
                      <a:pt x="1677" y="216"/>
                    </a:lnTo>
                    <a:lnTo>
                      <a:pt x="1674" y="219"/>
                    </a:lnTo>
                    <a:lnTo>
                      <a:pt x="1670" y="220"/>
                    </a:lnTo>
                    <a:lnTo>
                      <a:pt x="1665" y="217"/>
                    </a:lnTo>
                    <a:lnTo>
                      <a:pt x="1660" y="213"/>
                    </a:lnTo>
                    <a:lnTo>
                      <a:pt x="1657" y="210"/>
                    </a:lnTo>
                    <a:lnTo>
                      <a:pt x="1655" y="207"/>
                    </a:lnTo>
                    <a:lnTo>
                      <a:pt x="1653" y="205"/>
                    </a:lnTo>
                    <a:lnTo>
                      <a:pt x="1650" y="202"/>
                    </a:lnTo>
                    <a:lnTo>
                      <a:pt x="1646" y="201"/>
                    </a:lnTo>
                    <a:lnTo>
                      <a:pt x="1643" y="201"/>
                    </a:lnTo>
                    <a:lnTo>
                      <a:pt x="1640" y="203"/>
                    </a:lnTo>
                    <a:lnTo>
                      <a:pt x="1637" y="204"/>
                    </a:lnTo>
                    <a:lnTo>
                      <a:pt x="1634" y="205"/>
                    </a:lnTo>
                    <a:lnTo>
                      <a:pt x="1632" y="203"/>
                    </a:lnTo>
                    <a:lnTo>
                      <a:pt x="1630" y="202"/>
                    </a:lnTo>
                    <a:lnTo>
                      <a:pt x="1628" y="200"/>
                    </a:lnTo>
                    <a:lnTo>
                      <a:pt x="1626" y="198"/>
                    </a:lnTo>
                    <a:lnTo>
                      <a:pt x="1624" y="195"/>
                    </a:lnTo>
                    <a:lnTo>
                      <a:pt x="1623" y="193"/>
                    </a:lnTo>
                    <a:lnTo>
                      <a:pt x="1623" y="189"/>
                    </a:lnTo>
                    <a:lnTo>
                      <a:pt x="1623" y="186"/>
                    </a:lnTo>
                    <a:lnTo>
                      <a:pt x="1624" y="184"/>
                    </a:lnTo>
                    <a:lnTo>
                      <a:pt x="1625" y="184"/>
                    </a:lnTo>
                    <a:lnTo>
                      <a:pt x="1627" y="183"/>
                    </a:lnTo>
                    <a:lnTo>
                      <a:pt x="1629" y="183"/>
                    </a:lnTo>
                    <a:lnTo>
                      <a:pt x="1630" y="184"/>
                    </a:lnTo>
                    <a:lnTo>
                      <a:pt x="1632" y="184"/>
                    </a:lnTo>
                    <a:lnTo>
                      <a:pt x="1633" y="184"/>
                    </a:lnTo>
                    <a:lnTo>
                      <a:pt x="1633" y="183"/>
                    </a:lnTo>
                    <a:lnTo>
                      <a:pt x="1634" y="182"/>
                    </a:lnTo>
                    <a:lnTo>
                      <a:pt x="1633" y="178"/>
                    </a:lnTo>
                    <a:lnTo>
                      <a:pt x="1632" y="175"/>
                    </a:lnTo>
                    <a:lnTo>
                      <a:pt x="1630" y="173"/>
                    </a:lnTo>
                    <a:lnTo>
                      <a:pt x="1628" y="171"/>
                    </a:lnTo>
                    <a:lnTo>
                      <a:pt x="1625" y="170"/>
                    </a:lnTo>
                    <a:lnTo>
                      <a:pt x="1621" y="168"/>
                    </a:lnTo>
                    <a:lnTo>
                      <a:pt x="1617" y="168"/>
                    </a:lnTo>
                    <a:lnTo>
                      <a:pt x="1613" y="168"/>
                    </a:lnTo>
                    <a:lnTo>
                      <a:pt x="1610" y="166"/>
                    </a:lnTo>
                    <a:lnTo>
                      <a:pt x="1609" y="163"/>
                    </a:lnTo>
                    <a:lnTo>
                      <a:pt x="1608" y="161"/>
                    </a:lnTo>
                    <a:lnTo>
                      <a:pt x="1609" y="158"/>
                    </a:lnTo>
                    <a:lnTo>
                      <a:pt x="1611" y="156"/>
                    </a:lnTo>
                    <a:lnTo>
                      <a:pt x="1613" y="155"/>
                    </a:lnTo>
                    <a:lnTo>
                      <a:pt x="1615" y="155"/>
                    </a:lnTo>
                    <a:lnTo>
                      <a:pt x="1618" y="155"/>
                    </a:lnTo>
                    <a:lnTo>
                      <a:pt x="1621" y="156"/>
                    </a:lnTo>
                    <a:lnTo>
                      <a:pt x="1624" y="155"/>
                    </a:lnTo>
                    <a:lnTo>
                      <a:pt x="1626" y="155"/>
                    </a:lnTo>
                    <a:lnTo>
                      <a:pt x="1628" y="153"/>
                    </a:lnTo>
                    <a:lnTo>
                      <a:pt x="1629" y="152"/>
                    </a:lnTo>
                    <a:lnTo>
                      <a:pt x="1630" y="150"/>
                    </a:lnTo>
                    <a:lnTo>
                      <a:pt x="1630" y="147"/>
                    </a:lnTo>
                    <a:lnTo>
                      <a:pt x="1629" y="144"/>
                    </a:lnTo>
                    <a:lnTo>
                      <a:pt x="1627" y="142"/>
                    </a:lnTo>
                    <a:lnTo>
                      <a:pt x="1625" y="140"/>
                    </a:lnTo>
                    <a:lnTo>
                      <a:pt x="1622" y="138"/>
                    </a:lnTo>
                    <a:lnTo>
                      <a:pt x="1619" y="137"/>
                    </a:lnTo>
                    <a:lnTo>
                      <a:pt x="1617" y="136"/>
                    </a:lnTo>
                    <a:lnTo>
                      <a:pt x="1615" y="136"/>
                    </a:lnTo>
                    <a:lnTo>
                      <a:pt x="1614" y="136"/>
                    </a:lnTo>
                    <a:lnTo>
                      <a:pt x="1612" y="137"/>
                    </a:lnTo>
                    <a:lnTo>
                      <a:pt x="1610" y="138"/>
                    </a:lnTo>
                    <a:lnTo>
                      <a:pt x="1609" y="140"/>
                    </a:lnTo>
                    <a:lnTo>
                      <a:pt x="1607" y="141"/>
                    </a:lnTo>
                    <a:lnTo>
                      <a:pt x="1605" y="141"/>
                    </a:lnTo>
                    <a:lnTo>
                      <a:pt x="1604" y="140"/>
                    </a:lnTo>
                    <a:lnTo>
                      <a:pt x="1602" y="139"/>
                    </a:lnTo>
                    <a:lnTo>
                      <a:pt x="1601" y="136"/>
                    </a:lnTo>
                    <a:lnTo>
                      <a:pt x="1600" y="133"/>
                    </a:lnTo>
                    <a:lnTo>
                      <a:pt x="1601" y="132"/>
                    </a:lnTo>
                    <a:lnTo>
                      <a:pt x="1601" y="131"/>
                    </a:lnTo>
                    <a:lnTo>
                      <a:pt x="1602" y="131"/>
                    </a:lnTo>
                    <a:lnTo>
                      <a:pt x="1604" y="130"/>
                    </a:lnTo>
                    <a:lnTo>
                      <a:pt x="1604" y="129"/>
                    </a:lnTo>
                    <a:lnTo>
                      <a:pt x="1605" y="129"/>
                    </a:lnTo>
                    <a:lnTo>
                      <a:pt x="1606" y="127"/>
                    </a:lnTo>
                    <a:lnTo>
                      <a:pt x="1606" y="125"/>
                    </a:lnTo>
                    <a:lnTo>
                      <a:pt x="1607" y="122"/>
                    </a:lnTo>
                    <a:lnTo>
                      <a:pt x="1607" y="119"/>
                    </a:lnTo>
                    <a:lnTo>
                      <a:pt x="1607" y="117"/>
                    </a:lnTo>
                    <a:lnTo>
                      <a:pt x="1607" y="115"/>
                    </a:lnTo>
                    <a:lnTo>
                      <a:pt x="1608" y="114"/>
                    </a:lnTo>
                    <a:lnTo>
                      <a:pt x="1609" y="113"/>
                    </a:lnTo>
                    <a:lnTo>
                      <a:pt x="1611" y="113"/>
                    </a:lnTo>
                    <a:lnTo>
                      <a:pt x="1612" y="114"/>
                    </a:lnTo>
                    <a:lnTo>
                      <a:pt x="1613" y="117"/>
                    </a:lnTo>
                    <a:lnTo>
                      <a:pt x="1614" y="118"/>
                    </a:lnTo>
                    <a:lnTo>
                      <a:pt x="1615" y="119"/>
                    </a:lnTo>
                    <a:lnTo>
                      <a:pt x="1616" y="120"/>
                    </a:lnTo>
                    <a:lnTo>
                      <a:pt x="1617" y="120"/>
                    </a:lnTo>
                    <a:lnTo>
                      <a:pt x="1618" y="120"/>
                    </a:lnTo>
                    <a:lnTo>
                      <a:pt x="1618" y="120"/>
                    </a:lnTo>
                    <a:lnTo>
                      <a:pt x="1617" y="119"/>
                    </a:lnTo>
                    <a:lnTo>
                      <a:pt x="1617" y="117"/>
                    </a:lnTo>
                    <a:lnTo>
                      <a:pt x="1617" y="115"/>
                    </a:lnTo>
                    <a:lnTo>
                      <a:pt x="1616" y="113"/>
                    </a:lnTo>
                    <a:lnTo>
                      <a:pt x="1616" y="111"/>
                    </a:lnTo>
                    <a:lnTo>
                      <a:pt x="1616" y="109"/>
                    </a:lnTo>
                    <a:lnTo>
                      <a:pt x="1616" y="107"/>
                    </a:lnTo>
                    <a:lnTo>
                      <a:pt x="1616" y="106"/>
                    </a:lnTo>
                    <a:lnTo>
                      <a:pt x="1618" y="106"/>
                    </a:lnTo>
                    <a:close/>
                    <a:moveTo>
                      <a:pt x="2238" y="70"/>
                    </a:moveTo>
                    <a:lnTo>
                      <a:pt x="2239" y="71"/>
                    </a:lnTo>
                    <a:lnTo>
                      <a:pt x="2240" y="73"/>
                    </a:lnTo>
                    <a:lnTo>
                      <a:pt x="2240" y="75"/>
                    </a:lnTo>
                    <a:lnTo>
                      <a:pt x="2240" y="79"/>
                    </a:lnTo>
                    <a:lnTo>
                      <a:pt x="2240" y="81"/>
                    </a:lnTo>
                    <a:lnTo>
                      <a:pt x="2240" y="83"/>
                    </a:lnTo>
                    <a:lnTo>
                      <a:pt x="2239" y="84"/>
                    </a:lnTo>
                    <a:lnTo>
                      <a:pt x="2239" y="84"/>
                    </a:lnTo>
                    <a:lnTo>
                      <a:pt x="2237" y="82"/>
                    </a:lnTo>
                    <a:lnTo>
                      <a:pt x="2236" y="80"/>
                    </a:lnTo>
                    <a:lnTo>
                      <a:pt x="2236" y="77"/>
                    </a:lnTo>
                    <a:lnTo>
                      <a:pt x="2235" y="74"/>
                    </a:lnTo>
                    <a:lnTo>
                      <a:pt x="2235" y="72"/>
                    </a:lnTo>
                    <a:lnTo>
                      <a:pt x="2236" y="71"/>
                    </a:lnTo>
                    <a:lnTo>
                      <a:pt x="2237" y="70"/>
                    </a:lnTo>
                    <a:lnTo>
                      <a:pt x="2238" y="70"/>
                    </a:lnTo>
                    <a:close/>
                    <a:moveTo>
                      <a:pt x="642" y="53"/>
                    </a:moveTo>
                    <a:lnTo>
                      <a:pt x="645" y="55"/>
                    </a:lnTo>
                    <a:lnTo>
                      <a:pt x="647" y="59"/>
                    </a:lnTo>
                    <a:lnTo>
                      <a:pt x="648" y="63"/>
                    </a:lnTo>
                    <a:lnTo>
                      <a:pt x="649" y="68"/>
                    </a:lnTo>
                    <a:lnTo>
                      <a:pt x="652" y="71"/>
                    </a:lnTo>
                    <a:lnTo>
                      <a:pt x="654" y="72"/>
                    </a:lnTo>
                    <a:lnTo>
                      <a:pt x="656" y="73"/>
                    </a:lnTo>
                    <a:lnTo>
                      <a:pt x="659" y="73"/>
                    </a:lnTo>
                    <a:lnTo>
                      <a:pt x="662" y="73"/>
                    </a:lnTo>
                    <a:lnTo>
                      <a:pt x="665" y="73"/>
                    </a:lnTo>
                    <a:lnTo>
                      <a:pt x="667" y="75"/>
                    </a:lnTo>
                    <a:lnTo>
                      <a:pt x="669" y="76"/>
                    </a:lnTo>
                    <a:lnTo>
                      <a:pt x="670" y="80"/>
                    </a:lnTo>
                    <a:lnTo>
                      <a:pt x="672" y="82"/>
                    </a:lnTo>
                    <a:lnTo>
                      <a:pt x="672" y="83"/>
                    </a:lnTo>
                    <a:lnTo>
                      <a:pt x="674" y="87"/>
                    </a:lnTo>
                    <a:lnTo>
                      <a:pt x="678" y="90"/>
                    </a:lnTo>
                    <a:lnTo>
                      <a:pt x="683" y="92"/>
                    </a:lnTo>
                    <a:lnTo>
                      <a:pt x="689" y="93"/>
                    </a:lnTo>
                    <a:lnTo>
                      <a:pt x="693" y="93"/>
                    </a:lnTo>
                    <a:lnTo>
                      <a:pt x="700" y="96"/>
                    </a:lnTo>
                    <a:lnTo>
                      <a:pt x="705" y="101"/>
                    </a:lnTo>
                    <a:lnTo>
                      <a:pt x="709" y="106"/>
                    </a:lnTo>
                    <a:lnTo>
                      <a:pt x="715" y="111"/>
                    </a:lnTo>
                    <a:lnTo>
                      <a:pt x="724" y="119"/>
                    </a:lnTo>
                    <a:lnTo>
                      <a:pt x="729" y="129"/>
                    </a:lnTo>
                    <a:lnTo>
                      <a:pt x="729" y="141"/>
                    </a:lnTo>
                    <a:lnTo>
                      <a:pt x="727" y="144"/>
                    </a:lnTo>
                    <a:lnTo>
                      <a:pt x="723" y="146"/>
                    </a:lnTo>
                    <a:lnTo>
                      <a:pt x="717" y="145"/>
                    </a:lnTo>
                    <a:lnTo>
                      <a:pt x="712" y="143"/>
                    </a:lnTo>
                    <a:lnTo>
                      <a:pt x="709" y="141"/>
                    </a:lnTo>
                    <a:lnTo>
                      <a:pt x="707" y="140"/>
                    </a:lnTo>
                    <a:lnTo>
                      <a:pt x="705" y="138"/>
                    </a:lnTo>
                    <a:lnTo>
                      <a:pt x="703" y="137"/>
                    </a:lnTo>
                    <a:lnTo>
                      <a:pt x="700" y="137"/>
                    </a:lnTo>
                    <a:lnTo>
                      <a:pt x="698" y="138"/>
                    </a:lnTo>
                    <a:lnTo>
                      <a:pt x="697" y="138"/>
                    </a:lnTo>
                    <a:lnTo>
                      <a:pt x="695" y="137"/>
                    </a:lnTo>
                    <a:lnTo>
                      <a:pt x="693" y="135"/>
                    </a:lnTo>
                    <a:lnTo>
                      <a:pt x="692" y="131"/>
                    </a:lnTo>
                    <a:lnTo>
                      <a:pt x="691" y="128"/>
                    </a:lnTo>
                    <a:lnTo>
                      <a:pt x="689" y="126"/>
                    </a:lnTo>
                    <a:lnTo>
                      <a:pt x="687" y="124"/>
                    </a:lnTo>
                    <a:lnTo>
                      <a:pt x="685" y="123"/>
                    </a:lnTo>
                    <a:lnTo>
                      <a:pt x="683" y="122"/>
                    </a:lnTo>
                    <a:lnTo>
                      <a:pt x="681" y="122"/>
                    </a:lnTo>
                    <a:lnTo>
                      <a:pt x="680" y="123"/>
                    </a:lnTo>
                    <a:lnTo>
                      <a:pt x="678" y="125"/>
                    </a:lnTo>
                    <a:lnTo>
                      <a:pt x="677" y="127"/>
                    </a:lnTo>
                    <a:lnTo>
                      <a:pt x="676" y="130"/>
                    </a:lnTo>
                    <a:lnTo>
                      <a:pt x="676" y="132"/>
                    </a:lnTo>
                    <a:lnTo>
                      <a:pt x="676" y="135"/>
                    </a:lnTo>
                    <a:lnTo>
                      <a:pt x="676" y="138"/>
                    </a:lnTo>
                    <a:lnTo>
                      <a:pt x="675" y="140"/>
                    </a:lnTo>
                    <a:lnTo>
                      <a:pt x="674" y="141"/>
                    </a:lnTo>
                    <a:lnTo>
                      <a:pt x="672" y="142"/>
                    </a:lnTo>
                    <a:lnTo>
                      <a:pt x="669" y="142"/>
                    </a:lnTo>
                    <a:lnTo>
                      <a:pt x="667" y="143"/>
                    </a:lnTo>
                    <a:lnTo>
                      <a:pt x="665" y="143"/>
                    </a:lnTo>
                    <a:lnTo>
                      <a:pt x="663" y="143"/>
                    </a:lnTo>
                    <a:lnTo>
                      <a:pt x="661" y="144"/>
                    </a:lnTo>
                    <a:lnTo>
                      <a:pt x="659" y="145"/>
                    </a:lnTo>
                    <a:lnTo>
                      <a:pt x="655" y="150"/>
                    </a:lnTo>
                    <a:lnTo>
                      <a:pt x="652" y="154"/>
                    </a:lnTo>
                    <a:lnTo>
                      <a:pt x="648" y="158"/>
                    </a:lnTo>
                    <a:lnTo>
                      <a:pt x="643" y="161"/>
                    </a:lnTo>
                    <a:lnTo>
                      <a:pt x="636" y="161"/>
                    </a:lnTo>
                    <a:lnTo>
                      <a:pt x="634" y="159"/>
                    </a:lnTo>
                    <a:lnTo>
                      <a:pt x="633" y="157"/>
                    </a:lnTo>
                    <a:lnTo>
                      <a:pt x="632" y="155"/>
                    </a:lnTo>
                    <a:lnTo>
                      <a:pt x="632" y="153"/>
                    </a:lnTo>
                    <a:lnTo>
                      <a:pt x="632" y="151"/>
                    </a:lnTo>
                    <a:lnTo>
                      <a:pt x="632" y="149"/>
                    </a:lnTo>
                    <a:lnTo>
                      <a:pt x="630" y="147"/>
                    </a:lnTo>
                    <a:lnTo>
                      <a:pt x="629" y="146"/>
                    </a:lnTo>
                    <a:lnTo>
                      <a:pt x="627" y="145"/>
                    </a:lnTo>
                    <a:lnTo>
                      <a:pt x="624" y="145"/>
                    </a:lnTo>
                    <a:lnTo>
                      <a:pt x="622" y="144"/>
                    </a:lnTo>
                    <a:lnTo>
                      <a:pt x="620" y="144"/>
                    </a:lnTo>
                    <a:lnTo>
                      <a:pt x="616" y="143"/>
                    </a:lnTo>
                    <a:lnTo>
                      <a:pt x="614" y="143"/>
                    </a:lnTo>
                    <a:lnTo>
                      <a:pt x="611" y="142"/>
                    </a:lnTo>
                    <a:lnTo>
                      <a:pt x="609" y="141"/>
                    </a:lnTo>
                    <a:lnTo>
                      <a:pt x="607" y="140"/>
                    </a:lnTo>
                    <a:lnTo>
                      <a:pt x="607" y="138"/>
                    </a:lnTo>
                    <a:lnTo>
                      <a:pt x="607" y="136"/>
                    </a:lnTo>
                    <a:lnTo>
                      <a:pt x="608" y="132"/>
                    </a:lnTo>
                    <a:lnTo>
                      <a:pt x="609" y="131"/>
                    </a:lnTo>
                    <a:lnTo>
                      <a:pt x="611" y="129"/>
                    </a:lnTo>
                    <a:lnTo>
                      <a:pt x="614" y="128"/>
                    </a:lnTo>
                    <a:lnTo>
                      <a:pt x="616" y="127"/>
                    </a:lnTo>
                    <a:lnTo>
                      <a:pt x="618" y="126"/>
                    </a:lnTo>
                    <a:lnTo>
                      <a:pt x="620" y="124"/>
                    </a:lnTo>
                    <a:lnTo>
                      <a:pt x="624" y="121"/>
                    </a:lnTo>
                    <a:lnTo>
                      <a:pt x="627" y="117"/>
                    </a:lnTo>
                    <a:lnTo>
                      <a:pt x="630" y="113"/>
                    </a:lnTo>
                    <a:lnTo>
                      <a:pt x="633" y="111"/>
                    </a:lnTo>
                    <a:lnTo>
                      <a:pt x="635" y="109"/>
                    </a:lnTo>
                    <a:lnTo>
                      <a:pt x="637" y="107"/>
                    </a:lnTo>
                    <a:lnTo>
                      <a:pt x="638" y="105"/>
                    </a:lnTo>
                    <a:lnTo>
                      <a:pt x="639" y="103"/>
                    </a:lnTo>
                    <a:lnTo>
                      <a:pt x="638" y="101"/>
                    </a:lnTo>
                    <a:lnTo>
                      <a:pt x="636" y="99"/>
                    </a:lnTo>
                    <a:lnTo>
                      <a:pt x="632" y="97"/>
                    </a:lnTo>
                    <a:lnTo>
                      <a:pt x="630" y="96"/>
                    </a:lnTo>
                    <a:lnTo>
                      <a:pt x="629" y="96"/>
                    </a:lnTo>
                    <a:lnTo>
                      <a:pt x="627" y="95"/>
                    </a:lnTo>
                    <a:lnTo>
                      <a:pt x="625" y="94"/>
                    </a:lnTo>
                    <a:lnTo>
                      <a:pt x="624" y="93"/>
                    </a:lnTo>
                    <a:lnTo>
                      <a:pt x="624" y="91"/>
                    </a:lnTo>
                    <a:lnTo>
                      <a:pt x="624" y="89"/>
                    </a:lnTo>
                    <a:lnTo>
                      <a:pt x="624" y="87"/>
                    </a:lnTo>
                    <a:lnTo>
                      <a:pt x="625" y="84"/>
                    </a:lnTo>
                    <a:lnTo>
                      <a:pt x="625" y="81"/>
                    </a:lnTo>
                    <a:lnTo>
                      <a:pt x="626" y="77"/>
                    </a:lnTo>
                    <a:lnTo>
                      <a:pt x="627" y="71"/>
                    </a:lnTo>
                    <a:lnTo>
                      <a:pt x="629" y="64"/>
                    </a:lnTo>
                    <a:lnTo>
                      <a:pt x="631" y="58"/>
                    </a:lnTo>
                    <a:lnTo>
                      <a:pt x="635" y="54"/>
                    </a:lnTo>
                    <a:lnTo>
                      <a:pt x="642" y="53"/>
                    </a:lnTo>
                    <a:close/>
                    <a:moveTo>
                      <a:pt x="81" y="46"/>
                    </a:moveTo>
                    <a:lnTo>
                      <a:pt x="79" y="46"/>
                    </a:lnTo>
                    <a:lnTo>
                      <a:pt x="77" y="47"/>
                    </a:lnTo>
                    <a:lnTo>
                      <a:pt x="75" y="48"/>
                    </a:lnTo>
                    <a:lnTo>
                      <a:pt x="72" y="49"/>
                    </a:lnTo>
                    <a:lnTo>
                      <a:pt x="70" y="50"/>
                    </a:lnTo>
                    <a:lnTo>
                      <a:pt x="67" y="53"/>
                    </a:lnTo>
                    <a:lnTo>
                      <a:pt x="64" y="55"/>
                    </a:lnTo>
                    <a:lnTo>
                      <a:pt x="61" y="57"/>
                    </a:lnTo>
                    <a:lnTo>
                      <a:pt x="58" y="59"/>
                    </a:lnTo>
                    <a:lnTo>
                      <a:pt x="55" y="61"/>
                    </a:lnTo>
                    <a:lnTo>
                      <a:pt x="50" y="64"/>
                    </a:lnTo>
                    <a:lnTo>
                      <a:pt x="47" y="66"/>
                    </a:lnTo>
                    <a:lnTo>
                      <a:pt x="43" y="69"/>
                    </a:lnTo>
                    <a:lnTo>
                      <a:pt x="32" y="72"/>
                    </a:lnTo>
                    <a:lnTo>
                      <a:pt x="21" y="77"/>
                    </a:lnTo>
                    <a:lnTo>
                      <a:pt x="18" y="80"/>
                    </a:lnTo>
                    <a:lnTo>
                      <a:pt x="13" y="82"/>
                    </a:lnTo>
                    <a:lnTo>
                      <a:pt x="7" y="83"/>
                    </a:lnTo>
                    <a:lnTo>
                      <a:pt x="3" y="85"/>
                    </a:lnTo>
                    <a:lnTo>
                      <a:pt x="0" y="90"/>
                    </a:lnTo>
                    <a:lnTo>
                      <a:pt x="2" y="91"/>
                    </a:lnTo>
                    <a:lnTo>
                      <a:pt x="3" y="92"/>
                    </a:lnTo>
                    <a:lnTo>
                      <a:pt x="5" y="92"/>
                    </a:lnTo>
                    <a:lnTo>
                      <a:pt x="6" y="92"/>
                    </a:lnTo>
                    <a:lnTo>
                      <a:pt x="8" y="91"/>
                    </a:lnTo>
                    <a:lnTo>
                      <a:pt x="9" y="90"/>
                    </a:lnTo>
                    <a:lnTo>
                      <a:pt x="13" y="87"/>
                    </a:lnTo>
                    <a:lnTo>
                      <a:pt x="16" y="85"/>
                    </a:lnTo>
                    <a:lnTo>
                      <a:pt x="20" y="84"/>
                    </a:lnTo>
                    <a:lnTo>
                      <a:pt x="23" y="84"/>
                    </a:lnTo>
                    <a:lnTo>
                      <a:pt x="27" y="82"/>
                    </a:lnTo>
                    <a:lnTo>
                      <a:pt x="30" y="81"/>
                    </a:lnTo>
                    <a:lnTo>
                      <a:pt x="34" y="79"/>
                    </a:lnTo>
                    <a:lnTo>
                      <a:pt x="37" y="77"/>
                    </a:lnTo>
                    <a:lnTo>
                      <a:pt x="39" y="77"/>
                    </a:lnTo>
                    <a:lnTo>
                      <a:pt x="41" y="77"/>
                    </a:lnTo>
                    <a:lnTo>
                      <a:pt x="43" y="79"/>
                    </a:lnTo>
                    <a:lnTo>
                      <a:pt x="45" y="80"/>
                    </a:lnTo>
                    <a:lnTo>
                      <a:pt x="47" y="82"/>
                    </a:lnTo>
                    <a:lnTo>
                      <a:pt x="47" y="84"/>
                    </a:lnTo>
                    <a:lnTo>
                      <a:pt x="47" y="90"/>
                    </a:lnTo>
                    <a:lnTo>
                      <a:pt x="45" y="95"/>
                    </a:lnTo>
                    <a:lnTo>
                      <a:pt x="42" y="99"/>
                    </a:lnTo>
                    <a:lnTo>
                      <a:pt x="37" y="102"/>
                    </a:lnTo>
                    <a:lnTo>
                      <a:pt x="31" y="107"/>
                    </a:lnTo>
                    <a:lnTo>
                      <a:pt x="26" y="112"/>
                    </a:lnTo>
                    <a:lnTo>
                      <a:pt x="24" y="118"/>
                    </a:lnTo>
                    <a:lnTo>
                      <a:pt x="27" y="124"/>
                    </a:lnTo>
                    <a:lnTo>
                      <a:pt x="31" y="126"/>
                    </a:lnTo>
                    <a:lnTo>
                      <a:pt x="35" y="125"/>
                    </a:lnTo>
                    <a:lnTo>
                      <a:pt x="40" y="122"/>
                    </a:lnTo>
                    <a:lnTo>
                      <a:pt x="44" y="118"/>
                    </a:lnTo>
                    <a:lnTo>
                      <a:pt x="47" y="114"/>
                    </a:lnTo>
                    <a:lnTo>
                      <a:pt x="49" y="111"/>
                    </a:lnTo>
                    <a:lnTo>
                      <a:pt x="50" y="108"/>
                    </a:lnTo>
                    <a:lnTo>
                      <a:pt x="51" y="106"/>
                    </a:lnTo>
                    <a:lnTo>
                      <a:pt x="54" y="103"/>
                    </a:lnTo>
                    <a:lnTo>
                      <a:pt x="56" y="102"/>
                    </a:lnTo>
                    <a:lnTo>
                      <a:pt x="58" y="102"/>
                    </a:lnTo>
                    <a:lnTo>
                      <a:pt x="59" y="103"/>
                    </a:lnTo>
                    <a:lnTo>
                      <a:pt x="59" y="104"/>
                    </a:lnTo>
                    <a:lnTo>
                      <a:pt x="58" y="106"/>
                    </a:lnTo>
                    <a:lnTo>
                      <a:pt x="58" y="108"/>
                    </a:lnTo>
                    <a:lnTo>
                      <a:pt x="57" y="111"/>
                    </a:lnTo>
                    <a:lnTo>
                      <a:pt x="55" y="114"/>
                    </a:lnTo>
                    <a:lnTo>
                      <a:pt x="54" y="117"/>
                    </a:lnTo>
                    <a:lnTo>
                      <a:pt x="51" y="120"/>
                    </a:lnTo>
                    <a:lnTo>
                      <a:pt x="52" y="122"/>
                    </a:lnTo>
                    <a:lnTo>
                      <a:pt x="57" y="121"/>
                    </a:lnTo>
                    <a:lnTo>
                      <a:pt x="61" y="119"/>
                    </a:lnTo>
                    <a:lnTo>
                      <a:pt x="65" y="115"/>
                    </a:lnTo>
                    <a:lnTo>
                      <a:pt x="68" y="112"/>
                    </a:lnTo>
                    <a:lnTo>
                      <a:pt x="70" y="110"/>
                    </a:lnTo>
                    <a:lnTo>
                      <a:pt x="73" y="106"/>
                    </a:lnTo>
                    <a:lnTo>
                      <a:pt x="75" y="103"/>
                    </a:lnTo>
                    <a:lnTo>
                      <a:pt x="76" y="98"/>
                    </a:lnTo>
                    <a:lnTo>
                      <a:pt x="76" y="94"/>
                    </a:lnTo>
                    <a:lnTo>
                      <a:pt x="77" y="93"/>
                    </a:lnTo>
                    <a:lnTo>
                      <a:pt x="78" y="91"/>
                    </a:lnTo>
                    <a:lnTo>
                      <a:pt x="78" y="90"/>
                    </a:lnTo>
                    <a:lnTo>
                      <a:pt x="79" y="89"/>
                    </a:lnTo>
                    <a:lnTo>
                      <a:pt x="80" y="88"/>
                    </a:lnTo>
                    <a:lnTo>
                      <a:pt x="81" y="89"/>
                    </a:lnTo>
                    <a:lnTo>
                      <a:pt x="82" y="90"/>
                    </a:lnTo>
                    <a:lnTo>
                      <a:pt x="88" y="90"/>
                    </a:lnTo>
                    <a:lnTo>
                      <a:pt x="92" y="86"/>
                    </a:lnTo>
                    <a:lnTo>
                      <a:pt x="96" y="80"/>
                    </a:lnTo>
                    <a:lnTo>
                      <a:pt x="98" y="73"/>
                    </a:lnTo>
                    <a:lnTo>
                      <a:pt x="99" y="70"/>
                    </a:lnTo>
                    <a:lnTo>
                      <a:pt x="101" y="68"/>
                    </a:lnTo>
                    <a:lnTo>
                      <a:pt x="103" y="67"/>
                    </a:lnTo>
                    <a:lnTo>
                      <a:pt x="106" y="65"/>
                    </a:lnTo>
                    <a:lnTo>
                      <a:pt x="107" y="63"/>
                    </a:lnTo>
                    <a:lnTo>
                      <a:pt x="107" y="61"/>
                    </a:lnTo>
                    <a:lnTo>
                      <a:pt x="107" y="59"/>
                    </a:lnTo>
                    <a:lnTo>
                      <a:pt x="106" y="58"/>
                    </a:lnTo>
                    <a:lnTo>
                      <a:pt x="103" y="58"/>
                    </a:lnTo>
                    <a:lnTo>
                      <a:pt x="101" y="58"/>
                    </a:lnTo>
                    <a:lnTo>
                      <a:pt x="99" y="58"/>
                    </a:lnTo>
                    <a:lnTo>
                      <a:pt x="98" y="59"/>
                    </a:lnTo>
                    <a:lnTo>
                      <a:pt x="96" y="61"/>
                    </a:lnTo>
                    <a:lnTo>
                      <a:pt x="93" y="63"/>
                    </a:lnTo>
                    <a:lnTo>
                      <a:pt x="92" y="65"/>
                    </a:lnTo>
                    <a:lnTo>
                      <a:pt x="90" y="67"/>
                    </a:lnTo>
                    <a:lnTo>
                      <a:pt x="88" y="69"/>
                    </a:lnTo>
                    <a:lnTo>
                      <a:pt x="85" y="69"/>
                    </a:lnTo>
                    <a:lnTo>
                      <a:pt x="83" y="70"/>
                    </a:lnTo>
                    <a:lnTo>
                      <a:pt x="81" y="70"/>
                    </a:lnTo>
                    <a:lnTo>
                      <a:pt x="78" y="71"/>
                    </a:lnTo>
                    <a:lnTo>
                      <a:pt x="73" y="69"/>
                    </a:lnTo>
                    <a:lnTo>
                      <a:pt x="71" y="66"/>
                    </a:lnTo>
                    <a:lnTo>
                      <a:pt x="71" y="62"/>
                    </a:lnTo>
                    <a:lnTo>
                      <a:pt x="72" y="57"/>
                    </a:lnTo>
                    <a:lnTo>
                      <a:pt x="76" y="53"/>
                    </a:lnTo>
                    <a:lnTo>
                      <a:pt x="77" y="52"/>
                    </a:lnTo>
                    <a:lnTo>
                      <a:pt x="79" y="51"/>
                    </a:lnTo>
                    <a:lnTo>
                      <a:pt x="81" y="50"/>
                    </a:lnTo>
                    <a:lnTo>
                      <a:pt x="82" y="48"/>
                    </a:lnTo>
                    <a:lnTo>
                      <a:pt x="83" y="48"/>
                    </a:lnTo>
                    <a:lnTo>
                      <a:pt x="83" y="47"/>
                    </a:lnTo>
                    <a:lnTo>
                      <a:pt x="82" y="47"/>
                    </a:lnTo>
                    <a:lnTo>
                      <a:pt x="81" y="46"/>
                    </a:lnTo>
                    <a:close/>
                    <a:moveTo>
                      <a:pt x="2193" y="44"/>
                    </a:moveTo>
                    <a:lnTo>
                      <a:pt x="2194" y="44"/>
                    </a:lnTo>
                    <a:lnTo>
                      <a:pt x="2195" y="45"/>
                    </a:lnTo>
                    <a:lnTo>
                      <a:pt x="2195" y="48"/>
                    </a:lnTo>
                    <a:lnTo>
                      <a:pt x="2196" y="49"/>
                    </a:lnTo>
                    <a:lnTo>
                      <a:pt x="2197" y="52"/>
                    </a:lnTo>
                    <a:lnTo>
                      <a:pt x="2198" y="55"/>
                    </a:lnTo>
                    <a:lnTo>
                      <a:pt x="2199" y="58"/>
                    </a:lnTo>
                    <a:lnTo>
                      <a:pt x="2199" y="60"/>
                    </a:lnTo>
                    <a:lnTo>
                      <a:pt x="2198" y="60"/>
                    </a:lnTo>
                    <a:lnTo>
                      <a:pt x="2197" y="59"/>
                    </a:lnTo>
                    <a:lnTo>
                      <a:pt x="2196" y="59"/>
                    </a:lnTo>
                    <a:lnTo>
                      <a:pt x="2195" y="58"/>
                    </a:lnTo>
                    <a:lnTo>
                      <a:pt x="2195" y="57"/>
                    </a:lnTo>
                    <a:lnTo>
                      <a:pt x="2193" y="56"/>
                    </a:lnTo>
                    <a:lnTo>
                      <a:pt x="2192" y="54"/>
                    </a:lnTo>
                    <a:lnTo>
                      <a:pt x="2192" y="52"/>
                    </a:lnTo>
                    <a:lnTo>
                      <a:pt x="2192" y="51"/>
                    </a:lnTo>
                    <a:lnTo>
                      <a:pt x="2192" y="49"/>
                    </a:lnTo>
                    <a:lnTo>
                      <a:pt x="2193" y="48"/>
                    </a:lnTo>
                    <a:lnTo>
                      <a:pt x="2193" y="45"/>
                    </a:lnTo>
                    <a:lnTo>
                      <a:pt x="2193" y="44"/>
                    </a:lnTo>
                    <a:close/>
                    <a:moveTo>
                      <a:pt x="2287" y="0"/>
                    </a:moveTo>
                    <a:lnTo>
                      <a:pt x="2310" y="79"/>
                    </a:lnTo>
                    <a:lnTo>
                      <a:pt x="2330" y="159"/>
                    </a:lnTo>
                    <a:lnTo>
                      <a:pt x="2345" y="240"/>
                    </a:lnTo>
                    <a:lnTo>
                      <a:pt x="2356" y="324"/>
                    </a:lnTo>
                    <a:lnTo>
                      <a:pt x="2362" y="409"/>
                    </a:lnTo>
                    <a:lnTo>
                      <a:pt x="2350" y="417"/>
                    </a:lnTo>
                    <a:lnTo>
                      <a:pt x="2338" y="424"/>
                    </a:lnTo>
                    <a:lnTo>
                      <a:pt x="2290" y="456"/>
                    </a:lnTo>
                    <a:lnTo>
                      <a:pt x="2241" y="494"/>
                    </a:lnTo>
                    <a:lnTo>
                      <a:pt x="2191" y="536"/>
                    </a:lnTo>
                    <a:lnTo>
                      <a:pt x="2139" y="579"/>
                    </a:lnTo>
                    <a:lnTo>
                      <a:pt x="2084" y="624"/>
                    </a:lnTo>
                    <a:lnTo>
                      <a:pt x="2084" y="623"/>
                    </a:lnTo>
                    <a:lnTo>
                      <a:pt x="2085" y="622"/>
                    </a:lnTo>
                    <a:lnTo>
                      <a:pt x="2086" y="621"/>
                    </a:lnTo>
                    <a:lnTo>
                      <a:pt x="2086" y="620"/>
                    </a:lnTo>
                    <a:lnTo>
                      <a:pt x="2086" y="619"/>
                    </a:lnTo>
                    <a:lnTo>
                      <a:pt x="2087" y="619"/>
                    </a:lnTo>
                    <a:lnTo>
                      <a:pt x="2088" y="617"/>
                    </a:lnTo>
                    <a:lnTo>
                      <a:pt x="2088" y="616"/>
                    </a:lnTo>
                    <a:lnTo>
                      <a:pt x="2088" y="614"/>
                    </a:lnTo>
                    <a:lnTo>
                      <a:pt x="2087" y="614"/>
                    </a:lnTo>
                    <a:lnTo>
                      <a:pt x="2086" y="614"/>
                    </a:lnTo>
                    <a:lnTo>
                      <a:pt x="2085" y="615"/>
                    </a:lnTo>
                    <a:lnTo>
                      <a:pt x="2084" y="616"/>
                    </a:lnTo>
                    <a:lnTo>
                      <a:pt x="2084" y="616"/>
                    </a:lnTo>
                    <a:lnTo>
                      <a:pt x="2080" y="621"/>
                    </a:lnTo>
                    <a:lnTo>
                      <a:pt x="2076" y="626"/>
                    </a:lnTo>
                    <a:lnTo>
                      <a:pt x="2072" y="630"/>
                    </a:lnTo>
                    <a:lnTo>
                      <a:pt x="2072" y="630"/>
                    </a:lnTo>
                    <a:lnTo>
                      <a:pt x="2071" y="631"/>
                    </a:lnTo>
                    <a:lnTo>
                      <a:pt x="2071" y="633"/>
                    </a:lnTo>
                    <a:lnTo>
                      <a:pt x="2070" y="634"/>
                    </a:lnTo>
                    <a:lnTo>
                      <a:pt x="2070" y="636"/>
                    </a:lnTo>
                    <a:lnTo>
                      <a:pt x="2067" y="639"/>
                    </a:lnTo>
                    <a:lnTo>
                      <a:pt x="2063" y="641"/>
                    </a:lnTo>
                    <a:lnTo>
                      <a:pt x="2059" y="643"/>
                    </a:lnTo>
                    <a:lnTo>
                      <a:pt x="2059" y="643"/>
                    </a:lnTo>
                    <a:lnTo>
                      <a:pt x="2056" y="645"/>
                    </a:lnTo>
                    <a:lnTo>
                      <a:pt x="2055" y="645"/>
                    </a:lnTo>
                    <a:lnTo>
                      <a:pt x="2055" y="645"/>
                    </a:lnTo>
                    <a:lnTo>
                      <a:pt x="2056" y="643"/>
                    </a:lnTo>
                    <a:lnTo>
                      <a:pt x="2056" y="642"/>
                    </a:lnTo>
                    <a:lnTo>
                      <a:pt x="2055" y="640"/>
                    </a:lnTo>
                    <a:lnTo>
                      <a:pt x="2055" y="639"/>
                    </a:lnTo>
                    <a:lnTo>
                      <a:pt x="2054" y="636"/>
                    </a:lnTo>
                    <a:lnTo>
                      <a:pt x="2054" y="633"/>
                    </a:lnTo>
                    <a:lnTo>
                      <a:pt x="2053" y="631"/>
                    </a:lnTo>
                    <a:lnTo>
                      <a:pt x="2052" y="630"/>
                    </a:lnTo>
                    <a:lnTo>
                      <a:pt x="2051" y="629"/>
                    </a:lnTo>
                    <a:lnTo>
                      <a:pt x="2049" y="630"/>
                    </a:lnTo>
                    <a:lnTo>
                      <a:pt x="2047" y="633"/>
                    </a:lnTo>
                    <a:lnTo>
                      <a:pt x="2045" y="637"/>
                    </a:lnTo>
                    <a:lnTo>
                      <a:pt x="2043" y="642"/>
                    </a:lnTo>
                    <a:lnTo>
                      <a:pt x="2041" y="647"/>
                    </a:lnTo>
                    <a:lnTo>
                      <a:pt x="2040" y="650"/>
                    </a:lnTo>
                    <a:lnTo>
                      <a:pt x="2039" y="654"/>
                    </a:lnTo>
                    <a:lnTo>
                      <a:pt x="2039" y="657"/>
                    </a:lnTo>
                    <a:lnTo>
                      <a:pt x="2037" y="661"/>
                    </a:lnTo>
                    <a:lnTo>
                      <a:pt x="2025" y="669"/>
                    </a:lnTo>
                    <a:lnTo>
                      <a:pt x="2026" y="668"/>
                    </a:lnTo>
                    <a:lnTo>
                      <a:pt x="2026" y="666"/>
                    </a:lnTo>
                    <a:lnTo>
                      <a:pt x="2027" y="664"/>
                    </a:lnTo>
                    <a:lnTo>
                      <a:pt x="2027" y="662"/>
                    </a:lnTo>
                    <a:lnTo>
                      <a:pt x="2028" y="660"/>
                    </a:lnTo>
                    <a:lnTo>
                      <a:pt x="1967" y="704"/>
                    </a:lnTo>
                    <a:lnTo>
                      <a:pt x="1967" y="703"/>
                    </a:lnTo>
                    <a:lnTo>
                      <a:pt x="1967" y="702"/>
                    </a:lnTo>
                    <a:lnTo>
                      <a:pt x="1966" y="699"/>
                    </a:lnTo>
                    <a:lnTo>
                      <a:pt x="1966" y="697"/>
                    </a:lnTo>
                    <a:lnTo>
                      <a:pt x="1965" y="695"/>
                    </a:lnTo>
                    <a:lnTo>
                      <a:pt x="1963" y="695"/>
                    </a:lnTo>
                    <a:lnTo>
                      <a:pt x="1962" y="695"/>
                    </a:lnTo>
                    <a:lnTo>
                      <a:pt x="1961" y="695"/>
                    </a:lnTo>
                    <a:lnTo>
                      <a:pt x="1960" y="693"/>
                    </a:lnTo>
                    <a:lnTo>
                      <a:pt x="1959" y="691"/>
                    </a:lnTo>
                    <a:lnTo>
                      <a:pt x="1959" y="689"/>
                    </a:lnTo>
                    <a:lnTo>
                      <a:pt x="1957" y="687"/>
                    </a:lnTo>
                    <a:lnTo>
                      <a:pt x="1956" y="684"/>
                    </a:lnTo>
                    <a:lnTo>
                      <a:pt x="1956" y="682"/>
                    </a:lnTo>
                    <a:lnTo>
                      <a:pt x="1956" y="679"/>
                    </a:lnTo>
                    <a:lnTo>
                      <a:pt x="1955" y="676"/>
                    </a:lnTo>
                    <a:lnTo>
                      <a:pt x="1954" y="675"/>
                    </a:lnTo>
                    <a:lnTo>
                      <a:pt x="1952" y="674"/>
                    </a:lnTo>
                    <a:lnTo>
                      <a:pt x="1951" y="675"/>
                    </a:lnTo>
                    <a:lnTo>
                      <a:pt x="1949" y="676"/>
                    </a:lnTo>
                    <a:lnTo>
                      <a:pt x="1947" y="676"/>
                    </a:lnTo>
                    <a:lnTo>
                      <a:pt x="1946" y="677"/>
                    </a:lnTo>
                    <a:lnTo>
                      <a:pt x="1944" y="678"/>
                    </a:lnTo>
                    <a:lnTo>
                      <a:pt x="1943" y="678"/>
                    </a:lnTo>
                    <a:lnTo>
                      <a:pt x="1941" y="677"/>
                    </a:lnTo>
                    <a:lnTo>
                      <a:pt x="1940" y="675"/>
                    </a:lnTo>
                    <a:lnTo>
                      <a:pt x="1939" y="673"/>
                    </a:lnTo>
                    <a:lnTo>
                      <a:pt x="1938" y="672"/>
                    </a:lnTo>
                    <a:lnTo>
                      <a:pt x="1937" y="671"/>
                    </a:lnTo>
                    <a:lnTo>
                      <a:pt x="1936" y="671"/>
                    </a:lnTo>
                    <a:lnTo>
                      <a:pt x="1935" y="671"/>
                    </a:lnTo>
                    <a:lnTo>
                      <a:pt x="1934" y="673"/>
                    </a:lnTo>
                    <a:lnTo>
                      <a:pt x="1934" y="675"/>
                    </a:lnTo>
                    <a:lnTo>
                      <a:pt x="1934" y="677"/>
                    </a:lnTo>
                    <a:lnTo>
                      <a:pt x="1934" y="679"/>
                    </a:lnTo>
                    <a:lnTo>
                      <a:pt x="1935" y="681"/>
                    </a:lnTo>
                    <a:lnTo>
                      <a:pt x="1936" y="683"/>
                    </a:lnTo>
                    <a:lnTo>
                      <a:pt x="1938" y="685"/>
                    </a:lnTo>
                    <a:lnTo>
                      <a:pt x="1942" y="697"/>
                    </a:lnTo>
                    <a:lnTo>
                      <a:pt x="1944" y="709"/>
                    </a:lnTo>
                    <a:lnTo>
                      <a:pt x="1944" y="714"/>
                    </a:lnTo>
                    <a:lnTo>
                      <a:pt x="1945" y="717"/>
                    </a:lnTo>
                    <a:lnTo>
                      <a:pt x="1946" y="719"/>
                    </a:lnTo>
                    <a:lnTo>
                      <a:pt x="1948" y="721"/>
                    </a:lnTo>
                    <a:lnTo>
                      <a:pt x="1950" y="723"/>
                    </a:lnTo>
                    <a:lnTo>
                      <a:pt x="1948" y="724"/>
                    </a:lnTo>
                    <a:lnTo>
                      <a:pt x="1947" y="723"/>
                    </a:lnTo>
                    <a:lnTo>
                      <a:pt x="1945" y="722"/>
                    </a:lnTo>
                    <a:lnTo>
                      <a:pt x="1943" y="722"/>
                    </a:lnTo>
                    <a:lnTo>
                      <a:pt x="1943" y="721"/>
                    </a:lnTo>
                    <a:lnTo>
                      <a:pt x="1942" y="720"/>
                    </a:lnTo>
                    <a:lnTo>
                      <a:pt x="1942" y="720"/>
                    </a:lnTo>
                    <a:lnTo>
                      <a:pt x="1941" y="720"/>
                    </a:lnTo>
                    <a:lnTo>
                      <a:pt x="1933" y="724"/>
                    </a:lnTo>
                    <a:lnTo>
                      <a:pt x="1927" y="728"/>
                    </a:lnTo>
                    <a:lnTo>
                      <a:pt x="1926" y="727"/>
                    </a:lnTo>
                    <a:lnTo>
                      <a:pt x="1925" y="724"/>
                    </a:lnTo>
                    <a:lnTo>
                      <a:pt x="1924" y="721"/>
                    </a:lnTo>
                    <a:lnTo>
                      <a:pt x="1923" y="712"/>
                    </a:lnTo>
                    <a:lnTo>
                      <a:pt x="1923" y="701"/>
                    </a:lnTo>
                    <a:lnTo>
                      <a:pt x="1922" y="690"/>
                    </a:lnTo>
                    <a:lnTo>
                      <a:pt x="1920" y="689"/>
                    </a:lnTo>
                    <a:lnTo>
                      <a:pt x="1918" y="687"/>
                    </a:lnTo>
                    <a:lnTo>
                      <a:pt x="1916" y="687"/>
                    </a:lnTo>
                    <a:lnTo>
                      <a:pt x="1913" y="686"/>
                    </a:lnTo>
                    <a:lnTo>
                      <a:pt x="1911" y="687"/>
                    </a:lnTo>
                    <a:lnTo>
                      <a:pt x="1910" y="689"/>
                    </a:lnTo>
                    <a:lnTo>
                      <a:pt x="1908" y="692"/>
                    </a:lnTo>
                    <a:lnTo>
                      <a:pt x="1905" y="696"/>
                    </a:lnTo>
                    <a:lnTo>
                      <a:pt x="1903" y="699"/>
                    </a:lnTo>
                    <a:lnTo>
                      <a:pt x="1901" y="702"/>
                    </a:lnTo>
                    <a:lnTo>
                      <a:pt x="1899" y="705"/>
                    </a:lnTo>
                    <a:lnTo>
                      <a:pt x="1897" y="709"/>
                    </a:lnTo>
                    <a:lnTo>
                      <a:pt x="1895" y="713"/>
                    </a:lnTo>
                    <a:lnTo>
                      <a:pt x="1892" y="715"/>
                    </a:lnTo>
                    <a:lnTo>
                      <a:pt x="1889" y="717"/>
                    </a:lnTo>
                    <a:lnTo>
                      <a:pt x="1888" y="718"/>
                    </a:lnTo>
                    <a:lnTo>
                      <a:pt x="1887" y="717"/>
                    </a:lnTo>
                    <a:lnTo>
                      <a:pt x="1887" y="716"/>
                    </a:lnTo>
                    <a:lnTo>
                      <a:pt x="1886" y="715"/>
                    </a:lnTo>
                    <a:lnTo>
                      <a:pt x="1885" y="713"/>
                    </a:lnTo>
                    <a:lnTo>
                      <a:pt x="1883" y="712"/>
                    </a:lnTo>
                    <a:lnTo>
                      <a:pt x="1880" y="712"/>
                    </a:lnTo>
                    <a:lnTo>
                      <a:pt x="1878" y="713"/>
                    </a:lnTo>
                    <a:lnTo>
                      <a:pt x="1876" y="714"/>
                    </a:lnTo>
                    <a:lnTo>
                      <a:pt x="1873" y="717"/>
                    </a:lnTo>
                    <a:lnTo>
                      <a:pt x="1871" y="719"/>
                    </a:lnTo>
                    <a:lnTo>
                      <a:pt x="1869" y="725"/>
                    </a:lnTo>
                    <a:lnTo>
                      <a:pt x="1869" y="731"/>
                    </a:lnTo>
                    <a:lnTo>
                      <a:pt x="1869" y="737"/>
                    </a:lnTo>
                    <a:lnTo>
                      <a:pt x="1869" y="740"/>
                    </a:lnTo>
                    <a:lnTo>
                      <a:pt x="1868" y="743"/>
                    </a:lnTo>
                    <a:lnTo>
                      <a:pt x="1867" y="745"/>
                    </a:lnTo>
                    <a:lnTo>
                      <a:pt x="1866" y="747"/>
                    </a:lnTo>
                    <a:lnTo>
                      <a:pt x="1865" y="749"/>
                    </a:lnTo>
                    <a:lnTo>
                      <a:pt x="1864" y="752"/>
                    </a:lnTo>
                    <a:lnTo>
                      <a:pt x="1863" y="753"/>
                    </a:lnTo>
                    <a:lnTo>
                      <a:pt x="1861" y="753"/>
                    </a:lnTo>
                    <a:lnTo>
                      <a:pt x="1860" y="753"/>
                    </a:lnTo>
                    <a:lnTo>
                      <a:pt x="1859" y="754"/>
                    </a:lnTo>
                    <a:lnTo>
                      <a:pt x="1856" y="756"/>
                    </a:lnTo>
                    <a:lnTo>
                      <a:pt x="1852" y="758"/>
                    </a:lnTo>
                    <a:lnTo>
                      <a:pt x="1849" y="762"/>
                    </a:lnTo>
                    <a:lnTo>
                      <a:pt x="1846" y="766"/>
                    </a:lnTo>
                    <a:lnTo>
                      <a:pt x="1844" y="770"/>
                    </a:lnTo>
                    <a:lnTo>
                      <a:pt x="1843" y="774"/>
                    </a:lnTo>
                    <a:lnTo>
                      <a:pt x="1841" y="778"/>
                    </a:lnTo>
                    <a:lnTo>
                      <a:pt x="1841" y="782"/>
                    </a:lnTo>
                    <a:lnTo>
                      <a:pt x="1840" y="786"/>
                    </a:lnTo>
                    <a:lnTo>
                      <a:pt x="1829" y="791"/>
                    </a:lnTo>
                    <a:lnTo>
                      <a:pt x="1830" y="788"/>
                    </a:lnTo>
                    <a:lnTo>
                      <a:pt x="1797" y="807"/>
                    </a:lnTo>
                    <a:lnTo>
                      <a:pt x="1764" y="823"/>
                    </a:lnTo>
                    <a:lnTo>
                      <a:pt x="1764" y="822"/>
                    </a:lnTo>
                    <a:lnTo>
                      <a:pt x="1763" y="821"/>
                    </a:lnTo>
                    <a:lnTo>
                      <a:pt x="1762" y="821"/>
                    </a:lnTo>
                    <a:lnTo>
                      <a:pt x="1762" y="817"/>
                    </a:lnTo>
                    <a:lnTo>
                      <a:pt x="1762" y="813"/>
                    </a:lnTo>
                    <a:lnTo>
                      <a:pt x="1764" y="809"/>
                    </a:lnTo>
                    <a:lnTo>
                      <a:pt x="1769" y="790"/>
                    </a:lnTo>
                    <a:lnTo>
                      <a:pt x="1773" y="774"/>
                    </a:lnTo>
                    <a:lnTo>
                      <a:pt x="1774" y="764"/>
                    </a:lnTo>
                    <a:lnTo>
                      <a:pt x="1775" y="754"/>
                    </a:lnTo>
                    <a:lnTo>
                      <a:pt x="1775" y="751"/>
                    </a:lnTo>
                    <a:lnTo>
                      <a:pt x="1774" y="747"/>
                    </a:lnTo>
                    <a:lnTo>
                      <a:pt x="1774" y="743"/>
                    </a:lnTo>
                    <a:lnTo>
                      <a:pt x="1773" y="739"/>
                    </a:lnTo>
                    <a:lnTo>
                      <a:pt x="1774" y="735"/>
                    </a:lnTo>
                    <a:lnTo>
                      <a:pt x="1776" y="729"/>
                    </a:lnTo>
                    <a:lnTo>
                      <a:pt x="1778" y="722"/>
                    </a:lnTo>
                    <a:lnTo>
                      <a:pt x="1779" y="719"/>
                    </a:lnTo>
                    <a:lnTo>
                      <a:pt x="1781" y="720"/>
                    </a:lnTo>
                    <a:lnTo>
                      <a:pt x="1783" y="721"/>
                    </a:lnTo>
                    <a:lnTo>
                      <a:pt x="1784" y="722"/>
                    </a:lnTo>
                    <a:lnTo>
                      <a:pt x="1786" y="723"/>
                    </a:lnTo>
                    <a:lnTo>
                      <a:pt x="1787" y="723"/>
                    </a:lnTo>
                    <a:lnTo>
                      <a:pt x="1789" y="724"/>
                    </a:lnTo>
                    <a:lnTo>
                      <a:pt x="1791" y="724"/>
                    </a:lnTo>
                    <a:lnTo>
                      <a:pt x="1793" y="723"/>
                    </a:lnTo>
                    <a:lnTo>
                      <a:pt x="1795" y="723"/>
                    </a:lnTo>
                    <a:lnTo>
                      <a:pt x="1797" y="721"/>
                    </a:lnTo>
                    <a:lnTo>
                      <a:pt x="1801" y="719"/>
                    </a:lnTo>
                    <a:lnTo>
                      <a:pt x="1806" y="718"/>
                    </a:lnTo>
                    <a:lnTo>
                      <a:pt x="1810" y="717"/>
                    </a:lnTo>
                    <a:lnTo>
                      <a:pt x="1812" y="719"/>
                    </a:lnTo>
                    <a:lnTo>
                      <a:pt x="1815" y="719"/>
                    </a:lnTo>
                    <a:lnTo>
                      <a:pt x="1817" y="719"/>
                    </a:lnTo>
                    <a:lnTo>
                      <a:pt x="1820" y="719"/>
                    </a:lnTo>
                    <a:lnTo>
                      <a:pt x="1825" y="720"/>
                    </a:lnTo>
                    <a:lnTo>
                      <a:pt x="1830" y="721"/>
                    </a:lnTo>
                    <a:lnTo>
                      <a:pt x="1836" y="717"/>
                    </a:lnTo>
                    <a:lnTo>
                      <a:pt x="1837" y="716"/>
                    </a:lnTo>
                    <a:lnTo>
                      <a:pt x="1838" y="713"/>
                    </a:lnTo>
                    <a:lnTo>
                      <a:pt x="1838" y="711"/>
                    </a:lnTo>
                    <a:lnTo>
                      <a:pt x="1838" y="708"/>
                    </a:lnTo>
                    <a:lnTo>
                      <a:pt x="1838" y="705"/>
                    </a:lnTo>
                    <a:lnTo>
                      <a:pt x="1839" y="703"/>
                    </a:lnTo>
                    <a:lnTo>
                      <a:pt x="1840" y="701"/>
                    </a:lnTo>
                    <a:lnTo>
                      <a:pt x="1840" y="699"/>
                    </a:lnTo>
                    <a:lnTo>
                      <a:pt x="1841" y="698"/>
                    </a:lnTo>
                    <a:lnTo>
                      <a:pt x="1841" y="696"/>
                    </a:lnTo>
                    <a:lnTo>
                      <a:pt x="1842" y="693"/>
                    </a:lnTo>
                    <a:lnTo>
                      <a:pt x="1842" y="690"/>
                    </a:lnTo>
                    <a:lnTo>
                      <a:pt x="1843" y="685"/>
                    </a:lnTo>
                    <a:lnTo>
                      <a:pt x="1844" y="681"/>
                    </a:lnTo>
                    <a:lnTo>
                      <a:pt x="1845" y="677"/>
                    </a:lnTo>
                    <a:lnTo>
                      <a:pt x="1844" y="671"/>
                    </a:lnTo>
                    <a:lnTo>
                      <a:pt x="1844" y="668"/>
                    </a:lnTo>
                    <a:lnTo>
                      <a:pt x="1844" y="665"/>
                    </a:lnTo>
                    <a:lnTo>
                      <a:pt x="1843" y="663"/>
                    </a:lnTo>
                    <a:lnTo>
                      <a:pt x="1842" y="660"/>
                    </a:lnTo>
                    <a:lnTo>
                      <a:pt x="1840" y="659"/>
                    </a:lnTo>
                    <a:lnTo>
                      <a:pt x="1840" y="658"/>
                    </a:lnTo>
                    <a:lnTo>
                      <a:pt x="1840" y="657"/>
                    </a:lnTo>
                    <a:lnTo>
                      <a:pt x="1839" y="656"/>
                    </a:lnTo>
                    <a:lnTo>
                      <a:pt x="1838" y="654"/>
                    </a:lnTo>
                    <a:lnTo>
                      <a:pt x="1838" y="653"/>
                    </a:lnTo>
                    <a:lnTo>
                      <a:pt x="1838" y="651"/>
                    </a:lnTo>
                    <a:lnTo>
                      <a:pt x="1839" y="649"/>
                    </a:lnTo>
                    <a:lnTo>
                      <a:pt x="1839" y="647"/>
                    </a:lnTo>
                    <a:lnTo>
                      <a:pt x="1839" y="645"/>
                    </a:lnTo>
                    <a:lnTo>
                      <a:pt x="1838" y="643"/>
                    </a:lnTo>
                    <a:lnTo>
                      <a:pt x="1836" y="641"/>
                    </a:lnTo>
                    <a:lnTo>
                      <a:pt x="1833" y="639"/>
                    </a:lnTo>
                    <a:lnTo>
                      <a:pt x="1830" y="636"/>
                    </a:lnTo>
                    <a:lnTo>
                      <a:pt x="1828" y="635"/>
                    </a:lnTo>
                    <a:lnTo>
                      <a:pt x="1827" y="634"/>
                    </a:lnTo>
                    <a:lnTo>
                      <a:pt x="1825" y="633"/>
                    </a:lnTo>
                    <a:lnTo>
                      <a:pt x="1823" y="632"/>
                    </a:lnTo>
                    <a:lnTo>
                      <a:pt x="1822" y="630"/>
                    </a:lnTo>
                    <a:lnTo>
                      <a:pt x="1821" y="627"/>
                    </a:lnTo>
                    <a:lnTo>
                      <a:pt x="1820" y="624"/>
                    </a:lnTo>
                    <a:lnTo>
                      <a:pt x="1820" y="622"/>
                    </a:lnTo>
                    <a:lnTo>
                      <a:pt x="1820" y="620"/>
                    </a:lnTo>
                    <a:lnTo>
                      <a:pt x="1820" y="618"/>
                    </a:lnTo>
                    <a:lnTo>
                      <a:pt x="1821" y="617"/>
                    </a:lnTo>
                    <a:lnTo>
                      <a:pt x="1822" y="616"/>
                    </a:lnTo>
                    <a:lnTo>
                      <a:pt x="1823" y="614"/>
                    </a:lnTo>
                    <a:lnTo>
                      <a:pt x="1825" y="613"/>
                    </a:lnTo>
                    <a:lnTo>
                      <a:pt x="1826" y="612"/>
                    </a:lnTo>
                    <a:lnTo>
                      <a:pt x="1828" y="611"/>
                    </a:lnTo>
                    <a:lnTo>
                      <a:pt x="1830" y="612"/>
                    </a:lnTo>
                    <a:lnTo>
                      <a:pt x="1831" y="613"/>
                    </a:lnTo>
                    <a:lnTo>
                      <a:pt x="1832" y="614"/>
                    </a:lnTo>
                    <a:lnTo>
                      <a:pt x="1834" y="615"/>
                    </a:lnTo>
                    <a:lnTo>
                      <a:pt x="1835" y="615"/>
                    </a:lnTo>
                    <a:lnTo>
                      <a:pt x="1837" y="616"/>
                    </a:lnTo>
                    <a:lnTo>
                      <a:pt x="1839" y="616"/>
                    </a:lnTo>
                    <a:lnTo>
                      <a:pt x="1841" y="615"/>
                    </a:lnTo>
                    <a:lnTo>
                      <a:pt x="1842" y="614"/>
                    </a:lnTo>
                    <a:lnTo>
                      <a:pt x="1843" y="611"/>
                    </a:lnTo>
                    <a:lnTo>
                      <a:pt x="1844" y="608"/>
                    </a:lnTo>
                    <a:lnTo>
                      <a:pt x="1843" y="603"/>
                    </a:lnTo>
                    <a:lnTo>
                      <a:pt x="1841" y="599"/>
                    </a:lnTo>
                    <a:lnTo>
                      <a:pt x="1840" y="595"/>
                    </a:lnTo>
                    <a:lnTo>
                      <a:pt x="1842" y="590"/>
                    </a:lnTo>
                    <a:lnTo>
                      <a:pt x="1843" y="589"/>
                    </a:lnTo>
                    <a:lnTo>
                      <a:pt x="1845" y="590"/>
                    </a:lnTo>
                    <a:lnTo>
                      <a:pt x="1846" y="591"/>
                    </a:lnTo>
                    <a:lnTo>
                      <a:pt x="1847" y="592"/>
                    </a:lnTo>
                    <a:lnTo>
                      <a:pt x="1848" y="592"/>
                    </a:lnTo>
                    <a:lnTo>
                      <a:pt x="1850" y="592"/>
                    </a:lnTo>
                    <a:lnTo>
                      <a:pt x="1851" y="592"/>
                    </a:lnTo>
                    <a:lnTo>
                      <a:pt x="1852" y="593"/>
                    </a:lnTo>
                    <a:lnTo>
                      <a:pt x="1852" y="594"/>
                    </a:lnTo>
                    <a:lnTo>
                      <a:pt x="1853" y="596"/>
                    </a:lnTo>
                    <a:lnTo>
                      <a:pt x="1854" y="597"/>
                    </a:lnTo>
                    <a:lnTo>
                      <a:pt x="1856" y="598"/>
                    </a:lnTo>
                    <a:lnTo>
                      <a:pt x="1858" y="598"/>
                    </a:lnTo>
                    <a:lnTo>
                      <a:pt x="1859" y="596"/>
                    </a:lnTo>
                    <a:lnTo>
                      <a:pt x="1859" y="594"/>
                    </a:lnTo>
                    <a:lnTo>
                      <a:pt x="1860" y="592"/>
                    </a:lnTo>
                    <a:lnTo>
                      <a:pt x="1860" y="591"/>
                    </a:lnTo>
                    <a:lnTo>
                      <a:pt x="1861" y="591"/>
                    </a:lnTo>
                    <a:lnTo>
                      <a:pt x="1862" y="591"/>
                    </a:lnTo>
                    <a:lnTo>
                      <a:pt x="1863" y="590"/>
                    </a:lnTo>
                    <a:lnTo>
                      <a:pt x="1864" y="588"/>
                    </a:lnTo>
                    <a:lnTo>
                      <a:pt x="1865" y="586"/>
                    </a:lnTo>
                    <a:lnTo>
                      <a:pt x="1866" y="584"/>
                    </a:lnTo>
                    <a:lnTo>
                      <a:pt x="1867" y="581"/>
                    </a:lnTo>
                    <a:lnTo>
                      <a:pt x="1867" y="579"/>
                    </a:lnTo>
                    <a:lnTo>
                      <a:pt x="1868" y="577"/>
                    </a:lnTo>
                    <a:lnTo>
                      <a:pt x="1868" y="574"/>
                    </a:lnTo>
                    <a:lnTo>
                      <a:pt x="1868" y="572"/>
                    </a:lnTo>
                    <a:lnTo>
                      <a:pt x="1868" y="570"/>
                    </a:lnTo>
                    <a:lnTo>
                      <a:pt x="1869" y="569"/>
                    </a:lnTo>
                    <a:lnTo>
                      <a:pt x="1870" y="566"/>
                    </a:lnTo>
                    <a:lnTo>
                      <a:pt x="1871" y="564"/>
                    </a:lnTo>
                    <a:lnTo>
                      <a:pt x="1871" y="562"/>
                    </a:lnTo>
                    <a:lnTo>
                      <a:pt x="1871" y="559"/>
                    </a:lnTo>
                    <a:lnTo>
                      <a:pt x="1872" y="558"/>
                    </a:lnTo>
                    <a:lnTo>
                      <a:pt x="1873" y="558"/>
                    </a:lnTo>
                    <a:lnTo>
                      <a:pt x="1873" y="559"/>
                    </a:lnTo>
                    <a:lnTo>
                      <a:pt x="1874" y="560"/>
                    </a:lnTo>
                    <a:lnTo>
                      <a:pt x="1874" y="561"/>
                    </a:lnTo>
                    <a:lnTo>
                      <a:pt x="1875" y="561"/>
                    </a:lnTo>
                    <a:lnTo>
                      <a:pt x="1875" y="561"/>
                    </a:lnTo>
                    <a:lnTo>
                      <a:pt x="1876" y="560"/>
                    </a:lnTo>
                    <a:lnTo>
                      <a:pt x="1877" y="558"/>
                    </a:lnTo>
                    <a:lnTo>
                      <a:pt x="1878" y="557"/>
                    </a:lnTo>
                    <a:lnTo>
                      <a:pt x="1879" y="557"/>
                    </a:lnTo>
                    <a:lnTo>
                      <a:pt x="1879" y="557"/>
                    </a:lnTo>
                    <a:lnTo>
                      <a:pt x="1880" y="556"/>
                    </a:lnTo>
                    <a:lnTo>
                      <a:pt x="1882" y="555"/>
                    </a:lnTo>
                    <a:lnTo>
                      <a:pt x="1883" y="555"/>
                    </a:lnTo>
                    <a:lnTo>
                      <a:pt x="1883" y="552"/>
                    </a:lnTo>
                    <a:lnTo>
                      <a:pt x="1884" y="549"/>
                    </a:lnTo>
                    <a:lnTo>
                      <a:pt x="1885" y="547"/>
                    </a:lnTo>
                    <a:lnTo>
                      <a:pt x="1887" y="546"/>
                    </a:lnTo>
                    <a:lnTo>
                      <a:pt x="1887" y="544"/>
                    </a:lnTo>
                    <a:lnTo>
                      <a:pt x="1887" y="542"/>
                    </a:lnTo>
                    <a:lnTo>
                      <a:pt x="1887" y="540"/>
                    </a:lnTo>
                    <a:lnTo>
                      <a:pt x="1887" y="537"/>
                    </a:lnTo>
                    <a:lnTo>
                      <a:pt x="1888" y="536"/>
                    </a:lnTo>
                    <a:lnTo>
                      <a:pt x="1889" y="533"/>
                    </a:lnTo>
                    <a:lnTo>
                      <a:pt x="1889" y="531"/>
                    </a:lnTo>
                    <a:lnTo>
                      <a:pt x="1890" y="528"/>
                    </a:lnTo>
                    <a:lnTo>
                      <a:pt x="1891" y="524"/>
                    </a:lnTo>
                    <a:lnTo>
                      <a:pt x="1891" y="520"/>
                    </a:lnTo>
                    <a:lnTo>
                      <a:pt x="1892" y="516"/>
                    </a:lnTo>
                    <a:lnTo>
                      <a:pt x="1893" y="512"/>
                    </a:lnTo>
                    <a:lnTo>
                      <a:pt x="1895" y="511"/>
                    </a:lnTo>
                    <a:lnTo>
                      <a:pt x="1897" y="510"/>
                    </a:lnTo>
                    <a:lnTo>
                      <a:pt x="1899" y="510"/>
                    </a:lnTo>
                    <a:lnTo>
                      <a:pt x="1901" y="508"/>
                    </a:lnTo>
                    <a:lnTo>
                      <a:pt x="1902" y="508"/>
                    </a:lnTo>
                    <a:lnTo>
                      <a:pt x="1903" y="507"/>
                    </a:lnTo>
                    <a:lnTo>
                      <a:pt x="1905" y="507"/>
                    </a:lnTo>
                    <a:lnTo>
                      <a:pt x="1907" y="506"/>
                    </a:lnTo>
                    <a:lnTo>
                      <a:pt x="1908" y="504"/>
                    </a:lnTo>
                    <a:lnTo>
                      <a:pt x="1909" y="502"/>
                    </a:lnTo>
                    <a:lnTo>
                      <a:pt x="1910" y="501"/>
                    </a:lnTo>
                    <a:lnTo>
                      <a:pt x="1911" y="501"/>
                    </a:lnTo>
                    <a:lnTo>
                      <a:pt x="1912" y="500"/>
                    </a:lnTo>
                    <a:lnTo>
                      <a:pt x="1914" y="500"/>
                    </a:lnTo>
                    <a:lnTo>
                      <a:pt x="1915" y="501"/>
                    </a:lnTo>
                    <a:lnTo>
                      <a:pt x="1916" y="501"/>
                    </a:lnTo>
                    <a:lnTo>
                      <a:pt x="1917" y="501"/>
                    </a:lnTo>
                    <a:lnTo>
                      <a:pt x="1918" y="500"/>
                    </a:lnTo>
                    <a:lnTo>
                      <a:pt x="1918" y="498"/>
                    </a:lnTo>
                    <a:lnTo>
                      <a:pt x="1919" y="494"/>
                    </a:lnTo>
                    <a:lnTo>
                      <a:pt x="1920" y="490"/>
                    </a:lnTo>
                    <a:lnTo>
                      <a:pt x="1920" y="486"/>
                    </a:lnTo>
                    <a:lnTo>
                      <a:pt x="1920" y="474"/>
                    </a:lnTo>
                    <a:lnTo>
                      <a:pt x="1920" y="473"/>
                    </a:lnTo>
                    <a:lnTo>
                      <a:pt x="1919" y="471"/>
                    </a:lnTo>
                    <a:lnTo>
                      <a:pt x="1919" y="467"/>
                    </a:lnTo>
                    <a:lnTo>
                      <a:pt x="1918" y="465"/>
                    </a:lnTo>
                    <a:lnTo>
                      <a:pt x="1918" y="464"/>
                    </a:lnTo>
                    <a:lnTo>
                      <a:pt x="1917" y="462"/>
                    </a:lnTo>
                    <a:lnTo>
                      <a:pt x="1916" y="459"/>
                    </a:lnTo>
                    <a:lnTo>
                      <a:pt x="1916" y="457"/>
                    </a:lnTo>
                    <a:lnTo>
                      <a:pt x="1916" y="454"/>
                    </a:lnTo>
                    <a:lnTo>
                      <a:pt x="1916" y="448"/>
                    </a:lnTo>
                    <a:lnTo>
                      <a:pt x="1915" y="446"/>
                    </a:lnTo>
                    <a:lnTo>
                      <a:pt x="1914" y="443"/>
                    </a:lnTo>
                    <a:lnTo>
                      <a:pt x="1914" y="441"/>
                    </a:lnTo>
                    <a:lnTo>
                      <a:pt x="1914" y="438"/>
                    </a:lnTo>
                    <a:lnTo>
                      <a:pt x="1914" y="431"/>
                    </a:lnTo>
                    <a:lnTo>
                      <a:pt x="1915" y="424"/>
                    </a:lnTo>
                    <a:lnTo>
                      <a:pt x="1918" y="418"/>
                    </a:lnTo>
                    <a:lnTo>
                      <a:pt x="1919" y="416"/>
                    </a:lnTo>
                    <a:lnTo>
                      <a:pt x="1920" y="415"/>
                    </a:lnTo>
                    <a:lnTo>
                      <a:pt x="1921" y="415"/>
                    </a:lnTo>
                    <a:lnTo>
                      <a:pt x="1923" y="416"/>
                    </a:lnTo>
                    <a:lnTo>
                      <a:pt x="1924" y="416"/>
                    </a:lnTo>
                    <a:lnTo>
                      <a:pt x="1925" y="413"/>
                    </a:lnTo>
                    <a:lnTo>
                      <a:pt x="1926" y="411"/>
                    </a:lnTo>
                    <a:lnTo>
                      <a:pt x="1928" y="409"/>
                    </a:lnTo>
                    <a:lnTo>
                      <a:pt x="1929" y="409"/>
                    </a:lnTo>
                    <a:lnTo>
                      <a:pt x="1929" y="409"/>
                    </a:lnTo>
                    <a:lnTo>
                      <a:pt x="1930" y="411"/>
                    </a:lnTo>
                    <a:lnTo>
                      <a:pt x="1930" y="413"/>
                    </a:lnTo>
                    <a:lnTo>
                      <a:pt x="1930" y="416"/>
                    </a:lnTo>
                    <a:lnTo>
                      <a:pt x="1930" y="418"/>
                    </a:lnTo>
                    <a:lnTo>
                      <a:pt x="1930" y="442"/>
                    </a:lnTo>
                    <a:lnTo>
                      <a:pt x="1929" y="442"/>
                    </a:lnTo>
                    <a:lnTo>
                      <a:pt x="1929" y="443"/>
                    </a:lnTo>
                    <a:lnTo>
                      <a:pt x="1928" y="444"/>
                    </a:lnTo>
                    <a:lnTo>
                      <a:pt x="1928" y="446"/>
                    </a:lnTo>
                    <a:lnTo>
                      <a:pt x="1928" y="460"/>
                    </a:lnTo>
                    <a:lnTo>
                      <a:pt x="1928" y="463"/>
                    </a:lnTo>
                    <a:lnTo>
                      <a:pt x="1927" y="466"/>
                    </a:lnTo>
                    <a:lnTo>
                      <a:pt x="1927" y="469"/>
                    </a:lnTo>
                    <a:lnTo>
                      <a:pt x="1928" y="472"/>
                    </a:lnTo>
                    <a:lnTo>
                      <a:pt x="1928" y="476"/>
                    </a:lnTo>
                    <a:lnTo>
                      <a:pt x="1929" y="480"/>
                    </a:lnTo>
                    <a:lnTo>
                      <a:pt x="1930" y="484"/>
                    </a:lnTo>
                    <a:lnTo>
                      <a:pt x="1931" y="488"/>
                    </a:lnTo>
                    <a:lnTo>
                      <a:pt x="1932" y="491"/>
                    </a:lnTo>
                    <a:lnTo>
                      <a:pt x="1933" y="494"/>
                    </a:lnTo>
                    <a:lnTo>
                      <a:pt x="1934" y="495"/>
                    </a:lnTo>
                    <a:lnTo>
                      <a:pt x="1936" y="496"/>
                    </a:lnTo>
                    <a:lnTo>
                      <a:pt x="1938" y="494"/>
                    </a:lnTo>
                    <a:lnTo>
                      <a:pt x="1939" y="493"/>
                    </a:lnTo>
                    <a:lnTo>
                      <a:pt x="1941" y="493"/>
                    </a:lnTo>
                    <a:lnTo>
                      <a:pt x="1942" y="492"/>
                    </a:lnTo>
                    <a:lnTo>
                      <a:pt x="1943" y="490"/>
                    </a:lnTo>
                    <a:lnTo>
                      <a:pt x="1944" y="488"/>
                    </a:lnTo>
                    <a:lnTo>
                      <a:pt x="1944" y="487"/>
                    </a:lnTo>
                    <a:lnTo>
                      <a:pt x="1945" y="486"/>
                    </a:lnTo>
                    <a:lnTo>
                      <a:pt x="1945" y="486"/>
                    </a:lnTo>
                    <a:lnTo>
                      <a:pt x="1947" y="485"/>
                    </a:lnTo>
                    <a:lnTo>
                      <a:pt x="1948" y="484"/>
                    </a:lnTo>
                    <a:lnTo>
                      <a:pt x="1948" y="483"/>
                    </a:lnTo>
                    <a:lnTo>
                      <a:pt x="1948" y="482"/>
                    </a:lnTo>
                    <a:lnTo>
                      <a:pt x="1949" y="481"/>
                    </a:lnTo>
                    <a:lnTo>
                      <a:pt x="1949" y="481"/>
                    </a:lnTo>
                    <a:lnTo>
                      <a:pt x="1950" y="481"/>
                    </a:lnTo>
                    <a:lnTo>
                      <a:pt x="1950" y="482"/>
                    </a:lnTo>
                    <a:lnTo>
                      <a:pt x="1950" y="484"/>
                    </a:lnTo>
                    <a:lnTo>
                      <a:pt x="1950" y="486"/>
                    </a:lnTo>
                    <a:lnTo>
                      <a:pt x="1952" y="488"/>
                    </a:lnTo>
                    <a:lnTo>
                      <a:pt x="1952" y="491"/>
                    </a:lnTo>
                    <a:lnTo>
                      <a:pt x="1952" y="493"/>
                    </a:lnTo>
                    <a:lnTo>
                      <a:pt x="1953" y="496"/>
                    </a:lnTo>
                    <a:lnTo>
                      <a:pt x="1954" y="498"/>
                    </a:lnTo>
                    <a:lnTo>
                      <a:pt x="1955" y="500"/>
                    </a:lnTo>
                    <a:lnTo>
                      <a:pt x="1956" y="501"/>
                    </a:lnTo>
                    <a:lnTo>
                      <a:pt x="1956" y="501"/>
                    </a:lnTo>
                    <a:lnTo>
                      <a:pt x="1956" y="500"/>
                    </a:lnTo>
                    <a:lnTo>
                      <a:pt x="1956" y="498"/>
                    </a:lnTo>
                    <a:lnTo>
                      <a:pt x="1957" y="497"/>
                    </a:lnTo>
                    <a:lnTo>
                      <a:pt x="1957" y="495"/>
                    </a:lnTo>
                    <a:lnTo>
                      <a:pt x="1957" y="493"/>
                    </a:lnTo>
                    <a:lnTo>
                      <a:pt x="1959" y="492"/>
                    </a:lnTo>
                    <a:lnTo>
                      <a:pt x="1960" y="493"/>
                    </a:lnTo>
                    <a:lnTo>
                      <a:pt x="1961" y="494"/>
                    </a:lnTo>
                    <a:lnTo>
                      <a:pt x="1962" y="494"/>
                    </a:lnTo>
                    <a:lnTo>
                      <a:pt x="1963" y="494"/>
                    </a:lnTo>
                    <a:lnTo>
                      <a:pt x="1965" y="492"/>
                    </a:lnTo>
                    <a:lnTo>
                      <a:pt x="1966" y="490"/>
                    </a:lnTo>
                    <a:lnTo>
                      <a:pt x="1966" y="489"/>
                    </a:lnTo>
                    <a:lnTo>
                      <a:pt x="1967" y="488"/>
                    </a:lnTo>
                    <a:lnTo>
                      <a:pt x="1968" y="487"/>
                    </a:lnTo>
                    <a:lnTo>
                      <a:pt x="1969" y="486"/>
                    </a:lnTo>
                    <a:lnTo>
                      <a:pt x="1970" y="484"/>
                    </a:lnTo>
                    <a:lnTo>
                      <a:pt x="1970" y="483"/>
                    </a:lnTo>
                    <a:lnTo>
                      <a:pt x="1971" y="482"/>
                    </a:lnTo>
                    <a:lnTo>
                      <a:pt x="1972" y="480"/>
                    </a:lnTo>
                    <a:lnTo>
                      <a:pt x="1973" y="478"/>
                    </a:lnTo>
                    <a:lnTo>
                      <a:pt x="1974" y="477"/>
                    </a:lnTo>
                    <a:lnTo>
                      <a:pt x="1976" y="475"/>
                    </a:lnTo>
                    <a:lnTo>
                      <a:pt x="1977" y="473"/>
                    </a:lnTo>
                    <a:lnTo>
                      <a:pt x="1979" y="472"/>
                    </a:lnTo>
                    <a:lnTo>
                      <a:pt x="1979" y="473"/>
                    </a:lnTo>
                    <a:lnTo>
                      <a:pt x="1980" y="473"/>
                    </a:lnTo>
                    <a:lnTo>
                      <a:pt x="1980" y="473"/>
                    </a:lnTo>
                    <a:lnTo>
                      <a:pt x="1981" y="474"/>
                    </a:lnTo>
                    <a:lnTo>
                      <a:pt x="1981" y="475"/>
                    </a:lnTo>
                    <a:lnTo>
                      <a:pt x="1982" y="476"/>
                    </a:lnTo>
                    <a:lnTo>
                      <a:pt x="1982" y="477"/>
                    </a:lnTo>
                    <a:lnTo>
                      <a:pt x="1983" y="478"/>
                    </a:lnTo>
                    <a:lnTo>
                      <a:pt x="1984" y="480"/>
                    </a:lnTo>
                    <a:lnTo>
                      <a:pt x="1984" y="481"/>
                    </a:lnTo>
                    <a:lnTo>
                      <a:pt x="1985" y="483"/>
                    </a:lnTo>
                    <a:lnTo>
                      <a:pt x="1986" y="484"/>
                    </a:lnTo>
                    <a:lnTo>
                      <a:pt x="1987" y="484"/>
                    </a:lnTo>
                    <a:lnTo>
                      <a:pt x="1988" y="484"/>
                    </a:lnTo>
                    <a:lnTo>
                      <a:pt x="1989" y="482"/>
                    </a:lnTo>
                    <a:lnTo>
                      <a:pt x="1989" y="481"/>
                    </a:lnTo>
                    <a:lnTo>
                      <a:pt x="1990" y="478"/>
                    </a:lnTo>
                    <a:lnTo>
                      <a:pt x="1990" y="476"/>
                    </a:lnTo>
                    <a:lnTo>
                      <a:pt x="1991" y="475"/>
                    </a:lnTo>
                    <a:lnTo>
                      <a:pt x="1993" y="474"/>
                    </a:lnTo>
                    <a:lnTo>
                      <a:pt x="1995" y="473"/>
                    </a:lnTo>
                    <a:lnTo>
                      <a:pt x="1996" y="469"/>
                    </a:lnTo>
                    <a:lnTo>
                      <a:pt x="1997" y="465"/>
                    </a:lnTo>
                    <a:lnTo>
                      <a:pt x="1997" y="461"/>
                    </a:lnTo>
                    <a:lnTo>
                      <a:pt x="1996" y="458"/>
                    </a:lnTo>
                    <a:lnTo>
                      <a:pt x="1996" y="455"/>
                    </a:lnTo>
                    <a:lnTo>
                      <a:pt x="1996" y="452"/>
                    </a:lnTo>
                    <a:lnTo>
                      <a:pt x="1996" y="449"/>
                    </a:lnTo>
                    <a:lnTo>
                      <a:pt x="1996" y="446"/>
                    </a:lnTo>
                    <a:lnTo>
                      <a:pt x="1996" y="434"/>
                    </a:lnTo>
                    <a:lnTo>
                      <a:pt x="1997" y="430"/>
                    </a:lnTo>
                    <a:lnTo>
                      <a:pt x="1998" y="426"/>
                    </a:lnTo>
                    <a:lnTo>
                      <a:pt x="1998" y="422"/>
                    </a:lnTo>
                    <a:lnTo>
                      <a:pt x="1998" y="419"/>
                    </a:lnTo>
                    <a:lnTo>
                      <a:pt x="1999" y="417"/>
                    </a:lnTo>
                    <a:lnTo>
                      <a:pt x="1999" y="416"/>
                    </a:lnTo>
                    <a:lnTo>
                      <a:pt x="2000" y="415"/>
                    </a:lnTo>
                    <a:lnTo>
                      <a:pt x="2000" y="413"/>
                    </a:lnTo>
                    <a:lnTo>
                      <a:pt x="2002" y="412"/>
                    </a:lnTo>
                    <a:lnTo>
                      <a:pt x="2003" y="412"/>
                    </a:lnTo>
                    <a:lnTo>
                      <a:pt x="2004" y="412"/>
                    </a:lnTo>
                    <a:lnTo>
                      <a:pt x="2005" y="415"/>
                    </a:lnTo>
                    <a:lnTo>
                      <a:pt x="2006" y="417"/>
                    </a:lnTo>
                    <a:lnTo>
                      <a:pt x="2007" y="419"/>
                    </a:lnTo>
                    <a:lnTo>
                      <a:pt x="2008" y="422"/>
                    </a:lnTo>
                    <a:lnTo>
                      <a:pt x="2010" y="424"/>
                    </a:lnTo>
                    <a:lnTo>
                      <a:pt x="2011" y="426"/>
                    </a:lnTo>
                    <a:lnTo>
                      <a:pt x="2012" y="427"/>
                    </a:lnTo>
                    <a:lnTo>
                      <a:pt x="2013" y="428"/>
                    </a:lnTo>
                    <a:lnTo>
                      <a:pt x="2014" y="428"/>
                    </a:lnTo>
                    <a:lnTo>
                      <a:pt x="2015" y="427"/>
                    </a:lnTo>
                    <a:lnTo>
                      <a:pt x="2015" y="425"/>
                    </a:lnTo>
                    <a:lnTo>
                      <a:pt x="2015" y="422"/>
                    </a:lnTo>
                    <a:lnTo>
                      <a:pt x="2016" y="416"/>
                    </a:lnTo>
                    <a:lnTo>
                      <a:pt x="2016" y="408"/>
                    </a:lnTo>
                    <a:lnTo>
                      <a:pt x="2015" y="401"/>
                    </a:lnTo>
                    <a:lnTo>
                      <a:pt x="2015" y="399"/>
                    </a:lnTo>
                    <a:lnTo>
                      <a:pt x="2014" y="399"/>
                    </a:lnTo>
                    <a:lnTo>
                      <a:pt x="2013" y="399"/>
                    </a:lnTo>
                    <a:lnTo>
                      <a:pt x="2013" y="400"/>
                    </a:lnTo>
                    <a:lnTo>
                      <a:pt x="2012" y="401"/>
                    </a:lnTo>
                    <a:lnTo>
                      <a:pt x="2011" y="401"/>
                    </a:lnTo>
                    <a:lnTo>
                      <a:pt x="2010" y="402"/>
                    </a:lnTo>
                    <a:lnTo>
                      <a:pt x="2006" y="402"/>
                    </a:lnTo>
                    <a:lnTo>
                      <a:pt x="2004" y="402"/>
                    </a:lnTo>
                    <a:lnTo>
                      <a:pt x="2002" y="401"/>
                    </a:lnTo>
                    <a:lnTo>
                      <a:pt x="2001" y="398"/>
                    </a:lnTo>
                    <a:lnTo>
                      <a:pt x="2000" y="396"/>
                    </a:lnTo>
                    <a:lnTo>
                      <a:pt x="2000" y="393"/>
                    </a:lnTo>
                    <a:lnTo>
                      <a:pt x="2001" y="390"/>
                    </a:lnTo>
                    <a:lnTo>
                      <a:pt x="2002" y="387"/>
                    </a:lnTo>
                    <a:lnTo>
                      <a:pt x="2002" y="385"/>
                    </a:lnTo>
                    <a:lnTo>
                      <a:pt x="2002" y="383"/>
                    </a:lnTo>
                    <a:lnTo>
                      <a:pt x="2002" y="380"/>
                    </a:lnTo>
                    <a:lnTo>
                      <a:pt x="2002" y="377"/>
                    </a:lnTo>
                    <a:lnTo>
                      <a:pt x="2003" y="375"/>
                    </a:lnTo>
                    <a:lnTo>
                      <a:pt x="2003" y="375"/>
                    </a:lnTo>
                    <a:lnTo>
                      <a:pt x="2004" y="375"/>
                    </a:lnTo>
                    <a:lnTo>
                      <a:pt x="2005" y="376"/>
                    </a:lnTo>
                    <a:lnTo>
                      <a:pt x="2006" y="377"/>
                    </a:lnTo>
                    <a:lnTo>
                      <a:pt x="2008" y="376"/>
                    </a:lnTo>
                    <a:lnTo>
                      <a:pt x="2011" y="375"/>
                    </a:lnTo>
                    <a:lnTo>
                      <a:pt x="2011" y="373"/>
                    </a:lnTo>
                    <a:lnTo>
                      <a:pt x="2012" y="371"/>
                    </a:lnTo>
                    <a:lnTo>
                      <a:pt x="2013" y="370"/>
                    </a:lnTo>
                    <a:lnTo>
                      <a:pt x="2014" y="369"/>
                    </a:lnTo>
                    <a:lnTo>
                      <a:pt x="2015" y="369"/>
                    </a:lnTo>
                    <a:lnTo>
                      <a:pt x="2017" y="369"/>
                    </a:lnTo>
                    <a:lnTo>
                      <a:pt x="2019" y="368"/>
                    </a:lnTo>
                    <a:lnTo>
                      <a:pt x="2021" y="367"/>
                    </a:lnTo>
                    <a:lnTo>
                      <a:pt x="2023" y="367"/>
                    </a:lnTo>
                    <a:lnTo>
                      <a:pt x="2025" y="368"/>
                    </a:lnTo>
                    <a:lnTo>
                      <a:pt x="2026" y="370"/>
                    </a:lnTo>
                    <a:lnTo>
                      <a:pt x="2027" y="371"/>
                    </a:lnTo>
                    <a:lnTo>
                      <a:pt x="2027" y="371"/>
                    </a:lnTo>
                    <a:lnTo>
                      <a:pt x="2029" y="372"/>
                    </a:lnTo>
                    <a:lnTo>
                      <a:pt x="2030" y="371"/>
                    </a:lnTo>
                    <a:lnTo>
                      <a:pt x="2031" y="370"/>
                    </a:lnTo>
                    <a:lnTo>
                      <a:pt x="2031" y="369"/>
                    </a:lnTo>
                    <a:lnTo>
                      <a:pt x="2032" y="368"/>
                    </a:lnTo>
                    <a:lnTo>
                      <a:pt x="2033" y="367"/>
                    </a:lnTo>
                    <a:lnTo>
                      <a:pt x="2034" y="366"/>
                    </a:lnTo>
                    <a:lnTo>
                      <a:pt x="2035" y="365"/>
                    </a:lnTo>
                    <a:lnTo>
                      <a:pt x="2037" y="363"/>
                    </a:lnTo>
                    <a:lnTo>
                      <a:pt x="2038" y="363"/>
                    </a:lnTo>
                    <a:lnTo>
                      <a:pt x="2039" y="364"/>
                    </a:lnTo>
                    <a:lnTo>
                      <a:pt x="2040" y="365"/>
                    </a:lnTo>
                    <a:lnTo>
                      <a:pt x="2041" y="365"/>
                    </a:lnTo>
                    <a:lnTo>
                      <a:pt x="2042" y="365"/>
                    </a:lnTo>
                    <a:lnTo>
                      <a:pt x="2042" y="365"/>
                    </a:lnTo>
                    <a:lnTo>
                      <a:pt x="2043" y="364"/>
                    </a:lnTo>
                    <a:lnTo>
                      <a:pt x="2043" y="363"/>
                    </a:lnTo>
                    <a:lnTo>
                      <a:pt x="2043" y="361"/>
                    </a:lnTo>
                    <a:lnTo>
                      <a:pt x="2043" y="360"/>
                    </a:lnTo>
                    <a:lnTo>
                      <a:pt x="2042" y="359"/>
                    </a:lnTo>
                    <a:lnTo>
                      <a:pt x="2042" y="359"/>
                    </a:lnTo>
                    <a:lnTo>
                      <a:pt x="2041" y="359"/>
                    </a:lnTo>
                    <a:lnTo>
                      <a:pt x="2040" y="359"/>
                    </a:lnTo>
                    <a:lnTo>
                      <a:pt x="2040" y="357"/>
                    </a:lnTo>
                    <a:lnTo>
                      <a:pt x="2039" y="355"/>
                    </a:lnTo>
                    <a:lnTo>
                      <a:pt x="2038" y="354"/>
                    </a:lnTo>
                    <a:lnTo>
                      <a:pt x="2037" y="354"/>
                    </a:lnTo>
                    <a:lnTo>
                      <a:pt x="2036" y="352"/>
                    </a:lnTo>
                    <a:lnTo>
                      <a:pt x="2036" y="352"/>
                    </a:lnTo>
                    <a:lnTo>
                      <a:pt x="2036" y="352"/>
                    </a:lnTo>
                    <a:lnTo>
                      <a:pt x="2035" y="354"/>
                    </a:lnTo>
                    <a:lnTo>
                      <a:pt x="2035" y="356"/>
                    </a:lnTo>
                    <a:lnTo>
                      <a:pt x="2033" y="357"/>
                    </a:lnTo>
                    <a:lnTo>
                      <a:pt x="2032" y="359"/>
                    </a:lnTo>
                    <a:lnTo>
                      <a:pt x="2031" y="359"/>
                    </a:lnTo>
                    <a:lnTo>
                      <a:pt x="2030" y="359"/>
                    </a:lnTo>
                    <a:lnTo>
                      <a:pt x="2027" y="359"/>
                    </a:lnTo>
                    <a:lnTo>
                      <a:pt x="2025" y="357"/>
                    </a:lnTo>
                    <a:lnTo>
                      <a:pt x="2023" y="356"/>
                    </a:lnTo>
                    <a:lnTo>
                      <a:pt x="2021" y="357"/>
                    </a:lnTo>
                    <a:lnTo>
                      <a:pt x="2019" y="357"/>
                    </a:lnTo>
                    <a:lnTo>
                      <a:pt x="2017" y="359"/>
                    </a:lnTo>
                    <a:lnTo>
                      <a:pt x="2016" y="357"/>
                    </a:lnTo>
                    <a:lnTo>
                      <a:pt x="2016" y="355"/>
                    </a:lnTo>
                    <a:lnTo>
                      <a:pt x="2015" y="354"/>
                    </a:lnTo>
                    <a:lnTo>
                      <a:pt x="2014" y="353"/>
                    </a:lnTo>
                    <a:lnTo>
                      <a:pt x="2013" y="354"/>
                    </a:lnTo>
                    <a:lnTo>
                      <a:pt x="2012" y="354"/>
                    </a:lnTo>
                    <a:lnTo>
                      <a:pt x="2012" y="356"/>
                    </a:lnTo>
                    <a:lnTo>
                      <a:pt x="2011" y="357"/>
                    </a:lnTo>
                    <a:lnTo>
                      <a:pt x="2010" y="360"/>
                    </a:lnTo>
                    <a:lnTo>
                      <a:pt x="2008" y="361"/>
                    </a:lnTo>
                    <a:lnTo>
                      <a:pt x="2006" y="362"/>
                    </a:lnTo>
                    <a:lnTo>
                      <a:pt x="2004" y="363"/>
                    </a:lnTo>
                    <a:lnTo>
                      <a:pt x="2002" y="363"/>
                    </a:lnTo>
                    <a:lnTo>
                      <a:pt x="2002" y="365"/>
                    </a:lnTo>
                    <a:lnTo>
                      <a:pt x="2000" y="366"/>
                    </a:lnTo>
                    <a:lnTo>
                      <a:pt x="1998" y="367"/>
                    </a:lnTo>
                    <a:lnTo>
                      <a:pt x="1998" y="363"/>
                    </a:lnTo>
                    <a:lnTo>
                      <a:pt x="1999" y="363"/>
                    </a:lnTo>
                    <a:lnTo>
                      <a:pt x="1999" y="363"/>
                    </a:lnTo>
                    <a:lnTo>
                      <a:pt x="2000" y="362"/>
                    </a:lnTo>
                    <a:lnTo>
                      <a:pt x="2000" y="361"/>
                    </a:lnTo>
                    <a:lnTo>
                      <a:pt x="2002" y="361"/>
                    </a:lnTo>
                    <a:lnTo>
                      <a:pt x="2002" y="359"/>
                    </a:lnTo>
                    <a:lnTo>
                      <a:pt x="2002" y="357"/>
                    </a:lnTo>
                    <a:lnTo>
                      <a:pt x="2000" y="354"/>
                    </a:lnTo>
                    <a:lnTo>
                      <a:pt x="2000" y="351"/>
                    </a:lnTo>
                    <a:lnTo>
                      <a:pt x="1999" y="348"/>
                    </a:lnTo>
                    <a:lnTo>
                      <a:pt x="1997" y="346"/>
                    </a:lnTo>
                    <a:lnTo>
                      <a:pt x="1996" y="344"/>
                    </a:lnTo>
                    <a:lnTo>
                      <a:pt x="1994" y="342"/>
                    </a:lnTo>
                    <a:lnTo>
                      <a:pt x="1994" y="341"/>
                    </a:lnTo>
                    <a:lnTo>
                      <a:pt x="1994" y="340"/>
                    </a:lnTo>
                    <a:lnTo>
                      <a:pt x="1993" y="338"/>
                    </a:lnTo>
                    <a:lnTo>
                      <a:pt x="1992" y="337"/>
                    </a:lnTo>
                    <a:lnTo>
                      <a:pt x="1991" y="336"/>
                    </a:lnTo>
                    <a:lnTo>
                      <a:pt x="1990" y="334"/>
                    </a:lnTo>
                    <a:lnTo>
                      <a:pt x="1990" y="332"/>
                    </a:lnTo>
                    <a:lnTo>
                      <a:pt x="1989" y="329"/>
                    </a:lnTo>
                    <a:lnTo>
                      <a:pt x="1989" y="326"/>
                    </a:lnTo>
                    <a:lnTo>
                      <a:pt x="1989" y="324"/>
                    </a:lnTo>
                    <a:lnTo>
                      <a:pt x="1989" y="322"/>
                    </a:lnTo>
                    <a:lnTo>
                      <a:pt x="1990" y="320"/>
                    </a:lnTo>
                    <a:lnTo>
                      <a:pt x="1990" y="317"/>
                    </a:lnTo>
                    <a:lnTo>
                      <a:pt x="1991" y="314"/>
                    </a:lnTo>
                    <a:lnTo>
                      <a:pt x="1990" y="305"/>
                    </a:lnTo>
                    <a:lnTo>
                      <a:pt x="1989" y="295"/>
                    </a:lnTo>
                    <a:lnTo>
                      <a:pt x="1989" y="277"/>
                    </a:lnTo>
                    <a:lnTo>
                      <a:pt x="1994" y="271"/>
                    </a:lnTo>
                    <a:lnTo>
                      <a:pt x="1995" y="270"/>
                    </a:lnTo>
                    <a:lnTo>
                      <a:pt x="1996" y="267"/>
                    </a:lnTo>
                    <a:lnTo>
                      <a:pt x="1997" y="265"/>
                    </a:lnTo>
                    <a:lnTo>
                      <a:pt x="1997" y="262"/>
                    </a:lnTo>
                    <a:lnTo>
                      <a:pt x="1998" y="259"/>
                    </a:lnTo>
                    <a:lnTo>
                      <a:pt x="1999" y="255"/>
                    </a:lnTo>
                    <a:lnTo>
                      <a:pt x="2000" y="252"/>
                    </a:lnTo>
                    <a:lnTo>
                      <a:pt x="2000" y="248"/>
                    </a:lnTo>
                    <a:lnTo>
                      <a:pt x="2002" y="243"/>
                    </a:lnTo>
                    <a:lnTo>
                      <a:pt x="2002" y="240"/>
                    </a:lnTo>
                    <a:lnTo>
                      <a:pt x="2002" y="237"/>
                    </a:lnTo>
                    <a:lnTo>
                      <a:pt x="2002" y="235"/>
                    </a:lnTo>
                    <a:lnTo>
                      <a:pt x="2004" y="233"/>
                    </a:lnTo>
                    <a:lnTo>
                      <a:pt x="2006" y="231"/>
                    </a:lnTo>
                    <a:lnTo>
                      <a:pt x="2006" y="229"/>
                    </a:lnTo>
                    <a:lnTo>
                      <a:pt x="2007" y="221"/>
                    </a:lnTo>
                    <a:lnTo>
                      <a:pt x="2004" y="213"/>
                    </a:lnTo>
                    <a:lnTo>
                      <a:pt x="2000" y="207"/>
                    </a:lnTo>
                    <a:lnTo>
                      <a:pt x="1998" y="205"/>
                    </a:lnTo>
                    <a:lnTo>
                      <a:pt x="1996" y="203"/>
                    </a:lnTo>
                    <a:lnTo>
                      <a:pt x="1994" y="203"/>
                    </a:lnTo>
                    <a:lnTo>
                      <a:pt x="1993" y="202"/>
                    </a:lnTo>
                    <a:lnTo>
                      <a:pt x="1992" y="202"/>
                    </a:lnTo>
                    <a:lnTo>
                      <a:pt x="1990" y="202"/>
                    </a:lnTo>
                    <a:lnTo>
                      <a:pt x="1989" y="203"/>
                    </a:lnTo>
                    <a:lnTo>
                      <a:pt x="1987" y="202"/>
                    </a:lnTo>
                    <a:lnTo>
                      <a:pt x="1986" y="202"/>
                    </a:lnTo>
                    <a:lnTo>
                      <a:pt x="1986" y="203"/>
                    </a:lnTo>
                    <a:lnTo>
                      <a:pt x="1986" y="204"/>
                    </a:lnTo>
                    <a:lnTo>
                      <a:pt x="1986" y="205"/>
                    </a:lnTo>
                    <a:lnTo>
                      <a:pt x="1986" y="207"/>
                    </a:lnTo>
                    <a:lnTo>
                      <a:pt x="1987" y="209"/>
                    </a:lnTo>
                    <a:lnTo>
                      <a:pt x="1986" y="209"/>
                    </a:lnTo>
                    <a:lnTo>
                      <a:pt x="1986" y="210"/>
                    </a:lnTo>
                    <a:lnTo>
                      <a:pt x="1985" y="210"/>
                    </a:lnTo>
                    <a:lnTo>
                      <a:pt x="1984" y="210"/>
                    </a:lnTo>
                    <a:lnTo>
                      <a:pt x="1983" y="211"/>
                    </a:lnTo>
                    <a:lnTo>
                      <a:pt x="1983" y="213"/>
                    </a:lnTo>
                    <a:lnTo>
                      <a:pt x="1982" y="221"/>
                    </a:lnTo>
                    <a:lnTo>
                      <a:pt x="1984" y="229"/>
                    </a:lnTo>
                    <a:lnTo>
                      <a:pt x="1985" y="239"/>
                    </a:lnTo>
                    <a:lnTo>
                      <a:pt x="1985" y="242"/>
                    </a:lnTo>
                    <a:lnTo>
                      <a:pt x="1985" y="245"/>
                    </a:lnTo>
                    <a:lnTo>
                      <a:pt x="1984" y="249"/>
                    </a:lnTo>
                    <a:lnTo>
                      <a:pt x="1983" y="251"/>
                    </a:lnTo>
                    <a:lnTo>
                      <a:pt x="1982" y="253"/>
                    </a:lnTo>
                    <a:lnTo>
                      <a:pt x="1981" y="255"/>
                    </a:lnTo>
                    <a:lnTo>
                      <a:pt x="1980" y="259"/>
                    </a:lnTo>
                    <a:lnTo>
                      <a:pt x="1979" y="263"/>
                    </a:lnTo>
                    <a:lnTo>
                      <a:pt x="1977" y="265"/>
                    </a:lnTo>
                    <a:lnTo>
                      <a:pt x="1975" y="268"/>
                    </a:lnTo>
                    <a:lnTo>
                      <a:pt x="1973" y="271"/>
                    </a:lnTo>
                    <a:lnTo>
                      <a:pt x="1971" y="273"/>
                    </a:lnTo>
                    <a:lnTo>
                      <a:pt x="1968" y="279"/>
                    </a:lnTo>
                    <a:lnTo>
                      <a:pt x="1966" y="285"/>
                    </a:lnTo>
                    <a:lnTo>
                      <a:pt x="1967" y="293"/>
                    </a:lnTo>
                    <a:lnTo>
                      <a:pt x="1967" y="297"/>
                    </a:lnTo>
                    <a:lnTo>
                      <a:pt x="1967" y="300"/>
                    </a:lnTo>
                    <a:lnTo>
                      <a:pt x="1968" y="304"/>
                    </a:lnTo>
                    <a:lnTo>
                      <a:pt x="1967" y="307"/>
                    </a:lnTo>
                    <a:lnTo>
                      <a:pt x="1967" y="310"/>
                    </a:lnTo>
                    <a:lnTo>
                      <a:pt x="1966" y="312"/>
                    </a:lnTo>
                    <a:lnTo>
                      <a:pt x="1966" y="314"/>
                    </a:lnTo>
                    <a:lnTo>
                      <a:pt x="1966" y="317"/>
                    </a:lnTo>
                    <a:lnTo>
                      <a:pt x="1967" y="320"/>
                    </a:lnTo>
                    <a:lnTo>
                      <a:pt x="1967" y="324"/>
                    </a:lnTo>
                    <a:lnTo>
                      <a:pt x="1967" y="328"/>
                    </a:lnTo>
                    <a:lnTo>
                      <a:pt x="1969" y="332"/>
                    </a:lnTo>
                    <a:lnTo>
                      <a:pt x="1969" y="334"/>
                    </a:lnTo>
                    <a:lnTo>
                      <a:pt x="1969" y="335"/>
                    </a:lnTo>
                    <a:lnTo>
                      <a:pt x="1970" y="337"/>
                    </a:lnTo>
                    <a:lnTo>
                      <a:pt x="1971" y="338"/>
                    </a:lnTo>
                    <a:lnTo>
                      <a:pt x="1973" y="340"/>
                    </a:lnTo>
                    <a:lnTo>
                      <a:pt x="1973" y="342"/>
                    </a:lnTo>
                    <a:lnTo>
                      <a:pt x="1973" y="344"/>
                    </a:lnTo>
                    <a:lnTo>
                      <a:pt x="1975" y="346"/>
                    </a:lnTo>
                    <a:lnTo>
                      <a:pt x="1975" y="346"/>
                    </a:lnTo>
                    <a:lnTo>
                      <a:pt x="1975" y="346"/>
                    </a:lnTo>
                    <a:lnTo>
                      <a:pt x="1975" y="347"/>
                    </a:lnTo>
                    <a:lnTo>
                      <a:pt x="1977" y="348"/>
                    </a:lnTo>
                    <a:lnTo>
                      <a:pt x="1978" y="350"/>
                    </a:lnTo>
                    <a:lnTo>
                      <a:pt x="1978" y="352"/>
                    </a:lnTo>
                    <a:lnTo>
                      <a:pt x="1978" y="355"/>
                    </a:lnTo>
                    <a:lnTo>
                      <a:pt x="1979" y="357"/>
                    </a:lnTo>
                    <a:lnTo>
                      <a:pt x="1979" y="361"/>
                    </a:lnTo>
                    <a:lnTo>
                      <a:pt x="1979" y="366"/>
                    </a:lnTo>
                    <a:lnTo>
                      <a:pt x="1978" y="372"/>
                    </a:lnTo>
                    <a:lnTo>
                      <a:pt x="1977" y="378"/>
                    </a:lnTo>
                    <a:lnTo>
                      <a:pt x="1975" y="381"/>
                    </a:lnTo>
                    <a:lnTo>
                      <a:pt x="1972" y="385"/>
                    </a:lnTo>
                    <a:lnTo>
                      <a:pt x="1969" y="391"/>
                    </a:lnTo>
                    <a:lnTo>
                      <a:pt x="1969" y="399"/>
                    </a:lnTo>
                    <a:lnTo>
                      <a:pt x="1969" y="401"/>
                    </a:lnTo>
                    <a:lnTo>
                      <a:pt x="1970" y="404"/>
                    </a:lnTo>
                    <a:lnTo>
                      <a:pt x="1969" y="407"/>
                    </a:lnTo>
                    <a:lnTo>
                      <a:pt x="1969" y="410"/>
                    </a:lnTo>
                    <a:lnTo>
                      <a:pt x="1969" y="413"/>
                    </a:lnTo>
                    <a:lnTo>
                      <a:pt x="1969" y="416"/>
                    </a:lnTo>
                    <a:lnTo>
                      <a:pt x="1970" y="418"/>
                    </a:lnTo>
                    <a:lnTo>
                      <a:pt x="1970" y="420"/>
                    </a:lnTo>
                    <a:lnTo>
                      <a:pt x="1971" y="422"/>
                    </a:lnTo>
                    <a:lnTo>
                      <a:pt x="1971" y="425"/>
                    </a:lnTo>
                    <a:lnTo>
                      <a:pt x="1971" y="428"/>
                    </a:lnTo>
                    <a:lnTo>
                      <a:pt x="1971" y="431"/>
                    </a:lnTo>
                    <a:lnTo>
                      <a:pt x="1971" y="434"/>
                    </a:lnTo>
                    <a:lnTo>
                      <a:pt x="1969" y="438"/>
                    </a:lnTo>
                    <a:lnTo>
                      <a:pt x="1968" y="442"/>
                    </a:lnTo>
                    <a:lnTo>
                      <a:pt x="1967" y="446"/>
                    </a:lnTo>
                    <a:lnTo>
                      <a:pt x="1966" y="448"/>
                    </a:lnTo>
                    <a:lnTo>
                      <a:pt x="1965" y="449"/>
                    </a:lnTo>
                    <a:lnTo>
                      <a:pt x="1964" y="449"/>
                    </a:lnTo>
                    <a:lnTo>
                      <a:pt x="1963" y="448"/>
                    </a:lnTo>
                    <a:lnTo>
                      <a:pt x="1962" y="447"/>
                    </a:lnTo>
                    <a:lnTo>
                      <a:pt x="1960" y="447"/>
                    </a:lnTo>
                    <a:lnTo>
                      <a:pt x="1959" y="447"/>
                    </a:lnTo>
                    <a:lnTo>
                      <a:pt x="1959" y="448"/>
                    </a:lnTo>
                    <a:lnTo>
                      <a:pt x="1956" y="451"/>
                    </a:lnTo>
                    <a:lnTo>
                      <a:pt x="1956" y="453"/>
                    </a:lnTo>
                    <a:lnTo>
                      <a:pt x="1955" y="456"/>
                    </a:lnTo>
                    <a:lnTo>
                      <a:pt x="1954" y="458"/>
                    </a:lnTo>
                    <a:lnTo>
                      <a:pt x="1952" y="458"/>
                    </a:lnTo>
                    <a:lnTo>
                      <a:pt x="1951" y="459"/>
                    </a:lnTo>
                    <a:lnTo>
                      <a:pt x="1949" y="459"/>
                    </a:lnTo>
                    <a:lnTo>
                      <a:pt x="1948" y="460"/>
                    </a:lnTo>
                    <a:lnTo>
                      <a:pt x="1947" y="462"/>
                    </a:lnTo>
                    <a:lnTo>
                      <a:pt x="1946" y="466"/>
                    </a:lnTo>
                    <a:lnTo>
                      <a:pt x="1945" y="469"/>
                    </a:lnTo>
                    <a:lnTo>
                      <a:pt x="1944" y="474"/>
                    </a:lnTo>
                    <a:lnTo>
                      <a:pt x="1942" y="476"/>
                    </a:lnTo>
                    <a:lnTo>
                      <a:pt x="1941" y="476"/>
                    </a:lnTo>
                    <a:lnTo>
                      <a:pt x="1939" y="476"/>
                    </a:lnTo>
                    <a:lnTo>
                      <a:pt x="1938" y="476"/>
                    </a:lnTo>
                    <a:lnTo>
                      <a:pt x="1936" y="476"/>
                    </a:lnTo>
                    <a:lnTo>
                      <a:pt x="1935" y="475"/>
                    </a:lnTo>
                    <a:lnTo>
                      <a:pt x="1934" y="474"/>
                    </a:lnTo>
                    <a:lnTo>
                      <a:pt x="1933" y="473"/>
                    </a:lnTo>
                    <a:lnTo>
                      <a:pt x="1933" y="471"/>
                    </a:lnTo>
                    <a:lnTo>
                      <a:pt x="1934" y="468"/>
                    </a:lnTo>
                    <a:lnTo>
                      <a:pt x="1934" y="466"/>
                    </a:lnTo>
                    <a:lnTo>
                      <a:pt x="1935" y="464"/>
                    </a:lnTo>
                    <a:lnTo>
                      <a:pt x="1935" y="462"/>
                    </a:lnTo>
                    <a:lnTo>
                      <a:pt x="1936" y="460"/>
                    </a:lnTo>
                    <a:lnTo>
                      <a:pt x="1936" y="450"/>
                    </a:lnTo>
                    <a:lnTo>
                      <a:pt x="1936" y="448"/>
                    </a:lnTo>
                    <a:lnTo>
                      <a:pt x="1936" y="447"/>
                    </a:lnTo>
                    <a:lnTo>
                      <a:pt x="1937" y="446"/>
                    </a:lnTo>
                    <a:lnTo>
                      <a:pt x="1937" y="446"/>
                    </a:lnTo>
                    <a:lnTo>
                      <a:pt x="1938" y="446"/>
                    </a:lnTo>
                    <a:lnTo>
                      <a:pt x="1939" y="446"/>
                    </a:lnTo>
                    <a:lnTo>
                      <a:pt x="1940" y="446"/>
                    </a:lnTo>
                    <a:lnTo>
                      <a:pt x="1941" y="445"/>
                    </a:lnTo>
                    <a:lnTo>
                      <a:pt x="1942" y="443"/>
                    </a:lnTo>
                    <a:lnTo>
                      <a:pt x="1943" y="441"/>
                    </a:lnTo>
                    <a:lnTo>
                      <a:pt x="1944" y="440"/>
                    </a:lnTo>
                    <a:lnTo>
                      <a:pt x="1944" y="435"/>
                    </a:lnTo>
                    <a:lnTo>
                      <a:pt x="1943" y="429"/>
                    </a:lnTo>
                    <a:lnTo>
                      <a:pt x="1942" y="422"/>
                    </a:lnTo>
                    <a:lnTo>
                      <a:pt x="1940" y="418"/>
                    </a:lnTo>
                    <a:lnTo>
                      <a:pt x="1939" y="416"/>
                    </a:lnTo>
                    <a:lnTo>
                      <a:pt x="1939" y="413"/>
                    </a:lnTo>
                    <a:lnTo>
                      <a:pt x="1937" y="410"/>
                    </a:lnTo>
                    <a:lnTo>
                      <a:pt x="1936" y="407"/>
                    </a:lnTo>
                    <a:lnTo>
                      <a:pt x="1936" y="403"/>
                    </a:lnTo>
                    <a:lnTo>
                      <a:pt x="1938" y="399"/>
                    </a:lnTo>
                    <a:lnTo>
                      <a:pt x="1940" y="397"/>
                    </a:lnTo>
                    <a:lnTo>
                      <a:pt x="1941" y="394"/>
                    </a:lnTo>
                    <a:lnTo>
                      <a:pt x="1943" y="391"/>
                    </a:lnTo>
                    <a:lnTo>
                      <a:pt x="1945" y="389"/>
                    </a:lnTo>
                    <a:lnTo>
                      <a:pt x="1946" y="386"/>
                    </a:lnTo>
                    <a:lnTo>
                      <a:pt x="1948" y="383"/>
                    </a:lnTo>
                    <a:lnTo>
                      <a:pt x="1948" y="381"/>
                    </a:lnTo>
                    <a:lnTo>
                      <a:pt x="1947" y="379"/>
                    </a:lnTo>
                    <a:lnTo>
                      <a:pt x="1946" y="377"/>
                    </a:lnTo>
                    <a:lnTo>
                      <a:pt x="1945" y="377"/>
                    </a:lnTo>
                    <a:lnTo>
                      <a:pt x="1944" y="378"/>
                    </a:lnTo>
                    <a:lnTo>
                      <a:pt x="1944" y="379"/>
                    </a:lnTo>
                    <a:lnTo>
                      <a:pt x="1944" y="381"/>
                    </a:lnTo>
                    <a:lnTo>
                      <a:pt x="1942" y="385"/>
                    </a:lnTo>
                    <a:lnTo>
                      <a:pt x="1941" y="388"/>
                    </a:lnTo>
                    <a:lnTo>
                      <a:pt x="1939" y="390"/>
                    </a:lnTo>
                    <a:lnTo>
                      <a:pt x="1938" y="393"/>
                    </a:lnTo>
                    <a:lnTo>
                      <a:pt x="1937" y="394"/>
                    </a:lnTo>
                    <a:lnTo>
                      <a:pt x="1936" y="394"/>
                    </a:lnTo>
                    <a:lnTo>
                      <a:pt x="1935" y="394"/>
                    </a:lnTo>
                    <a:lnTo>
                      <a:pt x="1934" y="393"/>
                    </a:lnTo>
                    <a:lnTo>
                      <a:pt x="1934" y="391"/>
                    </a:lnTo>
                    <a:lnTo>
                      <a:pt x="1934" y="389"/>
                    </a:lnTo>
                    <a:lnTo>
                      <a:pt x="1933" y="387"/>
                    </a:lnTo>
                    <a:lnTo>
                      <a:pt x="1932" y="384"/>
                    </a:lnTo>
                    <a:lnTo>
                      <a:pt x="1932" y="381"/>
                    </a:lnTo>
                    <a:lnTo>
                      <a:pt x="1932" y="375"/>
                    </a:lnTo>
                    <a:lnTo>
                      <a:pt x="1932" y="368"/>
                    </a:lnTo>
                    <a:lnTo>
                      <a:pt x="1931" y="362"/>
                    </a:lnTo>
                    <a:lnTo>
                      <a:pt x="1928" y="359"/>
                    </a:lnTo>
                    <a:lnTo>
                      <a:pt x="1927" y="359"/>
                    </a:lnTo>
                    <a:lnTo>
                      <a:pt x="1927" y="359"/>
                    </a:lnTo>
                    <a:lnTo>
                      <a:pt x="1927" y="361"/>
                    </a:lnTo>
                    <a:lnTo>
                      <a:pt x="1927" y="363"/>
                    </a:lnTo>
                    <a:lnTo>
                      <a:pt x="1928" y="365"/>
                    </a:lnTo>
                    <a:lnTo>
                      <a:pt x="1928" y="367"/>
                    </a:lnTo>
                    <a:lnTo>
                      <a:pt x="1928" y="369"/>
                    </a:lnTo>
                    <a:lnTo>
                      <a:pt x="1928" y="371"/>
                    </a:lnTo>
                    <a:lnTo>
                      <a:pt x="1927" y="372"/>
                    </a:lnTo>
                    <a:lnTo>
                      <a:pt x="1926" y="373"/>
                    </a:lnTo>
                    <a:lnTo>
                      <a:pt x="1925" y="374"/>
                    </a:lnTo>
                    <a:lnTo>
                      <a:pt x="1924" y="376"/>
                    </a:lnTo>
                    <a:lnTo>
                      <a:pt x="1923" y="378"/>
                    </a:lnTo>
                    <a:lnTo>
                      <a:pt x="1922" y="381"/>
                    </a:lnTo>
                    <a:lnTo>
                      <a:pt x="1921" y="385"/>
                    </a:lnTo>
                    <a:lnTo>
                      <a:pt x="1920" y="388"/>
                    </a:lnTo>
                    <a:lnTo>
                      <a:pt x="1918" y="391"/>
                    </a:lnTo>
                    <a:lnTo>
                      <a:pt x="1917" y="391"/>
                    </a:lnTo>
                    <a:lnTo>
                      <a:pt x="1916" y="391"/>
                    </a:lnTo>
                    <a:lnTo>
                      <a:pt x="1915" y="392"/>
                    </a:lnTo>
                    <a:lnTo>
                      <a:pt x="1914" y="393"/>
                    </a:lnTo>
                    <a:lnTo>
                      <a:pt x="1912" y="395"/>
                    </a:lnTo>
                    <a:lnTo>
                      <a:pt x="1910" y="396"/>
                    </a:lnTo>
                    <a:lnTo>
                      <a:pt x="1909" y="396"/>
                    </a:lnTo>
                    <a:lnTo>
                      <a:pt x="1907" y="396"/>
                    </a:lnTo>
                    <a:lnTo>
                      <a:pt x="1903" y="395"/>
                    </a:lnTo>
                    <a:lnTo>
                      <a:pt x="1901" y="393"/>
                    </a:lnTo>
                    <a:lnTo>
                      <a:pt x="1899" y="391"/>
                    </a:lnTo>
                    <a:lnTo>
                      <a:pt x="1897" y="391"/>
                    </a:lnTo>
                    <a:lnTo>
                      <a:pt x="1897" y="391"/>
                    </a:lnTo>
                    <a:lnTo>
                      <a:pt x="1896" y="390"/>
                    </a:lnTo>
                    <a:lnTo>
                      <a:pt x="1894" y="388"/>
                    </a:lnTo>
                    <a:lnTo>
                      <a:pt x="1893" y="387"/>
                    </a:lnTo>
                    <a:lnTo>
                      <a:pt x="1894" y="376"/>
                    </a:lnTo>
                    <a:lnTo>
                      <a:pt x="1895" y="367"/>
                    </a:lnTo>
                    <a:lnTo>
                      <a:pt x="1895" y="365"/>
                    </a:lnTo>
                    <a:lnTo>
                      <a:pt x="1894" y="363"/>
                    </a:lnTo>
                    <a:lnTo>
                      <a:pt x="1893" y="361"/>
                    </a:lnTo>
                    <a:lnTo>
                      <a:pt x="1892" y="359"/>
                    </a:lnTo>
                    <a:lnTo>
                      <a:pt x="1891" y="356"/>
                    </a:lnTo>
                    <a:lnTo>
                      <a:pt x="1891" y="353"/>
                    </a:lnTo>
                    <a:lnTo>
                      <a:pt x="1891" y="350"/>
                    </a:lnTo>
                    <a:lnTo>
                      <a:pt x="1891" y="347"/>
                    </a:lnTo>
                    <a:lnTo>
                      <a:pt x="1891" y="344"/>
                    </a:lnTo>
                    <a:lnTo>
                      <a:pt x="1890" y="341"/>
                    </a:lnTo>
                    <a:lnTo>
                      <a:pt x="1890" y="338"/>
                    </a:lnTo>
                    <a:lnTo>
                      <a:pt x="1889" y="336"/>
                    </a:lnTo>
                    <a:lnTo>
                      <a:pt x="1887" y="335"/>
                    </a:lnTo>
                    <a:lnTo>
                      <a:pt x="1886" y="335"/>
                    </a:lnTo>
                    <a:lnTo>
                      <a:pt x="1884" y="336"/>
                    </a:lnTo>
                    <a:lnTo>
                      <a:pt x="1883" y="336"/>
                    </a:lnTo>
                    <a:lnTo>
                      <a:pt x="1882" y="335"/>
                    </a:lnTo>
                    <a:lnTo>
                      <a:pt x="1880" y="334"/>
                    </a:lnTo>
                    <a:lnTo>
                      <a:pt x="1878" y="333"/>
                    </a:lnTo>
                    <a:lnTo>
                      <a:pt x="1877" y="331"/>
                    </a:lnTo>
                    <a:lnTo>
                      <a:pt x="1875" y="329"/>
                    </a:lnTo>
                    <a:lnTo>
                      <a:pt x="1875" y="326"/>
                    </a:lnTo>
                    <a:lnTo>
                      <a:pt x="1877" y="327"/>
                    </a:lnTo>
                    <a:lnTo>
                      <a:pt x="1879" y="328"/>
                    </a:lnTo>
                    <a:lnTo>
                      <a:pt x="1881" y="329"/>
                    </a:lnTo>
                    <a:lnTo>
                      <a:pt x="1883" y="329"/>
                    </a:lnTo>
                    <a:lnTo>
                      <a:pt x="1885" y="329"/>
                    </a:lnTo>
                    <a:lnTo>
                      <a:pt x="1887" y="328"/>
                    </a:lnTo>
                    <a:lnTo>
                      <a:pt x="1887" y="327"/>
                    </a:lnTo>
                    <a:lnTo>
                      <a:pt x="1887" y="325"/>
                    </a:lnTo>
                    <a:lnTo>
                      <a:pt x="1887" y="322"/>
                    </a:lnTo>
                    <a:lnTo>
                      <a:pt x="1886" y="320"/>
                    </a:lnTo>
                    <a:lnTo>
                      <a:pt x="1886" y="317"/>
                    </a:lnTo>
                    <a:lnTo>
                      <a:pt x="1885" y="314"/>
                    </a:lnTo>
                    <a:lnTo>
                      <a:pt x="1885" y="312"/>
                    </a:lnTo>
                    <a:lnTo>
                      <a:pt x="1885" y="285"/>
                    </a:lnTo>
                    <a:lnTo>
                      <a:pt x="1885" y="284"/>
                    </a:lnTo>
                    <a:lnTo>
                      <a:pt x="1885" y="283"/>
                    </a:lnTo>
                    <a:lnTo>
                      <a:pt x="1885" y="283"/>
                    </a:lnTo>
                    <a:lnTo>
                      <a:pt x="1886" y="283"/>
                    </a:lnTo>
                    <a:lnTo>
                      <a:pt x="1887" y="283"/>
                    </a:lnTo>
                    <a:lnTo>
                      <a:pt x="1888" y="283"/>
                    </a:lnTo>
                    <a:lnTo>
                      <a:pt x="1889" y="282"/>
                    </a:lnTo>
                    <a:lnTo>
                      <a:pt x="1889" y="280"/>
                    </a:lnTo>
                    <a:lnTo>
                      <a:pt x="1890" y="279"/>
                    </a:lnTo>
                    <a:lnTo>
                      <a:pt x="1891" y="277"/>
                    </a:lnTo>
                    <a:lnTo>
                      <a:pt x="1892" y="273"/>
                    </a:lnTo>
                    <a:lnTo>
                      <a:pt x="1894" y="269"/>
                    </a:lnTo>
                    <a:lnTo>
                      <a:pt x="1896" y="265"/>
                    </a:lnTo>
                    <a:lnTo>
                      <a:pt x="1899" y="261"/>
                    </a:lnTo>
                    <a:lnTo>
                      <a:pt x="1901" y="261"/>
                    </a:lnTo>
                    <a:lnTo>
                      <a:pt x="1903" y="261"/>
                    </a:lnTo>
                    <a:lnTo>
                      <a:pt x="1905" y="259"/>
                    </a:lnTo>
                    <a:lnTo>
                      <a:pt x="1905" y="259"/>
                    </a:lnTo>
                    <a:lnTo>
                      <a:pt x="1905" y="257"/>
                    </a:lnTo>
                    <a:lnTo>
                      <a:pt x="1907" y="254"/>
                    </a:lnTo>
                    <a:lnTo>
                      <a:pt x="1908" y="252"/>
                    </a:lnTo>
                    <a:lnTo>
                      <a:pt x="1909" y="248"/>
                    </a:lnTo>
                    <a:lnTo>
                      <a:pt x="1910" y="244"/>
                    </a:lnTo>
                    <a:lnTo>
                      <a:pt x="1912" y="241"/>
                    </a:lnTo>
                    <a:lnTo>
                      <a:pt x="1914" y="237"/>
                    </a:lnTo>
                    <a:lnTo>
                      <a:pt x="1914" y="235"/>
                    </a:lnTo>
                    <a:lnTo>
                      <a:pt x="1914" y="233"/>
                    </a:lnTo>
                    <a:lnTo>
                      <a:pt x="1915" y="230"/>
                    </a:lnTo>
                    <a:lnTo>
                      <a:pt x="1916" y="229"/>
                    </a:lnTo>
                    <a:lnTo>
                      <a:pt x="1916" y="227"/>
                    </a:lnTo>
                    <a:lnTo>
                      <a:pt x="1917" y="225"/>
                    </a:lnTo>
                    <a:lnTo>
                      <a:pt x="1918" y="224"/>
                    </a:lnTo>
                    <a:lnTo>
                      <a:pt x="1919" y="224"/>
                    </a:lnTo>
                    <a:lnTo>
                      <a:pt x="1920" y="223"/>
                    </a:lnTo>
                    <a:lnTo>
                      <a:pt x="1921" y="218"/>
                    </a:lnTo>
                    <a:lnTo>
                      <a:pt x="1922" y="211"/>
                    </a:lnTo>
                    <a:lnTo>
                      <a:pt x="1924" y="205"/>
                    </a:lnTo>
                    <a:lnTo>
                      <a:pt x="1924" y="195"/>
                    </a:lnTo>
                    <a:lnTo>
                      <a:pt x="1924" y="192"/>
                    </a:lnTo>
                    <a:lnTo>
                      <a:pt x="1925" y="189"/>
                    </a:lnTo>
                    <a:lnTo>
                      <a:pt x="1926" y="187"/>
                    </a:lnTo>
                    <a:lnTo>
                      <a:pt x="1926" y="186"/>
                    </a:lnTo>
                    <a:lnTo>
                      <a:pt x="1927" y="184"/>
                    </a:lnTo>
                    <a:lnTo>
                      <a:pt x="1927" y="183"/>
                    </a:lnTo>
                    <a:lnTo>
                      <a:pt x="1926" y="181"/>
                    </a:lnTo>
                    <a:lnTo>
                      <a:pt x="1926" y="179"/>
                    </a:lnTo>
                    <a:lnTo>
                      <a:pt x="1926" y="178"/>
                    </a:lnTo>
                    <a:lnTo>
                      <a:pt x="1925" y="176"/>
                    </a:lnTo>
                    <a:lnTo>
                      <a:pt x="1925" y="174"/>
                    </a:lnTo>
                    <a:lnTo>
                      <a:pt x="1925" y="172"/>
                    </a:lnTo>
                    <a:lnTo>
                      <a:pt x="1926" y="171"/>
                    </a:lnTo>
                    <a:lnTo>
                      <a:pt x="1926" y="170"/>
                    </a:lnTo>
                    <a:lnTo>
                      <a:pt x="1926" y="164"/>
                    </a:lnTo>
                    <a:lnTo>
                      <a:pt x="1926" y="163"/>
                    </a:lnTo>
                    <a:lnTo>
                      <a:pt x="1927" y="163"/>
                    </a:lnTo>
                    <a:lnTo>
                      <a:pt x="1927" y="163"/>
                    </a:lnTo>
                    <a:lnTo>
                      <a:pt x="1928" y="163"/>
                    </a:lnTo>
                    <a:lnTo>
                      <a:pt x="1928" y="162"/>
                    </a:lnTo>
                    <a:lnTo>
                      <a:pt x="1928" y="154"/>
                    </a:lnTo>
                    <a:lnTo>
                      <a:pt x="1929" y="153"/>
                    </a:lnTo>
                    <a:lnTo>
                      <a:pt x="1930" y="152"/>
                    </a:lnTo>
                    <a:lnTo>
                      <a:pt x="1931" y="151"/>
                    </a:lnTo>
                    <a:lnTo>
                      <a:pt x="1932" y="150"/>
                    </a:lnTo>
                    <a:lnTo>
                      <a:pt x="1932" y="133"/>
                    </a:lnTo>
                    <a:lnTo>
                      <a:pt x="1931" y="131"/>
                    </a:lnTo>
                    <a:lnTo>
                      <a:pt x="1930" y="130"/>
                    </a:lnTo>
                    <a:lnTo>
                      <a:pt x="1930" y="129"/>
                    </a:lnTo>
                    <a:lnTo>
                      <a:pt x="1930" y="128"/>
                    </a:lnTo>
                    <a:lnTo>
                      <a:pt x="1930" y="127"/>
                    </a:lnTo>
                    <a:lnTo>
                      <a:pt x="1929" y="126"/>
                    </a:lnTo>
                    <a:lnTo>
                      <a:pt x="1929" y="124"/>
                    </a:lnTo>
                    <a:lnTo>
                      <a:pt x="1929" y="123"/>
                    </a:lnTo>
                    <a:lnTo>
                      <a:pt x="1930" y="121"/>
                    </a:lnTo>
                    <a:lnTo>
                      <a:pt x="1931" y="118"/>
                    </a:lnTo>
                    <a:lnTo>
                      <a:pt x="1931" y="115"/>
                    </a:lnTo>
                    <a:lnTo>
                      <a:pt x="1930" y="112"/>
                    </a:lnTo>
                    <a:lnTo>
                      <a:pt x="1930" y="109"/>
                    </a:lnTo>
                    <a:lnTo>
                      <a:pt x="1930" y="105"/>
                    </a:lnTo>
                    <a:lnTo>
                      <a:pt x="1931" y="106"/>
                    </a:lnTo>
                    <a:lnTo>
                      <a:pt x="1931" y="107"/>
                    </a:lnTo>
                    <a:lnTo>
                      <a:pt x="1932" y="107"/>
                    </a:lnTo>
                    <a:lnTo>
                      <a:pt x="1932" y="106"/>
                    </a:lnTo>
                    <a:lnTo>
                      <a:pt x="1932" y="103"/>
                    </a:lnTo>
                    <a:lnTo>
                      <a:pt x="1932" y="103"/>
                    </a:lnTo>
                    <a:lnTo>
                      <a:pt x="1932" y="103"/>
                    </a:lnTo>
                    <a:lnTo>
                      <a:pt x="1933" y="105"/>
                    </a:lnTo>
                    <a:lnTo>
                      <a:pt x="1933" y="106"/>
                    </a:lnTo>
                    <a:lnTo>
                      <a:pt x="1934" y="108"/>
                    </a:lnTo>
                    <a:lnTo>
                      <a:pt x="1934" y="109"/>
                    </a:lnTo>
                    <a:lnTo>
                      <a:pt x="1934" y="110"/>
                    </a:lnTo>
                    <a:lnTo>
                      <a:pt x="1935" y="111"/>
                    </a:lnTo>
                    <a:lnTo>
                      <a:pt x="1935" y="112"/>
                    </a:lnTo>
                    <a:lnTo>
                      <a:pt x="1936" y="112"/>
                    </a:lnTo>
                    <a:lnTo>
                      <a:pt x="1936" y="111"/>
                    </a:lnTo>
                    <a:lnTo>
                      <a:pt x="1936" y="105"/>
                    </a:lnTo>
                    <a:lnTo>
                      <a:pt x="1936" y="104"/>
                    </a:lnTo>
                    <a:lnTo>
                      <a:pt x="1937" y="104"/>
                    </a:lnTo>
                    <a:lnTo>
                      <a:pt x="1937" y="104"/>
                    </a:lnTo>
                    <a:lnTo>
                      <a:pt x="1938" y="105"/>
                    </a:lnTo>
                    <a:lnTo>
                      <a:pt x="1939" y="105"/>
                    </a:lnTo>
                    <a:lnTo>
                      <a:pt x="1940" y="106"/>
                    </a:lnTo>
                    <a:lnTo>
                      <a:pt x="1940" y="105"/>
                    </a:lnTo>
                    <a:lnTo>
                      <a:pt x="1940" y="104"/>
                    </a:lnTo>
                    <a:lnTo>
                      <a:pt x="1939" y="101"/>
                    </a:lnTo>
                    <a:lnTo>
                      <a:pt x="1939" y="98"/>
                    </a:lnTo>
                    <a:lnTo>
                      <a:pt x="1938" y="96"/>
                    </a:lnTo>
                    <a:lnTo>
                      <a:pt x="1938" y="94"/>
                    </a:lnTo>
                    <a:lnTo>
                      <a:pt x="1938" y="93"/>
                    </a:lnTo>
                    <a:lnTo>
                      <a:pt x="1939" y="94"/>
                    </a:lnTo>
                    <a:lnTo>
                      <a:pt x="1939" y="94"/>
                    </a:lnTo>
                    <a:lnTo>
                      <a:pt x="1940" y="95"/>
                    </a:lnTo>
                    <a:lnTo>
                      <a:pt x="1941" y="96"/>
                    </a:lnTo>
                    <a:lnTo>
                      <a:pt x="1941" y="96"/>
                    </a:lnTo>
                    <a:lnTo>
                      <a:pt x="1942" y="95"/>
                    </a:lnTo>
                    <a:lnTo>
                      <a:pt x="1942" y="93"/>
                    </a:lnTo>
                    <a:lnTo>
                      <a:pt x="1942" y="92"/>
                    </a:lnTo>
                    <a:lnTo>
                      <a:pt x="1941" y="90"/>
                    </a:lnTo>
                    <a:lnTo>
                      <a:pt x="1941" y="89"/>
                    </a:lnTo>
                    <a:lnTo>
                      <a:pt x="1941" y="87"/>
                    </a:lnTo>
                    <a:lnTo>
                      <a:pt x="1941" y="86"/>
                    </a:lnTo>
                    <a:lnTo>
                      <a:pt x="1941" y="85"/>
                    </a:lnTo>
                    <a:lnTo>
                      <a:pt x="1942" y="85"/>
                    </a:lnTo>
                    <a:lnTo>
                      <a:pt x="1943" y="86"/>
                    </a:lnTo>
                    <a:lnTo>
                      <a:pt x="1943" y="86"/>
                    </a:lnTo>
                    <a:lnTo>
                      <a:pt x="1944" y="87"/>
                    </a:lnTo>
                    <a:lnTo>
                      <a:pt x="1944" y="87"/>
                    </a:lnTo>
                    <a:lnTo>
                      <a:pt x="1944" y="85"/>
                    </a:lnTo>
                    <a:lnTo>
                      <a:pt x="1944" y="74"/>
                    </a:lnTo>
                    <a:lnTo>
                      <a:pt x="1943" y="72"/>
                    </a:lnTo>
                    <a:lnTo>
                      <a:pt x="1943" y="70"/>
                    </a:lnTo>
                    <a:lnTo>
                      <a:pt x="1942" y="68"/>
                    </a:lnTo>
                    <a:lnTo>
                      <a:pt x="1942" y="66"/>
                    </a:lnTo>
                    <a:lnTo>
                      <a:pt x="1942" y="66"/>
                    </a:lnTo>
                    <a:lnTo>
                      <a:pt x="1943" y="67"/>
                    </a:lnTo>
                    <a:lnTo>
                      <a:pt x="1944" y="68"/>
                    </a:lnTo>
                    <a:lnTo>
                      <a:pt x="1945" y="69"/>
                    </a:lnTo>
                    <a:lnTo>
                      <a:pt x="1945" y="71"/>
                    </a:lnTo>
                    <a:lnTo>
                      <a:pt x="1946" y="72"/>
                    </a:lnTo>
                    <a:lnTo>
                      <a:pt x="1947" y="74"/>
                    </a:lnTo>
                    <a:lnTo>
                      <a:pt x="1948" y="74"/>
                    </a:lnTo>
                    <a:lnTo>
                      <a:pt x="1948" y="74"/>
                    </a:lnTo>
                    <a:lnTo>
                      <a:pt x="1948" y="73"/>
                    </a:lnTo>
                    <a:lnTo>
                      <a:pt x="1948" y="72"/>
                    </a:lnTo>
                    <a:lnTo>
                      <a:pt x="1948" y="71"/>
                    </a:lnTo>
                    <a:lnTo>
                      <a:pt x="1948" y="69"/>
                    </a:lnTo>
                    <a:lnTo>
                      <a:pt x="1948" y="68"/>
                    </a:lnTo>
                    <a:lnTo>
                      <a:pt x="1949" y="68"/>
                    </a:lnTo>
                    <a:lnTo>
                      <a:pt x="1950" y="68"/>
                    </a:lnTo>
                    <a:lnTo>
                      <a:pt x="1951" y="69"/>
                    </a:lnTo>
                    <a:lnTo>
                      <a:pt x="1951" y="70"/>
                    </a:lnTo>
                    <a:lnTo>
                      <a:pt x="1952" y="70"/>
                    </a:lnTo>
                    <a:lnTo>
                      <a:pt x="1953" y="72"/>
                    </a:lnTo>
                    <a:lnTo>
                      <a:pt x="1953" y="72"/>
                    </a:lnTo>
                    <a:lnTo>
                      <a:pt x="1954" y="71"/>
                    </a:lnTo>
                    <a:lnTo>
                      <a:pt x="1954" y="70"/>
                    </a:lnTo>
                    <a:lnTo>
                      <a:pt x="1954" y="69"/>
                    </a:lnTo>
                    <a:lnTo>
                      <a:pt x="1954" y="67"/>
                    </a:lnTo>
                    <a:lnTo>
                      <a:pt x="1954" y="66"/>
                    </a:lnTo>
                    <a:lnTo>
                      <a:pt x="1955" y="65"/>
                    </a:lnTo>
                    <a:lnTo>
                      <a:pt x="1956" y="64"/>
                    </a:lnTo>
                    <a:lnTo>
                      <a:pt x="1956" y="65"/>
                    </a:lnTo>
                    <a:lnTo>
                      <a:pt x="1956" y="67"/>
                    </a:lnTo>
                    <a:lnTo>
                      <a:pt x="1957" y="68"/>
                    </a:lnTo>
                    <a:lnTo>
                      <a:pt x="1959" y="69"/>
                    </a:lnTo>
                    <a:lnTo>
                      <a:pt x="1960" y="70"/>
                    </a:lnTo>
                    <a:lnTo>
                      <a:pt x="1960" y="69"/>
                    </a:lnTo>
                    <a:lnTo>
                      <a:pt x="1961" y="68"/>
                    </a:lnTo>
                    <a:lnTo>
                      <a:pt x="1961" y="67"/>
                    </a:lnTo>
                    <a:lnTo>
                      <a:pt x="1961" y="66"/>
                    </a:lnTo>
                    <a:lnTo>
                      <a:pt x="1961" y="66"/>
                    </a:lnTo>
                    <a:lnTo>
                      <a:pt x="1962" y="66"/>
                    </a:lnTo>
                    <a:lnTo>
                      <a:pt x="1963" y="66"/>
                    </a:lnTo>
                    <a:lnTo>
                      <a:pt x="1964" y="68"/>
                    </a:lnTo>
                    <a:lnTo>
                      <a:pt x="1965" y="69"/>
                    </a:lnTo>
                    <a:lnTo>
                      <a:pt x="1966" y="70"/>
                    </a:lnTo>
                    <a:lnTo>
                      <a:pt x="1966" y="71"/>
                    </a:lnTo>
                    <a:lnTo>
                      <a:pt x="1967" y="70"/>
                    </a:lnTo>
                    <a:lnTo>
                      <a:pt x="1967" y="69"/>
                    </a:lnTo>
                    <a:lnTo>
                      <a:pt x="1968" y="68"/>
                    </a:lnTo>
                    <a:lnTo>
                      <a:pt x="1968" y="67"/>
                    </a:lnTo>
                    <a:lnTo>
                      <a:pt x="1968" y="67"/>
                    </a:lnTo>
                    <a:lnTo>
                      <a:pt x="1969" y="66"/>
                    </a:lnTo>
                    <a:lnTo>
                      <a:pt x="1970" y="66"/>
                    </a:lnTo>
                    <a:lnTo>
                      <a:pt x="1970" y="65"/>
                    </a:lnTo>
                    <a:lnTo>
                      <a:pt x="1971" y="63"/>
                    </a:lnTo>
                    <a:lnTo>
                      <a:pt x="1971" y="60"/>
                    </a:lnTo>
                    <a:lnTo>
                      <a:pt x="1970" y="59"/>
                    </a:lnTo>
                    <a:lnTo>
                      <a:pt x="1970" y="58"/>
                    </a:lnTo>
                    <a:lnTo>
                      <a:pt x="1970" y="58"/>
                    </a:lnTo>
                    <a:lnTo>
                      <a:pt x="1970" y="58"/>
                    </a:lnTo>
                    <a:lnTo>
                      <a:pt x="1971" y="58"/>
                    </a:lnTo>
                    <a:lnTo>
                      <a:pt x="1972" y="60"/>
                    </a:lnTo>
                    <a:lnTo>
                      <a:pt x="1973" y="61"/>
                    </a:lnTo>
                    <a:lnTo>
                      <a:pt x="1974" y="61"/>
                    </a:lnTo>
                    <a:lnTo>
                      <a:pt x="1974" y="60"/>
                    </a:lnTo>
                    <a:lnTo>
                      <a:pt x="1975" y="58"/>
                    </a:lnTo>
                    <a:lnTo>
                      <a:pt x="1975" y="55"/>
                    </a:lnTo>
                    <a:lnTo>
                      <a:pt x="1975" y="52"/>
                    </a:lnTo>
                    <a:lnTo>
                      <a:pt x="1975" y="50"/>
                    </a:lnTo>
                    <a:lnTo>
                      <a:pt x="1976" y="49"/>
                    </a:lnTo>
                    <a:lnTo>
                      <a:pt x="1976" y="48"/>
                    </a:lnTo>
                    <a:lnTo>
                      <a:pt x="1977" y="48"/>
                    </a:lnTo>
                    <a:lnTo>
                      <a:pt x="1978" y="49"/>
                    </a:lnTo>
                    <a:lnTo>
                      <a:pt x="1979" y="50"/>
                    </a:lnTo>
                    <a:lnTo>
                      <a:pt x="1979" y="52"/>
                    </a:lnTo>
                    <a:lnTo>
                      <a:pt x="1979" y="53"/>
                    </a:lnTo>
                    <a:lnTo>
                      <a:pt x="1980" y="54"/>
                    </a:lnTo>
                    <a:lnTo>
                      <a:pt x="1980" y="55"/>
                    </a:lnTo>
                    <a:lnTo>
                      <a:pt x="1981" y="54"/>
                    </a:lnTo>
                    <a:lnTo>
                      <a:pt x="1981" y="54"/>
                    </a:lnTo>
                    <a:lnTo>
                      <a:pt x="1981" y="53"/>
                    </a:lnTo>
                    <a:lnTo>
                      <a:pt x="1981" y="52"/>
                    </a:lnTo>
                    <a:lnTo>
                      <a:pt x="1981" y="51"/>
                    </a:lnTo>
                    <a:lnTo>
                      <a:pt x="1982" y="50"/>
                    </a:lnTo>
                    <a:lnTo>
                      <a:pt x="1983" y="50"/>
                    </a:lnTo>
                    <a:lnTo>
                      <a:pt x="1983" y="51"/>
                    </a:lnTo>
                    <a:lnTo>
                      <a:pt x="1984" y="51"/>
                    </a:lnTo>
                    <a:lnTo>
                      <a:pt x="1985" y="52"/>
                    </a:lnTo>
                    <a:lnTo>
                      <a:pt x="1986" y="53"/>
                    </a:lnTo>
                    <a:lnTo>
                      <a:pt x="1986" y="53"/>
                    </a:lnTo>
                    <a:lnTo>
                      <a:pt x="1987" y="52"/>
                    </a:lnTo>
                    <a:lnTo>
                      <a:pt x="1987" y="51"/>
                    </a:lnTo>
                    <a:lnTo>
                      <a:pt x="1987" y="51"/>
                    </a:lnTo>
                    <a:lnTo>
                      <a:pt x="1988" y="51"/>
                    </a:lnTo>
                    <a:lnTo>
                      <a:pt x="1988" y="52"/>
                    </a:lnTo>
                    <a:lnTo>
                      <a:pt x="1988" y="52"/>
                    </a:lnTo>
                    <a:lnTo>
                      <a:pt x="1989" y="52"/>
                    </a:lnTo>
                    <a:lnTo>
                      <a:pt x="1993" y="52"/>
                    </a:lnTo>
                    <a:lnTo>
                      <a:pt x="1993" y="52"/>
                    </a:lnTo>
                    <a:lnTo>
                      <a:pt x="1993" y="51"/>
                    </a:lnTo>
                    <a:lnTo>
                      <a:pt x="1993" y="50"/>
                    </a:lnTo>
                    <a:lnTo>
                      <a:pt x="1993" y="49"/>
                    </a:lnTo>
                    <a:lnTo>
                      <a:pt x="1993" y="48"/>
                    </a:lnTo>
                    <a:lnTo>
                      <a:pt x="1994" y="49"/>
                    </a:lnTo>
                    <a:lnTo>
                      <a:pt x="1995" y="51"/>
                    </a:lnTo>
                    <a:lnTo>
                      <a:pt x="1996" y="53"/>
                    </a:lnTo>
                    <a:lnTo>
                      <a:pt x="1996" y="54"/>
                    </a:lnTo>
                    <a:lnTo>
                      <a:pt x="1998" y="56"/>
                    </a:lnTo>
                    <a:lnTo>
                      <a:pt x="1999" y="56"/>
                    </a:lnTo>
                    <a:lnTo>
                      <a:pt x="2000" y="57"/>
                    </a:lnTo>
                    <a:lnTo>
                      <a:pt x="2000" y="58"/>
                    </a:lnTo>
                    <a:lnTo>
                      <a:pt x="2002" y="59"/>
                    </a:lnTo>
                    <a:lnTo>
                      <a:pt x="2002" y="60"/>
                    </a:lnTo>
                    <a:lnTo>
                      <a:pt x="2002" y="61"/>
                    </a:lnTo>
                    <a:lnTo>
                      <a:pt x="2002" y="62"/>
                    </a:lnTo>
                    <a:lnTo>
                      <a:pt x="2004" y="63"/>
                    </a:lnTo>
                    <a:lnTo>
                      <a:pt x="2005" y="63"/>
                    </a:lnTo>
                    <a:lnTo>
                      <a:pt x="2006" y="63"/>
                    </a:lnTo>
                    <a:lnTo>
                      <a:pt x="2006" y="64"/>
                    </a:lnTo>
                    <a:lnTo>
                      <a:pt x="2006" y="64"/>
                    </a:lnTo>
                    <a:lnTo>
                      <a:pt x="2008" y="67"/>
                    </a:lnTo>
                    <a:lnTo>
                      <a:pt x="2008" y="69"/>
                    </a:lnTo>
                    <a:lnTo>
                      <a:pt x="2010" y="70"/>
                    </a:lnTo>
                    <a:lnTo>
                      <a:pt x="2011" y="70"/>
                    </a:lnTo>
                    <a:lnTo>
                      <a:pt x="2013" y="72"/>
                    </a:lnTo>
                    <a:lnTo>
                      <a:pt x="2015" y="74"/>
                    </a:lnTo>
                    <a:lnTo>
                      <a:pt x="2015" y="76"/>
                    </a:lnTo>
                    <a:lnTo>
                      <a:pt x="2017" y="79"/>
                    </a:lnTo>
                    <a:lnTo>
                      <a:pt x="2018" y="80"/>
                    </a:lnTo>
                    <a:lnTo>
                      <a:pt x="2018" y="82"/>
                    </a:lnTo>
                    <a:lnTo>
                      <a:pt x="2018" y="83"/>
                    </a:lnTo>
                    <a:lnTo>
                      <a:pt x="2017" y="83"/>
                    </a:lnTo>
                    <a:lnTo>
                      <a:pt x="2017" y="84"/>
                    </a:lnTo>
                    <a:lnTo>
                      <a:pt x="2017" y="84"/>
                    </a:lnTo>
                    <a:lnTo>
                      <a:pt x="2016" y="84"/>
                    </a:lnTo>
                    <a:lnTo>
                      <a:pt x="2015" y="84"/>
                    </a:lnTo>
                    <a:lnTo>
                      <a:pt x="2013" y="85"/>
                    </a:lnTo>
                    <a:lnTo>
                      <a:pt x="2014" y="87"/>
                    </a:lnTo>
                    <a:lnTo>
                      <a:pt x="2014" y="89"/>
                    </a:lnTo>
                    <a:lnTo>
                      <a:pt x="2015" y="92"/>
                    </a:lnTo>
                    <a:lnTo>
                      <a:pt x="2015" y="95"/>
                    </a:lnTo>
                    <a:lnTo>
                      <a:pt x="2016" y="98"/>
                    </a:lnTo>
                    <a:lnTo>
                      <a:pt x="2017" y="99"/>
                    </a:lnTo>
                    <a:lnTo>
                      <a:pt x="2018" y="101"/>
                    </a:lnTo>
                    <a:lnTo>
                      <a:pt x="2019" y="102"/>
                    </a:lnTo>
                    <a:lnTo>
                      <a:pt x="2020" y="103"/>
                    </a:lnTo>
                    <a:lnTo>
                      <a:pt x="2021" y="104"/>
                    </a:lnTo>
                    <a:lnTo>
                      <a:pt x="2021" y="105"/>
                    </a:lnTo>
                    <a:lnTo>
                      <a:pt x="2023" y="107"/>
                    </a:lnTo>
                    <a:lnTo>
                      <a:pt x="2025" y="108"/>
                    </a:lnTo>
                    <a:lnTo>
                      <a:pt x="2027" y="109"/>
                    </a:lnTo>
                    <a:lnTo>
                      <a:pt x="2029" y="111"/>
                    </a:lnTo>
                    <a:lnTo>
                      <a:pt x="2030" y="113"/>
                    </a:lnTo>
                    <a:lnTo>
                      <a:pt x="2032" y="114"/>
                    </a:lnTo>
                    <a:lnTo>
                      <a:pt x="2033" y="115"/>
                    </a:lnTo>
                    <a:lnTo>
                      <a:pt x="2033" y="115"/>
                    </a:lnTo>
                    <a:lnTo>
                      <a:pt x="2033" y="116"/>
                    </a:lnTo>
                    <a:lnTo>
                      <a:pt x="2033" y="115"/>
                    </a:lnTo>
                    <a:lnTo>
                      <a:pt x="2033" y="115"/>
                    </a:lnTo>
                    <a:lnTo>
                      <a:pt x="2033" y="114"/>
                    </a:lnTo>
                    <a:lnTo>
                      <a:pt x="2032" y="113"/>
                    </a:lnTo>
                    <a:lnTo>
                      <a:pt x="2033" y="112"/>
                    </a:lnTo>
                    <a:lnTo>
                      <a:pt x="2033" y="111"/>
                    </a:lnTo>
                    <a:lnTo>
                      <a:pt x="2035" y="112"/>
                    </a:lnTo>
                    <a:lnTo>
                      <a:pt x="2035" y="113"/>
                    </a:lnTo>
                    <a:lnTo>
                      <a:pt x="2036" y="114"/>
                    </a:lnTo>
                    <a:lnTo>
                      <a:pt x="2037" y="115"/>
                    </a:lnTo>
                    <a:lnTo>
                      <a:pt x="2038" y="116"/>
                    </a:lnTo>
                    <a:lnTo>
                      <a:pt x="2038" y="117"/>
                    </a:lnTo>
                    <a:lnTo>
                      <a:pt x="2039" y="117"/>
                    </a:lnTo>
                    <a:lnTo>
                      <a:pt x="2039" y="117"/>
                    </a:lnTo>
                    <a:lnTo>
                      <a:pt x="2041" y="118"/>
                    </a:lnTo>
                    <a:lnTo>
                      <a:pt x="2043" y="119"/>
                    </a:lnTo>
                    <a:lnTo>
                      <a:pt x="2045" y="121"/>
                    </a:lnTo>
                    <a:lnTo>
                      <a:pt x="2047" y="121"/>
                    </a:lnTo>
                    <a:lnTo>
                      <a:pt x="2048" y="120"/>
                    </a:lnTo>
                    <a:lnTo>
                      <a:pt x="2050" y="120"/>
                    </a:lnTo>
                    <a:lnTo>
                      <a:pt x="2051" y="121"/>
                    </a:lnTo>
                    <a:lnTo>
                      <a:pt x="2051" y="122"/>
                    </a:lnTo>
                    <a:lnTo>
                      <a:pt x="2052" y="123"/>
                    </a:lnTo>
                    <a:lnTo>
                      <a:pt x="2053" y="124"/>
                    </a:lnTo>
                    <a:lnTo>
                      <a:pt x="2053" y="126"/>
                    </a:lnTo>
                    <a:lnTo>
                      <a:pt x="2053" y="127"/>
                    </a:lnTo>
                    <a:lnTo>
                      <a:pt x="2056" y="132"/>
                    </a:lnTo>
                    <a:lnTo>
                      <a:pt x="2058" y="137"/>
                    </a:lnTo>
                    <a:lnTo>
                      <a:pt x="2062" y="141"/>
                    </a:lnTo>
                    <a:lnTo>
                      <a:pt x="2064" y="144"/>
                    </a:lnTo>
                    <a:lnTo>
                      <a:pt x="2065" y="147"/>
                    </a:lnTo>
                    <a:lnTo>
                      <a:pt x="2066" y="149"/>
                    </a:lnTo>
                    <a:lnTo>
                      <a:pt x="2067" y="151"/>
                    </a:lnTo>
                    <a:lnTo>
                      <a:pt x="2068" y="154"/>
                    </a:lnTo>
                    <a:lnTo>
                      <a:pt x="2070" y="157"/>
                    </a:lnTo>
                    <a:lnTo>
                      <a:pt x="2072" y="160"/>
                    </a:lnTo>
                    <a:lnTo>
                      <a:pt x="2074" y="162"/>
                    </a:lnTo>
                    <a:lnTo>
                      <a:pt x="2079" y="170"/>
                    </a:lnTo>
                    <a:lnTo>
                      <a:pt x="2084" y="181"/>
                    </a:lnTo>
                    <a:lnTo>
                      <a:pt x="2087" y="193"/>
                    </a:lnTo>
                    <a:lnTo>
                      <a:pt x="2086" y="205"/>
                    </a:lnTo>
                    <a:lnTo>
                      <a:pt x="2086" y="207"/>
                    </a:lnTo>
                    <a:lnTo>
                      <a:pt x="2085" y="209"/>
                    </a:lnTo>
                    <a:lnTo>
                      <a:pt x="2084" y="211"/>
                    </a:lnTo>
                    <a:lnTo>
                      <a:pt x="2084" y="213"/>
                    </a:lnTo>
                    <a:lnTo>
                      <a:pt x="2083" y="214"/>
                    </a:lnTo>
                    <a:lnTo>
                      <a:pt x="2081" y="213"/>
                    </a:lnTo>
                    <a:lnTo>
                      <a:pt x="2080" y="213"/>
                    </a:lnTo>
                    <a:lnTo>
                      <a:pt x="2078" y="213"/>
                    </a:lnTo>
                    <a:lnTo>
                      <a:pt x="2077" y="213"/>
                    </a:lnTo>
                    <a:lnTo>
                      <a:pt x="2076" y="214"/>
                    </a:lnTo>
                    <a:lnTo>
                      <a:pt x="2076" y="215"/>
                    </a:lnTo>
                    <a:lnTo>
                      <a:pt x="2075" y="215"/>
                    </a:lnTo>
                    <a:lnTo>
                      <a:pt x="2074" y="215"/>
                    </a:lnTo>
                    <a:lnTo>
                      <a:pt x="2072" y="214"/>
                    </a:lnTo>
                    <a:lnTo>
                      <a:pt x="2070" y="213"/>
                    </a:lnTo>
                    <a:lnTo>
                      <a:pt x="2068" y="211"/>
                    </a:lnTo>
                    <a:lnTo>
                      <a:pt x="2065" y="209"/>
                    </a:lnTo>
                    <a:lnTo>
                      <a:pt x="2062" y="207"/>
                    </a:lnTo>
                    <a:lnTo>
                      <a:pt x="2059" y="205"/>
                    </a:lnTo>
                    <a:lnTo>
                      <a:pt x="2058" y="204"/>
                    </a:lnTo>
                    <a:lnTo>
                      <a:pt x="2056" y="202"/>
                    </a:lnTo>
                    <a:lnTo>
                      <a:pt x="2055" y="200"/>
                    </a:lnTo>
                    <a:lnTo>
                      <a:pt x="2053" y="197"/>
                    </a:lnTo>
                    <a:lnTo>
                      <a:pt x="2049" y="191"/>
                    </a:lnTo>
                    <a:lnTo>
                      <a:pt x="2045" y="186"/>
                    </a:lnTo>
                    <a:lnTo>
                      <a:pt x="2041" y="182"/>
                    </a:lnTo>
                    <a:lnTo>
                      <a:pt x="2040" y="181"/>
                    </a:lnTo>
                    <a:lnTo>
                      <a:pt x="2039" y="182"/>
                    </a:lnTo>
                    <a:lnTo>
                      <a:pt x="2039" y="182"/>
                    </a:lnTo>
                    <a:lnTo>
                      <a:pt x="2039" y="183"/>
                    </a:lnTo>
                    <a:lnTo>
                      <a:pt x="2039" y="185"/>
                    </a:lnTo>
                    <a:lnTo>
                      <a:pt x="2039" y="186"/>
                    </a:lnTo>
                    <a:lnTo>
                      <a:pt x="2041" y="188"/>
                    </a:lnTo>
                    <a:lnTo>
                      <a:pt x="2043" y="191"/>
                    </a:lnTo>
                    <a:lnTo>
                      <a:pt x="2043" y="193"/>
                    </a:lnTo>
                    <a:lnTo>
                      <a:pt x="2045" y="195"/>
                    </a:lnTo>
                    <a:lnTo>
                      <a:pt x="2045" y="197"/>
                    </a:lnTo>
                    <a:lnTo>
                      <a:pt x="2046" y="199"/>
                    </a:lnTo>
                    <a:lnTo>
                      <a:pt x="2047" y="201"/>
                    </a:lnTo>
                    <a:lnTo>
                      <a:pt x="2048" y="203"/>
                    </a:lnTo>
                    <a:lnTo>
                      <a:pt x="2049" y="204"/>
                    </a:lnTo>
                    <a:lnTo>
                      <a:pt x="2051" y="205"/>
                    </a:lnTo>
                    <a:lnTo>
                      <a:pt x="2053" y="209"/>
                    </a:lnTo>
                    <a:lnTo>
                      <a:pt x="2054" y="213"/>
                    </a:lnTo>
                    <a:lnTo>
                      <a:pt x="2055" y="217"/>
                    </a:lnTo>
                    <a:lnTo>
                      <a:pt x="2057" y="221"/>
                    </a:lnTo>
                    <a:lnTo>
                      <a:pt x="2057" y="225"/>
                    </a:lnTo>
                    <a:lnTo>
                      <a:pt x="2057" y="229"/>
                    </a:lnTo>
                    <a:lnTo>
                      <a:pt x="2060" y="243"/>
                    </a:lnTo>
                    <a:lnTo>
                      <a:pt x="2062" y="257"/>
                    </a:lnTo>
                    <a:lnTo>
                      <a:pt x="2063" y="259"/>
                    </a:lnTo>
                    <a:lnTo>
                      <a:pt x="2064" y="260"/>
                    </a:lnTo>
                    <a:lnTo>
                      <a:pt x="2065" y="261"/>
                    </a:lnTo>
                    <a:lnTo>
                      <a:pt x="2066" y="261"/>
                    </a:lnTo>
                    <a:lnTo>
                      <a:pt x="2066" y="261"/>
                    </a:lnTo>
                    <a:lnTo>
                      <a:pt x="2068" y="263"/>
                    </a:lnTo>
                    <a:lnTo>
                      <a:pt x="2070" y="265"/>
                    </a:lnTo>
                    <a:lnTo>
                      <a:pt x="2070" y="267"/>
                    </a:lnTo>
                    <a:lnTo>
                      <a:pt x="2072" y="270"/>
                    </a:lnTo>
                    <a:lnTo>
                      <a:pt x="2074" y="272"/>
                    </a:lnTo>
                    <a:lnTo>
                      <a:pt x="2075" y="274"/>
                    </a:lnTo>
                    <a:lnTo>
                      <a:pt x="2077" y="275"/>
                    </a:lnTo>
                    <a:lnTo>
                      <a:pt x="2078" y="276"/>
                    </a:lnTo>
                    <a:lnTo>
                      <a:pt x="2079" y="275"/>
                    </a:lnTo>
                    <a:lnTo>
                      <a:pt x="2080" y="273"/>
                    </a:lnTo>
                    <a:lnTo>
                      <a:pt x="2080" y="271"/>
                    </a:lnTo>
                    <a:lnTo>
                      <a:pt x="2080" y="267"/>
                    </a:lnTo>
                    <a:lnTo>
                      <a:pt x="2078" y="263"/>
                    </a:lnTo>
                    <a:lnTo>
                      <a:pt x="2078" y="262"/>
                    </a:lnTo>
                    <a:lnTo>
                      <a:pt x="2077" y="261"/>
                    </a:lnTo>
                    <a:lnTo>
                      <a:pt x="2076" y="261"/>
                    </a:lnTo>
                    <a:lnTo>
                      <a:pt x="2075" y="260"/>
                    </a:lnTo>
                    <a:lnTo>
                      <a:pt x="2074" y="259"/>
                    </a:lnTo>
                    <a:lnTo>
                      <a:pt x="2073" y="259"/>
                    </a:lnTo>
                    <a:lnTo>
                      <a:pt x="2073" y="258"/>
                    </a:lnTo>
                    <a:lnTo>
                      <a:pt x="2072" y="256"/>
                    </a:lnTo>
                    <a:lnTo>
                      <a:pt x="2071" y="254"/>
                    </a:lnTo>
                    <a:lnTo>
                      <a:pt x="2070" y="252"/>
                    </a:lnTo>
                    <a:lnTo>
                      <a:pt x="2070" y="250"/>
                    </a:lnTo>
                    <a:lnTo>
                      <a:pt x="2069" y="248"/>
                    </a:lnTo>
                    <a:lnTo>
                      <a:pt x="2068" y="245"/>
                    </a:lnTo>
                    <a:lnTo>
                      <a:pt x="2068" y="243"/>
                    </a:lnTo>
                    <a:lnTo>
                      <a:pt x="2069" y="240"/>
                    </a:lnTo>
                    <a:lnTo>
                      <a:pt x="2070" y="239"/>
                    </a:lnTo>
                    <a:lnTo>
                      <a:pt x="2071" y="238"/>
                    </a:lnTo>
                    <a:lnTo>
                      <a:pt x="2073" y="239"/>
                    </a:lnTo>
                    <a:lnTo>
                      <a:pt x="2075" y="240"/>
                    </a:lnTo>
                    <a:lnTo>
                      <a:pt x="2076" y="243"/>
                    </a:lnTo>
                    <a:lnTo>
                      <a:pt x="2077" y="248"/>
                    </a:lnTo>
                    <a:lnTo>
                      <a:pt x="2078" y="251"/>
                    </a:lnTo>
                    <a:lnTo>
                      <a:pt x="2079" y="252"/>
                    </a:lnTo>
                    <a:lnTo>
                      <a:pt x="2081" y="254"/>
                    </a:lnTo>
                    <a:lnTo>
                      <a:pt x="2082" y="255"/>
                    </a:lnTo>
                    <a:lnTo>
                      <a:pt x="2084" y="255"/>
                    </a:lnTo>
                    <a:lnTo>
                      <a:pt x="2085" y="256"/>
                    </a:lnTo>
                    <a:lnTo>
                      <a:pt x="2086" y="256"/>
                    </a:lnTo>
                    <a:lnTo>
                      <a:pt x="2088" y="257"/>
                    </a:lnTo>
                    <a:lnTo>
                      <a:pt x="2089" y="258"/>
                    </a:lnTo>
                    <a:lnTo>
                      <a:pt x="2090" y="259"/>
                    </a:lnTo>
                    <a:lnTo>
                      <a:pt x="2091" y="260"/>
                    </a:lnTo>
                    <a:lnTo>
                      <a:pt x="2092" y="261"/>
                    </a:lnTo>
                    <a:lnTo>
                      <a:pt x="2092" y="260"/>
                    </a:lnTo>
                    <a:lnTo>
                      <a:pt x="2092" y="259"/>
                    </a:lnTo>
                    <a:lnTo>
                      <a:pt x="2090" y="254"/>
                    </a:lnTo>
                    <a:lnTo>
                      <a:pt x="2089" y="250"/>
                    </a:lnTo>
                    <a:lnTo>
                      <a:pt x="2088" y="245"/>
                    </a:lnTo>
                    <a:lnTo>
                      <a:pt x="2087" y="241"/>
                    </a:lnTo>
                    <a:lnTo>
                      <a:pt x="2085" y="237"/>
                    </a:lnTo>
                    <a:lnTo>
                      <a:pt x="2084" y="234"/>
                    </a:lnTo>
                    <a:lnTo>
                      <a:pt x="2084" y="231"/>
                    </a:lnTo>
                    <a:lnTo>
                      <a:pt x="2084" y="229"/>
                    </a:lnTo>
                    <a:lnTo>
                      <a:pt x="2084" y="227"/>
                    </a:lnTo>
                    <a:lnTo>
                      <a:pt x="2085" y="227"/>
                    </a:lnTo>
                    <a:lnTo>
                      <a:pt x="2087" y="226"/>
                    </a:lnTo>
                    <a:lnTo>
                      <a:pt x="2088" y="225"/>
                    </a:lnTo>
                    <a:lnTo>
                      <a:pt x="2088" y="223"/>
                    </a:lnTo>
                    <a:lnTo>
                      <a:pt x="2089" y="221"/>
                    </a:lnTo>
                    <a:lnTo>
                      <a:pt x="2090" y="218"/>
                    </a:lnTo>
                    <a:lnTo>
                      <a:pt x="2090" y="217"/>
                    </a:lnTo>
                    <a:lnTo>
                      <a:pt x="2091" y="215"/>
                    </a:lnTo>
                    <a:lnTo>
                      <a:pt x="2092" y="212"/>
                    </a:lnTo>
                    <a:lnTo>
                      <a:pt x="2092" y="209"/>
                    </a:lnTo>
                    <a:lnTo>
                      <a:pt x="2092" y="208"/>
                    </a:lnTo>
                    <a:lnTo>
                      <a:pt x="2092" y="207"/>
                    </a:lnTo>
                    <a:lnTo>
                      <a:pt x="2092" y="206"/>
                    </a:lnTo>
                    <a:lnTo>
                      <a:pt x="2093" y="206"/>
                    </a:lnTo>
                    <a:lnTo>
                      <a:pt x="2094" y="207"/>
                    </a:lnTo>
                    <a:lnTo>
                      <a:pt x="2094" y="209"/>
                    </a:lnTo>
                    <a:lnTo>
                      <a:pt x="2095" y="211"/>
                    </a:lnTo>
                    <a:lnTo>
                      <a:pt x="2097" y="213"/>
                    </a:lnTo>
                    <a:lnTo>
                      <a:pt x="2098" y="215"/>
                    </a:lnTo>
                    <a:lnTo>
                      <a:pt x="2098" y="216"/>
                    </a:lnTo>
                    <a:lnTo>
                      <a:pt x="2099" y="217"/>
                    </a:lnTo>
                    <a:lnTo>
                      <a:pt x="2101" y="217"/>
                    </a:lnTo>
                    <a:lnTo>
                      <a:pt x="2102" y="219"/>
                    </a:lnTo>
                    <a:lnTo>
                      <a:pt x="2102" y="220"/>
                    </a:lnTo>
                    <a:lnTo>
                      <a:pt x="2103" y="220"/>
                    </a:lnTo>
                    <a:lnTo>
                      <a:pt x="2104" y="220"/>
                    </a:lnTo>
                    <a:lnTo>
                      <a:pt x="2104" y="219"/>
                    </a:lnTo>
                    <a:lnTo>
                      <a:pt x="2104" y="209"/>
                    </a:lnTo>
                    <a:lnTo>
                      <a:pt x="2104" y="205"/>
                    </a:lnTo>
                    <a:lnTo>
                      <a:pt x="2103" y="202"/>
                    </a:lnTo>
                    <a:lnTo>
                      <a:pt x="2101" y="198"/>
                    </a:lnTo>
                    <a:lnTo>
                      <a:pt x="2100" y="195"/>
                    </a:lnTo>
                    <a:lnTo>
                      <a:pt x="2100" y="193"/>
                    </a:lnTo>
                    <a:lnTo>
                      <a:pt x="2099" y="188"/>
                    </a:lnTo>
                    <a:lnTo>
                      <a:pt x="2098" y="184"/>
                    </a:lnTo>
                    <a:lnTo>
                      <a:pt x="2098" y="180"/>
                    </a:lnTo>
                    <a:lnTo>
                      <a:pt x="2098" y="174"/>
                    </a:lnTo>
                    <a:lnTo>
                      <a:pt x="2097" y="170"/>
                    </a:lnTo>
                    <a:lnTo>
                      <a:pt x="2096" y="166"/>
                    </a:lnTo>
                    <a:lnTo>
                      <a:pt x="2096" y="163"/>
                    </a:lnTo>
                    <a:lnTo>
                      <a:pt x="2096" y="161"/>
                    </a:lnTo>
                    <a:lnTo>
                      <a:pt x="2095" y="159"/>
                    </a:lnTo>
                    <a:lnTo>
                      <a:pt x="2094" y="156"/>
                    </a:lnTo>
                    <a:lnTo>
                      <a:pt x="2092" y="152"/>
                    </a:lnTo>
                    <a:lnTo>
                      <a:pt x="2094" y="154"/>
                    </a:lnTo>
                    <a:lnTo>
                      <a:pt x="2096" y="156"/>
                    </a:lnTo>
                    <a:lnTo>
                      <a:pt x="2098" y="157"/>
                    </a:lnTo>
                    <a:lnTo>
                      <a:pt x="2100" y="158"/>
                    </a:lnTo>
                    <a:lnTo>
                      <a:pt x="2101" y="159"/>
                    </a:lnTo>
                    <a:lnTo>
                      <a:pt x="2103" y="160"/>
                    </a:lnTo>
                    <a:lnTo>
                      <a:pt x="2104" y="161"/>
                    </a:lnTo>
                    <a:lnTo>
                      <a:pt x="2104" y="162"/>
                    </a:lnTo>
                    <a:lnTo>
                      <a:pt x="2106" y="166"/>
                    </a:lnTo>
                    <a:lnTo>
                      <a:pt x="2107" y="170"/>
                    </a:lnTo>
                    <a:lnTo>
                      <a:pt x="2108" y="174"/>
                    </a:lnTo>
                    <a:lnTo>
                      <a:pt x="2108" y="177"/>
                    </a:lnTo>
                    <a:lnTo>
                      <a:pt x="2108" y="178"/>
                    </a:lnTo>
                    <a:lnTo>
                      <a:pt x="2108" y="180"/>
                    </a:lnTo>
                    <a:lnTo>
                      <a:pt x="2107" y="180"/>
                    </a:lnTo>
                    <a:lnTo>
                      <a:pt x="2106" y="180"/>
                    </a:lnTo>
                    <a:lnTo>
                      <a:pt x="2106" y="181"/>
                    </a:lnTo>
                    <a:lnTo>
                      <a:pt x="2105" y="181"/>
                    </a:lnTo>
                    <a:lnTo>
                      <a:pt x="2104" y="182"/>
                    </a:lnTo>
                    <a:lnTo>
                      <a:pt x="2104" y="184"/>
                    </a:lnTo>
                    <a:lnTo>
                      <a:pt x="2105" y="191"/>
                    </a:lnTo>
                    <a:lnTo>
                      <a:pt x="2108" y="198"/>
                    </a:lnTo>
                    <a:lnTo>
                      <a:pt x="2110" y="203"/>
                    </a:lnTo>
                    <a:lnTo>
                      <a:pt x="2111" y="205"/>
                    </a:lnTo>
                    <a:lnTo>
                      <a:pt x="2113" y="207"/>
                    </a:lnTo>
                    <a:lnTo>
                      <a:pt x="2114" y="207"/>
                    </a:lnTo>
                    <a:lnTo>
                      <a:pt x="2116" y="207"/>
                    </a:lnTo>
                    <a:lnTo>
                      <a:pt x="2117" y="206"/>
                    </a:lnTo>
                    <a:lnTo>
                      <a:pt x="2118" y="204"/>
                    </a:lnTo>
                    <a:lnTo>
                      <a:pt x="2119" y="203"/>
                    </a:lnTo>
                    <a:lnTo>
                      <a:pt x="2120" y="200"/>
                    </a:lnTo>
                    <a:lnTo>
                      <a:pt x="2119" y="197"/>
                    </a:lnTo>
                    <a:lnTo>
                      <a:pt x="2119" y="194"/>
                    </a:lnTo>
                    <a:lnTo>
                      <a:pt x="2118" y="189"/>
                    </a:lnTo>
                    <a:lnTo>
                      <a:pt x="2119" y="186"/>
                    </a:lnTo>
                    <a:lnTo>
                      <a:pt x="2119" y="184"/>
                    </a:lnTo>
                    <a:lnTo>
                      <a:pt x="2120" y="182"/>
                    </a:lnTo>
                    <a:lnTo>
                      <a:pt x="2122" y="180"/>
                    </a:lnTo>
                    <a:lnTo>
                      <a:pt x="2124" y="179"/>
                    </a:lnTo>
                    <a:lnTo>
                      <a:pt x="2125" y="178"/>
                    </a:lnTo>
                    <a:lnTo>
                      <a:pt x="2126" y="175"/>
                    </a:lnTo>
                    <a:lnTo>
                      <a:pt x="2128" y="172"/>
                    </a:lnTo>
                    <a:lnTo>
                      <a:pt x="2130" y="171"/>
                    </a:lnTo>
                    <a:lnTo>
                      <a:pt x="2131" y="169"/>
                    </a:lnTo>
                    <a:lnTo>
                      <a:pt x="2133" y="168"/>
                    </a:lnTo>
                    <a:lnTo>
                      <a:pt x="2134" y="167"/>
                    </a:lnTo>
                    <a:lnTo>
                      <a:pt x="2136" y="166"/>
                    </a:lnTo>
                    <a:lnTo>
                      <a:pt x="2136" y="164"/>
                    </a:lnTo>
                    <a:lnTo>
                      <a:pt x="2137" y="162"/>
                    </a:lnTo>
                    <a:lnTo>
                      <a:pt x="2138" y="160"/>
                    </a:lnTo>
                    <a:lnTo>
                      <a:pt x="2139" y="158"/>
                    </a:lnTo>
                    <a:lnTo>
                      <a:pt x="2141" y="156"/>
                    </a:lnTo>
                    <a:lnTo>
                      <a:pt x="2142" y="157"/>
                    </a:lnTo>
                    <a:lnTo>
                      <a:pt x="2142" y="158"/>
                    </a:lnTo>
                    <a:lnTo>
                      <a:pt x="2143" y="160"/>
                    </a:lnTo>
                    <a:lnTo>
                      <a:pt x="2143" y="162"/>
                    </a:lnTo>
                    <a:lnTo>
                      <a:pt x="2143" y="164"/>
                    </a:lnTo>
                    <a:lnTo>
                      <a:pt x="2143" y="166"/>
                    </a:lnTo>
                    <a:lnTo>
                      <a:pt x="2143" y="168"/>
                    </a:lnTo>
                    <a:lnTo>
                      <a:pt x="2143" y="170"/>
                    </a:lnTo>
                    <a:lnTo>
                      <a:pt x="2144" y="172"/>
                    </a:lnTo>
                    <a:lnTo>
                      <a:pt x="2145" y="174"/>
                    </a:lnTo>
                    <a:lnTo>
                      <a:pt x="2145" y="175"/>
                    </a:lnTo>
                    <a:lnTo>
                      <a:pt x="2146" y="176"/>
                    </a:lnTo>
                    <a:lnTo>
                      <a:pt x="2147" y="177"/>
                    </a:lnTo>
                    <a:lnTo>
                      <a:pt x="2149" y="176"/>
                    </a:lnTo>
                    <a:lnTo>
                      <a:pt x="2149" y="170"/>
                    </a:lnTo>
                    <a:lnTo>
                      <a:pt x="2150" y="169"/>
                    </a:lnTo>
                    <a:lnTo>
                      <a:pt x="2151" y="169"/>
                    </a:lnTo>
                    <a:lnTo>
                      <a:pt x="2151" y="167"/>
                    </a:lnTo>
                    <a:lnTo>
                      <a:pt x="2151" y="166"/>
                    </a:lnTo>
                    <a:lnTo>
                      <a:pt x="2152" y="165"/>
                    </a:lnTo>
                    <a:lnTo>
                      <a:pt x="2153" y="166"/>
                    </a:lnTo>
                    <a:lnTo>
                      <a:pt x="2154" y="167"/>
                    </a:lnTo>
                    <a:lnTo>
                      <a:pt x="2156" y="168"/>
                    </a:lnTo>
                    <a:lnTo>
                      <a:pt x="2157" y="170"/>
                    </a:lnTo>
                    <a:lnTo>
                      <a:pt x="2157" y="170"/>
                    </a:lnTo>
                    <a:lnTo>
                      <a:pt x="2158" y="170"/>
                    </a:lnTo>
                    <a:lnTo>
                      <a:pt x="2158" y="169"/>
                    </a:lnTo>
                    <a:lnTo>
                      <a:pt x="2159" y="168"/>
                    </a:lnTo>
                    <a:lnTo>
                      <a:pt x="2160" y="167"/>
                    </a:lnTo>
                    <a:lnTo>
                      <a:pt x="2160" y="166"/>
                    </a:lnTo>
                    <a:lnTo>
                      <a:pt x="2161" y="164"/>
                    </a:lnTo>
                    <a:lnTo>
                      <a:pt x="2162" y="162"/>
                    </a:lnTo>
                    <a:lnTo>
                      <a:pt x="2164" y="160"/>
                    </a:lnTo>
                    <a:lnTo>
                      <a:pt x="2164" y="159"/>
                    </a:lnTo>
                    <a:lnTo>
                      <a:pt x="2165" y="159"/>
                    </a:lnTo>
                    <a:lnTo>
                      <a:pt x="2166" y="160"/>
                    </a:lnTo>
                    <a:lnTo>
                      <a:pt x="2167" y="163"/>
                    </a:lnTo>
                    <a:lnTo>
                      <a:pt x="2167" y="166"/>
                    </a:lnTo>
                    <a:lnTo>
                      <a:pt x="2167" y="169"/>
                    </a:lnTo>
                    <a:lnTo>
                      <a:pt x="2167" y="172"/>
                    </a:lnTo>
                    <a:lnTo>
                      <a:pt x="2168" y="176"/>
                    </a:lnTo>
                    <a:lnTo>
                      <a:pt x="2169" y="178"/>
                    </a:lnTo>
                    <a:lnTo>
                      <a:pt x="2170" y="179"/>
                    </a:lnTo>
                    <a:lnTo>
                      <a:pt x="2171" y="179"/>
                    </a:lnTo>
                    <a:lnTo>
                      <a:pt x="2171" y="178"/>
                    </a:lnTo>
                    <a:lnTo>
                      <a:pt x="2172" y="176"/>
                    </a:lnTo>
                    <a:lnTo>
                      <a:pt x="2172" y="174"/>
                    </a:lnTo>
                    <a:lnTo>
                      <a:pt x="2172" y="172"/>
                    </a:lnTo>
                    <a:lnTo>
                      <a:pt x="2172" y="170"/>
                    </a:lnTo>
                    <a:lnTo>
                      <a:pt x="2172" y="169"/>
                    </a:lnTo>
                    <a:lnTo>
                      <a:pt x="2173" y="168"/>
                    </a:lnTo>
                    <a:lnTo>
                      <a:pt x="2173" y="168"/>
                    </a:lnTo>
                    <a:lnTo>
                      <a:pt x="2174" y="167"/>
                    </a:lnTo>
                    <a:lnTo>
                      <a:pt x="2174" y="166"/>
                    </a:lnTo>
                    <a:lnTo>
                      <a:pt x="2174" y="164"/>
                    </a:lnTo>
                    <a:lnTo>
                      <a:pt x="2174" y="162"/>
                    </a:lnTo>
                    <a:lnTo>
                      <a:pt x="2173" y="159"/>
                    </a:lnTo>
                    <a:lnTo>
                      <a:pt x="2172" y="156"/>
                    </a:lnTo>
                    <a:lnTo>
                      <a:pt x="2171" y="154"/>
                    </a:lnTo>
                    <a:lnTo>
                      <a:pt x="2170" y="151"/>
                    </a:lnTo>
                    <a:lnTo>
                      <a:pt x="2170" y="148"/>
                    </a:lnTo>
                    <a:lnTo>
                      <a:pt x="2169" y="146"/>
                    </a:lnTo>
                    <a:lnTo>
                      <a:pt x="2169" y="145"/>
                    </a:lnTo>
                    <a:lnTo>
                      <a:pt x="2168" y="144"/>
                    </a:lnTo>
                    <a:lnTo>
                      <a:pt x="2167" y="143"/>
                    </a:lnTo>
                    <a:lnTo>
                      <a:pt x="2166" y="142"/>
                    </a:lnTo>
                    <a:lnTo>
                      <a:pt x="2166" y="142"/>
                    </a:lnTo>
                    <a:lnTo>
                      <a:pt x="2165" y="140"/>
                    </a:lnTo>
                    <a:lnTo>
                      <a:pt x="2164" y="139"/>
                    </a:lnTo>
                    <a:lnTo>
                      <a:pt x="2162" y="137"/>
                    </a:lnTo>
                    <a:lnTo>
                      <a:pt x="2161" y="136"/>
                    </a:lnTo>
                    <a:lnTo>
                      <a:pt x="2161" y="133"/>
                    </a:lnTo>
                    <a:lnTo>
                      <a:pt x="2160" y="131"/>
                    </a:lnTo>
                    <a:lnTo>
                      <a:pt x="2159" y="128"/>
                    </a:lnTo>
                    <a:lnTo>
                      <a:pt x="2159" y="126"/>
                    </a:lnTo>
                    <a:lnTo>
                      <a:pt x="2159" y="123"/>
                    </a:lnTo>
                    <a:lnTo>
                      <a:pt x="2158" y="122"/>
                    </a:lnTo>
                    <a:lnTo>
                      <a:pt x="2159" y="122"/>
                    </a:lnTo>
                    <a:lnTo>
                      <a:pt x="2159" y="122"/>
                    </a:lnTo>
                    <a:lnTo>
                      <a:pt x="2160" y="123"/>
                    </a:lnTo>
                    <a:lnTo>
                      <a:pt x="2161" y="125"/>
                    </a:lnTo>
                    <a:lnTo>
                      <a:pt x="2162" y="127"/>
                    </a:lnTo>
                    <a:lnTo>
                      <a:pt x="2164" y="128"/>
                    </a:lnTo>
                    <a:lnTo>
                      <a:pt x="2165" y="130"/>
                    </a:lnTo>
                    <a:lnTo>
                      <a:pt x="2166" y="131"/>
                    </a:lnTo>
                    <a:lnTo>
                      <a:pt x="2166" y="131"/>
                    </a:lnTo>
                    <a:lnTo>
                      <a:pt x="2166" y="133"/>
                    </a:lnTo>
                    <a:lnTo>
                      <a:pt x="2167" y="136"/>
                    </a:lnTo>
                    <a:lnTo>
                      <a:pt x="2168" y="138"/>
                    </a:lnTo>
                    <a:lnTo>
                      <a:pt x="2170" y="140"/>
                    </a:lnTo>
                    <a:lnTo>
                      <a:pt x="2170" y="141"/>
                    </a:lnTo>
                    <a:lnTo>
                      <a:pt x="2170" y="143"/>
                    </a:lnTo>
                    <a:lnTo>
                      <a:pt x="2171" y="144"/>
                    </a:lnTo>
                    <a:lnTo>
                      <a:pt x="2172" y="144"/>
                    </a:lnTo>
                    <a:lnTo>
                      <a:pt x="2174" y="144"/>
                    </a:lnTo>
                    <a:lnTo>
                      <a:pt x="2176" y="145"/>
                    </a:lnTo>
                    <a:lnTo>
                      <a:pt x="2179" y="146"/>
                    </a:lnTo>
                    <a:lnTo>
                      <a:pt x="2182" y="148"/>
                    </a:lnTo>
                    <a:lnTo>
                      <a:pt x="2186" y="152"/>
                    </a:lnTo>
                    <a:lnTo>
                      <a:pt x="2190" y="157"/>
                    </a:lnTo>
                    <a:lnTo>
                      <a:pt x="2194" y="162"/>
                    </a:lnTo>
                    <a:lnTo>
                      <a:pt x="2200" y="173"/>
                    </a:lnTo>
                    <a:lnTo>
                      <a:pt x="2206" y="182"/>
                    </a:lnTo>
                    <a:lnTo>
                      <a:pt x="2206" y="183"/>
                    </a:lnTo>
                    <a:lnTo>
                      <a:pt x="2207" y="185"/>
                    </a:lnTo>
                    <a:lnTo>
                      <a:pt x="2208" y="186"/>
                    </a:lnTo>
                    <a:lnTo>
                      <a:pt x="2209" y="187"/>
                    </a:lnTo>
                    <a:lnTo>
                      <a:pt x="2210" y="188"/>
                    </a:lnTo>
                    <a:lnTo>
                      <a:pt x="2211" y="188"/>
                    </a:lnTo>
                    <a:lnTo>
                      <a:pt x="2212" y="186"/>
                    </a:lnTo>
                    <a:lnTo>
                      <a:pt x="2212" y="182"/>
                    </a:lnTo>
                    <a:lnTo>
                      <a:pt x="2211" y="180"/>
                    </a:lnTo>
                    <a:lnTo>
                      <a:pt x="2211" y="177"/>
                    </a:lnTo>
                    <a:lnTo>
                      <a:pt x="2210" y="175"/>
                    </a:lnTo>
                    <a:lnTo>
                      <a:pt x="2208" y="174"/>
                    </a:lnTo>
                    <a:lnTo>
                      <a:pt x="2206" y="170"/>
                    </a:lnTo>
                    <a:lnTo>
                      <a:pt x="2205" y="166"/>
                    </a:lnTo>
                    <a:lnTo>
                      <a:pt x="2204" y="162"/>
                    </a:lnTo>
                    <a:lnTo>
                      <a:pt x="2203" y="159"/>
                    </a:lnTo>
                    <a:lnTo>
                      <a:pt x="2203" y="157"/>
                    </a:lnTo>
                    <a:lnTo>
                      <a:pt x="2202" y="156"/>
                    </a:lnTo>
                    <a:lnTo>
                      <a:pt x="2201" y="155"/>
                    </a:lnTo>
                    <a:lnTo>
                      <a:pt x="2200" y="155"/>
                    </a:lnTo>
                    <a:lnTo>
                      <a:pt x="2199" y="155"/>
                    </a:lnTo>
                    <a:lnTo>
                      <a:pt x="2198" y="154"/>
                    </a:lnTo>
                    <a:lnTo>
                      <a:pt x="2197" y="151"/>
                    </a:lnTo>
                    <a:lnTo>
                      <a:pt x="2196" y="149"/>
                    </a:lnTo>
                    <a:lnTo>
                      <a:pt x="2196" y="146"/>
                    </a:lnTo>
                    <a:lnTo>
                      <a:pt x="2196" y="145"/>
                    </a:lnTo>
                    <a:lnTo>
                      <a:pt x="2196" y="144"/>
                    </a:lnTo>
                    <a:lnTo>
                      <a:pt x="2197" y="143"/>
                    </a:lnTo>
                    <a:lnTo>
                      <a:pt x="2198" y="141"/>
                    </a:lnTo>
                    <a:lnTo>
                      <a:pt x="2198" y="140"/>
                    </a:lnTo>
                    <a:lnTo>
                      <a:pt x="2198" y="138"/>
                    </a:lnTo>
                    <a:lnTo>
                      <a:pt x="2198" y="136"/>
                    </a:lnTo>
                    <a:lnTo>
                      <a:pt x="2198" y="125"/>
                    </a:lnTo>
                    <a:lnTo>
                      <a:pt x="2197" y="123"/>
                    </a:lnTo>
                    <a:lnTo>
                      <a:pt x="2196" y="121"/>
                    </a:lnTo>
                    <a:lnTo>
                      <a:pt x="2195" y="119"/>
                    </a:lnTo>
                    <a:lnTo>
                      <a:pt x="2194" y="118"/>
                    </a:lnTo>
                    <a:lnTo>
                      <a:pt x="2193" y="118"/>
                    </a:lnTo>
                    <a:lnTo>
                      <a:pt x="2192" y="119"/>
                    </a:lnTo>
                    <a:lnTo>
                      <a:pt x="2192" y="109"/>
                    </a:lnTo>
                    <a:lnTo>
                      <a:pt x="2191" y="108"/>
                    </a:lnTo>
                    <a:lnTo>
                      <a:pt x="2191" y="106"/>
                    </a:lnTo>
                    <a:lnTo>
                      <a:pt x="2191" y="105"/>
                    </a:lnTo>
                    <a:lnTo>
                      <a:pt x="2191" y="104"/>
                    </a:lnTo>
                    <a:lnTo>
                      <a:pt x="2192" y="103"/>
                    </a:lnTo>
                    <a:lnTo>
                      <a:pt x="2193" y="103"/>
                    </a:lnTo>
                    <a:lnTo>
                      <a:pt x="2193" y="104"/>
                    </a:lnTo>
                    <a:lnTo>
                      <a:pt x="2194" y="104"/>
                    </a:lnTo>
                    <a:lnTo>
                      <a:pt x="2194" y="103"/>
                    </a:lnTo>
                    <a:lnTo>
                      <a:pt x="2195" y="101"/>
                    </a:lnTo>
                    <a:lnTo>
                      <a:pt x="2195" y="98"/>
                    </a:lnTo>
                    <a:lnTo>
                      <a:pt x="2196" y="97"/>
                    </a:lnTo>
                    <a:lnTo>
                      <a:pt x="2196" y="95"/>
                    </a:lnTo>
                    <a:lnTo>
                      <a:pt x="2196" y="87"/>
                    </a:lnTo>
                    <a:lnTo>
                      <a:pt x="2195" y="85"/>
                    </a:lnTo>
                    <a:lnTo>
                      <a:pt x="2195" y="83"/>
                    </a:lnTo>
                    <a:lnTo>
                      <a:pt x="2195" y="81"/>
                    </a:lnTo>
                    <a:lnTo>
                      <a:pt x="2195" y="79"/>
                    </a:lnTo>
                    <a:lnTo>
                      <a:pt x="2196" y="76"/>
                    </a:lnTo>
                    <a:lnTo>
                      <a:pt x="2196" y="64"/>
                    </a:lnTo>
                    <a:lnTo>
                      <a:pt x="2196" y="62"/>
                    </a:lnTo>
                    <a:lnTo>
                      <a:pt x="2196" y="60"/>
                    </a:lnTo>
                    <a:lnTo>
                      <a:pt x="2197" y="60"/>
                    </a:lnTo>
                    <a:lnTo>
                      <a:pt x="2197" y="60"/>
                    </a:lnTo>
                    <a:lnTo>
                      <a:pt x="2198" y="60"/>
                    </a:lnTo>
                    <a:lnTo>
                      <a:pt x="2199" y="61"/>
                    </a:lnTo>
                    <a:lnTo>
                      <a:pt x="2200" y="62"/>
                    </a:lnTo>
                    <a:lnTo>
                      <a:pt x="2201" y="63"/>
                    </a:lnTo>
                    <a:lnTo>
                      <a:pt x="2201" y="63"/>
                    </a:lnTo>
                    <a:lnTo>
                      <a:pt x="2202" y="63"/>
                    </a:lnTo>
                    <a:lnTo>
                      <a:pt x="2203" y="63"/>
                    </a:lnTo>
                    <a:lnTo>
                      <a:pt x="2204" y="62"/>
                    </a:lnTo>
                    <a:lnTo>
                      <a:pt x="2205" y="64"/>
                    </a:lnTo>
                    <a:lnTo>
                      <a:pt x="2206" y="65"/>
                    </a:lnTo>
                    <a:lnTo>
                      <a:pt x="2207" y="66"/>
                    </a:lnTo>
                    <a:lnTo>
                      <a:pt x="2208" y="66"/>
                    </a:lnTo>
                    <a:lnTo>
                      <a:pt x="2211" y="75"/>
                    </a:lnTo>
                    <a:lnTo>
                      <a:pt x="2214" y="85"/>
                    </a:lnTo>
                    <a:lnTo>
                      <a:pt x="2214" y="105"/>
                    </a:lnTo>
                    <a:lnTo>
                      <a:pt x="2213" y="108"/>
                    </a:lnTo>
                    <a:lnTo>
                      <a:pt x="2214" y="111"/>
                    </a:lnTo>
                    <a:lnTo>
                      <a:pt x="2216" y="113"/>
                    </a:lnTo>
                    <a:lnTo>
                      <a:pt x="2217" y="116"/>
                    </a:lnTo>
                    <a:lnTo>
                      <a:pt x="2218" y="118"/>
                    </a:lnTo>
                    <a:lnTo>
                      <a:pt x="2219" y="121"/>
                    </a:lnTo>
                    <a:lnTo>
                      <a:pt x="2220" y="123"/>
                    </a:lnTo>
                    <a:lnTo>
                      <a:pt x="2221" y="125"/>
                    </a:lnTo>
                    <a:lnTo>
                      <a:pt x="2222" y="127"/>
                    </a:lnTo>
                    <a:lnTo>
                      <a:pt x="2222" y="129"/>
                    </a:lnTo>
                    <a:lnTo>
                      <a:pt x="2222" y="131"/>
                    </a:lnTo>
                    <a:lnTo>
                      <a:pt x="2222" y="133"/>
                    </a:lnTo>
                    <a:lnTo>
                      <a:pt x="2222" y="136"/>
                    </a:lnTo>
                    <a:lnTo>
                      <a:pt x="2222" y="138"/>
                    </a:lnTo>
                    <a:lnTo>
                      <a:pt x="2222" y="140"/>
                    </a:lnTo>
                    <a:lnTo>
                      <a:pt x="2222" y="142"/>
                    </a:lnTo>
                    <a:lnTo>
                      <a:pt x="2224" y="154"/>
                    </a:lnTo>
                    <a:lnTo>
                      <a:pt x="2225" y="166"/>
                    </a:lnTo>
                    <a:lnTo>
                      <a:pt x="2226" y="175"/>
                    </a:lnTo>
                    <a:lnTo>
                      <a:pt x="2228" y="186"/>
                    </a:lnTo>
                    <a:lnTo>
                      <a:pt x="2229" y="188"/>
                    </a:lnTo>
                    <a:lnTo>
                      <a:pt x="2229" y="191"/>
                    </a:lnTo>
                    <a:lnTo>
                      <a:pt x="2230" y="194"/>
                    </a:lnTo>
                    <a:lnTo>
                      <a:pt x="2230" y="197"/>
                    </a:lnTo>
                    <a:lnTo>
                      <a:pt x="2232" y="200"/>
                    </a:lnTo>
                    <a:lnTo>
                      <a:pt x="2232" y="202"/>
                    </a:lnTo>
                    <a:lnTo>
                      <a:pt x="2232" y="205"/>
                    </a:lnTo>
                    <a:lnTo>
                      <a:pt x="2230" y="207"/>
                    </a:lnTo>
                    <a:lnTo>
                      <a:pt x="2231" y="210"/>
                    </a:lnTo>
                    <a:lnTo>
                      <a:pt x="2231" y="212"/>
                    </a:lnTo>
                    <a:lnTo>
                      <a:pt x="2232" y="215"/>
                    </a:lnTo>
                    <a:lnTo>
                      <a:pt x="2232" y="217"/>
                    </a:lnTo>
                    <a:lnTo>
                      <a:pt x="2232" y="219"/>
                    </a:lnTo>
                    <a:lnTo>
                      <a:pt x="2231" y="221"/>
                    </a:lnTo>
                    <a:lnTo>
                      <a:pt x="2230" y="223"/>
                    </a:lnTo>
                    <a:lnTo>
                      <a:pt x="2230" y="225"/>
                    </a:lnTo>
                    <a:lnTo>
                      <a:pt x="2229" y="228"/>
                    </a:lnTo>
                    <a:lnTo>
                      <a:pt x="2227" y="230"/>
                    </a:lnTo>
                    <a:lnTo>
                      <a:pt x="2226" y="232"/>
                    </a:lnTo>
                    <a:lnTo>
                      <a:pt x="2225" y="233"/>
                    </a:lnTo>
                    <a:lnTo>
                      <a:pt x="2224" y="233"/>
                    </a:lnTo>
                    <a:lnTo>
                      <a:pt x="2223" y="235"/>
                    </a:lnTo>
                    <a:lnTo>
                      <a:pt x="2223" y="237"/>
                    </a:lnTo>
                    <a:lnTo>
                      <a:pt x="2223" y="238"/>
                    </a:lnTo>
                    <a:lnTo>
                      <a:pt x="2224" y="240"/>
                    </a:lnTo>
                    <a:lnTo>
                      <a:pt x="2225" y="241"/>
                    </a:lnTo>
                    <a:lnTo>
                      <a:pt x="2225" y="241"/>
                    </a:lnTo>
                    <a:lnTo>
                      <a:pt x="2226" y="241"/>
                    </a:lnTo>
                    <a:lnTo>
                      <a:pt x="2227" y="242"/>
                    </a:lnTo>
                    <a:lnTo>
                      <a:pt x="2229" y="243"/>
                    </a:lnTo>
                    <a:lnTo>
                      <a:pt x="2230" y="244"/>
                    </a:lnTo>
                    <a:lnTo>
                      <a:pt x="2231" y="244"/>
                    </a:lnTo>
                    <a:lnTo>
                      <a:pt x="2232" y="244"/>
                    </a:lnTo>
                    <a:lnTo>
                      <a:pt x="2232" y="243"/>
                    </a:lnTo>
                    <a:lnTo>
                      <a:pt x="2232" y="241"/>
                    </a:lnTo>
                    <a:lnTo>
                      <a:pt x="2233" y="239"/>
                    </a:lnTo>
                    <a:lnTo>
                      <a:pt x="2234" y="237"/>
                    </a:lnTo>
                    <a:lnTo>
                      <a:pt x="2235" y="236"/>
                    </a:lnTo>
                    <a:lnTo>
                      <a:pt x="2236" y="235"/>
                    </a:lnTo>
                    <a:lnTo>
                      <a:pt x="2236" y="233"/>
                    </a:lnTo>
                    <a:lnTo>
                      <a:pt x="2237" y="227"/>
                    </a:lnTo>
                    <a:lnTo>
                      <a:pt x="2237" y="220"/>
                    </a:lnTo>
                    <a:lnTo>
                      <a:pt x="2238" y="215"/>
                    </a:lnTo>
                    <a:lnTo>
                      <a:pt x="2239" y="212"/>
                    </a:lnTo>
                    <a:lnTo>
                      <a:pt x="2239" y="209"/>
                    </a:lnTo>
                    <a:lnTo>
                      <a:pt x="2239" y="206"/>
                    </a:lnTo>
                    <a:lnTo>
                      <a:pt x="2238" y="202"/>
                    </a:lnTo>
                    <a:lnTo>
                      <a:pt x="2236" y="199"/>
                    </a:lnTo>
                    <a:lnTo>
                      <a:pt x="2236" y="196"/>
                    </a:lnTo>
                    <a:lnTo>
                      <a:pt x="2235" y="192"/>
                    </a:lnTo>
                    <a:lnTo>
                      <a:pt x="2235" y="188"/>
                    </a:lnTo>
                    <a:lnTo>
                      <a:pt x="2236" y="186"/>
                    </a:lnTo>
                    <a:lnTo>
                      <a:pt x="2237" y="183"/>
                    </a:lnTo>
                    <a:lnTo>
                      <a:pt x="2238" y="182"/>
                    </a:lnTo>
                    <a:lnTo>
                      <a:pt x="2239" y="182"/>
                    </a:lnTo>
                    <a:lnTo>
                      <a:pt x="2240" y="181"/>
                    </a:lnTo>
                    <a:lnTo>
                      <a:pt x="2241" y="181"/>
                    </a:lnTo>
                    <a:lnTo>
                      <a:pt x="2243" y="182"/>
                    </a:lnTo>
                    <a:lnTo>
                      <a:pt x="2244" y="184"/>
                    </a:lnTo>
                    <a:lnTo>
                      <a:pt x="2247" y="194"/>
                    </a:lnTo>
                    <a:lnTo>
                      <a:pt x="2248" y="205"/>
                    </a:lnTo>
                    <a:lnTo>
                      <a:pt x="2248" y="208"/>
                    </a:lnTo>
                    <a:lnTo>
                      <a:pt x="2249" y="212"/>
                    </a:lnTo>
                    <a:lnTo>
                      <a:pt x="2249" y="215"/>
                    </a:lnTo>
                    <a:lnTo>
                      <a:pt x="2250" y="219"/>
                    </a:lnTo>
                    <a:lnTo>
                      <a:pt x="2252" y="220"/>
                    </a:lnTo>
                    <a:lnTo>
                      <a:pt x="2254" y="221"/>
                    </a:lnTo>
                    <a:lnTo>
                      <a:pt x="2254" y="221"/>
                    </a:lnTo>
                    <a:lnTo>
                      <a:pt x="2255" y="220"/>
                    </a:lnTo>
                    <a:lnTo>
                      <a:pt x="2256" y="219"/>
                    </a:lnTo>
                    <a:lnTo>
                      <a:pt x="2256" y="218"/>
                    </a:lnTo>
                    <a:lnTo>
                      <a:pt x="2255" y="217"/>
                    </a:lnTo>
                    <a:lnTo>
                      <a:pt x="2254" y="217"/>
                    </a:lnTo>
                    <a:lnTo>
                      <a:pt x="2253" y="216"/>
                    </a:lnTo>
                    <a:lnTo>
                      <a:pt x="2253" y="215"/>
                    </a:lnTo>
                    <a:lnTo>
                      <a:pt x="2252" y="213"/>
                    </a:lnTo>
                    <a:lnTo>
                      <a:pt x="2251" y="210"/>
                    </a:lnTo>
                    <a:lnTo>
                      <a:pt x="2250" y="207"/>
                    </a:lnTo>
                    <a:lnTo>
                      <a:pt x="2250" y="205"/>
                    </a:lnTo>
                    <a:lnTo>
                      <a:pt x="2250" y="203"/>
                    </a:lnTo>
                    <a:lnTo>
                      <a:pt x="2251" y="203"/>
                    </a:lnTo>
                    <a:lnTo>
                      <a:pt x="2251" y="203"/>
                    </a:lnTo>
                    <a:lnTo>
                      <a:pt x="2252" y="203"/>
                    </a:lnTo>
                    <a:lnTo>
                      <a:pt x="2253" y="203"/>
                    </a:lnTo>
                    <a:lnTo>
                      <a:pt x="2254" y="203"/>
                    </a:lnTo>
                    <a:lnTo>
                      <a:pt x="2254" y="202"/>
                    </a:lnTo>
                    <a:lnTo>
                      <a:pt x="2254" y="201"/>
                    </a:lnTo>
                    <a:lnTo>
                      <a:pt x="2252" y="194"/>
                    </a:lnTo>
                    <a:lnTo>
                      <a:pt x="2250" y="187"/>
                    </a:lnTo>
                    <a:lnTo>
                      <a:pt x="2246" y="182"/>
                    </a:lnTo>
                    <a:lnTo>
                      <a:pt x="2245" y="180"/>
                    </a:lnTo>
                    <a:lnTo>
                      <a:pt x="2244" y="178"/>
                    </a:lnTo>
                    <a:lnTo>
                      <a:pt x="2243" y="176"/>
                    </a:lnTo>
                    <a:lnTo>
                      <a:pt x="2242" y="174"/>
                    </a:lnTo>
                    <a:lnTo>
                      <a:pt x="2240" y="173"/>
                    </a:lnTo>
                    <a:lnTo>
                      <a:pt x="2238" y="174"/>
                    </a:lnTo>
                    <a:lnTo>
                      <a:pt x="2238" y="174"/>
                    </a:lnTo>
                    <a:lnTo>
                      <a:pt x="2237" y="175"/>
                    </a:lnTo>
                    <a:lnTo>
                      <a:pt x="2236" y="176"/>
                    </a:lnTo>
                    <a:lnTo>
                      <a:pt x="2234" y="177"/>
                    </a:lnTo>
                    <a:lnTo>
                      <a:pt x="2233" y="177"/>
                    </a:lnTo>
                    <a:lnTo>
                      <a:pt x="2232" y="177"/>
                    </a:lnTo>
                    <a:lnTo>
                      <a:pt x="2230" y="176"/>
                    </a:lnTo>
                    <a:lnTo>
                      <a:pt x="2230" y="166"/>
                    </a:lnTo>
                    <a:lnTo>
                      <a:pt x="2229" y="162"/>
                    </a:lnTo>
                    <a:lnTo>
                      <a:pt x="2229" y="159"/>
                    </a:lnTo>
                    <a:lnTo>
                      <a:pt x="2228" y="156"/>
                    </a:lnTo>
                    <a:lnTo>
                      <a:pt x="2229" y="149"/>
                    </a:lnTo>
                    <a:lnTo>
                      <a:pt x="2229" y="143"/>
                    </a:lnTo>
                    <a:lnTo>
                      <a:pt x="2228" y="136"/>
                    </a:lnTo>
                    <a:lnTo>
                      <a:pt x="2224" y="123"/>
                    </a:lnTo>
                    <a:lnTo>
                      <a:pt x="2221" y="111"/>
                    </a:lnTo>
                    <a:lnTo>
                      <a:pt x="2220" y="105"/>
                    </a:lnTo>
                    <a:lnTo>
                      <a:pt x="2220" y="98"/>
                    </a:lnTo>
                    <a:lnTo>
                      <a:pt x="2221" y="93"/>
                    </a:lnTo>
                    <a:lnTo>
                      <a:pt x="2221" y="93"/>
                    </a:lnTo>
                    <a:lnTo>
                      <a:pt x="2222" y="94"/>
                    </a:lnTo>
                    <a:lnTo>
                      <a:pt x="2223" y="94"/>
                    </a:lnTo>
                    <a:lnTo>
                      <a:pt x="2224" y="94"/>
                    </a:lnTo>
                    <a:lnTo>
                      <a:pt x="2225" y="93"/>
                    </a:lnTo>
                    <a:lnTo>
                      <a:pt x="2226" y="91"/>
                    </a:lnTo>
                    <a:lnTo>
                      <a:pt x="2226" y="89"/>
                    </a:lnTo>
                    <a:lnTo>
                      <a:pt x="2226" y="87"/>
                    </a:lnTo>
                    <a:lnTo>
                      <a:pt x="2226" y="85"/>
                    </a:lnTo>
                    <a:lnTo>
                      <a:pt x="2226" y="82"/>
                    </a:lnTo>
                    <a:lnTo>
                      <a:pt x="2226" y="79"/>
                    </a:lnTo>
                    <a:lnTo>
                      <a:pt x="2225" y="76"/>
                    </a:lnTo>
                    <a:lnTo>
                      <a:pt x="2224" y="73"/>
                    </a:lnTo>
                    <a:lnTo>
                      <a:pt x="2222" y="70"/>
                    </a:lnTo>
                    <a:lnTo>
                      <a:pt x="2222" y="70"/>
                    </a:lnTo>
                    <a:lnTo>
                      <a:pt x="2221" y="69"/>
                    </a:lnTo>
                    <a:lnTo>
                      <a:pt x="2221" y="67"/>
                    </a:lnTo>
                    <a:lnTo>
                      <a:pt x="2221" y="66"/>
                    </a:lnTo>
                    <a:lnTo>
                      <a:pt x="2221" y="64"/>
                    </a:lnTo>
                    <a:lnTo>
                      <a:pt x="2221" y="64"/>
                    </a:lnTo>
                    <a:lnTo>
                      <a:pt x="2221" y="65"/>
                    </a:lnTo>
                    <a:lnTo>
                      <a:pt x="2222" y="66"/>
                    </a:lnTo>
                    <a:lnTo>
                      <a:pt x="2222" y="67"/>
                    </a:lnTo>
                    <a:lnTo>
                      <a:pt x="2222" y="68"/>
                    </a:lnTo>
                    <a:lnTo>
                      <a:pt x="2222" y="68"/>
                    </a:lnTo>
                    <a:lnTo>
                      <a:pt x="2224" y="71"/>
                    </a:lnTo>
                    <a:lnTo>
                      <a:pt x="2225" y="74"/>
                    </a:lnTo>
                    <a:lnTo>
                      <a:pt x="2226" y="76"/>
                    </a:lnTo>
                    <a:lnTo>
                      <a:pt x="2226" y="79"/>
                    </a:lnTo>
                    <a:lnTo>
                      <a:pt x="2227" y="83"/>
                    </a:lnTo>
                    <a:lnTo>
                      <a:pt x="2227" y="87"/>
                    </a:lnTo>
                    <a:lnTo>
                      <a:pt x="2228" y="91"/>
                    </a:lnTo>
                    <a:lnTo>
                      <a:pt x="2228" y="103"/>
                    </a:lnTo>
                    <a:lnTo>
                      <a:pt x="2229" y="107"/>
                    </a:lnTo>
                    <a:lnTo>
                      <a:pt x="2230" y="111"/>
                    </a:lnTo>
                    <a:lnTo>
                      <a:pt x="2230" y="115"/>
                    </a:lnTo>
                    <a:lnTo>
                      <a:pt x="2231" y="118"/>
                    </a:lnTo>
                    <a:lnTo>
                      <a:pt x="2233" y="120"/>
                    </a:lnTo>
                    <a:lnTo>
                      <a:pt x="2234" y="122"/>
                    </a:lnTo>
                    <a:lnTo>
                      <a:pt x="2235" y="123"/>
                    </a:lnTo>
                    <a:lnTo>
                      <a:pt x="2237" y="124"/>
                    </a:lnTo>
                    <a:lnTo>
                      <a:pt x="2238" y="125"/>
                    </a:lnTo>
                    <a:lnTo>
                      <a:pt x="2239" y="126"/>
                    </a:lnTo>
                    <a:lnTo>
                      <a:pt x="2240" y="127"/>
                    </a:lnTo>
                    <a:lnTo>
                      <a:pt x="2242" y="128"/>
                    </a:lnTo>
                    <a:lnTo>
                      <a:pt x="2243" y="129"/>
                    </a:lnTo>
                    <a:lnTo>
                      <a:pt x="2244" y="129"/>
                    </a:lnTo>
                    <a:lnTo>
                      <a:pt x="2245" y="129"/>
                    </a:lnTo>
                    <a:lnTo>
                      <a:pt x="2246" y="129"/>
                    </a:lnTo>
                    <a:lnTo>
                      <a:pt x="2245" y="127"/>
                    </a:lnTo>
                    <a:lnTo>
                      <a:pt x="2244" y="125"/>
                    </a:lnTo>
                    <a:lnTo>
                      <a:pt x="2243" y="122"/>
                    </a:lnTo>
                    <a:lnTo>
                      <a:pt x="2242" y="121"/>
                    </a:lnTo>
                    <a:lnTo>
                      <a:pt x="2241" y="120"/>
                    </a:lnTo>
                    <a:lnTo>
                      <a:pt x="2240" y="119"/>
                    </a:lnTo>
                    <a:lnTo>
                      <a:pt x="2238" y="117"/>
                    </a:lnTo>
                    <a:lnTo>
                      <a:pt x="2237" y="115"/>
                    </a:lnTo>
                    <a:lnTo>
                      <a:pt x="2235" y="112"/>
                    </a:lnTo>
                    <a:lnTo>
                      <a:pt x="2234" y="109"/>
                    </a:lnTo>
                    <a:lnTo>
                      <a:pt x="2233" y="105"/>
                    </a:lnTo>
                    <a:lnTo>
                      <a:pt x="2232" y="101"/>
                    </a:lnTo>
                    <a:lnTo>
                      <a:pt x="2231" y="100"/>
                    </a:lnTo>
                    <a:lnTo>
                      <a:pt x="2231" y="99"/>
                    </a:lnTo>
                    <a:lnTo>
                      <a:pt x="2231" y="98"/>
                    </a:lnTo>
                    <a:lnTo>
                      <a:pt x="2231" y="98"/>
                    </a:lnTo>
                    <a:lnTo>
                      <a:pt x="2232" y="99"/>
                    </a:lnTo>
                    <a:lnTo>
                      <a:pt x="2234" y="101"/>
                    </a:lnTo>
                    <a:lnTo>
                      <a:pt x="2234" y="103"/>
                    </a:lnTo>
                    <a:lnTo>
                      <a:pt x="2235" y="105"/>
                    </a:lnTo>
                    <a:lnTo>
                      <a:pt x="2236" y="107"/>
                    </a:lnTo>
                    <a:lnTo>
                      <a:pt x="2238" y="108"/>
                    </a:lnTo>
                    <a:lnTo>
                      <a:pt x="2239" y="107"/>
                    </a:lnTo>
                    <a:lnTo>
                      <a:pt x="2240" y="105"/>
                    </a:lnTo>
                    <a:lnTo>
                      <a:pt x="2240" y="103"/>
                    </a:lnTo>
                    <a:lnTo>
                      <a:pt x="2240" y="100"/>
                    </a:lnTo>
                    <a:lnTo>
                      <a:pt x="2238" y="97"/>
                    </a:lnTo>
                    <a:lnTo>
                      <a:pt x="2236" y="95"/>
                    </a:lnTo>
                    <a:lnTo>
                      <a:pt x="2236" y="94"/>
                    </a:lnTo>
                    <a:lnTo>
                      <a:pt x="2235" y="92"/>
                    </a:lnTo>
                    <a:lnTo>
                      <a:pt x="2235" y="92"/>
                    </a:lnTo>
                    <a:lnTo>
                      <a:pt x="2234" y="91"/>
                    </a:lnTo>
                    <a:lnTo>
                      <a:pt x="2234" y="89"/>
                    </a:lnTo>
                    <a:lnTo>
                      <a:pt x="2235" y="87"/>
                    </a:lnTo>
                    <a:lnTo>
                      <a:pt x="2235" y="86"/>
                    </a:lnTo>
                    <a:lnTo>
                      <a:pt x="2236" y="85"/>
                    </a:lnTo>
                    <a:lnTo>
                      <a:pt x="2237" y="85"/>
                    </a:lnTo>
                    <a:lnTo>
                      <a:pt x="2237" y="85"/>
                    </a:lnTo>
                    <a:lnTo>
                      <a:pt x="2238" y="86"/>
                    </a:lnTo>
                    <a:lnTo>
                      <a:pt x="2239" y="87"/>
                    </a:lnTo>
                    <a:lnTo>
                      <a:pt x="2240" y="89"/>
                    </a:lnTo>
                    <a:lnTo>
                      <a:pt x="2240" y="93"/>
                    </a:lnTo>
                    <a:lnTo>
                      <a:pt x="2242" y="93"/>
                    </a:lnTo>
                    <a:lnTo>
                      <a:pt x="2244" y="94"/>
                    </a:lnTo>
                    <a:lnTo>
                      <a:pt x="2246" y="95"/>
                    </a:lnTo>
                    <a:lnTo>
                      <a:pt x="2248" y="97"/>
                    </a:lnTo>
                    <a:lnTo>
                      <a:pt x="2248" y="98"/>
                    </a:lnTo>
                    <a:lnTo>
                      <a:pt x="2249" y="101"/>
                    </a:lnTo>
                    <a:lnTo>
                      <a:pt x="2250" y="103"/>
                    </a:lnTo>
                    <a:lnTo>
                      <a:pt x="2252" y="105"/>
                    </a:lnTo>
                    <a:lnTo>
                      <a:pt x="2254" y="106"/>
                    </a:lnTo>
                    <a:lnTo>
                      <a:pt x="2255" y="108"/>
                    </a:lnTo>
                    <a:lnTo>
                      <a:pt x="2255" y="110"/>
                    </a:lnTo>
                    <a:lnTo>
                      <a:pt x="2256" y="111"/>
                    </a:lnTo>
                    <a:lnTo>
                      <a:pt x="2258" y="113"/>
                    </a:lnTo>
                    <a:lnTo>
                      <a:pt x="2259" y="114"/>
                    </a:lnTo>
                    <a:lnTo>
                      <a:pt x="2260" y="115"/>
                    </a:lnTo>
                    <a:lnTo>
                      <a:pt x="2260" y="115"/>
                    </a:lnTo>
                    <a:lnTo>
                      <a:pt x="2262" y="116"/>
                    </a:lnTo>
                    <a:lnTo>
                      <a:pt x="2263" y="117"/>
                    </a:lnTo>
                    <a:lnTo>
                      <a:pt x="2264" y="120"/>
                    </a:lnTo>
                    <a:lnTo>
                      <a:pt x="2264" y="122"/>
                    </a:lnTo>
                    <a:lnTo>
                      <a:pt x="2263" y="125"/>
                    </a:lnTo>
                    <a:lnTo>
                      <a:pt x="2262" y="127"/>
                    </a:lnTo>
                    <a:lnTo>
                      <a:pt x="2262" y="136"/>
                    </a:lnTo>
                    <a:lnTo>
                      <a:pt x="2264" y="140"/>
                    </a:lnTo>
                    <a:lnTo>
                      <a:pt x="2264" y="144"/>
                    </a:lnTo>
                    <a:lnTo>
                      <a:pt x="2264" y="148"/>
                    </a:lnTo>
                    <a:lnTo>
                      <a:pt x="2264" y="151"/>
                    </a:lnTo>
                    <a:lnTo>
                      <a:pt x="2265" y="154"/>
                    </a:lnTo>
                    <a:lnTo>
                      <a:pt x="2267" y="158"/>
                    </a:lnTo>
                    <a:lnTo>
                      <a:pt x="2267" y="160"/>
                    </a:lnTo>
                    <a:lnTo>
                      <a:pt x="2267" y="160"/>
                    </a:lnTo>
                    <a:lnTo>
                      <a:pt x="2268" y="160"/>
                    </a:lnTo>
                    <a:lnTo>
                      <a:pt x="2268" y="159"/>
                    </a:lnTo>
                    <a:lnTo>
                      <a:pt x="2269" y="158"/>
                    </a:lnTo>
                    <a:lnTo>
                      <a:pt x="2270" y="158"/>
                    </a:lnTo>
                    <a:lnTo>
                      <a:pt x="2271" y="157"/>
                    </a:lnTo>
                    <a:lnTo>
                      <a:pt x="2271" y="156"/>
                    </a:lnTo>
                    <a:lnTo>
                      <a:pt x="2271" y="156"/>
                    </a:lnTo>
                    <a:lnTo>
                      <a:pt x="2272" y="155"/>
                    </a:lnTo>
                    <a:lnTo>
                      <a:pt x="2273" y="154"/>
                    </a:lnTo>
                    <a:lnTo>
                      <a:pt x="2273" y="152"/>
                    </a:lnTo>
                    <a:lnTo>
                      <a:pt x="2273" y="150"/>
                    </a:lnTo>
                    <a:lnTo>
                      <a:pt x="2273" y="146"/>
                    </a:lnTo>
                    <a:lnTo>
                      <a:pt x="2271" y="141"/>
                    </a:lnTo>
                    <a:lnTo>
                      <a:pt x="2269" y="137"/>
                    </a:lnTo>
                    <a:lnTo>
                      <a:pt x="2267" y="133"/>
                    </a:lnTo>
                    <a:lnTo>
                      <a:pt x="2267" y="113"/>
                    </a:lnTo>
                    <a:lnTo>
                      <a:pt x="2265" y="110"/>
                    </a:lnTo>
                    <a:lnTo>
                      <a:pt x="2263" y="108"/>
                    </a:lnTo>
                    <a:lnTo>
                      <a:pt x="2261" y="106"/>
                    </a:lnTo>
                    <a:lnTo>
                      <a:pt x="2258" y="103"/>
                    </a:lnTo>
                    <a:lnTo>
                      <a:pt x="2258" y="103"/>
                    </a:lnTo>
                    <a:lnTo>
                      <a:pt x="2258" y="101"/>
                    </a:lnTo>
                    <a:lnTo>
                      <a:pt x="2257" y="99"/>
                    </a:lnTo>
                    <a:lnTo>
                      <a:pt x="2256" y="97"/>
                    </a:lnTo>
                    <a:lnTo>
                      <a:pt x="2255" y="97"/>
                    </a:lnTo>
                    <a:lnTo>
                      <a:pt x="2254" y="97"/>
                    </a:lnTo>
                    <a:lnTo>
                      <a:pt x="2254" y="96"/>
                    </a:lnTo>
                    <a:lnTo>
                      <a:pt x="2252" y="95"/>
                    </a:lnTo>
                    <a:lnTo>
                      <a:pt x="2249" y="86"/>
                    </a:lnTo>
                    <a:lnTo>
                      <a:pt x="2248" y="76"/>
                    </a:lnTo>
                    <a:lnTo>
                      <a:pt x="2248" y="72"/>
                    </a:lnTo>
                    <a:lnTo>
                      <a:pt x="2246" y="68"/>
                    </a:lnTo>
                    <a:lnTo>
                      <a:pt x="2244" y="64"/>
                    </a:lnTo>
                    <a:lnTo>
                      <a:pt x="2245" y="62"/>
                    </a:lnTo>
                    <a:lnTo>
                      <a:pt x="2245" y="60"/>
                    </a:lnTo>
                    <a:lnTo>
                      <a:pt x="2246" y="58"/>
                    </a:lnTo>
                    <a:lnTo>
                      <a:pt x="2246" y="56"/>
                    </a:lnTo>
                    <a:lnTo>
                      <a:pt x="2248" y="55"/>
                    </a:lnTo>
                    <a:lnTo>
                      <a:pt x="2249" y="54"/>
                    </a:lnTo>
                    <a:lnTo>
                      <a:pt x="2251" y="54"/>
                    </a:lnTo>
                    <a:lnTo>
                      <a:pt x="2253" y="54"/>
                    </a:lnTo>
                    <a:lnTo>
                      <a:pt x="2254" y="54"/>
                    </a:lnTo>
                    <a:lnTo>
                      <a:pt x="2256" y="55"/>
                    </a:lnTo>
                    <a:lnTo>
                      <a:pt x="2258" y="56"/>
                    </a:lnTo>
                    <a:lnTo>
                      <a:pt x="2260" y="56"/>
                    </a:lnTo>
                    <a:lnTo>
                      <a:pt x="2262" y="56"/>
                    </a:lnTo>
                    <a:lnTo>
                      <a:pt x="2264" y="57"/>
                    </a:lnTo>
                    <a:lnTo>
                      <a:pt x="2267" y="57"/>
                    </a:lnTo>
                    <a:lnTo>
                      <a:pt x="2269" y="56"/>
                    </a:lnTo>
                    <a:lnTo>
                      <a:pt x="2271" y="55"/>
                    </a:lnTo>
                    <a:lnTo>
                      <a:pt x="2272" y="53"/>
                    </a:lnTo>
                    <a:lnTo>
                      <a:pt x="2272" y="51"/>
                    </a:lnTo>
                    <a:lnTo>
                      <a:pt x="2271" y="48"/>
                    </a:lnTo>
                    <a:lnTo>
                      <a:pt x="2270" y="45"/>
                    </a:lnTo>
                    <a:lnTo>
                      <a:pt x="2268" y="42"/>
                    </a:lnTo>
                    <a:lnTo>
                      <a:pt x="2267" y="39"/>
                    </a:lnTo>
                    <a:lnTo>
                      <a:pt x="2267" y="37"/>
                    </a:lnTo>
                    <a:lnTo>
                      <a:pt x="2267" y="34"/>
                    </a:lnTo>
                    <a:lnTo>
                      <a:pt x="2268" y="33"/>
                    </a:lnTo>
                    <a:lnTo>
                      <a:pt x="2267" y="32"/>
                    </a:lnTo>
                    <a:lnTo>
                      <a:pt x="2267" y="31"/>
                    </a:lnTo>
                    <a:lnTo>
                      <a:pt x="2265" y="30"/>
                    </a:lnTo>
                    <a:lnTo>
                      <a:pt x="2264" y="29"/>
                    </a:lnTo>
                    <a:lnTo>
                      <a:pt x="2265" y="27"/>
                    </a:lnTo>
                    <a:lnTo>
                      <a:pt x="2267" y="25"/>
                    </a:lnTo>
                    <a:lnTo>
                      <a:pt x="2267" y="23"/>
                    </a:lnTo>
                    <a:lnTo>
                      <a:pt x="2267" y="20"/>
                    </a:lnTo>
                    <a:lnTo>
                      <a:pt x="2268" y="18"/>
                    </a:lnTo>
                    <a:lnTo>
                      <a:pt x="2269" y="16"/>
                    </a:lnTo>
                    <a:lnTo>
                      <a:pt x="2271" y="13"/>
                    </a:lnTo>
                    <a:lnTo>
                      <a:pt x="2272" y="12"/>
                    </a:lnTo>
                    <a:lnTo>
                      <a:pt x="2274" y="10"/>
                    </a:lnTo>
                    <a:lnTo>
                      <a:pt x="2275" y="8"/>
                    </a:lnTo>
                    <a:lnTo>
                      <a:pt x="2276" y="6"/>
                    </a:lnTo>
                    <a:lnTo>
                      <a:pt x="2277" y="5"/>
                    </a:lnTo>
                    <a:lnTo>
                      <a:pt x="2278" y="3"/>
                    </a:lnTo>
                    <a:lnTo>
                      <a:pt x="2278" y="2"/>
                    </a:lnTo>
                    <a:lnTo>
                      <a:pt x="2279" y="2"/>
                    </a:lnTo>
                    <a:lnTo>
                      <a:pt x="2280" y="3"/>
                    </a:lnTo>
                    <a:lnTo>
                      <a:pt x="2281" y="3"/>
                    </a:lnTo>
                    <a:lnTo>
                      <a:pt x="2282" y="4"/>
                    </a:lnTo>
                    <a:lnTo>
                      <a:pt x="2283" y="4"/>
                    </a:lnTo>
                    <a:lnTo>
                      <a:pt x="2284" y="2"/>
                    </a:lnTo>
                    <a:lnTo>
                      <a:pt x="2285" y="1"/>
                    </a:lnTo>
                    <a:lnTo>
                      <a:pt x="2286" y="0"/>
                    </a:lnTo>
                    <a:lnTo>
                      <a:pt x="2287"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noEditPoints="1"/>
              </p:cNvSpPr>
              <p:nvPr/>
            </p:nvSpPr>
            <p:spPr bwMode="auto">
              <a:xfrm>
                <a:off x="3103" y="855"/>
                <a:ext cx="381" cy="147"/>
              </a:xfrm>
              <a:custGeom>
                <a:avLst/>
                <a:gdLst>
                  <a:gd name="T0" fmla="*/ 1250 w 2666"/>
                  <a:gd name="T1" fmla="*/ 155 h 1032"/>
                  <a:gd name="T2" fmla="*/ 1191 w 2666"/>
                  <a:gd name="T3" fmla="*/ 136 h 1032"/>
                  <a:gd name="T4" fmla="*/ 2576 w 2666"/>
                  <a:gd name="T5" fmla="*/ 161 h 1032"/>
                  <a:gd name="T6" fmla="*/ 2555 w 2666"/>
                  <a:gd name="T7" fmla="*/ 212 h 1032"/>
                  <a:gd name="T8" fmla="*/ 2551 w 2666"/>
                  <a:gd name="T9" fmla="*/ 240 h 1032"/>
                  <a:gd name="T10" fmla="*/ 2561 w 2666"/>
                  <a:gd name="T11" fmla="*/ 320 h 1032"/>
                  <a:gd name="T12" fmla="*/ 2532 w 2666"/>
                  <a:gd name="T13" fmla="*/ 270 h 1032"/>
                  <a:gd name="T14" fmla="*/ 2537 w 2666"/>
                  <a:gd name="T15" fmla="*/ 223 h 1032"/>
                  <a:gd name="T16" fmla="*/ 2540 w 2666"/>
                  <a:gd name="T17" fmla="*/ 165 h 1032"/>
                  <a:gd name="T18" fmla="*/ 2553 w 2666"/>
                  <a:gd name="T19" fmla="*/ 138 h 1032"/>
                  <a:gd name="T20" fmla="*/ 1196 w 2666"/>
                  <a:gd name="T21" fmla="*/ 98 h 1032"/>
                  <a:gd name="T22" fmla="*/ 871 w 2666"/>
                  <a:gd name="T23" fmla="*/ 95 h 1032"/>
                  <a:gd name="T24" fmla="*/ 832 w 2666"/>
                  <a:gd name="T25" fmla="*/ 128 h 1032"/>
                  <a:gd name="T26" fmla="*/ 1978 w 2666"/>
                  <a:gd name="T27" fmla="*/ 45 h 1032"/>
                  <a:gd name="T28" fmla="*/ 950 w 2666"/>
                  <a:gd name="T29" fmla="*/ 49 h 1032"/>
                  <a:gd name="T30" fmla="*/ 969 w 2666"/>
                  <a:gd name="T31" fmla="*/ 99 h 1032"/>
                  <a:gd name="T32" fmla="*/ 1030 w 2666"/>
                  <a:gd name="T33" fmla="*/ 146 h 1032"/>
                  <a:gd name="T34" fmla="*/ 1064 w 2666"/>
                  <a:gd name="T35" fmla="*/ 127 h 1032"/>
                  <a:gd name="T36" fmla="*/ 1138 w 2666"/>
                  <a:gd name="T37" fmla="*/ 104 h 1032"/>
                  <a:gd name="T38" fmla="*/ 1130 w 2666"/>
                  <a:gd name="T39" fmla="*/ 149 h 1032"/>
                  <a:gd name="T40" fmla="*/ 1078 w 2666"/>
                  <a:gd name="T41" fmla="*/ 220 h 1032"/>
                  <a:gd name="T42" fmla="*/ 982 w 2666"/>
                  <a:gd name="T43" fmla="*/ 252 h 1032"/>
                  <a:gd name="T44" fmla="*/ 970 w 2666"/>
                  <a:gd name="T45" fmla="*/ 349 h 1032"/>
                  <a:gd name="T46" fmla="*/ 890 w 2666"/>
                  <a:gd name="T47" fmla="*/ 491 h 1032"/>
                  <a:gd name="T48" fmla="*/ 1011 w 2666"/>
                  <a:gd name="T49" fmla="*/ 601 h 1032"/>
                  <a:gd name="T50" fmla="*/ 1150 w 2666"/>
                  <a:gd name="T51" fmla="*/ 735 h 1032"/>
                  <a:gd name="T52" fmla="*/ 1195 w 2666"/>
                  <a:gd name="T53" fmla="*/ 715 h 1032"/>
                  <a:gd name="T54" fmla="*/ 1207 w 2666"/>
                  <a:gd name="T55" fmla="*/ 508 h 1032"/>
                  <a:gd name="T56" fmla="*/ 1212 w 2666"/>
                  <a:gd name="T57" fmla="*/ 384 h 1032"/>
                  <a:gd name="T58" fmla="*/ 1331 w 2666"/>
                  <a:gd name="T59" fmla="*/ 432 h 1032"/>
                  <a:gd name="T60" fmla="*/ 1375 w 2666"/>
                  <a:gd name="T61" fmla="*/ 510 h 1032"/>
                  <a:gd name="T62" fmla="*/ 1449 w 2666"/>
                  <a:gd name="T63" fmla="*/ 492 h 1032"/>
                  <a:gd name="T64" fmla="*/ 1536 w 2666"/>
                  <a:gd name="T65" fmla="*/ 643 h 1032"/>
                  <a:gd name="T66" fmla="*/ 1623 w 2666"/>
                  <a:gd name="T67" fmla="*/ 728 h 1032"/>
                  <a:gd name="T68" fmla="*/ 1605 w 2666"/>
                  <a:gd name="T69" fmla="*/ 838 h 1032"/>
                  <a:gd name="T70" fmla="*/ 1651 w 2666"/>
                  <a:gd name="T71" fmla="*/ 911 h 1032"/>
                  <a:gd name="T72" fmla="*/ 1599 w 2666"/>
                  <a:gd name="T73" fmla="*/ 903 h 1032"/>
                  <a:gd name="T74" fmla="*/ 1555 w 2666"/>
                  <a:gd name="T75" fmla="*/ 876 h 1032"/>
                  <a:gd name="T76" fmla="*/ 1528 w 2666"/>
                  <a:gd name="T77" fmla="*/ 838 h 1032"/>
                  <a:gd name="T78" fmla="*/ 1384 w 2666"/>
                  <a:gd name="T79" fmla="*/ 888 h 1032"/>
                  <a:gd name="T80" fmla="*/ 1520 w 2666"/>
                  <a:gd name="T81" fmla="*/ 941 h 1032"/>
                  <a:gd name="T82" fmla="*/ 1453 w 2666"/>
                  <a:gd name="T83" fmla="*/ 967 h 1032"/>
                  <a:gd name="T84" fmla="*/ 1371 w 2666"/>
                  <a:gd name="T85" fmla="*/ 997 h 1032"/>
                  <a:gd name="T86" fmla="*/ 1217 w 2666"/>
                  <a:gd name="T87" fmla="*/ 993 h 1032"/>
                  <a:gd name="T88" fmla="*/ 1051 w 2666"/>
                  <a:gd name="T89" fmla="*/ 923 h 1032"/>
                  <a:gd name="T90" fmla="*/ 1030 w 2666"/>
                  <a:gd name="T91" fmla="*/ 865 h 1032"/>
                  <a:gd name="T92" fmla="*/ 52 w 2666"/>
                  <a:gd name="T93" fmla="*/ 405 h 1032"/>
                  <a:gd name="T94" fmla="*/ 37 w 2666"/>
                  <a:gd name="T95" fmla="*/ 357 h 1032"/>
                  <a:gd name="T96" fmla="*/ 39 w 2666"/>
                  <a:gd name="T97" fmla="*/ 331 h 1032"/>
                  <a:gd name="T98" fmla="*/ 59 w 2666"/>
                  <a:gd name="T99" fmla="*/ 249 h 1032"/>
                  <a:gd name="T100" fmla="*/ 126 w 2666"/>
                  <a:gd name="T101" fmla="*/ 185 h 1032"/>
                  <a:gd name="T102" fmla="*/ 148 w 2666"/>
                  <a:gd name="T103" fmla="*/ 184 h 1032"/>
                  <a:gd name="T104" fmla="*/ 215 w 2666"/>
                  <a:gd name="T105" fmla="*/ 193 h 1032"/>
                  <a:gd name="T106" fmla="*/ 313 w 2666"/>
                  <a:gd name="T107" fmla="*/ 218 h 1032"/>
                  <a:gd name="T108" fmla="*/ 358 w 2666"/>
                  <a:gd name="T109" fmla="*/ 169 h 1032"/>
                  <a:gd name="T110" fmla="*/ 411 w 2666"/>
                  <a:gd name="T111" fmla="*/ 124 h 1032"/>
                  <a:gd name="T112" fmla="*/ 461 w 2666"/>
                  <a:gd name="T113" fmla="*/ 162 h 1032"/>
                  <a:gd name="T114" fmla="*/ 579 w 2666"/>
                  <a:gd name="T115" fmla="*/ 164 h 1032"/>
                  <a:gd name="T116" fmla="*/ 681 w 2666"/>
                  <a:gd name="T117" fmla="*/ 205 h 1032"/>
                  <a:gd name="T118" fmla="*/ 759 w 2666"/>
                  <a:gd name="T119" fmla="*/ 172 h 1032"/>
                  <a:gd name="T120" fmla="*/ 873 w 2666"/>
                  <a:gd name="T121" fmla="*/ 161 h 1032"/>
                  <a:gd name="T122" fmla="*/ 908 w 2666"/>
                  <a:gd name="T123" fmla="*/ 132 h 1032"/>
                  <a:gd name="T124" fmla="*/ 883 w 2666"/>
                  <a:gd name="T125" fmla="*/ 39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66" h="1032">
                    <a:moveTo>
                      <a:pt x="2662" y="195"/>
                    </a:moveTo>
                    <a:lnTo>
                      <a:pt x="2663" y="197"/>
                    </a:lnTo>
                    <a:lnTo>
                      <a:pt x="2664" y="199"/>
                    </a:lnTo>
                    <a:lnTo>
                      <a:pt x="2665" y="202"/>
                    </a:lnTo>
                    <a:lnTo>
                      <a:pt x="2665" y="204"/>
                    </a:lnTo>
                    <a:lnTo>
                      <a:pt x="2666" y="206"/>
                    </a:lnTo>
                    <a:lnTo>
                      <a:pt x="2666" y="207"/>
                    </a:lnTo>
                    <a:lnTo>
                      <a:pt x="2665" y="208"/>
                    </a:lnTo>
                    <a:lnTo>
                      <a:pt x="2664" y="208"/>
                    </a:lnTo>
                    <a:lnTo>
                      <a:pt x="2662" y="207"/>
                    </a:lnTo>
                    <a:lnTo>
                      <a:pt x="2661" y="205"/>
                    </a:lnTo>
                    <a:lnTo>
                      <a:pt x="2660" y="202"/>
                    </a:lnTo>
                    <a:lnTo>
                      <a:pt x="2660" y="200"/>
                    </a:lnTo>
                    <a:lnTo>
                      <a:pt x="2660" y="198"/>
                    </a:lnTo>
                    <a:lnTo>
                      <a:pt x="2660" y="196"/>
                    </a:lnTo>
                    <a:lnTo>
                      <a:pt x="2661" y="196"/>
                    </a:lnTo>
                    <a:lnTo>
                      <a:pt x="2662" y="195"/>
                    </a:lnTo>
                    <a:lnTo>
                      <a:pt x="2662" y="195"/>
                    </a:lnTo>
                    <a:close/>
                    <a:moveTo>
                      <a:pt x="1277" y="162"/>
                    </a:moveTo>
                    <a:lnTo>
                      <a:pt x="1280" y="162"/>
                    </a:lnTo>
                    <a:lnTo>
                      <a:pt x="1283" y="163"/>
                    </a:lnTo>
                    <a:lnTo>
                      <a:pt x="1286" y="165"/>
                    </a:lnTo>
                    <a:lnTo>
                      <a:pt x="1287" y="167"/>
                    </a:lnTo>
                    <a:lnTo>
                      <a:pt x="1287" y="168"/>
                    </a:lnTo>
                    <a:lnTo>
                      <a:pt x="1286" y="171"/>
                    </a:lnTo>
                    <a:lnTo>
                      <a:pt x="1285" y="172"/>
                    </a:lnTo>
                    <a:lnTo>
                      <a:pt x="1283" y="173"/>
                    </a:lnTo>
                    <a:lnTo>
                      <a:pt x="1280" y="173"/>
                    </a:lnTo>
                    <a:lnTo>
                      <a:pt x="1277" y="172"/>
                    </a:lnTo>
                    <a:lnTo>
                      <a:pt x="1274" y="171"/>
                    </a:lnTo>
                    <a:lnTo>
                      <a:pt x="1272" y="167"/>
                    </a:lnTo>
                    <a:lnTo>
                      <a:pt x="1272" y="165"/>
                    </a:lnTo>
                    <a:lnTo>
                      <a:pt x="1273" y="164"/>
                    </a:lnTo>
                    <a:lnTo>
                      <a:pt x="1275" y="162"/>
                    </a:lnTo>
                    <a:lnTo>
                      <a:pt x="1277" y="162"/>
                    </a:lnTo>
                    <a:close/>
                    <a:moveTo>
                      <a:pt x="1241" y="154"/>
                    </a:moveTo>
                    <a:lnTo>
                      <a:pt x="1250" y="155"/>
                    </a:lnTo>
                    <a:lnTo>
                      <a:pt x="1260" y="158"/>
                    </a:lnTo>
                    <a:lnTo>
                      <a:pt x="1264" y="162"/>
                    </a:lnTo>
                    <a:lnTo>
                      <a:pt x="1265" y="169"/>
                    </a:lnTo>
                    <a:lnTo>
                      <a:pt x="1265" y="177"/>
                    </a:lnTo>
                    <a:lnTo>
                      <a:pt x="1265" y="184"/>
                    </a:lnTo>
                    <a:lnTo>
                      <a:pt x="1264" y="189"/>
                    </a:lnTo>
                    <a:lnTo>
                      <a:pt x="1260" y="196"/>
                    </a:lnTo>
                    <a:lnTo>
                      <a:pt x="1253" y="200"/>
                    </a:lnTo>
                    <a:lnTo>
                      <a:pt x="1243" y="201"/>
                    </a:lnTo>
                    <a:lnTo>
                      <a:pt x="1234" y="200"/>
                    </a:lnTo>
                    <a:lnTo>
                      <a:pt x="1229" y="198"/>
                    </a:lnTo>
                    <a:lnTo>
                      <a:pt x="1225" y="195"/>
                    </a:lnTo>
                    <a:lnTo>
                      <a:pt x="1222" y="192"/>
                    </a:lnTo>
                    <a:lnTo>
                      <a:pt x="1219" y="189"/>
                    </a:lnTo>
                    <a:lnTo>
                      <a:pt x="1220" y="183"/>
                    </a:lnTo>
                    <a:lnTo>
                      <a:pt x="1223" y="176"/>
                    </a:lnTo>
                    <a:lnTo>
                      <a:pt x="1226" y="168"/>
                    </a:lnTo>
                    <a:lnTo>
                      <a:pt x="1229" y="160"/>
                    </a:lnTo>
                    <a:lnTo>
                      <a:pt x="1234" y="156"/>
                    </a:lnTo>
                    <a:lnTo>
                      <a:pt x="1241" y="154"/>
                    </a:lnTo>
                    <a:close/>
                    <a:moveTo>
                      <a:pt x="1185" y="154"/>
                    </a:moveTo>
                    <a:lnTo>
                      <a:pt x="1187" y="154"/>
                    </a:lnTo>
                    <a:lnTo>
                      <a:pt x="1189" y="154"/>
                    </a:lnTo>
                    <a:lnTo>
                      <a:pt x="1191" y="155"/>
                    </a:lnTo>
                    <a:lnTo>
                      <a:pt x="1190" y="157"/>
                    </a:lnTo>
                    <a:lnTo>
                      <a:pt x="1189" y="158"/>
                    </a:lnTo>
                    <a:lnTo>
                      <a:pt x="1188" y="159"/>
                    </a:lnTo>
                    <a:lnTo>
                      <a:pt x="1186" y="159"/>
                    </a:lnTo>
                    <a:lnTo>
                      <a:pt x="1184" y="159"/>
                    </a:lnTo>
                    <a:lnTo>
                      <a:pt x="1183" y="158"/>
                    </a:lnTo>
                    <a:lnTo>
                      <a:pt x="1182" y="156"/>
                    </a:lnTo>
                    <a:lnTo>
                      <a:pt x="1183" y="155"/>
                    </a:lnTo>
                    <a:lnTo>
                      <a:pt x="1184" y="154"/>
                    </a:lnTo>
                    <a:lnTo>
                      <a:pt x="1185" y="154"/>
                    </a:lnTo>
                    <a:close/>
                    <a:moveTo>
                      <a:pt x="1186" y="135"/>
                    </a:moveTo>
                    <a:lnTo>
                      <a:pt x="1191" y="135"/>
                    </a:lnTo>
                    <a:lnTo>
                      <a:pt x="1191" y="136"/>
                    </a:lnTo>
                    <a:lnTo>
                      <a:pt x="1191" y="138"/>
                    </a:lnTo>
                    <a:lnTo>
                      <a:pt x="1191" y="139"/>
                    </a:lnTo>
                    <a:lnTo>
                      <a:pt x="1190" y="140"/>
                    </a:lnTo>
                    <a:lnTo>
                      <a:pt x="1190" y="141"/>
                    </a:lnTo>
                    <a:lnTo>
                      <a:pt x="1189" y="141"/>
                    </a:lnTo>
                    <a:lnTo>
                      <a:pt x="1188" y="140"/>
                    </a:lnTo>
                    <a:lnTo>
                      <a:pt x="1187" y="140"/>
                    </a:lnTo>
                    <a:lnTo>
                      <a:pt x="1186" y="139"/>
                    </a:lnTo>
                    <a:lnTo>
                      <a:pt x="1185" y="138"/>
                    </a:lnTo>
                    <a:lnTo>
                      <a:pt x="1184" y="137"/>
                    </a:lnTo>
                    <a:lnTo>
                      <a:pt x="1185" y="136"/>
                    </a:lnTo>
                    <a:lnTo>
                      <a:pt x="1186" y="135"/>
                    </a:lnTo>
                    <a:close/>
                    <a:moveTo>
                      <a:pt x="2580" y="120"/>
                    </a:moveTo>
                    <a:lnTo>
                      <a:pt x="2581" y="120"/>
                    </a:lnTo>
                    <a:lnTo>
                      <a:pt x="2584" y="122"/>
                    </a:lnTo>
                    <a:lnTo>
                      <a:pt x="2586" y="125"/>
                    </a:lnTo>
                    <a:lnTo>
                      <a:pt x="2588" y="128"/>
                    </a:lnTo>
                    <a:lnTo>
                      <a:pt x="2588" y="131"/>
                    </a:lnTo>
                    <a:lnTo>
                      <a:pt x="2590" y="135"/>
                    </a:lnTo>
                    <a:lnTo>
                      <a:pt x="2591" y="138"/>
                    </a:lnTo>
                    <a:lnTo>
                      <a:pt x="2591" y="142"/>
                    </a:lnTo>
                    <a:lnTo>
                      <a:pt x="2591" y="145"/>
                    </a:lnTo>
                    <a:lnTo>
                      <a:pt x="2590" y="148"/>
                    </a:lnTo>
                    <a:lnTo>
                      <a:pt x="2588" y="150"/>
                    </a:lnTo>
                    <a:lnTo>
                      <a:pt x="2588" y="152"/>
                    </a:lnTo>
                    <a:lnTo>
                      <a:pt x="2587" y="154"/>
                    </a:lnTo>
                    <a:lnTo>
                      <a:pt x="2586" y="155"/>
                    </a:lnTo>
                    <a:lnTo>
                      <a:pt x="2584" y="156"/>
                    </a:lnTo>
                    <a:lnTo>
                      <a:pt x="2583" y="156"/>
                    </a:lnTo>
                    <a:lnTo>
                      <a:pt x="2582" y="155"/>
                    </a:lnTo>
                    <a:lnTo>
                      <a:pt x="2581" y="155"/>
                    </a:lnTo>
                    <a:lnTo>
                      <a:pt x="2580" y="155"/>
                    </a:lnTo>
                    <a:lnTo>
                      <a:pt x="2579" y="155"/>
                    </a:lnTo>
                    <a:lnTo>
                      <a:pt x="2578" y="156"/>
                    </a:lnTo>
                    <a:lnTo>
                      <a:pt x="2577" y="157"/>
                    </a:lnTo>
                    <a:lnTo>
                      <a:pt x="2577" y="159"/>
                    </a:lnTo>
                    <a:lnTo>
                      <a:pt x="2576" y="161"/>
                    </a:lnTo>
                    <a:lnTo>
                      <a:pt x="2574" y="162"/>
                    </a:lnTo>
                    <a:lnTo>
                      <a:pt x="2573" y="163"/>
                    </a:lnTo>
                    <a:lnTo>
                      <a:pt x="2572" y="163"/>
                    </a:lnTo>
                    <a:lnTo>
                      <a:pt x="2571" y="163"/>
                    </a:lnTo>
                    <a:lnTo>
                      <a:pt x="2571" y="164"/>
                    </a:lnTo>
                    <a:lnTo>
                      <a:pt x="2570" y="166"/>
                    </a:lnTo>
                    <a:lnTo>
                      <a:pt x="2569" y="168"/>
                    </a:lnTo>
                    <a:lnTo>
                      <a:pt x="2568" y="169"/>
                    </a:lnTo>
                    <a:lnTo>
                      <a:pt x="2568" y="172"/>
                    </a:lnTo>
                    <a:lnTo>
                      <a:pt x="2566" y="173"/>
                    </a:lnTo>
                    <a:lnTo>
                      <a:pt x="2564" y="174"/>
                    </a:lnTo>
                    <a:lnTo>
                      <a:pt x="2564" y="182"/>
                    </a:lnTo>
                    <a:lnTo>
                      <a:pt x="2564" y="183"/>
                    </a:lnTo>
                    <a:lnTo>
                      <a:pt x="2563" y="184"/>
                    </a:lnTo>
                    <a:lnTo>
                      <a:pt x="2561" y="185"/>
                    </a:lnTo>
                    <a:lnTo>
                      <a:pt x="2560" y="186"/>
                    </a:lnTo>
                    <a:lnTo>
                      <a:pt x="2560" y="192"/>
                    </a:lnTo>
                    <a:lnTo>
                      <a:pt x="2560" y="194"/>
                    </a:lnTo>
                    <a:lnTo>
                      <a:pt x="2559" y="195"/>
                    </a:lnTo>
                    <a:lnTo>
                      <a:pt x="2559" y="195"/>
                    </a:lnTo>
                    <a:lnTo>
                      <a:pt x="2558" y="194"/>
                    </a:lnTo>
                    <a:lnTo>
                      <a:pt x="2556" y="194"/>
                    </a:lnTo>
                    <a:lnTo>
                      <a:pt x="2555" y="195"/>
                    </a:lnTo>
                    <a:lnTo>
                      <a:pt x="2555" y="196"/>
                    </a:lnTo>
                    <a:lnTo>
                      <a:pt x="2556" y="198"/>
                    </a:lnTo>
                    <a:lnTo>
                      <a:pt x="2556" y="199"/>
                    </a:lnTo>
                    <a:lnTo>
                      <a:pt x="2556" y="201"/>
                    </a:lnTo>
                    <a:lnTo>
                      <a:pt x="2555" y="202"/>
                    </a:lnTo>
                    <a:lnTo>
                      <a:pt x="2555" y="202"/>
                    </a:lnTo>
                    <a:lnTo>
                      <a:pt x="2555" y="202"/>
                    </a:lnTo>
                    <a:lnTo>
                      <a:pt x="2554" y="203"/>
                    </a:lnTo>
                    <a:lnTo>
                      <a:pt x="2554" y="203"/>
                    </a:lnTo>
                    <a:lnTo>
                      <a:pt x="2555" y="204"/>
                    </a:lnTo>
                    <a:lnTo>
                      <a:pt x="2555" y="206"/>
                    </a:lnTo>
                    <a:lnTo>
                      <a:pt x="2555" y="208"/>
                    </a:lnTo>
                    <a:lnTo>
                      <a:pt x="2555" y="210"/>
                    </a:lnTo>
                    <a:lnTo>
                      <a:pt x="2555" y="212"/>
                    </a:lnTo>
                    <a:lnTo>
                      <a:pt x="2555" y="212"/>
                    </a:lnTo>
                    <a:lnTo>
                      <a:pt x="2554" y="211"/>
                    </a:lnTo>
                    <a:lnTo>
                      <a:pt x="2552" y="209"/>
                    </a:lnTo>
                    <a:lnTo>
                      <a:pt x="2550" y="207"/>
                    </a:lnTo>
                    <a:lnTo>
                      <a:pt x="2549" y="206"/>
                    </a:lnTo>
                    <a:lnTo>
                      <a:pt x="2548" y="206"/>
                    </a:lnTo>
                    <a:lnTo>
                      <a:pt x="2547" y="206"/>
                    </a:lnTo>
                    <a:lnTo>
                      <a:pt x="2547" y="208"/>
                    </a:lnTo>
                    <a:lnTo>
                      <a:pt x="2548" y="209"/>
                    </a:lnTo>
                    <a:lnTo>
                      <a:pt x="2549" y="210"/>
                    </a:lnTo>
                    <a:lnTo>
                      <a:pt x="2550" y="211"/>
                    </a:lnTo>
                    <a:lnTo>
                      <a:pt x="2551" y="213"/>
                    </a:lnTo>
                    <a:lnTo>
                      <a:pt x="2552" y="214"/>
                    </a:lnTo>
                    <a:lnTo>
                      <a:pt x="2553" y="216"/>
                    </a:lnTo>
                    <a:lnTo>
                      <a:pt x="2553" y="217"/>
                    </a:lnTo>
                    <a:lnTo>
                      <a:pt x="2552" y="218"/>
                    </a:lnTo>
                    <a:lnTo>
                      <a:pt x="2551" y="218"/>
                    </a:lnTo>
                    <a:lnTo>
                      <a:pt x="2553" y="225"/>
                    </a:lnTo>
                    <a:lnTo>
                      <a:pt x="2553" y="225"/>
                    </a:lnTo>
                    <a:lnTo>
                      <a:pt x="2552" y="225"/>
                    </a:lnTo>
                    <a:lnTo>
                      <a:pt x="2552" y="225"/>
                    </a:lnTo>
                    <a:lnTo>
                      <a:pt x="2551" y="224"/>
                    </a:lnTo>
                    <a:lnTo>
                      <a:pt x="2551" y="223"/>
                    </a:lnTo>
                    <a:lnTo>
                      <a:pt x="2550" y="223"/>
                    </a:lnTo>
                    <a:lnTo>
                      <a:pt x="2549" y="224"/>
                    </a:lnTo>
                    <a:lnTo>
                      <a:pt x="2549" y="225"/>
                    </a:lnTo>
                    <a:lnTo>
                      <a:pt x="2550" y="227"/>
                    </a:lnTo>
                    <a:lnTo>
                      <a:pt x="2551" y="228"/>
                    </a:lnTo>
                    <a:lnTo>
                      <a:pt x="2551" y="230"/>
                    </a:lnTo>
                    <a:lnTo>
                      <a:pt x="2553" y="232"/>
                    </a:lnTo>
                    <a:lnTo>
                      <a:pt x="2553" y="234"/>
                    </a:lnTo>
                    <a:lnTo>
                      <a:pt x="2551" y="234"/>
                    </a:lnTo>
                    <a:lnTo>
                      <a:pt x="2551" y="236"/>
                    </a:lnTo>
                    <a:lnTo>
                      <a:pt x="2552" y="237"/>
                    </a:lnTo>
                    <a:lnTo>
                      <a:pt x="2552" y="239"/>
                    </a:lnTo>
                    <a:lnTo>
                      <a:pt x="2552" y="239"/>
                    </a:lnTo>
                    <a:lnTo>
                      <a:pt x="2551" y="240"/>
                    </a:lnTo>
                    <a:lnTo>
                      <a:pt x="2550" y="240"/>
                    </a:lnTo>
                    <a:lnTo>
                      <a:pt x="2550" y="242"/>
                    </a:lnTo>
                    <a:lnTo>
                      <a:pt x="2550" y="244"/>
                    </a:lnTo>
                    <a:lnTo>
                      <a:pt x="2550" y="247"/>
                    </a:lnTo>
                    <a:lnTo>
                      <a:pt x="2551" y="249"/>
                    </a:lnTo>
                    <a:lnTo>
                      <a:pt x="2551" y="252"/>
                    </a:lnTo>
                    <a:lnTo>
                      <a:pt x="2551" y="254"/>
                    </a:lnTo>
                    <a:lnTo>
                      <a:pt x="2550" y="263"/>
                    </a:lnTo>
                    <a:lnTo>
                      <a:pt x="2551" y="274"/>
                    </a:lnTo>
                    <a:lnTo>
                      <a:pt x="2554" y="286"/>
                    </a:lnTo>
                    <a:lnTo>
                      <a:pt x="2558" y="297"/>
                    </a:lnTo>
                    <a:lnTo>
                      <a:pt x="2559" y="299"/>
                    </a:lnTo>
                    <a:lnTo>
                      <a:pt x="2561" y="301"/>
                    </a:lnTo>
                    <a:lnTo>
                      <a:pt x="2562" y="303"/>
                    </a:lnTo>
                    <a:lnTo>
                      <a:pt x="2562" y="305"/>
                    </a:lnTo>
                    <a:lnTo>
                      <a:pt x="2563" y="307"/>
                    </a:lnTo>
                    <a:lnTo>
                      <a:pt x="2564" y="309"/>
                    </a:lnTo>
                    <a:lnTo>
                      <a:pt x="2564" y="310"/>
                    </a:lnTo>
                    <a:lnTo>
                      <a:pt x="2565" y="310"/>
                    </a:lnTo>
                    <a:lnTo>
                      <a:pt x="2566" y="311"/>
                    </a:lnTo>
                    <a:lnTo>
                      <a:pt x="2567" y="313"/>
                    </a:lnTo>
                    <a:lnTo>
                      <a:pt x="2567" y="314"/>
                    </a:lnTo>
                    <a:lnTo>
                      <a:pt x="2568" y="316"/>
                    </a:lnTo>
                    <a:lnTo>
                      <a:pt x="2569" y="318"/>
                    </a:lnTo>
                    <a:lnTo>
                      <a:pt x="2570" y="320"/>
                    </a:lnTo>
                    <a:lnTo>
                      <a:pt x="2571" y="322"/>
                    </a:lnTo>
                    <a:lnTo>
                      <a:pt x="2569" y="322"/>
                    </a:lnTo>
                    <a:lnTo>
                      <a:pt x="2568" y="322"/>
                    </a:lnTo>
                    <a:lnTo>
                      <a:pt x="2567" y="320"/>
                    </a:lnTo>
                    <a:lnTo>
                      <a:pt x="2566" y="319"/>
                    </a:lnTo>
                    <a:lnTo>
                      <a:pt x="2566" y="317"/>
                    </a:lnTo>
                    <a:lnTo>
                      <a:pt x="2565" y="317"/>
                    </a:lnTo>
                    <a:lnTo>
                      <a:pt x="2563" y="317"/>
                    </a:lnTo>
                    <a:lnTo>
                      <a:pt x="2562" y="318"/>
                    </a:lnTo>
                    <a:lnTo>
                      <a:pt x="2562" y="319"/>
                    </a:lnTo>
                    <a:lnTo>
                      <a:pt x="2562" y="320"/>
                    </a:lnTo>
                    <a:lnTo>
                      <a:pt x="2561" y="320"/>
                    </a:lnTo>
                    <a:lnTo>
                      <a:pt x="2560" y="320"/>
                    </a:lnTo>
                    <a:lnTo>
                      <a:pt x="2560" y="320"/>
                    </a:lnTo>
                    <a:lnTo>
                      <a:pt x="2560" y="319"/>
                    </a:lnTo>
                    <a:lnTo>
                      <a:pt x="2559" y="318"/>
                    </a:lnTo>
                    <a:lnTo>
                      <a:pt x="2558" y="316"/>
                    </a:lnTo>
                    <a:lnTo>
                      <a:pt x="2557" y="316"/>
                    </a:lnTo>
                    <a:lnTo>
                      <a:pt x="2556" y="315"/>
                    </a:lnTo>
                    <a:lnTo>
                      <a:pt x="2555" y="315"/>
                    </a:lnTo>
                    <a:lnTo>
                      <a:pt x="2554" y="314"/>
                    </a:lnTo>
                    <a:lnTo>
                      <a:pt x="2552" y="313"/>
                    </a:lnTo>
                    <a:lnTo>
                      <a:pt x="2551" y="313"/>
                    </a:lnTo>
                    <a:lnTo>
                      <a:pt x="2551" y="311"/>
                    </a:lnTo>
                    <a:lnTo>
                      <a:pt x="2550" y="309"/>
                    </a:lnTo>
                    <a:lnTo>
                      <a:pt x="2550" y="307"/>
                    </a:lnTo>
                    <a:lnTo>
                      <a:pt x="2550" y="306"/>
                    </a:lnTo>
                    <a:lnTo>
                      <a:pt x="2551" y="305"/>
                    </a:lnTo>
                    <a:lnTo>
                      <a:pt x="2551" y="303"/>
                    </a:lnTo>
                    <a:lnTo>
                      <a:pt x="2551" y="302"/>
                    </a:lnTo>
                    <a:lnTo>
                      <a:pt x="2550" y="300"/>
                    </a:lnTo>
                    <a:lnTo>
                      <a:pt x="2549" y="298"/>
                    </a:lnTo>
                    <a:lnTo>
                      <a:pt x="2548" y="295"/>
                    </a:lnTo>
                    <a:lnTo>
                      <a:pt x="2546" y="293"/>
                    </a:lnTo>
                    <a:lnTo>
                      <a:pt x="2545" y="291"/>
                    </a:lnTo>
                    <a:lnTo>
                      <a:pt x="2545" y="290"/>
                    </a:lnTo>
                    <a:lnTo>
                      <a:pt x="2544" y="289"/>
                    </a:lnTo>
                    <a:lnTo>
                      <a:pt x="2543" y="289"/>
                    </a:lnTo>
                    <a:lnTo>
                      <a:pt x="2541" y="288"/>
                    </a:lnTo>
                    <a:lnTo>
                      <a:pt x="2540" y="288"/>
                    </a:lnTo>
                    <a:lnTo>
                      <a:pt x="2537" y="287"/>
                    </a:lnTo>
                    <a:lnTo>
                      <a:pt x="2536" y="286"/>
                    </a:lnTo>
                    <a:lnTo>
                      <a:pt x="2534" y="284"/>
                    </a:lnTo>
                    <a:lnTo>
                      <a:pt x="2533" y="280"/>
                    </a:lnTo>
                    <a:lnTo>
                      <a:pt x="2532" y="278"/>
                    </a:lnTo>
                    <a:lnTo>
                      <a:pt x="2532" y="276"/>
                    </a:lnTo>
                    <a:lnTo>
                      <a:pt x="2532" y="274"/>
                    </a:lnTo>
                    <a:lnTo>
                      <a:pt x="2532" y="272"/>
                    </a:lnTo>
                    <a:lnTo>
                      <a:pt x="2532" y="270"/>
                    </a:lnTo>
                    <a:lnTo>
                      <a:pt x="2532" y="268"/>
                    </a:lnTo>
                    <a:lnTo>
                      <a:pt x="2532" y="268"/>
                    </a:lnTo>
                    <a:lnTo>
                      <a:pt x="2533" y="268"/>
                    </a:lnTo>
                    <a:lnTo>
                      <a:pt x="2534" y="268"/>
                    </a:lnTo>
                    <a:lnTo>
                      <a:pt x="2535" y="267"/>
                    </a:lnTo>
                    <a:lnTo>
                      <a:pt x="2535" y="265"/>
                    </a:lnTo>
                    <a:lnTo>
                      <a:pt x="2535" y="264"/>
                    </a:lnTo>
                    <a:lnTo>
                      <a:pt x="2535" y="262"/>
                    </a:lnTo>
                    <a:lnTo>
                      <a:pt x="2535" y="260"/>
                    </a:lnTo>
                    <a:lnTo>
                      <a:pt x="2535" y="258"/>
                    </a:lnTo>
                    <a:lnTo>
                      <a:pt x="2535" y="252"/>
                    </a:lnTo>
                    <a:lnTo>
                      <a:pt x="2534" y="251"/>
                    </a:lnTo>
                    <a:lnTo>
                      <a:pt x="2533" y="251"/>
                    </a:lnTo>
                    <a:lnTo>
                      <a:pt x="2533" y="250"/>
                    </a:lnTo>
                    <a:lnTo>
                      <a:pt x="2533" y="250"/>
                    </a:lnTo>
                    <a:lnTo>
                      <a:pt x="2533" y="248"/>
                    </a:lnTo>
                    <a:lnTo>
                      <a:pt x="2532" y="247"/>
                    </a:lnTo>
                    <a:lnTo>
                      <a:pt x="2532" y="245"/>
                    </a:lnTo>
                    <a:lnTo>
                      <a:pt x="2532" y="244"/>
                    </a:lnTo>
                    <a:lnTo>
                      <a:pt x="2532" y="243"/>
                    </a:lnTo>
                    <a:lnTo>
                      <a:pt x="2532" y="242"/>
                    </a:lnTo>
                    <a:lnTo>
                      <a:pt x="2533" y="242"/>
                    </a:lnTo>
                    <a:lnTo>
                      <a:pt x="2533" y="243"/>
                    </a:lnTo>
                    <a:lnTo>
                      <a:pt x="2534" y="243"/>
                    </a:lnTo>
                    <a:lnTo>
                      <a:pt x="2534" y="243"/>
                    </a:lnTo>
                    <a:lnTo>
                      <a:pt x="2535" y="242"/>
                    </a:lnTo>
                    <a:lnTo>
                      <a:pt x="2534" y="238"/>
                    </a:lnTo>
                    <a:lnTo>
                      <a:pt x="2533" y="236"/>
                    </a:lnTo>
                    <a:lnTo>
                      <a:pt x="2533" y="233"/>
                    </a:lnTo>
                    <a:lnTo>
                      <a:pt x="2534" y="232"/>
                    </a:lnTo>
                    <a:lnTo>
                      <a:pt x="2535" y="232"/>
                    </a:lnTo>
                    <a:lnTo>
                      <a:pt x="2536" y="231"/>
                    </a:lnTo>
                    <a:lnTo>
                      <a:pt x="2537" y="230"/>
                    </a:lnTo>
                    <a:lnTo>
                      <a:pt x="2537" y="229"/>
                    </a:lnTo>
                    <a:lnTo>
                      <a:pt x="2537" y="228"/>
                    </a:lnTo>
                    <a:lnTo>
                      <a:pt x="2537" y="225"/>
                    </a:lnTo>
                    <a:lnTo>
                      <a:pt x="2537" y="223"/>
                    </a:lnTo>
                    <a:lnTo>
                      <a:pt x="2536" y="220"/>
                    </a:lnTo>
                    <a:lnTo>
                      <a:pt x="2535" y="218"/>
                    </a:lnTo>
                    <a:lnTo>
                      <a:pt x="2533" y="217"/>
                    </a:lnTo>
                    <a:lnTo>
                      <a:pt x="2533" y="216"/>
                    </a:lnTo>
                    <a:lnTo>
                      <a:pt x="2533" y="214"/>
                    </a:lnTo>
                    <a:lnTo>
                      <a:pt x="2533" y="213"/>
                    </a:lnTo>
                    <a:lnTo>
                      <a:pt x="2534" y="211"/>
                    </a:lnTo>
                    <a:lnTo>
                      <a:pt x="2534" y="209"/>
                    </a:lnTo>
                    <a:lnTo>
                      <a:pt x="2535" y="208"/>
                    </a:lnTo>
                    <a:lnTo>
                      <a:pt x="2535" y="198"/>
                    </a:lnTo>
                    <a:lnTo>
                      <a:pt x="2536" y="196"/>
                    </a:lnTo>
                    <a:lnTo>
                      <a:pt x="2537" y="194"/>
                    </a:lnTo>
                    <a:lnTo>
                      <a:pt x="2537" y="192"/>
                    </a:lnTo>
                    <a:lnTo>
                      <a:pt x="2537" y="184"/>
                    </a:lnTo>
                    <a:lnTo>
                      <a:pt x="2537" y="183"/>
                    </a:lnTo>
                    <a:lnTo>
                      <a:pt x="2536" y="182"/>
                    </a:lnTo>
                    <a:lnTo>
                      <a:pt x="2535" y="181"/>
                    </a:lnTo>
                    <a:lnTo>
                      <a:pt x="2535" y="180"/>
                    </a:lnTo>
                    <a:lnTo>
                      <a:pt x="2534" y="179"/>
                    </a:lnTo>
                    <a:lnTo>
                      <a:pt x="2533" y="177"/>
                    </a:lnTo>
                    <a:lnTo>
                      <a:pt x="2532" y="174"/>
                    </a:lnTo>
                    <a:lnTo>
                      <a:pt x="2532" y="172"/>
                    </a:lnTo>
                    <a:lnTo>
                      <a:pt x="2532" y="169"/>
                    </a:lnTo>
                    <a:lnTo>
                      <a:pt x="2532" y="168"/>
                    </a:lnTo>
                    <a:lnTo>
                      <a:pt x="2533" y="167"/>
                    </a:lnTo>
                    <a:lnTo>
                      <a:pt x="2533" y="167"/>
                    </a:lnTo>
                    <a:lnTo>
                      <a:pt x="2533" y="168"/>
                    </a:lnTo>
                    <a:lnTo>
                      <a:pt x="2534" y="168"/>
                    </a:lnTo>
                    <a:lnTo>
                      <a:pt x="2534" y="168"/>
                    </a:lnTo>
                    <a:lnTo>
                      <a:pt x="2535" y="167"/>
                    </a:lnTo>
                    <a:lnTo>
                      <a:pt x="2535" y="167"/>
                    </a:lnTo>
                    <a:lnTo>
                      <a:pt x="2535" y="166"/>
                    </a:lnTo>
                    <a:lnTo>
                      <a:pt x="2535" y="164"/>
                    </a:lnTo>
                    <a:lnTo>
                      <a:pt x="2536" y="163"/>
                    </a:lnTo>
                    <a:lnTo>
                      <a:pt x="2537" y="163"/>
                    </a:lnTo>
                    <a:lnTo>
                      <a:pt x="2539" y="164"/>
                    </a:lnTo>
                    <a:lnTo>
                      <a:pt x="2540" y="165"/>
                    </a:lnTo>
                    <a:lnTo>
                      <a:pt x="2540" y="166"/>
                    </a:lnTo>
                    <a:lnTo>
                      <a:pt x="2541" y="166"/>
                    </a:lnTo>
                    <a:lnTo>
                      <a:pt x="2542" y="165"/>
                    </a:lnTo>
                    <a:lnTo>
                      <a:pt x="2543" y="164"/>
                    </a:lnTo>
                    <a:lnTo>
                      <a:pt x="2543" y="163"/>
                    </a:lnTo>
                    <a:lnTo>
                      <a:pt x="2542" y="161"/>
                    </a:lnTo>
                    <a:lnTo>
                      <a:pt x="2542" y="159"/>
                    </a:lnTo>
                    <a:lnTo>
                      <a:pt x="2541" y="158"/>
                    </a:lnTo>
                    <a:lnTo>
                      <a:pt x="2541" y="156"/>
                    </a:lnTo>
                    <a:lnTo>
                      <a:pt x="2541" y="155"/>
                    </a:lnTo>
                    <a:lnTo>
                      <a:pt x="2541" y="155"/>
                    </a:lnTo>
                    <a:lnTo>
                      <a:pt x="2542" y="155"/>
                    </a:lnTo>
                    <a:lnTo>
                      <a:pt x="2543" y="155"/>
                    </a:lnTo>
                    <a:lnTo>
                      <a:pt x="2544" y="155"/>
                    </a:lnTo>
                    <a:lnTo>
                      <a:pt x="2544" y="154"/>
                    </a:lnTo>
                    <a:lnTo>
                      <a:pt x="2544" y="152"/>
                    </a:lnTo>
                    <a:lnTo>
                      <a:pt x="2544" y="151"/>
                    </a:lnTo>
                    <a:lnTo>
                      <a:pt x="2544" y="149"/>
                    </a:lnTo>
                    <a:lnTo>
                      <a:pt x="2544" y="148"/>
                    </a:lnTo>
                    <a:lnTo>
                      <a:pt x="2544" y="147"/>
                    </a:lnTo>
                    <a:lnTo>
                      <a:pt x="2546" y="146"/>
                    </a:lnTo>
                    <a:lnTo>
                      <a:pt x="2547" y="146"/>
                    </a:lnTo>
                    <a:lnTo>
                      <a:pt x="2548" y="146"/>
                    </a:lnTo>
                    <a:lnTo>
                      <a:pt x="2549" y="146"/>
                    </a:lnTo>
                    <a:lnTo>
                      <a:pt x="2549" y="145"/>
                    </a:lnTo>
                    <a:lnTo>
                      <a:pt x="2549" y="141"/>
                    </a:lnTo>
                    <a:lnTo>
                      <a:pt x="2550" y="141"/>
                    </a:lnTo>
                    <a:lnTo>
                      <a:pt x="2550" y="142"/>
                    </a:lnTo>
                    <a:lnTo>
                      <a:pt x="2551" y="143"/>
                    </a:lnTo>
                    <a:lnTo>
                      <a:pt x="2552" y="144"/>
                    </a:lnTo>
                    <a:lnTo>
                      <a:pt x="2552" y="145"/>
                    </a:lnTo>
                    <a:lnTo>
                      <a:pt x="2553" y="145"/>
                    </a:lnTo>
                    <a:lnTo>
                      <a:pt x="2553" y="144"/>
                    </a:lnTo>
                    <a:lnTo>
                      <a:pt x="2553" y="143"/>
                    </a:lnTo>
                    <a:lnTo>
                      <a:pt x="2553" y="141"/>
                    </a:lnTo>
                    <a:lnTo>
                      <a:pt x="2553" y="139"/>
                    </a:lnTo>
                    <a:lnTo>
                      <a:pt x="2553" y="138"/>
                    </a:lnTo>
                    <a:lnTo>
                      <a:pt x="2553" y="137"/>
                    </a:lnTo>
                    <a:lnTo>
                      <a:pt x="2553" y="136"/>
                    </a:lnTo>
                    <a:lnTo>
                      <a:pt x="2554" y="136"/>
                    </a:lnTo>
                    <a:lnTo>
                      <a:pt x="2555" y="137"/>
                    </a:lnTo>
                    <a:lnTo>
                      <a:pt x="2557" y="137"/>
                    </a:lnTo>
                    <a:lnTo>
                      <a:pt x="2558" y="138"/>
                    </a:lnTo>
                    <a:lnTo>
                      <a:pt x="2558" y="139"/>
                    </a:lnTo>
                    <a:lnTo>
                      <a:pt x="2560" y="141"/>
                    </a:lnTo>
                    <a:lnTo>
                      <a:pt x="2561" y="140"/>
                    </a:lnTo>
                    <a:lnTo>
                      <a:pt x="2562" y="140"/>
                    </a:lnTo>
                    <a:lnTo>
                      <a:pt x="2562" y="139"/>
                    </a:lnTo>
                    <a:lnTo>
                      <a:pt x="2562" y="139"/>
                    </a:lnTo>
                    <a:lnTo>
                      <a:pt x="2564" y="139"/>
                    </a:lnTo>
                    <a:lnTo>
                      <a:pt x="2565" y="139"/>
                    </a:lnTo>
                    <a:lnTo>
                      <a:pt x="2567" y="139"/>
                    </a:lnTo>
                    <a:lnTo>
                      <a:pt x="2568" y="139"/>
                    </a:lnTo>
                    <a:lnTo>
                      <a:pt x="2571" y="137"/>
                    </a:lnTo>
                    <a:lnTo>
                      <a:pt x="2572" y="136"/>
                    </a:lnTo>
                    <a:lnTo>
                      <a:pt x="2573" y="135"/>
                    </a:lnTo>
                    <a:lnTo>
                      <a:pt x="2573" y="134"/>
                    </a:lnTo>
                    <a:lnTo>
                      <a:pt x="2574" y="133"/>
                    </a:lnTo>
                    <a:lnTo>
                      <a:pt x="2574" y="132"/>
                    </a:lnTo>
                    <a:lnTo>
                      <a:pt x="2573" y="131"/>
                    </a:lnTo>
                    <a:lnTo>
                      <a:pt x="2573" y="127"/>
                    </a:lnTo>
                    <a:lnTo>
                      <a:pt x="2573" y="125"/>
                    </a:lnTo>
                    <a:lnTo>
                      <a:pt x="2575" y="122"/>
                    </a:lnTo>
                    <a:lnTo>
                      <a:pt x="2576" y="122"/>
                    </a:lnTo>
                    <a:lnTo>
                      <a:pt x="2578" y="121"/>
                    </a:lnTo>
                    <a:lnTo>
                      <a:pt x="2579" y="120"/>
                    </a:lnTo>
                    <a:lnTo>
                      <a:pt x="2580" y="120"/>
                    </a:lnTo>
                    <a:close/>
                    <a:moveTo>
                      <a:pt x="1196" y="92"/>
                    </a:moveTo>
                    <a:lnTo>
                      <a:pt x="1196" y="93"/>
                    </a:lnTo>
                    <a:lnTo>
                      <a:pt x="1197" y="94"/>
                    </a:lnTo>
                    <a:lnTo>
                      <a:pt x="1198" y="95"/>
                    </a:lnTo>
                    <a:lnTo>
                      <a:pt x="1198" y="96"/>
                    </a:lnTo>
                    <a:lnTo>
                      <a:pt x="1198" y="97"/>
                    </a:lnTo>
                    <a:lnTo>
                      <a:pt x="1196" y="98"/>
                    </a:lnTo>
                    <a:lnTo>
                      <a:pt x="1195" y="100"/>
                    </a:lnTo>
                    <a:lnTo>
                      <a:pt x="1195" y="102"/>
                    </a:lnTo>
                    <a:lnTo>
                      <a:pt x="1196" y="103"/>
                    </a:lnTo>
                    <a:lnTo>
                      <a:pt x="1196" y="109"/>
                    </a:lnTo>
                    <a:lnTo>
                      <a:pt x="1194" y="117"/>
                    </a:lnTo>
                    <a:lnTo>
                      <a:pt x="1189" y="122"/>
                    </a:lnTo>
                    <a:lnTo>
                      <a:pt x="1185" y="125"/>
                    </a:lnTo>
                    <a:lnTo>
                      <a:pt x="1182" y="125"/>
                    </a:lnTo>
                    <a:lnTo>
                      <a:pt x="1180" y="125"/>
                    </a:lnTo>
                    <a:lnTo>
                      <a:pt x="1178" y="123"/>
                    </a:lnTo>
                    <a:lnTo>
                      <a:pt x="1177" y="122"/>
                    </a:lnTo>
                    <a:lnTo>
                      <a:pt x="1177" y="120"/>
                    </a:lnTo>
                    <a:lnTo>
                      <a:pt x="1178" y="118"/>
                    </a:lnTo>
                    <a:lnTo>
                      <a:pt x="1179" y="116"/>
                    </a:lnTo>
                    <a:lnTo>
                      <a:pt x="1181" y="115"/>
                    </a:lnTo>
                    <a:lnTo>
                      <a:pt x="1184" y="113"/>
                    </a:lnTo>
                    <a:lnTo>
                      <a:pt x="1186" y="112"/>
                    </a:lnTo>
                    <a:lnTo>
                      <a:pt x="1188" y="112"/>
                    </a:lnTo>
                    <a:lnTo>
                      <a:pt x="1190" y="111"/>
                    </a:lnTo>
                    <a:lnTo>
                      <a:pt x="1192" y="110"/>
                    </a:lnTo>
                    <a:lnTo>
                      <a:pt x="1192" y="108"/>
                    </a:lnTo>
                    <a:lnTo>
                      <a:pt x="1192" y="106"/>
                    </a:lnTo>
                    <a:lnTo>
                      <a:pt x="1191" y="105"/>
                    </a:lnTo>
                    <a:lnTo>
                      <a:pt x="1191" y="103"/>
                    </a:lnTo>
                    <a:lnTo>
                      <a:pt x="1190" y="100"/>
                    </a:lnTo>
                    <a:lnTo>
                      <a:pt x="1190" y="98"/>
                    </a:lnTo>
                    <a:lnTo>
                      <a:pt x="1190" y="96"/>
                    </a:lnTo>
                    <a:lnTo>
                      <a:pt x="1190" y="95"/>
                    </a:lnTo>
                    <a:lnTo>
                      <a:pt x="1191" y="93"/>
                    </a:lnTo>
                    <a:lnTo>
                      <a:pt x="1193" y="93"/>
                    </a:lnTo>
                    <a:lnTo>
                      <a:pt x="1196" y="92"/>
                    </a:lnTo>
                    <a:close/>
                    <a:moveTo>
                      <a:pt x="864" y="86"/>
                    </a:moveTo>
                    <a:lnTo>
                      <a:pt x="867" y="86"/>
                    </a:lnTo>
                    <a:lnTo>
                      <a:pt x="868" y="87"/>
                    </a:lnTo>
                    <a:lnTo>
                      <a:pt x="870" y="89"/>
                    </a:lnTo>
                    <a:lnTo>
                      <a:pt x="871" y="92"/>
                    </a:lnTo>
                    <a:lnTo>
                      <a:pt x="871" y="95"/>
                    </a:lnTo>
                    <a:lnTo>
                      <a:pt x="870" y="98"/>
                    </a:lnTo>
                    <a:lnTo>
                      <a:pt x="871" y="100"/>
                    </a:lnTo>
                    <a:lnTo>
                      <a:pt x="871" y="103"/>
                    </a:lnTo>
                    <a:lnTo>
                      <a:pt x="873" y="105"/>
                    </a:lnTo>
                    <a:lnTo>
                      <a:pt x="876" y="108"/>
                    </a:lnTo>
                    <a:lnTo>
                      <a:pt x="879" y="111"/>
                    </a:lnTo>
                    <a:lnTo>
                      <a:pt x="881" y="113"/>
                    </a:lnTo>
                    <a:lnTo>
                      <a:pt x="883" y="117"/>
                    </a:lnTo>
                    <a:lnTo>
                      <a:pt x="888" y="124"/>
                    </a:lnTo>
                    <a:lnTo>
                      <a:pt x="894" y="131"/>
                    </a:lnTo>
                    <a:lnTo>
                      <a:pt x="898" y="139"/>
                    </a:lnTo>
                    <a:lnTo>
                      <a:pt x="897" y="143"/>
                    </a:lnTo>
                    <a:lnTo>
                      <a:pt x="894" y="149"/>
                    </a:lnTo>
                    <a:lnTo>
                      <a:pt x="888" y="153"/>
                    </a:lnTo>
                    <a:lnTo>
                      <a:pt x="882" y="157"/>
                    </a:lnTo>
                    <a:lnTo>
                      <a:pt x="877" y="158"/>
                    </a:lnTo>
                    <a:lnTo>
                      <a:pt x="870" y="159"/>
                    </a:lnTo>
                    <a:lnTo>
                      <a:pt x="870" y="159"/>
                    </a:lnTo>
                    <a:lnTo>
                      <a:pt x="868" y="160"/>
                    </a:lnTo>
                    <a:lnTo>
                      <a:pt x="868" y="160"/>
                    </a:lnTo>
                    <a:lnTo>
                      <a:pt x="860" y="159"/>
                    </a:lnTo>
                    <a:lnTo>
                      <a:pt x="853" y="156"/>
                    </a:lnTo>
                    <a:lnTo>
                      <a:pt x="850" y="153"/>
                    </a:lnTo>
                    <a:lnTo>
                      <a:pt x="849" y="148"/>
                    </a:lnTo>
                    <a:lnTo>
                      <a:pt x="847" y="143"/>
                    </a:lnTo>
                    <a:lnTo>
                      <a:pt x="845" y="139"/>
                    </a:lnTo>
                    <a:lnTo>
                      <a:pt x="841" y="139"/>
                    </a:lnTo>
                    <a:lnTo>
                      <a:pt x="840" y="139"/>
                    </a:lnTo>
                    <a:lnTo>
                      <a:pt x="838" y="139"/>
                    </a:lnTo>
                    <a:lnTo>
                      <a:pt x="836" y="139"/>
                    </a:lnTo>
                    <a:lnTo>
                      <a:pt x="835" y="139"/>
                    </a:lnTo>
                    <a:lnTo>
                      <a:pt x="833" y="139"/>
                    </a:lnTo>
                    <a:lnTo>
                      <a:pt x="832" y="138"/>
                    </a:lnTo>
                    <a:lnTo>
                      <a:pt x="831" y="137"/>
                    </a:lnTo>
                    <a:lnTo>
                      <a:pt x="830" y="135"/>
                    </a:lnTo>
                    <a:lnTo>
                      <a:pt x="831" y="131"/>
                    </a:lnTo>
                    <a:lnTo>
                      <a:pt x="832" y="128"/>
                    </a:lnTo>
                    <a:lnTo>
                      <a:pt x="834" y="126"/>
                    </a:lnTo>
                    <a:lnTo>
                      <a:pt x="836" y="124"/>
                    </a:lnTo>
                    <a:lnTo>
                      <a:pt x="847" y="107"/>
                    </a:lnTo>
                    <a:lnTo>
                      <a:pt x="857" y="90"/>
                    </a:lnTo>
                    <a:lnTo>
                      <a:pt x="860" y="88"/>
                    </a:lnTo>
                    <a:lnTo>
                      <a:pt x="862" y="86"/>
                    </a:lnTo>
                    <a:lnTo>
                      <a:pt x="864" y="86"/>
                    </a:lnTo>
                    <a:close/>
                    <a:moveTo>
                      <a:pt x="1978" y="45"/>
                    </a:moveTo>
                    <a:lnTo>
                      <a:pt x="1982" y="46"/>
                    </a:lnTo>
                    <a:lnTo>
                      <a:pt x="1987" y="49"/>
                    </a:lnTo>
                    <a:lnTo>
                      <a:pt x="1992" y="52"/>
                    </a:lnTo>
                    <a:lnTo>
                      <a:pt x="1996" y="55"/>
                    </a:lnTo>
                    <a:lnTo>
                      <a:pt x="2000" y="61"/>
                    </a:lnTo>
                    <a:lnTo>
                      <a:pt x="2003" y="67"/>
                    </a:lnTo>
                    <a:lnTo>
                      <a:pt x="2005" y="74"/>
                    </a:lnTo>
                    <a:lnTo>
                      <a:pt x="2005" y="77"/>
                    </a:lnTo>
                    <a:lnTo>
                      <a:pt x="2005" y="80"/>
                    </a:lnTo>
                    <a:lnTo>
                      <a:pt x="2006" y="83"/>
                    </a:lnTo>
                    <a:lnTo>
                      <a:pt x="2006" y="86"/>
                    </a:lnTo>
                    <a:lnTo>
                      <a:pt x="2005" y="88"/>
                    </a:lnTo>
                    <a:lnTo>
                      <a:pt x="2004" y="89"/>
                    </a:lnTo>
                    <a:lnTo>
                      <a:pt x="2002" y="89"/>
                    </a:lnTo>
                    <a:lnTo>
                      <a:pt x="2001" y="88"/>
                    </a:lnTo>
                    <a:lnTo>
                      <a:pt x="1999" y="87"/>
                    </a:lnTo>
                    <a:lnTo>
                      <a:pt x="1997" y="85"/>
                    </a:lnTo>
                    <a:lnTo>
                      <a:pt x="1995" y="83"/>
                    </a:lnTo>
                    <a:lnTo>
                      <a:pt x="1994" y="82"/>
                    </a:lnTo>
                    <a:lnTo>
                      <a:pt x="1991" y="81"/>
                    </a:lnTo>
                    <a:lnTo>
                      <a:pt x="1989" y="79"/>
                    </a:lnTo>
                    <a:lnTo>
                      <a:pt x="1986" y="78"/>
                    </a:lnTo>
                    <a:lnTo>
                      <a:pt x="1984" y="75"/>
                    </a:lnTo>
                    <a:lnTo>
                      <a:pt x="1982" y="72"/>
                    </a:lnTo>
                    <a:lnTo>
                      <a:pt x="1979" y="65"/>
                    </a:lnTo>
                    <a:lnTo>
                      <a:pt x="1976" y="57"/>
                    </a:lnTo>
                    <a:lnTo>
                      <a:pt x="1975" y="51"/>
                    </a:lnTo>
                    <a:lnTo>
                      <a:pt x="1975" y="47"/>
                    </a:lnTo>
                    <a:lnTo>
                      <a:pt x="1978" y="45"/>
                    </a:lnTo>
                    <a:close/>
                    <a:moveTo>
                      <a:pt x="2601" y="25"/>
                    </a:moveTo>
                    <a:lnTo>
                      <a:pt x="2602" y="25"/>
                    </a:lnTo>
                    <a:lnTo>
                      <a:pt x="2603" y="26"/>
                    </a:lnTo>
                    <a:lnTo>
                      <a:pt x="2605" y="27"/>
                    </a:lnTo>
                    <a:lnTo>
                      <a:pt x="2606" y="28"/>
                    </a:lnTo>
                    <a:lnTo>
                      <a:pt x="2606" y="29"/>
                    </a:lnTo>
                    <a:lnTo>
                      <a:pt x="2607" y="30"/>
                    </a:lnTo>
                    <a:lnTo>
                      <a:pt x="2607" y="30"/>
                    </a:lnTo>
                    <a:lnTo>
                      <a:pt x="2607" y="31"/>
                    </a:lnTo>
                    <a:lnTo>
                      <a:pt x="2607" y="31"/>
                    </a:lnTo>
                    <a:lnTo>
                      <a:pt x="2606" y="31"/>
                    </a:lnTo>
                    <a:lnTo>
                      <a:pt x="2604" y="29"/>
                    </a:lnTo>
                    <a:lnTo>
                      <a:pt x="2603" y="28"/>
                    </a:lnTo>
                    <a:lnTo>
                      <a:pt x="2602" y="27"/>
                    </a:lnTo>
                    <a:lnTo>
                      <a:pt x="2601" y="26"/>
                    </a:lnTo>
                    <a:lnTo>
                      <a:pt x="2600" y="25"/>
                    </a:lnTo>
                    <a:lnTo>
                      <a:pt x="2601" y="25"/>
                    </a:lnTo>
                    <a:close/>
                    <a:moveTo>
                      <a:pt x="913" y="0"/>
                    </a:moveTo>
                    <a:lnTo>
                      <a:pt x="915" y="3"/>
                    </a:lnTo>
                    <a:lnTo>
                      <a:pt x="916" y="4"/>
                    </a:lnTo>
                    <a:lnTo>
                      <a:pt x="916" y="5"/>
                    </a:lnTo>
                    <a:lnTo>
                      <a:pt x="917" y="6"/>
                    </a:lnTo>
                    <a:lnTo>
                      <a:pt x="917" y="7"/>
                    </a:lnTo>
                    <a:lnTo>
                      <a:pt x="919" y="8"/>
                    </a:lnTo>
                    <a:lnTo>
                      <a:pt x="921" y="9"/>
                    </a:lnTo>
                    <a:lnTo>
                      <a:pt x="926" y="8"/>
                    </a:lnTo>
                    <a:lnTo>
                      <a:pt x="929" y="8"/>
                    </a:lnTo>
                    <a:lnTo>
                      <a:pt x="932" y="9"/>
                    </a:lnTo>
                    <a:lnTo>
                      <a:pt x="934" y="11"/>
                    </a:lnTo>
                    <a:lnTo>
                      <a:pt x="935" y="13"/>
                    </a:lnTo>
                    <a:lnTo>
                      <a:pt x="936" y="17"/>
                    </a:lnTo>
                    <a:lnTo>
                      <a:pt x="937" y="21"/>
                    </a:lnTo>
                    <a:lnTo>
                      <a:pt x="939" y="27"/>
                    </a:lnTo>
                    <a:lnTo>
                      <a:pt x="945" y="33"/>
                    </a:lnTo>
                    <a:lnTo>
                      <a:pt x="948" y="39"/>
                    </a:lnTo>
                    <a:lnTo>
                      <a:pt x="948" y="44"/>
                    </a:lnTo>
                    <a:lnTo>
                      <a:pt x="950" y="49"/>
                    </a:lnTo>
                    <a:lnTo>
                      <a:pt x="954" y="55"/>
                    </a:lnTo>
                    <a:lnTo>
                      <a:pt x="956" y="56"/>
                    </a:lnTo>
                    <a:lnTo>
                      <a:pt x="958" y="60"/>
                    </a:lnTo>
                    <a:lnTo>
                      <a:pt x="960" y="63"/>
                    </a:lnTo>
                    <a:lnTo>
                      <a:pt x="962" y="66"/>
                    </a:lnTo>
                    <a:lnTo>
                      <a:pt x="963" y="68"/>
                    </a:lnTo>
                    <a:lnTo>
                      <a:pt x="963" y="71"/>
                    </a:lnTo>
                    <a:lnTo>
                      <a:pt x="962" y="72"/>
                    </a:lnTo>
                    <a:lnTo>
                      <a:pt x="961" y="73"/>
                    </a:lnTo>
                    <a:lnTo>
                      <a:pt x="960" y="73"/>
                    </a:lnTo>
                    <a:lnTo>
                      <a:pt x="958" y="73"/>
                    </a:lnTo>
                    <a:lnTo>
                      <a:pt x="956" y="73"/>
                    </a:lnTo>
                    <a:lnTo>
                      <a:pt x="954" y="73"/>
                    </a:lnTo>
                    <a:lnTo>
                      <a:pt x="952" y="73"/>
                    </a:lnTo>
                    <a:lnTo>
                      <a:pt x="950" y="73"/>
                    </a:lnTo>
                    <a:lnTo>
                      <a:pt x="948" y="74"/>
                    </a:lnTo>
                    <a:lnTo>
                      <a:pt x="947" y="76"/>
                    </a:lnTo>
                    <a:lnTo>
                      <a:pt x="948" y="78"/>
                    </a:lnTo>
                    <a:lnTo>
                      <a:pt x="949" y="80"/>
                    </a:lnTo>
                    <a:lnTo>
                      <a:pt x="950" y="81"/>
                    </a:lnTo>
                    <a:lnTo>
                      <a:pt x="950" y="84"/>
                    </a:lnTo>
                    <a:lnTo>
                      <a:pt x="949" y="85"/>
                    </a:lnTo>
                    <a:lnTo>
                      <a:pt x="948" y="87"/>
                    </a:lnTo>
                    <a:lnTo>
                      <a:pt x="947" y="88"/>
                    </a:lnTo>
                    <a:lnTo>
                      <a:pt x="946" y="90"/>
                    </a:lnTo>
                    <a:lnTo>
                      <a:pt x="946" y="92"/>
                    </a:lnTo>
                    <a:lnTo>
                      <a:pt x="948" y="95"/>
                    </a:lnTo>
                    <a:lnTo>
                      <a:pt x="949" y="97"/>
                    </a:lnTo>
                    <a:lnTo>
                      <a:pt x="952" y="98"/>
                    </a:lnTo>
                    <a:lnTo>
                      <a:pt x="954" y="98"/>
                    </a:lnTo>
                    <a:lnTo>
                      <a:pt x="957" y="97"/>
                    </a:lnTo>
                    <a:lnTo>
                      <a:pt x="959" y="97"/>
                    </a:lnTo>
                    <a:lnTo>
                      <a:pt x="961" y="96"/>
                    </a:lnTo>
                    <a:lnTo>
                      <a:pt x="963" y="96"/>
                    </a:lnTo>
                    <a:lnTo>
                      <a:pt x="965" y="96"/>
                    </a:lnTo>
                    <a:lnTo>
                      <a:pt x="968" y="98"/>
                    </a:lnTo>
                    <a:lnTo>
                      <a:pt x="969" y="99"/>
                    </a:lnTo>
                    <a:lnTo>
                      <a:pt x="971" y="100"/>
                    </a:lnTo>
                    <a:lnTo>
                      <a:pt x="973" y="101"/>
                    </a:lnTo>
                    <a:lnTo>
                      <a:pt x="975" y="101"/>
                    </a:lnTo>
                    <a:lnTo>
                      <a:pt x="977" y="102"/>
                    </a:lnTo>
                    <a:lnTo>
                      <a:pt x="978" y="104"/>
                    </a:lnTo>
                    <a:lnTo>
                      <a:pt x="978" y="110"/>
                    </a:lnTo>
                    <a:lnTo>
                      <a:pt x="975" y="117"/>
                    </a:lnTo>
                    <a:lnTo>
                      <a:pt x="974" y="123"/>
                    </a:lnTo>
                    <a:lnTo>
                      <a:pt x="974" y="124"/>
                    </a:lnTo>
                    <a:lnTo>
                      <a:pt x="975" y="127"/>
                    </a:lnTo>
                    <a:lnTo>
                      <a:pt x="976" y="129"/>
                    </a:lnTo>
                    <a:lnTo>
                      <a:pt x="976" y="131"/>
                    </a:lnTo>
                    <a:lnTo>
                      <a:pt x="976" y="134"/>
                    </a:lnTo>
                    <a:lnTo>
                      <a:pt x="978" y="140"/>
                    </a:lnTo>
                    <a:lnTo>
                      <a:pt x="980" y="146"/>
                    </a:lnTo>
                    <a:lnTo>
                      <a:pt x="984" y="149"/>
                    </a:lnTo>
                    <a:lnTo>
                      <a:pt x="986" y="141"/>
                    </a:lnTo>
                    <a:lnTo>
                      <a:pt x="986" y="134"/>
                    </a:lnTo>
                    <a:lnTo>
                      <a:pt x="988" y="126"/>
                    </a:lnTo>
                    <a:lnTo>
                      <a:pt x="991" y="119"/>
                    </a:lnTo>
                    <a:lnTo>
                      <a:pt x="999" y="112"/>
                    </a:lnTo>
                    <a:lnTo>
                      <a:pt x="1001" y="111"/>
                    </a:lnTo>
                    <a:lnTo>
                      <a:pt x="1003" y="110"/>
                    </a:lnTo>
                    <a:lnTo>
                      <a:pt x="1006" y="109"/>
                    </a:lnTo>
                    <a:lnTo>
                      <a:pt x="1008" y="108"/>
                    </a:lnTo>
                    <a:lnTo>
                      <a:pt x="1011" y="108"/>
                    </a:lnTo>
                    <a:lnTo>
                      <a:pt x="1013" y="108"/>
                    </a:lnTo>
                    <a:lnTo>
                      <a:pt x="1015" y="110"/>
                    </a:lnTo>
                    <a:lnTo>
                      <a:pt x="1017" y="117"/>
                    </a:lnTo>
                    <a:lnTo>
                      <a:pt x="1020" y="122"/>
                    </a:lnTo>
                    <a:lnTo>
                      <a:pt x="1025" y="127"/>
                    </a:lnTo>
                    <a:lnTo>
                      <a:pt x="1029" y="130"/>
                    </a:lnTo>
                    <a:lnTo>
                      <a:pt x="1031" y="133"/>
                    </a:lnTo>
                    <a:lnTo>
                      <a:pt x="1032" y="137"/>
                    </a:lnTo>
                    <a:lnTo>
                      <a:pt x="1033" y="141"/>
                    </a:lnTo>
                    <a:lnTo>
                      <a:pt x="1031" y="144"/>
                    </a:lnTo>
                    <a:lnTo>
                      <a:pt x="1030" y="146"/>
                    </a:lnTo>
                    <a:lnTo>
                      <a:pt x="1027" y="147"/>
                    </a:lnTo>
                    <a:lnTo>
                      <a:pt x="1025" y="149"/>
                    </a:lnTo>
                    <a:lnTo>
                      <a:pt x="1023" y="151"/>
                    </a:lnTo>
                    <a:lnTo>
                      <a:pt x="1019" y="158"/>
                    </a:lnTo>
                    <a:lnTo>
                      <a:pt x="1018" y="166"/>
                    </a:lnTo>
                    <a:lnTo>
                      <a:pt x="1020" y="176"/>
                    </a:lnTo>
                    <a:lnTo>
                      <a:pt x="1025" y="182"/>
                    </a:lnTo>
                    <a:lnTo>
                      <a:pt x="1026" y="183"/>
                    </a:lnTo>
                    <a:lnTo>
                      <a:pt x="1028" y="184"/>
                    </a:lnTo>
                    <a:lnTo>
                      <a:pt x="1029" y="184"/>
                    </a:lnTo>
                    <a:lnTo>
                      <a:pt x="1030" y="186"/>
                    </a:lnTo>
                    <a:lnTo>
                      <a:pt x="1031" y="188"/>
                    </a:lnTo>
                    <a:lnTo>
                      <a:pt x="1033" y="190"/>
                    </a:lnTo>
                    <a:lnTo>
                      <a:pt x="1035" y="191"/>
                    </a:lnTo>
                    <a:lnTo>
                      <a:pt x="1037" y="192"/>
                    </a:lnTo>
                    <a:lnTo>
                      <a:pt x="1039" y="191"/>
                    </a:lnTo>
                    <a:lnTo>
                      <a:pt x="1041" y="190"/>
                    </a:lnTo>
                    <a:lnTo>
                      <a:pt x="1042" y="189"/>
                    </a:lnTo>
                    <a:lnTo>
                      <a:pt x="1042" y="187"/>
                    </a:lnTo>
                    <a:lnTo>
                      <a:pt x="1043" y="186"/>
                    </a:lnTo>
                    <a:lnTo>
                      <a:pt x="1043" y="180"/>
                    </a:lnTo>
                    <a:lnTo>
                      <a:pt x="1041" y="176"/>
                    </a:lnTo>
                    <a:lnTo>
                      <a:pt x="1039" y="171"/>
                    </a:lnTo>
                    <a:lnTo>
                      <a:pt x="1039" y="165"/>
                    </a:lnTo>
                    <a:lnTo>
                      <a:pt x="1041" y="159"/>
                    </a:lnTo>
                    <a:lnTo>
                      <a:pt x="1044" y="156"/>
                    </a:lnTo>
                    <a:lnTo>
                      <a:pt x="1050" y="155"/>
                    </a:lnTo>
                    <a:lnTo>
                      <a:pt x="1055" y="155"/>
                    </a:lnTo>
                    <a:lnTo>
                      <a:pt x="1060" y="155"/>
                    </a:lnTo>
                    <a:lnTo>
                      <a:pt x="1065" y="153"/>
                    </a:lnTo>
                    <a:lnTo>
                      <a:pt x="1067" y="150"/>
                    </a:lnTo>
                    <a:lnTo>
                      <a:pt x="1067" y="146"/>
                    </a:lnTo>
                    <a:lnTo>
                      <a:pt x="1066" y="141"/>
                    </a:lnTo>
                    <a:lnTo>
                      <a:pt x="1064" y="136"/>
                    </a:lnTo>
                    <a:lnTo>
                      <a:pt x="1064" y="133"/>
                    </a:lnTo>
                    <a:lnTo>
                      <a:pt x="1064" y="130"/>
                    </a:lnTo>
                    <a:lnTo>
                      <a:pt x="1064" y="127"/>
                    </a:lnTo>
                    <a:lnTo>
                      <a:pt x="1066" y="124"/>
                    </a:lnTo>
                    <a:lnTo>
                      <a:pt x="1068" y="122"/>
                    </a:lnTo>
                    <a:lnTo>
                      <a:pt x="1070" y="121"/>
                    </a:lnTo>
                    <a:lnTo>
                      <a:pt x="1074" y="121"/>
                    </a:lnTo>
                    <a:lnTo>
                      <a:pt x="1077" y="120"/>
                    </a:lnTo>
                    <a:lnTo>
                      <a:pt x="1080" y="119"/>
                    </a:lnTo>
                    <a:lnTo>
                      <a:pt x="1081" y="117"/>
                    </a:lnTo>
                    <a:lnTo>
                      <a:pt x="1082" y="113"/>
                    </a:lnTo>
                    <a:lnTo>
                      <a:pt x="1082" y="110"/>
                    </a:lnTo>
                    <a:lnTo>
                      <a:pt x="1079" y="107"/>
                    </a:lnTo>
                    <a:lnTo>
                      <a:pt x="1077" y="104"/>
                    </a:lnTo>
                    <a:lnTo>
                      <a:pt x="1074" y="101"/>
                    </a:lnTo>
                    <a:lnTo>
                      <a:pt x="1072" y="98"/>
                    </a:lnTo>
                    <a:lnTo>
                      <a:pt x="1071" y="95"/>
                    </a:lnTo>
                    <a:lnTo>
                      <a:pt x="1070" y="93"/>
                    </a:lnTo>
                    <a:lnTo>
                      <a:pt x="1070" y="90"/>
                    </a:lnTo>
                    <a:lnTo>
                      <a:pt x="1071" y="87"/>
                    </a:lnTo>
                    <a:lnTo>
                      <a:pt x="1072" y="85"/>
                    </a:lnTo>
                    <a:lnTo>
                      <a:pt x="1074" y="84"/>
                    </a:lnTo>
                    <a:lnTo>
                      <a:pt x="1080" y="82"/>
                    </a:lnTo>
                    <a:lnTo>
                      <a:pt x="1089" y="82"/>
                    </a:lnTo>
                    <a:lnTo>
                      <a:pt x="1099" y="84"/>
                    </a:lnTo>
                    <a:lnTo>
                      <a:pt x="1107" y="86"/>
                    </a:lnTo>
                    <a:lnTo>
                      <a:pt x="1111" y="86"/>
                    </a:lnTo>
                    <a:lnTo>
                      <a:pt x="1115" y="86"/>
                    </a:lnTo>
                    <a:lnTo>
                      <a:pt x="1119" y="86"/>
                    </a:lnTo>
                    <a:lnTo>
                      <a:pt x="1122" y="88"/>
                    </a:lnTo>
                    <a:lnTo>
                      <a:pt x="1124" y="90"/>
                    </a:lnTo>
                    <a:lnTo>
                      <a:pt x="1125" y="92"/>
                    </a:lnTo>
                    <a:lnTo>
                      <a:pt x="1126" y="94"/>
                    </a:lnTo>
                    <a:lnTo>
                      <a:pt x="1128" y="96"/>
                    </a:lnTo>
                    <a:lnTo>
                      <a:pt x="1130" y="97"/>
                    </a:lnTo>
                    <a:lnTo>
                      <a:pt x="1132" y="98"/>
                    </a:lnTo>
                    <a:lnTo>
                      <a:pt x="1135" y="99"/>
                    </a:lnTo>
                    <a:lnTo>
                      <a:pt x="1136" y="101"/>
                    </a:lnTo>
                    <a:lnTo>
                      <a:pt x="1137" y="102"/>
                    </a:lnTo>
                    <a:lnTo>
                      <a:pt x="1138" y="104"/>
                    </a:lnTo>
                    <a:lnTo>
                      <a:pt x="1140" y="105"/>
                    </a:lnTo>
                    <a:lnTo>
                      <a:pt x="1141" y="105"/>
                    </a:lnTo>
                    <a:lnTo>
                      <a:pt x="1143" y="106"/>
                    </a:lnTo>
                    <a:lnTo>
                      <a:pt x="1144" y="107"/>
                    </a:lnTo>
                    <a:lnTo>
                      <a:pt x="1144" y="108"/>
                    </a:lnTo>
                    <a:lnTo>
                      <a:pt x="1146" y="109"/>
                    </a:lnTo>
                    <a:lnTo>
                      <a:pt x="1147" y="111"/>
                    </a:lnTo>
                    <a:lnTo>
                      <a:pt x="1149" y="113"/>
                    </a:lnTo>
                    <a:lnTo>
                      <a:pt x="1150" y="115"/>
                    </a:lnTo>
                    <a:lnTo>
                      <a:pt x="1149" y="117"/>
                    </a:lnTo>
                    <a:lnTo>
                      <a:pt x="1147" y="117"/>
                    </a:lnTo>
                    <a:lnTo>
                      <a:pt x="1145" y="118"/>
                    </a:lnTo>
                    <a:lnTo>
                      <a:pt x="1143" y="118"/>
                    </a:lnTo>
                    <a:lnTo>
                      <a:pt x="1141" y="118"/>
                    </a:lnTo>
                    <a:lnTo>
                      <a:pt x="1140" y="118"/>
                    </a:lnTo>
                    <a:lnTo>
                      <a:pt x="1138" y="119"/>
                    </a:lnTo>
                    <a:lnTo>
                      <a:pt x="1138" y="120"/>
                    </a:lnTo>
                    <a:lnTo>
                      <a:pt x="1138" y="121"/>
                    </a:lnTo>
                    <a:lnTo>
                      <a:pt x="1138" y="123"/>
                    </a:lnTo>
                    <a:lnTo>
                      <a:pt x="1141" y="123"/>
                    </a:lnTo>
                    <a:lnTo>
                      <a:pt x="1143" y="124"/>
                    </a:lnTo>
                    <a:lnTo>
                      <a:pt x="1145" y="126"/>
                    </a:lnTo>
                    <a:lnTo>
                      <a:pt x="1146" y="128"/>
                    </a:lnTo>
                    <a:lnTo>
                      <a:pt x="1147" y="131"/>
                    </a:lnTo>
                    <a:lnTo>
                      <a:pt x="1146" y="133"/>
                    </a:lnTo>
                    <a:lnTo>
                      <a:pt x="1145" y="135"/>
                    </a:lnTo>
                    <a:lnTo>
                      <a:pt x="1142" y="137"/>
                    </a:lnTo>
                    <a:lnTo>
                      <a:pt x="1140" y="139"/>
                    </a:lnTo>
                    <a:lnTo>
                      <a:pt x="1137" y="140"/>
                    </a:lnTo>
                    <a:lnTo>
                      <a:pt x="1134" y="141"/>
                    </a:lnTo>
                    <a:lnTo>
                      <a:pt x="1131" y="142"/>
                    </a:lnTo>
                    <a:lnTo>
                      <a:pt x="1128" y="143"/>
                    </a:lnTo>
                    <a:lnTo>
                      <a:pt x="1126" y="144"/>
                    </a:lnTo>
                    <a:lnTo>
                      <a:pt x="1126" y="145"/>
                    </a:lnTo>
                    <a:lnTo>
                      <a:pt x="1127" y="147"/>
                    </a:lnTo>
                    <a:lnTo>
                      <a:pt x="1128" y="148"/>
                    </a:lnTo>
                    <a:lnTo>
                      <a:pt x="1130" y="149"/>
                    </a:lnTo>
                    <a:lnTo>
                      <a:pt x="1132" y="151"/>
                    </a:lnTo>
                    <a:lnTo>
                      <a:pt x="1134" y="153"/>
                    </a:lnTo>
                    <a:lnTo>
                      <a:pt x="1136" y="154"/>
                    </a:lnTo>
                    <a:lnTo>
                      <a:pt x="1137" y="156"/>
                    </a:lnTo>
                    <a:lnTo>
                      <a:pt x="1137" y="158"/>
                    </a:lnTo>
                    <a:lnTo>
                      <a:pt x="1136" y="160"/>
                    </a:lnTo>
                    <a:lnTo>
                      <a:pt x="1136" y="161"/>
                    </a:lnTo>
                    <a:lnTo>
                      <a:pt x="1135" y="163"/>
                    </a:lnTo>
                    <a:lnTo>
                      <a:pt x="1134" y="165"/>
                    </a:lnTo>
                    <a:lnTo>
                      <a:pt x="1134" y="167"/>
                    </a:lnTo>
                    <a:lnTo>
                      <a:pt x="1135" y="169"/>
                    </a:lnTo>
                    <a:lnTo>
                      <a:pt x="1137" y="172"/>
                    </a:lnTo>
                    <a:lnTo>
                      <a:pt x="1139" y="174"/>
                    </a:lnTo>
                    <a:lnTo>
                      <a:pt x="1141" y="176"/>
                    </a:lnTo>
                    <a:lnTo>
                      <a:pt x="1142" y="178"/>
                    </a:lnTo>
                    <a:lnTo>
                      <a:pt x="1142" y="188"/>
                    </a:lnTo>
                    <a:lnTo>
                      <a:pt x="1138" y="196"/>
                    </a:lnTo>
                    <a:lnTo>
                      <a:pt x="1133" y="204"/>
                    </a:lnTo>
                    <a:lnTo>
                      <a:pt x="1126" y="212"/>
                    </a:lnTo>
                    <a:lnTo>
                      <a:pt x="1124" y="215"/>
                    </a:lnTo>
                    <a:lnTo>
                      <a:pt x="1120" y="219"/>
                    </a:lnTo>
                    <a:lnTo>
                      <a:pt x="1115" y="224"/>
                    </a:lnTo>
                    <a:lnTo>
                      <a:pt x="1110" y="229"/>
                    </a:lnTo>
                    <a:lnTo>
                      <a:pt x="1105" y="231"/>
                    </a:lnTo>
                    <a:lnTo>
                      <a:pt x="1101" y="229"/>
                    </a:lnTo>
                    <a:lnTo>
                      <a:pt x="1094" y="221"/>
                    </a:lnTo>
                    <a:lnTo>
                      <a:pt x="1090" y="214"/>
                    </a:lnTo>
                    <a:lnTo>
                      <a:pt x="1084" y="208"/>
                    </a:lnTo>
                    <a:lnTo>
                      <a:pt x="1081" y="206"/>
                    </a:lnTo>
                    <a:lnTo>
                      <a:pt x="1078" y="206"/>
                    </a:lnTo>
                    <a:lnTo>
                      <a:pt x="1077" y="207"/>
                    </a:lnTo>
                    <a:lnTo>
                      <a:pt x="1075" y="209"/>
                    </a:lnTo>
                    <a:lnTo>
                      <a:pt x="1075" y="211"/>
                    </a:lnTo>
                    <a:lnTo>
                      <a:pt x="1076" y="214"/>
                    </a:lnTo>
                    <a:lnTo>
                      <a:pt x="1076" y="216"/>
                    </a:lnTo>
                    <a:lnTo>
                      <a:pt x="1077" y="218"/>
                    </a:lnTo>
                    <a:lnTo>
                      <a:pt x="1078" y="220"/>
                    </a:lnTo>
                    <a:lnTo>
                      <a:pt x="1079" y="222"/>
                    </a:lnTo>
                    <a:lnTo>
                      <a:pt x="1080" y="224"/>
                    </a:lnTo>
                    <a:lnTo>
                      <a:pt x="1080" y="225"/>
                    </a:lnTo>
                    <a:lnTo>
                      <a:pt x="1081" y="228"/>
                    </a:lnTo>
                    <a:lnTo>
                      <a:pt x="1082" y="230"/>
                    </a:lnTo>
                    <a:lnTo>
                      <a:pt x="1082" y="232"/>
                    </a:lnTo>
                    <a:lnTo>
                      <a:pt x="1083" y="234"/>
                    </a:lnTo>
                    <a:lnTo>
                      <a:pt x="1083" y="236"/>
                    </a:lnTo>
                    <a:lnTo>
                      <a:pt x="1083" y="237"/>
                    </a:lnTo>
                    <a:lnTo>
                      <a:pt x="1083" y="239"/>
                    </a:lnTo>
                    <a:lnTo>
                      <a:pt x="1082" y="239"/>
                    </a:lnTo>
                    <a:lnTo>
                      <a:pt x="1080" y="239"/>
                    </a:lnTo>
                    <a:lnTo>
                      <a:pt x="1078" y="239"/>
                    </a:lnTo>
                    <a:lnTo>
                      <a:pt x="1072" y="236"/>
                    </a:lnTo>
                    <a:lnTo>
                      <a:pt x="1068" y="232"/>
                    </a:lnTo>
                    <a:lnTo>
                      <a:pt x="1064" y="229"/>
                    </a:lnTo>
                    <a:lnTo>
                      <a:pt x="1059" y="225"/>
                    </a:lnTo>
                    <a:lnTo>
                      <a:pt x="1052" y="227"/>
                    </a:lnTo>
                    <a:lnTo>
                      <a:pt x="1049" y="229"/>
                    </a:lnTo>
                    <a:lnTo>
                      <a:pt x="1050" y="231"/>
                    </a:lnTo>
                    <a:lnTo>
                      <a:pt x="1052" y="235"/>
                    </a:lnTo>
                    <a:lnTo>
                      <a:pt x="1055" y="239"/>
                    </a:lnTo>
                    <a:lnTo>
                      <a:pt x="1056" y="243"/>
                    </a:lnTo>
                    <a:lnTo>
                      <a:pt x="1056" y="247"/>
                    </a:lnTo>
                    <a:lnTo>
                      <a:pt x="1050" y="256"/>
                    </a:lnTo>
                    <a:lnTo>
                      <a:pt x="1041" y="263"/>
                    </a:lnTo>
                    <a:lnTo>
                      <a:pt x="1037" y="265"/>
                    </a:lnTo>
                    <a:lnTo>
                      <a:pt x="1033" y="267"/>
                    </a:lnTo>
                    <a:lnTo>
                      <a:pt x="1029" y="268"/>
                    </a:lnTo>
                    <a:lnTo>
                      <a:pt x="1025" y="267"/>
                    </a:lnTo>
                    <a:lnTo>
                      <a:pt x="1017" y="263"/>
                    </a:lnTo>
                    <a:lnTo>
                      <a:pt x="1011" y="257"/>
                    </a:lnTo>
                    <a:lnTo>
                      <a:pt x="1005" y="251"/>
                    </a:lnTo>
                    <a:lnTo>
                      <a:pt x="999" y="247"/>
                    </a:lnTo>
                    <a:lnTo>
                      <a:pt x="992" y="246"/>
                    </a:lnTo>
                    <a:lnTo>
                      <a:pt x="986" y="248"/>
                    </a:lnTo>
                    <a:lnTo>
                      <a:pt x="982" y="252"/>
                    </a:lnTo>
                    <a:lnTo>
                      <a:pt x="981" y="256"/>
                    </a:lnTo>
                    <a:lnTo>
                      <a:pt x="982" y="260"/>
                    </a:lnTo>
                    <a:lnTo>
                      <a:pt x="988" y="263"/>
                    </a:lnTo>
                    <a:lnTo>
                      <a:pt x="991" y="263"/>
                    </a:lnTo>
                    <a:lnTo>
                      <a:pt x="995" y="264"/>
                    </a:lnTo>
                    <a:lnTo>
                      <a:pt x="996" y="265"/>
                    </a:lnTo>
                    <a:lnTo>
                      <a:pt x="997" y="267"/>
                    </a:lnTo>
                    <a:lnTo>
                      <a:pt x="998" y="269"/>
                    </a:lnTo>
                    <a:lnTo>
                      <a:pt x="999" y="271"/>
                    </a:lnTo>
                    <a:lnTo>
                      <a:pt x="1004" y="274"/>
                    </a:lnTo>
                    <a:lnTo>
                      <a:pt x="1009" y="275"/>
                    </a:lnTo>
                    <a:lnTo>
                      <a:pt x="1017" y="275"/>
                    </a:lnTo>
                    <a:lnTo>
                      <a:pt x="1021" y="275"/>
                    </a:lnTo>
                    <a:lnTo>
                      <a:pt x="1025" y="275"/>
                    </a:lnTo>
                    <a:lnTo>
                      <a:pt x="1029" y="275"/>
                    </a:lnTo>
                    <a:lnTo>
                      <a:pt x="1033" y="277"/>
                    </a:lnTo>
                    <a:lnTo>
                      <a:pt x="1035" y="281"/>
                    </a:lnTo>
                    <a:lnTo>
                      <a:pt x="1036" y="285"/>
                    </a:lnTo>
                    <a:lnTo>
                      <a:pt x="1035" y="288"/>
                    </a:lnTo>
                    <a:lnTo>
                      <a:pt x="1033" y="290"/>
                    </a:lnTo>
                    <a:lnTo>
                      <a:pt x="1031" y="292"/>
                    </a:lnTo>
                    <a:lnTo>
                      <a:pt x="1024" y="300"/>
                    </a:lnTo>
                    <a:lnTo>
                      <a:pt x="1019" y="310"/>
                    </a:lnTo>
                    <a:lnTo>
                      <a:pt x="1013" y="319"/>
                    </a:lnTo>
                    <a:lnTo>
                      <a:pt x="1007" y="326"/>
                    </a:lnTo>
                    <a:lnTo>
                      <a:pt x="1002" y="327"/>
                    </a:lnTo>
                    <a:lnTo>
                      <a:pt x="997" y="327"/>
                    </a:lnTo>
                    <a:lnTo>
                      <a:pt x="990" y="326"/>
                    </a:lnTo>
                    <a:lnTo>
                      <a:pt x="985" y="326"/>
                    </a:lnTo>
                    <a:lnTo>
                      <a:pt x="981" y="326"/>
                    </a:lnTo>
                    <a:lnTo>
                      <a:pt x="978" y="330"/>
                    </a:lnTo>
                    <a:lnTo>
                      <a:pt x="977" y="334"/>
                    </a:lnTo>
                    <a:lnTo>
                      <a:pt x="977" y="339"/>
                    </a:lnTo>
                    <a:lnTo>
                      <a:pt x="978" y="343"/>
                    </a:lnTo>
                    <a:lnTo>
                      <a:pt x="977" y="346"/>
                    </a:lnTo>
                    <a:lnTo>
                      <a:pt x="975" y="348"/>
                    </a:lnTo>
                    <a:lnTo>
                      <a:pt x="970" y="349"/>
                    </a:lnTo>
                    <a:lnTo>
                      <a:pt x="964" y="348"/>
                    </a:lnTo>
                    <a:lnTo>
                      <a:pt x="957" y="346"/>
                    </a:lnTo>
                    <a:lnTo>
                      <a:pt x="950" y="345"/>
                    </a:lnTo>
                    <a:lnTo>
                      <a:pt x="944" y="345"/>
                    </a:lnTo>
                    <a:lnTo>
                      <a:pt x="939" y="347"/>
                    </a:lnTo>
                    <a:lnTo>
                      <a:pt x="937" y="349"/>
                    </a:lnTo>
                    <a:lnTo>
                      <a:pt x="940" y="351"/>
                    </a:lnTo>
                    <a:lnTo>
                      <a:pt x="945" y="353"/>
                    </a:lnTo>
                    <a:lnTo>
                      <a:pt x="951" y="355"/>
                    </a:lnTo>
                    <a:lnTo>
                      <a:pt x="955" y="356"/>
                    </a:lnTo>
                    <a:lnTo>
                      <a:pt x="958" y="357"/>
                    </a:lnTo>
                    <a:lnTo>
                      <a:pt x="962" y="359"/>
                    </a:lnTo>
                    <a:lnTo>
                      <a:pt x="966" y="362"/>
                    </a:lnTo>
                    <a:lnTo>
                      <a:pt x="969" y="365"/>
                    </a:lnTo>
                    <a:lnTo>
                      <a:pt x="968" y="369"/>
                    </a:lnTo>
                    <a:lnTo>
                      <a:pt x="964" y="373"/>
                    </a:lnTo>
                    <a:lnTo>
                      <a:pt x="957" y="376"/>
                    </a:lnTo>
                    <a:lnTo>
                      <a:pt x="949" y="379"/>
                    </a:lnTo>
                    <a:lnTo>
                      <a:pt x="941" y="383"/>
                    </a:lnTo>
                    <a:lnTo>
                      <a:pt x="939" y="384"/>
                    </a:lnTo>
                    <a:lnTo>
                      <a:pt x="939" y="386"/>
                    </a:lnTo>
                    <a:lnTo>
                      <a:pt x="938" y="388"/>
                    </a:lnTo>
                    <a:lnTo>
                      <a:pt x="938" y="390"/>
                    </a:lnTo>
                    <a:lnTo>
                      <a:pt x="938" y="392"/>
                    </a:lnTo>
                    <a:lnTo>
                      <a:pt x="937" y="393"/>
                    </a:lnTo>
                    <a:lnTo>
                      <a:pt x="935" y="398"/>
                    </a:lnTo>
                    <a:lnTo>
                      <a:pt x="933" y="402"/>
                    </a:lnTo>
                    <a:lnTo>
                      <a:pt x="930" y="405"/>
                    </a:lnTo>
                    <a:lnTo>
                      <a:pt x="927" y="408"/>
                    </a:lnTo>
                    <a:lnTo>
                      <a:pt x="919" y="418"/>
                    </a:lnTo>
                    <a:lnTo>
                      <a:pt x="913" y="429"/>
                    </a:lnTo>
                    <a:lnTo>
                      <a:pt x="907" y="442"/>
                    </a:lnTo>
                    <a:lnTo>
                      <a:pt x="902" y="453"/>
                    </a:lnTo>
                    <a:lnTo>
                      <a:pt x="897" y="462"/>
                    </a:lnTo>
                    <a:lnTo>
                      <a:pt x="893" y="472"/>
                    </a:lnTo>
                    <a:lnTo>
                      <a:pt x="890" y="483"/>
                    </a:lnTo>
                    <a:lnTo>
                      <a:pt x="890" y="491"/>
                    </a:lnTo>
                    <a:lnTo>
                      <a:pt x="889" y="501"/>
                    </a:lnTo>
                    <a:lnTo>
                      <a:pt x="889" y="512"/>
                    </a:lnTo>
                    <a:lnTo>
                      <a:pt x="892" y="521"/>
                    </a:lnTo>
                    <a:lnTo>
                      <a:pt x="895" y="528"/>
                    </a:lnTo>
                    <a:lnTo>
                      <a:pt x="900" y="532"/>
                    </a:lnTo>
                    <a:lnTo>
                      <a:pt x="905" y="534"/>
                    </a:lnTo>
                    <a:lnTo>
                      <a:pt x="911" y="534"/>
                    </a:lnTo>
                    <a:lnTo>
                      <a:pt x="917" y="535"/>
                    </a:lnTo>
                    <a:lnTo>
                      <a:pt x="921" y="538"/>
                    </a:lnTo>
                    <a:lnTo>
                      <a:pt x="924" y="546"/>
                    </a:lnTo>
                    <a:lnTo>
                      <a:pt x="924" y="554"/>
                    </a:lnTo>
                    <a:lnTo>
                      <a:pt x="924" y="561"/>
                    </a:lnTo>
                    <a:lnTo>
                      <a:pt x="925" y="569"/>
                    </a:lnTo>
                    <a:lnTo>
                      <a:pt x="928" y="576"/>
                    </a:lnTo>
                    <a:lnTo>
                      <a:pt x="930" y="582"/>
                    </a:lnTo>
                    <a:lnTo>
                      <a:pt x="931" y="589"/>
                    </a:lnTo>
                    <a:lnTo>
                      <a:pt x="931" y="591"/>
                    </a:lnTo>
                    <a:lnTo>
                      <a:pt x="931" y="593"/>
                    </a:lnTo>
                    <a:lnTo>
                      <a:pt x="932" y="594"/>
                    </a:lnTo>
                    <a:lnTo>
                      <a:pt x="932" y="596"/>
                    </a:lnTo>
                    <a:lnTo>
                      <a:pt x="933" y="597"/>
                    </a:lnTo>
                    <a:lnTo>
                      <a:pt x="935" y="597"/>
                    </a:lnTo>
                    <a:lnTo>
                      <a:pt x="937" y="597"/>
                    </a:lnTo>
                    <a:lnTo>
                      <a:pt x="943" y="595"/>
                    </a:lnTo>
                    <a:lnTo>
                      <a:pt x="947" y="592"/>
                    </a:lnTo>
                    <a:lnTo>
                      <a:pt x="951" y="590"/>
                    </a:lnTo>
                    <a:lnTo>
                      <a:pt x="956" y="589"/>
                    </a:lnTo>
                    <a:lnTo>
                      <a:pt x="962" y="591"/>
                    </a:lnTo>
                    <a:lnTo>
                      <a:pt x="965" y="593"/>
                    </a:lnTo>
                    <a:lnTo>
                      <a:pt x="968" y="595"/>
                    </a:lnTo>
                    <a:lnTo>
                      <a:pt x="971" y="597"/>
                    </a:lnTo>
                    <a:lnTo>
                      <a:pt x="974" y="598"/>
                    </a:lnTo>
                    <a:lnTo>
                      <a:pt x="978" y="599"/>
                    </a:lnTo>
                    <a:lnTo>
                      <a:pt x="987" y="599"/>
                    </a:lnTo>
                    <a:lnTo>
                      <a:pt x="999" y="597"/>
                    </a:lnTo>
                    <a:lnTo>
                      <a:pt x="1006" y="598"/>
                    </a:lnTo>
                    <a:lnTo>
                      <a:pt x="1011" y="601"/>
                    </a:lnTo>
                    <a:lnTo>
                      <a:pt x="1014" y="606"/>
                    </a:lnTo>
                    <a:lnTo>
                      <a:pt x="1017" y="611"/>
                    </a:lnTo>
                    <a:lnTo>
                      <a:pt x="1021" y="617"/>
                    </a:lnTo>
                    <a:lnTo>
                      <a:pt x="1026" y="624"/>
                    </a:lnTo>
                    <a:lnTo>
                      <a:pt x="1033" y="628"/>
                    </a:lnTo>
                    <a:lnTo>
                      <a:pt x="1041" y="632"/>
                    </a:lnTo>
                    <a:lnTo>
                      <a:pt x="1052" y="638"/>
                    </a:lnTo>
                    <a:lnTo>
                      <a:pt x="1062" y="644"/>
                    </a:lnTo>
                    <a:lnTo>
                      <a:pt x="1073" y="650"/>
                    </a:lnTo>
                    <a:lnTo>
                      <a:pt x="1084" y="654"/>
                    </a:lnTo>
                    <a:lnTo>
                      <a:pt x="1094" y="656"/>
                    </a:lnTo>
                    <a:lnTo>
                      <a:pt x="1107" y="656"/>
                    </a:lnTo>
                    <a:lnTo>
                      <a:pt x="1113" y="656"/>
                    </a:lnTo>
                    <a:lnTo>
                      <a:pt x="1121" y="656"/>
                    </a:lnTo>
                    <a:lnTo>
                      <a:pt x="1126" y="658"/>
                    </a:lnTo>
                    <a:lnTo>
                      <a:pt x="1129" y="665"/>
                    </a:lnTo>
                    <a:lnTo>
                      <a:pt x="1131" y="672"/>
                    </a:lnTo>
                    <a:lnTo>
                      <a:pt x="1130" y="679"/>
                    </a:lnTo>
                    <a:lnTo>
                      <a:pt x="1126" y="684"/>
                    </a:lnTo>
                    <a:lnTo>
                      <a:pt x="1122" y="689"/>
                    </a:lnTo>
                    <a:lnTo>
                      <a:pt x="1120" y="695"/>
                    </a:lnTo>
                    <a:lnTo>
                      <a:pt x="1120" y="697"/>
                    </a:lnTo>
                    <a:lnTo>
                      <a:pt x="1121" y="700"/>
                    </a:lnTo>
                    <a:lnTo>
                      <a:pt x="1123" y="702"/>
                    </a:lnTo>
                    <a:lnTo>
                      <a:pt x="1124" y="705"/>
                    </a:lnTo>
                    <a:lnTo>
                      <a:pt x="1124" y="707"/>
                    </a:lnTo>
                    <a:lnTo>
                      <a:pt x="1125" y="713"/>
                    </a:lnTo>
                    <a:lnTo>
                      <a:pt x="1126" y="720"/>
                    </a:lnTo>
                    <a:lnTo>
                      <a:pt x="1127" y="726"/>
                    </a:lnTo>
                    <a:lnTo>
                      <a:pt x="1130" y="733"/>
                    </a:lnTo>
                    <a:lnTo>
                      <a:pt x="1136" y="736"/>
                    </a:lnTo>
                    <a:lnTo>
                      <a:pt x="1138" y="736"/>
                    </a:lnTo>
                    <a:lnTo>
                      <a:pt x="1140" y="736"/>
                    </a:lnTo>
                    <a:lnTo>
                      <a:pt x="1142" y="737"/>
                    </a:lnTo>
                    <a:lnTo>
                      <a:pt x="1145" y="737"/>
                    </a:lnTo>
                    <a:lnTo>
                      <a:pt x="1147" y="736"/>
                    </a:lnTo>
                    <a:lnTo>
                      <a:pt x="1150" y="735"/>
                    </a:lnTo>
                    <a:lnTo>
                      <a:pt x="1151" y="734"/>
                    </a:lnTo>
                    <a:lnTo>
                      <a:pt x="1152" y="732"/>
                    </a:lnTo>
                    <a:lnTo>
                      <a:pt x="1152" y="729"/>
                    </a:lnTo>
                    <a:lnTo>
                      <a:pt x="1151" y="727"/>
                    </a:lnTo>
                    <a:lnTo>
                      <a:pt x="1150" y="725"/>
                    </a:lnTo>
                    <a:lnTo>
                      <a:pt x="1149" y="723"/>
                    </a:lnTo>
                    <a:lnTo>
                      <a:pt x="1156" y="723"/>
                    </a:lnTo>
                    <a:lnTo>
                      <a:pt x="1161" y="726"/>
                    </a:lnTo>
                    <a:lnTo>
                      <a:pt x="1164" y="733"/>
                    </a:lnTo>
                    <a:lnTo>
                      <a:pt x="1165" y="740"/>
                    </a:lnTo>
                    <a:lnTo>
                      <a:pt x="1165" y="746"/>
                    </a:lnTo>
                    <a:lnTo>
                      <a:pt x="1165" y="752"/>
                    </a:lnTo>
                    <a:lnTo>
                      <a:pt x="1163" y="759"/>
                    </a:lnTo>
                    <a:lnTo>
                      <a:pt x="1161" y="766"/>
                    </a:lnTo>
                    <a:lnTo>
                      <a:pt x="1161" y="772"/>
                    </a:lnTo>
                    <a:lnTo>
                      <a:pt x="1162" y="778"/>
                    </a:lnTo>
                    <a:lnTo>
                      <a:pt x="1167" y="782"/>
                    </a:lnTo>
                    <a:lnTo>
                      <a:pt x="1175" y="787"/>
                    </a:lnTo>
                    <a:lnTo>
                      <a:pt x="1181" y="785"/>
                    </a:lnTo>
                    <a:lnTo>
                      <a:pt x="1184" y="781"/>
                    </a:lnTo>
                    <a:lnTo>
                      <a:pt x="1185" y="772"/>
                    </a:lnTo>
                    <a:lnTo>
                      <a:pt x="1185" y="769"/>
                    </a:lnTo>
                    <a:lnTo>
                      <a:pt x="1185" y="767"/>
                    </a:lnTo>
                    <a:lnTo>
                      <a:pt x="1186" y="765"/>
                    </a:lnTo>
                    <a:lnTo>
                      <a:pt x="1188" y="764"/>
                    </a:lnTo>
                    <a:lnTo>
                      <a:pt x="1189" y="764"/>
                    </a:lnTo>
                    <a:lnTo>
                      <a:pt x="1191" y="764"/>
                    </a:lnTo>
                    <a:lnTo>
                      <a:pt x="1193" y="764"/>
                    </a:lnTo>
                    <a:lnTo>
                      <a:pt x="1195" y="764"/>
                    </a:lnTo>
                    <a:lnTo>
                      <a:pt x="1196" y="763"/>
                    </a:lnTo>
                    <a:lnTo>
                      <a:pt x="1198" y="762"/>
                    </a:lnTo>
                    <a:lnTo>
                      <a:pt x="1199" y="760"/>
                    </a:lnTo>
                    <a:lnTo>
                      <a:pt x="1204" y="751"/>
                    </a:lnTo>
                    <a:lnTo>
                      <a:pt x="1204" y="743"/>
                    </a:lnTo>
                    <a:lnTo>
                      <a:pt x="1201" y="734"/>
                    </a:lnTo>
                    <a:lnTo>
                      <a:pt x="1197" y="724"/>
                    </a:lnTo>
                    <a:lnTo>
                      <a:pt x="1195" y="715"/>
                    </a:lnTo>
                    <a:lnTo>
                      <a:pt x="1194" y="705"/>
                    </a:lnTo>
                    <a:lnTo>
                      <a:pt x="1192" y="696"/>
                    </a:lnTo>
                    <a:lnTo>
                      <a:pt x="1189" y="687"/>
                    </a:lnTo>
                    <a:lnTo>
                      <a:pt x="1183" y="677"/>
                    </a:lnTo>
                    <a:lnTo>
                      <a:pt x="1182" y="675"/>
                    </a:lnTo>
                    <a:lnTo>
                      <a:pt x="1181" y="672"/>
                    </a:lnTo>
                    <a:lnTo>
                      <a:pt x="1181" y="671"/>
                    </a:lnTo>
                    <a:lnTo>
                      <a:pt x="1182" y="670"/>
                    </a:lnTo>
                    <a:lnTo>
                      <a:pt x="1184" y="669"/>
                    </a:lnTo>
                    <a:lnTo>
                      <a:pt x="1186" y="668"/>
                    </a:lnTo>
                    <a:lnTo>
                      <a:pt x="1189" y="668"/>
                    </a:lnTo>
                    <a:lnTo>
                      <a:pt x="1191" y="667"/>
                    </a:lnTo>
                    <a:lnTo>
                      <a:pt x="1193" y="667"/>
                    </a:lnTo>
                    <a:lnTo>
                      <a:pt x="1195" y="666"/>
                    </a:lnTo>
                    <a:lnTo>
                      <a:pt x="1206" y="662"/>
                    </a:lnTo>
                    <a:lnTo>
                      <a:pt x="1216" y="658"/>
                    </a:lnTo>
                    <a:lnTo>
                      <a:pt x="1222" y="654"/>
                    </a:lnTo>
                    <a:lnTo>
                      <a:pt x="1226" y="649"/>
                    </a:lnTo>
                    <a:lnTo>
                      <a:pt x="1230" y="644"/>
                    </a:lnTo>
                    <a:lnTo>
                      <a:pt x="1232" y="641"/>
                    </a:lnTo>
                    <a:lnTo>
                      <a:pt x="1235" y="638"/>
                    </a:lnTo>
                    <a:lnTo>
                      <a:pt x="1238" y="635"/>
                    </a:lnTo>
                    <a:lnTo>
                      <a:pt x="1240" y="632"/>
                    </a:lnTo>
                    <a:lnTo>
                      <a:pt x="1240" y="621"/>
                    </a:lnTo>
                    <a:lnTo>
                      <a:pt x="1239" y="608"/>
                    </a:lnTo>
                    <a:lnTo>
                      <a:pt x="1236" y="597"/>
                    </a:lnTo>
                    <a:lnTo>
                      <a:pt x="1232" y="576"/>
                    </a:lnTo>
                    <a:lnTo>
                      <a:pt x="1224" y="556"/>
                    </a:lnTo>
                    <a:lnTo>
                      <a:pt x="1219" y="549"/>
                    </a:lnTo>
                    <a:lnTo>
                      <a:pt x="1213" y="543"/>
                    </a:lnTo>
                    <a:lnTo>
                      <a:pt x="1208" y="536"/>
                    </a:lnTo>
                    <a:lnTo>
                      <a:pt x="1204" y="529"/>
                    </a:lnTo>
                    <a:lnTo>
                      <a:pt x="1202" y="520"/>
                    </a:lnTo>
                    <a:lnTo>
                      <a:pt x="1203" y="516"/>
                    </a:lnTo>
                    <a:lnTo>
                      <a:pt x="1203" y="513"/>
                    </a:lnTo>
                    <a:lnTo>
                      <a:pt x="1205" y="510"/>
                    </a:lnTo>
                    <a:lnTo>
                      <a:pt x="1207" y="508"/>
                    </a:lnTo>
                    <a:lnTo>
                      <a:pt x="1210" y="505"/>
                    </a:lnTo>
                    <a:lnTo>
                      <a:pt x="1213" y="503"/>
                    </a:lnTo>
                    <a:lnTo>
                      <a:pt x="1215" y="500"/>
                    </a:lnTo>
                    <a:lnTo>
                      <a:pt x="1217" y="497"/>
                    </a:lnTo>
                    <a:lnTo>
                      <a:pt x="1219" y="494"/>
                    </a:lnTo>
                    <a:lnTo>
                      <a:pt x="1220" y="491"/>
                    </a:lnTo>
                    <a:lnTo>
                      <a:pt x="1222" y="486"/>
                    </a:lnTo>
                    <a:lnTo>
                      <a:pt x="1221" y="482"/>
                    </a:lnTo>
                    <a:lnTo>
                      <a:pt x="1220" y="479"/>
                    </a:lnTo>
                    <a:lnTo>
                      <a:pt x="1218" y="475"/>
                    </a:lnTo>
                    <a:lnTo>
                      <a:pt x="1217" y="471"/>
                    </a:lnTo>
                    <a:lnTo>
                      <a:pt x="1217" y="468"/>
                    </a:lnTo>
                    <a:lnTo>
                      <a:pt x="1217" y="465"/>
                    </a:lnTo>
                    <a:lnTo>
                      <a:pt x="1216" y="462"/>
                    </a:lnTo>
                    <a:lnTo>
                      <a:pt x="1214" y="459"/>
                    </a:lnTo>
                    <a:lnTo>
                      <a:pt x="1213" y="458"/>
                    </a:lnTo>
                    <a:lnTo>
                      <a:pt x="1211" y="457"/>
                    </a:lnTo>
                    <a:lnTo>
                      <a:pt x="1209" y="456"/>
                    </a:lnTo>
                    <a:lnTo>
                      <a:pt x="1207" y="456"/>
                    </a:lnTo>
                    <a:lnTo>
                      <a:pt x="1205" y="455"/>
                    </a:lnTo>
                    <a:lnTo>
                      <a:pt x="1204" y="455"/>
                    </a:lnTo>
                    <a:lnTo>
                      <a:pt x="1202" y="455"/>
                    </a:lnTo>
                    <a:lnTo>
                      <a:pt x="1202" y="454"/>
                    </a:lnTo>
                    <a:lnTo>
                      <a:pt x="1202" y="453"/>
                    </a:lnTo>
                    <a:lnTo>
                      <a:pt x="1202" y="452"/>
                    </a:lnTo>
                    <a:lnTo>
                      <a:pt x="1204" y="449"/>
                    </a:lnTo>
                    <a:lnTo>
                      <a:pt x="1206" y="446"/>
                    </a:lnTo>
                    <a:lnTo>
                      <a:pt x="1212" y="434"/>
                    </a:lnTo>
                    <a:lnTo>
                      <a:pt x="1212" y="423"/>
                    </a:lnTo>
                    <a:lnTo>
                      <a:pt x="1206" y="412"/>
                    </a:lnTo>
                    <a:lnTo>
                      <a:pt x="1205" y="407"/>
                    </a:lnTo>
                    <a:lnTo>
                      <a:pt x="1206" y="402"/>
                    </a:lnTo>
                    <a:lnTo>
                      <a:pt x="1208" y="396"/>
                    </a:lnTo>
                    <a:lnTo>
                      <a:pt x="1209" y="393"/>
                    </a:lnTo>
                    <a:lnTo>
                      <a:pt x="1210" y="390"/>
                    </a:lnTo>
                    <a:lnTo>
                      <a:pt x="1211" y="387"/>
                    </a:lnTo>
                    <a:lnTo>
                      <a:pt x="1212" y="384"/>
                    </a:lnTo>
                    <a:lnTo>
                      <a:pt x="1214" y="381"/>
                    </a:lnTo>
                    <a:lnTo>
                      <a:pt x="1216" y="379"/>
                    </a:lnTo>
                    <a:lnTo>
                      <a:pt x="1217" y="378"/>
                    </a:lnTo>
                    <a:lnTo>
                      <a:pt x="1218" y="378"/>
                    </a:lnTo>
                    <a:lnTo>
                      <a:pt x="1220" y="379"/>
                    </a:lnTo>
                    <a:lnTo>
                      <a:pt x="1221" y="380"/>
                    </a:lnTo>
                    <a:lnTo>
                      <a:pt x="1222" y="382"/>
                    </a:lnTo>
                    <a:lnTo>
                      <a:pt x="1223" y="384"/>
                    </a:lnTo>
                    <a:lnTo>
                      <a:pt x="1224" y="385"/>
                    </a:lnTo>
                    <a:lnTo>
                      <a:pt x="1227" y="387"/>
                    </a:lnTo>
                    <a:lnTo>
                      <a:pt x="1229" y="387"/>
                    </a:lnTo>
                    <a:lnTo>
                      <a:pt x="1231" y="388"/>
                    </a:lnTo>
                    <a:lnTo>
                      <a:pt x="1234" y="388"/>
                    </a:lnTo>
                    <a:lnTo>
                      <a:pt x="1236" y="389"/>
                    </a:lnTo>
                    <a:lnTo>
                      <a:pt x="1246" y="391"/>
                    </a:lnTo>
                    <a:lnTo>
                      <a:pt x="1256" y="396"/>
                    </a:lnTo>
                    <a:lnTo>
                      <a:pt x="1265" y="398"/>
                    </a:lnTo>
                    <a:lnTo>
                      <a:pt x="1268" y="398"/>
                    </a:lnTo>
                    <a:lnTo>
                      <a:pt x="1271" y="398"/>
                    </a:lnTo>
                    <a:lnTo>
                      <a:pt x="1275" y="397"/>
                    </a:lnTo>
                    <a:lnTo>
                      <a:pt x="1278" y="397"/>
                    </a:lnTo>
                    <a:lnTo>
                      <a:pt x="1281" y="396"/>
                    </a:lnTo>
                    <a:lnTo>
                      <a:pt x="1282" y="393"/>
                    </a:lnTo>
                    <a:lnTo>
                      <a:pt x="1284" y="391"/>
                    </a:lnTo>
                    <a:lnTo>
                      <a:pt x="1286" y="389"/>
                    </a:lnTo>
                    <a:lnTo>
                      <a:pt x="1288" y="388"/>
                    </a:lnTo>
                    <a:lnTo>
                      <a:pt x="1289" y="387"/>
                    </a:lnTo>
                    <a:lnTo>
                      <a:pt x="1292" y="389"/>
                    </a:lnTo>
                    <a:lnTo>
                      <a:pt x="1297" y="393"/>
                    </a:lnTo>
                    <a:lnTo>
                      <a:pt x="1302" y="400"/>
                    </a:lnTo>
                    <a:lnTo>
                      <a:pt x="1307" y="405"/>
                    </a:lnTo>
                    <a:lnTo>
                      <a:pt x="1310" y="408"/>
                    </a:lnTo>
                    <a:lnTo>
                      <a:pt x="1319" y="416"/>
                    </a:lnTo>
                    <a:lnTo>
                      <a:pt x="1326" y="424"/>
                    </a:lnTo>
                    <a:lnTo>
                      <a:pt x="1327" y="426"/>
                    </a:lnTo>
                    <a:lnTo>
                      <a:pt x="1329" y="429"/>
                    </a:lnTo>
                    <a:lnTo>
                      <a:pt x="1331" y="432"/>
                    </a:lnTo>
                    <a:lnTo>
                      <a:pt x="1334" y="433"/>
                    </a:lnTo>
                    <a:lnTo>
                      <a:pt x="1336" y="434"/>
                    </a:lnTo>
                    <a:lnTo>
                      <a:pt x="1338" y="435"/>
                    </a:lnTo>
                    <a:lnTo>
                      <a:pt x="1340" y="436"/>
                    </a:lnTo>
                    <a:lnTo>
                      <a:pt x="1343" y="437"/>
                    </a:lnTo>
                    <a:lnTo>
                      <a:pt x="1346" y="438"/>
                    </a:lnTo>
                    <a:lnTo>
                      <a:pt x="1347" y="439"/>
                    </a:lnTo>
                    <a:lnTo>
                      <a:pt x="1349" y="440"/>
                    </a:lnTo>
                    <a:lnTo>
                      <a:pt x="1350" y="442"/>
                    </a:lnTo>
                    <a:lnTo>
                      <a:pt x="1352" y="444"/>
                    </a:lnTo>
                    <a:lnTo>
                      <a:pt x="1356" y="445"/>
                    </a:lnTo>
                    <a:lnTo>
                      <a:pt x="1360" y="446"/>
                    </a:lnTo>
                    <a:lnTo>
                      <a:pt x="1364" y="447"/>
                    </a:lnTo>
                    <a:lnTo>
                      <a:pt x="1369" y="448"/>
                    </a:lnTo>
                    <a:lnTo>
                      <a:pt x="1370" y="448"/>
                    </a:lnTo>
                    <a:lnTo>
                      <a:pt x="1371" y="448"/>
                    </a:lnTo>
                    <a:lnTo>
                      <a:pt x="1371" y="447"/>
                    </a:lnTo>
                    <a:lnTo>
                      <a:pt x="1372" y="446"/>
                    </a:lnTo>
                    <a:lnTo>
                      <a:pt x="1373" y="445"/>
                    </a:lnTo>
                    <a:lnTo>
                      <a:pt x="1374" y="444"/>
                    </a:lnTo>
                    <a:lnTo>
                      <a:pt x="1375" y="444"/>
                    </a:lnTo>
                    <a:lnTo>
                      <a:pt x="1377" y="444"/>
                    </a:lnTo>
                    <a:lnTo>
                      <a:pt x="1379" y="446"/>
                    </a:lnTo>
                    <a:lnTo>
                      <a:pt x="1378" y="451"/>
                    </a:lnTo>
                    <a:lnTo>
                      <a:pt x="1376" y="455"/>
                    </a:lnTo>
                    <a:lnTo>
                      <a:pt x="1373" y="460"/>
                    </a:lnTo>
                    <a:lnTo>
                      <a:pt x="1371" y="464"/>
                    </a:lnTo>
                    <a:lnTo>
                      <a:pt x="1371" y="467"/>
                    </a:lnTo>
                    <a:lnTo>
                      <a:pt x="1372" y="472"/>
                    </a:lnTo>
                    <a:lnTo>
                      <a:pt x="1374" y="477"/>
                    </a:lnTo>
                    <a:lnTo>
                      <a:pt x="1375" y="483"/>
                    </a:lnTo>
                    <a:lnTo>
                      <a:pt x="1375" y="499"/>
                    </a:lnTo>
                    <a:lnTo>
                      <a:pt x="1374" y="501"/>
                    </a:lnTo>
                    <a:lnTo>
                      <a:pt x="1373" y="503"/>
                    </a:lnTo>
                    <a:lnTo>
                      <a:pt x="1373" y="505"/>
                    </a:lnTo>
                    <a:lnTo>
                      <a:pt x="1374" y="508"/>
                    </a:lnTo>
                    <a:lnTo>
                      <a:pt x="1375" y="510"/>
                    </a:lnTo>
                    <a:lnTo>
                      <a:pt x="1378" y="512"/>
                    </a:lnTo>
                    <a:lnTo>
                      <a:pt x="1380" y="514"/>
                    </a:lnTo>
                    <a:lnTo>
                      <a:pt x="1382" y="517"/>
                    </a:lnTo>
                    <a:lnTo>
                      <a:pt x="1383" y="520"/>
                    </a:lnTo>
                    <a:lnTo>
                      <a:pt x="1384" y="523"/>
                    </a:lnTo>
                    <a:lnTo>
                      <a:pt x="1384" y="525"/>
                    </a:lnTo>
                    <a:lnTo>
                      <a:pt x="1384" y="528"/>
                    </a:lnTo>
                    <a:lnTo>
                      <a:pt x="1384" y="530"/>
                    </a:lnTo>
                    <a:lnTo>
                      <a:pt x="1385" y="532"/>
                    </a:lnTo>
                    <a:lnTo>
                      <a:pt x="1387" y="533"/>
                    </a:lnTo>
                    <a:lnTo>
                      <a:pt x="1389" y="534"/>
                    </a:lnTo>
                    <a:lnTo>
                      <a:pt x="1392" y="533"/>
                    </a:lnTo>
                    <a:lnTo>
                      <a:pt x="1394" y="533"/>
                    </a:lnTo>
                    <a:lnTo>
                      <a:pt x="1397" y="532"/>
                    </a:lnTo>
                    <a:lnTo>
                      <a:pt x="1399" y="532"/>
                    </a:lnTo>
                    <a:lnTo>
                      <a:pt x="1403" y="534"/>
                    </a:lnTo>
                    <a:lnTo>
                      <a:pt x="1405" y="538"/>
                    </a:lnTo>
                    <a:lnTo>
                      <a:pt x="1409" y="544"/>
                    </a:lnTo>
                    <a:lnTo>
                      <a:pt x="1412" y="548"/>
                    </a:lnTo>
                    <a:lnTo>
                      <a:pt x="1417" y="552"/>
                    </a:lnTo>
                    <a:lnTo>
                      <a:pt x="1422" y="551"/>
                    </a:lnTo>
                    <a:lnTo>
                      <a:pt x="1426" y="547"/>
                    </a:lnTo>
                    <a:lnTo>
                      <a:pt x="1430" y="542"/>
                    </a:lnTo>
                    <a:lnTo>
                      <a:pt x="1432" y="539"/>
                    </a:lnTo>
                    <a:lnTo>
                      <a:pt x="1434" y="536"/>
                    </a:lnTo>
                    <a:lnTo>
                      <a:pt x="1436" y="534"/>
                    </a:lnTo>
                    <a:lnTo>
                      <a:pt x="1437" y="532"/>
                    </a:lnTo>
                    <a:lnTo>
                      <a:pt x="1439" y="531"/>
                    </a:lnTo>
                    <a:lnTo>
                      <a:pt x="1440" y="531"/>
                    </a:lnTo>
                    <a:lnTo>
                      <a:pt x="1442" y="531"/>
                    </a:lnTo>
                    <a:lnTo>
                      <a:pt x="1444" y="530"/>
                    </a:lnTo>
                    <a:lnTo>
                      <a:pt x="1447" y="524"/>
                    </a:lnTo>
                    <a:lnTo>
                      <a:pt x="1448" y="518"/>
                    </a:lnTo>
                    <a:lnTo>
                      <a:pt x="1449" y="511"/>
                    </a:lnTo>
                    <a:lnTo>
                      <a:pt x="1450" y="503"/>
                    </a:lnTo>
                    <a:lnTo>
                      <a:pt x="1450" y="497"/>
                    </a:lnTo>
                    <a:lnTo>
                      <a:pt x="1449" y="492"/>
                    </a:lnTo>
                    <a:lnTo>
                      <a:pt x="1449" y="487"/>
                    </a:lnTo>
                    <a:lnTo>
                      <a:pt x="1454" y="483"/>
                    </a:lnTo>
                    <a:lnTo>
                      <a:pt x="1461" y="478"/>
                    </a:lnTo>
                    <a:lnTo>
                      <a:pt x="1464" y="473"/>
                    </a:lnTo>
                    <a:lnTo>
                      <a:pt x="1464" y="468"/>
                    </a:lnTo>
                    <a:lnTo>
                      <a:pt x="1461" y="461"/>
                    </a:lnTo>
                    <a:lnTo>
                      <a:pt x="1460" y="458"/>
                    </a:lnTo>
                    <a:lnTo>
                      <a:pt x="1461" y="456"/>
                    </a:lnTo>
                    <a:lnTo>
                      <a:pt x="1462" y="454"/>
                    </a:lnTo>
                    <a:lnTo>
                      <a:pt x="1463" y="453"/>
                    </a:lnTo>
                    <a:lnTo>
                      <a:pt x="1465" y="453"/>
                    </a:lnTo>
                    <a:lnTo>
                      <a:pt x="1467" y="454"/>
                    </a:lnTo>
                    <a:lnTo>
                      <a:pt x="1468" y="455"/>
                    </a:lnTo>
                    <a:lnTo>
                      <a:pt x="1470" y="457"/>
                    </a:lnTo>
                    <a:lnTo>
                      <a:pt x="1471" y="459"/>
                    </a:lnTo>
                    <a:lnTo>
                      <a:pt x="1470" y="465"/>
                    </a:lnTo>
                    <a:lnTo>
                      <a:pt x="1468" y="471"/>
                    </a:lnTo>
                    <a:lnTo>
                      <a:pt x="1467" y="478"/>
                    </a:lnTo>
                    <a:lnTo>
                      <a:pt x="1469" y="485"/>
                    </a:lnTo>
                    <a:lnTo>
                      <a:pt x="1475" y="498"/>
                    </a:lnTo>
                    <a:lnTo>
                      <a:pt x="1483" y="512"/>
                    </a:lnTo>
                    <a:lnTo>
                      <a:pt x="1488" y="526"/>
                    </a:lnTo>
                    <a:lnTo>
                      <a:pt x="1495" y="539"/>
                    </a:lnTo>
                    <a:lnTo>
                      <a:pt x="1502" y="550"/>
                    </a:lnTo>
                    <a:lnTo>
                      <a:pt x="1507" y="561"/>
                    </a:lnTo>
                    <a:lnTo>
                      <a:pt x="1513" y="573"/>
                    </a:lnTo>
                    <a:lnTo>
                      <a:pt x="1515" y="576"/>
                    </a:lnTo>
                    <a:lnTo>
                      <a:pt x="1517" y="580"/>
                    </a:lnTo>
                    <a:lnTo>
                      <a:pt x="1520" y="585"/>
                    </a:lnTo>
                    <a:lnTo>
                      <a:pt x="1521" y="589"/>
                    </a:lnTo>
                    <a:lnTo>
                      <a:pt x="1521" y="595"/>
                    </a:lnTo>
                    <a:lnTo>
                      <a:pt x="1519" y="601"/>
                    </a:lnTo>
                    <a:lnTo>
                      <a:pt x="1517" y="607"/>
                    </a:lnTo>
                    <a:lnTo>
                      <a:pt x="1521" y="619"/>
                    </a:lnTo>
                    <a:lnTo>
                      <a:pt x="1527" y="630"/>
                    </a:lnTo>
                    <a:lnTo>
                      <a:pt x="1533" y="640"/>
                    </a:lnTo>
                    <a:lnTo>
                      <a:pt x="1536" y="643"/>
                    </a:lnTo>
                    <a:lnTo>
                      <a:pt x="1539" y="646"/>
                    </a:lnTo>
                    <a:lnTo>
                      <a:pt x="1542" y="647"/>
                    </a:lnTo>
                    <a:lnTo>
                      <a:pt x="1545" y="648"/>
                    </a:lnTo>
                    <a:lnTo>
                      <a:pt x="1548" y="648"/>
                    </a:lnTo>
                    <a:lnTo>
                      <a:pt x="1551" y="650"/>
                    </a:lnTo>
                    <a:lnTo>
                      <a:pt x="1553" y="651"/>
                    </a:lnTo>
                    <a:lnTo>
                      <a:pt x="1555" y="653"/>
                    </a:lnTo>
                    <a:lnTo>
                      <a:pt x="1557" y="654"/>
                    </a:lnTo>
                    <a:lnTo>
                      <a:pt x="1559" y="655"/>
                    </a:lnTo>
                    <a:lnTo>
                      <a:pt x="1562" y="655"/>
                    </a:lnTo>
                    <a:lnTo>
                      <a:pt x="1564" y="655"/>
                    </a:lnTo>
                    <a:lnTo>
                      <a:pt x="1566" y="656"/>
                    </a:lnTo>
                    <a:lnTo>
                      <a:pt x="1568" y="657"/>
                    </a:lnTo>
                    <a:lnTo>
                      <a:pt x="1569" y="658"/>
                    </a:lnTo>
                    <a:lnTo>
                      <a:pt x="1570" y="660"/>
                    </a:lnTo>
                    <a:lnTo>
                      <a:pt x="1570" y="663"/>
                    </a:lnTo>
                    <a:lnTo>
                      <a:pt x="1571" y="665"/>
                    </a:lnTo>
                    <a:lnTo>
                      <a:pt x="1572" y="668"/>
                    </a:lnTo>
                    <a:lnTo>
                      <a:pt x="1574" y="669"/>
                    </a:lnTo>
                    <a:lnTo>
                      <a:pt x="1576" y="670"/>
                    </a:lnTo>
                    <a:lnTo>
                      <a:pt x="1580" y="672"/>
                    </a:lnTo>
                    <a:lnTo>
                      <a:pt x="1584" y="673"/>
                    </a:lnTo>
                    <a:lnTo>
                      <a:pt x="1588" y="675"/>
                    </a:lnTo>
                    <a:lnTo>
                      <a:pt x="1590" y="677"/>
                    </a:lnTo>
                    <a:lnTo>
                      <a:pt x="1591" y="679"/>
                    </a:lnTo>
                    <a:lnTo>
                      <a:pt x="1593" y="682"/>
                    </a:lnTo>
                    <a:lnTo>
                      <a:pt x="1594" y="684"/>
                    </a:lnTo>
                    <a:lnTo>
                      <a:pt x="1594" y="687"/>
                    </a:lnTo>
                    <a:lnTo>
                      <a:pt x="1596" y="692"/>
                    </a:lnTo>
                    <a:lnTo>
                      <a:pt x="1594" y="697"/>
                    </a:lnTo>
                    <a:lnTo>
                      <a:pt x="1592" y="700"/>
                    </a:lnTo>
                    <a:lnTo>
                      <a:pt x="1592" y="704"/>
                    </a:lnTo>
                    <a:lnTo>
                      <a:pt x="1596" y="707"/>
                    </a:lnTo>
                    <a:lnTo>
                      <a:pt x="1604" y="711"/>
                    </a:lnTo>
                    <a:lnTo>
                      <a:pt x="1613" y="714"/>
                    </a:lnTo>
                    <a:lnTo>
                      <a:pt x="1619" y="719"/>
                    </a:lnTo>
                    <a:lnTo>
                      <a:pt x="1623" y="728"/>
                    </a:lnTo>
                    <a:lnTo>
                      <a:pt x="1623" y="738"/>
                    </a:lnTo>
                    <a:lnTo>
                      <a:pt x="1622" y="741"/>
                    </a:lnTo>
                    <a:lnTo>
                      <a:pt x="1621" y="743"/>
                    </a:lnTo>
                    <a:lnTo>
                      <a:pt x="1619" y="745"/>
                    </a:lnTo>
                    <a:lnTo>
                      <a:pt x="1617" y="746"/>
                    </a:lnTo>
                    <a:lnTo>
                      <a:pt x="1615" y="748"/>
                    </a:lnTo>
                    <a:lnTo>
                      <a:pt x="1614" y="750"/>
                    </a:lnTo>
                    <a:lnTo>
                      <a:pt x="1614" y="752"/>
                    </a:lnTo>
                    <a:lnTo>
                      <a:pt x="1614" y="754"/>
                    </a:lnTo>
                    <a:lnTo>
                      <a:pt x="1615" y="756"/>
                    </a:lnTo>
                    <a:lnTo>
                      <a:pt x="1617" y="758"/>
                    </a:lnTo>
                    <a:lnTo>
                      <a:pt x="1618" y="760"/>
                    </a:lnTo>
                    <a:lnTo>
                      <a:pt x="1619" y="762"/>
                    </a:lnTo>
                    <a:lnTo>
                      <a:pt x="1622" y="767"/>
                    </a:lnTo>
                    <a:lnTo>
                      <a:pt x="1623" y="774"/>
                    </a:lnTo>
                    <a:lnTo>
                      <a:pt x="1625" y="780"/>
                    </a:lnTo>
                    <a:lnTo>
                      <a:pt x="1626" y="787"/>
                    </a:lnTo>
                    <a:lnTo>
                      <a:pt x="1624" y="791"/>
                    </a:lnTo>
                    <a:lnTo>
                      <a:pt x="1620" y="795"/>
                    </a:lnTo>
                    <a:lnTo>
                      <a:pt x="1616" y="799"/>
                    </a:lnTo>
                    <a:lnTo>
                      <a:pt x="1613" y="803"/>
                    </a:lnTo>
                    <a:lnTo>
                      <a:pt x="1610" y="807"/>
                    </a:lnTo>
                    <a:lnTo>
                      <a:pt x="1608" y="807"/>
                    </a:lnTo>
                    <a:lnTo>
                      <a:pt x="1606" y="806"/>
                    </a:lnTo>
                    <a:lnTo>
                      <a:pt x="1604" y="806"/>
                    </a:lnTo>
                    <a:lnTo>
                      <a:pt x="1602" y="806"/>
                    </a:lnTo>
                    <a:lnTo>
                      <a:pt x="1601" y="806"/>
                    </a:lnTo>
                    <a:lnTo>
                      <a:pt x="1599" y="807"/>
                    </a:lnTo>
                    <a:lnTo>
                      <a:pt x="1598" y="809"/>
                    </a:lnTo>
                    <a:lnTo>
                      <a:pt x="1598" y="816"/>
                    </a:lnTo>
                    <a:lnTo>
                      <a:pt x="1597" y="822"/>
                    </a:lnTo>
                    <a:lnTo>
                      <a:pt x="1598" y="829"/>
                    </a:lnTo>
                    <a:lnTo>
                      <a:pt x="1599" y="831"/>
                    </a:lnTo>
                    <a:lnTo>
                      <a:pt x="1600" y="833"/>
                    </a:lnTo>
                    <a:lnTo>
                      <a:pt x="1601" y="835"/>
                    </a:lnTo>
                    <a:lnTo>
                      <a:pt x="1603" y="837"/>
                    </a:lnTo>
                    <a:lnTo>
                      <a:pt x="1605" y="838"/>
                    </a:lnTo>
                    <a:lnTo>
                      <a:pt x="1607" y="839"/>
                    </a:lnTo>
                    <a:lnTo>
                      <a:pt x="1609" y="839"/>
                    </a:lnTo>
                    <a:lnTo>
                      <a:pt x="1613" y="837"/>
                    </a:lnTo>
                    <a:lnTo>
                      <a:pt x="1615" y="835"/>
                    </a:lnTo>
                    <a:lnTo>
                      <a:pt x="1616" y="834"/>
                    </a:lnTo>
                    <a:lnTo>
                      <a:pt x="1617" y="833"/>
                    </a:lnTo>
                    <a:lnTo>
                      <a:pt x="1619" y="832"/>
                    </a:lnTo>
                    <a:lnTo>
                      <a:pt x="1620" y="832"/>
                    </a:lnTo>
                    <a:lnTo>
                      <a:pt x="1621" y="833"/>
                    </a:lnTo>
                    <a:lnTo>
                      <a:pt x="1623" y="835"/>
                    </a:lnTo>
                    <a:lnTo>
                      <a:pt x="1625" y="839"/>
                    </a:lnTo>
                    <a:lnTo>
                      <a:pt x="1627" y="844"/>
                    </a:lnTo>
                    <a:lnTo>
                      <a:pt x="1629" y="848"/>
                    </a:lnTo>
                    <a:lnTo>
                      <a:pt x="1632" y="851"/>
                    </a:lnTo>
                    <a:lnTo>
                      <a:pt x="1636" y="852"/>
                    </a:lnTo>
                    <a:lnTo>
                      <a:pt x="1641" y="850"/>
                    </a:lnTo>
                    <a:lnTo>
                      <a:pt x="1643" y="846"/>
                    </a:lnTo>
                    <a:lnTo>
                      <a:pt x="1643" y="841"/>
                    </a:lnTo>
                    <a:lnTo>
                      <a:pt x="1642" y="836"/>
                    </a:lnTo>
                    <a:lnTo>
                      <a:pt x="1641" y="832"/>
                    </a:lnTo>
                    <a:lnTo>
                      <a:pt x="1643" y="830"/>
                    </a:lnTo>
                    <a:lnTo>
                      <a:pt x="1647" y="829"/>
                    </a:lnTo>
                    <a:lnTo>
                      <a:pt x="1650" y="832"/>
                    </a:lnTo>
                    <a:lnTo>
                      <a:pt x="1652" y="838"/>
                    </a:lnTo>
                    <a:lnTo>
                      <a:pt x="1654" y="846"/>
                    </a:lnTo>
                    <a:lnTo>
                      <a:pt x="1655" y="852"/>
                    </a:lnTo>
                    <a:lnTo>
                      <a:pt x="1655" y="856"/>
                    </a:lnTo>
                    <a:lnTo>
                      <a:pt x="1655" y="862"/>
                    </a:lnTo>
                    <a:lnTo>
                      <a:pt x="1656" y="867"/>
                    </a:lnTo>
                    <a:lnTo>
                      <a:pt x="1658" y="871"/>
                    </a:lnTo>
                    <a:lnTo>
                      <a:pt x="1661" y="876"/>
                    </a:lnTo>
                    <a:lnTo>
                      <a:pt x="1661" y="882"/>
                    </a:lnTo>
                    <a:lnTo>
                      <a:pt x="1659" y="888"/>
                    </a:lnTo>
                    <a:lnTo>
                      <a:pt x="1657" y="892"/>
                    </a:lnTo>
                    <a:lnTo>
                      <a:pt x="1655" y="900"/>
                    </a:lnTo>
                    <a:lnTo>
                      <a:pt x="1654" y="906"/>
                    </a:lnTo>
                    <a:lnTo>
                      <a:pt x="1651" y="911"/>
                    </a:lnTo>
                    <a:lnTo>
                      <a:pt x="1649" y="912"/>
                    </a:lnTo>
                    <a:lnTo>
                      <a:pt x="1647" y="911"/>
                    </a:lnTo>
                    <a:lnTo>
                      <a:pt x="1644" y="910"/>
                    </a:lnTo>
                    <a:lnTo>
                      <a:pt x="1642" y="908"/>
                    </a:lnTo>
                    <a:lnTo>
                      <a:pt x="1640" y="907"/>
                    </a:lnTo>
                    <a:lnTo>
                      <a:pt x="1639" y="905"/>
                    </a:lnTo>
                    <a:lnTo>
                      <a:pt x="1639" y="901"/>
                    </a:lnTo>
                    <a:lnTo>
                      <a:pt x="1641" y="895"/>
                    </a:lnTo>
                    <a:lnTo>
                      <a:pt x="1643" y="888"/>
                    </a:lnTo>
                    <a:lnTo>
                      <a:pt x="1644" y="882"/>
                    </a:lnTo>
                    <a:lnTo>
                      <a:pt x="1645" y="877"/>
                    </a:lnTo>
                    <a:lnTo>
                      <a:pt x="1643" y="874"/>
                    </a:lnTo>
                    <a:lnTo>
                      <a:pt x="1641" y="874"/>
                    </a:lnTo>
                    <a:lnTo>
                      <a:pt x="1640" y="875"/>
                    </a:lnTo>
                    <a:lnTo>
                      <a:pt x="1640" y="876"/>
                    </a:lnTo>
                    <a:lnTo>
                      <a:pt x="1639" y="878"/>
                    </a:lnTo>
                    <a:lnTo>
                      <a:pt x="1639" y="880"/>
                    </a:lnTo>
                    <a:lnTo>
                      <a:pt x="1639" y="882"/>
                    </a:lnTo>
                    <a:lnTo>
                      <a:pt x="1638" y="884"/>
                    </a:lnTo>
                    <a:lnTo>
                      <a:pt x="1637" y="886"/>
                    </a:lnTo>
                    <a:lnTo>
                      <a:pt x="1634" y="888"/>
                    </a:lnTo>
                    <a:lnTo>
                      <a:pt x="1632" y="889"/>
                    </a:lnTo>
                    <a:lnTo>
                      <a:pt x="1629" y="890"/>
                    </a:lnTo>
                    <a:lnTo>
                      <a:pt x="1626" y="891"/>
                    </a:lnTo>
                    <a:lnTo>
                      <a:pt x="1623" y="893"/>
                    </a:lnTo>
                    <a:lnTo>
                      <a:pt x="1620" y="895"/>
                    </a:lnTo>
                    <a:lnTo>
                      <a:pt x="1619" y="897"/>
                    </a:lnTo>
                    <a:lnTo>
                      <a:pt x="1617" y="901"/>
                    </a:lnTo>
                    <a:lnTo>
                      <a:pt x="1616" y="904"/>
                    </a:lnTo>
                    <a:lnTo>
                      <a:pt x="1614" y="906"/>
                    </a:lnTo>
                    <a:lnTo>
                      <a:pt x="1610" y="908"/>
                    </a:lnTo>
                    <a:lnTo>
                      <a:pt x="1608" y="908"/>
                    </a:lnTo>
                    <a:lnTo>
                      <a:pt x="1604" y="907"/>
                    </a:lnTo>
                    <a:lnTo>
                      <a:pt x="1603" y="907"/>
                    </a:lnTo>
                    <a:lnTo>
                      <a:pt x="1602" y="906"/>
                    </a:lnTo>
                    <a:lnTo>
                      <a:pt x="1600" y="905"/>
                    </a:lnTo>
                    <a:lnTo>
                      <a:pt x="1599" y="903"/>
                    </a:lnTo>
                    <a:lnTo>
                      <a:pt x="1599" y="902"/>
                    </a:lnTo>
                    <a:lnTo>
                      <a:pt x="1599" y="900"/>
                    </a:lnTo>
                    <a:lnTo>
                      <a:pt x="1600" y="899"/>
                    </a:lnTo>
                    <a:lnTo>
                      <a:pt x="1602" y="900"/>
                    </a:lnTo>
                    <a:lnTo>
                      <a:pt x="1604" y="900"/>
                    </a:lnTo>
                    <a:lnTo>
                      <a:pt x="1605" y="901"/>
                    </a:lnTo>
                    <a:lnTo>
                      <a:pt x="1607" y="902"/>
                    </a:lnTo>
                    <a:lnTo>
                      <a:pt x="1609" y="902"/>
                    </a:lnTo>
                    <a:lnTo>
                      <a:pt x="1610" y="901"/>
                    </a:lnTo>
                    <a:lnTo>
                      <a:pt x="1613" y="899"/>
                    </a:lnTo>
                    <a:lnTo>
                      <a:pt x="1614" y="895"/>
                    </a:lnTo>
                    <a:lnTo>
                      <a:pt x="1614" y="893"/>
                    </a:lnTo>
                    <a:lnTo>
                      <a:pt x="1613" y="890"/>
                    </a:lnTo>
                    <a:lnTo>
                      <a:pt x="1612" y="888"/>
                    </a:lnTo>
                    <a:lnTo>
                      <a:pt x="1609" y="886"/>
                    </a:lnTo>
                    <a:lnTo>
                      <a:pt x="1608" y="884"/>
                    </a:lnTo>
                    <a:lnTo>
                      <a:pt x="1606" y="881"/>
                    </a:lnTo>
                    <a:lnTo>
                      <a:pt x="1603" y="880"/>
                    </a:lnTo>
                    <a:lnTo>
                      <a:pt x="1601" y="880"/>
                    </a:lnTo>
                    <a:lnTo>
                      <a:pt x="1598" y="880"/>
                    </a:lnTo>
                    <a:lnTo>
                      <a:pt x="1594" y="880"/>
                    </a:lnTo>
                    <a:lnTo>
                      <a:pt x="1585" y="881"/>
                    </a:lnTo>
                    <a:lnTo>
                      <a:pt x="1576" y="882"/>
                    </a:lnTo>
                    <a:lnTo>
                      <a:pt x="1573" y="884"/>
                    </a:lnTo>
                    <a:lnTo>
                      <a:pt x="1570" y="885"/>
                    </a:lnTo>
                    <a:lnTo>
                      <a:pt x="1567" y="887"/>
                    </a:lnTo>
                    <a:lnTo>
                      <a:pt x="1564" y="888"/>
                    </a:lnTo>
                    <a:lnTo>
                      <a:pt x="1559" y="888"/>
                    </a:lnTo>
                    <a:lnTo>
                      <a:pt x="1556" y="888"/>
                    </a:lnTo>
                    <a:lnTo>
                      <a:pt x="1553" y="888"/>
                    </a:lnTo>
                    <a:lnTo>
                      <a:pt x="1552" y="887"/>
                    </a:lnTo>
                    <a:lnTo>
                      <a:pt x="1551" y="886"/>
                    </a:lnTo>
                    <a:lnTo>
                      <a:pt x="1551" y="884"/>
                    </a:lnTo>
                    <a:lnTo>
                      <a:pt x="1551" y="882"/>
                    </a:lnTo>
                    <a:lnTo>
                      <a:pt x="1552" y="880"/>
                    </a:lnTo>
                    <a:lnTo>
                      <a:pt x="1554" y="878"/>
                    </a:lnTo>
                    <a:lnTo>
                      <a:pt x="1555" y="876"/>
                    </a:lnTo>
                    <a:lnTo>
                      <a:pt x="1557" y="874"/>
                    </a:lnTo>
                    <a:lnTo>
                      <a:pt x="1559" y="873"/>
                    </a:lnTo>
                    <a:lnTo>
                      <a:pt x="1561" y="872"/>
                    </a:lnTo>
                    <a:lnTo>
                      <a:pt x="1563" y="870"/>
                    </a:lnTo>
                    <a:lnTo>
                      <a:pt x="1564" y="868"/>
                    </a:lnTo>
                    <a:lnTo>
                      <a:pt x="1564" y="866"/>
                    </a:lnTo>
                    <a:lnTo>
                      <a:pt x="1564" y="864"/>
                    </a:lnTo>
                    <a:lnTo>
                      <a:pt x="1563" y="863"/>
                    </a:lnTo>
                    <a:lnTo>
                      <a:pt x="1561" y="863"/>
                    </a:lnTo>
                    <a:lnTo>
                      <a:pt x="1558" y="862"/>
                    </a:lnTo>
                    <a:lnTo>
                      <a:pt x="1557" y="862"/>
                    </a:lnTo>
                    <a:lnTo>
                      <a:pt x="1555" y="862"/>
                    </a:lnTo>
                    <a:lnTo>
                      <a:pt x="1554" y="860"/>
                    </a:lnTo>
                    <a:lnTo>
                      <a:pt x="1554" y="859"/>
                    </a:lnTo>
                    <a:lnTo>
                      <a:pt x="1554" y="857"/>
                    </a:lnTo>
                    <a:lnTo>
                      <a:pt x="1556" y="856"/>
                    </a:lnTo>
                    <a:lnTo>
                      <a:pt x="1558" y="855"/>
                    </a:lnTo>
                    <a:lnTo>
                      <a:pt x="1562" y="855"/>
                    </a:lnTo>
                    <a:lnTo>
                      <a:pt x="1564" y="854"/>
                    </a:lnTo>
                    <a:lnTo>
                      <a:pt x="1566" y="854"/>
                    </a:lnTo>
                    <a:lnTo>
                      <a:pt x="1568" y="853"/>
                    </a:lnTo>
                    <a:lnTo>
                      <a:pt x="1570" y="853"/>
                    </a:lnTo>
                    <a:lnTo>
                      <a:pt x="1570" y="852"/>
                    </a:lnTo>
                    <a:lnTo>
                      <a:pt x="1573" y="848"/>
                    </a:lnTo>
                    <a:lnTo>
                      <a:pt x="1572" y="843"/>
                    </a:lnTo>
                    <a:lnTo>
                      <a:pt x="1572" y="836"/>
                    </a:lnTo>
                    <a:lnTo>
                      <a:pt x="1574" y="831"/>
                    </a:lnTo>
                    <a:lnTo>
                      <a:pt x="1568" y="825"/>
                    </a:lnTo>
                    <a:lnTo>
                      <a:pt x="1559" y="821"/>
                    </a:lnTo>
                    <a:lnTo>
                      <a:pt x="1549" y="819"/>
                    </a:lnTo>
                    <a:lnTo>
                      <a:pt x="1539" y="821"/>
                    </a:lnTo>
                    <a:lnTo>
                      <a:pt x="1536" y="824"/>
                    </a:lnTo>
                    <a:lnTo>
                      <a:pt x="1534" y="826"/>
                    </a:lnTo>
                    <a:lnTo>
                      <a:pt x="1533" y="829"/>
                    </a:lnTo>
                    <a:lnTo>
                      <a:pt x="1531" y="832"/>
                    </a:lnTo>
                    <a:lnTo>
                      <a:pt x="1529" y="835"/>
                    </a:lnTo>
                    <a:lnTo>
                      <a:pt x="1528" y="838"/>
                    </a:lnTo>
                    <a:lnTo>
                      <a:pt x="1525" y="840"/>
                    </a:lnTo>
                    <a:lnTo>
                      <a:pt x="1522" y="843"/>
                    </a:lnTo>
                    <a:lnTo>
                      <a:pt x="1519" y="844"/>
                    </a:lnTo>
                    <a:lnTo>
                      <a:pt x="1512" y="846"/>
                    </a:lnTo>
                    <a:lnTo>
                      <a:pt x="1503" y="849"/>
                    </a:lnTo>
                    <a:lnTo>
                      <a:pt x="1495" y="850"/>
                    </a:lnTo>
                    <a:lnTo>
                      <a:pt x="1488" y="850"/>
                    </a:lnTo>
                    <a:lnTo>
                      <a:pt x="1482" y="846"/>
                    </a:lnTo>
                    <a:lnTo>
                      <a:pt x="1478" y="838"/>
                    </a:lnTo>
                    <a:lnTo>
                      <a:pt x="1475" y="831"/>
                    </a:lnTo>
                    <a:lnTo>
                      <a:pt x="1473" y="823"/>
                    </a:lnTo>
                    <a:lnTo>
                      <a:pt x="1471" y="820"/>
                    </a:lnTo>
                    <a:lnTo>
                      <a:pt x="1469" y="817"/>
                    </a:lnTo>
                    <a:lnTo>
                      <a:pt x="1467" y="815"/>
                    </a:lnTo>
                    <a:lnTo>
                      <a:pt x="1464" y="815"/>
                    </a:lnTo>
                    <a:lnTo>
                      <a:pt x="1461" y="815"/>
                    </a:lnTo>
                    <a:lnTo>
                      <a:pt x="1454" y="815"/>
                    </a:lnTo>
                    <a:lnTo>
                      <a:pt x="1447" y="816"/>
                    </a:lnTo>
                    <a:lnTo>
                      <a:pt x="1442" y="817"/>
                    </a:lnTo>
                    <a:lnTo>
                      <a:pt x="1438" y="820"/>
                    </a:lnTo>
                    <a:lnTo>
                      <a:pt x="1436" y="823"/>
                    </a:lnTo>
                    <a:lnTo>
                      <a:pt x="1434" y="826"/>
                    </a:lnTo>
                    <a:lnTo>
                      <a:pt x="1432" y="829"/>
                    </a:lnTo>
                    <a:lnTo>
                      <a:pt x="1430" y="831"/>
                    </a:lnTo>
                    <a:lnTo>
                      <a:pt x="1426" y="834"/>
                    </a:lnTo>
                    <a:lnTo>
                      <a:pt x="1423" y="837"/>
                    </a:lnTo>
                    <a:lnTo>
                      <a:pt x="1419" y="839"/>
                    </a:lnTo>
                    <a:lnTo>
                      <a:pt x="1416" y="841"/>
                    </a:lnTo>
                    <a:lnTo>
                      <a:pt x="1404" y="849"/>
                    </a:lnTo>
                    <a:lnTo>
                      <a:pt x="1395" y="856"/>
                    </a:lnTo>
                    <a:lnTo>
                      <a:pt x="1387" y="866"/>
                    </a:lnTo>
                    <a:lnTo>
                      <a:pt x="1385" y="869"/>
                    </a:lnTo>
                    <a:lnTo>
                      <a:pt x="1384" y="871"/>
                    </a:lnTo>
                    <a:lnTo>
                      <a:pt x="1383" y="874"/>
                    </a:lnTo>
                    <a:lnTo>
                      <a:pt x="1382" y="877"/>
                    </a:lnTo>
                    <a:lnTo>
                      <a:pt x="1383" y="880"/>
                    </a:lnTo>
                    <a:lnTo>
                      <a:pt x="1384" y="888"/>
                    </a:lnTo>
                    <a:lnTo>
                      <a:pt x="1385" y="896"/>
                    </a:lnTo>
                    <a:lnTo>
                      <a:pt x="1387" y="892"/>
                    </a:lnTo>
                    <a:lnTo>
                      <a:pt x="1388" y="886"/>
                    </a:lnTo>
                    <a:lnTo>
                      <a:pt x="1389" y="879"/>
                    </a:lnTo>
                    <a:lnTo>
                      <a:pt x="1391" y="874"/>
                    </a:lnTo>
                    <a:lnTo>
                      <a:pt x="1395" y="870"/>
                    </a:lnTo>
                    <a:lnTo>
                      <a:pt x="1401" y="866"/>
                    </a:lnTo>
                    <a:lnTo>
                      <a:pt x="1408" y="862"/>
                    </a:lnTo>
                    <a:lnTo>
                      <a:pt x="1410" y="859"/>
                    </a:lnTo>
                    <a:lnTo>
                      <a:pt x="1412" y="857"/>
                    </a:lnTo>
                    <a:lnTo>
                      <a:pt x="1415" y="855"/>
                    </a:lnTo>
                    <a:lnTo>
                      <a:pt x="1418" y="852"/>
                    </a:lnTo>
                    <a:lnTo>
                      <a:pt x="1430" y="846"/>
                    </a:lnTo>
                    <a:lnTo>
                      <a:pt x="1444" y="841"/>
                    </a:lnTo>
                    <a:lnTo>
                      <a:pt x="1452" y="840"/>
                    </a:lnTo>
                    <a:lnTo>
                      <a:pt x="1463" y="841"/>
                    </a:lnTo>
                    <a:lnTo>
                      <a:pt x="1473" y="846"/>
                    </a:lnTo>
                    <a:lnTo>
                      <a:pt x="1479" y="851"/>
                    </a:lnTo>
                    <a:lnTo>
                      <a:pt x="1482" y="856"/>
                    </a:lnTo>
                    <a:lnTo>
                      <a:pt x="1482" y="863"/>
                    </a:lnTo>
                    <a:lnTo>
                      <a:pt x="1480" y="871"/>
                    </a:lnTo>
                    <a:lnTo>
                      <a:pt x="1477" y="878"/>
                    </a:lnTo>
                    <a:lnTo>
                      <a:pt x="1474" y="886"/>
                    </a:lnTo>
                    <a:lnTo>
                      <a:pt x="1471" y="892"/>
                    </a:lnTo>
                    <a:lnTo>
                      <a:pt x="1470" y="901"/>
                    </a:lnTo>
                    <a:lnTo>
                      <a:pt x="1470" y="908"/>
                    </a:lnTo>
                    <a:lnTo>
                      <a:pt x="1473" y="915"/>
                    </a:lnTo>
                    <a:lnTo>
                      <a:pt x="1479" y="919"/>
                    </a:lnTo>
                    <a:lnTo>
                      <a:pt x="1485" y="924"/>
                    </a:lnTo>
                    <a:lnTo>
                      <a:pt x="1492" y="929"/>
                    </a:lnTo>
                    <a:lnTo>
                      <a:pt x="1498" y="931"/>
                    </a:lnTo>
                    <a:lnTo>
                      <a:pt x="1504" y="931"/>
                    </a:lnTo>
                    <a:lnTo>
                      <a:pt x="1511" y="931"/>
                    </a:lnTo>
                    <a:lnTo>
                      <a:pt x="1515" y="933"/>
                    </a:lnTo>
                    <a:lnTo>
                      <a:pt x="1517" y="937"/>
                    </a:lnTo>
                    <a:lnTo>
                      <a:pt x="1518" y="939"/>
                    </a:lnTo>
                    <a:lnTo>
                      <a:pt x="1520" y="941"/>
                    </a:lnTo>
                    <a:lnTo>
                      <a:pt x="1522" y="942"/>
                    </a:lnTo>
                    <a:lnTo>
                      <a:pt x="1524" y="942"/>
                    </a:lnTo>
                    <a:lnTo>
                      <a:pt x="1526" y="942"/>
                    </a:lnTo>
                    <a:lnTo>
                      <a:pt x="1528" y="942"/>
                    </a:lnTo>
                    <a:lnTo>
                      <a:pt x="1530" y="943"/>
                    </a:lnTo>
                    <a:lnTo>
                      <a:pt x="1532" y="944"/>
                    </a:lnTo>
                    <a:lnTo>
                      <a:pt x="1533" y="945"/>
                    </a:lnTo>
                    <a:lnTo>
                      <a:pt x="1533" y="950"/>
                    </a:lnTo>
                    <a:lnTo>
                      <a:pt x="1527" y="956"/>
                    </a:lnTo>
                    <a:lnTo>
                      <a:pt x="1519" y="961"/>
                    </a:lnTo>
                    <a:lnTo>
                      <a:pt x="1512" y="964"/>
                    </a:lnTo>
                    <a:lnTo>
                      <a:pt x="1506" y="966"/>
                    </a:lnTo>
                    <a:lnTo>
                      <a:pt x="1500" y="967"/>
                    </a:lnTo>
                    <a:lnTo>
                      <a:pt x="1493" y="968"/>
                    </a:lnTo>
                    <a:lnTo>
                      <a:pt x="1487" y="969"/>
                    </a:lnTo>
                    <a:lnTo>
                      <a:pt x="1482" y="972"/>
                    </a:lnTo>
                    <a:lnTo>
                      <a:pt x="1479" y="976"/>
                    </a:lnTo>
                    <a:lnTo>
                      <a:pt x="1477" y="980"/>
                    </a:lnTo>
                    <a:lnTo>
                      <a:pt x="1475" y="984"/>
                    </a:lnTo>
                    <a:lnTo>
                      <a:pt x="1471" y="989"/>
                    </a:lnTo>
                    <a:lnTo>
                      <a:pt x="1466" y="997"/>
                    </a:lnTo>
                    <a:lnTo>
                      <a:pt x="1460" y="1003"/>
                    </a:lnTo>
                    <a:lnTo>
                      <a:pt x="1454" y="1004"/>
                    </a:lnTo>
                    <a:lnTo>
                      <a:pt x="1452" y="1004"/>
                    </a:lnTo>
                    <a:lnTo>
                      <a:pt x="1451" y="1003"/>
                    </a:lnTo>
                    <a:lnTo>
                      <a:pt x="1450" y="1001"/>
                    </a:lnTo>
                    <a:lnTo>
                      <a:pt x="1449" y="999"/>
                    </a:lnTo>
                    <a:lnTo>
                      <a:pt x="1448" y="996"/>
                    </a:lnTo>
                    <a:lnTo>
                      <a:pt x="1448" y="994"/>
                    </a:lnTo>
                    <a:lnTo>
                      <a:pt x="1445" y="992"/>
                    </a:lnTo>
                    <a:lnTo>
                      <a:pt x="1444" y="989"/>
                    </a:lnTo>
                    <a:lnTo>
                      <a:pt x="1443" y="985"/>
                    </a:lnTo>
                    <a:lnTo>
                      <a:pt x="1444" y="982"/>
                    </a:lnTo>
                    <a:lnTo>
                      <a:pt x="1446" y="978"/>
                    </a:lnTo>
                    <a:lnTo>
                      <a:pt x="1447" y="974"/>
                    </a:lnTo>
                    <a:lnTo>
                      <a:pt x="1450" y="971"/>
                    </a:lnTo>
                    <a:lnTo>
                      <a:pt x="1453" y="967"/>
                    </a:lnTo>
                    <a:lnTo>
                      <a:pt x="1459" y="964"/>
                    </a:lnTo>
                    <a:lnTo>
                      <a:pt x="1462" y="963"/>
                    </a:lnTo>
                    <a:lnTo>
                      <a:pt x="1466" y="961"/>
                    </a:lnTo>
                    <a:lnTo>
                      <a:pt x="1469" y="959"/>
                    </a:lnTo>
                    <a:lnTo>
                      <a:pt x="1473" y="956"/>
                    </a:lnTo>
                    <a:lnTo>
                      <a:pt x="1472" y="955"/>
                    </a:lnTo>
                    <a:lnTo>
                      <a:pt x="1471" y="952"/>
                    </a:lnTo>
                    <a:lnTo>
                      <a:pt x="1470" y="950"/>
                    </a:lnTo>
                    <a:lnTo>
                      <a:pt x="1469" y="947"/>
                    </a:lnTo>
                    <a:lnTo>
                      <a:pt x="1467" y="945"/>
                    </a:lnTo>
                    <a:lnTo>
                      <a:pt x="1466" y="944"/>
                    </a:lnTo>
                    <a:lnTo>
                      <a:pt x="1465" y="943"/>
                    </a:lnTo>
                    <a:lnTo>
                      <a:pt x="1459" y="947"/>
                    </a:lnTo>
                    <a:lnTo>
                      <a:pt x="1453" y="951"/>
                    </a:lnTo>
                    <a:lnTo>
                      <a:pt x="1448" y="956"/>
                    </a:lnTo>
                    <a:lnTo>
                      <a:pt x="1445" y="957"/>
                    </a:lnTo>
                    <a:lnTo>
                      <a:pt x="1443" y="958"/>
                    </a:lnTo>
                    <a:lnTo>
                      <a:pt x="1440" y="959"/>
                    </a:lnTo>
                    <a:lnTo>
                      <a:pt x="1438" y="960"/>
                    </a:lnTo>
                    <a:lnTo>
                      <a:pt x="1435" y="962"/>
                    </a:lnTo>
                    <a:lnTo>
                      <a:pt x="1434" y="963"/>
                    </a:lnTo>
                    <a:lnTo>
                      <a:pt x="1432" y="965"/>
                    </a:lnTo>
                    <a:lnTo>
                      <a:pt x="1431" y="967"/>
                    </a:lnTo>
                    <a:lnTo>
                      <a:pt x="1432" y="970"/>
                    </a:lnTo>
                    <a:lnTo>
                      <a:pt x="1429" y="973"/>
                    </a:lnTo>
                    <a:lnTo>
                      <a:pt x="1423" y="976"/>
                    </a:lnTo>
                    <a:lnTo>
                      <a:pt x="1415" y="978"/>
                    </a:lnTo>
                    <a:lnTo>
                      <a:pt x="1407" y="979"/>
                    </a:lnTo>
                    <a:lnTo>
                      <a:pt x="1399" y="980"/>
                    </a:lnTo>
                    <a:lnTo>
                      <a:pt x="1395" y="980"/>
                    </a:lnTo>
                    <a:lnTo>
                      <a:pt x="1390" y="983"/>
                    </a:lnTo>
                    <a:lnTo>
                      <a:pt x="1386" y="989"/>
                    </a:lnTo>
                    <a:lnTo>
                      <a:pt x="1382" y="994"/>
                    </a:lnTo>
                    <a:lnTo>
                      <a:pt x="1378" y="998"/>
                    </a:lnTo>
                    <a:lnTo>
                      <a:pt x="1375" y="998"/>
                    </a:lnTo>
                    <a:lnTo>
                      <a:pt x="1373" y="998"/>
                    </a:lnTo>
                    <a:lnTo>
                      <a:pt x="1371" y="997"/>
                    </a:lnTo>
                    <a:lnTo>
                      <a:pt x="1370" y="996"/>
                    </a:lnTo>
                    <a:lnTo>
                      <a:pt x="1368" y="996"/>
                    </a:lnTo>
                    <a:lnTo>
                      <a:pt x="1367" y="996"/>
                    </a:lnTo>
                    <a:lnTo>
                      <a:pt x="1366" y="996"/>
                    </a:lnTo>
                    <a:lnTo>
                      <a:pt x="1365" y="998"/>
                    </a:lnTo>
                    <a:lnTo>
                      <a:pt x="1363" y="1001"/>
                    </a:lnTo>
                    <a:lnTo>
                      <a:pt x="1361" y="1004"/>
                    </a:lnTo>
                    <a:lnTo>
                      <a:pt x="1359" y="1007"/>
                    </a:lnTo>
                    <a:lnTo>
                      <a:pt x="1359" y="1011"/>
                    </a:lnTo>
                    <a:lnTo>
                      <a:pt x="1358" y="1014"/>
                    </a:lnTo>
                    <a:lnTo>
                      <a:pt x="1358" y="1016"/>
                    </a:lnTo>
                    <a:lnTo>
                      <a:pt x="1358" y="1018"/>
                    </a:lnTo>
                    <a:lnTo>
                      <a:pt x="1358" y="1019"/>
                    </a:lnTo>
                    <a:lnTo>
                      <a:pt x="1357" y="1020"/>
                    </a:lnTo>
                    <a:lnTo>
                      <a:pt x="1356" y="1021"/>
                    </a:lnTo>
                    <a:lnTo>
                      <a:pt x="1352" y="1021"/>
                    </a:lnTo>
                    <a:lnTo>
                      <a:pt x="1349" y="1021"/>
                    </a:lnTo>
                    <a:lnTo>
                      <a:pt x="1347" y="1022"/>
                    </a:lnTo>
                    <a:lnTo>
                      <a:pt x="1345" y="1023"/>
                    </a:lnTo>
                    <a:lnTo>
                      <a:pt x="1344" y="1025"/>
                    </a:lnTo>
                    <a:lnTo>
                      <a:pt x="1343" y="1028"/>
                    </a:lnTo>
                    <a:lnTo>
                      <a:pt x="1343" y="1030"/>
                    </a:lnTo>
                    <a:lnTo>
                      <a:pt x="1342" y="1032"/>
                    </a:lnTo>
                    <a:lnTo>
                      <a:pt x="1296" y="1019"/>
                    </a:lnTo>
                    <a:lnTo>
                      <a:pt x="1248" y="1003"/>
                    </a:lnTo>
                    <a:lnTo>
                      <a:pt x="1248" y="1003"/>
                    </a:lnTo>
                    <a:lnTo>
                      <a:pt x="1248" y="1000"/>
                    </a:lnTo>
                    <a:lnTo>
                      <a:pt x="1246" y="993"/>
                    </a:lnTo>
                    <a:lnTo>
                      <a:pt x="1242" y="990"/>
                    </a:lnTo>
                    <a:lnTo>
                      <a:pt x="1236" y="989"/>
                    </a:lnTo>
                    <a:lnTo>
                      <a:pt x="1230" y="991"/>
                    </a:lnTo>
                    <a:lnTo>
                      <a:pt x="1224" y="993"/>
                    </a:lnTo>
                    <a:lnTo>
                      <a:pt x="1218" y="996"/>
                    </a:lnTo>
                    <a:lnTo>
                      <a:pt x="1213" y="994"/>
                    </a:lnTo>
                    <a:lnTo>
                      <a:pt x="1216" y="993"/>
                    </a:lnTo>
                    <a:lnTo>
                      <a:pt x="1217" y="993"/>
                    </a:lnTo>
                    <a:lnTo>
                      <a:pt x="1217" y="993"/>
                    </a:lnTo>
                    <a:lnTo>
                      <a:pt x="1218" y="993"/>
                    </a:lnTo>
                    <a:lnTo>
                      <a:pt x="1195" y="985"/>
                    </a:lnTo>
                    <a:lnTo>
                      <a:pt x="1174" y="977"/>
                    </a:lnTo>
                    <a:lnTo>
                      <a:pt x="1175" y="970"/>
                    </a:lnTo>
                    <a:lnTo>
                      <a:pt x="1173" y="959"/>
                    </a:lnTo>
                    <a:lnTo>
                      <a:pt x="1167" y="949"/>
                    </a:lnTo>
                    <a:lnTo>
                      <a:pt x="1161" y="947"/>
                    </a:lnTo>
                    <a:lnTo>
                      <a:pt x="1153" y="945"/>
                    </a:lnTo>
                    <a:lnTo>
                      <a:pt x="1144" y="946"/>
                    </a:lnTo>
                    <a:lnTo>
                      <a:pt x="1138" y="949"/>
                    </a:lnTo>
                    <a:lnTo>
                      <a:pt x="1137" y="951"/>
                    </a:lnTo>
                    <a:lnTo>
                      <a:pt x="1137" y="953"/>
                    </a:lnTo>
                    <a:lnTo>
                      <a:pt x="1136" y="956"/>
                    </a:lnTo>
                    <a:lnTo>
                      <a:pt x="1135" y="958"/>
                    </a:lnTo>
                    <a:lnTo>
                      <a:pt x="1135" y="960"/>
                    </a:lnTo>
                    <a:lnTo>
                      <a:pt x="1134" y="961"/>
                    </a:lnTo>
                    <a:lnTo>
                      <a:pt x="1133" y="962"/>
                    </a:lnTo>
                    <a:lnTo>
                      <a:pt x="1131" y="962"/>
                    </a:lnTo>
                    <a:lnTo>
                      <a:pt x="1129" y="962"/>
                    </a:lnTo>
                    <a:lnTo>
                      <a:pt x="1126" y="960"/>
                    </a:lnTo>
                    <a:lnTo>
                      <a:pt x="1123" y="958"/>
                    </a:lnTo>
                    <a:lnTo>
                      <a:pt x="1119" y="955"/>
                    </a:lnTo>
                    <a:lnTo>
                      <a:pt x="1116" y="951"/>
                    </a:lnTo>
                    <a:lnTo>
                      <a:pt x="1113" y="949"/>
                    </a:lnTo>
                    <a:lnTo>
                      <a:pt x="1111" y="947"/>
                    </a:lnTo>
                    <a:lnTo>
                      <a:pt x="1104" y="944"/>
                    </a:lnTo>
                    <a:lnTo>
                      <a:pt x="1098" y="942"/>
                    </a:lnTo>
                    <a:lnTo>
                      <a:pt x="1092" y="939"/>
                    </a:lnTo>
                    <a:lnTo>
                      <a:pt x="1089" y="941"/>
                    </a:lnTo>
                    <a:lnTo>
                      <a:pt x="1087" y="943"/>
                    </a:lnTo>
                    <a:lnTo>
                      <a:pt x="1084" y="945"/>
                    </a:lnTo>
                    <a:lnTo>
                      <a:pt x="1077" y="942"/>
                    </a:lnTo>
                    <a:lnTo>
                      <a:pt x="1083" y="942"/>
                    </a:lnTo>
                    <a:lnTo>
                      <a:pt x="1064" y="933"/>
                    </a:lnTo>
                    <a:lnTo>
                      <a:pt x="1047" y="925"/>
                    </a:lnTo>
                    <a:lnTo>
                      <a:pt x="1049" y="924"/>
                    </a:lnTo>
                    <a:lnTo>
                      <a:pt x="1051" y="923"/>
                    </a:lnTo>
                    <a:lnTo>
                      <a:pt x="1054" y="923"/>
                    </a:lnTo>
                    <a:lnTo>
                      <a:pt x="1058" y="923"/>
                    </a:lnTo>
                    <a:lnTo>
                      <a:pt x="1063" y="924"/>
                    </a:lnTo>
                    <a:lnTo>
                      <a:pt x="1070" y="924"/>
                    </a:lnTo>
                    <a:lnTo>
                      <a:pt x="1076" y="924"/>
                    </a:lnTo>
                    <a:lnTo>
                      <a:pt x="1082" y="923"/>
                    </a:lnTo>
                    <a:lnTo>
                      <a:pt x="1086" y="921"/>
                    </a:lnTo>
                    <a:lnTo>
                      <a:pt x="1088" y="916"/>
                    </a:lnTo>
                    <a:lnTo>
                      <a:pt x="1088" y="909"/>
                    </a:lnTo>
                    <a:lnTo>
                      <a:pt x="1085" y="902"/>
                    </a:lnTo>
                    <a:lnTo>
                      <a:pt x="1082" y="896"/>
                    </a:lnTo>
                    <a:lnTo>
                      <a:pt x="1077" y="893"/>
                    </a:lnTo>
                    <a:lnTo>
                      <a:pt x="1070" y="892"/>
                    </a:lnTo>
                    <a:lnTo>
                      <a:pt x="1065" y="892"/>
                    </a:lnTo>
                    <a:lnTo>
                      <a:pt x="1062" y="892"/>
                    </a:lnTo>
                    <a:lnTo>
                      <a:pt x="1060" y="891"/>
                    </a:lnTo>
                    <a:lnTo>
                      <a:pt x="1059" y="889"/>
                    </a:lnTo>
                    <a:lnTo>
                      <a:pt x="1058" y="887"/>
                    </a:lnTo>
                    <a:lnTo>
                      <a:pt x="1057" y="884"/>
                    </a:lnTo>
                    <a:lnTo>
                      <a:pt x="1056" y="880"/>
                    </a:lnTo>
                    <a:lnTo>
                      <a:pt x="1055" y="878"/>
                    </a:lnTo>
                    <a:lnTo>
                      <a:pt x="1054" y="876"/>
                    </a:lnTo>
                    <a:lnTo>
                      <a:pt x="1052" y="873"/>
                    </a:lnTo>
                    <a:lnTo>
                      <a:pt x="1050" y="871"/>
                    </a:lnTo>
                    <a:lnTo>
                      <a:pt x="1049" y="869"/>
                    </a:lnTo>
                    <a:lnTo>
                      <a:pt x="1047" y="868"/>
                    </a:lnTo>
                    <a:lnTo>
                      <a:pt x="1044" y="868"/>
                    </a:lnTo>
                    <a:lnTo>
                      <a:pt x="1042" y="870"/>
                    </a:lnTo>
                    <a:lnTo>
                      <a:pt x="1041" y="872"/>
                    </a:lnTo>
                    <a:lnTo>
                      <a:pt x="1040" y="874"/>
                    </a:lnTo>
                    <a:lnTo>
                      <a:pt x="1040" y="874"/>
                    </a:lnTo>
                    <a:lnTo>
                      <a:pt x="1039" y="874"/>
                    </a:lnTo>
                    <a:lnTo>
                      <a:pt x="1038" y="872"/>
                    </a:lnTo>
                    <a:lnTo>
                      <a:pt x="1037" y="870"/>
                    </a:lnTo>
                    <a:lnTo>
                      <a:pt x="1035" y="868"/>
                    </a:lnTo>
                    <a:lnTo>
                      <a:pt x="1032" y="866"/>
                    </a:lnTo>
                    <a:lnTo>
                      <a:pt x="1030" y="865"/>
                    </a:lnTo>
                    <a:lnTo>
                      <a:pt x="1027" y="864"/>
                    </a:lnTo>
                    <a:lnTo>
                      <a:pt x="1021" y="865"/>
                    </a:lnTo>
                    <a:lnTo>
                      <a:pt x="1018" y="868"/>
                    </a:lnTo>
                    <a:lnTo>
                      <a:pt x="1016" y="873"/>
                    </a:lnTo>
                    <a:lnTo>
                      <a:pt x="1014" y="878"/>
                    </a:lnTo>
                    <a:lnTo>
                      <a:pt x="1011" y="882"/>
                    </a:lnTo>
                    <a:lnTo>
                      <a:pt x="1005" y="884"/>
                    </a:lnTo>
                    <a:lnTo>
                      <a:pt x="1001" y="886"/>
                    </a:lnTo>
                    <a:lnTo>
                      <a:pt x="997" y="888"/>
                    </a:lnTo>
                    <a:lnTo>
                      <a:pt x="993" y="890"/>
                    </a:lnTo>
                    <a:lnTo>
                      <a:pt x="990" y="891"/>
                    </a:lnTo>
                    <a:lnTo>
                      <a:pt x="988" y="894"/>
                    </a:lnTo>
                    <a:lnTo>
                      <a:pt x="985" y="896"/>
                    </a:lnTo>
                    <a:lnTo>
                      <a:pt x="982" y="899"/>
                    </a:lnTo>
                    <a:lnTo>
                      <a:pt x="980" y="899"/>
                    </a:lnTo>
                    <a:lnTo>
                      <a:pt x="977" y="897"/>
                    </a:lnTo>
                    <a:lnTo>
                      <a:pt x="977" y="896"/>
                    </a:lnTo>
                    <a:lnTo>
                      <a:pt x="979" y="895"/>
                    </a:lnTo>
                    <a:lnTo>
                      <a:pt x="910" y="862"/>
                    </a:lnTo>
                    <a:lnTo>
                      <a:pt x="841" y="826"/>
                    </a:lnTo>
                    <a:lnTo>
                      <a:pt x="766" y="784"/>
                    </a:lnTo>
                    <a:lnTo>
                      <a:pt x="695" y="742"/>
                    </a:lnTo>
                    <a:lnTo>
                      <a:pt x="626" y="699"/>
                    </a:lnTo>
                    <a:lnTo>
                      <a:pt x="561" y="657"/>
                    </a:lnTo>
                    <a:lnTo>
                      <a:pt x="499" y="616"/>
                    </a:lnTo>
                    <a:lnTo>
                      <a:pt x="440" y="578"/>
                    </a:lnTo>
                    <a:lnTo>
                      <a:pt x="384" y="542"/>
                    </a:lnTo>
                    <a:lnTo>
                      <a:pt x="332" y="510"/>
                    </a:lnTo>
                    <a:lnTo>
                      <a:pt x="283" y="481"/>
                    </a:lnTo>
                    <a:lnTo>
                      <a:pt x="236" y="458"/>
                    </a:lnTo>
                    <a:lnTo>
                      <a:pt x="190" y="437"/>
                    </a:lnTo>
                    <a:lnTo>
                      <a:pt x="147" y="422"/>
                    </a:lnTo>
                    <a:lnTo>
                      <a:pt x="104" y="412"/>
                    </a:lnTo>
                    <a:lnTo>
                      <a:pt x="63" y="406"/>
                    </a:lnTo>
                    <a:lnTo>
                      <a:pt x="52" y="406"/>
                    </a:lnTo>
                    <a:lnTo>
                      <a:pt x="52" y="406"/>
                    </a:lnTo>
                    <a:lnTo>
                      <a:pt x="52" y="405"/>
                    </a:lnTo>
                    <a:lnTo>
                      <a:pt x="51" y="405"/>
                    </a:lnTo>
                    <a:lnTo>
                      <a:pt x="51" y="406"/>
                    </a:lnTo>
                    <a:lnTo>
                      <a:pt x="50" y="406"/>
                    </a:lnTo>
                    <a:lnTo>
                      <a:pt x="49" y="406"/>
                    </a:lnTo>
                    <a:lnTo>
                      <a:pt x="49" y="408"/>
                    </a:lnTo>
                    <a:lnTo>
                      <a:pt x="49" y="408"/>
                    </a:lnTo>
                    <a:lnTo>
                      <a:pt x="28" y="409"/>
                    </a:lnTo>
                    <a:lnTo>
                      <a:pt x="8" y="412"/>
                    </a:lnTo>
                    <a:lnTo>
                      <a:pt x="8" y="410"/>
                    </a:lnTo>
                    <a:lnTo>
                      <a:pt x="9" y="408"/>
                    </a:lnTo>
                    <a:lnTo>
                      <a:pt x="10" y="406"/>
                    </a:lnTo>
                    <a:lnTo>
                      <a:pt x="10" y="404"/>
                    </a:lnTo>
                    <a:lnTo>
                      <a:pt x="10" y="403"/>
                    </a:lnTo>
                    <a:lnTo>
                      <a:pt x="10" y="402"/>
                    </a:lnTo>
                    <a:lnTo>
                      <a:pt x="9" y="402"/>
                    </a:lnTo>
                    <a:lnTo>
                      <a:pt x="8" y="402"/>
                    </a:lnTo>
                    <a:lnTo>
                      <a:pt x="4" y="400"/>
                    </a:lnTo>
                    <a:lnTo>
                      <a:pt x="2" y="397"/>
                    </a:lnTo>
                    <a:lnTo>
                      <a:pt x="0" y="391"/>
                    </a:lnTo>
                    <a:lnTo>
                      <a:pt x="2" y="385"/>
                    </a:lnTo>
                    <a:lnTo>
                      <a:pt x="4" y="383"/>
                    </a:lnTo>
                    <a:lnTo>
                      <a:pt x="7" y="381"/>
                    </a:lnTo>
                    <a:lnTo>
                      <a:pt x="10" y="379"/>
                    </a:lnTo>
                    <a:lnTo>
                      <a:pt x="12" y="377"/>
                    </a:lnTo>
                    <a:lnTo>
                      <a:pt x="15" y="375"/>
                    </a:lnTo>
                    <a:lnTo>
                      <a:pt x="18" y="372"/>
                    </a:lnTo>
                    <a:lnTo>
                      <a:pt x="21" y="369"/>
                    </a:lnTo>
                    <a:lnTo>
                      <a:pt x="21" y="367"/>
                    </a:lnTo>
                    <a:lnTo>
                      <a:pt x="23" y="365"/>
                    </a:lnTo>
                    <a:lnTo>
                      <a:pt x="25" y="363"/>
                    </a:lnTo>
                    <a:lnTo>
                      <a:pt x="27" y="361"/>
                    </a:lnTo>
                    <a:lnTo>
                      <a:pt x="29" y="359"/>
                    </a:lnTo>
                    <a:lnTo>
                      <a:pt x="31" y="357"/>
                    </a:lnTo>
                    <a:lnTo>
                      <a:pt x="33" y="356"/>
                    </a:lnTo>
                    <a:lnTo>
                      <a:pt x="34" y="355"/>
                    </a:lnTo>
                    <a:lnTo>
                      <a:pt x="36" y="356"/>
                    </a:lnTo>
                    <a:lnTo>
                      <a:pt x="37" y="357"/>
                    </a:lnTo>
                    <a:lnTo>
                      <a:pt x="37" y="358"/>
                    </a:lnTo>
                    <a:lnTo>
                      <a:pt x="37" y="360"/>
                    </a:lnTo>
                    <a:lnTo>
                      <a:pt x="36" y="362"/>
                    </a:lnTo>
                    <a:lnTo>
                      <a:pt x="35" y="363"/>
                    </a:lnTo>
                    <a:lnTo>
                      <a:pt x="35" y="365"/>
                    </a:lnTo>
                    <a:lnTo>
                      <a:pt x="35" y="366"/>
                    </a:lnTo>
                    <a:lnTo>
                      <a:pt x="37" y="366"/>
                    </a:lnTo>
                    <a:lnTo>
                      <a:pt x="38" y="367"/>
                    </a:lnTo>
                    <a:lnTo>
                      <a:pt x="40" y="367"/>
                    </a:lnTo>
                    <a:lnTo>
                      <a:pt x="41" y="367"/>
                    </a:lnTo>
                    <a:lnTo>
                      <a:pt x="42" y="367"/>
                    </a:lnTo>
                    <a:lnTo>
                      <a:pt x="45" y="367"/>
                    </a:lnTo>
                    <a:lnTo>
                      <a:pt x="47" y="367"/>
                    </a:lnTo>
                    <a:lnTo>
                      <a:pt x="49" y="367"/>
                    </a:lnTo>
                    <a:lnTo>
                      <a:pt x="52" y="366"/>
                    </a:lnTo>
                    <a:lnTo>
                      <a:pt x="53" y="364"/>
                    </a:lnTo>
                    <a:lnTo>
                      <a:pt x="54" y="361"/>
                    </a:lnTo>
                    <a:lnTo>
                      <a:pt x="54" y="359"/>
                    </a:lnTo>
                    <a:lnTo>
                      <a:pt x="54" y="358"/>
                    </a:lnTo>
                    <a:lnTo>
                      <a:pt x="53" y="358"/>
                    </a:lnTo>
                    <a:lnTo>
                      <a:pt x="52" y="358"/>
                    </a:lnTo>
                    <a:lnTo>
                      <a:pt x="51" y="357"/>
                    </a:lnTo>
                    <a:lnTo>
                      <a:pt x="50" y="357"/>
                    </a:lnTo>
                    <a:lnTo>
                      <a:pt x="49" y="356"/>
                    </a:lnTo>
                    <a:lnTo>
                      <a:pt x="50" y="355"/>
                    </a:lnTo>
                    <a:lnTo>
                      <a:pt x="51" y="353"/>
                    </a:lnTo>
                    <a:lnTo>
                      <a:pt x="51" y="350"/>
                    </a:lnTo>
                    <a:lnTo>
                      <a:pt x="51" y="348"/>
                    </a:lnTo>
                    <a:lnTo>
                      <a:pt x="50" y="346"/>
                    </a:lnTo>
                    <a:lnTo>
                      <a:pt x="48" y="344"/>
                    </a:lnTo>
                    <a:lnTo>
                      <a:pt x="46" y="343"/>
                    </a:lnTo>
                    <a:lnTo>
                      <a:pt x="44" y="342"/>
                    </a:lnTo>
                    <a:lnTo>
                      <a:pt x="43" y="343"/>
                    </a:lnTo>
                    <a:lnTo>
                      <a:pt x="39" y="343"/>
                    </a:lnTo>
                    <a:lnTo>
                      <a:pt x="38" y="340"/>
                    </a:lnTo>
                    <a:lnTo>
                      <a:pt x="38" y="335"/>
                    </a:lnTo>
                    <a:lnTo>
                      <a:pt x="39" y="331"/>
                    </a:lnTo>
                    <a:lnTo>
                      <a:pt x="41" y="326"/>
                    </a:lnTo>
                    <a:lnTo>
                      <a:pt x="40" y="323"/>
                    </a:lnTo>
                    <a:lnTo>
                      <a:pt x="40" y="320"/>
                    </a:lnTo>
                    <a:lnTo>
                      <a:pt x="39" y="318"/>
                    </a:lnTo>
                    <a:lnTo>
                      <a:pt x="38" y="317"/>
                    </a:lnTo>
                    <a:lnTo>
                      <a:pt x="37" y="316"/>
                    </a:lnTo>
                    <a:lnTo>
                      <a:pt x="35" y="313"/>
                    </a:lnTo>
                    <a:lnTo>
                      <a:pt x="34" y="310"/>
                    </a:lnTo>
                    <a:lnTo>
                      <a:pt x="32" y="308"/>
                    </a:lnTo>
                    <a:lnTo>
                      <a:pt x="31" y="308"/>
                    </a:lnTo>
                    <a:lnTo>
                      <a:pt x="29" y="306"/>
                    </a:lnTo>
                    <a:lnTo>
                      <a:pt x="27" y="305"/>
                    </a:lnTo>
                    <a:lnTo>
                      <a:pt x="25" y="304"/>
                    </a:lnTo>
                    <a:lnTo>
                      <a:pt x="23" y="304"/>
                    </a:lnTo>
                    <a:lnTo>
                      <a:pt x="22" y="303"/>
                    </a:lnTo>
                    <a:lnTo>
                      <a:pt x="22" y="303"/>
                    </a:lnTo>
                    <a:lnTo>
                      <a:pt x="22" y="302"/>
                    </a:lnTo>
                    <a:lnTo>
                      <a:pt x="23" y="302"/>
                    </a:lnTo>
                    <a:lnTo>
                      <a:pt x="25" y="301"/>
                    </a:lnTo>
                    <a:lnTo>
                      <a:pt x="26" y="299"/>
                    </a:lnTo>
                    <a:lnTo>
                      <a:pt x="27" y="297"/>
                    </a:lnTo>
                    <a:lnTo>
                      <a:pt x="28" y="295"/>
                    </a:lnTo>
                    <a:lnTo>
                      <a:pt x="29" y="292"/>
                    </a:lnTo>
                    <a:lnTo>
                      <a:pt x="29" y="290"/>
                    </a:lnTo>
                    <a:lnTo>
                      <a:pt x="30" y="288"/>
                    </a:lnTo>
                    <a:lnTo>
                      <a:pt x="31" y="285"/>
                    </a:lnTo>
                    <a:lnTo>
                      <a:pt x="33" y="281"/>
                    </a:lnTo>
                    <a:lnTo>
                      <a:pt x="35" y="279"/>
                    </a:lnTo>
                    <a:lnTo>
                      <a:pt x="37" y="279"/>
                    </a:lnTo>
                    <a:lnTo>
                      <a:pt x="39" y="279"/>
                    </a:lnTo>
                    <a:lnTo>
                      <a:pt x="41" y="278"/>
                    </a:lnTo>
                    <a:lnTo>
                      <a:pt x="43" y="277"/>
                    </a:lnTo>
                    <a:lnTo>
                      <a:pt x="45" y="275"/>
                    </a:lnTo>
                    <a:lnTo>
                      <a:pt x="53" y="266"/>
                    </a:lnTo>
                    <a:lnTo>
                      <a:pt x="58" y="255"/>
                    </a:lnTo>
                    <a:lnTo>
                      <a:pt x="59" y="252"/>
                    </a:lnTo>
                    <a:lnTo>
                      <a:pt x="59" y="249"/>
                    </a:lnTo>
                    <a:lnTo>
                      <a:pt x="60" y="246"/>
                    </a:lnTo>
                    <a:lnTo>
                      <a:pt x="60" y="243"/>
                    </a:lnTo>
                    <a:lnTo>
                      <a:pt x="62" y="241"/>
                    </a:lnTo>
                    <a:lnTo>
                      <a:pt x="64" y="238"/>
                    </a:lnTo>
                    <a:lnTo>
                      <a:pt x="66" y="235"/>
                    </a:lnTo>
                    <a:lnTo>
                      <a:pt x="69" y="233"/>
                    </a:lnTo>
                    <a:lnTo>
                      <a:pt x="70" y="230"/>
                    </a:lnTo>
                    <a:lnTo>
                      <a:pt x="71" y="225"/>
                    </a:lnTo>
                    <a:lnTo>
                      <a:pt x="72" y="222"/>
                    </a:lnTo>
                    <a:lnTo>
                      <a:pt x="73" y="220"/>
                    </a:lnTo>
                    <a:lnTo>
                      <a:pt x="75" y="220"/>
                    </a:lnTo>
                    <a:lnTo>
                      <a:pt x="77" y="219"/>
                    </a:lnTo>
                    <a:lnTo>
                      <a:pt x="79" y="218"/>
                    </a:lnTo>
                    <a:lnTo>
                      <a:pt x="85" y="212"/>
                    </a:lnTo>
                    <a:lnTo>
                      <a:pt x="86" y="210"/>
                    </a:lnTo>
                    <a:lnTo>
                      <a:pt x="88" y="208"/>
                    </a:lnTo>
                    <a:lnTo>
                      <a:pt x="89" y="205"/>
                    </a:lnTo>
                    <a:lnTo>
                      <a:pt x="90" y="202"/>
                    </a:lnTo>
                    <a:lnTo>
                      <a:pt x="92" y="200"/>
                    </a:lnTo>
                    <a:lnTo>
                      <a:pt x="93" y="199"/>
                    </a:lnTo>
                    <a:lnTo>
                      <a:pt x="94" y="198"/>
                    </a:lnTo>
                    <a:lnTo>
                      <a:pt x="95" y="198"/>
                    </a:lnTo>
                    <a:lnTo>
                      <a:pt x="96" y="199"/>
                    </a:lnTo>
                    <a:lnTo>
                      <a:pt x="97" y="200"/>
                    </a:lnTo>
                    <a:lnTo>
                      <a:pt x="98" y="200"/>
                    </a:lnTo>
                    <a:lnTo>
                      <a:pt x="99" y="200"/>
                    </a:lnTo>
                    <a:lnTo>
                      <a:pt x="101" y="200"/>
                    </a:lnTo>
                    <a:lnTo>
                      <a:pt x="103" y="198"/>
                    </a:lnTo>
                    <a:lnTo>
                      <a:pt x="106" y="196"/>
                    </a:lnTo>
                    <a:lnTo>
                      <a:pt x="109" y="194"/>
                    </a:lnTo>
                    <a:lnTo>
                      <a:pt x="113" y="189"/>
                    </a:lnTo>
                    <a:lnTo>
                      <a:pt x="116" y="183"/>
                    </a:lnTo>
                    <a:lnTo>
                      <a:pt x="121" y="178"/>
                    </a:lnTo>
                    <a:lnTo>
                      <a:pt x="124" y="176"/>
                    </a:lnTo>
                    <a:lnTo>
                      <a:pt x="127" y="178"/>
                    </a:lnTo>
                    <a:lnTo>
                      <a:pt x="127" y="181"/>
                    </a:lnTo>
                    <a:lnTo>
                      <a:pt x="126" y="185"/>
                    </a:lnTo>
                    <a:lnTo>
                      <a:pt x="124" y="190"/>
                    </a:lnTo>
                    <a:lnTo>
                      <a:pt x="124" y="194"/>
                    </a:lnTo>
                    <a:lnTo>
                      <a:pt x="126" y="196"/>
                    </a:lnTo>
                    <a:lnTo>
                      <a:pt x="127" y="198"/>
                    </a:lnTo>
                    <a:lnTo>
                      <a:pt x="128" y="200"/>
                    </a:lnTo>
                    <a:lnTo>
                      <a:pt x="129" y="200"/>
                    </a:lnTo>
                    <a:lnTo>
                      <a:pt x="130" y="200"/>
                    </a:lnTo>
                    <a:lnTo>
                      <a:pt x="131" y="199"/>
                    </a:lnTo>
                    <a:lnTo>
                      <a:pt x="132" y="199"/>
                    </a:lnTo>
                    <a:lnTo>
                      <a:pt x="132" y="198"/>
                    </a:lnTo>
                    <a:lnTo>
                      <a:pt x="132" y="196"/>
                    </a:lnTo>
                    <a:lnTo>
                      <a:pt x="132" y="194"/>
                    </a:lnTo>
                    <a:lnTo>
                      <a:pt x="131" y="194"/>
                    </a:lnTo>
                    <a:lnTo>
                      <a:pt x="130" y="193"/>
                    </a:lnTo>
                    <a:lnTo>
                      <a:pt x="130" y="192"/>
                    </a:lnTo>
                    <a:lnTo>
                      <a:pt x="130" y="190"/>
                    </a:lnTo>
                    <a:lnTo>
                      <a:pt x="131" y="188"/>
                    </a:lnTo>
                    <a:lnTo>
                      <a:pt x="131" y="186"/>
                    </a:lnTo>
                    <a:lnTo>
                      <a:pt x="132" y="184"/>
                    </a:lnTo>
                    <a:lnTo>
                      <a:pt x="133" y="181"/>
                    </a:lnTo>
                    <a:lnTo>
                      <a:pt x="134" y="179"/>
                    </a:lnTo>
                    <a:lnTo>
                      <a:pt x="135" y="178"/>
                    </a:lnTo>
                    <a:lnTo>
                      <a:pt x="136" y="178"/>
                    </a:lnTo>
                    <a:lnTo>
                      <a:pt x="137" y="179"/>
                    </a:lnTo>
                    <a:lnTo>
                      <a:pt x="138" y="181"/>
                    </a:lnTo>
                    <a:lnTo>
                      <a:pt x="138" y="182"/>
                    </a:lnTo>
                    <a:lnTo>
                      <a:pt x="138" y="184"/>
                    </a:lnTo>
                    <a:lnTo>
                      <a:pt x="138" y="187"/>
                    </a:lnTo>
                    <a:lnTo>
                      <a:pt x="139" y="189"/>
                    </a:lnTo>
                    <a:lnTo>
                      <a:pt x="140" y="189"/>
                    </a:lnTo>
                    <a:lnTo>
                      <a:pt x="141" y="189"/>
                    </a:lnTo>
                    <a:lnTo>
                      <a:pt x="142" y="189"/>
                    </a:lnTo>
                    <a:lnTo>
                      <a:pt x="143" y="188"/>
                    </a:lnTo>
                    <a:lnTo>
                      <a:pt x="144" y="187"/>
                    </a:lnTo>
                    <a:lnTo>
                      <a:pt x="146" y="186"/>
                    </a:lnTo>
                    <a:lnTo>
                      <a:pt x="147" y="185"/>
                    </a:lnTo>
                    <a:lnTo>
                      <a:pt x="148" y="184"/>
                    </a:lnTo>
                    <a:lnTo>
                      <a:pt x="150" y="184"/>
                    </a:lnTo>
                    <a:lnTo>
                      <a:pt x="151" y="184"/>
                    </a:lnTo>
                    <a:lnTo>
                      <a:pt x="153" y="184"/>
                    </a:lnTo>
                    <a:lnTo>
                      <a:pt x="154" y="185"/>
                    </a:lnTo>
                    <a:lnTo>
                      <a:pt x="154" y="186"/>
                    </a:lnTo>
                    <a:lnTo>
                      <a:pt x="154" y="190"/>
                    </a:lnTo>
                    <a:lnTo>
                      <a:pt x="155" y="191"/>
                    </a:lnTo>
                    <a:lnTo>
                      <a:pt x="156" y="192"/>
                    </a:lnTo>
                    <a:lnTo>
                      <a:pt x="157" y="192"/>
                    </a:lnTo>
                    <a:lnTo>
                      <a:pt x="157" y="192"/>
                    </a:lnTo>
                    <a:lnTo>
                      <a:pt x="158" y="192"/>
                    </a:lnTo>
                    <a:lnTo>
                      <a:pt x="160" y="192"/>
                    </a:lnTo>
                    <a:lnTo>
                      <a:pt x="161" y="193"/>
                    </a:lnTo>
                    <a:lnTo>
                      <a:pt x="162" y="195"/>
                    </a:lnTo>
                    <a:lnTo>
                      <a:pt x="162" y="196"/>
                    </a:lnTo>
                    <a:lnTo>
                      <a:pt x="162" y="198"/>
                    </a:lnTo>
                    <a:lnTo>
                      <a:pt x="164" y="198"/>
                    </a:lnTo>
                    <a:lnTo>
                      <a:pt x="165" y="198"/>
                    </a:lnTo>
                    <a:lnTo>
                      <a:pt x="167" y="196"/>
                    </a:lnTo>
                    <a:lnTo>
                      <a:pt x="169" y="194"/>
                    </a:lnTo>
                    <a:lnTo>
                      <a:pt x="171" y="192"/>
                    </a:lnTo>
                    <a:lnTo>
                      <a:pt x="174" y="188"/>
                    </a:lnTo>
                    <a:lnTo>
                      <a:pt x="176" y="186"/>
                    </a:lnTo>
                    <a:lnTo>
                      <a:pt x="179" y="185"/>
                    </a:lnTo>
                    <a:lnTo>
                      <a:pt x="181" y="186"/>
                    </a:lnTo>
                    <a:lnTo>
                      <a:pt x="183" y="187"/>
                    </a:lnTo>
                    <a:lnTo>
                      <a:pt x="185" y="188"/>
                    </a:lnTo>
                    <a:lnTo>
                      <a:pt x="187" y="190"/>
                    </a:lnTo>
                    <a:lnTo>
                      <a:pt x="191" y="191"/>
                    </a:lnTo>
                    <a:lnTo>
                      <a:pt x="195" y="193"/>
                    </a:lnTo>
                    <a:lnTo>
                      <a:pt x="200" y="193"/>
                    </a:lnTo>
                    <a:lnTo>
                      <a:pt x="205" y="192"/>
                    </a:lnTo>
                    <a:lnTo>
                      <a:pt x="207" y="191"/>
                    </a:lnTo>
                    <a:lnTo>
                      <a:pt x="209" y="190"/>
                    </a:lnTo>
                    <a:lnTo>
                      <a:pt x="211" y="191"/>
                    </a:lnTo>
                    <a:lnTo>
                      <a:pt x="213" y="192"/>
                    </a:lnTo>
                    <a:lnTo>
                      <a:pt x="215" y="193"/>
                    </a:lnTo>
                    <a:lnTo>
                      <a:pt x="217" y="193"/>
                    </a:lnTo>
                    <a:lnTo>
                      <a:pt x="219" y="194"/>
                    </a:lnTo>
                    <a:lnTo>
                      <a:pt x="227" y="192"/>
                    </a:lnTo>
                    <a:lnTo>
                      <a:pt x="233" y="189"/>
                    </a:lnTo>
                    <a:lnTo>
                      <a:pt x="240" y="188"/>
                    </a:lnTo>
                    <a:lnTo>
                      <a:pt x="242" y="187"/>
                    </a:lnTo>
                    <a:lnTo>
                      <a:pt x="245" y="188"/>
                    </a:lnTo>
                    <a:lnTo>
                      <a:pt x="247" y="189"/>
                    </a:lnTo>
                    <a:lnTo>
                      <a:pt x="249" y="190"/>
                    </a:lnTo>
                    <a:lnTo>
                      <a:pt x="250" y="192"/>
                    </a:lnTo>
                    <a:lnTo>
                      <a:pt x="252" y="193"/>
                    </a:lnTo>
                    <a:lnTo>
                      <a:pt x="254" y="194"/>
                    </a:lnTo>
                    <a:lnTo>
                      <a:pt x="256" y="195"/>
                    </a:lnTo>
                    <a:lnTo>
                      <a:pt x="258" y="196"/>
                    </a:lnTo>
                    <a:lnTo>
                      <a:pt x="261" y="197"/>
                    </a:lnTo>
                    <a:lnTo>
                      <a:pt x="264" y="197"/>
                    </a:lnTo>
                    <a:lnTo>
                      <a:pt x="267" y="197"/>
                    </a:lnTo>
                    <a:lnTo>
                      <a:pt x="270" y="198"/>
                    </a:lnTo>
                    <a:lnTo>
                      <a:pt x="271" y="198"/>
                    </a:lnTo>
                    <a:lnTo>
                      <a:pt x="272" y="199"/>
                    </a:lnTo>
                    <a:lnTo>
                      <a:pt x="274" y="200"/>
                    </a:lnTo>
                    <a:lnTo>
                      <a:pt x="276" y="200"/>
                    </a:lnTo>
                    <a:lnTo>
                      <a:pt x="277" y="200"/>
                    </a:lnTo>
                    <a:lnTo>
                      <a:pt x="280" y="200"/>
                    </a:lnTo>
                    <a:lnTo>
                      <a:pt x="284" y="202"/>
                    </a:lnTo>
                    <a:lnTo>
                      <a:pt x="287" y="204"/>
                    </a:lnTo>
                    <a:lnTo>
                      <a:pt x="290" y="207"/>
                    </a:lnTo>
                    <a:lnTo>
                      <a:pt x="293" y="210"/>
                    </a:lnTo>
                    <a:lnTo>
                      <a:pt x="293" y="212"/>
                    </a:lnTo>
                    <a:lnTo>
                      <a:pt x="294" y="214"/>
                    </a:lnTo>
                    <a:lnTo>
                      <a:pt x="296" y="215"/>
                    </a:lnTo>
                    <a:lnTo>
                      <a:pt x="299" y="216"/>
                    </a:lnTo>
                    <a:lnTo>
                      <a:pt x="302" y="216"/>
                    </a:lnTo>
                    <a:lnTo>
                      <a:pt x="305" y="216"/>
                    </a:lnTo>
                    <a:lnTo>
                      <a:pt x="307" y="216"/>
                    </a:lnTo>
                    <a:lnTo>
                      <a:pt x="310" y="217"/>
                    </a:lnTo>
                    <a:lnTo>
                      <a:pt x="313" y="218"/>
                    </a:lnTo>
                    <a:lnTo>
                      <a:pt x="315" y="210"/>
                    </a:lnTo>
                    <a:lnTo>
                      <a:pt x="314" y="208"/>
                    </a:lnTo>
                    <a:lnTo>
                      <a:pt x="313" y="206"/>
                    </a:lnTo>
                    <a:lnTo>
                      <a:pt x="312" y="206"/>
                    </a:lnTo>
                    <a:lnTo>
                      <a:pt x="310" y="205"/>
                    </a:lnTo>
                    <a:lnTo>
                      <a:pt x="309" y="204"/>
                    </a:lnTo>
                    <a:lnTo>
                      <a:pt x="310" y="201"/>
                    </a:lnTo>
                    <a:lnTo>
                      <a:pt x="314" y="197"/>
                    </a:lnTo>
                    <a:lnTo>
                      <a:pt x="319" y="193"/>
                    </a:lnTo>
                    <a:lnTo>
                      <a:pt x="324" y="190"/>
                    </a:lnTo>
                    <a:lnTo>
                      <a:pt x="328" y="188"/>
                    </a:lnTo>
                    <a:lnTo>
                      <a:pt x="329" y="186"/>
                    </a:lnTo>
                    <a:lnTo>
                      <a:pt x="331" y="183"/>
                    </a:lnTo>
                    <a:lnTo>
                      <a:pt x="332" y="181"/>
                    </a:lnTo>
                    <a:lnTo>
                      <a:pt x="334" y="179"/>
                    </a:lnTo>
                    <a:lnTo>
                      <a:pt x="335" y="178"/>
                    </a:lnTo>
                    <a:lnTo>
                      <a:pt x="337" y="178"/>
                    </a:lnTo>
                    <a:lnTo>
                      <a:pt x="338" y="178"/>
                    </a:lnTo>
                    <a:lnTo>
                      <a:pt x="339" y="179"/>
                    </a:lnTo>
                    <a:lnTo>
                      <a:pt x="340" y="182"/>
                    </a:lnTo>
                    <a:lnTo>
                      <a:pt x="340" y="182"/>
                    </a:lnTo>
                    <a:lnTo>
                      <a:pt x="340" y="183"/>
                    </a:lnTo>
                    <a:lnTo>
                      <a:pt x="340" y="184"/>
                    </a:lnTo>
                    <a:lnTo>
                      <a:pt x="341" y="185"/>
                    </a:lnTo>
                    <a:lnTo>
                      <a:pt x="342" y="186"/>
                    </a:lnTo>
                    <a:lnTo>
                      <a:pt x="343" y="185"/>
                    </a:lnTo>
                    <a:lnTo>
                      <a:pt x="345" y="184"/>
                    </a:lnTo>
                    <a:lnTo>
                      <a:pt x="347" y="183"/>
                    </a:lnTo>
                    <a:lnTo>
                      <a:pt x="348" y="181"/>
                    </a:lnTo>
                    <a:lnTo>
                      <a:pt x="350" y="180"/>
                    </a:lnTo>
                    <a:lnTo>
                      <a:pt x="350" y="178"/>
                    </a:lnTo>
                    <a:lnTo>
                      <a:pt x="351" y="177"/>
                    </a:lnTo>
                    <a:lnTo>
                      <a:pt x="351" y="176"/>
                    </a:lnTo>
                    <a:lnTo>
                      <a:pt x="352" y="174"/>
                    </a:lnTo>
                    <a:lnTo>
                      <a:pt x="354" y="172"/>
                    </a:lnTo>
                    <a:lnTo>
                      <a:pt x="355" y="171"/>
                    </a:lnTo>
                    <a:lnTo>
                      <a:pt x="358" y="169"/>
                    </a:lnTo>
                    <a:lnTo>
                      <a:pt x="360" y="168"/>
                    </a:lnTo>
                    <a:lnTo>
                      <a:pt x="362" y="167"/>
                    </a:lnTo>
                    <a:lnTo>
                      <a:pt x="365" y="166"/>
                    </a:lnTo>
                    <a:lnTo>
                      <a:pt x="367" y="165"/>
                    </a:lnTo>
                    <a:lnTo>
                      <a:pt x="369" y="164"/>
                    </a:lnTo>
                    <a:lnTo>
                      <a:pt x="370" y="162"/>
                    </a:lnTo>
                    <a:lnTo>
                      <a:pt x="372" y="159"/>
                    </a:lnTo>
                    <a:lnTo>
                      <a:pt x="373" y="156"/>
                    </a:lnTo>
                    <a:lnTo>
                      <a:pt x="377" y="153"/>
                    </a:lnTo>
                    <a:lnTo>
                      <a:pt x="380" y="150"/>
                    </a:lnTo>
                    <a:lnTo>
                      <a:pt x="382" y="149"/>
                    </a:lnTo>
                    <a:lnTo>
                      <a:pt x="385" y="150"/>
                    </a:lnTo>
                    <a:lnTo>
                      <a:pt x="387" y="151"/>
                    </a:lnTo>
                    <a:lnTo>
                      <a:pt x="388" y="151"/>
                    </a:lnTo>
                    <a:lnTo>
                      <a:pt x="389" y="152"/>
                    </a:lnTo>
                    <a:lnTo>
                      <a:pt x="389" y="153"/>
                    </a:lnTo>
                    <a:lnTo>
                      <a:pt x="389" y="155"/>
                    </a:lnTo>
                    <a:lnTo>
                      <a:pt x="389" y="156"/>
                    </a:lnTo>
                    <a:lnTo>
                      <a:pt x="389" y="158"/>
                    </a:lnTo>
                    <a:lnTo>
                      <a:pt x="389" y="159"/>
                    </a:lnTo>
                    <a:lnTo>
                      <a:pt x="389" y="161"/>
                    </a:lnTo>
                    <a:lnTo>
                      <a:pt x="390" y="161"/>
                    </a:lnTo>
                    <a:lnTo>
                      <a:pt x="391" y="161"/>
                    </a:lnTo>
                    <a:lnTo>
                      <a:pt x="393" y="160"/>
                    </a:lnTo>
                    <a:lnTo>
                      <a:pt x="395" y="159"/>
                    </a:lnTo>
                    <a:lnTo>
                      <a:pt x="397" y="157"/>
                    </a:lnTo>
                    <a:lnTo>
                      <a:pt x="398" y="155"/>
                    </a:lnTo>
                    <a:lnTo>
                      <a:pt x="400" y="152"/>
                    </a:lnTo>
                    <a:lnTo>
                      <a:pt x="402" y="150"/>
                    </a:lnTo>
                    <a:lnTo>
                      <a:pt x="403" y="148"/>
                    </a:lnTo>
                    <a:lnTo>
                      <a:pt x="404" y="146"/>
                    </a:lnTo>
                    <a:lnTo>
                      <a:pt x="404" y="145"/>
                    </a:lnTo>
                    <a:lnTo>
                      <a:pt x="406" y="141"/>
                    </a:lnTo>
                    <a:lnTo>
                      <a:pt x="407" y="135"/>
                    </a:lnTo>
                    <a:lnTo>
                      <a:pt x="407" y="130"/>
                    </a:lnTo>
                    <a:lnTo>
                      <a:pt x="408" y="126"/>
                    </a:lnTo>
                    <a:lnTo>
                      <a:pt x="411" y="124"/>
                    </a:lnTo>
                    <a:lnTo>
                      <a:pt x="414" y="125"/>
                    </a:lnTo>
                    <a:lnTo>
                      <a:pt x="418" y="129"/>
                    </a:lnTo>
                    <a:lnTo>
                      <a:pt x="420" y="135"/>
                    </a:lnTo>
                    <a:lnTo>
                      <a:pt x="421" y="142"/>
                    </a:lnTo>
                    <a:lnTo>
                      <a:pt x="422" y="149"/>
                    </a:lnTo>
                    <a:lnTo>
                      <a:pt x="423" y="152"/>
                    </a:lnTo>
                    <a:lnTo>
                      <a:pt x="425" y="158"/>
                    </a:lnTo>
                    <a:lnTo>
                      <a:pt x="428" y="163"/>
                    </a:lnTo>
                    <a:lnTo>
                      <a:pt x="431" y="167"/>
                    </a:lnTo>
                    <a:lnTo>
                      <a:pt x="433" y="167"/>
                    </a:lnTo>
                    <a:lnTo>
                      <a:pt x="437" y="164"/>
                    </a:lnTo>
                    <a:lnTo>
                      <a:pt x="440" y="159"/>
                    </a:lnTo>
                    <a:lnTo>
                      <a:pt x="442" y="155"/>
                    </a:lnTo>
                    <a:lnTo>
                      <a:pt x="441" y="151"/>
                    </a:lnTo>
                    <a:lnTo>
                      <a:pt x="442" y="150"/>
                    </a:lnTo>
                    <a:lnTo>
                      <a:pt x="443" y="149"/>
                    </a:lnTo>
                    <a:lnTo>
                      <a:pt x="444" y="148"/>
                    </a:lnTo>
                    <a:lnTo>
                      <a:pt x="445" y="146"/>
                    </a:lnTo>
                    <a:lnTo>
                      <a:pt x="446" y="143"/>
                    </a:lnTo>
                    <a:lnTo>
                      <a:pt x="447" y="141"/>
                    </a:lnTo>
                    <a:lnTo>
                      <a:pt x="448" y="140"/>
                    </a:lnTo>
                    <a:lnTo>
                      <a:pt x="449" y="138"/>
                    </a:lnTo>
                    <a:lnTo>
                      <a:pt x="451" y="138"/>
                    </a:lnTo>
                    <a:lnTo>
                      <a:pt x="453" y="138"/>
                    </a:lnTo>
                    <a:lnTo>
                      <a:pt x="455" y="139"/>
                    </a:lnTo>
                    <a:lnTo>
                      <a:pt x="458" y="143"/>
                    </a:lnTo>
                    <a:lnTo>
                      <a:pt x="457" y="149"/>
                    </a:lnTo>
                    <a:lnTo>
                      <a:pt x="453" y="157"/>
                    </a:lnTo>
                    <a:lnTo>
                      <a:pt x="453" y="160"/>
                    </a:lnTo>
                    <a:lnTo>
                      <a:pt x="452" y="162"/>
                    </a:lnTo>
                    <a:lnTo>
                      <a:pt x="453" y="164"/>
                    </a:lnTo>
                    <a:lnTo>
                      <a:pt x="453" y="164"/>
                    </a:lnTo>
                    <a:lnTo>
                      <a:pt x="455" y="165"/>
                    </a:lnTo>
                    <a:lnTo>
                      <a:pt x="456" y="164"/>
                    </a:lnTo>
                    <a:lnTo>
                      <a:pt x="458" y="164"/>
                    </a:lnTo>
                    <a:lnTo>
                      <a:pt x="460" y="163"/>
                    </a:lnTo>
                    <a:lnTo>
                      <a:pt x="461" y="162"/>
                    </a:lnTo>
                    <a:lnTo>
                      <a:pt x="463" y="161"/>
                    </a:lnTo>
                    <a:lnTo>
                      <a:pt x="465" y="158"/>
                    </a:lnTo>
                    <a:lnTo>
                      <a:pt x="467" y="156"/>
                    </a:lnTo>
                    <a:lnTo>
                      <a:pt x="470" y="153"/>
                    </a:lnTo>
                    <a:lnTo>
                      <a:pt x="471" y="151"/>
                    </a:lnTo>
                    <a:lnTo>
                      <a:pt x="473" y="147"/>
                    </a:lnTo>
                    <a:lnTo>
                      <a:pt x="476" y="145"/>
                    </a:lnTo>
                    <a:lnTo>
                      <a:pt x="480" y="143"/>
                    </a:lnTo>
                    <a:lnTo>
                      <a:pt x="484" y="142"/>
                    </a:lnTo>
                    <a:lnTo>
                      <a:pt x="487" y="141"/>
                    </a:lnTo>
                    <a:lnTo>
                      <a:pt x="491" y="140"/>
                    </a:lnTo>
                    <a:lnTo>
                      <a:pt x="494" y="140"/>
                    </a:lnTo>
                    <a:lnTo>
                      <a:pt x="496" y="141"/>
                    </a:lnTo>
                    <a:lnTo>
                      <a:pt x="499" y="142"/>
                    </a:lnTo>
                    <a:lnTo>
                      <a:pt x="502" y="144"/>
                    </a:lnTo>
                    <a:lnTo>
                      <a:pt x="505" y="146"/>
                    </a:lnTo>
                    <a:lnTo>
                      <a:pt x="508" y="147"/>
                    </a:lnTo>
                    <a:lnTo>
                      <a:pt x="510" y="149"/>
                    </a:lnTo>
                    <a:lnTo>
                      <a:pt x="511" y="150"/>
                    </a:lnTo>
                    <a:lnTo>
                      <a:pt x="514" y="150"/>
                    </a:lnTo>
                    <a:lnTo>
                      <a:pt x="516" y="151"/>
                    </a:lnTo>
                    <a:lnTo>
                      <a:pt x="518" y="151"/>
                    </a:lnTo>
                    <a:lnTo>
                      <a:pt x="521" y="151"/>
                    </a:lnTo>
                    <a:lnTo>
                      <a:pt x="524" y="152"/>
                    </a:lnTo>
                    <a:lnTo>
                      <a:pt x="526" y="152"/>
                    </a:lnTo>
                    <a:lnTo>
                      <a:pt x="528" y="154"/>
                    </a:lnTo>
                    <a:lnTo>
                      <a:pt x="531" y="155"/>
                    </a:lnTo>
                    <a:lnTo>
                      <a:pt x="538" y="161"/>
                    </a:lnTo>
                    <a:lnTo>
                      <a:pt x="546" y="166"/>
                    </a:lnTo>
                    <a:lnTo>
                      <a:pt x="557" y="169"/>
                    </a:lnTo>
                    <a:lnTo>
                      <a:pt x="560" y="167"/>
                    </a:lnTo>
                    <a:lnTo>
                      <a:pt x="564" y="165"/>
                    </a:lnTo>
                    <a:lnTo>
                      <a:pt x="569" y="163"/>
                    </a:lnTo>
                    <a:lnTo>
                      <a:pt x="573" y="163"/>
                    </a:lnTo>
                    <a:lnTo>
                      <a:pt x="575" y="162"/>
                    </a:lnTo>
                    <a:lnTo>
                      <a:pt x="577" y="163"/>
                    </a:lnTo>
                    <a:lnTo>
                      <a:pt x="579" y="164"/>
                    </a:lnTo>
                    <a:lnTo>
                      <a:pt x="581" y="165"/>
                    </a:lnTo>
                    <a:lnTo>
                      <a:pt x="584" y="167"/>
                    </a:lnTo>
                    <a:lnTo>
                      <a:pt x="586" y="169"/>
                    </a:lnTo>
                    <a:lnTo>
                      <a:pt x="589" y="173"/>
                    </a:lnTo>
                    <a:lnTo>
                      <a:pt x="592" y="177"/>
                    </a:lnTo>
                    <a:lnTo>
                      <a:pt x="594" y="181"/>
                    </a:lnTo>
                    <a:lnTo>
                      <a:pt x="594" y="185"/>
                    </a:lnTo>
                    <a:lnTo>
                      <a:pt x="590" y="188"/>
                    </a:lnTo>
                    <a:lnTo>
                      <a:pt x="585" y="189"/>
                    </a:lnTo>
                    <a:lnTo>
                      <a:pt x="579" y="189"/>
                    </a:lnTo>
                    <a:lnTo>
                      <a:pt x="575" y="191"/>
                    </a:lnTo>
                    <a:lnTo>
                      <a:pt x="571" y="196"/>
                    </a:lnTo>
                    <a:lnTo>
                      <a:pt x="571" y="199"/>
                    </a:lnTo>
                    <a:lnTo>
                      <a:pt x="571" y="202"/>
                    </a:lnTo>
                    <a:lnTo>
                      <a:pt x="572" y="204"/>
                    </a:lnTo>
                    <a:lnTo>
                      <a:pt x="574" y="205"/>
                    </a:lnTo>
                    <a:lnTo>
                      <a:pt x="576" y="206"/>
                    </a:lnTo>
                    <a:lnTo>
                      <a:pt x="578" y="206"/>
                    </a:lnTo>
                    <a:lnTo>
                      <a:pt x="581" y="206"/>
                    </a:lnTo>
                    <a:lnTo>
                      <a:pt x="584" y="206"/>
                    </a:lnTo>
                    <a:lnTo>
                      <a:pt x="590" y="206"/>
                    </a:lnTo>
                    <a:lnTo>
                      <a:pt x="596" y="208"/>
                    </a:lnTo>
                    <a:lnTo>
                      <a:pt x="601" y="210"/>
                    </a:lnTo>
                    <a:lnTo>
                      <a:pt x="607" y="211"/>
                    </a:lnTo>
                    <a:lnTo>
                      <a:pt x="614" y="210"/>
                    </a:lnTo>
                    <a:lnTo>
                      <a:pt x="624" y="203"/>
                    </a:lnTo>
                    <a:lnTo>
                      <a:pt x="636" y="198"/>
                    </a:lnTo>
                    <a:lnTo>
                      <a:pt x="649" y="196"/>
                    </a:lnTo>
                    <a:lnTo>
                      <a:pt x="658" y="199"/>
                    </a:lnTo>
                    <a:lnTo>
                      <a:pt x="667" y="204"/>
                    </a:lnTo>
                    <a:lnTo>
                      <a:pt x="675" y="210"/>
                    </a:lnTo>
                    <a:lnTo>
                      <a:pt x="677" y="211"/>
                    </a:lnTo>
                    <a:lnTo>
                      <a:pt x="679" y="211"/>
                    </a:lnTo>
                    <a:lnTo>
                      <a:pt x="680" y="210"/>
                    </a:lnTo>
                    <a:lnTo>
                      <a:pt x="680" y="209"/>
                    </a:lnTo>
                    <a:lnTo>
                      <a:pt x="681" y="207"/>
                    </a:lnTo>
                    <a:lnTo>
                      <a:pt x="681" y="205"/>
                    </a:lnTo>
                    <a:lnTo>
                      <a:pt x="681" y="203"/>
                    </a:lnTo>
                    <a:lnTo>
                      <a:pt x="680" y="201"/>
                    </a:lnTo>
                    <a:lnTo>
                      <a:pt x="680" y="199"/>
                    </a:lnTo>
                    <a:lnTo>
                      <a:pt x="680" y="197"/>
                    </a:lnTo>
                    <a:lnTo>
                      <a:pt x="681" y="196"/>
                    </a:lnTo>
                    <a:lnTo>
                      <a:pt x="682" y="194"/>
                    </a:lnTo>
                    <a:lnTo>
                      <a:pt x="686" y="192"/>
                    </a:lnTo>
                    <a:lnTo>
                      <a:pt x="688" y="190"/>
                    </a:lnTo>
                    <a:lnTo>
                      <a:pt x="691" y="188"/>
                    </a:lnTo>
                    <a:lnTo>
                      <a:pt x="694" y="186"/>
                    </a:lnTo>
                    <a:lnTo>
                      <a:pt x="695" y="184"/>
                    </a:lnTo>
                    <a:lnTo>
                      <a:pt x="698" y="182"/>
                    </a:lnTo>
                    <a:lnTo>
                      <a:pt x="700" y="181"/>
                    </a:lnTo>
                    <a:lnTo>
                      <a:pt x="702" y="180"/>
                    </a:lnTo>
                    <a:lnTo>
                      <a:pt x="704" y="178"/>
                    </a:lnTo>
                    <a:lnTo>
                      <a:pt x="707" y="174"/>
                    </a:lnTo>
                    <a:lnTo>
                      <a:pt x="712" y="169"/>
                    </a:lnTo>
                    <a:lnTo>
                      <a:pt x="718" y="166"/>
                    </a:lnTo>
                    <a:lnTo>
                      <a:pt x="724" y="165"/>
                    </a:lnTo>
                    <a:lnTo>
                      <a:pt x="728" y="165"/>
                    </a:lnTo>
                    <a:lnTo>
                      <a:pt x="730" y="165"/>
                    </a:lnTo>
                    <a:lnTo>
                      <a:pt x="732" y="167"/>
                    </a:lnTo>
                    <a:lnTo>
                      <a:pt x="734" y="168"/>
                    </a:lnTo>
                    <a:lnTo>
                      <a:pt x="737" y="172"/>
                    </a:lnTo>
                    <a:lnTo>
                      <a:pt x="738" y="174"/>
                    </a:lnTo>
                    <a:lnTo>
                      <a:pt x="740" y="176"/>
                    </a:lnTo>
                    <a:lnTo>
                      <a:pt x="742" y="177"/>
                    </a:lnTo>
                    <a:lnTo>
                      <a:pt x="745" y="178"/>
                    </a:lnTo>
                    <a:lnTo>
                      <a:pt x="746" y="178"/>
                    </a:lnTo>
                    <a:lnTo>
                      <a:pt x="748" y="177"/>
                    </a:lnTo>
                    <a:lnTo>
                      <a:pt x="750" y="176"/>
                    </a:lnTo>
                    <a:lnTo>
                      <a:pt x="751" y="175"/>
                    </a:lnTo>
                    <a:lnTo>
                      <a:pt x="753" y="173"/>
                    </a:lnTo>
                    <a:lnTo>
                      <a:pt x="755" y="172"/>
                    </a:lnTo>
                    <a:lnTo>
                      <a:pt x="756" y="171"/>
                    </a:lnTo>
                    <a:lnTo>
                      <a:pt x="758" y="171"/>
                    </a:lnTo>
                    <a:lnTo>
                      <a:pt x="759" y="172"/>
                    </a:lnTo>
                    <a:lnTo>
                      <a:pt x="760" y="173"/>
                    </a:lnTo>
                    <a:lnTo>
                      <a:pt x="762" y="176"/>
                    </a:lnTo>
                    <a:lnTo>
                      <a:pt x="763" y="178"/>
                    </a:lnTo>
                    <a:lnTo>
                      <a:pt x="763" y="180"/>
                    </a:lnTo>
                    <a:lnTo>
                      <a:pt x="764" y="182"/>
                    </a:lnTo>
                    <a:lnTo>
                      <a:pt x="766" y="184"/>
                    </a:lnTo>
                    <a:lnTo>
                      <a:pt x="768" y="186"/>
                    </a:lnTo>
                    <a:lnTo>
                      <a:pt x="771" y="187"/>
                    </a:lnTo>
                    <a:lnTo>
                      <a:pt x="774" y="187"/>
                    </a:lnTo>
                    <a:lnTo>
                      <a:pt x="776" y="188"/>
                    </a:lnTo>
                    <a:lnTo>
                      <a:pt x="787" y="185"/>
                    </a:lnTo>
                    <a:lnTo>
                      <a:pt x="798" y="182"/>
                    </a:lnTo>
                    <a:lnTo>
                      <a:pt x="809" y="181"/>
                    </a:lnTo>
                    <a:lnTo>
                      <a:pt x="819" y="182"/>
                    </a:lnTo>
                    <a:lnTo>
                      <a:pt x="822" y="182"/>
                    </a:lnTo>
                    <a:lnTo>
                      <a:pt x="825" y="182"/>
                    </a:lnTo>
                    <a:lnTo>
                      <a:pt x="827" y="183"/>
                    </a:lnTo>
                    <a:lnTo>
                      <a:pt x="830" y="182"/>
                    </a:lnTo>
                    <a:lnTo>
                      <a:pt x="831" y="182"/>
                    </a:lnTo>
                    <a:lnTo>
                      <a:pt x="834" y="181"/>
                    </a:lnTo>
                    <a:lnTo>
                      <a:pt x="836" y="179"/>
                    </a:lnTo>
                    <a:lnTo>
                      <a:pt x="837" y="177"/>
                    </a:lnTo>
                    <a:lnTo>
                      <a:pt x="838" y="175"/>
                    </a:lnTo>
                    <a:lnTo>
                      <a:pt x="838" y="173"/>
                    </a:lnTo>
                    <a:lnTo>
                      <a:pt x="840" y="172"/>
                    </a:lnTo>
                    <a:lnTo>
                      <a:pt x="840" y="169"/>
                    </a:lnTo>
                    <a:lnTo>
                      <a:pt x="844" y="164"/>
                    </a:lnTo>
                    <a:lnTo>
                      <a:pt x="850" y="162"/>
                    </a:lnTo>
                    <a:lnTo>
                      <a:pt x="856" y="162"/>
                    </a:lnTo>
                    <a:lnTo>
                      <a:pt x="862" y="161"/>
                    </a:lnTo>
                    <a:lnTo>
                      <a:pt x="864" y="161"/>
                    </a:lnTo>
                    <a:lnTo>
                      <a:pt x="866" y="160"/>
                    </a:lnTo>
                    <a:lnTo>
                      <a:pt x="868" y="160"/>
                    </a:lnTo>
                    <a:lnTo>
                      <a:pt x="869" y="160"/>
                    </a:lnTo>
                    <a:lnTo>
                      <a:pt x="870" y="159"/>
                    </a:lnTo>
                    <a:lnTo>
                      <a:pt x="872" y="160"/>
                    </a:lnTo>
                    <a:lnTo>
                      <a:pt x="873" y="161"/>
                    </a:lnTo>
                    <a:lnTo>
                      <a:pt x="874" y="163"/>
                    </a:lnTo>
                    <a:lnTo>
                      <a:pt x="875" y="165"/>
                    </a:lnTo>
                    <a:lnTo>
                      <a:pt x="876" y="167"/>
                    </a:lnTo>
                    <a:lnTo>
                      <a:pt x="877" y="169"/>
                    </a:lnTo>
                    <a:lnTo>
                      <a:pt x="878" y="172"/>
                    </a:lnTo>
                    <a:lnTo>
                      <a:pt x="880" y="174"/>
                    </a:lnTo>
                    <a:lnTo>
                      <a:pt x="881" y="177"/>
                    </a:lnTo>
                    <a:lnTo>
                      <a:pt x="881" y="180"/>
                    </a:lnTo>
                    <a:lnTo>
                      <a:pt x="880" y="183"/>
                    </a:lnTo>
                    <a:lnTo>
                      <a:pt x="878" y="186"/>
                    </a:lnTo>
                    <a:lnTo>
                      <a:pt x="877" y="189"/>
                    </a:lnTo>
                    <a:lnTo>
                      <a:pt x="877" y="192"/>
                    </a:lnTo>
                    <a:lnTo>
                      <a:pt x="877" y="195"/>
                    </a:lnTo>
                    <a:lnTo>
                      <a:pt x="879" y="198"/>
                    </a:lnTo>
                    <a:lnTo>
                      <a:pt x="881" y="200"/>
                    </a:lnTo>
                    <a:lnTo>
                      <a:pt x="883" y="202"/>
                    </a:lnTo>
                    <a:lnTo>
                      <a:pt x="886" y="203"/>
                    </a:lnTo>
                    <a:lnTo>
                      <a:pt x="889" y="203"/>
                    </a:lnTo>
                    <a:lnTo>
                      <a:pt x="893" y="202"/>
                    </a:lnTo>
                    <a:lnTo>
                      <a:pt x="895" y="200"/>
                    </a:lnTo>
                    <a:lnTo>
                      <a:pt x="897" y="193"/>
                    </a:lnTo>
                    <a:lnTo>
                      <a:pt x="895" y="188"/>
                    </a:lnTo>
                    <a:lnTo>
                      <a:pt x="893" y="182"/>
                    </a:lnTo>
                    <a:lnTo>
                      <a:pt x="892" y="177"/>
                    </a:lnTo>
                    <a:lnTo>
                      <a:pt x="893" y="172"/>
                    </a:lnTo>
                    <a:lnTo>
                      <a:pt x="896" y="168"/>
                    </a:lnTo>
                    <a:lnTo>
                      <a:pt x="901" y="163"/>
                    </a:lnTo>
                    <a:lnTo>
                      <a:pt x="907" y="158"/>
                    </a:lnTo>
                    <a:lnTo>
                      <a:pt x="913" y="153"/>
                    </a:lnTo>
                    <a:lnTo>
                      <a:pt x="919" y="148"/>
                    </a:lnTo>
                    <a:lnTo>
                      <a:pt x="922" y="143"/>
                    </a:lnTo>
                    <a:lnTo>
                      <a:pt x="922" y="139"/>
                    </a:lnTo>
                    <a:lnTo>
                      <a:pt x="917" y="137"/>
                    </a:lnTo>
                    <a:lnTo>
                      <a:pt x="914" y="136"/>
                    </a:lnTo>
                    <a:lnTo>
                      <a:pt x="911" y="136"/>
                    </a:lnTo>
                    <a:lnTo>
                      <a:pt x="909" y="134"/>
                    </a:lnTo>
                    <a:lnTo>
                      <a:pt x="908" y="132"/>
                    </a:lnTo>
                    <a:lnTo>
                      <a:pt x="907" y="129"/>
                    </a:lnTo>
                    <a:lnTo>
                      <a:pt x="907" y="126"/>
                    </a:lnTo>
                    <a:lnTo>
                      <a:pt x="908" y="124"/>
                    </a:lnTo>
                    <a:lnTo>
                      <a:pt x="910" y="122"/>
                    </a:lnTo>
                    <a:lnTo>
                      <a:pt x="912" y="120"/>
                    </a:lnTo>
                    <a:lnTo>
                      <a:pt x="915" y="119"/>
                    </a:lnTo>
                    <a:lnTo>
                      <a:pt x="917" y="117"/>
                    </a:lnTo>
                    <a:lnTo>
                      <a:pt x="919" y="116"/>
                    </a:lnTo>
                    <a:lnTo>
                      <a:pt x="921" y="115"/>
                    </a:lnTo>
                    <a:lnTo>
                      <a:pt x="923" y="112"/>
                    </a:lnTo>
                    <a:lnTo>
                      <a:pt x="925" y="110"/>
                    </a:lnTo>
                    <a:lnTo>
                      <a:pt x="925" y="109"/>
                    </a:lnTo>
                    <a:lnTo>
                      <a:pt x="925" y="107"/>
                    </a:lnTo>
                    <a:lnTo>
                      <a:pt x="924" y="106"/>
                    </a:lnTo>
                    <a:lnTo>
                      <a:pt x="922" y="104"/>
                    </a:lnTo>
                    <a:lnTo>
                      <a:pt x="920" y="103"/>
                    </a:lnTo>
                    <a:lnTo>
                      <a:pt x="919" y="102"/>
                    </a:lnTo>
                    <a:lnTo>
                      <a:pt x="910" y="100"/>
                    </a:lnTo>
                    <a:lnTo>
                      <a:pt x="902" y="98"/>
                    </a:lnTo>
                    <a:lnTo>
                      <a:pt x="895" y="94"/>
                    </a:lnTo>
                    <a:lnTo>
                      <a:pt x="888" y="88"/>
                    </a:lnTo>
                    <a:lnTo>
                      <a:pt x="884" y="83"/>
                    </a:lnTo>
                    <a:lnTo>
                      <a:pt x="879" y="78"/>
                    </a:lnTo>
                    <a:lnTo>
                      <a:pt x="876" y="72"/>
                    </a:lnTo>
                    <a:lnTo>
                      <a:pt x="876" y="66"/>
                    </a:lnTo>
                    <a:lnTo>
                      <a:pt x="878" y="64"/>
                    </a:lnTo>
                    <a:lnTo>
                      <a:pt x="880" y="62"/>
                    </a:lnTo>
                    <a:lnTo>
                      <a:pt x="882" y="61"/>
                    </a:lnTo>
                    <a:lnTo>
                      <a:pt x="885" y="60"/>
                    </a:lnTo>
                    <a:lnTo>
                      <a:pt x="886" y="57"/>
                    </a:lnTo>
                    <a:lnTo>
                      <a:pt x="888" y="54"/>
                    </a:lnTo>
                    <a:lnTo>
                      <a:pt x="888" y="52"/>
                    </a:lnTo>
                    <a:lnTo>
                      <a:pt x="887" y="50"/>
                    </a:lnTo>
                    <a:lnTo>
                      <a:pt x="886" y="48"/>
                    </a:lnTo>
                    <a:lnTo>
                      <a:pt x="884" y="47"/>
                    </a:lnTo>
                    <a:lnTo>
                      <a:pt x="883" y="42"/>
                    </a:lnTo>
                    <a:lnTo>
                      <a:pt x="883" y="39"/>
                    </a:lnTo>
                    <a:lnTo>
                      <a:pt x="883" y="35"/>
                    </a:lnTo>
                    <a:lnTo>
                      <a:pt x="884" y="31"/>
                    </a:lnTo>
                    <a:lnTo>
                      <a:pt x="886" y="29"/>
                    </a:lnTo>
                    <a:lnTo>
                      <a:pt x="887" y="27"/>
                    </a:lnTo>
                    <a:lnTo>
                      <a:pt x="889" y="26"/>
                    </a:lnTo>
                    <a:lnTo>
                      <a:pt x="893" y="26"/>
                    </a:lnTo>
                    <a:lnTo>
                      <a:pt x="895" y="25"/>
                    </a:lnTo>
                    <a:lnTo>
                      <a:pt x="898" y="22"/>
                    </a:lnTo>
                    <a:lnTo>
                      <a:pt x="900" y="16"/>
                    </a:lnTo>
                    <a:lnTo>
                      <a:pt x="901" y="11"/>
                    </a:lnTo>
                    <a:lnTo>
                      <a:pt x="903" y="7"/>
                    </a:lnTo>
                    <a:lnTo>
                      <a:pt x="904" y="5"/>
                    </a:lnTo>
                    <a:lnTo>
                      <a:pt x="906" y="4"/>
                    </a:lnTo>
                    <a:lnTo>
                      <a:pt x="908" y="1"/>
                    </a:lnTo>
                    <a:lnTo>
                      <a:pt x="911" y="0"/>
                    </a:lnTo>
                    <a:lnTo>
                      <a:pt x="913"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1"/>
              <p:cNvSpPr>
                <a:spLocks noEditPoints="1"/>
              </p:cNvSpPr>
              <p:nvPr/>
            </p:nvSpPr>
            <p:spPr bwMode="auto">
              <a:xfrm>
                <a:off x="3167" y="840"/>
                <a:ext cx="308" cy="74"/>
              </a:xfrm>
              <a:custGeom>
                <a:avLst/>
                <a:gdLst>
                  <a:gd name="T0" fmla="*/ 2057 w 2161"/>
                  <a:gd name="T1" fmla="*/ 73 h 518"/>
                  <a:gd name="T2" fmla="*/ 1560 w 2161"/>
                  <a:gd name="T3" fmla="*/ 67 h 518"/>
                  <a:gd name="T4" fmla="*/ 318 w 2161"/>
                  <a:gd name="T5" fmla="*/ 65 h 518"/>
                  <a:gd name="T6" fmla="*/ 309 w 2161"/>
                  <a:gd name="T7" fmla="*/ 137 h 518"/>
                  <a:gd name="T8" fmla="*/ 352 w 2161"/>
                  <a:gd name="T9" fmla="*/ 212 h 518"/>
                  <a:gd name="T10" fmla="*/ 323 w 2161"/>
                  <a:gd name="T11" fmla="*/ 250 h 518"/>
                  <a:gd name="T12" fmla="*/ 251 w 2161"/>
                  <a:gd name="T13" fmla="*/ 252 h 518"/>
                  <a:gd name="T14" fmla="*/ 112 w 2161"/>
                  <a:gd name="T15" fmla="*/ 248 h 518"/>
                  <a:gd name="T16" fmla="*/ 119 w 2161"/>
                  <a:gd name="T17" fmla="*/ 210 h 518"/>
                  <a:gd name="T18" fmla="*/ 102 w 2161"/>
                  <a:gd name="T19" fmla="*/ 148 h 518"/>
                  <a:gd name="T20" fmla="*/ 175 w 2161"/>
                  <a:gd name="T21" fmla="*/ 83 h 518"/>
                  <a:gd name="T22" fmla="*/ 208 w 2161"/>
                  <a:gd name="T23" fmla="*/ 113 h 518"/>
                  <a:gd name="T24" fmla="*/ 237 w 2161"/>
                  <a:gd name="T25" fmla="*/ 89 h 518"/>
                  <a:gd name="T26" fmla="*/ 268 w 2161"/>
                  <a:gd name="T27" fmla="*/ 75 h 518"/>
                  <a:gd name="T28" fmla="*/ 283 w 2161"/>
                  <a:gd name="T29" fmla="*/ 64 h 518"/>
                  <a:gd name="T30" fmla="*/ 105 w 2161"/>
                  <a:gd name="T31" fmla="*/ 59 h 518"/>
                  <a:gd name="T32" fmla="*/ 110 w 2161"/>
                  <a:gd name="T33" fmla="*/ 116 h 518"/>
                  <a:gd name="T34" fmla="*/ 13 w 2161"/>
                  <a:gd name="T35" fmla="*/ 182 h 518"/>
                  <a:gd name="T36" fmla="*/ 36 w 2161"/>
                  <a:gd name="T37" fmla="*/ 83 h 518"/>
                  <a:gd name="T38" fmla="*/ 1855 w 2161"/>
                  <a:gd name="T39" fmla="*/ 61 h 518"/>
                  <a:gd name="T40" fmla="*/ 1873 w 2161"/>
                  <a:gd name="T41" fmla="*/ 109 h 518"/>
                  <a:gd name="T42" fmla="*/ 1848 w 2161"/>
                  <a:gd name="T43" fmla="*/ 53 h 518"/>
                  <a:gd name="T44" fmla="*/ 2007 w 2161"/>
                  <a:gd name="T45" fmla="*/ 41 h 518"/>
                  <a:gd name="T46" fmla="*/ 2000 w 2161"/>
                  <a:gd name="T47" fmla="*/ 41 h 518"/>
                  <a:gd name="T48" fmla="*/ 421 w 2161"/>
                  <a:gd name="T49" fmla="*/ 126 h 518"/>
                  <a:gd name="T50" fmla="*/ 353 w 2161"/>
                  <a:gd name="T51" fmla="*/ 96 h 518"/>
                  <a:gd name="T52" fmla="*/ 378 w 2161"/>
                  <a:gd name="T53" fmla="*/ 52 h 518"/>
                  <a:gd name="T54" fmla="*/ 2049 w 2161"/>
                  <a:gd name="T55" fmla="*/ 26 h 518"/>
                  <a:gd name="T56" fmla="*/ 2059 w 2161"/>
                  <a:gd name="T57" fmla="*/ 53 h 518"/>
                  <a:gd name="T58" fmla="*/ 629 w 2161"/>
                  <a:gd name="T59" fmla="*/ 15 h 518"/>
                  <a:gd name="T60" fmla="*/ 616 w 2161"/>
                  <a:gd name="T61" fmla="*/ 101 h 518"/>
                  <a:gd name="T62" fmla="*/ 634 w 2161"/>
                  <a:gd name="T63" fmla="*/ 75 h 518"/>
                  <a:gd name="T64" fmla="*/ 665 w 2161"/>
                  <a:gd name="T65" fmla="*/ 22 h 518"/>
                  <a:gd name="T66" fmla="*/ 724 w 2161"/>
                  <a:gd name="T67" fmla="*/ 87 h 518"/>
                  <a:gd name="T68" fmla="*/ 748 w 2161"/>
                  <a:gd name="T69" fmla="*/ 65 h 518"/>
                  <a:gd name="T70" fmla="*/ 769 w 2161"/>
                  <a:gd name="T71" fmla="*/ 33 h 518"/>
                  <a:gd name="T72" fmla="*/ 800 w 2161"/>
                  <a:gd name="T73" fmla="*/ 86 h 518"/>
                  <a:gd name="T74" fmla="*/ 832 w 2161"/>
                  <a:gd name="T75" fmla="*/ 121 h 518"/>
                  <a:gd name="T76" fmla="*/ 869 w 2161"/>
                  <a:gd name="T77" fmla="*/ 143 h 518"/>
                  <a:gd name="T78" fmla="*/ 932 w 2161"/>
                  <a:gd name="T79" fmla="*/ 176 h 518"/>
                  <a:gd name="T80" fmla="*/ 927 w 2161"/>
                  <a:gd name="T81" fmla="*/ 225 h 518"/>
                  <a:gd name="T82" fmla="*/ 1045 w 2161"/>
                  <a:gd name="T83" fmla="*/ 315 h 518"/>
                  <a:gd name="T84" fmla="*/ 1019 w 2161"/>
                  <a:gd name="T85" fmla="*/ 398 h 518"/>
                  <a:gd name="T86" fmla="*/ 935 w 2161"/>
                  <a:gd name="T87" fmla="*/ 349 h 518"/>
                  <a:gd name="T88" fmla="*/ 1002 w 2161"/>
                  <a:gd name="T89" fmla="*/ 490 h 518"/>
                  <a:gd name="T90" fmla="*/ 919 w 2161"/>
                  <a:gd name="T91" fmla="*/ 485 h 518"/>
                  <a:gd name="T92" fmla="*/ 842 w 2161"/>
                  <a:gd name="T93" fmla="*/ 416 h 518"/>
                  <a:gd name="T94" fmla="*/ 760 w 2161"/>
                  <a:gd name="T95" fmla="*/ 403 h 518"/>
                  <a:gd name="T96" fmla="*/ 861 w 2161"/>
                  <a:gd name="T97" fmla="*/ 328 h 518"/>
                  <a:gd name="T98" fmla="*/ 881 w 2161"/>
                  <a:gd name="T99" fmla="*/ 316 h 518"/>
                  <a:gd name="T100" fmla="*/ 806 w 2161"/>
                  <a:gd name="T101" fmla="*/ 236 h 518"/>
                  <a:gd name="T102" fmla="*/ 777 w 2161"/>
                  <a:gd name="T103" fmla="*/ 213 h 518"/>
                  <a:gd name="T104" fmla="*/ 745 w 2161"/>
                  <a:gd name="T105" fmla="*/ 158 h 518"/>
                  <a:gd name="T106" fmla="*/ 631 w 2161"/>
                  <a:gd name="T107" fmla="*/ 184 h 518"/>
                  <a:gd name="T108" fmla="*/ 581 w 2161"/>
                  <a:gd name="T109" fmla="*/ 135 h 518"/>
                  <a:gd name="T110" fmla="*/ 2072 w 2161"/>
                  <a:gd name="T111" fmla="*/ 38 h 518"/>
                  <a:gd name="T112" fmla="*/ 2058 w 2161"/>
                  <a:gd name="T113" fmla="*/ 24 h 518"/>
                  <a:gd name="T114" fmla="*/ 1535 w 2161"/>
                  <a:gd name="T115" fmla="*/ 11 h 518"/>
                  <a:gd name="T116" fmla="*/ 520 w 2161"/>
                  <a:gd name="T117" fmla="*/ 56 h 518"/>
                  <a:gd name="T118" fmla="*/ 455 w 2161"/>
                  <a:gd name="T119" fmla="*/ 85 h 518"/>
                  <a:gd name="T120" fmla="*/ 2036 w 2161"/>
                  <a:gd name="T121" fmla="*/ 15 h 518"/>
                  <a:gd name="T122" fmla="*/ 1758 w 2161"/>
                  <a:gd name="T123" fmla="*/ 0 h 518"/>
                  <a:gd name="T124" fmla="*/ 1758 w 2161"/>
                  <a:gd name="T125"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61" h="518">
                    <a:moveTo>
                      <a:pt x="2155" y="70"/>
                    </a:moveTo>
                    <a:lnTo>
                      <a:pt x="2156" y="71"/>
                    </a:lnTo>
                    <a:lnTo>
                      <a:pt x="2157" y="72"/>
                    </a:lnTo>
                    <a:lnTo>
                      <a:pt x="2158" y="73"/>
                    </a:lnTo>
                    <a:lnTo>
                      <a:pt x="2158" y="75"/>
                    </a:lnTo>
                    <a:lnTo>
                      <a:pt x="2159" y="76"/>
                    </a:lnTo>
                    <a:lnTo>
                      <a:pt x="2159" y="77"/>
                    </a:lnTo>
                    <a:lnTo>
                      <a:pt x="2160" y="79"/>
                    </a:lnTo>
                    <a:lnTo>
                      <a:pt x="2160" y="80"/>
                    </a:lnTo>
                    <a:lnTo>
                      <a:pt x="2161" y="81"/>
                    </a:lnTo>
                    <a:lnTo>
                      <a:pt x="2160" y="82"/>
                    </a:lnTo>
                    <a:lnTo>
                      <a:pt x="2160" y="82"/>
                    </a:lnTo>
                    <a:lnTo>
                      <a:pt x="2159" y="82"/>
                    </a:lnTo>
                    <a:lnTo>
                      <a:pt x="2157" y="80"/>
                    </a:lnTo>
                    <a:lnTo>
                      <a:pt x="2155" y="79"/>
                    </a:lnTo>
                    <a:lnTo>
                      <a:pt x="2153" y="77"/>
                    </a:lnTo>
                    <a:lnTo>
                      <a:pt x="2153" y="75"/>
                    </a:lnTo>
                    <a:lnTo>
                      <a:pt x="2153" y="73"/>
                    </a:lnTo>
                    <a:lnTo>
                      <a:pt x="2154" y="72"/>
                    </a:lnTo>
                    <a:lnTo>
                      <a:pt x="2155" y="71"/>
                    </a:lnTo>
                    <a:lnTo>
                      <a:pt x="2155" y="70"/>
                    </a:lnTo>
                    <a:lnTo>
                      <a:pt x="2155" y="70"/>
                    </a:lnTo>
                    <a:close/>
                    <a:moveTo>
                      <a:pt x="2051" y="60"/>
                    </a:moveTo>
                    <a:lnTo>
                      <a:pt x="2052" y="61"/>
                    </a:lnTo>
                    <a:lnTo>
                      <a:pt x="2052" y="62"/>
                    </a:lnTo>
                    <a:lnTo>
                      <a:pt x="2053" y="63"/>
                    </a:lnTo>
                    <a:lnTo>
                      <a:pt x="2054" y="65"/>
                    </a:lnTo>
                    <a:lnTo>
                      <a:pt x="2056" y="67"/>
                    </a:lnTo>
                    <a:lnTo>
                      <a:pt x="2057" y="69"/>
                    </a:lnTo>
                    <a:lnTo>
                      <a:pt x="2058" y="72"/>
                    </a:lnTo>
                    <a:lnTo>
                      <a:pt x="2058" y="75"/>
                    </a:lnTo>
                    <a:lnTo>
                      <a:pt x="2057" y="73"/>
                    </a:lnTo>
                    <a:lnTo>
                      <a:pt x="2055" y="72"/>
                    </a:lnTo>
                    <a:lnTo>
                      <a:pt x="2054" y="71"/>
                    </a:lnTo>
                    <a:lnTo>
                      <a:pt x="2054" y="71"/>
                    </a:lnTo>
                    <a:lnTo>
                      <a:pt x="2053" y="71"/>
                    </a:lnTo>
                    <a:lnTo>
                      <a:pt x="2052" y="70"/>
                    </a:lnTo>
                    <a:lnTo>
                      <a:pt x="2051" y="69"/>
                    </a:lnTo>
                    <a:lnTo>
                      <a:pt x="2050" y="67"/>
                    </a:lnTo>
                    <a:lnTo>
                      <a:pt x="2050" y="64"/>
                    </a:lnTo>
                    <a:lnTo>
                      <a:pt x="2050" y="62"/>
                    </a:lnTo>
                    <a:lnTo>
                      <a:pt x="2050" y="61"/>
                    </a:lnTo>
                    <a:lnTo>
                      <a:pt x="2051" y="61"/>
                    </a:lnTo>
                    <a:lnTo>
                      <a:pt x="2051" y="60"/>
                    </a:lnTo>
                    <a:close/>
                    <a:moveTo>
                      <a:pt x="1566" y="58"/>
                    </a:moveTo>
                    <a:lnTo>
                      <a:pt x="1568" y="65"/>
                    </a:lnTo>
                    <a:lnTo>
                      <a:pt x="1574" y="70"/>
                    </a:lnTo>
                    <a:lnTo>
                      <a:pt x="1580" y="75"/>
                    </a:lnTo>
                    <a:lnTo>
                      <a:pt x="1581" y="77"/>
                    </a:lnTo>
                    <a:lnTo>
                      <a:pt x="1582" y="79"/>
                    </a:lnTo>
                    <a:lnTo>
                      <a:pt x="1583" y="81"/>
                    </a:lnTo>
                    <a:lnTo>
                      <a:pt x="1584" y="84"/>
                    </a:lnTo>
                    <a:lnTo>
                      <a:pt x="1584" y="86"/>
                    </a:lnTo>
                    <a:lnTo>
                      <a:pt x="1584" y="88"/>
                    </a:lnTo>
                    <a:lnTo>
                      <a:pt x="1584" y="90"/>
                    </a:lnTo>
                    <a:lnTo>
                      <a:pt x="1581" y="90"/>
                    </a:lnTo>
                    <a:lnTo>
                      <a:pt x="1577" y="88"/>
                    </a:lnTo>
                    <a:lnTo>
                      <a:pt x="1571" y="84"/>
                    </a:lnTo>
                    <a:lnTo>
                      <a:pt x="1567" y="80"/>
                    </a:lnTo>
                    <a:lnTo>
                      <a:pt x="1564" y="75"/>
                    </a:lnTo>
                    <a:lnTo>
                      <a:pt x="1562" y="74"/>
                    </a:lnTo>
                    <a:lnTo>
                      <a:pt x="1561" y="72"/>
                    </a:lnTo>
                    <a:lnTo>
                      <a:pt x="1560" y="69"/>
                    </a:lnTo>
                    <a:lnTo>
                      <a:pt x="1560" y="67"/>
                    </a:lnTo>
                    <a:lnTo>
                      <a:pt x="1560" y="65"/>
                    </a:lnTo>
                    <a:lnTo>
                      <a:pt x="1560" y="63"/>
                    </a:lnTo>
                    <a:lnTo>
                      <a:pt x="1560" y="62"/>
                    </a:lnTo>
                    <a:lnTo>
                      <a:pt x="1561" y="61"/>
                    </a:lnTo>
                    <a:lnTo>
                      <a:pt x="1563" y="61"/>
                    </a:lnTo>
                    <a:lnTo>
                      <a:pt x="1565" y="60"/>
                    </a:lnTo>
                    <a:lnTo>
                      <a:pt x="1566" y="58"/>
                    </a:lnTo>
                    <a:close/>
                    <a:moveTo>
                      <a:pt x="270" y="53"/>
                    </a:moveTo>
                    <a:lnTo>
                      <a:pt x="272" y="53"/>
                    </a:lnTo>
                    <a:lnTo>
                      <a:pt x="273" y="54"/>
                    </a:lnTo>
                    <a:lnTo>
                      <a:pt x="275" y="55"/>
                    </a:lnTo>
                    <a:lnTo>
                      <a:pt x="275" y="56"/>
                    </a:lnTo>
                    <a:lnTo>
                      <a:pt x="275" y="57"/>
                    </a:lnTo>
                    <a:lnTo>
                      <a:pt x="274" y="58"/>
                    </a:lnTo>
                    <a:lnTo>
                      <a:pt x="272" y="60"/>
                    </a:lnTo>
                    <a:lnTo>
                      <a:pt x="270" y="62"/>
                    </a:lnTo>
                    <a:lnTo>
                      <a:pt x="268" y="63"/>
                    </a:lnTo>
                    <a:lnTo>
                      <a:pt x="266" y="63"/>
                    </a:lnTo>
                    <a:lnTo>
                      <a:pt x="264" y="63"/>
                    </a:lnTo>
                    <a:lnTo>
                      <a:pt x="262" y="63"/>
                    </a:lnTo>
                    <a:lnTo>
                      <a:pt x="260" y="61"/>
                    </a:lnTo>
                    <a:lnTo>
                      <a:pt x="260" y="59"/>
                    </a:lnTo>
                    <a:lnTo>
                      <a:pt x="261" y="57"/>
                    </a:lnTo>
                    <a:lnTo>
                      <a:pt x="263" y="55"/>
                    </a:lnTo>
                    <a:lnTo>
                      <a:pt x="265" y="54"/>
                    </a:lnTo>
                    <a:lnTo>
                      <a:pt x="268" y="53"/>
                    </a:lnTo>
                    <a:lnTo>
                      <a:pt x="270" y="53"/>
                    </a:lnTo>
                    <a:close/>
                    <a:moveTo>
                      <a:pt x="309" y="51"/>
                    </a:moveTo>
                    <a:lnTo>
                      <a:pt x="316" y="52"/>
                    </a:lnTo>
                    <a:lnTo>
                      <a:pt x="318" y="55"/>
                    </a:lnTo>
                    <a:lnTo>
                      <a:pt x="319" y="59"/>
                    </a:lnTo>
                    <a:lnTo>
                      <a:pt x="318" y="65"/>
                    </a:lnTo>
                    <a:lnTo>
                      <a:pt x="317" y="70"/>
                    </a:lnTo>
                    <a:lnTo>
                      <a:pt x="316" y="71"/>
                    </a:lnTo>
                    <a:lnTo>
                      <a:pt x="315" y="73"/>
                    </a:lnTo>
                    <a:lnTo>
                      <a:pt x="313" y="74"/>
                    </a:lnTo>
                    <a:lnTo>
                      <a:pt x="311" y="75"/>
                    </a:lnTo>
                    <a:lnTo>
                      <a:pt x="310" y="76"/>
                    </a:lnTo>
                    <a:lnTo>
                      <a:pt x="310" y="78"/>
                    </a:lnTo>
                    <a:lnTo>
                      <a:pt x="310" y="79"/>
                    </a:lnTo>
                    <a:lnTo>
                      <a:pt x="309" y="80"/>
                    </a:lnTo>
                    <a:lnTo>
                      <a:pt x="309" y="80"/>
                    </a:lnTo>
                    <a:lnTo>
                      <a:pt x="308" y="82"/>
                    </a:lnTo>
                    <a:lnTo>
                      <a:pt x="307" y="83"/>
                    </a:lnTo>
                    <a:lnTo>
                      <a:pt x="306" y="84"/>
                    </a:lnTo>
                    <a:lnTo>
                      <a:pt x="304" y="86"/>
                    </a:lnTo>
                    <a:lnTo>
                      <a:pt x="304" y="87"/>
                    </a:lnTo>
                    <a:lnTo>
                      <a:pt x="303" y="90"/>
                    </a:lnTo>
                    <a:lnTo>
                      <a:pt x="304" y="91"/>
                    </a:lnTo>
                    <a:lnTo>
                      <a:pt x="304" y="93"/>
                    </a:lnTo>
                    <a:lnTo>
                      <a:pt x="305" y="95"/>
                    </a:lnTo>
                    <a:lnTo>
                      <a:pt x="306" y="97"/>
                    </a:lnTo>
                    <a:lnTo>
                      <a:pt x="305" y="100"/>
                    </a:lnTo>
                    <a:lnTo>
                      <a:pt x="305" y="103"/>
                    </a:lnTo>
                    <a:lnTo>
                      <a:pt x="304" y="108"/>
                    </a:lnTo>
                    <a:lnTo>
                      <a:pt x="304" y="112"/>
                    </a:lnTo>
                    <a:lnTo>
                      <a:pt x="304" y="115"/>
                    </a:lnTo>
                    <a:lnTo>
                      <a:pt x="305" y="117"/>
                    </a:lnTo>
                    <a:lnTo>
                      <a:pt x="305" y="119"/>
                    </a:lnTo>
                    <a:lnTo>
                      <a:pt x="306" y="122"/>
                    </a:lnTo>
                    <a:lnTo>
                      <a:pt x="306" y="130"/>
                    </a:lnTo>
                    <a:lnTo>
                      <a:pt x="306" y="133"/>
                    </a:lnTo>
                    <a:lnTo>
                      <a:pt x="307" y="135"/>
                    </a:lnTo>
                    <a:lnTo>
                      <a:pt x="309" y="137"/>
                    </a:lnTo>
                    <a:lnTo>
                      <a:pt x="310" y="139"/>
                    </a:lnTo>
                    <a:lnTo>
                      <a:pt x="312" y="141"/>
                    </a:lnTo>
                    <a:lnTo>
                      <a:pt x="311" y="145"/>
                    </a:lnTo>
                    <a:lnTo>
                      <a:pt x="310" y="148"/>
                    </a:lnTo>
                    <a:lnTo>
                      <a:pt x="309" y="152"/>
                    </a:lnTo>
                    <a:lnTo>
                      <a:pt x="309" y="155"/>
                    </a:lnTo>
                    <a:lnTo>
                      <a:pt x="310" y="157"/>
                    </a:lnTo>
                    <a:lnTo>
                      <a:pt x="312" y="164"/>
                    </a:lnTo>
                    <a:lnTo>
                      <a:pt x="314" y="168"/>
                    </a:lnTo>
                    <a:lnTo>
                      <a:pt x="316" y="174"/>
                    </a:lnTo>
                    <a:lnTo>
                      <a:pt x="318" y="177"/>
                    </a:lnTo>
                    <a:lnTo>
                      <a:pt x="323" y="178"/>
                    </a:lnTo>
                    <a:lnTo>
                      <a:pt x="329" y="178"/>
                    </a:lnTo>
                    <a:lnTo>
                      <a:pt x="335" y="178"/>
                    </a:lnTo>
                    <a:lnTo>
                      <a:pt x="339" y="178"/>
                    </a:lnTo>
                    <a:lnTo>
                      <a:pt x="342" y="179"/>
                    </a:lnTo>
                    <a:lnTo>
                      <a:pt x="344" y="180"/>
                    </a:lnTo>
                    <a:lnTo>
                      <a:pt x="346" y="182"/>
                    </a:lnTo>
                    <a:lnTo>
                      <a:pt x="347" y="184"/>
                    </a:lnTo>
                    <a:lnTo>
                      <a:pt x="347" y="186"/>
                    </a:lnTo>
                    <a:lnTo>
                      <a:pt x="348" y="188"/>
                    </a:lnTo>
                    <a:lnTo>
                      <a:pt x="349" y="191"/>
                    </a:lnTo>
                    <a:lnTo>
                      <a:pt x="350" y="194"/>
                    </a:lnTo>
                    <a:lnTo>
                      <a:pt x="352" y="195"/>
                    </a:lnTo>
                    <a:lnTo>
                      <a:pt x="354" y="197"/>
                    </a:lnTo>
                    <a:lnTo>
                      <a:pt x="355" y="199"/>
                    </a:lnTo>
                    <a:lnTo>
                      <a:pt x="356" y="200"/>
                    </a:lnTo>
                    <a:lnTo>
                      <a:pt x="355" y="203"/>
                    </a:lnTo>
                    <a:lnTo>
                      <a:pt x="354" y="205"/>
                    </a:lnTo>
                    <a:lnTo>
                      <a:pt x="354" y="208"/>
                    </a:lnTo>
                    <a:lnTo>
                      <a:pt x="353" y="210"/>
                    </a:lnTo>
                    <a:lnTo>
                      <a:pt x="352" y="212"/>
                    </a:lnTo>
                    <a:lnTo>
                      <a:pt x="350" y="213"/>
                    </a:lnTo>
                    <a:lnTo>
                      <a:pt x="348" y="213"/>
                    </a:lnTo>
                    <a:lnTo>
                      <a:pt x="346" y="213"/>
                    </a:lnTo>
                    <a:lnTo>
                      <a:pt x="345" y="213"/>
                    </a:lnTo>
                    <a:lnTo>
                      <a:pt x="343" y="211"/>
                    </a:lnTo>
                    <a:lnTo>
                      <a:pt x="342" y="210"/>
                    </a:lnTo>
                    <a:lnTo>
                      <a:pt x="340" y="209"/>
                    </a:lnTo>
                    <a:lnTo>
                      <a:pt x="339" y="209"/>
                    </a:lnTo>
                    <a:lnTo>
                      <a:pt x="336" y="211"/>
                    </a:lnTo>
                    <a:lnTo>
                      <a:pt x="334" y="212"/>
                    </a:lnTo>
                    <a:lnTo>
                      <a:pt x="332" y="214"/>
                    </a:lnTo>
                    <a:lnTo>
                      <a:pt x="330" y="216"/>
                    </a:lnTo>
                    <a:lnTo>
                      <a:pt x="327" y="218"/>
                    </a:lnTo>
                    <a:lnTo>
                      <a:pt x="325" y="219"/>
                    </a:lnTo>
                    <a:lnTo>
                      <a:pt x="323" y="221"/>
                    </a:lnTo>
                    <a:lnTo>
                      <a:pt x="322" y="223"/>
                    </a:lnTo>
                    <a:lnTo>
                      <a:pt x="323" y="225"/>
                    </a:lnTo>
                    <a:lnTo>
                      <a:pt x="323" y="226"/>
                    </a:lnTo>
                    <a:lnTo>
                      <a:pt x="326" y="227"/>
                    </a:lnTo>
                    <a:lnTo>
                      <a:pt x="327" y="227"/>
                    </a:lnTo>
                    <a:lnTo>
                      <a:pt x="329" y="227"/>
                    </a:lnTo>
                    <a:lnTo>
                      <a:pt x="331" y="226"/>
                    </a:lnTo>
                    <a:lnTo>
                      <a:pt x="333" y="226"/>
                    </a:lnTo>
                    <a:lnTo>
                      <a:pt x="335" y="227"/>
                    </a:lnTo>
                    <a:lnTo>
                      <a:pt x="337" y="229"/>
                    </a:lnTo>
                    <a:lnTo>
                      <a:pt x="338" y="232"/>
                    </a:lnTo>
                    <a:lnTo>
                      <a:pt x="339" y="234"/>
                    </a:lnTo>
                    <a:lnTo>
                      <a:pt x="339" y="237"/>
                    </a:lnTo>
                    <a:lnTo>
                      <a:pt x="339" y="240"/>
                    </a:lnTo>
                    <a:lnTo>
                      <a:pt x="337" y="242"/>
                    </a:lnTo>
                    <a:lnTo>
                      <a:pt x="330" y="247"/>
                    </a:lnTo>
                    <a:lnTo>
                      <a:pt x="323" y="250"/>
                    </a:lnTo>
                    <a:lnTo>
                      <a:pt x="314" y="251"/>
                    </a:lnTo>
                    <a:lnTo>
                      <a:pt x="308" y="252"/>
                    </a:lnTo>
                    <a:lnTo>
                      <a:pt x="301" y="253"/>
                    </a:lnTo>
                    <a:lnTo>
                      <a:pt x="294" y="253"/>
                    </a:lnTo>
                    <a:lnTo>
                      <a:pt x="290" y="251"/>
                    </a:lnTo>
                    <a:lnTo>
                      <a:pt x="288" y="249"/>
                    </a:lnTo>
                    <a:lnTo>
                      <a:pt x="287" y="248"/>
                    </a:lnTo>
                    <a:lnTo>
                      <a:pt x="286" y="247"/>
                    </a:lnTo>
                    <a:lnTo>
                      <a:pt x="285" y="246"/>
                    </a:lnTo>
                    <a:lnTo>
                      <a:pt x="283" y="246"/>
                    </a:lnTo>
                    <a:lnTo>
                      <a:pt x="280" y="245"/>
                    </a:lnTo>
                    <a:lnTo>
                      <a:pt x="277" y="245"/>
                    </a:lnTo>
                    <a:lnTo>
                      <a:pt x="274" y="245"/>
                    </a:lnTo>
                    <a:lnTo>
                      <a:pt x="271" y="246"/>
                    </a:lnTo>
                    <a:lnTo>
                      <a:pt x="269" y="245"/>
                    </a:lnTo>
                    <a:lnTo>
                      <a:pt x="267" y="244"/>
                    </a:lnTo>
                    <a:lnTo>
                      <a:pt x="266" y="242"/>
                    </a:lnTo>
                    <a:lnTo>
                      <a:pt x="265" y="240"/>
                    </a:lnTo>
                    <a:lnTo>
                      <a:pt x="264" y="238"/>
                    </a:lnTo>
                    <a:lnTo>
                      <a:pt x="263" y="236"/>
                    </a:lnTo>
                    <a:lnTo>
                      <a:pt x="262" y="233"/>
                    </a:lnTo>
                    <a:lnTo>
                      <a:pt x="261" y="232"/>
                    </a:lnTo>
                    <a:lnTo>
                      <a:pt x="260" y="232"/>
                    </a:lnTo>
                    <a:lnTo>
                      <a:pt x="259" y="233"/>
                    </a:lnTo>
                    <a:lnTo>
                      <a:pt x="258" y="234"/>
                    </a:lnTo>
                    <a:lnTo>
                      <a:pt x="257" y="236"/>
                    </a:lnTo>
                    <a:lnTo>
                      <a:pt x="256" y="238"/>
                    </a:lnTo>
                    <a:lnTo>
                      <a:pt x="255" y="240"/>
                    </a:lnTo>
                    <a:lnTo>
                      <a:pt x="255" y="242"/>
                    </a:lnTo>
                    <a:lnTo>
                      <a:pt x="254" y="246"/>
                    </a:lnTo>
                    <a:lnTo>
                      <a:pt x="253" y="250"/>
                    </a:lnTo>
                    <a:lnTo>
                      <a:pt x="251" y="252"/>
                    </a:lnTo>
                    <a:lnTo>
                      <a:pt x="248" y="255"/>
                    </a:lnTo>
                    <a:lnTo>
                      <a:pt x="245" y="256"/>
                    </a:lnTo>
                    <a:lnTo>
                      <a:pt x="239" y="257"/>
                    </a:lnTo>
                    <a:lnTo>
                      <a:pt x="235" y="258"/>
                    </a:lnTo>
                    <a:lnTo>
                      <a:pt x="233" y="259"/>
                    </a:lnTo>
                    <a:lnTo>
                      <a:pt x="230" y="261"/>
                    </a:lnTo>
                    <a:lnTo>
                      <a:pt x="228" y="263"/>
                    </a:lnTo>
                    <a:lnTo>
                      <a:pt x="225" y="265"/>
                    </a:lnTo>
                    <a:lnTo>
                      <a:pt x="220" y="267"/>
                    </a:lnTo>
                    <a:lnTo>
                      <a:pt x="215" y="269"/>
                    </a:lnTo>
                    <a:lnTo>
                      <a:pt x="211" y="271"/>
                    </a:lnTo>
                    <a:lnTo>
                      <a:pt x="198" y="276"/>
                    </a:lnTo>
                    <a:lnTo>
                      <a:pt x="184" y="280"/>
                    </a:lnTo>
                    <a:lnTo>
                      <a:pt x="170" y="284"/>
                    </a:lnTo>
                    <a:lnTo>
                      <a:pt x="164" y="286"/>
                    </a:lnTo>
                    <a:lnTo>
                      <a:pt x="159" y="284"/>
                    </a:lnTo>
                    <a:lnTo>
                      <a:pt x="155" y="281"/>
                    </a:lnTo>
                    <a:lnTo>
                      <a:pt x="153" y="276"/>
                    </a:lnTo>
                    <a:lnTo>
                      <a:pt x="152" y="269"/>
                    </a:lnTo>
                    <a:lnTo>
                      <a:pt x="152" y="265"/>
                    </a:lnTo>
                    <a:lnTo>
                      <a:pt x="152" y="262"/>
                    </a:lnTo>
                    <a:lnTo>
                      <a:pt x="152" y="259"/>
                    </a:lnTo>
                    <a:lnTo>
                      <a:pt x="151" y="257"/>
                    </a:lnTo>
                    <a:lnTo>
                      <a:pt x="149" y="256"/>
                    </a:lnTo>
                    <a:lnTo>
                      <a:pt x="147" y="255"/>
                    </a:lnTo>
                    <a:lnTo>
                      <a:pt x="144" y="255"/>
                    </a:lnTo>
                    <a:lnTo>
                      <a:pt x="141" y="255"/>
                    </a:lnTo>
                    <a:lnTo>
                      <a:pt x="132" y="258"/>
                    </a:lnTo>
                    <a:lnTo>
                      <a:pt x="125" y="258"/>
                    </a:lnTo>
                    <a:lnTo>
                      <a:pt x="120" y="256"/>
                    </a:lnTo>
                    <a:lnTo>
                      <a:pt x="116" y="251"/>
                    </a:lnTo>
                    <a:lnTo>
                      <a:pt x="112" y="248"/>
                    </a:lnTo>
                    <a:lnTo>
                      <a:pt x="108" y="245"/>
                    </a:lnTo>
                    <a:lnTo>
                      <a:pt x="104" y="242"/>
                    </a:lnTo>
                    <a:lnTo>
                      <a:pt x="102" y="236"/>
                    </a:lnTo>
                    <a:lnTo>
                      <a:pt x="105" y="231"/>
                    </a:lnTo>
                    <a:lnTo>
                      <a:pt x="111" y="226"/>
                    </a:lnTo>
                    <a:lnTo>
                      <a:pt x="120" y="223"/>
                    </a:lnTo>
                    <a:lnTo>
                      <a:pt x="129" y="220"/>
                    </a:lnTo>
                    <a:lnTo>
                      <a:pt x="137" y="216"/>
                    </a:lnTo>
                    <a:lnTo>
                      <a:pt x="142" y="215"/>
                    </a:lnTo>
                    <a:lnTo>
                      <a:pt x="154" y="214"/>
                    </a:lnTo>
                    <a:lnTo>
                      <a:pt x="166" y="211"/>
                    </a:lnTo>
                    <a:lnTo>
                      <a:pt x="169" y="211"/>
                    </a:lnTo>
                    <a:lnTo>
                      <a:pt x="172" y="211"/>
                    </a:lnTo>
                    <a:lnTo>
                      <a:pt x="175" y="211"/>
                    </a:lnTo>
                    <a:lnTo>
                      <a:pt x="178" y="210"/>
                    </a:lnTo>
                    <a:lnTo>
                      <a:pt x="180" y="209"/>
                    </a:lnTo>
                    <a:lnTo>
                      <a:pt x="183" y="208"/>
                    </a:lnTo>
                    <a:lnTo>
                      <a:pt x="184" y="206"/>
                    </a:lnTo>
                    <a:lnTo>
                      <a:pt x="184" y="205"/>
                    </a:lnTo>
                    <a:lnTo>
                      <a:pt x="183" y="204"/>
                    </a:lnTo>
                    <a:lnTo>
                      <a:pt x="181" y="203"/>
                    </a:lnTo>
                    <a:lnTo>
                      <a:pt x="179" y="203"/>
                    </a:lnTo>
                    <a:lnTo>
                      <a:pt x="177" y="202"/>
                    </a:lnTo>
                    <a:lnTo>
                      <a:pt x="175" y="202"/>
                    </a:lnTo>
                    <a:lnTo>
                      <a:pt x="173" y="202"/>
                    </a:lnTo>
                    <a:lnTo>
                      <a:pt x="171" y="201"/>
                    </a:lnTo>
                    <a:lnTo>
                      <a:pt x="170" y="201"/>
                    </a:lnTo>
                    <a:lnTo>
                      <a:pt x="157" y="201"/>
                    </a:lnTo>
                    <a:lnTo>
                      <a:pt x="146" y="201"/>
                    </a:lnTo>
                    <a:lnTo>
                      <a:pt x="134" y="203"/>
                    </a:lnTo>
                    <a:lnTo>
                      <a:pt x="126" y="207"/>
                    </a:lnTo>
                    <a:lnTo>
                      <a:pt x="119" y="210"/>
                    </a:lnTo>
                    <a:lnTo>
                      <a:pt x="113" y="211"/>
                    </a:lnTo>
                    <a:lnTo>
                      <a:pt x="108" y="209"/>
                    </a:lnTo>
                    <a:lnTo>
                      <a:pt x="104" y="204"/>
                    </a:lnTo>
                    <a:lnTo>
                      <a:pt x="101" y="198"/>
                    </a:lnTo>
                    <a:lnTo>
                      <a:pt x="100" y="192"/>
                    </a:lnTo>
                    <a:lnTo>
                      <a:pt x="104" y="186"/>
                    </a:lnTo>
                    <a:lnTo>
                      <a:pt x="111" y="182"/>
                    </a:lnTo>
                    <a:lnTo>
                      <a:pt x="119" y="179"/>
                    </a:lnTo>
                    <a:lnTo>
                      <a:pt x="126" y="176"/>
                    </a:lnTo>
                    <a:lnTo>
                      <a:pt x="127" y="176"/>
                    </a:lnTo>
                    <a:lnTo>
                      <a:pt x="128" y="175"/>
                    </a:lnTo>
                    <a:lnTo>
                      <a:pt x="129" y="174"/>
                    </a:lnTo>
                    <a:lnTo>
                      <a:pt x="131" y="173"/>
                    </a:lnTo>
                    <a:lnTo>
                      <a:pt x="132" y="172"/>
                    </a:lnTo>
                    <a:lnTo>
                      <a:pt x="133" y="171"/>
                    </a:lnTo>
                    <a:lnTo>
                      <a:pt x="134" y="170"/>
                    </a:lnTo>
                    <a:lnTo>
                      <a:pt x="134" y="170"/>
                    </a:lnTo>
                    <a:lnTo>
                      <a:pt x="133" y="170"/>
                    </a:lnTo>
                    <a:lnTo>
                      <a:pt x="132" y="170"/>
                    </a:lnTo>
                    <a:lnTo>
                      <a:pt x="128" y="170"/>
                    </a:lnTo>
                    <a:lnTo>
                      <a:pt x="125" y="171"/>
                    </a:lnTo>
                    <a:lnTo>
                      <a:pt x="123" y="172"/>
                    </a:lnTo>
                    <a:lnTo>
                      <a:pt x="120" y="173"/>
                    </a:lnTo>
                    <a:lnTo>
                      <a:pt x="118" y="174"/>
                    </a:lnTo>
                    <a:lnTo>
                      <a:pt x="111" y="175"/>
                    </a:lnTo>
                    <a:lnTo>
                      <a:pt x="104" y="174"/>
                    </a:lnTo>
                    <a:lnTo>
                      <a:pt x="98" y="172"/>
                    </a:lnTo>
                    <a:lnTo>
                      <a:pt x="95" y="166"/>
                    </a:lnTo>
                    <a:lnTo>
                      <a:pt x="96" y="157"/>
                    </a:lnTo>
                    <a:lnTo>
                      <a:pt x="100" y="149"/>
                    </a:lnTo>
                    <a:lnTo>
                      <a:pt x="101" y="149"/>
                    </a:lnTo>
                    <a:lnTo>
                      <a:pt x="102" y="148"/>
                    </a:lnTo>
                    <a:lnTo>
                      <a:pt x="104" y="147"/>
                    </a:lnTo>
                    <a:lnTo>
                      <a:pt x="106" y="146"/>
                    </a:lnTo>
                    <a:lnTo>
                      <a:pt x="108" y="144"/>
                    </a:lnTo>
                    <a:lnTo>
                      <a:pt x="109" y="143"/>
                    </a:lnTo>
                    <a:lnTo>
                      <a:pt x="110" y="142"/>
                    </a:lnTo>
                    <a:lnTo>
                      <a:pt x="111" y="140"/>
                    </a:lnTo>
                    <a:lnTo>
                      <a:pt x="111" y="140"/>
                    </a:lnTo>
                    <a:lnTo>
                      <a:pt x="110" y="139"/>
                    </a:lnTo>
                    <a:lnTo>
                      <a:pt x="108" y="139"/>
                    </a:lnTo>
                    <a:lnTo>
                      <a:pt x="107" y="140"/>
                    </a:lnTo>
                    <a:lnTo>
                      <a:pt x="106" y="140"/>
                    </a:lnTo>
                    <a:lnTo>
                      <a:pt x="105" y="140"/>
                    </a:lnTo>
                    <a:lnTo>
                      <a:pt x="104" y="140"/>
                    </a:lnTo>
                    <a:lnTo>
                      <a:pt x="103" y="139"/>
                    </a:lnTo>
                    <a:lnTo>
                      <a:pt x="103" y="139"/>
                    </a:lnTo>
                    <a:lnTo>
                      <a:pt x="103" y="137"/>
                    </a:lnTo>
                    <a:lnTo>
                      <a:pt x="104" y="136"/>
                    </a:lnTo>
                    <a:lnTo>
                      <a:pt x="106" y="133"/>
                    </a:lnTo>
                    <a:lnTo>
                      <a:pt x="109" y="130"/>
                    </a:lnTo>
                    <a:lnTo>
                      <a:pt x="113" y="127"/>
                    </a:lnTo>
                    <a:lnTo>
                      <a:pt x="118" y="124"/>
                    </a:lnTo>
                    <a:lnTo>
                      <a:pt x="125" y="117"/>
                    </a:lnTo>
                    <a:lnTo>
                      <a:pt x="134" y="110"/>
                    </a:lnTo>
                    <a:lnTo>
                      <a:pt x="144" y="103"/>
                    </a:lnTo>
                    <a:lnTo>
                      <a:pt x="153" y="98"/>
                    </a:lnTo>
                    <a:lnTo>
                      <a:pt x="162" y="91"/>
                    </a:lnTo>
                    <a:lnTo>
                      <a:pt x="164" y="90"/>
                    </a:lnTo>
                    <a:lnTo>
                      <a:pt x="166" y="87"/>
                    </a:lnTo>
                    <a:lnTo>
                      <a:pt x="168" y="85"/>
                    </a:lnTo>
                    <a:lnTo>
                      <a:pt x="170" y="83"/>
                    </a:lnTo>
                    <a:lnTo>
                      <a:pt x="173" y="83"/>
                    </a:lnTo>
                    <a:lnTo>
                      <a:pt x="175" y="83"/>
                    </a:lnTo>
                    <a:lnTo>
                      <a:pt x="176" y="84"/>
                    </a:lnTo>
                    <a:lnTo>
                      <a:pt x="177" y="86"/>
                    </a:lnTo>
                    <a:lnTo>
                      <a:pt x="178" y="87"/>
                    </a:lnTo>
                    <a:lnTo>
                      <a:pt x="178" y="89"/>
                    </a:lnTo>
                    <a:lnTo>
                      <a:pt x="179" y="92"/>
                    </a:lnTo>
                    <a:lnTo>
                      <a:pt x="178" y="93"/>
                    </a:lnTo>
                    <a:lnTo>
                      <a:pt x="177" y="95"/>
                    </a:lnTo>
                    <a:lnTo>
                      <a:pt x="176" y="97"/>
                    </a:lnTo>
                    <a:lnTo>
                      <a:pt x="176" y="99"/>
                    </a:lnTo>
                    <a:lnTo>
                      <a:pt x="174" y="102"/>
                    </a:lnTo>
                    <a:lnTo>
                      <a:pt x="171" y="106"/>
                    </a:lnTo>
                    <a:lnTo>
                      <a:pt x="168" y="109"/>
                    </a:lnTo>
                    <a:lnTo>
                      <a:pt x="164" y="113"/>
                    </a:lnTo>
                    <a:lnTo>
                      <a:pt x="163" y="116"/>
                    </a:lnTo>
                    <a:lnTo>
                      <a:pt x="163" y="118"/>
                    </a:lnTo>
                    <a:lnTo>
                      <a:pt x="166" y="118"/>
                    </a:lnTo>
                    <a:lnTo>
                      <a:pt x="178" y="112"/>
                    </a:lnTo>
                    <a:lnTo>
                      <a:pt x="179" y="109"/>
                    </a:lnTo>
                    <a:lnTo>
                      <a:pt x="180" y="106"/>
                    </a:lnTo>
                    <a:lnTo>
                      <a:pt x="181" y="103"/>
                    </a:lnTo>
                    <a:lnTo>
                      <a:pt x="182" y="101"/>
                    </a:lnTo>
                    <a:lnTo>
                      <a:pt x="187" y="97"/>
                    </a:lnTo>
                    <a:lnTo>
                      <a:pt x="193" y="96"/>
                    </a:lnTo>
                    <a:lnTo>
                      <a:pt x="199" y="96"/>
                    </a:lnTo>
                    <a:lnTo>
                      <a:pt x="203" y="97"/>
                    </a:lnTo>
                    <a:lnTo>
                      <a:pt x="206" y="98"/>
                    </a:lnTo>
                    <a:lnTo>
                      <a:pt x="208" y="100"/>
                    </a:lnTo>
                    <a:lnTo>
                      <a:pt x="209" y="102"/>
                    </a:lnTo>
                    <a:lnTo>
                      <a:pt x="210" y="104"/>
                    </a:lnTo>
                    <a:lnTo>
                      <a:pt x="210" y="108"/>
                    </a:lnTo>
                    <a:lnTo>
                      <a:pt x="209" y="112"/>
                    </a:lnTo>
                    <a:lnTo>
                      <a:pt x="208" y="113"/>
                    </a:lnTo>
                    <a:lnTo>
                      <a:pt x="207" y="115"/>
                    </a:lnTo>
                    <a:lnTo>
                      <a:pt x="207" y="116"/>
                    </a:lnTo>
                    <a:lnTo>
                      <a:pt x="206" y="117"/>
                    </a:lnTo>
                    <a:lnTo>
                      <a:pt x="206" y="118"/>
                    </a:lnTo>
                    <a:lnTo>
                      <a:pt x="206" y="119"/>
                    </a:lnTo>
                    <a:lnTo>
                      <a:pt x="206" y="119"/>
                    </a:lnTo>
                    <a:lnTo>
                      <a:pt x="207" y="119"/>
                    </a:lnTo>
                    <a:lnTo>
                      <a:pt x="209" y="118"/>
                    </a:lnTo>
                    <a:lnTo>
                      <a:pt x="211" y="116"/>
                    </a:lnTo>
                    <a:lnTo>
                      <a:pt x="213" y="113"/>
                    </a:lnTo>
                    <a:lnTo>
                      <a:pt x="216" y="111"/>
                    </a:lnTo>
                    <a:lnTo>
                      <a:pt x="218" y="110"/>
                    </a:lnTo>
                    <a:lnTo>
                      <a:pt x="221" y="110"/>
                    </a:lnTo>
                    <a:lnTo>
                      <a:pt x="222" y="110"/>
                    </a:lnTo>
                    <a:lnTo>
                      <a:pt x="224" y="109"/>
                    </a:lnTo>
                    <a:lnTo>
                      <a:pt x="226" y="108"/>
                    </a:lnTo>
                    <a:lnTo>
                      <a:pt x="228" y="107"/>
                    </a:lnTo>
                    <a:lnTo>
                      <a:pt x="229" y="106"/>
                    </a:lnTo>
                    <a:lnTo>
                      <a:pt x="229" y="102"/>
                    </a:lnTo>
                    <a:lnTo>
                      <a:pt x="228" y="100"/>
                    </a:lnTo>
                    <a:lnTo>
                      <a:pt x="227" y="97"/>
                    </a:lnTo>
                    <a:lnTo>
                      <a:pt x="226" y="95"/>
                    </a:lnTo>
                    <a:lnTo>
                      <a:pt x="225" y="92"/>
                    </a:lnTo>
                    <a:lnTo>
                      <a:pt x="225" y="89"/>
                    </a:lnTo>
                    <a:lnTo>
                      <a:pt x="224" y="88"/>
                    </a:lnTo>
                    <a:lnTo>
                      <a:pt x="225" y="88"/>
                    </a:lnTo>
                    <a:lnTo>
                      <a:pt x="227" y="88"/>
                    </a:lnTo>
                    <a:lnTo>
                      <a:pt x="229" y="88"/>
                    </a:lnTo>
                    <a:lnTo>
                      <a:pt x="231" y="88"/>
                    </a:lnTo>
                    <a:lnTo>
                      <a:pt x="233" y="88"/>
                    </a:lnTo>
                    <a:lnTo>
                      <a:pt x="236" y="89"/>
                    </a:lnTo>
                    <a:lnTo>
                      <a:pt x="237" y="89"/>
                    </a:lnTo>
                    <a:lnTo>
                      <a:pt x="239" y="89"/>
                    </a:lnTo>
                    <a:lnTo>
                      <a:pt x="245" y="95"/>
                    </a:lnTo>
                    <a:lnTo>
                      <a:pt x="248" y="103"/>
                    </a:lnTo>
                    <a:lnTo>
                      <a:pt x="249" y="112"/>
                    </a:lnTo>
                    <a:lnTo>
                      <a:pt x="250" y="121"/>
                    </a:lnTo>
                    <a:lnTo>
                      <a:pt x="251" y="130"/>
                    </a:lnTo>
                    <a:lnTo>
                      <a:pt x="251" y="137"/>
                    </a:lnTo>
                    <a:lnTo>
                      <a:pt x="252" y="138"/>
                    </a:lnTo>
                    <a:lnTo>
                      <a:pt x="252" y="139"/>
                    </a:lnTo>
                    <a:lnTo>
                      <a:pt x="253" y="140"/>
                    </a:lnTo>
                    <a:lnTo>
                      <a:pt x="253" y="141"/>
                    </a:lnTo>
                    <a:lnTo>
                      <a:pt x="255" y="141"/>
                    </a:lnTo>
                    <a:lnTo>
                      <a:pt x="257" y="140"/>
                    </a:lnTo>
                    <a:lnTo>
                      <a:pt x="259" y="139"/>
                    </a:lnTo>
                    <a:lnTo>
                      <a:pt x="261" y="137"/>
                    </a:lnTo>
                    <a:lnTo>
                      <a:pt x="263" y="134"/>
                    </a:lnTo>
                    <a:lnTo>
                      <a:pt x="264" y="131"/>
                    </a:lnTo>
                    <a:lnTo>
                      <a:pt x="264" y="129"/>
                    </a:lnTo>
                    <a:lnTo>
                      <a:pt x="263" y="126"/>
                    </a:lnTo>
                    <a:lnTo>
                      <a:pt x="263" y="124"/>
                    </a:lnTo>
                    <a:lnTo>
                      <a:pt x="262" y="120"/>
                    </a:lnTo>
                    <a:lnTo>
                      <a:pt x="262" y="117"/>
                    </a:lnTo>
                    <a:lnTo>
                      <a:pt x="262" y="114"/>
                    </a:lnTo>
                    <a:lnTo>
                      <a:pt x="262" y="111"/>
                    </a:lnTo>
                    <a:lnTo>
                      <a:pt x="261" y="108"/>
                    </a:lnTo>
                    <a:lnTo>
                      <a:pt x="261" y="85"/>
                    </a:lnTo>
                    <a:lnTo>
                      <a:pt x="261" y="84"/>
                    </a:lnTo>
                    <a:lnTo>
                      <a:pt x="261" y="82"/>
                    </a:lnTo>
                    <a:lnTo>
                      <a:pt x="262" y="79"/>
                    </a:lnTo>
                    <a:lnTo>
                      <a:pt x="263" y="77"/>
                    </a:lnTo>
                    <a:lnTo>
                      <a:pt x="265" y="76"/>
                    </a:lnTo>
                    <a:lnTo>
                      <a:pt x="268" y="75"/>
                    </a:lnTo>
                    <a:lnTo>
                      <a:pt x="271" y="75"/>
                    </a:lnTo>
                    <a:lnTo>
                      <a:pt x="272" y="75"/>
                    </a:lnTo>
                    <a:lnTo>
                      <a:pt x="274" y="76"/>
                    </a:lnTo>
                    <a:lnTo>
                      <a:pt x="275" y="78"/>
                    </a:lnTo>
                    <a:lnTo>
                      <a:pt x="278" y="78"/>
                    </a:lnTo>
                    <a:lnTo>
                      <a:pt x="280" y="79"/>
                    </a:lnTo>
                    <a:lnTo>
                      <a:pt x="283" y="79"/>
                    </a:lnTo>
                    <a:lnTo>
                      <a:pt x="286" y="79"/>
                    </a:lnTo>
                    <a:lnTo>
                      <a:pt x="290" y="80"/>
                    </a:lnTo>
                    <a:lnTo>
                      <a:pt x="292" y="81"/>
                    </a:lnTo>
                    <a:lnTo>
                      <a:pt x="293" y="82"/>
                    </a:lnTo>
                    <a:lnTo>
                      <a:pt x="294" y="84"/>
                    </a:lnTo>
                    <a:lnTo>
                      <a:pt x="295" y="86"/>
                    </a:lnTo>
                    <a:lnTo>
                      <a:pt x="296" y="87"/>
                    </a:lnTo>
                    <a:lnTo>
                      <a:pt x="298" y="87"/>
                    </a:lnTo>
                    <a:lnTo>
                      <a:pt x="300" y="87"/>
                    </a:lnTo>
                    <a:lnTo>
                      <a:pt x="301" y="86"/>
                    </a:lnTo>
                    <a:lnTo>
                      <a:pt x="301" y="84"/>
                    </a:lnTo>
                    <a:lnTo>
                      <a:pt x="301" y="82"/>
                    </a:lnTo>
                    <a:lnTo>
                      <a:pt x="301" y="80"/>
                    </a:lnTo>
                    <a:lnTo>
                      <a:pt x="300" y="78"/>
                    </a:lnTo>
                    <a:lnTo>
                      <a:pt x="300" y="77"/>
                    </a:lnTo>
                    <a:lnTo>
                      <a:pt x="300" y="76"/>
                    </a:lnTo>
                    <a:lnTo>
                      <a:pt x="298" y="73"/>
                    </a:lnTo>
                    <a:lnTo>
                      <a:pt x="296" y="71"/>
                    </a:lnTo>
                    <a:lnTo>
                      <a:pt x="293" y="69"/>
                    </a:lnTo>
                    <a:lnTo>
                      <a:pt x="290" y="68"/>
                    </a:lnTo>
                    <a:lnTo>
                      <a:pt x="288" y="67"/>
                    </a:lnTo>
                    <a:lnTo>
                      <a:pt x="286" y="66"/>
                    </a:lnTo>
                    <a:lnTo>
                      <a:pt x="284" y="66"/>
                    </a:lnTo>
                    <a:lnTo>
                      <a:pt x="283" y="65"/>
                    </a:lnTo>
                    <a:lnTo>
                      <a:pt x="283" y="64"/>
                    </a:lnTo>
                    <a:lnTo>
                      <a:pt x="283" y="62"/>
                    </a:lnTo>
                    <a:lnTo>
                      <a:pt x="284" y="60"/>
                    </a:lnTo>
                    <a:lnTo>
                      <a:pt x="286" y="57"/>
                    </a:lnTo>
                    <a:lnTo>
                      <a:pt x="287" y="56"/>
                    </a:lnTo>
                    <a:lnTo>
                      <a:pt x="291" y="54"/>
                    </a:lnTo>
                    <a:lnTo>
                      <a:pt x="294" y="54"/>
                    </a:lnTo>
                    <a:lnTo>
                      <a:pt x="301" y="52"/>
                    </a:lnTo>
                    <a:lnTo>
                      <a:pt x="309" y="51"/>
                    </a:lnTo>
                    <a:close/>
                    <a:moveTo>
                      <a:pt x="1877" y="50"/>
                    </a:moveTo>
                    <a:lnTo>
                      <a:pt x="1884" y="54"/>
                    </a:lnTo>
                    <a:lnTo>
                      <a:pt x="1884" y="55"/>
                    </a:lnTo>
                    <a:lnTo>
                      <a:pt x="1884" y="56"/>
                    </a:lnTo>
                    <a:lnTo>
                      <a:pt x="1884" y="57"/>
                    </a:lnTo>
                    <a:lnTo>
                      <a:pt x="1884" y="57"/>
                    </a:lnTo>
                    <a:lnTo>
                      <a:pt x="1884" y="57"/>
                    </a:lnTo>
                    <a:lnTo>
                      <a:pt x="1884" y="56"/>
                    </a:lnTo>
                    <a:lnTo>
                      <a:pt x="1881" y="54"/>
                    </a:lnTo>
                    <a:lnTo>
                      <a:pt x="1879" y="53"/>
                    </a:lnTo>
                    <a:lnTo>
                      <a:pt x="1878" y="52"/>
                    </a:lnTo>
                    <a:lnTo>
                      <a:pt x="1877" y="50"/>
                    </a:lnTo>
                    <a:close/>
                    <a:moveTo>
                      <a:pt x="86" y="45"/>
                    </a:moveTo>
                    <a:lnTo>
                      <a:pt x="87" y="45"/>
                    </a:lnTo>
                    <a:lnTo>
                      <a:pt x="89" y="46"/>
                    </a:lnTo>
                    <a:lnTo>
                      <a:pt x="89" y="48"/>
                    </a:lnTo>
                    <a:lnTo>
                      <a:pt x="90" y="51"/>
                    </a:lnTo>
                    <a:lnTo>
                      <a:pt x="91" y="53"/>
                    </a:lnTo>
                    <a:lnTo>
                      <a:pt x="92" y="54"/>
                    </a:lnTo>
                    <a:lnTo>
                      <a:pt x="94" y="55"/>
                    </a:lnTo>
                    <a:lnTo>
                      <a:pt x="97" y="56"/>
                    </a:lnTo>
                    <a:lnTo>
                      <a:pt x="99" y="57"/>
                    </a:lnTo>
                    <a:lnTo>
                      <a:pt x="102" y="58"/>
                    </a:lnTo>
                    <a:lnTo>
                      <a:pt x="105" y="59"/>
                    </a:lnTo>
                    <a:lnTo>
                      <a:pt x="107" y="61"/>
                    </a:lnTo>
                    <a:lnTo>
                      <a:pt x="109" y="62"/>
                    </a:lnTo>
                    <a:lnTo>
                      <a:pt x="112" y="62"/>
                    </a:lnTo>
                    <a:lnTo>
                      <a:pt x="114" y="62"/>
                    </a:lnTo>
                    <a:lnTo>
                      <a:pt x="116" y="60"/>
                    </a:lnTo>
                    <a:lnTo>
                      <a:pt x="118" y="59"/>
                    </a:lnTo>
                    <a:lnTo>
                      <a:pt x="119" y="57"/>
                    </a:lnTo>
                    <a:lnTo>
                      <a:pt x="120" y="56"/>
                    </a:lnTo>
                    <a:lnTo>
                      <a:pt x="127" y="51"/>
                    </a:lnTo>
                    <a:lnTo>
                      <a:pt x="134" y="51"/>
                    </a:lnTo>
                    <a:lnTo>
                      <a:pt x="141" y="54"/>
                    </a:lnTo>
                    <a:lnTo>
                      <a:pt x="146" y="58"/>
                    </a:lnTo>
                    <a:lnTo>
                      <a:pt x="150" y="63"/>
                    </a:lnTo>
                    <a:lnTo>
                      <a:pt x="152" y="66"/>
                    </a:lnTo>
                    <a:lnTo>
                      <a:pt x="154" y="68"/>
                    </a:lnTo>
                    <a:lnTo>
                      <a:pt x="156" y="71"/>
                    </a:lnTo>
                    <a:lnTo>
                      <a:pt x="158" y="73"/>
                    </a:lnTo>
                    <a:lnTo>
                      <a:pt x="159" y="76"/>
                    </a:lnTo>
                    <a:lnTo>
                      <a:pt x="158" y="78"/>
                    </a:lnTo>
                    <a:lnTo>
                      <a:pt x="157" y="81"/>
                    </a:lnTo>
                    <a:lnTo>
                      <a:pt x="154" y="84"/>
                    </a:lnTo>
                    <a:lnTo>
                      <a:pt x="152" y="86"/>
                    </a:lnTo>
                    <a:lnTo>
                      <a:pt x="149" y="88"/>
                    </a:lnTo>
                    <a:lnTo>
                      <a:pt x="146" y="90"/>
                    </a:lnTo>
                    <a:lnTo>
                      <a:pt x="136" y="95"/>
                    </a:lnTo>
                    <a:lnTo>
                      <a:pt x="127" y="100"/>
                    </a:lnTo>
                    <a:lnTo>
                      <a:pt x="124" y="102"/>
                    </a:lnTo>
                    <a:lnTo>
                      <a:pt x="122" y="106"/>
                    </a:lnTo>
                    <a:lnTo>
                      <a:pt x="120" y="109"/>
                    </a:lnTo>
                    <a:lnTo>
                      <a:pt x="118" y="112"/>
                    </a:lnTo>
                    <a:lnTo>
                      <a:pt x="114" y="114"/>
                    </a:lnTo>
                    <a:lnTo>
                      <a:pt x="110" y="116"/>
                    </a:lnTo>
                    <a:lnTo>
                      <a:pt x="107" y="119"/>
                    </a:lnTo>
                    <a:lnTo>
                      <a:pt x="104" y="122"/>
                    </a:lnTo>
                    <a:lnTo>
                      <a:pt x="101" y="125"/>
                    </a:lnTo>
                    <a:lnTo>
                      <a:pt x="99" y="129"/>
                    </a:lnTo>
                    <a:lnTo>
                      <a:pt x="97" y="133"/>
                    </a:lnTo>
                    <a:lnTo>
                      <a:pt x="94" y="136"/>
                    </a:lnTo>
                    <a:lnTo>
                      <a:pt x="92" y="139"/>
                    </a:lnTo>
                    <a:lnTo>
                      <a:pt x="89" y="141"/>
                    </a:lnTo>
                    <a:lnTo>
                      <a:pt x="87" y="143"/>
                    </a:lnTo>
                    <a:lnTo>
                      <a:pt x="84" y="144"/>
                    </a:lnTo>
                    <a:lnTo>
                      <a:pt x="77" y="150"/>
                    </a:lnTo>
                    <a:lnTo>
                      <a:pt x="74" y="158"/>
                    </a:lnTo>
                    <a:lnTo>
                      <a:pt x="72" y="167"/>
                    </a:lnTo>
                    <a:lnTo>
                      <a:pt x="70" y="176"/>
                    </a:lnTo>
                    <a:lnTo>
                      <a:pt x="65" y="183"/>
                    </a:lnTo>
                    <a:lnTo>
                      <a:pt x="59" y="187"/>
                    </a:lnTo>
                    <a:lnTo>
                      <a:pt x="53" y="190"/>
                    </a:lnTo>
                    <a:lnTo>
                      <a:pt x="46" y="194"/>
                    </a:lnTo>
                    <a:lnTo>
                      <a:pt x="38" y="201"/>
                    </a:lnTo>
                    <a:lnTo>
                      <a:pt x="30" y="210"/>
                    </a:lnTo>
                    <a:lnTo>
                      <a:pt x="28" y="210"/>
                    </a:lnTo>
                    <a:lnTo>
                      <a:pt x="26" y="210"/>
                    </a:lnTo>
                    <a:lnTo>
                      <a:pt x="25" y="209"/>
                    </a:lnTo>
                    <a:lnTo>
                      <a:pt x="25" y="208"/>
                    </a:lnTo>
                    <a:lnTo>
                      <a:pt x="24" y="206"/>
                    </a:lnTo>
                    <a:lnTo>
                      <a:pt x="24" y="205"/>
                    </a:lnTo>
                    <a:lnTo>
                      <a:pt x="24" y="204"/>
                    </a:lnTo>
                    <a:lnTo>
                      <a:pt x="23" y="200"/>
                    </a:lnTo>
                    <a:lnTo>
                      <a:pt x="22" y="196"/>
                    </a:lnTo>
                    <a:lnTo>
                      <a:pt x="20" y="192"/>
                    </a:lnTo>
                    <a:lnTo>
                      <a:pt x="16" y="187"/>
                    </a:lnTo>
                    <a:lnTo>
                      <a:pt x="13" y="182"/>
                    </a:lnTo>
                    <a:lnTo>
                      <a:pt x="10" y="178"/>
                    </a:lnTo>
                    <a:lnTo>
                      <a:pt x="4" y="176"/>
                    </a:lnTo>
                    <a:lnTo>
                      <a:pt x="2" y="175"/>
                    </a:lnTo>
                    <a:lnTo>
                      <a:pt x="1" y="174"/>
                    </a:lnTo>
                    <a:lnTo>
                      <a:pt x="0" y="173"/>
                    </a:lnTo>
                    <a:lnTo>
                      <a:pt x="1" y="171"/>
                    </a:lnTo>
                    <a:lnTo>
                      <a:pt x="2" y="169"/>
                    </a:lnTo>
                    <a:lnTo>
                      <a:pt x="3" y="167"/>
                    </a:lnTo>
                    <a:lnTo>
                      <a:pt x="4" y="165"/>
                    </a:lnTo>
                    <a:lnTo>
                      <a:pt x="6" y="163"/>
                    </a:lnTo>
                    <a:lnTo>
                      <a:pt x="12" y="153"/>
                    </a:lnTo>
                    <a:lnTo>
                      <a:pt x="16" y="142"/>
                    </a:lnTo>
                    <a:lnTo>
                      <a:pt x="22" y="130"/>
                    </a:lnTo>
                    <a:lnTo>
                      <a:pt x="24" y="118"/>
                    </a:lnTo>
                    <a:lnTo>
                      <a:pt x="24" y="112"/>
                    </a:lnTo>
                    <a:lnTo>
                      <a:pt x="24" y="104"/>
                    </a:lnTo>
                    <a:lnTo>
                      <a:pt x="26" y="96"/>
                    </a:lnTo>
                    <a:lnTo>
                      <a:pt x="27" y="97"/>
                    </a:lnTo>
                    <a:lnTo>
                      <a:pt x="29" y="98"/>
                    </a:lnTo>
                    <a:lnTo>
                      <a:pt x="30" y="99"/>
                    </a:lnTo>
                    <a:lnTo>
                      <a:pt x="33" y="100"/>
                    </a:lnTo>
                    <a:lnTo>
                      <a:pt x="34" y="101"/>
                    </a:lnTo>
                    <a:lnTo>
                      <a:pt x="35" y="100"/>
                    </a:lnTo>
                    <a:lnTo>
                      <a:pt x="38" y="98"/>
                    </a:lnTo>
                    <a:lnTo>
                      <a:pt x="39" y="95"/>
                    </a:lnTo>
                    <a:lnTo>
                      <a:pt x="41" y="92"/>
                    </a:lnTo>
                    <a:lnTo>
                      <a:pt x="41" y="90"/>
                    </a:lnTo>
                    <a:lnTo>
                      <a:pt x="42" y="88"/>
                    </a:lnTo>
                    <a:lnTo>
                      <a:pt x="40" y="87"/>
                    </a:lnTo>
                    <a:lnTo>
                      <a:pt x="39" y="86"/>
                    </a:lnTo>
                    <a:lnTo>
                      <a:pt x="38" y="85"/>
                    </a:lnTo>
                    <a:lnTo>
                      <a:pt x="36" y="83"/>
                    </a:lnTo>
                    <a:lnTo>
                      <a:pt x="35" y="82"/>
                    </a:lnTo>
                    <a:lnTo>
                      <a:pt x="35" y="80"/>
                    </a:lnTo>
                    <a:lnTo>
                      <a:pt x="35" y="78"/>
                    </a:lnTo>
                    <a:lnTo>
                      <a:pt x="36" y="76"/>
                    </a:lnTo>
                    <a:lnTo>
                      <a:pt x="37" y="74"/>
                    </a:lnTo>
                    <a:lnTo>
                      <a:pt x="37" y="72"/>
                    </a:lnTo>
                    <a:lnTo>
                      <a:pt x="38" y="70"/>
                    </a:lnTo>
                    <a:lnTo>
                      <a:pt x="39" y="68"/>
                    </a:lnTo>
                    <a:lnTo>
                      <a:pt x="43" y="66"/>
                    </a:lnTo>
                    <a:lnTo>
                      <a:pt x="46" y="64"/>
                    </a:lnTo>
                    <a:lnTo>
                      <a:pt x="50" y="62"/>
                    </a:lnTo>
                    <a:lnTo>
                      <a:pt x="62" y="56"/>
                    </a:lnTo>
                    <a:lnTo>
                      <a:pt x="64" y="56"/>
                    </a:lnTo>
                    <a:lnTo>
                      <a:pt x="66" y="56"/>
                    </a:lnTo>
                    <a:lnTo>
                      <a:pt x="69" y="55"/>
                    </a:lnTo>
                    <a:lnTo>
                      <a:pt x="72" y="54"/>
                    </a:lnTo>
                    <a:lnTo>
                      <a:pt x="74" y="52"/>
                    </a:lnTo>
                    <a:lnTo>
                      <a:pt x="76" y="48"/>
                    </a:lnTo>
                    <a:lnTo>
                      <a:pt x="79" y="46"/>
                    </a:lnTo>
                    <a:lnTo>
                      <a:pt x="82" y="45"/>
                    </a:lnTo>
                    <a:lnTo>
                      <a:pt x="86" y="45"/>
                    </a:lnTo>
                    <a:close/>
                    <a:moveTo>
                      <a:pt x="1848" y="42"/>
                    </a:moveTo>
                    <a:lnTo>
                      <a:pt x="1850" y="42"/>
                    </a:lnTo>
                    <a:lnTo>
                      <a:pt x="1851" y="44"/>
                    </a:lnTo>
                    <a:lnTo>
                      <a:pt x="1852" y="46"/>
                    </a:lnTo>
                    <a:lnTo>
                      <a:pt x="1853" y="50"/>
                    </a:lnTo>
                    <a:lnTo>
                      <a:pt x="1854" y="53"/>
                    </a:lnTo>
                    <a:lnTo>
                      <a:pt x="1855" y="55"/>
                    </a:lnTo>
                    <a:lnTo>
                      <a:pt x="1855" y="57"/>
                    </a:lnTo>
                    <a:lnTo>
                      <a:pt x="1854" y="58"/>
                    </a:lnTo>
                    <a:lnTo>
                      <a:pt x="1854" y="59"/>
                    </a:lnTo>
                    <a:lnTo>
                      <a:pt x="1855" y="61"/>
                    </a:lnTo>
                    <a:lnTo>
                      <a:pt x="1857" y="62"/>
                    </a:lnTo>
                    <a:lnTo>
                      <a:pt x="1857" y="62"/>
                    </a:lnTo>
                    <a:lnTo>
                      <a:pt x="1858" y="62"/>
                    </a:lnTo>
                    <a:lnTo>
                      <a:pt x="1860" y="63"/>
                    </a:lnTo>
                    <a:lnTo>
                      <a:pt x="1861" y="64"/>
                    </a:lnTo>
                    <a:lnTo>
                      <a:pt x="1862" y="66"/>
                    </a:lnTo>
                    <a:lnTo>
                      <a:pt x="1863" y="68"/>
                    </a:lnTo>
                    <a:lnTo>
                      <a:pt x="1864" y="70"/>
                    </a:lnTo>
                    <a:lnTo>
                      <a:pt x="1864" y="71"/>
                    </a:lnTo>
                    <a:lnTo>
                      <a:pt x="1863" y="72"/>
                    </a:lnTo>
                    <a:lnTo>
                      <a:pt x="1863" y="73"/>
                    </a:lnTo>
                    <a:lnTo>
                      <a:pt x="1863" y="75"/>
                    </a:lnTo>
                    <a:lnTo>
                      <a:pt x="1864" y="77"/>
                    </a:lnTo>
                    <a:lnTo>
                      <a:pt x="1865" y="79"/>
                    </a:lnTo>
                    <a:lnTo>
                      <a:pt x="1867" y="80"/>
                    </a:lnTo>
                    <a:lnTo>
                      <a:pt x="1870" y="82"/>
                    </a:lnTo>
                    <a:lnTo>
                      <a:pt x="1872" y="84"/>
                    </a:lnTo>
                    <a:lnTo>
                      <a:pt x="1874" y="86"/>
                    </a:lnTo>
                    <a:lnTo>
                      <a:pt x="1876" y="88"/>
                    </a:lnTo>
                    <a:lnTo>
                      <a:pt x="1876" y="90"/>
                    </a:lnTo>
                    <a:lnTo>
                      <a:pt x="1875" y="92"/>
                    </a:lnTo>
                    <a:lnTo>
                      <a:pt x="1875" y="93"/>
                    </a:lnTo>
                    <a:lnTo>
                      <a:pt x="1874" y="94"/>
                    </a:lnTo>
                    <a:lnTo>
                      <a:pt x="1874" y="95"/>
                    </a:lnTo>
                    <a:lnTo>
                      <a:pt x="1874" y="96"/>
                    </a:lnTo>
                    <a:lnTo>
                      <a:pt x="1873" y="97"/>
                    </a:lnTo>
                    <a:lnTo>
                      <a:pt x="1873" y="99"/>
                    </a:lnTo>
                    <a:lnTo>
                      <a:pt x="1874" y="100"/>
                    </a:lnTo>
                    <a:lnTo>
                      <a:pt x="1874" y="102"/>
                    </a:lnTo>
                    <a:lnTo>
                      <a:pt x="1874" y="108"/>
                    </a:lnTo>
                    <a:lnTo>
                      <a:pt x="1873" y="109"/>
                    </a:lnTo>
                    <a:lnTo>
                      <a:pt x="1873" y="109"/>
                    </a:lnTo>
                    <a:lnTo>
                      <a:pt x="1872" y="109"/>
                    </a:lnTo>
                    <a:lnTo>
                      <a:pt x="1871" y="108"/>
                    </a:lnTo>
                    <a:lnTo>
                      <a:pt x="1870" y="106"/>
                    </a:lnTo>
                    <a:lnTo>
                      <a:pt x="1869" y="103"/>
                    </a:lnTo>
                    <a:lnTo>
                      <a:pt x="1868" y="101"/>
                    </a:lnTo>
                    <a:lnTo>
                      <a:pt x="1867" y="99"/>
                    </a:lnTo>
                    <a:lnTo>
                      <a:pt x="1866" y="96"/>
                    </a:lnTo>
                    <a:lnTo>
                      <a:pt x="1864" y="94"/>
                    </a:lnTo>
                    <a:lnTo>
                      <a:pt x="1862" y="94"/>
                    </a:lnTo>
                    <a:lnTo>
                      <a:pt x="1861" y="94"/>
                    </a:lnTo>
                    <a:lnTo>
                      <a:pt x="1860" y="92"/>
                    </a:lnTo>
                    <a:lnTo>
                      <a:pt x="1859" y="90"/>
                    </a:lnTo>
                    <a:lnTo>
                      <a:pt x="1857" y="89"/>
                    </a:lnTo>
                    <a:lnTo>
                      <a:pt x="1856" y="87"/>
                    </a:lnTo>
                    <a:lnTo>
                      <a:pt x="1856" y="84"/>
                    </a:lnTo>
                    <a:lnTo>
                      <a:pt x="1855" y="82"/>
                    </a:lnTo>
                    <a:lnTo>
                      <a:pt x="1855" y="81"/>
                    </a:lnTo>
                    <a:lnTo>
                      <a:pt x="1855" y="78"/>
                    </a:lnTo>
                    <a:lnTo>
                      <a:pt x="1855" y="76"/>
                    </a:lnTo>
                    <a:lnTo>
                      <a:pt x="1855" y="73"/>
                    </a:lnTo>
                    <a:lnTo>
                      <a:pt x="1854" y="71"/>
                    </a:lnTo>
                    <a:lnTo>
                      <a:pt x="1852" y="68"/>
                    </a:lnTo>
                    <a:lnTo>
                      <a:pt x="1851" y="65"/>
                    </a:lnTo>
                    <a:lnTo>
                      <a:pt x="1851" y="63"/>
                    </a:lnTo>
                    <a:lnTo>
                      <a:pt x="1850" y="62"/>
                    </a:lnTo>
                    <a:lnTo>
                      <a:pt x="1850" y="60"/>
                    </a:lnTo>
                    <a:lnTo>
                      <a:pt x="1851" y="60"/>
                    </a:lnTo>
                    <a:lnTo>
                      <a:pt x="1851" y="59"/>
                    </a:lnTo>
                    <a:lnTo>
                      <a:pt x="1851" y="58"/>
                    </a:lnTo>
                    <a:lnTo>
                      <a:pt x="1850" y="57"/>
                    </a:lnTo>
                    <a:lnTo>
                      <a:pt x="1849" y="55"/>
                    </a:lnTo>
                    <a:lnTo>
                      <a:pt x="1848" y="53"/>
                    </a:lnTo>
                    <a:lnTo>
                      <a:pt x="1846" y="52"/>
                    </a:lnTo>
                    <a:lnTo>
                      <a:pt x="1845" y="51"/>
                    </a:lnTo>
                    <a:lnTo>
                      <a:pt x="1844" y="48"/>
                    </a:lnTo>
                    <a:lnTo>
                      <a:pt x="1844" y="46"/>
                    </a:lnTo>
                    <a:lnTo>
                      <a:pt x="1845" y="45"/>
                    </a:lnTo>
                    <a:lnTo>
                      <a:pt x="1846" y="44"/>
                    </a:lnTo>
                    <a:lnTo>
                      <a:pt x="1847" y="43"/>
                    </a:lnTo>
                    <a:lnTo>
                      <a:pt x="1847" y="43"/>
                    </a:lnTo>
                    <a:lnTo>
                      <a:pt x="1848" y="42"/>
                    </a:lnTo>
                    <a:close/>
                    <a:moveTo>
                      <a:pt x="2007" y="41"/>
                    </a:moveTo>
                    <a:lnTo>
                      <a:pt x="2008" y="41"/>
                    </a:lnTo>
                    <a:lnTo>
                      <a:pt x="2009" y="42"/>
                    </a:lnTo>
                    <a:lnTo>
                      <a:pt x="2011" y="42"/>
                    </a:lnTo>
                    <a:lnTo>
                      <a:pt x="2013" y="43"/>
                    </a:lnTo>
                    <a:lnTo>
                      <a:pt x="2016" y="44"/>
                    </a:lnTo>
                    <a:lnTo>
                      <a:pt x="2018" y="44"/>
                    </a:lnTo>
                    <a:lnTo>
                      <a:pt x="2021" y="45"/>
                    </a:lnTo>
                    <a:lnTo>
                      <a:pt x="2023" y="46"/>
                    </a:lnTo>
                    <a:lnTo>
                      <a:pt x="2023" y="47"/>
                    </a:lnTo>
                    <a:lnTo>
                      <a:pt x="2023" y="47"/>
                    </a:lnTo>
                    <a:lnTo>
                      <a:pt x="2021" y="48"/>
                    </a:lnTo>
                    <a:lnTo>
                      <a:pt x="2019" y="48"/>
                    </a:lnTo>
                    <a:lnTo>
                      <a:pt x="2017" y="47"/>
                    </a:lnTo>
                    <a:lnTo>
                      <a:pt x="2015" y="47"/>
                    </a:lnTo>
                    <a:lnTo>
                      <a:pt x="2014" y="47"/>
                    </a:lnTo>
                    <a:lnTo>
                      <a:pt x="2013" y="47"/>
                    </a:lnTo>
                    <a:lnTo>
                      <a:pt x="2010" y="46"/>
                    </a:lnTo>
                    <a:lnTo>
                      <a:pt x="2008" y="45"/>
                    </a:lnTo>
                    <a:lnTo>
                      <a:pt x="2007" y="44"/>
                    </a:lnTo>
                    <a:lnTo>
                      <a:pt x="2007" y="43"/>
                    </a:lnTo>
                    <a:lnTo>
                      <a:pt x="2007" y="42"/>
                    </a:lnTo>
                    <a:lnTo>
                      <a:pt x="2007" y="41"/>
                    </a:lnTo>
                    <a:close/>
                    <a:moveTo>
                      <a:pt x="2000" y="41"/>
                    </a:moveTo>
                    <a:lnTo>
                      <a:pt x="2001" y="41"/>
                    </a:lnTo>
                    <a:lnTo>
                      <a:pt x="2003" y="42"/>
                    </a:lnTo>
                    <a:lnTo>
                      <a:pt x="2003" y="44"/>
                    </a:lnTo>
                    <a:lnTo>
                      <a:pt x="2003" y="45"/>
                    </a:lnTo>
                    <a:lnTo>
                      <a:pt x="2004" y="46"/>
                    </a:lnTo>
                    <a:lnTo>
                      <a:pt x="2005" y="48"/>
                    </a:lnTo>
                    <a:lnTo>
                      <a:pt x="2008" y="50"/>
                    </a:lnTo>
                    <a:lnTo>
                      <a:pt x="2008" y="50"/>
                    </a:lnTo>
                    <a:lnTo>
                      <a:pt x="2008" y="50"/>
                    </a:lnTo>
                    <a:lnTo>
                      <a:pt x="2008" y="48"/>
                    </a:lnTo>
                    <a:lnTo>
                      <a:pt x="2009" y="48"/>
                    </a:lnTo>
                    <a:lnTo>
                      <a:pt x="2010" y="50"/>
                    </a:lnTo>
                    <a:lnTo>
                      <a:pt x="2010" y="52"/>
                    </a:lnTo>
                    <a:lnTo>
                      <a:pt x="2012" y="53"/>
                    </a:lnTo>
                    <a:lnTo>
                      <a:pt x="2013" y="55"/>
                    </a:lnTo>
                    <a:lnTo>
                      <a:pt x="2015" y="57"/>
                    </a:lnTo>
                    <a:lnTo>
                      <a:pt x="2015" y="58"/>
                    </a:lnTo>
                    <a:lnTo>
                      <a:pt x="2013" y="58"/>
                    </a:lnTo>
                    <a:lnTo>
                      <a:pt x="2010" y="57"/>
                    </a:lnTo>
                    <a:lnTo>
                      <a:pt x="2008" y="55"/>
                    </a:lnTo>
                    <a:lnTo>
                      <a:pt x="2006" y="54"/>
                    </a:lnTo>
                    <a:lnTo>
                      <a:pt x="2004" y="52"/>
                    </a:lnTo>
                    <a:lnTo>
                      <a:pt x="2002" y="51"/>
                    </a:lnTo>
                    <a:lnTo>
                      <a:pt x="2001" y="50"/>
                    </a:lnTo>
                    <a:lnTo>
                      <a:pt x="2000" y="50"/>
                    </a:lnTo>
                    <a:lnTo>
                      <a:pt x="1999" y="50"/>
                    </a:lnTo>
                    <a:lnTo>
                      <a:pt x="1999" y="48"/>
                    </a:lnTo>
                    <a:lnTo>
                      <a:pt x="1998" y="47"/>
                    </a:lnTo>
                    <a:lnTo>
                      <a:pt x="1998" y="42"/>
                    </a:lnTo>
                    <a:lnTo>
                      <a:pt x="1999" y="41"/>
                    </a:lnTo>
                    <a:lnTo>
                      <a:pt x="2000" y="41"/>
                    </a:lnTo>
                    <a:close/>
                    <a:moveTo>
                      <a:pt x="431" y="26"/>
                    </a:moveTo>
                    <a:lnTo>
                      <a:pt x="437" y="26"/>
                    </a:lnTo>
                    <a:lnTo>
                      <a:pt x="440" y="28"/>
                    </a:lnTo>
                    <a:lnTo>
                      <a:pt x="442" y="30"/>
                    </a:lnTo>
                    <a:lnTo>
                      <a:pt x="442" y="33"/>
                    </a:lnTo>
                    <a:lnTo>
                      <a:pt x="441" y="36"/>
                    </a:lnTo>
                    <a:lnTo>
                      <a:pt x="439" y="39"/>
                    </a:lnTo>
                    <a:lnTo>
                      <a:pt x="434" y="44"/>
                    </a:lnTo>
                    <a:lnTo>
                      <a:pt x="428" y="50"/>
                    </a:lnTo>
                    <a:lnTo>
                      <a:pt x="423" y="55"/>
                    </a:lnTo>
                    <a:lnTo>
                      <a:pt x="421" y="60"/>
                    </a:lnTo>
                    <a:lnTo>
                      <a:pt x="424" y="65"/>
                    </a:lnTo>
                    <a:lnTo>
                      <a:pt x="427" y="65"/>
                    </a:lnTo>
                    <a:lnTo>
                      <a:pt x="432" y="64"/>
                    </a:lnTo>
                    <a:lnTo>
                      <a:pt x="436" y="62"/>
                    </a:lnTo>
                    <a:lnTo>
                      <a:pt x="439" y="61"/>
                    </a:lnTo>
                    <a:lnTo>
                      <a:pt x="441" y="65"/>
                    </a:lnTo>
                    <a:lnTo>
                      <a:pt x="441" y="69"/>
                    </a:lnTo>
                    <a:lnTo>
                      <a:pt x="440" y="73"/>
                    </a:lnTo>
                    <a:lnTo>
                      <a:pt x="439" y="77"/>
                    </a:lnTo>
                    <a:lnTo>
                      <a:pt x="439" y="79"/>
                    </a:lnTo>
                    <a:lnTo>
                      <a:pt x="439" y="81"/>
                    </a:lnTo>
                    <a:lnTo>
                      <a:pt x="439" y="83"/>
                    </a:lnTo>
                    <a:lnTo>
                      <a:pt x="440" y="85"/>
                    </a:lnTo>
                    <a:lnTo>
                      <a:pt x="441" y="87"/>
                    </a:lnTo>
                    <a:lnTo>
                      <a:pt x="443" y="92"/>
                    </a:lnTo>
                    <a:lnTo>
                      <a:pt x="443" y="99"/>
                    </a:lnTo>
                    <a:lnTo>
                      <a:pt x="441" y="106"/>
                    </a:lnTo>
                    <a:lnTo>
                      <a:pt x="438" y="113"/>
                    </a:lnTo>
                    <a:lnTo>
                      <a:pt x="431" y="120"/>
                    </a:lnTo>
                    <a:lnTo>
                      <a:pt x="424" y="126"/>
                    </a:lnTo>
                    <a:lnTo>
                      <a:pt x="421" y="126"/>
                    </a:lnTo>
                    <a:lnTo>
                      <a:pt x="419" y="126"/>
                    </a:lnTo>
                    <a:lnTo>
                      <a:pt x="417" y="127"/>
                    </a:lnTo>
                    <a:lnTo>
                      <a:pt x="415" y="128"/>
                    </a:lnTo>
                    <a:lnTo>
                      <a:pt x="414" y="130"/>
                    </a:lnTo>
                    <a:lnTo>
                      <a:pt x="413" y="132"/>
                    </a:lnTo>
                    <a:lnTo>
                      <a:pt x="412" y="134"/>
                    </a:lnTo>
                    <a:lnTo>
                      <a:pt x="412" y="136"/>
                    </a:lnTo>
                    <a:lnTo>
                      <a:pt x="409" y="139"/>
                    </a:lnTo>
                    <a:lnTo>
                      <a:pt x="406" y="141"/>
                    </a:lnTo>
                    <a:lnTo>
                      <a:pt x="403" y="142"/>
                    </a:lnTo>
                    <a:lnTo>
                      <a:pt x="399" y="141"/>
                    </a:lnTo>
                    <a:lnTo>
                      <a:pt x="396" y="140"/>
                    </a:lnTo>
                    <a:lnTo>
                      <a:pt x="393" y="137"/>
                    </a:lnTo>
                    <a:lnTo>
                      <a:pt x="390" y="135"/>
                    </a:lnTo>
                    <a:lnTo>
                      <a:pt x="389" y="132"/>
                    </a:lnTo>
                    <a:lnTo>
                      <a:pt x="387" y="129"/>
                    </a:lnTo>
                    <a:lnTo>
                      <a:pt x="385" y="126"/>
                    </a:lnTo>
                    <a:lnTo>
                      <a:pt x="383" y="123"/>
                    </a:lnTo>
                    <a:lnTo>
                      <a:pt x="381" y="120"/>
                    </a:lnTo>
                    <a:lnTo>
                      <a:pt x="378" y="118"/>
                    </a:lnTo>
                    <a:lnTo>
                      <a:pt x="374" y="117"/>
                    </a:lnTo>
                    <a:lnTo>
                      <a:pt x="369" y="116"/>
                    </a:lnTo>
                    <a:lnTo>
                      <a:pt x="367" y="114"/>
                    </a:lnTo>
                    <a:lnTo>
                      <a:pt x="365" y="112"/>
                    </a:lnTo>
                    <a:lnTo>
                      <a:pt x="364" y="110"/>
                    </a:lnTo>
                    <a:lnTo>
                      <a:pt x="363" y="108"/>
                    </a:lnTo>
                    <a:lnTo>
                      <a:pt x="362" y="106"/>
                    </a:lnTo>
                    <a:lnTo>
                      <a:pt x="360" y="103"/>
                    </a:lnTo>
                    <a:lnTo>
                      <a:pt x="359" y="102"/>
                    </a:lnTo>
                    <a:lnTo>
                      <a:pt x="357" y="101"/>
                    </a:lnTo>
                    <a:lnTo>
                      <a:pt x="356" y="99"/>
                    </a:lnTo>
                    <a:lnTo>
                      <a:pt x="353" y="96"/>
                    </a:lnTo>
                    <a:lnTo>
                      <a:pt x="352" y="93"/>
                    </a:lnTo>
                    <a:lnTo>
                      <a:pt x="351" y="90"/>
                    </a:lnTo>
                    <a:lnTo>
                      <a:pt x="352" y="86"/>
                    </a:lnTo>
                    <a:lnTo>
                      <a:pt x="354" y="83"/>
                    </a:lnTo>
                    <a:lnTo>
                      <a:pt x="354" y="81"/>
                    </a:lnTo>
                    <a:lnTo>
                      <a:pt x="355" y="79"/>
                    </a:lnTo>
                    <a:lnTo>
                      <a:pt x="356" y="78"/>
                    </a:lnTo>
                    <a:lnTo>
                      <a:pt x="357" y="76"/>
                    </a:lnTo>
                    <a:lnTo>
                      <a:pt x="358" y="75"/>
                    </a:lnTo>
                    <a:lnTo>
                      <a:pt x="359" y="75"/>
                    </a:lnTo>
                    <a:lnTo>
                      <a:pt x="361" y="75"/>
                    </a:lnTo>
                    <a:lnTo>
                      <a:pt x="361" y="77"/>
                    </a:lnTo>
                    <a:lnTo>
                      <a:pt x="363" y="79"/>
                    </a:lnTo>
                    <a:lnTo>
                      <a:pt x="365" y="81"/>
                    </a:lnTo>
                    <a:lnTo>
                      <a:pt x="367" y="83"/>
                    </a:lnTo>
                    <a:lnTo>
                      <a:pt x="369" y="84"/>
                    </a:lnTo>
                    <a:lnTo>
                      <a:pt x="372" y="84"/>
                    </a:lnTo>
                    <a:lnTo>
                      <a:pt x="375" y="83"/>
                    </a:lnTo>
                    <a:lnTo>
                      <a:pt x="378" y="80"/>
                    </a:lnTo>
                    <a:lnTo>
                      <a:pt x="380" y="77"/>
                    </a:lnTo>
                    <a:lnTo>
                      <a:pt x="382" y="73"/>
                    </a:lnTo>
                    <a:lnTo>
                      <a:pt x="382" y="70"/>
                    </a:lnTo>
                    <a:lnTo>
                      <a:pt x="381" y="67"/>
                    </a:lnTo>
                    <a:lnTo>
                      <a:pt x="381" y="65"/>
                    </a:lnTo>
                    <a:lnTo>
                      <a:pt x="379" y="63"/>
                    </a:lnTo>
                    <a:lnTo>
                      <a:pt x="378" y="62"/>
                    </a:lnTo>
                    <a:lnTo>
                      <a:pt x="376" y="60"/>
                    </a:lnTo>
                    <a:lnTo>
                      <a:pt x="375" y="58"/>
                    </a:lnTo>
                    <a:lnTo>
                      <a:pt x="374" y="56"/>
                    </a:lnTo>
                    <a:lnTo>
                      <a:pt x="374" y="54"/>
                    </a:lnTo>
                    <a:lnTo>
                      <a:pt x="375" y="53"/>
                    </a:lnTo>
                    <a:lnTo>
                      <a:pt x="378" y="52"/>
                    </a:lnTo>
                    <a:lnTo>
                      <a:pt x="380" y="51"/>
                    </a:lnTo>
                    <a:lnTo>
                      <a:pt x="380" y="50"/>
                    </a:lnTo>
                    <a:lnTo>
                      <a:pt x="379" y="50"/>
                    </a:lnTo>
                    <a:lnTo>
                      <a:pt x="377" y="48"/>
                    </a:lnTo>
                    <a:lnTo>
                      <a:pt x="375" y="46"/>
                    </a:lnTo>
                    <a:lnTo>
                      <a:pt x="375" y="44"/>
                    </a:lnTo>
                    <a:lnTo>
                      <a:pt x="375" y="41"/>
                    </a:lnTo>
                    <a:lnTo>
                      <a:pt x="376" y="38"/>
                    </a:lnTo>
                    <a:lnTo>
                      <a:pt x="379" y="36"/>
                    </a:lnTo>
                    <a:lnTo>
                      <a:pt x="383" y="34"/>
                    </a:lnTo>
                    <a:lnTo>
                      <a:pt x="386" y="33"/>
                    </a:lnTo>
                    <a:lnTo>
                      <a:pt x="389" y="32"/>
                    </a:lnTo>
                    <a:lnTo>
                      <a:pt x="393" y="32"/>
                    </a:lnTo>
                    <a:lnTo>
                      <a:pt x="396" y="32"/>
                    </a:lnTo>
                    <a:lnTo>
                      <a:pt x="398" y="32"/>
                    </a:lnTo>
                    <a:lnTo>
                      <a:pt x="400" y="33"/>
                    </a:lnTo>
                    <a:lnTo>
                      <a:pt x="401" y="34"/>
                    </a:lnTo>
                    <a:lnTo>
                      <a:pt x="402" y="35"/>
                    </a:lnTo>
                    <a:lnTo>
                      <a:pt x="403" y="37"/>
                    </a:lnTo>
                    <a:lnTo>
                      <a:pt x="404" y="38"/>
                    </a:lnTo>
                    <a:lnTo>
                      <a:pt x="406" y="38"/>
                    </a:lnTo>
                    <a:lnTo>
                      <a:pt x="409" y="38"/>
                    </a:lnTo>
                    <a:lnTo>
                      <a:pt x="411" y="37"/>
                    </a:lnTo>
                    <a:lnTo>
                      <a:pt x="414" y="36"/>
                    </a:lnTo>
                    <a:lnTo>
                      <a:pt x="416" y="35"/>
                    </a:lnTo>
                    <a:lnTo>
                      <a:pt x="418" y="34"/>
                    </a:lnTo>
                    <a:lnTo>
                      <a:pt x="423" y="31"/>
                    </a:lnTo>
                    <a:lnTo>
                      <a:pt x="427" y="28"/>
                    </a:lnTo>
                    <a:lnTo>
                      <a:pt x="431" y="26"/>
                    </a:lnTo>
                    <a:close/>
                    <a:moveTo>
                      <a:pt x="2047" y="25"/>
                    </a:moveTo>
                    <a:lnTo>
                      <a:pt x="2048" y="25"/>
                    </a:lnTo>
                    <a:lnTo>
                      <a:pt x="2049" y="26"/>
                    </a:lnTo>
                    <a:lnTo>
                      <a:pt x="2050" y="28"/>
                    </a:lnTo>
                    <a:lnTo>
                      <a:pt x="2051" y="29"/>
                    </a:lnTo>
                    <a:lnTo>
                      <a:pt x="2052" y="30"/>
                    </a:lnTo>
                    <a:lnTo>
                      <a:pt x="2052" y="31"/>
                    </a:lnTo>
                    <a:lnTo>
                      <a:pt x="2052" y="32"/>
                    </a:lnTo>
                    <a:lnTo>
                      <a:pt x="2052" y="33"/>
                    </a:lnTo>
                    <a:lnTo>
                      <a:pt x="2053" y="34"/>
                    </a:lnTo>
                    <a:lnTo>
                      <a:pt x="2055" y="35"/>
                    </a:lnTo>
                    <a:lnTo>
                      <a:pt x="2058" y="36"/>
                    </a:lnTo>
                    <a:lnTo>
                      <a:pt x="2058" y="36"/>
                    </a:lnTo>
                    <a:lnTo>
                      <a:pt x="2059" y="37"/>
                    </a:lnTo>
                    <a:lnTo>
                      <a:pt x="2060" y="38"/>
                    </a:lnTo>
                    <a:lnTo>
                      <a:pt x="2062" y="40"/>
                    </a:lnTo>
                    <a:lnTo>
                      <a:pt x="2062" y="41"/>
                    </a:lnTo>
                    <a:lnTo>
                      <a:pt x="2063" y="42"/>
                    </a:lnTo>
                    <a:lnTo>
                      <a:pt x="2062" y="43"/>
                    </a:lnTo>
                    <a:lnTo>
                      <a:pt x="2061" y="43"/>
                    </a:lnTo>
                    <a:lnTo>
                      <a:pt x="2058" y="41"/>
                    </a:lnTo>
                    <a:lnTo>
                      <a:pt x="2057" y="42"/>
                    </a:lnTo>
                    <a:lnTo>
                      <a:pt x="2057" y="43"/>
                    </a:lnTo>
                    <a:lnTo>
                      <a:pt x="2058" y="44"/>
                    </a:lnTo>
                    <a:lnTo>
                      <a:pt x="2059" y="45"/>
                    </a:lnTo>
                    <a:lnTo>
                      <a:pt x="2061" y="46"/>
                    </a:lnTo>
                    <a:lnTo>
                      <a:pt x="2061" y="48"/>
                    </a:lnTo>
                    <a:lnTo>
                      <a:pt x="2062" y="50"/>
                    </a:lnTo>
                    <a:lnTo>
                      <a:pt x="2063" y="52"/>
                    </a:lnTo>
                    <a:lnTo>
                      <a:pt x="2064" y="53"/>
                    </a:lnTo>
                    <a:lnTo>
                      <a:pt x="2064" y="54"/>
                    </a:lnTo>
                    <a:lnTo>
                      <a:pt x="2064" y="54"/>
                    </a:lnTo>
                    <a:lnTo>
                      <a:pt x="2063" y="54"/>
                    </a:lnTo>
                    <a:lnTo>
                      <a:pt x="2061" y="54"/>
                    </a:lnTo>
                    <a:lnTo>
                      <a:pt x="2059" y="53"/>
                    </a:lnTo>
                    <a:lnTo>
                      <a:pt x="2058" y="53"/>
                    </a:lnTo>
                    <a:lnTo>
                      <a:pt x="2056" y="52"/>
                    </a:lnTo>
                    <a:lnTo>
                      <a:pt x="2055" y="52"/>
                    </a:lnTo>
                    <a:lnTo>
                      <a:pt x="2055" y="53"/>
                    </a:lnTo>
                    <a:lnTo>
                      <a:pt x="2055" y="54"/>
                    </a:lnTo>
                    <a:lnTo>
                      <a:pt x="2053" y="53"/>
                    </a:lnTo>
                    <a:lnTo>
                      <a:pt x="2051" y="52"/>
                    </a:lnTo>
                    <a:lnTo>
                      <a:pt x="2049" y="48"/>
                    </a:lnTo>
                    <a:lnTo>
                      <a:pt x="2048" y="47"/>
                    </a:lnTo>
                    <a:lnTo>
                      <a:pt x="2048" y="46"/>
                    </a:lnTo>
                    <a:lnTo>
                      <a:pt x="2045" y="44"/>
                    </a:lnTo>
                    <a:lnTo>
                      <a:pt x="2044" y="43"/>
                    </a:lnTo>
                    <a:lnTo>
                      <a:pt x="2044" y="42"/>
                    </a:lnTo>
                    <a:lnTo>
                      <a:pt x="2044" y="40"/>
                    </a:lnTo>
                    <a:lnTo>
                      <a:pt x="2044" y="38"/>
                    </a:lnTo>
                    <a:lnTo>
                      <a:pt x="2043" y="37"/>
                    </a:lnTo>
                    <a:lnTo>
                      <a:pt x="2043" y="36"/>
                    </a:lnTo>
                    <a:lnTo>
                      <a:pt x="2043" y="35"/>
                    </a:lnTo>
                    <a:lnTo>
                      <a:pt x="2044" y="34"/>
                    </a:lnTo>
                    <a:lnTo>
                      <a:pt x="2046" y="34"/>
                    </a:lnTo>
                    <a:lnTo>
                      <a:pt x="2046" y="34"/>
                    </a:lnTo>
                    <a:lnTo>
                      <a:pt x="2046" y="33"/>
                    </a:lnTo>
                    <a:lnTo>
                      <a:pt x="2045" y="33"/>
                    </a:lnTo>
                    <a:lnTo>
                      <a:pt x="2044" y="32"/>
                    </a:lnTo>
                    <a:lnTo>
                      <a:pt x="2043" y="32"/>
                    </a:lnTo>
                    <a:lnTo>
                      <a:pt x="2041" y="31"/>
                    </a:lnTo>
                    <a:lnTo>
                      <a:pt x="2042" y="29"/>
                    </a:lnTo>
                    <a:lnTo>
                      <a:pt x="2043" y="28"/>
                    </a:lnTo>
                    <a:lnTo>
                      <a:pt x="2045" y="26"/>
                    </a:lnTo>
                    <a:lnTo>
                      <a:pt x="2047" y="25"/>
                    </a:lnTo>
                    <a:lnTo>
                      <a:pt x="2047" y="25"/>
                    </a:lnTo>
                    <a:close/>
                    <a:moveTo>
                      <a:pt x="629" y="15"/>
                    </a:moveTo>
                    <a:lnTo>
                      <a:pt x="633" y="16"/>
                    </a:lnTo>
                    <a:lnTo>
                      <a:pt x="637" y="16"/>
                    </a:lnTo>
                    <a:lnTo>
                      <a:pt x="639" y="18"/>
                    </a:lnTo>
                    <a:lnTo>
                      <a:pt x="641" y="19"/>
                    </a:lnTo>
                    <a:lnTo>
                      <a:pt x="642" y="21"/>
                    </a:lnTo>
                    <a:lnTo>
                      <a:pt x="641" y="24"/>
                    </a:lnTo>
                    <a:lnTo>
                      <a:pt x="639" y="26"/>
                    </a:lnTo>
                    <a:lnTo>
                      <a:pt x="635" y="29"/>
                    </a:lnTo>
                    <a:lnTo>
                      <a:pt x="633" y="31"/>
                    </a:lnTo>
                    <a:lnTo>
                      <a:pt x="632" y="33"/>
                    </a:lnTo>
                    <a:lnTo>
                      <a:pt x="631" y="36"/>
                    </a:lnTo>
                    <a:lnTo>
                      <a:pt x="629" y="39"/>
                    </a:lnTo>
                    <a:lnTo>
                      <a:pt x="627" y="41"/>
                    </a:lnTo>
                    <a:lnTo>
                      <a:pt x="624" y="43"/>
                    </a:lnTo>
                    <a:lnTo>
                      <a:pt x="622" y="44"/>
                    </a:lnTo>
                    <a:lnTo>
                      <a:pt x="620" y="46"/>
                    </a:lnTo>
                    <a:lnTo>
                      <a:pt x="618" y="48"/>
                    </a:lnTo>
                    <a:lnTo>
                      <a:pt x="615" y="50"/>
                    </a:lnTo>
                    <a:lnTo>
                      <a:pt x="613" y="53"/>
                    </a:lnTo>
                    <a:lnTo>
                      <a:pt x="611" y="55"/>
                    </a:lnTo>
                    <a:lnTo>
                      <a:pt x="609" y="58"/>
                    </a:lnTo>
                    <a:lnTo>
                      <a:pt x="608" y="61"/>
                    </a:lnTo>
                    <a:lnTo>
                      <a:pt x="607" y="64"/>
                    </a:lnTo>
                    <a:lnTo>
                      <a:pt x="609" y="68"/>
                    </a:lnTo>
                    <a:lnTo>
                      <a:pt x="611" y="71"/>
                    </a:lnTo>
                    <a:lnTo>
                      <a:pt x="613" y="74"/>
                    </a:lnTo>
                    <a:lnTo>
                      <a:pt x="614" y="80"/>
                    </a:lnTo>
                    <a:lnTo>
                      <a:pt x="612" y="86"/>
                    </a:lnTo>
                    <a:lnTo>
                      <a:pt x="611" y="92"/>
                    </a:lnTo>
                    <a:lnTo>
                      <a:pt x="612" y="95"/>
                    </a:lnTo>
                    <a:lnTo>
                      <a:pt x="614" y="98"/>
                    </a:lnTo>
                    <a:lnTo>
                      <a:pt x="616" y="101"/>
                    </a:lnTo>
                    <a:lnTo>
                      <a:pt x="617" y="104"/>
                    </a:lnTo>
                    <a:lnTo>
                      <a:pt x="619" y="107"/>
                    </a:lnTo>
                    <a:lnTo>
                      <a:pt x="620" y="109"/>
                    </a:lnTo>
                    <a:lnTo>
                      <a:pt x="620" y="111"/>
                    </a:lnTo>
                    <a:lnTo>
                      <a:pt x="621" y="113"/>
                    </a:lnTo>
                    <a:lnTo>
                      <a:pt x="623" y="115"/>
                    </a:lnTo>
                    <a:lnTo>
                      <a:pt x="625" y="117"/>
                    </a:lnTo>
                    <a:lnTo>
                      <a:pt x="627" y="118"/>
                    </a:lnTo>
                    <a:lnTo>
                      <a:pt x="631" y="119"/>
                    </a:lnTo>
                    <a:lnTo>
                      <a:pt x="634" y="119"/>
                    </a:lnTo>
                    <a:lnTo>
                      <a:pt x="636" y="119"/>
                    </a:lnTo>
                    <a:lnTo>
                      <a:pt x="637" y="119"/>
                    </a:lnTo>
                    <a:lnTo>
                      <a:pt x="637" y="118"/>
                    </a:lnTo>
                    <a:lnTo>
                      <a:pt x="637" y="117"/>
                    </a:lnTo>
                    <a:lnTo>
                      <a:pt x="637" y="115"/>
                    </a:lnTo>
                    <a:lnTo>
                      <a:pt x="636" y="113"/>
                    </a:lnTo>
                    <a:lnTo>
                      <a:pt x="635" y="111"/>
                    </a:lnTo>
                    <a:lnTo>
                      <a:pt x="634" y="110"/>
                    </a:lnTo>
                    <a:lnTo>
                      <a:pt x="632" y="108"/>
                    </a:lnTo>
                    <a:lnTo>
                      <a:pt x="631" y="107"/>
                    </a:lnTo>
                    <a:lnTo>
                      <a:pt x="628" y="103"/>
                    </a:lnTo>
                    <a:lnTo>
                      <a:pt x="625" y="98"/>
                    </a:lnTo>
                    <a:lnTo>
                      <a:pt x="623" y="93"/>
                    </a:lnTo>
                    <a:lnTo>
                      <a:pt x="623" y="89"/>
                    </a:lnTo>
                    <a:lnTo>
                      <a:pt x="627" y="86"/>
                    </a:lnTo>
                    <a:lnTo>
                      <a:pt x="631" y="84"/>
                    </a:lnTo>
                    <a:lnTo>
                      <a:pt x="633" y="82"/>
                    </a:lnTo>
                    <a:lnTo>
                      <a:pt x="635" y="81"/>
                    </a:lnTo>
                    <a:lnTo>
                      <a:pt x="636" y="80"/>
                    </a:lnTo>
                    <a:lnTo>
                      <a:pt x="636" y="78"/>
                    </a:lnTo>
                    <a:lnTo>
                      <a:pt x="635" y="77"/>
                    </a:lnTo>
                    <a:lnTo>
                      <a:pt x="634" y="75"/>
                    </a:lnTo>
                    <a:lnTo>
                      <a:pt x="631" y="72"/>
                    </a:lnTo>
                    <a:lnTo>
                      <a:pt x="630" y="71"/>
                    </a:lnTo>
                    <a:lnTo>
                      <a:pt x="628" y="69"/>
                    </a:lnTo>
                    <a:lnTo>
                      <a:pt x="627" y="67"/>
                    </a:lnTo>
                    <a:lnTo>
                      <a:pt x="625" y="65"/>
                    </a:lnTo>
                    <a:lnTo>
                      <a:pt x="625" y="62"/>
                    </a:lnTo>
                    <a:lnTo>
                      <a:pt x="625" y="60"/>
                    </a:lnTo>
                    <a:lnTo>
                      <a:pt x="626" y="58"/>
                    </a:lnTo>
                    <a:lnTo>
                      <a:pt x="627" y="56"/>
                    </a:lnTo>
                    <a:lnTo>
                      <a:pt x="629" y="55"/>
                    </a:lnTo>
                    <a:lnTo>
                      <a:pt x="631" y="54"/>
                    </a:lnTo>
                    <a:lnTo>
                      <a:pt x="633" y="53"/>
                    </a:lnTo>
                    <a:lnTo>
                      <a:pt x="635" y="52"/>
                    </a:lnTo>
                    <a:lnTo>
                      <a:pt x="637" y="51"/>
                    </a:lnTo>
                    <a:lnTo>
                      <a:pt x="637" y="50"/>
                    </a:lnTo>
                    <a:lnTo>
                      <a:pt x="637" y="47"/>
                    </a:lnTo>
                    <a:lnTo>
                      <a:pt x="636" y="45"/>
                    </a:lnTo>
                    <a:lnTo>
                      <a:pt x="637" y="43"/>
                    </a:lnTo>
                    <a:lnTo>
                      <a:pt x="637" y="43"/>
                    </a:lnTo>
                    <a:lnTo>
                      <a:pt x="638" y="41"/>
                    </a:lnTo>
                    <a:lnTo>
                      <a:pt x="638" y="39"/>
                    </a:lnTo>
                    <a:lnTo>
                      <a:pt x="639" y="37"/>
                    </a:lnTo>
                    <a:lnTo>
                      <a:pt x="639" y="35"/>
                    </a:lnTo>
                    <a:lnTo>
                      <a:pt x="639" y="33"/>
                    </a:lnTo>
                    <a:lnTo>
                      <a:pt x="649" y="33"/>
                    </a:lnTo>
                    <a:lnTo>
                      <a:pt x="653" y="32"/>
                    </a:lnTo>
                    <a:lnTo>
                      <a:pt x="655" y="30"/>
                    </a:lnTo>
                    <a:lnTo>
                      <a:pt x="656" y="28"/>
                    </a:lnTo>
                    <a:lnTo>
                      <a:pt x="658" y="26"/>
                    </a:lnTo>
                    <a:lnTo>
                      <a:pt x="660" y="23"/>
                    </a:lnTo>
                    <a:lnTo>
                      <a:pt x="662" y="23"/>
                    </a:lnTo>
                    <a:lnTo>
                      <a:pt x="665" y="22"/>
                    </a:lnTo>
                    <a:lnTo>
                      <a:pt x="667" y="22"/>
                    </a:lnTo>
                    <a:lnTo>
                      <a:pt x="670" y="22"/>
                    </a:lnTo>
                    <a:lnTo>
                      <a:pt x="674" y="21"/>
                    </a:lnTo>
                    <a:lnTo>
                      <a:pt x="681" y="21"/>
                    </a:lnTo>
                    <a:lnTo>
                      <a:pt x="688" y="22"/>
                    </a:lnTo>
                    <a:lnTo>
                      <a:pt x="693" y="25"/>
                    </a:lnTo>
                    <a:lnTo>
                      <a:pt x="700" y="35"/>
                    </a:lnTo>
                    <a:lnTo>
                      <a:pt x="705" y="46"/>
                    </a:lnTo>
                    <a:lnTo>
                      <a:pt x="707" y="58"/>
                    </a:lnTo>
                    <a:lnTo>
                      <a:pt x="705" y="69"/>
                    </a:lnTo>
                    <a:lnTo>
                      <a:pt x="699" y="78"/>
                    </a:lnTo>
                    <a:lnTo>
                      <a:pt x="698" y="80"/>
                    </a:lnTo>
                    <a:lnTo>
                      <a:pt x="697" y="82"/>
                    </a:lnTo>
                    <a:lnTo>
                      <a:pt x="696" y="84"/>
                    </a:lnTo>
                    <a:lnTo>
                      <a:pt x="696" y="87"/>
                    </a:lnTo>
                    <a:lnTo>
                      <a:pt x="696" y="89"/>
                    </a:lnTo>
                    <a:lnTo>
                      <a:pt x="697" y="92"/>
                    </a:lnTo>
                    <a:lnTo>
                      <a:pt x="698" y="93"/>
                    </a:lnTo>
                    <a:lnTo>
                      <a:pt x="698" y="94"/>
                    </a:lnTo>
                    <a:lnTo>
                      <a:pt x="699" y="95"/>
                    </a:lnTo>
                    <a:lnTo>
                      <a:pt x="702" y="96"/>
                    </a:lnTo>
                    <a:lnTo>
                      <a:pt x="703" y="95"/>
                    </a:lnTo>
                    <a:lnTo>
                      <a:pt x="704" y="94"/>
                    </a:lnTo>
                    <a:lnTo>
                      <a:pt x="708" y="90"/>
                    </a:lnTo>
                    <a:lnTo>
                      <a:pt x="711" y="86"/>
                    </a:lnTo>
                    <a:lnTo>
                      <a:pt x="714" y="82"/>
                    </a:lnTo>
                    <a:lnTo>
                      <a:pt x="716" y="81"/>
                    </a:lnTo>
                    <a:lnTo>
                      <a:pt x="718" y="81"/>
                    </a:lnTo>
                    <a:lnTo>
                      <a:pt x="720" y="82"/>
                    </a:lnTo>
                    <a:lnTo>
                      <a:pt x="721" y="83"/>
                    </a:lnTo>
                    <a:lnTo>
                      <a:pt x="723" y="85"/>
                    </a:lnTo>
                    <a:lnTo>
                      <a:pt x="724" y="87"/>
                    </a:lnTo>
                    <a:lnTo>
                      <a:pt x="726" y="88"/>
                    </a:lnTo>
                    <a:lnTo>
                      <a:pt x="726" y="89"/>
                    </a:lnTo>
                    <a:lnTo>
                      <a:pt x="727" y="91"/>
                    </a:lnTo>
                    <a:lnTo>
                      <a:pt x="729" y="92"/>
                    </a:lnTo>
                    <a:lnTo>
                      <a:pt x="730" y="93"/>
                    </a:lnTo>
                    <a:lnTo>
                      <a:pt x="732" y="94"/>
                    </a:lnTo>
                    <a:lnTo>
                      <a:pt x="733" y="94"/>
                    </a:lnTo>
                    <a:lnTo>
                      <a:pt x="734" y="93"/>
                    </a:lnTo>
                    <a:lnTo>
                      <a:pt x="735" y="92"/>
                    </a:lnTo>
                    <a:lnTo>
                      <a:pt x="735" y="90"/>
                    </a:lnTo>
                    <a:lnTo>
                      <a:pt x="735" y="89"/>
                    </a:lnTo>
                    <a:lnTo>
                      <a:pt x="736" y="88"/>
                    </a:lnTo>
                    <a:lnTo>
                      <a:pt x="736" y="87"/>
                    </a:lnTo>
                    <a:lnTo>
                      <a:pt x="738" y="86"/>
                    </a:lnTo>
                    <a:lnTo>
                      <a:pt x="740" y="86"/>
                    </a:lnTo>
                    <a:lnTo>
                      <a:pt x="742" y="85"/>
                    </a:lnTo>
                    <a:lnTo>
                      <a:pt x="744" y="85"/>
                    </a:lnTo>
                    <a:lnTo>
                      <a:pt x="746" y="84"/>
                    </a:lnTo>
                    <a:lnTo>
                      <a:pt x="747" y="83"/>
                    </a:lnTo>
                    <a:lnTo>
                      <a:pt x="748" y="82"/>
                    </a:lnTo>
                    <a:lnTo>
                      <a:pt x="748" y="81"/>
                    </a:lnTo>
                    <a:lnTo>
                      <a:pt x="748" y="79"/>
                    </a:lnTo>
                    <a:lnTo>
                      <a:pt x="748" y="77"/>
                    </a:lnTo>
                    <a:lnTo>
                      <a:pt x="748" y="76"/>
                    </a:lnTo>
                    <a:lnTo>
                      <a:pt x="746" y="75"/>
                    </a:lnTo>
                    <a:lnTo>
                      <a:pt x="745" y="73"/>
                    </a:lnTo>
                    <a:lnTo>
                      <a:pt x="743" y="71"/>
                    </a:lnTo>
                    <a:lnTo>
                      <a:pt x="742" y="69"/>
                    </a:lnTo>
                    <a:lnTo>
                      <a:pt x="741" y="67"/>
                    </a:lnTo>
                    <a:lnTo>
                      <a:pt x="742" y="66"/>
                    </a:lnTo>
                    <a:lnTo>
                      <a:pt x="745" y="65"/>
                    </a:lnTo>
                    <a:lnTo>
                      <a:pt x="748" y="65"/>
                    </a:lnTo>
                    <a:lnTo>
                      <a:pt x="751" y="65"/>
                    </a:lnTo>
                    <a:lnTo>
                      <a:pt x="755" y="64"/>
                    </a:lnTo>
                    <a:lnTo>
                      <a:pt x="756" y="63"/>
                    </a:lnTo>
                    <a:lnTo>
                      <a:pt x="756" y="62"/>
                    </a:lnTo>
                    <a:lnTo>
                      <a:pt x="755" y="60"/>
                    </a:lnTo>
                    <a:lnTo>
                      <a:pt x="752" y="59"/>
                    </a:lnTo>
                    <a:lnTo>
                      <a:pt x="750" y="58"/>
                    </a:lnTo>
                    <a:lnTo>
                      <a:pt x="748" y="58"/>
                    </a:lnTo>
                    <a:lnTo>
                      <a:pt x="743" y="58"/>
                    </a:lnTo>
                    <a:lnTo>
                      <a:pt x="740" y="59"/>
                    </a:lnTo>
                    <a:lnTo>
                      <a:pt x="736" y="60"/>
                    </a:lnTo>
                    <a:lnTo>
                      <a:pt x="732" y="60"/>
                    </a:lnTo>
                    <a:lnTo>
                      <a:pt x="726" y="58"/>
                    </a:lnTo>
                    <a:lnTo>
                      <a:pt x="720" y="52"/>
                    </a:lnTo>
                    <a:lnTo>
                      <a:pt x="716" y="45"/>
                    </a:lnTo>
                    <a:lnTo>
                      <a:pt x="712" y="39"/>
                    </a:lnTo>
                    <a:lnTo>
                      <a:pt x="711" y="38"/>
                    </a:lnTo>
                    <a:lnTo>
                      <a:pt x="710" y="36"/>
                    </a:lnTo>
                    <a:lnTo>
                      <a:pt x="709" y="34"/>
                    </a:lnTo>
                    <a:lnTo>
                      <a:pt x="708" y="32"/>
                    </a:lnTo>
                    <a:lnTo>
                      <a:pt x="707" y="29"/>
                    </a:lnTo>
                    <a:lnTo>
                      <a:pt x="707" y="27"/>
                    </a:lnTo>
                    <a:lnTo>
                      <a:pt x="707" y="25"/>
                    </a:lnTo>
                    <a:lnTo>
                      <a:pt x="708" y="24"/>
                    </a:lnTo>
                    <a:lnTo>
                      <a:pt x="709" y="23"/>
                    </a:lnTo>
                    <a:lnTo>
                      <a:pt x="711" y="23"/>
                    </a:lnTo>
                    <a:lnTo>
                      <a:pt x="714" y="23"/>
                    </a:lnTo>
                    <a:lnTo>
                      <a:pt x="724" y="24"/>
                    </a:lnTo>
                    <a:lnTo>
                      <a:pt x="734" y="25"/>
                    </a:lnTo>
                    <a:lnTo>
                      <a:pt x="755" y="25"/>
                    </a:lnTo>
                    <a:lnTo>
                      <a:pt x="762" y="28"/>
                    </a:lnTo>
                    <a:lnTo>
                      <a:pt x="769" y="33"/>
                    </a:lnTo>
                    <a:lnTo>
                      <a:pt x="774" y="38"/>
                    </a:lnTo>
                    <a:lnTo>
                      <a:pt x="778" y="43"/>
                    </a:lnTo>
                    <a:lnTo>
                      <a:pt x="780" y="46"/>
                    </a:lnTo>
                    <a:lnTo>
                      <a:pt x="782" y="48"/>
                    </a:lnTo>
                    <a:lnTo>
                      <a:pt x="783" y="51"/>
                    </a:lnTo>
                    <a:lnTo>
                      <a:pt x="784" y="54"/>
                    </a:lnTo>
                    <a:lnTo>
                      <a:pt x="783" y="56"/>
                    </a:lnTo>
                    <a:lnTo>
                      <a:pt x="783" y="57"/>
                    </a:lnTo>
                    <a:lnTo>
                      <a:pt x="781" y="58"/>
                    </a:lnTo>
                    <a:lnTo>
                      <a:pt x="779" y="59"/>
                    </a:lnTo>
                    <a:lnTo>
                      <a:pt x="776" y="59"/>
                    </a:lnTo>
                    <a:lnTo>
                      <a:pt x="772" y="58"/>
                    </a:lnTo>
                    <a:lnTo>
                      <a:pt x="774" y="60"/>
                    </a:lnTo>
                    <a:lnTo>
                      <a:pt x="776" y="63"/>
                    </a:lnTo>
                    <a:lnTo>
                      <a:pt x="779" y="66"/>
                    </a:lnTo>
                    <a:lnTo>
                      <a:pt x="782" y="68"/>
                    </a:lnTo>
                    <a:lnTo>
                      <a:pt x="785" y="69"/>
                    </a:lnTo>
                    <a:lnTo>
                      <a:pt x="788" y="70"/>
                    </a:lnTo>
                    <a:lnTo>
                      <a:pt x="790" y="70"/>
                    </a:lnTo>
                    <a:lnTo>
                      <a:pt x="792" y="69"/>
                    </a:lnTo>
                    <a:lnTo>
                      <a:pt x="795" y="68"/>
                    </a:lnTo>
                    <a:lnTo>
                      <a:pt x="798" y="68"/>
                    </a:lnTo>
                    <a:lnTo>
                      <a:pt x="800" y="69"/>
                    </a:lnTo>
                    <a:lnTo>
                      <a:pt x="801" y="71"/>
                    </a:lnTo>
                    <a:lnTo>
                      <a:pt x="802" y="73"/>
                    </a:lnTo>
                    <a:lnTo>
                      <a:pt x="802" y="75"/>
                    </a:lnTo>
                    <a:lnTo>
                      <a:pt x="802" y="76"/>
                    </a:lnTo>
                    <a:lnTo>
                      <a:pt x="802" y="78"/>
                    </a:lnTo>
                    <a:lnTo>
                      <a:pt x="802" y="80"/>
                    </a:lnTo>
                    <a:lnTo>
                      <a:pt x="801" y="82"/>
                    </a:lnTo>
                    <a:lnTo>
                      <a:pt x="800" y="84"/>
                    </a:lnTo>
                    <a:lnTo>
                      <a:pt x="800" y="86"/>
                    </a:lnTo>
                    <a:lnTo>
                      <a:pt x="800" y="87"/>
                    </a:lnTo>
                    <a:lnTo>
                      <a:pt x="801" y="89"/>
                    </a:lnTo>
                    <a:lnTo>
                      <a:pt x="803" y="90"/>
                    </a:lnTo>
                    <a:lnTo>
                      <a:pt x="807" y="92"/>
                    </a:lnTo>
                    <a:lnTo>
                      <a:pt x="810" y="93"/>
                    </a:lnTo>
                    <a:lnTo>
                      <a:pt x="813" y="94"/>
                    </a:lnTo>
                    <a:lnTo>
                      <a:pt x="814" y="96"/>
                    </a:lnTo>
                    <a:lnTo>
                      <a:pt x="814" y="98"/>
                    </a:lnTo>
                    <a:lnTo>
                      <a:pt x="813" y="100"/>
                    </a:lnTo>
                    <a:lnTo>
                      <a:pt x="811" y="102"/>
                    </a:lnTo>
                    <a:lnTo>
                      <a:pt x="809" y="104"/>
                    </a:lnTo>
                    <a:lnTo>
                      <a:pt x="808" y="106"/>
                    </a:lnTo>
                    <a:lnTo>
                      <a:pt x="807" y="108"/>
                    </a:lnTo>
                    <a:lnTo>
                      <a:pt x="807" y="110"/>
                    </a:lnTo>
                    <a:lnTo>
                      <a:pt x="807" y="112"/>
                    </a:lnTo>
                    <a:lnTo>
                      <a:pt x="807" y="114"/>
                    </a:lnTo>
                    <a:lnTo>
                      <a:pt x="808" y="115"/>
                    </a:lnTo>
                    <a:lnTo>
                      <a:pt x="809" y="116"/>
                    </a:lnTo>
                    <a:lnTo>
                      <a:pt x="811" y="116"/>
                    </a:lnTo>
                    <a:lnTo>
                      <a:pt x="813" y="115"/>
                    </a:lnTo>
                    <a:lnTo>
                      <a:pt x="817" y="111"/>
                    </a:lnTo>
                    <a:lnTo>
                      <a:pt x="821" y="109"/>
                    </a:lnTo>
                    <a:lnTo>
                      <a:pt x="827" y="107"/>
                    </a:lnTo>
                    <a:lnTo>
                      <a:pt x="831" y="108"/>
                    </a:lnTo>
                    <a:lnTo>
                      <a:pt x="832" y="111"/>
                    </a:lnTo>
                    <a:lnTo>
                      <a:pt x="831" y="115"/>
                    </a:lnTo>
                    <a:lnTo>
                      <a:pt x="829" y="119"/>
                    </a:lnTo>
                    <a:lnTo>
                      <a:pt x="828" y="123"/>
                    </a:lnTo>
                    <a:lnTo>
                      <a:pt x="828" y="126"/>
                    </a:lnTo>
                    <a:lnTo>
                      <a:pt x="830" y="127"/>
                    </a:lnTo>
                    <a:lnTo>
                      <a:pt x="831" y="124"/>
                    </a:lnTo>
                    <a:lnTo>
                      <a:pt x="832" y="121"/>
                    </a:lnTo>
                    <a:lnTo>
                      <a:pt x="833" y="119"/>
                    </a:lnTo>
                    <a:lnTo>
                      <a:pt x="835" y="117"/>
                    </a:lnTo>
                    <a:lnTo>
                      <a:pt x="837" y="116"/>
                    </a:lnTo>
                    <a:lnTo>
                      <a:pt x="840" y="115"/>
                    </a:lnTo>
                    <a:lnTo>
                      <a:pt x="847" y="114"/>
                    </a:lnTo>
                    <a:lnTo>
                      <a:pt x="855" y="114"/>
                    </a:lnTo>
                    <a:lnTo>
                      <a:pt x="863" y="117"/>
                    </a:lnTo>
                    <a:lnTo>
                      <a:pt x="866" y="118"/>
                    </a:lnTo>
                    <a:lnTo>
                      <a:pt x="869" y="120"/>
                    </a:lnTo>
                    <a:lnTo>
                      <a:pt x="871" y="123"/>
                    </a:lnTo>
                    <a:lnTo>
                      <a:pt x="873" y="126"/>
                    </a:lnTo>
                    <a:lnTo>
                      <a:pt x="873" y="130"/>
                    </a:lnTo>
                    <a:lnTo>
                      <a:pt x="873" y="133"/>
                    </a:lnTo>
                    <a:lnTo>
                      <a:pt x="870" y="135"/>
                    </a:lnTo>
                    <a:lnTo>
                      <a:pt x="867" y="136"/>
                    </a:lnTo>
                    <a:lnTo>
                      <a:pt x="863" y="137"/>
                    </a:lnTo>
                    <a:lnTo>
                      <a:pt x="860" y="137"/>
                    </a:lnTo>
                    <a:lnTo>
                      <a:pt x="858" y="138"/>
                    </a:lnTo>
                    <a:lnTo>
                      <a:pt x="857" y="139"/>
                    </a:lnTo>
                    <a:lnTo>
                      <a:pt x="854" y="141"/>
                    </a:lnTo>
                    <a:lnTo>
                      <a:pt x="853" y="141"/>
                    </a:lnTo>
                    <a:lnTo>
                      <a:pt x="853" y="142"/>
                    </a:lnTo>
                    <a:lnTo>
                      <a:pt x="852" y="144"/>
                    </a:lnTo>
                    <a:lnTo>
                      <a:pt x="852" y="145"/>
                    </a:lnTo>
                    <a:lnTo>
                      <a:pt x="852" y="147"/>
                    </a:lnTo>
                    <a:lnTo>
                      <a:pt x="854" y="147"/>
                    </a:lnTo>
                    <a:lnTo>
                      <a:pt x="857" y="147"/>
                    </a:lnTo>
                    <a:lnTo>
                      <a:pt x="859" y="147"/>
                    </a:lnTo>
                    <a:lnTo>
                      <a:pt x="860" y="147"/>
                    </a:lnTo>
                    <a:lnTo>
                      <a:pt x="861" y="147"/>
                    </a:lnTo>
                    <a:lnTo>
                      <a:pt x="864" y="145"/>
                    </a:lnTo>
                    <a:lnTo>
                      <a:pt x="869" y="143"/>
                    </a:lnTo>
                    <a:lnTo>
                      <a:pt x="874" y="143"/>
                    </a:lnTo>
                    <a:lnTo>
                      <a:pt x="878" y="143"/>
                    </a:lnTo>
                    <a:lnTo>
                      <a:pt x="881" y="147"/>
                    </a:lnTo>
                    <a:lnTo>
                      <a:pt x="881" y="148"/>
                    </a:lnTo>
                    <a:lnTo>
                      <a:pt x="881" y="150"/>
                    </a:lnTo>
                    <a:lnTo>
                      <a:pt x="882" y="152"/>
                    </a:lnTo>
                    <a:lnTo>
                      <a:pt x="884" y="153"/>
                    </a:lnTo>
                    <a:lnTo>
                      <a:pt x="885" y="154"/>
                    </a:lnTo>
                    <a:lnTo>
                      <a:pt x="888" y="154"/>
                    </a:lnTo>
                    <a:lnTo>
                      <a:pt x="891" y="152"/>
                    </a:lnTo>
                    <a:lnTo>
                      <a:pt x="903" y="152"/>
                    </a:lnTo>
                    <a:lnTo>
                      <a:pt x="917" y="154"/>
                    </a:lnTo>
                    <a:lnTo>
                      <a:pt x="918" y="165"/>
                    </a:lnTo>
                    <a:lnTo>
                      <a:pt x="914" y="172"/>
                    </a:lnTo>
                    <a:lnTo>
                      <a:pt x="905" y="177"/>
                    </a:lnTo>
                    <a:lnTo>
                      <a:pt x="901" y="179"/>
                    </a:lnTo>
                    <a:lnTo>
                      <a:pt x="898" y="180"/>
                    </a:lnTo>
                    <a:lnTo>
                      <a:pt x="896" y="181"/>
                    </a:lnTo>
                    <a:lnTo>
                      <a:pt x="895" y="183"/>
                    </a:lnTo>
                    <a:lnTo>
                      <a:pt x="895" y="185"/>
                    </a:lnTo>
                    <a:lnTo>
                      <a:pt x="895" y="188"/>
                    </a:lnTo>
                    <a:lnTo>
                      <a:pt x="895" y="190"/>
                    </a:lnTo>
                    <a:lnTo>
                      <a:pt x="895" y="192"/>
                    </a:lnTo>
                    <a:lnTo>
                      <a:pt x="897" y="193"/>
                    </a:lnTo>
                    <a:lnTo>
                      <a:pt x="899" y="193"/>
                    </a:lnTo>
                    <a:lnTo>
                      <a:pt x="904" y="193"/>
                    </a:lnTo>
                    <a:lnTo>
                      <a:pt x="908" y="190"/>
                    </a:lnTo>
                    <a:lnTo>
                      <a:pt x="911" y="185"/>
                    </a:lnTo>
                    <a:lnTo>
                      <a:pt x="914" y="181"/>
                    </a:lnTo>
                    <a:lnTo>
                      <a:pt x="917" y="177"/>
                    </a:lnTo>
                    <a:lnTo>
                      <a:pt x="924" y="175"/>
                    </a:lnTo>
                    <a:lnTo>
                      <a:pt x="932" y="176"/>
                    </a:lnTo>
                    <a:lnTo>
                      <a:pt x="938" y="180"/>
                    </a:lnTo>
                    <a:lnTo>
                      <a:pt x="943" y="185"/>
                    </a:lnTo>
                    <a:lnTo>
                      <a:pt x="943" y="188"/>
                    </a:lnTo>
                    <a:lnTo>
                      <a:pt x="943" y="190"/>
                    </a:lnTo>
                    <a:lnTo>
                      <a:pt x="942" y="192"/>
                    </a:lnTo>
                    <a:lnTo>
                      <a:pt x="941" y="193"/>
                    </a:lnTo>
                    <a:lnTo>
                      <a:pt x="939" y="193"/>
                    </a:lnTo>
                    <a:lnTo>
                      <a:pt x="936" y="195"/>
                    </a:lnTo>
                    <a:lnTo>
                      <a:pt x="935" y="196"/>
                    </a:lnTo>
                    <a:lnTo>
                      <a:pt x="934" y="199"/>
                    </a:lnTo>
                    <a:lnTo>
                      <a:pt x="935" y="201"/>
                    </a:lnTo>
                    <a:lnTo>
                      <a:pt x="937" y="203"/>
                    </a:lnTo>
                    <a:lnTo>
                      <a:pt x="941" y="205"/>
                    </a:lnTo>
                    <a:lnTo>
                      <a:pt x="946" y="207"/>
                    </a:lnTo>
                    <a:lnTo>
                      <a:pt x="951" y="209"/>
                    </a:lnTo>
                    <a:lnTo>
                      <a:pt x="955" y="211"/>
                    </a:lnTo>
                    <a:lnTo>
                      <a:pt x="955" y="215"/>
                    </a:lnTo>
                    <a:lnTo>
                      <a:pt x="953" y="216"/>
                    </a:lnTo>
                    <a:lnTo>
                      <a:pt x="949" y="215"/>
                    </a:lnTo>
                    <a:lnTo>
                      <a:pt x="944" y="214"/>
                    </a:lnTo>
                    <a:lnTo>
                      <a:pt x="939" y="213"/>
                    </a:lnTo>
                    <a:lnTo>
                      <a:pt x="935" y="213"/>
                    </a:lnTo>
                    <a:lnTo>
                      <a:pt x="933" y="213"/>
                    </a:lnTo>
                    <a:lnTo>
                      <a:pt x="931" y="213"/>
                    </a:lnTo>
                    <a:lnTo>
                      <a:pt x="929" y="213"/>
                    </a:lnTo>
                    <a:lnTo>
                      <a:pt x="927" y="214"/>
                    </a:lnTo>
                    <a:lnTo>
                      <a:pt x="925" y="215"/>
                    </a:lnTo>
                    <a:lnTo>
                      <a:pt x="924" y="216"/>
                    </a:lnTo>
                    <a:lnTo>
                      <a:pt x="923" y="218"/>
                    </a:lnTo>
                    <a:lnTo>
                      <a:pt x="923" y="220"/>
                    </a:lnTo>
                    <a:lnTo>
                      <a:pt x="925" y="223"/>
                    </a:lnTo>
                    <a:lnTo>
                      <a:pt x="927" y="225"/>
                    </a:lnTo>
                    <a:lnTo>
                      <a:pt x="929" y="227"/>
                    </a:lnTo>
                    <a:lnTo>
                      <a:pt x="930" y="230"/>
                    </a:lnTo>
                    <a:lnTo>
                      <a:pt x="931" y="232"/>
                    </a:lnTo>
                    <a:lnTo>
                      <a:pt x="931" y="236"/>
                    </a:lnTo>
                    <a:lnTo>
                      <a:pt x="931" y="239"/>
                    </a:lnTo>
                    <a:lnTo>
                      <a:pt x="932" y="241"/>
                    </a:lnTo>
                    <a:lnTo>
                      <a:pt x="932" y="244"/>
                    </a:lnTo>
                    <a:lnTo>
                      <a:pt x="934" y="247"/>
                    </a:lnTo>
                    <a:lnTo>
                      <a:pt x="937" y="250"/>
                    </a:lnTo>
                    <a:lnTo>
                      <a:pt x="949" y="256"/>
                    </a:lnTo>
                    <a:lnTo>
                      <a:pt x="953" y="259"/>
                    </a:lnTo>
                    <a:lnTo>
                      <a:pt x="957" y="263"/>
                    </a:lnTo>
                    <a:lnTo>
                      <a:pt x="961" y="266"/>
                    </a:lnTo>
                    <a:lnTo>
                      <a:pt x="964" y="270"/>
                    </a:lnTo>
                    <a:lnTo>
                      <a:pt x="972" y="276"/>
                    </a:lnTo>
                    <a:lnTo>
                      <a:pt x="982" y="279"/>
                    </a:lnTo>
                    <a:lnTo>
                      <a:pt x="992" y="282"/>
                    </a:lnTo>
                    <a:lnTo>
                      <a:pt x="1001" y="287"/>
                    </a:lnTo>
                    <a:lnTo>
                      <a:pt x="1004" y="292"/>
                    </a:lnTo>
                    <a:lnTo>
                      <a:pt x="1005" y="297"/>
                    </a:lnTo>
                    <a:lnTo>
                      <a:pt x="1007" y="302"/>
                    </a:lnTo>
                    <a:lnTo>
                      <a:pt x="1012" y="305"/>
                    </a:lnTo>
                    <a:lnTo>
                      <a:pt x="1015" y="306"/>
                    </a:lnTo>
                    <a:lnTo>
                      <a:pt x="1018" y="308"/>
                    </a:lnTo>
                    <a:lnTo>
                      <a:pt x="1020" y="311"/>
                    </a:lnTo>
                    <a:lnTo>
                      <a:pt x="1022" y="314"/>
                    </a:lnTo>
                    <a:lnTo>
                      <a:pt x="1024" y="316"/>
                    </a:lnTo>
                    <a:lnTo>
                      <a:pt x="1026" y="318"/>
                    </a:lnTo>
                    <a:lnTo>
                      <a:pt x="1028" y="318"/>
                    </a:lnTo>
                    <a:lnTo>
                      <a:pt x="1034" y="318"/>
                    </a:lnTo>
                    <a:lnTo>
                      <a:pt x="1040" y="316"/>
                    </a:lnTo>
                    <a:lnTo>
                      <a:pt x="1045" y="315"/>
                    </a:lnTo>
                    <a:lnTo>
                      <a:pt x="1051" y="317"/>
                    </a:lnTo>
                    <a:lnTo>
                      <a:pt x="1056" y="322"/>
                    </a:lnTo>
                    <a:lnTo>
                      <a:pt x="1057" y="332"/>
                    </a:lnTo>
                    <a:lnTo>
                      <a:pt x="1054" y="340"/>
                    </a:lnTo>
                    <a:lnTo>
                      <a:pt x="1049" y="347"/>
                    </a:lnTo>
                    <a:lnTo>
                      <a:pt x="1044" y="353"/>
                    </a:lnTo>
                    <a:lnTo>
                      <a:pt x="1042" y="359"/>
                    </a:lnTo>
                    <a:lnTo>
                      <a:pt x="1040" y="364"/>
                    </a:lnTo>
                    <a:lnTo>
                      <a:pt x="1038" y="369"/>
                    </a:lnTo>
                    <a:lnTo>
                      <a:pt x="1038" y="370"/>
                    </a:lnTo>
                    <a:lnTo>
                      <a:pt x="1038" y="372"/>
                    </a:lnTo>
                    <a:lnTo>
                      <a:pt x="1037" y="374"/>
                    </a:lnTo>
                    <a:lnTo>
                      <a:pt x="1037" y="375"/>
                    </a:lnTo>
                    <a:lnTo>
                      <a:pt x="1036" y="377"/>
                    </a:lnTo>
                    <a:lnTo>
                      <a:pt x="1035" y="377"/>
                    </a:lnTo>
                    <a:lnTo>
                      <a:pt x="1034" y="377"/>
                    </a:lnTo>
                    <a:lnTo>
                      <a:pt x="1030" y="376"/>
                    </a:lnTo>
                    <a:lnTo>
                      <a:pt x="1028" y="375"/>
                    </a:lnTo>
                    <a:lnTo>
                      <a:pt x="1025" y="374"/>
                    </a:lnTo>
                    <a:lnTo>
                      <a:pt x="1023" y="374"/>
                    </a:lnTo>
                    <a:lnTo>
                      <a:pt x="1022" y="375"/>
                    </a:lnTo>
                    <a:lnTo>
                      <a:pt x="1022" y="376"/>
                    </a:lnTo>
                    <a:lnTo>
                      <a:pt x="1022" y="379"/>
                    </a:lnTo>
                    <a:lnTo>
                      <a:pt x="1022" y="383"/>
                    </a:lnTo>
                    <a:lnTo>
                      <a:pt x="1022" y="386"/>
                    </a:lnTo>
                    <a:lnTo>
                      <a:pt x="1023" y="389"/>
                    </a:lnTo>
                    <a:lnTo>
                      <a:pt x="1023" y="391"/>
                    </a:lnTo>
                    <a:lnTo>
                      <a:pt x="1023" y="393"/>
                    </a:lnTo>
                    <a:lnTo>
                      <a:pt x="1023" y="395"/>
                    </a:lnTo>
                    <a:lnTo>
                      <a:pt x="1022" y="396"/>
                    </a:lnTo>
                    <a:lnTo>
                      <a:pt x="1021" y="397"/>
                    </a:lnTo>
                    <a:lnTo>
                      <a:pt x="1019" y="398"/>
                    </a:lnTo>
                    <a:lnTo>
                      <a:pt x="1017" y="397"/>
                    </a:lnTo>
                    <a:lnTo>
                      <a:pt x="1015" y="396"/>
                    </a:lnTo>
                    <a:lnTo>
                      <a:pt x="1012" y="394"/>
                    </a:lnTo>
                    <a:lnTo>
                      <a:pt x="1005" y="391"/>
                    </a:lnTo>
                    <a:lnTo>
                      <a:pt x="999" y="386"/>
                    </a:lnTo>
                    <a:lnTo>
                      <a:pt x="993" y="381"/>
                    </a:lnTo>
                    <a:lnTo>
                      <a:pt x="989" y="375"/>
                    </a:lnTo>
                    <a:lnTo>
                      <a:pt x="989" y="369"/>
                    </a:lnTo>
                    <a:lnTo>
                      <a:pt x="992" y="364"/>
                    </a:lnTo>
                    <a:lnTo>
                      <a:pt x="996" y="361"/>
                    </a:lnTo>
                    <a:lnTo>
                      <a:pt x="999" y="357"/>
                    </a:lnTo>
                    <a:lnTo>
                      <a:pt x="999" y="353"/>
                    </a:lnTo>
                    <a:lnTo>
                      <a:pt x="997" y="351"/>
                    </a:lnTo>
                    <a:lnTo>
                      <a:pt x="992" y="352"/>
                    </a:lnTo>
                    <a:lnTo>
                      <a:pt x="986" y="353"/>
                    </a:lnTo>
                    <a:lnTo>
                      <a:pt x="980" y="354"/>
                    </a:lnTo>
                    <a:lnTo>
                      <a:pt x="976" y="353"/>
                    </a:lnTo>
                    <a:lnTo>
                      <a:pt x="973" y="350"/>
                    </a:lnTo>
                    <a:lnTo>
                      <a:pt x="970" y="346"/>
                    </a:lnTo>
                    <a:lnTo>
                      <a:pt x="967" y="343"/>
                    </a:lnTo>
                    <a:lnTo>
                      <a:pt x="963" y="339"/>
                    </a:lnTo>
                    <a:lnTo>
                      <a:pt x="960" y="337"/>
                    </a:lnTo>
                    <a:lnTo>
                      <a:pt x="956" y="338"/>
                    </a:lnTo>
                    <a:lnTo>
                      <a:pt x="955" y="342"/>
                    </a:lnTo>
                    <a:lnTo>
                      <a:pt x="955" y="348"/>
                    </a:lnTo>
                    <a:lnTo>
                      <a:pt x="955" y="353"/>
                    </a:lnTo>
                    <a:lnTo>
                      <a:pt x="955" y="357"/>
                    </a:lnTo>
                    <a:lnTo>
                      <a:pt x="953" y="358"/>
                    </a:lnTo>
                    <a:lnTo>
                      <a:pt x="949" y="356"/>
                    </a:lnTo>
                    <a:lnTo>
                      <a:pt x="944" y="353"/>
                    </a:lnTo>
                    <a:lnTo>
                      <a:pt x="939" y="350"/>
                    </a:lnTo>
                    <a:lnTo>
                      <a:pt x="935" y="349"/>
                    </a:lnTo>
                    <a:lnTo>
                      <a:pt x="938" y="357"/>
                    </a:lnTo>
                    <a:lnTo>
                      <a:pt x="942" y="365"/>
                    </a:lnTo>
                    <a:lnTo>
                      <a:pt x="947" y="372"/>
                    </a:lnTo>
                    <a:lnTo>
                      <a:pt x="955" y="377"/>
                    </a:lnTo>
                    <a:lnTo>
                      <a:pt x="961" y="383"/>
                    </a:lnTo>
                    <a:lnTo>
                      <a:pt x="965" y="391"/>
                    </a:lnTo>
                    <a:lnTo>
                      <a:pt x="969" y="398"/>
                    </a:lnTo>
                    <a:lnTo>
                      <a:pt x="974" y="404"/>
                    </a:lnTo>
                    <a:lnTo>
                      <a:pt x="977" y="405"/>
                    </a:lnTo>
                    <a:lnTo>
                      <a:pt x="980" y="407"/>
                    </a:lnTo>
                    <a:lnTo>
                      <a:pt x="984" y="409"/>
                    </a:lnTo>
                    <a:lnTo>
                      <a:pt x="987" y="412"/>
                    </a:lnTo>
                    <a:lnTo>
                      <a:pt x="990" y="415"/>
                    </a:lnTo>
                    <a:lnTo>
                      <a:pt x="991" y="418"/>
                    </a:lnTo>
                    <a:lnTo>
                      <a:pt x="992" y="422"/>
                    </a:lnTo>
                    <a:lnTo>
                      <a:pt x="993" y="426"/>
                    </a:lnTo>
                    <a:lnTo>
                      <a:pt x="999" y="433"/>
                    </a:lnTo>
                    <a:lnTo>
                      <a:pt x="1005" y="439"/>
                    </a:lnTo>
                    <a:lnTo>
                      <a:pt x="1011" y="447"/>
                    </a:lnTo>
                    <a:lnTo>
                      <a:pt x="1014" y="457"/>
                    </a:lnTo>
                    <a:lnTo>
                      <a:pt x="1014" y="459"/>
                    </a:lnTo>
                    <a:lnTo>
                      <a:pt x="1013" y="462"/>
                    </a:lnTo>
                    <a:lnTo>
                      <a:pt x="1012" y="464"/>
                    </a:lnTo>
                    <a:lnTo>
                      <a:pt x="1011" y="467"/>
                    </a:lnTo>
                    <a:lnTo>
                      <a:pt x="1011" y="470"/>
                    </a:lnTo>
                    <a:lnTo>
                      <a:pt x="1012" y="472"/>
                    </a:lnTo>
                    <a:lnTo>
                      <a:pt x="1013" y="475"/>
                    </a:lnTo>
                    <a:lnTo>
                      <a:pt x="1013" y="479"/>
                    </a:lnTo>
                    <a:lnTo>
                      <a:pt x="1013" y="482"/>
                    </a:lnTo>
                    <a:lnTo>
                      <a:pt x="1012" y="486"/>
                    </a:lnTo>
                    <a:lnTo>
                      <a:pt x="1009" y="488"/>
                    </a:lnTo>
                    <a:lnTo>
                      <a:pt x="1002" y="490"/>
                    </a:lnTo>
                    <a:lnTo>
                      <a:pt x="995" y="490"/>
                    </a:lnTo>
                    <a:lnTo>
                      <a:pt x="987" y="487"/>
                    </a:lnTo>
                    <a:lnTo>
                      <a:pt x="980" y="482"/>
                    </a:lnTo>
                    <a:lnTo>
                      <a:pt x="976" y="476"/>
                    </a:lnTo>
                    <a:lnTo>
                      <a:pt x="973" y="473"/>
                    </a:lnTo>
                    <a:lnTo>
                      <a:pt x="968" y="468"/>
                    </a:lnTo>
                    <a:lnTo>
                      <a:pt x="961" y="462"/>
                    </a:lnTo>
                    <a:lnTo>
                      <a:pt x="952" y="456"/>
                    </a:lnTo>
                    <a:lnTo>
                      <a:pt x="944" y="451"/>
                    </a:lnTo>
                    <a:lnTo>
                      <a:pt x="938" y="449"/>
                    </a:lnTo>
                    <a:lnTo>
                      <a:pt x="933" y="449"/>
                    </a:lnTo>
                    <a:lnTo>
                      <a:pt x="935" y="458"/>
                    </a:lnTo>
                    <a:lnTo>
                      <a:pt x="939" y="465"/>
                    </a:lnTo>
                    <a:lnTo>
                      <a:pt x="945" y="471"/>
                    </a:lnTo>
                    <a:lnTo>
                      <a:pt x="953" y="476"/>
                    </a:lnTo>
                    <a:lnTo>
                      <a:pt x="964" y="484"/>
                    </a:lnTo>
                    <a:lnTo>
                      <a:pt x="972" y="492"/>
                    </a:lnTo>
                    <a:lnTo>
                      <a:pt x="979" y="503"/>
                    </a:lnTo>
                    <a:lnTo>
                      <a:pt x="980" y="507"/>
                    </a:lnTo>
                    <a:lnTo>
                      <a:pt x="981" y="510"/>
                    </a:lnTo>
                    <a:lnTo>
                      <a:pt x="981" y="513"/>
                    </a:lnTo>
                    <a:lnTo>
                      <a:pt x="979" y="516"/>
                    </a:lnTo>
                    <a:lnTo>
                      <a:pt x="978" y="517"/>
                    </a:lnTo>
                    <a:lnTo>
                      <a:pt x="973" y="518"/>
                    </a:lnTo>
                    <a:lnTo>
                      <a:pt x="968" y="516"/>
                    </a:lnTo>
                    <a:lnTo>
                      <a:pt x="963" y="514"/>
                    </a:lnTo>
                    <a:lnTo>
                      <a:pt x="957" y="511"/>
                    </a:lnTo>
                    <a:lnTo>
                      <a:pt x="950" y="509"/>
                    </a:lnTo>
                    <a:lnTo>
                      <a:pt x="944" y="506"/>
                    </a:lnTo>
                    <a:lnTo>
                      <a:pt x="937" y="501"/>
                    </a:lnTo>
                    <a:lnTo>
                      <a:pt x="925" y="488"/>
                    </a:lnTo>
                    <a:lnTo>
                      <a:pt x="919" y="485"/>
                    </a:lnTo>
                    <a:lnTo>
                      <a:pt x="913" y="483"/>
                    </a:lnTo>
                    <a:lnTo>
                      <a:pt x="906" y="482"/>
                    </a:lnTo>
                    <a:lnTo>
                      <a:pt x="904" y="481"/>
                    </a:lnTo>
                    <a:lnTo>
                      <a:pt x="903" y="479"/>
                    </a:lnTo>
                    <a:lnTo>
                      <a:pt x="901" y="477"/>
                    </a:lnTo>
                    <a:lnTo>
                      <a:pt x="900" y="475"/>
                    </a:lnTo>
                    <a:lnTo>
                      <a:pt x="898" y="474"/>
                    </a:lnTo>
                    <a:lnTo>
                      <a:pt x="896" y="473"/>
                    </a:lnTo>
                    <a:lnTo>
                      <a:pt x="893" y="472"/>
                    </a:lnTo>
                    <a:lnTo>
                      <a:pt x="887" y="471"/>
                    </a:lnTo>
                    <a:lnTo>
                      <a:pt x="883" y="467"/>
                    </a:lnTo>
                    <a:lnTo>
                      <a:pt x="880" y="462"/>
                    </a:lnTo>
                    <a:lnTo>
                      <a:pt x="879" y="456"/>
                    </a:lnTo>
                    <a:lnTo>
                      <a:pt x="879" y="451"/>
                    </a:lnTo>
                    <a:lnTo>
                      <a:pt x="879" y="448"/>
                    </a:lnTo>
                    <a:lnTo>
                      <a:pt x="878" y="447"/>
                    </a:lnTo>
                    <a:lnTo>
                      <a:pt x="876" y="446"/>
                    </a:lnTo>
                    <a:lnTo>
                      <a:pt x="875" y="446"/>
                    </a:lnTo>
                    <a:lnTo>
                      <a:pt x="873" y="446"/>
                    </a:lnTo>
                    <a:lnTo>
                      <a:pt x="871" y="445"/>
                    </a:lnTo>
                    <a:lnTo>
                      <a:pt x="869" y="445"/>
                    </a:lnTo>
                    <a:lnTo>
                      <a:pt x="866" y="443"/>
                    </a:lnTo>
                    <a:lnTo>
                      <a:pt x="864" y="439"/>
                    </a:lnTo>
                    <a:lnTo>
                      <a:pt x="862" y="436"/>
                    </a:lnTo>
                    <a:lnTo>
                      <a:pt x="861" y="433"/>
                    </a:lnTo>
                    <a:lnTo>
                      <a:pt x="859" y="430"/>
                    </a:lnTo>
                    <a:lnTo>
                      <a:pt x="857" y="428"/>
                    </a:lnTo>
                    <a:lnTo>
                      <a:pt x="855" y="424"/>
                    </a:lnTo>
                    <a:lnTo>
                      <a:pt x="852" y="422"/>
                    </a:lnTo>
                    <a:lnTo>
                      <a:pt x="849" y="419"/>
                    </a:lnTo>
                    <a:lnTo>
                      <a:pt x="846" y="417"/>
                    </a:lnTo>
                    <a:lnTo>
                      <a:pt x="842" y="416"/>
                    </a:lnTo>
                    <a:lnTo>
                      <a:pt x="840" y="414"/>
                    </a:lnTo>
                    <a:lnTo>
                      <a:pt x="838" y="413"/>
                    </a:lnTo>
                    <a:lnTo>
                      <a:pt x="836" y="413"/>
                    </a:lnTo>
                    <a:lnTo>
                      <a:pt x="835" y="413"/>
                    </a:lnTo>
                    <a:lnTo>
                      <a:pt x="833" y="414"/>
                    </a:lnTo>
                    <a:lnTo>
                      <a:pt x="830" y="416"/>
                    </a:lnTo>
                    <a:lnTo>
                      <a:pt x="827" y="416"/>
                    </a:lnTo>
                    <a:lnTo>
                      <a:pt x="822" y="414"/>
                    </a:lnTo>
                    <a:lnTo>
                      <a:pt x="817" y="412"/>
                    </a:lnTo>
                    <a:lnTo>
                      <a:pt x="813" y="409"/>
                    </a:lnTo>
                    <a:lnTo>
                      <a:pt x="809" y="409"/>
                    </a:lnTo>
                    <a:lnTo>
                      <a:pt x="807" y="412"/>
                    </a:lnTo>
                    <a:lnTo>
                      <a:pt x="806" y="414"/>
                    </a:lnTo>
                    <a:lnTo>
                      <a:pt x="806" y="416"/>
                    </a:lnTo>
                    <a:lnTo>
                      <a:pt x="806" y="417"/>
                    </a:lnTo>
                    <a:lnTo>
                      <a:pt x="805" y="419"/>
                    </a:lnTo>
                    <a:lnTo>
                      <a:pt x="803" y="419"/>
                    </a:lnTo>
                    <a:lnTo>
                      <a:pt x="802" y="420"/>
                    </a:lnTo>
                    <a:lnTo>
                      <a:pt x="800" y="420"/>
                    </a:lnTo>
                    <a:lnTo>
                      <a:pt x="798" y="420"/>
                    </a:lnTo>
                    <a:lnTo>
                      <a:pt x="796" y="420"/>
                    </a:lnTo>
                    <a:lnTo>
                      <a:pt x="794" y="420"/>
                    </a:lnTo>
                    <a:lnTo>
                      <a:pt x="792" y="421"/>
                    </a:lnTo>
                    <a:lnTo>
                      <a:pt x="790" y="422"/>
                    </a:lnTo>
                    <a:lnTo>
                      <a:pt x="788" y="424"/>
                    </a:lnTo>
                    <a:lnTo>
                      <a:pt x="783" y="425"/>
                    </a:lnTo>
                    <a:lnTo>
                      <a:pt x="776" y="424"/>
                    </a:lnTo>
                    <a:lnTo>
                      <a:pt x="770" y="420"/>
                    </a:lnTo>
                    <a:lnTo>
                      <a:pt x="764" y="416"/>
                    </a:lnTo>
                    <a:lnTo>
                      <a:pt x="760" y="412"/>
                    </a:lnTo>
                    <a:lnTo>
                      <a:pt x="760" y="407"/>
                    </a:lnTo>
                    <a:lnTo>
                      <a:pt x="760" y="403"/>
                    </a:lnTo>
                    <a:lnTo>
                      <a:pt x="761" y="399"/>
                    </a:lnTo>
                    <a:lnTo>
                      <a:pt x="762" y="396"/>
                    </a:lnTo>
                    <a:lnTo>
                      <a:pt x="764" y="390"/>
                    </a:lnTo>
                    <a:lnTo>
                      <a:pt x="766" y="384"/>
                    </a:lnTo>
                    <a:lnTo>
                      <a:pt x="768" y="379"/>
                    </a:lnTo>
                    <a:lnTo>
                      <a:pt x="772" y="374"/>
                    </a:lnTo>
                    <a:lnTo>
                      <a:pt x="776" y="373"/>
                    </a:lnTo>
                    <a:lnTo>
                      <a:pt x="782" y="373"/>
                    </a:lnTo>
                    <a:lnTo>
                      <a:pt x="788" y="375"/>
                    </a:lnTo>
                    <a:lnTo>
                      <a:pt x="794" y="377"/>
                    </a:lnTo>
                    <a:lnTo>
                      <a:pt x="803" y="378"/>
                    </a:lnTo>
                    <a:lnTo>
                      <a:pt x="815" y="378"/>
                    </a:lnTo>
                    <a:lnTo>
                      <a:pt x="826" y="376"/>
                    </a:lnTo>
                    <a:lnTo>
                      <a:pt x="834" y="373"/>
                    </a:lnTo>
                    <a:lnTo>
                      <a:pt x="836" y="372"/>
                    </a:lnTo>
                    <a:lnTo>
                      <a:pt x="838" y="370"/>
                    </a:lnTo>
                    <a:lnTo>
                      <a:pt x="838" y="368"/>
                    </a:lnTo>
                    <a:lnTo>
                      <a:pt x="838" y="365"/>
                    </a:lnTo>
                    <a:lnTo>
                      <a:pt x="838" y="363"/>
                    </a:lnTo>
                    <a:lnTo>
                      <a:pt x="838" y="360"/>
                    </a:lnTo>
                    <a:lnTo>
                      <a:pt x="837" y="358"/>
                    </a:lnTo>
                    <a:lnTo>
                      <a:pt x="835" y="355"/>
                    </a:lnTo>
                    <a:lnTo>
                      <a:pt x="833" y="353"/>
                    </a:lnTo>
                    <a:lnTo>
                      <a:pt x="830" y="351"/>
                    </a:lnTo>
                    <a:lnTo>
                      <a:pt x="828" y="347"/>
                    </a:lnTo>
                    <a:lnTo>
                      <a:pt x="829" y="343"/>
                    </a:lnTo>
                    <a:lnTo>
                      <a:pt x="833" y="338"/>
                    </a:lnTo>
                    <a:lnTo>
                      <a:pt x="837" y="334"/>
                    </a:lnTo>
                    <a:lnTo>
                      <a:pt x="840" y="331"/>
                    </a:lnTo>
                    <a:lnTo>
                      <a:pt x="847" y="327"/>
                    </a:lnTo>
                    <a:lnTo>
                      <a:pt x="854" y="328"/>
                    </a:lnTo>
                    <a:lnTo>
                      <a:pt x="861" y="328"/>
                    </a:lnTo>
                    <a:lnTo>
                      <a:pt x="865" y="328"/>
                    </a:lnTo>
                    <a:lnTo>
                      <a:pt x="868" y="330"/>
                    </a:lnTo>
                    <a:lnTo>
                      <a:pt x="871" y="330"/>
                    </a:lnTo>
                    <a:lnTo>
                      <a:pt x="874" y="331"/>
                    </a:lnTo>
                    <a:lnTo>
                      <a:pt x="877" y="333"/>
                    </a:lnTo>
                    <a:lnTo>
                      <a:pt x="879" y="337"/>
                    </a:lnTo>
                    <a:lnTo>
                      <a:pt x="881" y="343"/>
                    </a:lnTo>
                    <a:lnTo>
                      <a:pt x="884" y="349"/>
                    </a:lnTo>
                    <a:lnTo>
                      <a:pt x="887" y="354"/>
                    </a:lnTo>
                    <a:lnTo>
                      <a:pt x="891" y="355"/>
                    </a:lnTo>
                    <a:lnTo>
                      <a:pt x="896" y="353"/>
                    </a:lnTo>
                    <a:lnTo>
                      <a:pt x="902" y="350"/>
                    </a:lnTo>
                    <a:lnTo>
                      <a:pt x="910" y="345"/>
                    </a:lnTo>
                    <a:lnTo>
                      <a:pt x="914" y="340"/>
                    </a:lnTo>
                    <a:lnTo>
                      <a:pt x="915" y="335"/>
                    </a:lnTo>
                    <a:lnTo>
                      <a:pt x="914" y="333"/>
                    </a:lnTo>
                    <a:lnTo>
                      <a:pt x="912" y="331"/>
                    </a:lnTo>
                    <a:lnTo>
                      <a:pt x="909" y="328"/>
                    </a:lnTo>
                    <a:lnTo>
                      <a:pt x="906" y="326"/>
                    </a:lnTo>
                    <a:lnTo>
                      <a:pt x="905" y="322"/>
                    </a:lnTo>
                    <a:lnTo>
                      <a:pt x="904" y="321"/>
                    </a:lnTo>
                    <a:lnTo>
                      <a:pt x="902" y="319"/>
                    </a:lnTo>
                    <a:lnTo>
                      <a:pt x="901" y="318"/>
                    </a:lnTo>
                    <a:lnTo>
                      <a:pt x="899" y="316"/>
                    </a:lnTo>
                    <a:lnTo>
                      <a:pt x="897" y="315"/>
                    </a:lnTo>
                    <a:lnTo>
                      <a:pt x="895" y="314"/>
                    </a:lnTo>
                    <a:lnTo>
                      <a:pt x="892" y="314"/>
                    </a:lnTo>
                    <a:lnTo>
                      <a:pt x="890" y="313"/>
                    </a:lnTo>
                    <a:lnTo>
                      <a:pt x="887" y="313"/>
                    </a:lnTo>
                    <a:lnTo>
                      <a:pt x="884" y="314"/>
                    </a:lnTo>
                    <a:lnTo>
                      <a:pt x="882" y="315"/>
                    </a:lnTo>
                    <a:lnTo>
                      <a:pt x="881" y="316"/>
                    </a:lnTo>
                    <a:lnTo>
                      <a:pt x="879" y="319"/>
                    </a:lnTo>
                    <a:lnTo>
                      <a:pt x="878" y="320"/>
                    </a:lnTo>
                    <a:lnTo>
                      <a:pt x="877" y="322"/>
                    </a:lnTo>
                    <a:lnTo>
                      <a:pt x="876" y="323"/>
                    </a:lnTo>
                    <a:lnTo>
                      <a:pt x="873" y="324"/>
                    </a:lnTo>
                    <a:lnTo>
                      <a:pt x="869" y="325"/>
                    </a:lnTo>
                    <a:lnTo>
                      <a:pt x="864" y="325"/>
                    </a:lnTo>
                    <a:lnTo>
                      <a:pt x="859" y="326"/>
                    </a:lnTo>
                    <a:lnTo>
                      <a:pt x="853" y="325"/>
                    </a:lnTo>
                    <a:lnTo>
                      <a:pt x="850" y="322"/>
                    </a:lnTo>
                    <a:lnTo>
                      <a:pt x="850" y="316"/>
                    </a:lnTo>
                    <a:lnTo>
                      <a:pt x="853" y="309"/>
                    </a:lnTo>
                    <a:lnTo>
                      <a:pt x="857" y="303"/>
                    </a:lnTo>
                    <a:lnTo>
                      <a:pt x="858" y="294"/>
                    </a:lnTo>
                    <a:lnTo>
                      <a:pt x="857" y="285"/>
                    </a:lnTo>
                    <a:lnTo>
                      <a:pt x="854" y="277"/>
                    </a:lnTo>
                    <a:lnTo>
                      <a:pt x="853" y="272"/>
                    </a:lnTo>
                    <a:lnTo>
                      <a:pt x="850" y="269"/>
                    </a:lnTo>
                    <a:lnTo>
                      <a:pt x="848" y="267"/>
                    </a:lnTo>
                    <a:lnTo>
                      <a:pt x="845" y="264"/>
                    </a:lnTo>
                    <a:lnTo>
                      <a:pt x="842" y="262"/>
                    </a:lnTo>
                    <a:lnTo>
                      <a:pt x="840" y="259"/>
                    </a:lnTo>
                    <a:lnTo>
                      <a:pt x="837" y="256"/>
                    </a:lnTo>
                    <a:lnTo>
                      <a:pt x="834" y="254"/>
                    </a:lnTo>
                    <a:lnTo>
                      <a:pt x="831" y="251"/>
                    </a:lnTo>
                    <a:lnTo>
                      <a:pt x="829" y="248"/>
                    </a:lnTo>
                    <a:lnTo>
                      <a:pt x="826" y="243"/>
                    </a:lnTo>
                    <a:lnTo>
                      <a:pt x="822" y="238"/>
                    </a:lnTo>
                    <a:lnTo>
                      <a:pt x="817" y="234"/>
                    </a:lnTo>
                    <a:lnTo>
                      <a:pt x="811" y="234"/>
                    </a:lnTo>
                    <a:lnTo>
                      <a:pt x="808" y="235"/>
                    </a:lnTo>
                    <a:lnTo>
                      <a:pt x="806" y="236"/>
                    </a:lnTo>
                    <a:lnTo>
                      <a:pt x="803" y="237"/>
                    </a:lnTo>
                    <a:lnTo>
                      <a:pt x="801" y="238"/>
                    </a:lnTo>
                    <a:lnTo>
                      <a:pt x="799" y="238"/>
                    </a:lnTo>
                    <a:lnTo>
                      <a:pt x="796" y="238"/>
                    </a:lnTo>
                    <a:lnTo>
                      <a:pt x="794" y="238"/>
                    </a:lnTo>
                    <a:lnTo>
                      <a:pt x="791" y="237"/>
                    </a:lnTo>
                    <a:lnTo>
                      <a:pt x="789" y="236"/>
                    </a:lnTo>
                    <a:lnTo>
                      <a:pt x="787" y="234"/>
                    </a:lnTo>
                    <a:lnTo>
                      <a:pt x="786" y="233"/>
                    </a:lnTo>
                    <a:lnTo>
                      <a:pt x="785" y="231"/>
                    </a:lnTo>
                    <a:lnTo>
                      <a:pt x="786" y="230"/>
                    </a:lnTo>
                    <a:lnTo>
                      <a:pt x="788" y="228"/>
                    </a:lnTo>
                    <a:lnTo>
                      <a:pt x="789" y="227"/>
                    </a:lnTo>
                    <a:lnTo>
                      <a:pt x="791" y="227"/>
                    </a:lnTo>
                    <a:lnTo>
                      <a:pt x="793" y="227"/>
                    </a:lnTo>
                    <a:lnTo>
                      <a:pt x="795" y="226"/>
                    </a:lnTo>
                    <a:lnTo>
                      <a:pt x="797" y="226"/>
                    </a:lnTo>
                    <a:lnTo>
                      <a:pt x="798" y="224"/>
                    </a:lnTo>
                    <a:lnTo>
                      <a:pt x="799" y="222"/>
                    </a:lnTo>
                    <a:lnTo>
                      <a:pt x="799" y="220"/>
                    </a:lnTo>
                    <a:lnTo>
                      <a:pt x="798" y="218"/>
                    </a:lnTo>
                    <a:lnTo>
                      <a:pt x="796" y="215"/>
                    </a:lnTo>
                    <a:lnTo>
                      <a:pt x="794" y="213"/>
                    </a:lnTo>
                    <a:lnTo>
                      <a:pt x="791" y="212"/>
                    </a:lnTo>
                    <a:lnTo>
                      <a:pt x="789" y="211"/>
                    </a:lnTo>
                    <a:lnTo>
                      <a:pt x="787" y="212"/>
                    </a:lnTo>
                    <a:lnTo>
                      <a:pt x="786" y="213"/>
                    </a:lnTo>
                    <a:lnTo>
                      <a:pt x="784" y="214"/>
                    </a:lnTo>
                    <a:lnTo>
                      <a:pt x="782" y="215"/>
                    </a:lnTo>
                    <a:lnTo>
                      <a:pt x="781" y="215"/>
                    </a:lnTo>
                    <a:lnTo>
                      <a:pt x="779" y="214"/>
                    </a:lnTo>
                    <a:lnTo>
                      <a:pt x="777" y="213"/>
                    </a:lnTo>
                    <a:lnTo>
                      <a:pt x="775" y="211"/>
                    </a:lnTo>
                    <a:lnTo>
                      <a:pt x="774" y="209"/>
                    </a:lnTo>
                    <a:lnTo>
                      <a:pt x="774" y="207"/>
                    </a:lnTo>
                    <a:lnTo>
                      <a:pt x="775" y="206"/>
                    </a:lnTo>
                    <a:lnTo>
                      <a:pt x="776" y="205"/>
                    </a:lnTo>
                    <a:lnTo>
                      <a:pt x="777" y="203"/>
                    </a:lnTo>
                    <a:lnTo>
                      <a:pt x="779" y="201"/>
                    </a:lnTo>
                    <a:lnTo>
                      <a:pt x="780" y="200"/>
                    </a:lnTo>
                    <a:lnTo>
                      <a:pt x="780" y="198"/>
                    </a:lnTo>
                    <a:lnTo>
                      <a:pt x="780" y="197"/>
                    </a:lnTo>
                    <a:lnTo>
                      <a:pt x="779" y="196"/>
                    </a:lnTo>
                    <a:lnTo>
                      <a:pt x="777" y="196"/>
                    </a:lnTo>
                    <a:lnTo>
                      <a:pt x="775" y="196"/>
                    </a:lnTo>
                    <a:lnTo>
                      <a:pt x="774" y="196"/>
                    </a:lnTo>
                    <a:lnTo>
                      <a:pt x="772" y="195"/>
                    </a:lnTo>
                    <a:lnTo>
                      <a:pt x="770" y="195"/>
                    </a:lnTo>
                    <a:lnTo>
                      <a:pt x="768" y="194"/>
                    </a:lnTo>
                    <a:lnTo>
                      <a:pt x="766" y="194"/>
                    </a:lnTo>
                    <a:lnTo>
                      <a:pt x="764" y="193"/>
                    </a:lnTo>
                    <a:lnTo>
                      <a:pt x="762" y="191"/>
                    </a:lnTo>
                    <a:lnTo>
                      <a:pt x="761" y="189"/>
                    </a:lnTo>
                    <a:lnTo>
                      <a:pt x="761" y="187"/>
                    </a:lnTo>
                    <a:lnTo>
                      <a:pt x="762" y="185"/>
                    </a:lnTo>
                    <a:lnTo>
                      <a:pt x="762" y="182"/>
                    </a:lnTo>
                    <a:lnTo>
                      <a:pt x="762" y="179"/>
                    </a:lnTo>
                    <a:lnTo>
                      <a:pt x="762" y="177"/>
                    </a:lnTo>
                    <a:lnTo>
                      <a:pt x="761" y="173"/>
                    </a:lnTo>
                    <a:lnTo>
                      <a:pt x="759" y="170"/>
                    </a:lnTo>
                    <a:lnTo>
                      <a:pt x="758" y="167"/>
                    </a:lnTo>
                    <a:lnTo>
                      <a:pt x="756" y="165"/>
                    </a:lnTo>
                    <a:lnTo>
                      <a:pt x="751" y="160"/>
                    </a:lnTo>
                    <a:lnTo>
                      <a:pt x="745" y="158"/>
                    </a:lnTo>
                    <a:lnTo>
                      <a:pt x="738" y="158"/>
                    </a:lnTo>
                    <a:lnTo>
                      <a:pt x="732" y="160"/>
                    </a:lnTo>
                    <a:lnTo>
                      <a:pt x="732" y="162"/>
                    </a:lnTo>
                    <a:lnTo>
                      <a:pt x="733" y="164"/>
                    </a:lnTo>
                    <a:lnTo>
                      <a:pt x="735" y="166"/>
                    </a:lnTo>
                    <a:lnTo>
                      <a:pt x="737" y="168"/>
                    </a:lnTo>
                    <a:lnTo>
                      <a:pt x="739" y="170"/>
                    </a:lnTo>
                    <a:lnTo>
                      <a:pt x="741" y="172"/>
                    </a:lnTo>
                    <a:lnTo>
                      <a:pt x="743" y="174"/>
                    </a:lnTo>
                    <a:lnTo>
                      <a:pt x="745" y="175"/>
                    </a:lnTo>
                    <a:lnTo>
                      <a:pt x="746" y="175"/>
                    </a:lnTo>
                    <a:lnTo>
                      <a:pt x="747" y="178"/>
                    </a:lnTo>
                    <a:lnTo>
                      <a:pt x="747" y="181"/>
                    </a:lnTo>
                    <a:lnTo>
                      <a:pt x="746" y="183"/>
                    </a:lnTo>
                    <a:lnTo>
                      <a:pt x="745" y="184"/>
                    </a:lnTo>
                    <a:lnTo>
                      <a:pt x="743" y="186"/>
                    </a:lnTo>
                    <a:lnTo>
                      <a:pt x="740" y="186"/>
                    </a:lnTo>
                    <a:lnTo>
                      <a:pt x="737" y="187"/>
                    </a:lnTo>
                    <a:lnTo>
                      <a:pt x="735" y="187"/>
                    </a:lnTo>
                    <a:lnTo>
                      <a:pt x="732" y="187"/>
                    </a:lnTo>
                    <a:lnTo>
                      <a:pt x="720" y="184"/>
                    </a:lnTo>
                    <a:lnTo>
                      <a:pt x="708" y="181"/>
                    </a:lnTo>
                    <a:lnTo>
                      <a:pt x="705" y="182"/>
                    </a:lnTo>
                    <a:lnTo>
                      <a:pt x="703" y="184"/>
                    </a:lnTo>
                    <a:lnTo>
                      <a:pt x="700" y="185"/>
                    </a:lnTo>
                    <a:lnTo>
                      <a:pt x="698" y="186"/>
                    </a:lnTo>
                    <a:lnTo>
                      <a:pt x="695" y="187"/>
                    </a:lnTo>
                    <a:lnTo>
                      <a:pt x="691" y="187"/>
                    </a:lnTo>
                    <a:lnTo>
                      <a:pt x="678" y="186"/>
                    </a:lnTo>
                    <a:lnTo>
                      <a:pt x="664" y="185"/>
                    </a:lnTo>
                    <a:lnTo>
                      <a:pt x="643" y="185"/>
                    </a:lnTo>
                    <a:lnTo>
                      <a:pt x="631" y="184"/>
                    </a:lnTo>
                    <a:lnTo>
                      <a:pt x="620" y="180"/>
                    </a:lnTo>
                    <a:lnTo>
                      <a:pt x="609" y="177"/>
                    </a:lnTo>
                    <a:lnTo>
                      <a:pt x="602" y="177"/>
                    </a:lnTo>
                    <a:lnTo>
                      <a:pt x="593" y="176"/>
                    </a:lnTo>
                    <a:lnTo>
                      <a:pt x="587" y="173"/>
                    </a:lnTo>
                    <a:lnTo>
                      <a:pt x="583" y="170"/>
                    </a:lnTo>
                    <a:lnTo>
                      <a:pt x="579" y="166"/>
                    </a:lnTo>
                    <a:lnTo>
                      <a:pt x="575" y="163"/>
                    </a:lnTo>
                    <a:lnTo>
                      <a:pt x="571" y="158"/>
                    </a:lnTo>
                    <a:lnTo>
                      <a:pt x="569" y="157"/>
                    </a:lnTo>
                    <a:lnTo>
                      <a:pt x="566" y="155"/>
                    </a:lnTo>
                    <a:lnTo>
                      <a:pt x="564" y="153"/>
                    </a:lnTo>
                    <a:lnTo>
                      <a:pt x="561" y="151"/>
                    </a:lnTo>
                    <a:lnTo>
                      <a:pt x="560" y="149"/>
                    </a:lnTo>
                    <a:lnTo>
                      <a:pt x="559" y="147"/>
                    </a:lnTo>
                    <a:lnTo>
                      <a:pt x="559" y="144"/>
                    </a:lnTo>
                    <a:lnTo>
                      <a:pt x="560" y="141"/>
                    </a:lnTo>
                    <a:lnTo>
                      <a:pt x="561" y="140"/>
                    </a:lnTo>
                    <a:lnTo>
                      <a:pt x="562" y="138"/>
                    </a:lnTo>
                    <a:lnTo>
                      <a:pt x="564" y="138"/>
                    </a:lnTo>
                    <a:lnTo>
                      <a:pt x="567" y="139"/>
                    </a:lnTo>
                    <a:lnTo>
                      <a:pt x="573" y="140"/>
                    </a:lnTo>
                    <a:lnTo>
                      <a:pt x="580" y="142"/>
                    </a:lnTo>
                    <a:lnTo>
                      <a:pt x="587" y="143"/>
                    </a:lnTo>
                    <a:lnTo>
                      <a:pt x="588" y="142"/>
                    </a:lnTo>
                    <a:lnTo>
                      <a:pt x="588" y="142"/>
                    </a:lnTo>
                    <a:lnTo>
                      <a:pt x="587" y="141"/>
                    </a:lnTo>
                    <a:lnTo>
                      <a:pt x="586" y="139"/>
                    </a:lnTo>
                    <a:lnTo>
                      <a:pt x="585" y="138"/>
                    </a:lnTo>
                    <a:lnTo>
                      <a:pt x="583" y="137"/>
                    </a:lnTo>
                    <a:lnTo>
                      <a:pt x="582" y="136"/>
                    </a:lnTo>
                    <a:lnTo>
                      <a:pt x="581" y="135"/>
                    </a:lnTo>
                    <a:lnTo>
                      <a:pt x="573" y="132"/>
                    </a:lnTo>
                    <a:lnTo>
                      <a:pt x="564" y="130"/>
                    </a:lnTo>
                    <a:lnTo>
                      <a:pt x="555" y="127"/>
                    </a:lnTo>
                    <a:lnTo>
                      <a:pt x="549" y="123"/>
                    </a:lnTo>
                    <a:lnTo>
                      <a:pt x="548" y="118"/>
                    </a:lnTo>
                    <a:lnTo>
                      <a:pt x="549" y="111"/>
                    </a:lnTo>
                    <a:lnTo>
                      <a:pt x="549" y="104"/>
                    </a:lnTo>
                    <a:lnTo>
                      <a:pt x="549" y="88"/>
                    </a:lnTo>
                    <a:lnTo>
                      <a:pt x="553" y="75"/>
                    </a:lnTo>
                    <a:lnTo>
                      <a:pt x="559" y="62"/>
                    </a:lnTo>
                    <a:lnTo>
                      <a:pt x="565" y="50"/>
                    </a:lnTo>
                    <a:lnTo>
                      <a:pt x="568" y="46"/>
                    </a:lnTo>
                    <a:lnTo>
                      <a:pt x="570" y="42"/>
                    </a:lnTo>
                    <a:lnTo>
                      <a:pt x="572" y="39"/>
                    </a:lnTo>
                    <a:lnTo>
                      <a:pt x="575" y="35"/>
                    </a:lnTo>
                    <a:lnTo>
                      <a:pt x="579" y="33"/>
                    </a:lnTo>
                    <a:lnTo>
                      <a:pt x="584" y="31"/>
                    </a:lnTo>
                    <a:lnTo>
                      <a:pt x="587" y="29"/>
                    </a:lnTo>
                    <a:lnTo>
                      <a:pt x="591" y="27"/>
                    </a:lnTo>
                    <a:lnTo>
                      <a:pt x="603" y="21"/>
                    </a:lnTo>
                    <a:lnTo>
                      <a:pt x="616" y="17"/>
                    </a:lnTo>
                    <a:lnTo>
                      <a:pt x="629" y="15"/>
                    </a:lnTo>
                    <a:close/>
                    <a:moveTo>
                      <a:pt x="2063" y="15"/>
                    </a:moveTo>
                    <a:lnTo>
                      <a:pt x="2064" y="16"/>
                    </a:lnTo>
                    <a:lnTo>
                      <a:pt x="2066" y="18"/>
                    </a:lnTo>
                    <a:lnTo>
                      <a:pt x="2067" y="22"/>
                    </a:lnTo>
                    <a:lnTo>
                      <a:pt x="2068" y="25"/>
                    </a:lnTo>
                    <a:lnTo>
                      <a:pt x="2068" y="28"/>
                    </a:lnTo>
                    <a:lnTo>
                      <a:pt x="2069" y="30"/>
                    </a:lnTo>
                    <a:lnTo>
                      <a:pt x="2069" y="32"/>
                    </a:lnTo>
                    <a:lnTo>
                      <a:pt x="2071" y="35"/>
                    </a:lnTo>
                    <a:lnTo>
                      <a:pt x="2072" y="38"/>
                    </a:lnTo>
                    <a:lnTo>
                      <a:pt x="2073" y="41"/>
                    </a:lnTo>
                    <a:lnTo>
                      <a:pt x="2073" y="43"/>
                    </a:lnTo>
                    <a:lnTo>
                      <a:pt x="2073" y="44"/>
                    </a:lnTo>
                    <a:lnTo>
                      <a:pt x="2073" y="44"/>
                    </a:lnTo>
                    <a:lnTo>
                      <a:pt x="2072" y="44"/>
                    </a:lnTo>
                    <a:lnTo>
                      <a:pt x="2072" y="43"/>
                    </a:lnTo>
                    <a:lnTo>
                      <a:pt x="2071" y="42"/>
                    </a:lnTo>
                    <a:lnTo>
                      <a:pt x="2070" y="42"/>
                    </a:lnTo>
                    <a:lnTo>
                      <a:pt x="2069" y="42"/>
                    </a:lnTo>
                    <a:lnTo>
                      <a:pt x="2069" y="42"/>
                    </a:lnTo>
                    <a:lnTo>
                      <a:pt x="2069" y="43"/>
                    </a:lnTo>
                    <a:lnTo>
                      <a:pt x="2069" y="50"/>
                    </a:lnTo>
                    <a:lnTo>
                      <a:pt x="2068" y="50"/>
                    </a:lnTo>
                    <a:lnTo>
                      <a:pt x="2067" y="48"/>
                    </a:lnTo>
                    <a:lnTo>
                      <a:pt x="2067" y="47"/>
                    </a:lnTo>
                    <a:lnTo>
                      <a:pt x="2066" y="47"/>
                    </a:lnTo>
                    <a:lnTo>
                      <a:pt x="2065" y="45"/>
                    </a:lnTo>
                    <a:lnTo>
                      <a:pt x="2064" y="43"/>
                    </a:lnTo>
                    <a:lnTo>
                      <a:pt x="2063" y="42"/>
                    </a:lnTo>
                    <a:lnTo>
                      <a:pt x="2063" y="41"/>
                    </a:lnTo>
                    <a:lnTo>
                      <a:pt x="2062" y="39"/>
                    </a:lnTo>
                    <a:lnTo>
                      <a:pt x="2061" y="38"/>
                    </a:lnTo>
                    <a:lnTo>
                      <a:pt x="2060" y="37"/>
                    </a:lnTo>
                    <a:lnTo>
                      <a:pt x="2060" y="36"/>
                    </a:lnTo>
                    <a:lnTo>
                      <a:pt x="2060" y="35"/>
                    </a:lnTo>
                    <a:lnTo>
                      <a:pt x="2060" y="34"/>
                    </a:lnTo>
                    <a:lnTo>
                      <a:pt x="2060" y="33"/>
                    </a:lnTo>
                    <a:lnTo>
                      <a:pt x="2060" y="31"/>
                    </a:lnTo>
                    <a:lnTo>
                      <a:pt x="2060" y="29"/>
                    </a:lnTo>
                    <a:lnTo>
                      <a:pt x="2059" y="27"/>
                    </a:lnTo>
                    <a:lnTo>
                      <a:pt x="2058" y="25"/>
                    </a:lnTo>
                    <a:lnTo>
                      <a:pt x="2058" y="24"/>
                    </a:lnTo>
                    <a:lnTo>
                      <a:pt x="2059" y="23"/>
                    </a:lnTo>
                    <a:lnTo>
                      <a:pt x="2059" y="21"/>
                    </a:lnTo>
                    <a:lnTo>
                      <a:pt x="2060" y="20"/>
                    </a:lnTo>
                    <a:lnTo>
                      <a:pt x="2061" y="18"/>
                    </a:lnTo>
                    <a:lnTo>
                      <a:pt x="2061" y="16"/>
                    </a:lnTo>
                    <a:lnTo>
                      <a:pt x="2062" y="15"/>
                    </a:lnTo>
                    <a:lnTo>
                      <a:pt x="2063" y="15"/>
                    </a:lnTo>
                    <a:close/>
                    <a:moveTo>
                      <a:pt x="1537" y="11"/>
                    </a:moveTo>
                    <a:lnTo>
                      <a:pt x="1539" y="11"/>
                    </a:lnTo>
                    <a:lnTo>
                      <a:pt x="1541" y="13"/>
                    </a:lnTo>
                    <a:lnTo>
                      <a:pt x="1543" y="16"/>
                    </a:lnTo>
                    <a:lnTo>
                      <a:pt x="1544" y="19"/>
                    </a:lnTo>
                    <a:lnTo>
                      <a:pt x="1545" y="22"/>
                    </a:lnTo>
                    <a:lnTo>
                      <a:pt x="1546" y="24"/>
                    </a:lnTo>
                    <a:lnTo>
                      <a:pt x="1547" y="27"/>
                    </a:lnTo>
                    <a:lnTo>
                      <a:pt x="1549" y="31"/>
                    </a:lnTo>
                    <a:lnTo>
                      <a:pt x="1551" y="35"/>
                    </a:lnTo>
                    <a:lnTo>
                      <a:pt x="1551" y="39"/>
                    </a:lnTo>
                    <a:lnTo>
                      <a:pt x="1551" y="40"/>
                    </a:lnTo>
                    <a:lnTo>
                      <a:pt x="1551" y="42"/>
                    </a:lnTo>
                    <a:lnTo>
                      <a:pt x="1550" y="43"/>
                    </a:lnTo>
                    <a:lnTo>
                      <a:pt x="1550" y="44"/>
                    </a:lnTo>
                    <a:lnTo>
                      <a:pt x="1549" y="44"/>
                    </a:lnTo>
                    <a:lnTo>
                      <a:pt x="1548" y="44"/>
                    </a:lnTo>
                    <a:lnTo>
                      <a:pt x="1547" y="41"/>
                    </a:lnTo>
                    <a:lnTo>
                      <a:pt x="1543" y="33"/>
                    </a:lnTo>
                    <a:lnTo>
                      <a:pt x="1538" y="25"/>
                    </a:lnTo>
                    <a:lnTo>
                      <a:pt x="1534" y="17"/>
                    </a:lnTo>
                    <a:lnTo>
                      <a:pt x="1534" y="15"/>
                    </a:lnTo>
                    <a:lnTo>
                      <a:pt x="1535" y="14"/>
                    </a:lnTo>
                    <a:lnTo>
                      <a:pt x="1535" y="12"/>
                    </a:lnTo>
                    <a:lnTo>
                      <a:pt x="1535" y="11"/>
                    </a:lnTo>
                    <a:lnTo>
                      <a:pt x="1536" y="11"/>
                    </a:lnTo>
                    <a:lnTo>
                      <a:pt x="1537" y="11"/>
                    </a:lnTo>
                    <a:close/>
                    <a:moveTo>
                      <a:pt x="498" y="9"/>
                    </a:moveTo>
                    <a:lnTo>
                      <a:pt x="508" y="11"/>
                    </a:lnTo>
                    <a:lnTo>
                      <a:pt x="511" y="11"/>
                    </a:lnTo>
                    <a:lnTo>
                      <a:pt x="514" y="12"/>
                    </a:lnTo>
                    <a:lnTo>
                      <a:pt x="516" y="12"/>
                    </a:lnTo>
                    <a:lnTo>
                      <a:pt x="519" y="13"/>
                    </a:lnTo>
                    <a:lnTo>
                      <a:pt x="522" y="13"/>
                    </a:lnTo>
                    <a:lnTo>
                      <a:pt x="537" y="13"/>
                    </a:lnTo>
                    <a:lnTo>
                      <a:pt x="542" y="12"/>
                    </a:lnTo>
                    <a:lnTo>
                      <a:pt x="549" y="13"/>
                    </a:lnTo>
                    <a:lnTo>
                      <a:pt x="554" y="15"/>
                    </a:lnTo>
                    <a:lnTo>
                      <a:pt x="556" y="19"/>
                    </a:lnTo>
                    <a:lnTo>
                      <a:pt x="553" y="24"/>
                    </a:lnTo>
                    <a:lnTo>
                      <a:pt x="546" y="28"/>
                    </a:lnTo>
                    <a:lnTo>
                      <a:pt x="539" y="30"/>
                    </a:lnTo>
                    <a:lnTo>
                      <a:pt x="536" y="31"/>
                    </a:lnTo>
                    <a:lnTo>
                      <a:pt x="535" y="32"/>
                    </a:lnTo>
                    <a:lnTo>
                      <a:pt x="534" y="32"/>
                    </a:lnTo>
                    <a:lnTo>
                      <a:pt x="534" y="33"/>
                    </a:lnTo>
                    <a:lnTo>
                      <a:pt x="534" y="34"/>
                    </a:lnTo>
                    <a:lnTo>
                      <a:pt x="534" y="36"/>
                    </a:lnTo>
                    <a:lnTo>
                      <a:pt x="534" y="38"/>
                    </a:lnTo>
                    <a:lnTo>
                      <a:pt x="533" y="40"/>
                    </a:lnTo>
                    <a:lnTo>
                      <a:pt x="532" y="42"/>
                    </a:lnTo>
                    <a:lnTo>
                      <a:pt x="531" y="43"/>
                    </a:lnTo>
                    <a:lnTo>
                      <a:pt x="530" y="46"/>
                    </a:lnTo>
                    <a:lnTo>
                      <a:pt x="527" y="48"/>
                    </a:lnTo>
                    <a:lnTo>
                      <a:pt x="525" y="51"/>
                    </a:lnTo>
                    <a:lnTo>
                      <a:pt x="522" y="54"/>
                    </a:lnTo>
                    <a:lnTo>
                      <a:pt x="520" y="56"/>
                    </a:lnTo>
                    <a:lnTo>
                      <a:pt x="519" y="59"/>
                    </a:lnTo>
                    <a:lnTo>
                      <a:pt x="518" y="62"/>
                    </a:lnTo>
                    <a:lnTo>
                      <a:pt x="517" y="64"/>
                    </a:lnTo>
                    <a:lnTo>
                      <a:pt x="516" y="66"/>
                    </a:lnTo>
                    <a:lnTo>
                      <a:pt x="512" y="69"/>
                    </a:lnTo>
                    <a:lnTo>
                      <a:pt x="507" y="69"/>
                    </a:lnTo>
                    <a:lnTo>
                      <a:pt x="501" y="67"/>
                    </a:lnTo>
                    <a:lnTo>
                      <a:pt x="494" y="65"/>
                    </a:lnTo>
                    <a:lnTo>
                      <a:pt x="489" y="64"/>
                    </a:lnTo>
                    <a:lnTo>
                      <a:pt x="487" y="64"/>
                    </a:lnTo>
                    <a:lnTo>
                      <a:pt x="486" y="65"/>
                    </a:lnTo>
                    <a:lnTo>
                      <a:pt x="486" y="66"/>
                    </a:lnTo>
                    <a:lnTo>
                      <a:pt x="486" y="67"/>
                    </a:lnTo>
                    <a:lnTo>
                      <a:pt x="487" y="68"/>
                    </a:lnTo>
                    <a:lnTo>
                      <a:pt x="488" y="69"/>
                    </a:lnTo>
                    <a:lnTo>
                      <a:pt x="489" y="70"/>
                    </a:lnTo>
                    <a:lnTo>
                      <a:pt x="490" y="71"/>
                    </a:lnTo>
                    <a:lnTo>
                      <a:pt x="491" y="72"/>
                    </a:lnTo>
                    <a:lnTo>
                      <a:pt x="493" y="77"/>
                    </a:lnTo>
                    <a:lnTo>
                      <a:pt x="492" y="84"/>
                    </a:lnTo>
                    <a:lnTo>
                      <a:pt x="487" y="89"/>
                    </a:lnTo>
                    <a:lnTo>
                      <a:pt x="481" y="94"/>
                    </a:lnTo>
                    <a:lnTo>
                      <a:pt x="474" y="98"/>
                    </a:lnTo>
                    <a:lnTo>
                      <a:pt x="467" y="101"/>
                    </a:lnTo>
                    <a:lnTo>
                      <a:pt x="464" y="100"/>
                    </a:lnTo>
                    <a:lnTo>
                      <a:pt x="462" y="99"/>
                    </a:lnTo>
                    <a:lnTo>
                      <a:pt x="460" y="97"/>
                    </a:lnTo>
                    <a:lnTo>
                      <a:pt x="458" y="94"/>
                    </a:lnTo>
                    <a:lnTo>
                      <a:pt x="457" y="92"/>
                    </a:lnTo>
                    <a:lnTo>
                      <a:pt x="456" y="89"/>
                    </a:lnTo>
                    <a:lnTo>
                      <a:pt x="455" y="87"/>
                    </a:lnTo>
                    <a:lnTo>
                      <a:pt x="455" y="85"/>
                    </a:lnTo>
                    <a:lnTo>
                      <a:pt x="454" y="76"/>
                    </a:lnTo>
                    <a:lnTo>
                      <a:pt x="456" y="66"/>
                    </a:lnTo>
                    <a:lnTo>
                      <a:pt x="457" y="56"/>
                    </a:lnTo>
                    <a:lnTo>
                      <a:pt x="458" y="50"/>
                    </a:lnTo>
                    <a:lnTo>
                      <a:pt x="460" y="44"/>
                    </a:lnTo>
                    <a:lnTo>
                      <a:pt x="463" y="39"/>
                    </a:lnTo>
                    <a:lnTo>
                      <a:pt x="469" y="36"/>
                    </a:lnTo>
                    <a:lnTo>
                      <a:pt x="471" y="35"/>
                    </a:lnTo>
                    <a:lnTo>
                      <a:pt x="472" y="34"/>
                    </a:lnTo>
                    <a:lnTo>
                      <a:pt x="472" y="32"/>
                    </a:lnTo>
                    <a:lnTo>
                      <a:pt x="472" y="31"/>
                    </a:lnTo>
                    <a:lnTo>
                      <a:pt x="470" y="29"/>
                    </a:lnTo>
                    <a:lnTo>
                      <a:pt x="469" y="28"/>
                    </a:lnTo>
                    <a:lnTo>
                      <a:pt x="468" y="26"/>
                    </a:lnTo>
                    <a:lnTo>
                      <a:pt x="467" y="24"/>
                    </a:lnTo>
                    <a:lnTo>
                      <a:pt x="466" y="23"/>
                    </a:lnTo>
                    <a:lnTo>
                      <a:pt x="466" y="21"/>
                    </a:lnTo>
                    <a:lnTo>
                      <a:pt x="467" y="20"/>
                    </a:lnTo>
                    <a:lnTo>
                      <a:pt x="469" y="18"/>
                    </a:lnTo>
                    <a:lnTo>
                      <a:pt x="472" y="17"/>
                    </a:lnTo>
                    <a:lnTo>
                      <a:pt x="474" y="16"/>
                    </a:lnTo>
                    <a:lnTo>
                      <a:pt x="477" y="15"/>
                    </a:lnTo>
                    <a:lnTo>
                      <a:pt x="487" y="11"/>
                    </a:lnTo>
                    <a:lnTo>
                      <a:pt x="498" y="9"/>
                    </a:lnTo>
                    <a:close/>
                    <a:moveTo>
                      <a:pt x="2034" y="9"/>
                    </a:moveTo>
                    <a:lnTo>
                      <a:pt x="2035" y="9"/>
                    </a:lnTo>
                    <a:lnTo>
                      <a:pt x="2036" y="10"/>
                    </a:lnTo>
                    <a:lnTo>
                      <a:pt x="2037" y="11"/>
                    </a:lnTo>
                    <a:lnTo>
                      <a:pt x="2037" y="13"/>
                    </a:lnTo>
                    <a:lnTo>
                      <a:pt x="2037" y="14"/>
                    </a:lnTo>
                    <a:lnTo>
                      <a:pt x="2036" y="15"/>
                    </a:lnTo>
                    <a:lnTo>
                      <a:pt x="2036" y="15"/>
                    </a:lnTo>
                    <a:lnTo>
                      <a:pt x="2035" y="14"/>
                    </a:lnTo>
                    <a:lnTo>
                      <a:pt x="2034" y="13"/>
                    </a:lnTo>
                    <a:lnTo>
                      <a:pt x="2034" y="12"/>
                    </a:lnTo>
                    <a:lnTo>
                      <a:pt x="2033" y="10"/>
                    </a:lnTo>
                    <a:lnTo>
                      <a:pt x="2034" y="9"/>
                    </a:lnTo>
                    <a:lnTo>
                      <a:pt x="2034" y="9"/>
                    </a:lnTo>
                    <a:close/>
                    <a:moveTo>
                      <a:pt x="1921" y="8"/>
                    </a:moveTo>
                    <a:lnTo>
                      <a:pt x="1922" y="9"/>
                    </a:lnTo>
                    <a:lnTo>
                      <a:pt x="1925" y="10"/>
                    </a:lnTo>
                    <a:lnTo>
                      <a:pt x="1927" y="11"/>
                    </a:lnTo>
                    <a:lnTo>
                      <a:pt x="1929" y="11"/>
                    </a:lnTo>
                    <a:lnTo>
                      <a:pt x="1929" y="15"/>
                    </a:lnTo>
                    <a:lnTo>
                      <a:pt x="1927" y="15"/>
                    </a:lnTo>
                    <a:lnTo>
                      <a:pt x="1925" y="13"/>
                    </a:lnTo>
                    <a:lnTo>
                      <a:pt x="1922" y="11"/>
                    </a:lnTo>
                    <a:lnTo>
                      <a:pt x="1921" y="10"/>
                    </a:lnTo>
                    <a:lnTo>
                      <a:pt x="1921" y="9"/>
                    </a:lnTo>
                    <a:lnTo>
                      <a:pt x="1921" y="8"/>
                    </a:lnTo>
                    <a:lnTo>
                      <a:pt x="1921" y="8"/>
                    </a:lnTo>
                    <a:close/>
                    <a:moveTo>
                      <a:pt x="1990" y="1"/>
                    </a:moveTo>
                    <a:lnTo>
                      <a:pt x="1992" y="1"/>
                    </a:lnTo>
                    <a:lnTo>
                      <a:pt x="1993" y="1"/>
                    </a:lnTo>
                    <a:lnTo>
                      <a:pt x="1995" y="1"/>
                    </a:lnTo>
                    <a:lnTo>
                      <a:pt x="1996" y="2"/>
                    </a:lnTo>
                    <a:lnTo>
                      <a:pt x="1998" y="3"/>
                    </a:lnTo>
                    <a:lnTo>
                      <a:pt x="1998" y="7"/>
                    </a:lnTo>
                    <a:lnTo>
                      <a:pt x="1994" y="5"/>
                    </a:lnTo>
                    <a:lnTo>
                      <a:pt x="1992" y="3"/>
                    </a:lnTo>
                    <a:lnTo>
                      <a:pt x="1991" y="2"/>
                    </a:lnTo>
                    <a:lnTo>
                      <a:pt x="1990" y="1"/>
                    </a:lnTo>
                    <a:close/>
                    <a:moveTo>
                      <a:pt x="1758" y="0"/>
                    </a:moveTo>
                    <a:lnTo>
                      <a:pt x="1758" y="0"/>
                    </a:lnTo>
                    <a:lnTo>
                      <a:pt x="1759" y="1"/>
                    </a:lnTo>
                    <a:lnTo>
                      <a:pt x="1760" y="3"/>
                    </a:lnTo>
                    <a:lnTo>
                      <a:pt x="1763" y="4"/>
                    </a:lnTo>
                    <a:lnTo>
                      <a:pt x="1765" y="6"/>
                    </a:lnTo>
                    <a:lnTo>
                      <a:pt x="1766" y="8"/>
                    </a:lnTo>
                    <a:lnTo>
                      <a:pt x="1768" y="11"/>
                    </a:lnTo>
                    <a:lnTo>
                      <a:pt x="1769" y="13"/>
                    </a:lnTo>
                    <a:lnTo>
                      <a:pt x="1771" y="15"/>
                    </a:lnTo>
                    <a:lnTo>
                      <a:pt x="1772" y="17"/>
                    </a:lnTo>
                    <a:lnTo>
                      <a:pt x="1773" y="20"/>
                    </a:lnTo>
                    <a:lnTo>
                      <a:pt x="1773" y="20"/>
                    </a:lnTo>
                    <a:lnTo>
                      <a:pt x="1774" y="22"/>
                    </a:lnTo>
                    <a:lnTo>
                      <a:pt x="1776" y="23"/>
                    </a:lnTo>
                    <a:lnTo>
                      <a:pt x="1777" y="25"/>
                    </a:lnTo>
                    <a:lnTo>
                      <a:pt x="1778" y="26"/>
                    </a:lnTo>
                    <a:lnTo>
                      <a:pt x="1778" y="27"/>
                    </a:lnTo>
                    <a:lnTo>
                      <a:pt x="1778" y="28"/>
                    </a:lnTo>
                    <a:lnTo>
                      <a:pt x="1778" y="28"/>
                    </a:lnTo>
                    <a:lnTo>
                      <a:pt x="1777" y="27"/>
                    </a:lnTo>
                    <a:lnTo>
                      <a:pt x="1775" y="26"/>
                    </a:lnTo>
                    <a:lnTo>
                      <a:pt x="1773" y="22"/>
                    </a:lnTo>
                    <a:lnTo>
                      <a:pt x="1771" y="19"/>
                    </a:lnTo>
                    <a:lnTo>
                      <a:pt x="1768" y="15"/>
                    </a:lnTo>
                    <a:lnTo>
                      <a:pt x="1765" y="11"/>
                    </a:lnTo>
                    <a:lnTo>
                      <a:pt x="1763" y="10"/>
                    </a:lnTo>
                    <a:lnTo>
                      <a:pt x="1761" y="8"/>
                    </a:lnTo>
                    <a:lnTo>
                      <a:pt x="1759" y="6"/>
                    </a:lnTo>
                    <a:lnTo>
                      <a:pt x="1758" y="4"/>
                    </a:lnTo>
                    <a:lnTo>
                      <a:pt x="1757" y="3"/>
                    </a:lnTo>
                    <a:lnTo>
                      <a:pt x="1757" y="2"/>
                    </a:lnTo>
                    <a:lnTo>
                      <a:pt x="1757" y="1"/>
                    </a:lnTo>
                    <a:lnTo>
                      <a:pt x="1758"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2"/>
              <p:cNvSpPr>
                <a:spLocks noEditPoints="1"/>
              </p:cNvSpPr>
              <p:nvPr/>
            </p:nvSpPr>
            <p:spPr bwMode="auto">
              <a:xfrm>
                <a:off x="3179" y="784"/>
                <a:ext cx="281" cy="143"/>
              </a:xfrm>
              <a:custGeom>
                <a:avLst/>
                <a:gdLst>
                  <a:gd name="T0" fmla="*/ 1912 w 1971"/>
                  <a:gd name="T1" fmla="*/ 441 h 1004"/>
                  <a:gd name="T2" fmla="*/ 1812 w 1971"/>
                  <a:gd name="T3" fmla="*/ 389 h 1004"/>
                  <a:gd name="T4" fmla="*/ 1948 w 1971"/>
                  <a:gd name="T5" fmla="*/ 421 h 1004"/>
                  <a:gd name="T6" fmla="*/ 1930 w 1971"/>
                  <a:gd name="T7" fmla="*/ 412 h 1004"/>
                  <a:gd name="T8" fmla="*/ 1959 w 1971"/>
                  <a:gd name="T9" fmla="*/ 379 h 1004"/>
                  <a:gd name="T10" fmla="*/ 248 w 1971"/>
                  <a:gd name="T11" fmla="*/ 372 h 1004"/>
                  <a:gd name="T12" fmla="*/ 1703 w 1971"/>
                  <a:gd name="T13" fmla="*/ 373 h 1004"/>
                  <a:gd name="T14" fmla="*/ 1747 w 1971"/>
                  <a:gd name="T15" fmla="*/ 436 h 1004"/>
                  <a:gd name="T16" fmla="*/ 1716 w 1971"/>
                  <a:gd name="T17" fmla="*/ 444 h 1004"/>
                  <a:gd name="T18" fmla="*/ 1689 w 1971"/>
                  <a:gd name="T19" fmla="*/ 386 h 1004"/>
                  <a:gd name="T20" fmla="*/ 1737 w 1971"/>
                  <a:gd name="T21" fmla="*/ 354 h 1004"/>
                  <a:gd name="T22" fmla="*/ 1759 w 1971"/>
                  <a:gd name="T23" fmla="*/ 406 h 1004"/>
                  <a:gd name="T24" fmla="*/ 1718 w 1971"/>
                  <a:gd name="T25" fmla="*/ 356 h 1004"/>
                  <a:gd name="T26" fmla="*/ 647 w 1971"/>
                  <a:gd name="T27" fmla="*/ 313 h 1004"/>
                  <a:gd name="T28" fmla="*/ 205 w 1971"/>
                  <a:gd name="T29" fmla="*/ 341 h 1004"/>
                  <a:gd name="T30" fmla="*/ 132 w 1971"/>
                  <a:gd name="T31" fmla="*/ 395 h 1004"/>
                  <a:gd name="T32" fmla="*/ 86 w 1971"/>
                  <a:gd name="T33" fmla="*/ 370 h 1004"/>
                  <a:gd name="T34" fmla="*/ 182 w 1971"/>
                  <a:gd name="T35" fmla="*/ 357 h 1004"/>
                  <a:gd name="T36" fmla="*/ 338 w 1971"/>
                  <a:gd name="T37" fmla="*/ 365 h 1004"/>
                  <a:gd name="T38" fmla="*/ 114 w 1971"/>
                  <a:gd name="T39" fmla="*/ 290 h 1004"/>
                  <a:gd name="T40" fmla="*/ 33 w 1971"/>
                  <a:gd name="T41" fmla="*/ 382 h 1004"/>
                  <a:gd name="T42" fmla="*/ 1436 w 1971"/>
                  <a:gd name="T43" fmla="*/ 296 h 1004"/>
                  <a:gd name="T44" fmla="*/ 241 w 1971"/>
                  <a:gd name="T45" fmla="*/ 276 h 1004"/>
                  <a:gd name="T46" fmla="*/ 465 w 1971"/>
                  <a:gd name="T47" fmla="*/ 262 h 1004"/>
                  <a:gd name="T48" fmla="*/ 401 w 1971"/>
                  <a:gd name="T49" fmla="*/ 240 h 1004"/>
                  <a:gd name="T50" fmla="*/ 408 w 1971"/>
                  <a:gd name="T51" fmla="*/ 205 h 1004"/>
                  <a:gd name="T52" fmla="*/ 364 w 1971"/>
                  <a:gd name="T53" fmla="*/ 200 h 1004"/>
                  <a:gd name="T54" fmla="*/ 321 w 1971"/>
                  <a:gd name="T55" fmla="*/ 235 h 1004"/>
                  <a:gd name="T56" fmla="*/ 371 w 1971"/>
                  <a:gd name="T57" fmla="*/ 150 h 1004"/>
                  <a:gd name="T58" fmla="*/ 1214 w 1971"/>
                  <a:gd name="T59" fmla="*/ 25 h 1004"/>
                  <a:gd name="T60" fmla="*/ 1266 w 1971"/>
                  <a:gd name="T61" fmla="*/ 67 h 1004"/>
                  <a:gd name="T62" fmla="*/ 1208 w 1971"/>
                  <a:gd name="T63" fmla="*/ 114 h 1004"/>
                  <a:gd name="T64" fmla="*/ 1325 w 1971"/>
                  <a:gd name="T65" fmla="*/ 137 h 1004"/>
                  <a:gd name="T66" fmla="*/ 1371 w 1971"/>
                  <a:gd name="T67" fmla="*/ 159 h 1004"/>
                  <a:gd name="T68" fmla="*/ 1424 w 1971"/>
                  <a:gd name="T69" fmla="*/ 199 h 1004"/>
                  <a:gd name="T70" fmla="*/ 1400 w 1971"/>
                  <a:gd name="T71" fmla="*/ 234 h 1004"/>
                  <a:gd name="T72" fmla="*/ 1414 w 1971"/>
                  <a:gd name="T73" fmla="*/ 283 h 1004"/>
                  <a:gd name="T74" fmla="*/ 1437 w 1971"/>
                  <a:gd name="T75" fmla="*/ 370 h 1004"/>
                  <a:gd name="T76" fmla="*/ 1449 w 1971"/>
                  <a:gd name="T77" fmla="*/ 421 h 1004"/>
                  <a:gd name="T78" fmla="*/ 1473 w 1971"/>
                  <a:gd name="T79" fmla="*/ 492 h 1004"/>
                  <a:gd name="T80" fmla="*/ 1434 w 1971"/>
                  <a:gd name="T81" fmla="*/ 546 h 1004"/>
                  <a:gd name="T82" fmla="*/ 1431 w 1971"/>
                  <a:gd name="T83" fmla="*/ 603 h 1004"/>
                  <a:gd name="T84" fmla="*/ 1444 w 1971"/>
                  <a:gd name="T85" fmla="*/ 649 h 1004"/>
                  <a:gd name="T86" fmla="*/ 1392 w 1971"/>
                  <a:gd name="T87" fmla="*/ 730 h 1004"/>
                  <a:gd name="T88" fmla="*/ 1311 w 1971"/>
                  <a:gd name="T89" fmla="*/ 801 h 1004"/>
                  <a:gd name="T90" fmla="*/ 1286 w 1971"/>
                  <a:gd name="T91" fmla="*/ 905 h 1004"/>
                  <a:gd name="T92" fmla="*/ 1216 w 1971"/>
                  <a:gd name="T93" fmla="*/ 967 h 1004"/>
                  <a:gd name="T94" fmla="*/ 1103 w 1971"/>
                  <a:gd name="T95" fmla="*/ 740 h 1004"/>
                  <a:gd name="T96" fmla="*/ 1104 w 1971"/>
                  <a:gd name="T97" fmla="*/ 676 h 1004"/>
                  <a:gd name="T98" fmla="*/ 1065 w 1971"/>
                  <a:gd name="T99" fmla="*/ 617 h 1004"/>
                  <a:gd name="T100" fmla="*/ 1075 w 1971"/>
                  <a:gd name="T101" fmla="*/ 527 h 1004"/>
                  <a:gd name="T102" fmla="*/ 1026 w 1971"/>
                  <a:gd name="T103" fmla="*/ 447 h 1004"/>
                  <a:gd name="T104" fmla="*/ 867 w 1971"/>
                  <a:gd name="T105" fmla="*/ 314 h 1004"/>
                  <a:gd name="T106" fmla="*/ 764 w 1971"/>
                  <a:gd name="T107" fmla="*/ 268 h 1004"/>
                  <a:gd name="T108" fmla="*/ 782 w 1971"/>
                  <a:gd name="T109" fmla="*/ 243 h 1004"/>
                  <a:gd name="T110" fmla="*/ 837 w 1971"/>
                  <a:gd name="T111" fmla="*/ 145 h 1004"/>
                  <a:gd name="T112" fmla="*/ 830 w 1971"/>
                  <a:gd name="T113" fmla="*/ 92 h 1004"/>
                  <a:gd name="T114" fmla="*/ 889 w 1971"/>
                  <a:gd name="T115" fmla="*/ 40 h 1004"/>
                  <a:gd name="T116" fmla="*/ 971 w 1971"/>
                  <a:gd name="T117" fmla="*/ 43 h 1004"/>
                  <a:gd name="T118" fmla="*/ 1053 w 1971"/>
                  <a:gd name="T119" fmla="*/ 65 h 1004"/>
                  <a:gd name="T120" fmla="*/ 1106 w 1971"/>
                  <a:gd name="T121" fmla="*/ 41 h 1004"/>
                  <a:gd name="T122" fmla="*/ 1057 w 1971"/>
                  <a:gd name="T123" fmla="*/ 8 h 1004"/>
                  <a:gd name="T124" fmla="*/ 1120 w 1971"/>
                  <a:gd name="T125" fmla="*/ 21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71" h="1004">
                    <a:moveTo>
                      <a:pt x="1905" y="394"/>
                    </a:moveTo>
                    <a:lnTo>
                      <a:pt x="1905" y="395"/>
                    </a:lnTo>
                    <a:lnTo>
                      <a:pt x="1905" y="395"/>
                    </a:lnTo>
                    <a:lnTo>
                      <a:pt x="1905" y="395"/>
                    </a:lnTo>
                    <a:lnTo>
                      <a:pt x="1905" y="394"/>
                    </a:lnTo>
                    <a:close/>
                    <a:moveTo>
                      <a:pt x="1884" y="394"/>
                    </a:moveTo>
                    <a:lnTo>
                      <a:pt x="1886" y="395"/>
                    </a:lnTo>
                    <a:lnTo>
                      <a:pt x="1888" y="395"/>
                    </a:lnTo>
                    <a:lnTo>
                      <a:pt x="1890" y="396"/>
                    </a:lnTo>
                    <a:lnTo>
                      <a:pt x="1892" y="397"/>
                    </a:lnTo>
                    <a:lnTo>
                      <a:pt x="1894" y="399"/>
                    </a:lnTo>
                    <a:lnTo>
                      <a:pt x="1896" y="401"/>
                    </a:lnTo>
                    <a:lnTo>
                      <a:pt x="1898" y="403"/>
                    </a:lnTo>
                    <a:lnTo>
                      <a:pt x="1901" y="405"/>
                    </a:lnTo>
                    <a:lnTo>
                      <a:pt x="1902" y="405"/>
                    </a:lnTo>
                    <a:lnTo>
                      <a:pt x="1904" y="405"/>
                    </a:lnTo>
                    <a:lnTo>
                      <a:pt x="1905" y="406"/>
                    </a:lnTo>
                    <a:lnTo>
                      <a:pt x="1906" y="405"/>
                    </a:lnTo>
                    <a:lnTo>
                      <a:pt x="1906" y="405"/>
                    </a:lnTo>
                    <a:lnTo>
                      <a:pt x="1906" y="403"/>
                    </a:lnTo>
                    <a:lnTo>
                      <a:pt x="1906" y="402"/>
                    </a:lnTo>
                    <a:lnTo>
                      <a:pt x="1905" y="401"/>
                    </a:lnTo>
                    <a:lnTo>
                      <a:pt x="1905" y="401"/>
                    </a:lnTo>
                    <a:lnTo>
                      <a:pt x="1906" y="401"/>
                    </a:lnTo>
                    <a:lnTo>
                      <a:pt x="1906" y="400"/>
                    </a:lnTo>
                    <a:lnTo>
                      <a:pt x="1907" y="400"/>
                    </a:lnTo>
                    <a:lnTo>
                      <a:pt x="1908" y="401"/>
                    </a:lnTo>
                    <a:lnTo>
                      <a:pt x="1910" y="402"/>
                    </a:lnTo>
                    <a:lnTo>
                      <a:pt x="1911" y="404"/>
                    </a:lnTo>
                    <a:lnTo>
                      <a:pt x="1912" y="405"/>
                    </a:lnTo>
                    <a:lnTo>
                      <a:pt x="1912" y="407"/>
                    </a:lnTo>
                    <a:lnTo>
                      <a:pt x="1913" y="409"/>
                    </a:lnTo>
                    <a:lnTo>
                      <a:pt x="1914" y="411"/>
                    </a:lnTo>
                    <a:lnTo>
                      <a:pt x="1914" y="413"/>
                    </a:lnTo>
                    <a:lnTo>
                      <a:pt x="1915" y="414"/>
                    </a:lnTo>
                    <a:lnTo>
                      <a:pt x="1916" y="415"/>
                    </a:lnTo>
                    <a:lnTo>
                      <a:pt x="1917" y="417"/>
                    </a:lnTo>
                    <a:lnTo>
                      <a:pt x="1918" y="419"/>
                    </a:lnTo>
                    <a:lnTo>
                      <a:pt x="1919" y="421"/>
                    </a:lnTo>
                    <a:lnTo>
                      <a:pt x="1919" y="422"/>
                    </a:lnTo>
                    <a:lnTo>
                      <a:pt x="1919" y="423"/>
                    </a:lnTo>
                    <a:lnTo>
                      <a:pt x="1918" y="424"/>
                    </a:lnTo>
                    <a:lnTo>
                      <a:pt x="1917" y="425"/>
                    </a:lnTo>
                    <a:lnTo>
                      <a:pt x="1916" y="425"/>
                    </a:lnTo>
                    <a:lnTo>
                      <a:pt x="1915" y="424"/>
                    </a:lnTo>
                    <a:lnTo>
                      <a:pt x="1914" y="424"/>
                    </a:lnTo>
                    <a:lnTo>
                      <a:pt x="1914" y="425"/>
                    </a:lnTo>
                    <a:lnTo>
                      <a:pt x="1915" y="427"/>
                    </a:lnTo>
                    <a:lnTo>
                      <a:pt x="1916" y="429"/>
                    </a:lnTo>
                    <a:lnTo>
                      <a:pt x="1916" y="431"/>
                    </a:lnTo>
                    <a:lnTo>
                      <a:pt x="1917" y="432"/>
                    </a:lnTo>
                    <a:lnTo>
                      <a:pt x="1916" y="432"/>
                    </a:lnTo>
                    <a:lnTo>
                      <a:pt x="1916" y="432"/>
                    </a:lnTo>
                    <a:lnTo>
                      <a:pt x="1915" y="431"/>
                    </a:lnTo>
                    <a:lnTo>
                      <a:pt x="1913" y="430"/>
                    </a:lnTo>
                    <a:lnTo>
                      <a:pt x="1912" y="429"/>
                    </a:lnTo>
                    <a:lnTo>
                      <a:pt x="1911" y="428"/>
                    </a:lnTo>
                    <a:lnTo>
                      <a:pt x="1910" y="428"/>
                    </a:lnTo>
                    <a:lnTo>
                      <a:pt x="1909" y="428"/>
                    </a:lnTo>
                    <a:lnTo>
                      <a:pt x="1909" y="429"/>
                    </a:lnTo>
                    <a:lnTo>
                      <a:pt x="1910" y="431"/>
                    </a:lnTo>
                    <a:lnTo>
                      <a:pt x="1911" y="432"/>
                    </a:lnTo>
                    <a:lnTo>
                      <a:pt x="1912" y="434"/>
                    </a:lnTo>
                    <a:lnTo>
                      <a:pt x="1913" y="436"/>
                    </a:lnTo>
                    <a:lnTo>
                      <a:pt x="1913" y="438"/>
                    </a:lnTo>
                    <a:lnTo>
                      <a:pt x="1912" y="439"/>
                    </a:lnTo>
                    <a:lnTo>
                      <a:pt x="1912" y="441"/>
                    </a:lnTo>
                    <a:lnTo>
                      <a:pt x="1912" y="442"/>
                    </a:lnTo>
                    <a:lnTo>
                      <a:pt x="1911" y="442"/>
                    </a:lnTo>
                    <a:lnTo>
                      <a:pt x="1910" y="441"/>
                    </a:lnTo>
                    <a:lnTo>
                      <a:pt x="1909" y="440"/>
                    </a:lnTo>
                    <a:lnTo>
                      <a:pt x="1908" y="439"/>
                    </a:lnTo>
                    <a:lnTo>
                      <a:pt x="1906" y="436"/>
                    </a:lnTo>
                    <a:lnTo>
                      <a:pt x="1904" y="433"/>
                    </a:lnTo>
                    <a:lnTo>
                      <a:pt x="1901" y="431"/>
                    </a:lnTo>
                    <a:lnTo>
                      <a:pt x="1900" y="429"/>
                    </a:lnTo>
                    <a:lnTo>
                      <a:pt x="1898" y="427"/>
                    </a:lnTo>
                    <a:lnTo>
                      <a:pt x="1898" y="425"/>
                    </a:lnTo>
                    <a:lnTo>
                      <a:pt x="1898" y="423"/>
                    </a:lnTo>
                    <a:lnTo>
                      <a:pt x="1898" y="421"/>
                    </a:lnTo>
                    <a:lnTo>
                      <a:pt x="1897" y="419"/>
                    </a:lnTo>
                    <a:lnTo>
                      <a:pt x="1896" y="417"/>
                    </a:lnTo>
                    <a:lnTo>
                      <a:pt x="1894" y="415"/>
                    </a:lnTo>
                    <a:lnTo>
                      <a:pt x="1894" y="413"/>
                    </a:lnTo>
                    <a:lnTo>
                      <a:pt x="1893" y="411"/>
                    </a:lnTo>
                    <a:lnTo>
                      <a:pt x="1892" y="409"/>
                    </a:lnTo>
                    <a:lnTo>
                      <a:pt x="1892" y="408"/>
                    </a:lnTo>
                    <a:lnTo>
                      <a:pt x="1891" y="407"/>
                    </a:lnTo>
                    <a:lnTo>
                      <a:pt x="1891" y="406"/>
                    </a:lnTo>
                    <a:lnTo>
                      <a:pt x="1890" y="407"/>
                    </a:lnTo>
                    <a:lnTo>
                      <a:pt x="1890" y="409"/>
                    </a:lnTo>
                    <a:lnTo>
                      <a:pt x="1890" y="410"/>
                    </a:lnTo>
                    <a:lnTo>
                      <a:pt x="1891" y="412"/>
                    </a:lnTo>
                    <a:lnTo>
                      <a:pt x="1891" y="413"/>
                    </a:lnTo>
                    <a:lnTo>
                      <a:pt x="1890" y="415"/>
                    </a:lnTo>
                    <a:lnTo>
                      <a:pt x="1890" y="416"/>
                    </a:lnTo>
                    <a:lnTo>
                      <a:pt x="1888" y="415"/>
                    </a:lnTo>
                    <a:lnTo>
                      <a:pt x="1887" y="415"/>
                    </a:lnTo>
                    <a:lnTo>
                      <a:pt x="1885" y="413"/>
                    </a:lnTo>
                    <a:lnTo>
                      <a:pt x="1884" y="411"/>
                    </a:lnTo>
                    <a:lnTo>
                      <a:pt x="1881" y="407"/>
                    </a:lnTo>
                    <a:lnTo>
                      <a:pt x="1880" y="404"/>
                    </a:lnTo>
                    <a:lnTo>
                      <a:pt x="1879" y="402"/>
                    </a:lnTo>
                    <a:lnTo>
                      <a:pt x="1879" y="399"/>
                    </a:lnTo>
                    <a:lnTo>
                      <a:pt x="1880" y="397"/>
                    </a:lnTo>
                    <a:lnTo>
                      <a:pt x="1881" y="395"/>
                    </a:lnTo>
                    <a:lnTo>
                      <a:pt x="1882" y="394"/>
                    </a:lnTo>
                    <a:lnTo>
                      <a:pt x="1883" y="394"/>
                    </a:lnTo>
                    <a:lnTo>
                      <a:pt x="1884" y="394"/>
                    </a:lnTo>
                    <a:close/>
                    <a:moveTo>
                      <a:pt x="1812" y="388"/>
                    </a:moveTo>
                    <a:lnTo>
                      <a:pt x="1813" y="388"/>
                    </a:lnTo>
                    <a:lnTo>
                      <a:pt x="1815" y="389"/>
                    </a:lnTo>
                    <a:lnTo>
                      <a:pt x="1816" y="391"/>
                    </a:lnTo>
                    <a:lnTo>
                      <a:pt x="1817" y="393"/>
                    </a:lnTo>
                    <a:lnTo>
                      <a:pt x="1817" y="396"/>
                    </a:lnTo>
                    <a:lnTo>
                      <a:pt x="1815" y="397"/>
                    </a:lnTo>
                    <a:lnTo>
                      <a:pt x="1814" y="398"/>
                    </a:lnTo>
                    <a:lnTo>
                      <a:pt x="1813" y="398"/>
                    </a:lnTo>
                    <a:lnTo>
                      <a:pt x="1812" y="398"/>
                    </a:lnTo>
                    <a:lnTo>
                      <a:pt x="1811" y="399"/>
                    </a:lnTo>
                    <a:lnTo>
                      <a:pt x="1810" y="399"/>
                    </a:lnTo>
                    <a:lnTo>
                      <a:pt x="1809" y="399"/>
                    </a:lnTo>
                    <a:lnTo>
                      <a:pt x="1807" y="398"/>
                    </a:lnTo>
                    <a:lnTo>
                      <a:pt x="1802" y="391"/>
                    </a:lnTo>
                    <a:lnTo>
                      <a:pt x="1802" y="390"/>
                    </a:lnTo>
                    <a:lnTo>
                      <a:pt x="1803" y="389"/>
                    </a:lnTo>
                    <a:lnTo>
                      <a:pt x="1805" y="389"/>
                    </a:lnTo>
                    <a:lnTo>
                      <a:pt x="1807" y="390"/>
                    </a:lnTo>
                    <a:lnTo>
                      <a:pt x="1808" y="390"/>
                    </a:lnTo>
                    <a:lnTo>
                      <a:pt x="1810" y="391"/>
                    </a:lnTo>
                    <a:lnTo>
                      <a:pt x="1811" y="391"/>
                    </a:lnTo>
                    <a:lnTo>
                      <a:pt x="1811" y="391"/>
                    </a:lnTo>
                    <a:lnTo>
                      <a:pt x="1811" y="390"/>
                    </a:lnTo>
                    <a:lnTo>
                      <a:pt x="1812" y="389"/>
                    </a:lnTo>
                    <a:lnTo>
                      <a:pt x="1812" y="388"/>
                    </a:lnTo>
                    <a:lnTo>
                      <a:pt x="1812" y="388"/>
                    </a:lnTo>
                    <a:close/>
                    <a:moveTo>
                      <a:pt x="1958" y="385"/>
                    </a:moveTo>
                    <a:lnTo>
                      <a:pt x="1959" y="385"/>
                    </a:lnTo>
                    <a:lnTo>
                      <a:pt x="1959" y="386"/>
                    </a:lnTo>
                    <a:lnTo>
                      <a:pt x="1961" y="386"/>
                    </a:lnTo>
                    <a:lnTo>
                      <a:pt x="1963" y="388"/>
                    </a:lnTo>
                    <a:lnTo>
                      <a:pt x="1965" y="388"/>
                    </a:lnTo>
                    <a:lnTo>
                      <a:pt x="1965" y="390"/>
                    </a:lnTo>
                    <a:lnTo>
                      <a:pt x="1964" y="391"/>
                    </a:lnTo>
                    <a:lnTo>
                      <a:pt x="1964" y="391"/>
                    </a:lnTo>
                    <a:lnTo>
                      <a:pt x="1963" y="391"/>
                    </a:lnTo>
                    <a:lnTo>
                      <a:pt x="1962" y="390"/>
                    </a:lnTo>
                    <a:lnTo>
                      <a:pt x="1962" y="390"/>
                    </a:lnTo>
                    <a:lnTo>
                      <a:pt x="1961" y="389"/>
                    </a:lnTo>
                    <a:lnTo>
                      <a:pt x="1960" y="389"/>
                    </a:lnTo>
                    <a:lnTo>
                      <a:pt x="1959" y="388"/>
                    </a:lnTo>
                    <a:lnTo>
                      <a:pt x="1959" y="386"/>
                    </a:lnTo>
                    <a:lnTo>
                      <a:pt x="1958" y="385"/>
                    </a:lnTo>
                    <a:lnTo>
                      <a:pt x="1958" y="385"/>
                    </a:lnTo>
                    <a:close/>
                    <a:moveTo>
                      <a:pt x="1933" y="384"/>
                    </a:moveTo>
                    <a:lnTo>
                      <a:pt x="1933" y="384"/>
                    </a:lnTo>
                    <a:lnTo>
                      <a:pt x="1934" y="385"/>
                    </a:lnTo>
                    <a:lnTo>
                      <a:pt x="1936" y="388"/>
                    </a:lnTo>
                    <a:lnTo>
                      <a:pt x="1937" y="390"/>
                    </a:lnTo>
                    <a:lnTo>
                      <a:pt x="1939" y="391"/>
                    </a:lnTo>
                    <a:lnTo>
                      <a:pt x="1940" y="392"/>
                    </a:lnTo>
                    <a:lnTo>
                      <a:pt x="1942" y="391"/>
                    </a:lnTo>
                    <a:lnTo>
                      <a:pt x="1942" y="390"/>
                    </a:lnTo>
                    <a:lnTo>
                      <a:pt x="1943" y="390"/>
                    </a:lnTo>
                    <a:lnTo>
                      <a:pt x="1944" y="389"/>
                    </a:lnTo>
                    <a:lnTo>
                      <a:pt x="1945" y="390"/>
                    </a:lnTo>
                    <a:lnTo>
                      <a:pt x="1946" y="390"/>
                    </a:lnTo>
                    <a:lnTo>
                      <a:pt x="1948" y="392"/>
                    </a:lnTo>
                    <a:lnTo>
                      <a:pt x="1949" y="394"/>
                    </a:lnTo>
                    <a:lnTo>
                      <a:pt x="1949" y="395"/>
                    </a:lnTo>
                    <a:lnTo>
                      <a:pt x="1950" y="397"/>
                    </a:lnTo>
                    <a:lnTo>
                      <a:pt x="1950" y="398"/>
                    </a:lnTo>
                    <a:lnTo>
                      <a:pt x="1949" y="398"/>
                    </a:lnTo>
                    <a:lnTo>
                      <a:pt x="1949" y="398"/>
                    </a:lnTo>
                    <a:lnTo>
                      <a:pt x="1948" y="397"/>
                    </a:lnTo>
                    <a:lnTo>
                      <a:pt x="1947" y="397"/>
                    </a:lnTo>
                    <a:lnTo>
                      <a:pt x="1945" y="397"/>
                    </a:lnTo>
                    <a:lnTo>
                      <a:pt x="1944" y="397"/>
                    </a:lnTo>
                    <a:lnTo>
                      <a:pt x="1942" y="396"/>
                    </a:lnTo>
                    <a:lnTo>
                      <a:pt x="1941" y="397"/>
                    </a:lnTo>
                    <a:lnTo>
                      <a:pt x="1940" y="397"/>
                    </a:lnTo>
                    <a:lnTo>
                      <a:pt x="1942" y="399"/>
                    </a:lnTo>
                    <a:lnTo>
                      <a:pt x="1944" y="402"/>
                    </a:lnTo>
                    <a:lnTo>
                      <a:pt x="1947" y="404"/>
                    </a:lnTo>
                    <a:lnTo>
                      <a:pt x="1948" y="406"/>
                    </a:lnTo>
                    <a:lnTo>
                      <a:pt x="1949" y="408"/>
                    </a:lnTo>
                    <a:lnTo>
                      <a:pt x="1949" y="409"/>
                    </a:lnTo>
                    <a:lnTo>
                      <a:pt x="1949" y="410"/>
                    </a:lnTo>
                    <a:lnTo>
                      <a:pt x="1949" y="411"/>
                    </a:lnTo>
                    <a:lnTo>
                      <a:pt x="1950" y="412"/>
                    </a:lnTo>
                    <a:lnTo>
                      <a:pt x="1951" y="414"/>
                    </a:lnTo>
                    <a:lnTo>
                      <a:pt x="1953" y="416"/>
                    </a:lnTo>
                    <a:lnTo>
                      <a:pt x="1953" y="418"/>
                    </a:lnTo>
                    <a:lnTo>
                      <a:pt x="1953" y="420"/>
                    </a:lnTo>
                    <a:lnTo>
                      <a:pt x="1954" y="421"/>
                    </a:lnTo>
                    <a:lnTo>
                      <a:pt x="1953" y="422"/>
                    </a:lnTo>
                    <a:lnTo>
                      <a:pt x="1953" y="422"/>
                    </a:lnTo>
                    <a:lnTo>
                      <a:pt x="1951" y="422"/>
                    </a:lnTo>
                    <a:lnTo>
                      <a:pt x="1950" y="422"/>
                    </a:lnTo>
                    <a:lnTo>
                      <a:pt x="1949" y="422"/>
                    </a:lnTo>
                    <a:lnTo>
                      <a:pt x="1948" y="421"/>
                    </a:lnTo>
                    <a:lnTo>
                      <a:pt x="1948" y="422"/>
                    </a:lnTo>
                    <a:lnTo>
                      <a:pt x="1948" y="423"/>
                    </a:lnTo>
                    <a:lnTo>
                      <a:pt x="1948" y="424"/>
                    </a:lnTo>
                    <a:lnTo>
                      <a:pt x="1949" y="426"/>
                    </a:lnTo>
                    <a:lnTo>
                      <a:pt x="1949" y="427"/>
                    </a:lnTo>
                    <a:lnTo>
                      <a:pt x="1950" y="428"/>
                    </a:lnTo>
                    <a:lnTo>
                      <a:pt x="1952" y="429"/>
                    </a:lnTo>
                    <a:lnTo>
                      <a:pt x="1953" y="430"/>
                    </a:lnTo>
                    <a:lnTo>
                      <a:pt x="1953" y="431"/>
                    </a:lnTo>
                    <a:lnTo>
                      <a:pt x="1956" y="431"/>
                    </a:lnTo>
                    <a:lnTo>
                      <a:pt x="1958" y="433"/>
                    </a:lnTo>
                    <a:lnTo>
                      <a:pt x="1958" y="435"/>
                    </a:lnTo>
                    <a:lnTo>
                      <a:pt x="1959" y="437"/>
                    </a:lnTo>
                    <a:lnTo>
                      <a:pt x="1959" y="437"/>
                    </a:lnTo>
                    <a:lnTo>
                      <a:pt x="1960" y="438"/>
                    </a:lnTo>
                    <a:lnTo>
                      <a:pt x="1962" y="440"/>
                    </a:lnTo>
                    <a:lnTo>
                      <a:pt x="1963" y="441"/>
                    </a:lnTo>
                    <a:lnTo>
                      <a:pt x="1963" y="442"/>
                    </a:lnTo>
                    <a:lnTo>
                      <a:pt x="1963" y="445"/>
                    </a:lnTo>
                    <a:lnTo>
                      <a:pt x="1962" y="445"/>
                    </a:lnTo>
                    <a:lnTo>
                      <a:pt x="1961" y="446"/>
                    </a:lnTo>
                    <a:lnTo>
                      <a:pt x="1960" y="447"/>
                    </a:lnTo>
                    <a:lnTo>
                      <a:pt x="1960" y="447"/>
                    </a:lnTo>
                    <a:lnTo>
                      <a:pt x="1960" y="449"/>
                    </a:lnTo>
                    <a:lnTo>
                      <a:pt x="1960" y="450"/>
                    </a:lnTo>
                    <a:lnTo>
                      <a:pt x="1960" y="451"/>
                    </a:lnTo>
                    <a:lnTo>
                      <a:pt x="1960" y="452"/>
                    </a:lnTo>
                    <a:lnTo>
                      <a:pt x="1958" y="452"/>
                    </a:lnTo>
                    <a:lnTo>
                      <a:pt x="1958" y="452"/>
                    </a:lnTo>
                    <a:lnTo>
                      <a:pt x="1957" y="451"/>
                    </a:lnTo>
                    <a:lnTo>
                      <a:pt x="1956" y="450"/>
                    </a:lnTo>
                    <a:lnTo>
                      <a:pt x="1953" y="449"/>
                    </a:lnTo>
                    <a:lnTo>
                      <a:pt x="1952" y="448"/>
                    </a:lnTo>
                    <a:lnTo>
                      <a:pt x="1951" y="448"/>
                    </a:lnTo>
                    <a:lnTo>
                      <a:pt x="1951" y="449"/>
                    </a:lnTo>
                    <a:lnTo>
                      <a:pt x="1950" y="449"/>
                    </a:lnTo>
                    <a:lnTo>
                      <a:pt x="1949" y="449"/>
                    </a:lnTo>
                    <a:lnTo>
                      <a:pt x="1948" y="448"/>
                    </a:lnTo>
                    <a:lnTo>
                      <a:pt x="1947" y="447"/>
                    </a:lnTo>
                    <a:lnTo>
                      <a:pt x="1946" y="446"/>
                    </a:lnTo>
                    <a:lnTo>
                      <a:pt x="1946" y="444"/>
                    </a:lnTo>
                    <a:lnTo>
                      <a:pt x="1945" y="442"/>
                    </a:lnTo>
                    <a:lnTo>
                      <a:pt x="1943" y="441"/>
                    </a:lnTo>
                    <a:lnTo>
                      <a:pt x="1943" y="440"/>
                    </a:lnTo>
                    <a:lnTo>
                      <a:pt x="1942" y="440"/>
                    </a:lnTo>
                    <a:lnTo>
                      <a:pt x="1940" y="438"/>
                    </a:lnTo>
                    <a:lnTo>
                      <a:pt x="1939" y="438"/>
                    </a:lnTo>
                    <a:lnTo>
                      <a:pt x="1939" y="437"/>
                    </a:lnTo>
                    <a:lnTo>
                      <a:pt x="1939" y="436"/>
                    </a:lnTo>
                    <a:lnTo>
                      <a:pt x="1938" y="434"/>
                    </a:lnTo>
                    <a:lnTo>
                      <a:pt x="1938" y="433"/>
                    </a:lnTo>
                    <a:lnTo>
                      <a:pt x="1936" y="430"/>
                    </a:lnTo>
                    <a:lnTo>
                      <a:pt x="1934" y="428"/>
                    </a:lnTo>
                    <a:lnTo>
                      <a:pt x="1931" y="427"/>
                    </a:lnTo>
                    <a:lnTo>
                      <a:pt x="1928" y="425"/>
                    </a:lnTo>
                    <a:lnTo>
                      <a:pt x="1926" y="422"/>
                    </a:lnTo>
                    <a:lnTo>
                      <a:pt x="1926" y="418"/>
                    </a:lnTo>
                    <a:lnTo>
                      <a:pt x="1926" y="414"/>
                    </a:lnTo>
                    <a:lnTo>
                      <a:pt x="1926" y="413"/>
                    </a:lnTo>
                    <a:lnTo>
                      <a:pt x="1925" y="411"/>
                    </a:lnTo>
                    <a:lnTo>
                      <a:pt x="1925" y="410"/>
                    </a:lnTo>
                    <a:lnTo>
                      <a:pt x="1925" y="409"/>
                    </a:lnTo>
                    <a:lnTo>
                      <a:pt x="1925" y="408"/>
                    </a:lnTo>
                    <a:lnTo>
                      <a:pt x="1926" y="408"/>
                    </a:lnTo>
                    <a:lnTo>
                      <a:pt x="1927" y="409"/>
                    </a:lnTo>
                    <a:lnTo>
                      <a:pt x="1928" y="411"/>
                    </a:lnTo>
                    <a:lnTo>
                      <a:pt x="1930" y="412"/>
                    </a:lnTo>
                    <a:lnTo>
                      <a:pt x="1931" y="414"/>
                    </a:lnTo>
                    <a:lnTo>
                      <a:pt x="1932" y="416"/>
                    </a:lnTo>
                    <a:lnTo>
                      <a:pt x="1932" y="416"/>
                    </a:lnTo>
                    <a:lnTo>
                      <a:pt x="1933" y="417"/>
                    </a:lnTo>
                    <a:lnTo>
                      <a:pt x="1935" y="418"/>
                    </a:lnTo>
                    <a:lnTo>
                      <a:pt x="1936" y="418"/>
                    </a:lnTo>
                    <a:lnTo>
                      <a:pt x="1936" y="417"/>
                    </a:lnTo>
                    <a:lnTo>
                      <a:pt x="1936" y="416"/>
                    </a:lnTo>
                    <a:lnTo>
                      <a:pt x="1935" y="415"/>
                    </a:lnTo>
                    <a:lnTo>
                      <a:pt x="1934" y="414"/>
                    </a:lnTo>
                    <a:lnTo>
                      <a:pt x="1934" y="412"/>
                    </a:lnTo>
                    <a:lnTo>
                      <a:pt x="1932" y="411"/>
                    </a:lnTo>
                    <a:lnTo>
                      <a:pt x="1930" y="410"/>
                    </a:lnTo>
                    <a:lnTo>
                      <a:pt x="1928" y="408"/>
                    </a:lnTo>
                    <a:lnTo>
                      <a:pt x="1928" y="407"/>
                    </a:lnTo>
                    <a:lnTo>
                      <a:pt x="1927" y="405"/>
                    </a:lnTo>
                    <a:lnTo>
                      <a:pt x="1926" y="403"/>
                    </a:lnTo>
                    <a:lnTo>
                      <a:pt x="1926" y="401"/>
                    </a:lnTo>
                    <a:lnTo>
                      <a:pt x="1925" y="399"/>
                    </a:lnTo>
                    <a:lnTo>
                      <a:pt x="1924" y="398"/>
                    </a:lnTo>
                    <a:lnTo>
                      <a:pt x="1924" y="398"/>
                    </a:lnTo>
                    <a:lnTo>
                      <a:pt x="1925" y="398"/>
                    </a:lnTo>
                    <a:lnTo>
                      <a:pt x="1926" y="399"/>
                    </a:lnTo>
                    <a:lnTo>
                      <a:pt x="1927" y="399"/>
                    </a:lnTo>
                    <a:lnTo>
                      <a:pt x="1928" y="400"/>
                    </a:lnTo>
                    <a:lnTo>
                      <a:pt x="1930" y="401"/>
                    </a:lnTo>
                    <a:lnTo>
                      <a:pt x="1932" y="403"/>
                    </a:lnTo>
                    <a:lnTo>
                      <a:pt x="1934" y="404"/>
                    </a:lnTo>
                    <a:lnTo>
                      <a:pt x="1936" y="405"/>
                    </a:lnTo>
                    <a:lnTo>
                      <a:pt x="1936" y="399"/>
                    </a:lnTo>
                    <a:lnTo>
                      <a:pt x="1935" y="398"/>
                    </a:lnTo>
                    <a:lnTo>
                      <a:pt x="1933" y="397"/>
                    </a:lnTo>
                    <a:lnTo>
                      <a:pt x="1932" y="396"/>
                    </a:lnTo>
                    <a:lnTo>
                      <a:pt x="1932" y="395"/>
                    </a:lnTo>
                    <a:lnTo>
                      <a:pt x="1929" y="394"/>
                    </a:lnTo>
                    <a:lnTo>
                      <a:pt x="1928" y="393"/>
                    </a:lnTo>
                    <a:lnTo>
                      <a:pt x="1927" y="391"/>
                    </a:lnTo>
                    <a:lnTo>
                      <a:pt x="1927" y="390"/>
                    </a:lnTo>
                    <a:lnTo>
                      <a:pt x="1928" y="389"/>
                    </a:lnTo>
                    <a:lnTo>
                      <a:pt x="1930" y="390"/>
                    </a:lnTo>
                    <a:lnTo>
                      <a:pt x="1931" y="390"/>
                    </a:lnTo>
                    <a:lnTo>
                      <a:pt x="1932" y="390"/>
                    </a:lnTo>
                    <a:lnTo>
                      <a:pt x="1932" y="389"/>
                    </a:lnTo>
                    <a:lnTo>
                      <a:pt x="1932" y="388"/>
                    </a:lnTo>
                    <a:lnTo>
                      <a:pt x="1932" y="385"/>
                    </a:lnTo>
                    <a:lnTo>
                      <a:pt x="1932" y="385"/>
                    </a:lnTo>
                    <a:lnTo>
                      <a:pt x="1932" y="384"/>
                    </a:lnTo>
                    <a:lnTo>
                      <a:pt x="1933" y="384"/>
                    </a:lnTo>
                    <a:close/>
                    <a:moveTo>
                      <a:pt x="1959" y="378"/>
                    </a:moveTo>
                    <a:lnTo>
                      <a:pt x="1960" y="378"/>
                    </a:lnTo>
                    <a:lnTo>
                      <a:pt x="1962" y="379"/>
                    </a:lnTo>
                    <a:lnTo>
                      <a:pt x="1964" y="380"/>
                    </a:lnTo>
                    <a:lnTo>
                      <a:pt x="1965" y="382"/>
                    </a:lnTo>
                    <a:lnTo>
                      <a:pt x="1967" y="384"/>
                    </a:lnTo>
                    <a:lnTo>
                      <a:pt x="1969" y="386"/>
                    </a:lnTo>
                    <a:lnTo>
                      <a:pt x="1970" y="388"/>
                    </a:lnTo>
                    <a:lnTo>
                      <a:pt x="1970" y="390"/>
                    </a:lnTo>
                    <a:lnTo>
                      <a:pt x="1971" y="391"/>
                    </a:lnTo>
                    <a:lnTo>
                      <a:pt x="1970" y="391"/>
                    </a:lnTo>
                    <a:lnTo>
                      <a:pt x="1969" y="390"/>
                    </a:lnTo>
                    <a:lnTo>
                      <a:pt x="1967" y="389"/>
                    </a:lnTo>
                    <a:lnTo>
                      <a:pt x="1966" y="388"/>
                    </a:lnTo>
                    <a:lnTo>
                      <a:pt x="1964" y="385"/>
                    </a:lnTo>
                    <a:lnTo>
                      <a:pt x="1962" y="383"/>
                    </a:lnTo>
                    <a:lnTo>
                      <a:pt x="1960" y="382"/>
                    </a:lnTo>
                    <a:lnTo>
                      <a:pt x="1959" y="380"/>
                    </a:lnTo>
                    <a:lnTo>
                      <a:pt x="1959" y="379"/>
                    </a:lnTo>
                    <a:lnTo>
                      <a:pt x="1959" y="378"/>
                    </a:lnTo>
                    <a:lnTo>
                      <a:pt x="1959" y="378"/>
                    </a:lnTo>
                    <a:close/>
                    <a:moveTo>
                      <a:pt x="1932" y="368"/>
                    </a:moveTo>
                    <a:lnTo>
                      <a:pt x="1933" y="368"/>
                    </a:lnTo>
                    <a:lnTo>
                      <a:pt x="1938" y="370"/>
                    </a:lnTo>
                    <a:lnTo>
                      <a:pt x="1941" y="373"/>
                    </a:lnTo>
                    <a:lnTo>
                      <a:pt x="1942" y="375"/>
                    </a:lnTo>
                    <a:lnTo>
                      <a:pt x="1943" y="377"/>
                    </a:lnTo>
                    <a:lnTo>
                      <a:pt x="1943" y="379"/>
                    </a:lnTo>
                    <a:lnTo>
                      <a:pt x="1942" y="381"/>
                    </a:lnTo>
                    <a:lnTo>
                      <a:pt x="1941" y="382"/>
                    </a:lnTo>
                    <a:lnTo>
                      <a:pt x="1940" y="383"/>
                    </a:lnTo>
                    <a:lnTo>
                      <a:pt x="1937" y="379"/>
                    </a:lnTo>
                    <a:lnTo>
                      <a:pt x="1935" y="378"/>
                    </a:lnTo>
                    <a:lnTo>
                      <a:pt x="1933" y="377"/>
                    </a:lnTo>
                    <a:lnTo>
                      <a:pt x="1932" y="375"/>
                    </a:lnTo>
                    <a:lnTo>
                      <a:pt x="1930" y="374"/>
                    </a:lnTo>
                    <a:lnTo>
                      <a:pt x="1930" y="373"/>
                    </a:lnTo>
                    <a:lnTo>
                      <a:pt x="1930" y="371"/>
                    </a:lnTo>
                    <a:lnTo>
                      <a:pt x="1930" y="370"/>
                    </a:lnTo>
                    <a:lnTo>
                      <a:pt x="1931" y="368"/>
                    </a:lnTo>
                    <a:lnTo>
                      <a:pt x="1932" y="368"/>
                    </a:lnTo>
                    <a:close/>
                    <a:moveTo>
                      <a:pt x="71" y="368"/>
                    </a:moveTo>
                    <a:lnTo>
                      <a:pt x="73" y="368"/>
                    </a:lnTo>
                    <a:lnTo>
                      <a:pt x="74" y="369"/>
                    </a:lnTo>
                    <a:lnTo>
                      <a:pt x="73" y="371"/>
                    </a:lnTo>
                    <a:lnTo>
                      <a:pt x="71" y="372"/>
                    </a:lnTo>
                    <a:lnTo>
                      <a:pt x="69" y="374"/>
                    </a:lnTo>
                    <a:lnTo>
                      <a:pt x="68" y="375"/>
                    </a:lnTo>
                    <a:lnTo>
                      <a:pt x="66" y="376"/>
                    </a:lnTo>
                    <a:lnTo>
                      <a:pt x="64" y="379"/>
                    </a:lnTo>
                    <a:lnTo>
                      <a:pt x="61" y="382"/>
                    </a:lnTo>
                    <a:lnTo>
                      <a:pt x="59" y="386"/>
                    </a:lnTo>
                    <a:lnTo>
                      <a:pt x="54" y="393"/>
                    </a:lnTo>
                    <a:lnTo>
                      <a:pt x="46" y="398"/>
                    </a:lnTo>
                    <a:lnTo>
                      <a:pt x="39" y="399"/>
                    </a:lnTo>
                    <a:lnTo>
                      <a:pt x="37" y="396"/>
                    </a:lnTo>
                    <a:lnTo>
                      <a:pt x="39" y="391"/>
                    </a:lnTo>
                    <a:lnTo>
                      <a:pt x="42" y="384"/>
                    </a:lnTo>
                    <a:lnTo>
                      <a:pt x="48" y="380"/>
                    </a:lnTo>
                    <a:lnTo>
                      <a:pt x="54" y="376"/>
                    </a:lnTo>
                    <a:lnTo>
                      <a:pt x="57" y="375"/>
                    </a:lnTo>
                    <a:lnTo>
                      <a:pt x="59" y="374"/>
                    </a:lnTo>
                    <a:lnTo>
                      <a:pt x="61" y="372"/>
                    </a:lnTo>
                    <a:lnTo>
                      <a:pt x="61" y="372"/>
                    </a:lnTo>
                    <a:lnTo>
                      <a:pt x="62" y="371"/>
                    </a:lnTo>
                    <a:lnTo>
                      <a:pt x="62" y="371"/>
                    </a:lnTo>
                    <a:lnTo>
                      <a:pt x="64" y="370"/>
                    </a:lnTo>
                    <a:lnTo>
                      <a:pt x="65" y="369"/>
                    </a:lnTo>
                    <a:lnTo>
                      <a:pt x="67" y="368"/>
                    </a:lnTo>
                    <a:lnTo>
                      <a:pt x="69" y="368"/>
                    </a:lnTo>
                    <a:lnTo>
                      <a:pt x="71" y="368"/>
                    </a:lnTo>
                    <a:close/>
                    <a:moveTo>
                      <a:pt x="258" y="352"/>
                    </a:moveTo>
                    <a:lnTo>
                      <a:pt x="260" y="353"/>
                    </a:lnTo>
                    <a:lnTo>
                      <a:pt x="262" y="353"/>
                    </a:lnTo>
                    <a:lnTo>
                      <a:pt x="265" y="354"/>
                    </a:lnTo>
                    <a:lnTo>
                      <a:pt x="265" y="356"/>
                    </a:lnTo>
                    <a:lnTo>
                      <a:pt x="264" y="359"/>
                    </a:lnTo>
                    <a:lnTo>
                      <a:pt x="264" y="362"/>
                    </a:lnTo>
                    <a:lnTo>
                      <a:pt x="263" y="365"/>
                    </a:lnTo>
                    <a:lnTo>
                      <a:pt x="262" y="367"/>
                    </a:lnTo>
                    <a:lnTo>
                      <a:pt x="260" y="368"/>
                    </a:lnTo>
                    <a:lnTo>
                      <a:pt x="258" y="370"/>
                    </a:lnTo>
                    <a:lnTo>
                      <a:pt x="254" y="372"/>
                    </a:lnTo>
                    <a:lnTo>
                      <a:pt x="252" y="373"/>
                    </a:lnTo>
                    <a:lnTo>
                      <a:pt x="250" y="373"/>
                    </a:lnTo>
                    <a:lnTo>
                      <a:pt x="248" y="372"/>
                    </a:lnTo>
                    <a:lnTo>
                      <a:pt x="247" y="370"/>
                    </a:lnTo>
                    <a:lnTo>
                      <a:pt x="247" y="367"/>
                    </a:lnTo>
                    <a:lnTo>
                      <a:pt x="248" y="363"/>
                    </a:lnTo>
                    <a:lnTo>
                      <a:pt x="250" y="359"/>
                    </a:lnTo>
                    <a:lnTo>
                      <a:pt x="252" y="356"/>
                    </a:lnTo>
                    <a:lnTo>
                      <a:pt x="254" y="353"/>
                    </a:lnTo>
                    <a:lnTo>
                      <a:pt x="255" y="352"/>
                    </a:lnTo>
                    <a:lnTo>
                      <a:pt x="258" y="352"/>
                    </a:lnTo>
                    <a:close/>
                    <a:moveTo>
                      <a:pt x="1451" y="351"/>
                    </a:moveTo>
                    <a:lnTo>
                      <a:pt x="1452" y="352"/>
                    </a:lnTo>
                    <a:lnTo>
                      <a:pt x="1454" y="352"/>
                    </a:lnTo>
                    <a:lnTo>
                      <a:pt x="1455" y="353"/>
                    </a:lnTo>
                    <a:lnTo>
                      <a:pt x="1456" y="355"/>
                    </a:lnTo>
                    <a:lnTo>
                      <a:pt x="1456" y="358"/>
                    </a:lnTo>
                    <a:lnTo>
                      <a:pt x="1457" y="359"/>
                    </a:lnTo>
                    <a:lnTo>
                      <a:pt x="1457" y="361"/>
                    </a:lnTo>
                    <a:lnTo>
                      <a:pt x="1457" y="363"/>
                    </a:lnTo>
                    <a:lnTo>
                      <a:pt x="1457" y="364"/>
                    </a:lnTo>
                    <a:lnTo>
                      <a:pt x="1456" y="364"/>
                    </a:lnTo>
                    <a:lnTo>
                      <a:pt x="1455" y="365"/>
                    </a:lnTo>
                    <a:lnTo>
                      <a:pt x="1454" y="365"/>
                    </a:lnTo>
                    <a:lnTo>
                      <a:pt x="1453" y="364"/>
                    </a:lnTo>
                    <a:lnTo>
                      <a:pt x="1452" y="362"/>
                    </a:lnTo>
                    <a:lnTo>
                      <a:pt x="1452" y="361"/>
                    </a:lnTo>
                    <a:lnTo>
                      <a:pt x="1452" y="359"/>
                    </a:lnTo>
                    <a:lnTo>
                      <a:pt x="1452" y="357"/>
                    </a:lnTo>
                    <a:lnTo>
                      <a:pt x="1451" y="355"/>
                    </a:lnTo>
                    <a:lnTo>
                      <a:pt x="1451" y="353"/>
                    </a:lnTo>
                    <a:lnTo>
                      <a:pt x="1451" y="352"/>
                    </a:lnTo>
                    <a:lnTo>
                      <a:pt x="1451" y="351"/>
                    </a:lnTo>
                    <a:close/>
                    <a:moveTo>
                      <a:pt x="1677" y="351"/>
                    </a:moveTo>
                    <a:lnTo>
                      <a:pt x="1678" y="351"/>
                    </a:lnTo>
                    <a:lnTo>
                      <a:pt x="1678" y="352"/>
                    </a:lnTo>
                    <a:lnTo>
                      <a:pt x="1679" y="353"/>
                    </a:lnTo>
                    <a:lnTo>
                      <a:pt x="1680" y="355"/>
                    </a:lnTo>
                    <a:lnTo>
                      <a:pt x="1682" y="357"/>
                    </a:lnTo>
                    <a:lnTo>
                      <a:pt x="1683" y="357"/>
                    </a:lnTo>
                    <a:lnTo>
                      <a:pt x="1684" y="357"/>
                    </a:lnTo>
                    <a:lnTo>
                      <a:pt x="1685" y="356"/>
                    </a:lnTo>
                    <a:lnTo>
                      <a:pt x="1685" y="355"/>
                    </a:lnTo>
                    <a:lnTo>
                      <a:pt x="1686" y="355"/>
                    </a:lnTo>
                    <a:lnTo>
                      <a:pt x="1687" y="355"/>
                    </a:lnTo>
                    <a:lnTo>
                      <a:pt x="1688" y="357"/>
                    </a:lnTo>
                    <a:lnTo>
                      <a:pt x="1690" y="359"/>
                    </a:lnTo>
                    <a:lnTo>
                      <a:pt x="1691" y="361"/>
                    </a:lnTo>
                    <a:lnTo>
                      <a:pt x="1691" y="362"/>
                    </a:lnTo>
                    <a:lnTo>
                      <a:pt x="1691" y="363"/>
                    </a:lnTo>
                    <a:lnTo>
                      <a:pt x="1691" y="363"/>
                    </a:lnTo>
                    <a:lnTo>
                      <a:pt x="1690" y="364"/>
                    </a:lnTo>
                    <a:lnTo>
                      <a:pt x="1690" y="365"/>
                    </a:lnTo>
                    <a:lnTo>
                      <a:pt x="1691" y="367"/>
                    </a:lnTo>
                    <a:lnTo>
                      <a:pt x="1691" y="368"/>
                    </a:lnTo>
                    <a:lnTo>
                      <a:pt x="1692" y="370"/>
                    </a:lnTo>
                    <a:lnTo>
                      <a:pt x="1693" y="372"/>
                    </a:lnTo>
                    <a:lnTo>
                      <a:pt x="1695" y="373"/>
                    </a:lnTo>
                    <a:lnTo>
                      <a:pt x="1696" y="374"/>
                    </a:lnTo>
                    <a:lnTo>
                      <a:pt x="1698" y="374"/>
                    </a:lnTo>
                    <a:lnTo>
                      <a:pt x="1698" y="373"/>
                    </a:lnTo>
                    <a:lnTo>
                      <a:pt x="1696" y="371"/>
                    </a:lnTo>
                    <a:lnTo>
                      <a:pt x="1696" y="369"/>
                    </a:lnTo>
                    <a:lnTo>
                      <a:pt x="1696" y="367"/>
                    </a:lnTo>
                    <a:lnTo>
                      <a:pt x="1696" y="365"/>
                    </a:lnTo>
                    <a:lnTo>
                      <a:pt x="1696" y="365"/>
                    </a:lnTo>
                    <a:lnTo>
                      <a:pt x="1699" y="366"/>
                    </a:lnTo>
                    <a:lnTo>
                      <a:pt x="1700" y="368"/>
                    </a:lnTo>
                    <a:lnTo>
                      <a:pt x="1702" y="370"/>
                    </a:lnTo>
                    <a:lnTo>
                      <a:pt x="1703" y="373"/>
                    </a:lnTo>
                    <a:lnTo>
                      <a:pt x="1705" y="375"/>
                    </a:lnTo>
                    <a:lnTo>
                      <a:pt x="1707" y="377"/>
                    </a:lnTo>
                    <a:lnTo>
                      <a:pt x="1708" y="378"/>
                    </a:lnTo>
                    <a:lnTo>
                      <a:pt x="1709" y="379"/>
                    </a:lnTo>
                    <a:lnTo>
                      <a:pt x="1710" y="378"/>
                    </a:lnTo>
                    <a:lnTo>
                      <a:pt x="1710" y="373"/>
                    </a:lnTo>
                    <a:lnTo>
                      <a:pt x="1708" y="367"/>
                    </a:lnTo>
                    <a:lnTo>
                      <a:pt x="1706" y="361"/>
                    </a:lnTo>
                    <a:lnTo>
                      <a:pt x="1705" y="360"/>
                    </a:lnTo>
                    <a:lnTo>
                      <a:pt x="1705" y="358"/>
                    </a:lnTo>
                    <a:lnTo>
                      <a:pt x="1705" y="357"/>
                    </a:lnTo>
                    <a:lnTo>
                      <a:pt x="1705" y="356"/>
                    </a:lnTo>
                    <a:lnTo>
                      <a:pt x="1706" y="355"/>
                    </a:lnTo>
                    <a:lnTo>
                      <a:pt x="1708" y="356"/>
                    </a:lnTo>
                    <a:lnTo>
                      <a:pt x="1710" y="358"/>
                    </a:lnTo>
                    <a:lnTo>
                      <a:pt x="1711" y="360"/>
                    </a:lnTo>
                    <a:lnTo>
                      <a:pt x="1713" y="362"/>
                    </a:lnTo>
                    <a:lnTo>
                      <a:pt x="1714" y="365"/>
                    </a:lnTo>
                    <a:lnTo>
                      <a:pt x="1718" y="369"/>
                    </a:lnTo>
                    <a:lnTo>
                      <a:pt x="1718" y="371"/>
                    </a:lnTo>
                    <a:lnTo>
                      <a:pt x="1720" y="373"/>
                    </a:lnTo>
                    <a:lnTo>
                      <a:pt x="1721" y="374"/>
                    </a:lnTo>
                    <a:lnTo>
                      <a:pt x="1721" y="375"/>
                    </a:lnTo>
                    <a:lnTo>
                      <a:pt x="1721" y="376"/>
                    </a:lnTo>
                    <a:lnTo>
                      <a:pt x="1722" y="378"/>
                    </a:lnTo>
                    <a:lnTo>
                      <a:pt x="1723" y="380"/>
                    </a:lnTo>
                    <a:lnTo>
                      <a:pt x="1725" y="382"/>
                    </a:lnTo>
                    <a:lnTo>
                      <a:pt x="1725" y="380"/>
                    </a:lnTo>
                    <a:lnTo>
                      <a:pt x="1727" y="382"/>
                    </a:lnTo>
                    <a:lnTo>
                      <a:pt x="1728" y="385"/>
                    </a:lnTo>
                    <a:lnTo>
                      <a:pt x="1729" y="389"/>
                    </a:lnTo>
                    <a:lnTo>
                      <a:pt x="1730" y="392"/>
                    </a:lnTo>
                    <a:lnTo>
                      <a:pt x="1730" y="395"/>
                    </a:lnTo>
                    <a:lnTo>
                      <a:pt x="1736" y="401"/>
                    </a:lnTo>
                    <a:lnTo>
                      <a:pt x="1737" y="403"/>
                    </a:lnTo>
                    <a:lnTo>
                      <a:pt x="1738" y="404"/>
                    </a:lnTo>
                    <a:lnTo>
                      <a:pt x="1740" y="405"/>
                    </a:lnTo>
                    <a:lnTo>
                      <a:pt x="1741" y="406"/>
                    </a:lnTo>
                    <a:lnTo>
                      <a:pt x="1743" y="407"/>
                    </a:lnTo>
                    <a:lnTo>
                      <a:pt x="1744" y="408"/>
                    </a:lnTo>
                    <a:lnTo>
                      <a:pt x="1745" y="410"/>
                    </a:lnTo>
                    <a:lnTo>
                      <a:pt x="1746" y="411"/>
                    </a:lnTo>
                    <a:lnTo>
                      <a:pt x="1747" y="412"/>
                    </a:lnTo>
                    <a:lnTo>
                      <a:pt x="1747" y="413"/>
                    </a:lnTo>
                    <a:lnTo>
                      <a:pt x="1748" y="414"/>
                    </a:lnTo>
                    <a:lnTo>
                      <a:pt x="1751" y="416"/>
                    </a:lnTo>
                    <a:lnTo>
                      <a:pt x="1752" y="417"/>
                    </a:lnTo>
                    <a:lnTo>
                      <a:pt x="1753" y="417"/>
                    </a:lnTo>
                    <a:lnTo>
                      <a:pt x="1754" y="418"/>
                    </a:lnTo>
                    <a:lnTo>
                      <a:pt x="1755" y="420"/>
                    </a:lnTo>
                    <a:lnTo>
                      <a:pt x="1755" y="422"/>
                    </a:lnTo>
                    <a:lnTo>
                      <a:pt x="1756" y="424"/>
                    </a:lnTo>
                    <a:lnTo>
                      <a:pt x="1757" y="425"/>
                    </a:lnTo>
                    <a:lnTo>
                      <a:pt x="1758" y="426"/>
                    </a:lnTo>
                    <a:lnTo>
                      <a:pt x="1759" y="428"/>
                    </a:lnTo>
                    <a:lnTo>
                      <a:pt x="1758" y="428"/>
                    </a:lnTo>
                    <a:lnTo>
                      <a:pt x="1757" y="429"/>
                    </a:lnTo>
                    <a:lnTo>
                      <a:pt x="1756" y="429"/>
                    </a:lnTo>
                    <a:lnTo>
                      <a:pt x="1754" y="429"/>
                    </a:lnTo>
                    <a:lnTo>
                      <a:pt x="1753" y="429"/>
                    </a:lnTo>
                    <a:lnTo>
                      <a:pt x="1752" y="429"/>
                    </a:lnTo>
                    <a:lnTo>
                      <a:pt x="1751" y="429"/>
                    </a:lnTo>
                    <a:lnTo>
                      <a:pt x="1750" y="430"/>
                    </a:lnTo>
                    <a:lnTo>
                      <a:pt x="1750" y="431"/>
                    </a:lnTo>
                    <a:lnTo>
                      <a:pt x="1748" y="432"/>
                    </a:lnTo>
                    <a:lnTo>
                      <a:pt x="1748" y="433"/>
                    </a:lnTo>
                    <a:lnTo>
                      <a:pt x="1747" y="436"/>
                    </a:lnTo>
                    <a:lnTo>
                      <a:pt x="1747" y="438"/>
                    </a:lnTo>
                    <a:lnTo>
                      <a:pt x="1747" y="440"/>
                    </a:lnTo>
                    <a:lnTo>
                      <a:pt x="1748" y="444"/>
                    </a:lnTo>
                    <a:lnTo>
                      <a:pt x="1750" y="447"/>
                    </a:lnTo>
                    <a:lnTo>
                      <a:pt x="1750" y="450"/>
                    </a:lnTo>
                    <a:lnTo>
                      <a:pt x="1751" y="452"/>
                    </a:lnTo>
                    <a:lnTo>
                      <a:pt x="1751" y="454"/>
                    </a:lnTo>
                    <a:lnTo>
                      <a:pt x="1750" y="454"/>
                    </a:lnTo>
                    <a:lnTo>
                      <a:pt x="1750" y="455"/>
                    </a:lnTo>
                    <a:lnTo>
                      <a:pt x="1750" y="457"/>
                    </a:lnTo>
                    <a:lnTo>
                      <a:pt x="1748" y="459"/>
                    </a:lnTo>
                    <a:lnTo>
                      <a:pt x="1748" y="461"/>
                    </a:lnTo>
                    <a:lnTo>
                      <a:pt x="1751" y="465"/>
                    </a:lnTo>
                    <a:lnTo>
                      <a:pt x="1751" y="469"/>
                    </a:lnTo>
                    <a:lnTo>
                      <a:pt x="1751" y="473"/>
                    </a:lnTo>
                    <a:lnTo>
                      <a:pt x="1752" y="475"/>
                    </a:lnTo>
                    <a:lnTo>
                      <a:pt x="1752" y="476"/>
                    </a:lnTo>
                    <a:lnTo>
                      <a:pt x="1752" y="478"/>
                    </a:lnTo>
                    <a:lnTo>
                      <a:pt x="1751" y="480"/>
                    </a:lnTo>
                    <a:lnTo>
                      <a:pt x="1751" y="483"/>
                    </a:lnTo>
                    <a:lnTo>
                      <a:pt x="1754" y="497"/>
                    </a:lnTo>
                    <a:lnTo>
                      <a:pt x="1755" y="512"/>
                    </a:lnTo>
                    <a:lnTo>
                      <a:pt x="1753" y="510"/>
                    </a:lnTo>
                    <a:lnTo>
                      <a:pt x="1751" y="508"/>
                    </a:lnTo>
                    <a:lnTo>
                      <a:pt x="1748" y="505"/>
                    </a:lnTo>
                    <a:lnTo>
                      <a:pt x="1746" y="502"/>
                    </a:lnTo>
                    <a:lnTo>
                      <a:pt x="1745" y="498"/>
                    </a:lnTo>
                    <a:lnTo>
                      <a:pt x="1745" y="496"/>
                    </a:lnTo>
                    <a:lnTo>
                      <a:pt x="1745" y="494"/>
                    </a:lnTo>
                    <a:lnTo>
                      <a:pt x="1746" y="492"/>
                    </a:lnTo>
                    <a:lnTo>
                      <a:pt x="1747" y="490"/>
                    </a:lnTo>
                    <a:lnTo>
                      <a:pt x="1745" y="490"/>
                    </a:lnTo>
                    <a:lnTo>
                      <a:pt x="1744" y="491"/>
                    </a:lnTo>
                    <a:lnTo>
                      <a:pt x="1743" y="491"/>
                    </a:lnTo>
                    <a:lnTo>
                      <a:pt x="1742" y="490"/>
                    </a:lnTo>
                    <a:lnTo>
                      <a:pt x="1741" y="488"/>
                    </a:lnTo>
                    <a:lnTo>
                      <a:pt x="1739" y="486"/>
                    </a:lnTo>
                    <a:lnTo>
                      <a:pt x="1738" y="484"/>
                    </a:lnTo>
                    <a:lnTo>
                      <a:pt x="1737" y="483"/>
                    </a:lnTo>
                    <a:lnTo>
                      <a:pt x="1735" y="480"/>
                    </a:lnTo>
                    <a:lnTo>
                      <a:pt x="1733" y="478"/>
                    </a:lnTo>
                    <a:lnTo>
                      <a:pt x="1732" y="476"/>
                    </a:lnTo>
                    <a:lnTo>
                      <a:pt x="1730" y="475"/>
                    </a:lnTo>
                    <a:lnTo>
                      <a:pt x="1728" y="472"/>
                    </a:lnTo>
                    <a:lnTo>
                      <a:pt x="1726" y="470"/>
                    </a:lnTo>
                    <a:lnTo>
                      <a:pt x="1725" y="467"/>
                    </a:lnTo>
                    <a:lnTo>
                      <a:pt x="1725" y="466"/>
                    </a:lnTo>
                    <a:lnTo>
                      <a:pt x="1726" y="465"/>
                    </a:lnTo>
                    <a:lnTo>
                      <a:pt x="1726" y="465"/>
                    </a:lnTo>
                    <a:lnTo>
                      <a:pt x="1727" y="465"/>
                    </a:lnTo>
                    <a:lnTo>
                      <a:pt x="1728" y="465"/>
                    </a:lnTo>
                    <a:lnTo>
                      <a:pt x="1728" y="465"/>
                    </a:lnTo>
                    <a:lnTo>
                      <a:pt x="1729" y="465"/>
                    </a:lnTo>
                    <a:lnTo>
                      <a:pt x="1730" y="466"/>
                    </a:lnTo>
                    <a:lnTo>
                      <a:pt x="1731" y="466"/>
                    </a:lnTo>
                    <a:lnTo>
                      <a:pt x="1732" y="465"/>
                    </a:lnTo>
                    <a:lnTo>
                      <a:pt x="1732" y="463"/>
                    </a:lnTo>
                    <a:lnTo>
                      <a:pt x="1730" y="461"/>
                    </a:lnTo>
                    <a:lnTo>
                      <a:pt x="1728" y="458"/>
                    </a:lnTo>
                    <a:lnTo>
                      <a:pt x="1726" y="456"/>
                    </a:lnTo>
                    <a:lnTo>
                      <a:pt x="1725" y="455"/>
                    </a:lnTo>
                    <a:lnTo>
                      <a:pt x="1724" y="455"/>
                    </a:lnTo>
                    <a:lnTo>
                      <a:pt x="1722" y="454"/>
                    </a:lnTo>
                    <a:lnTo>
                      <a:pt x="1721" y="452"/>
                    </a:lnTo>
                    <a:lnTo>
                      <a:pt x="1719" y="449"/>
                    </a:lnTo>
                    <a:lnTo>
                      <a:pt x="1717" y="446"/>
                    </a:lnTo>
                    <a:lnTo>
                      <a:pt x="1716" y="444"/>
                    </a:lnTo>
                    <a:lnTo>
                      <a:pt x="1714" y="440"/>
                    </a:lnTo>
                    <a:lnTo>
                      <a:pt x="1714" y="439"/>
                    </a:lnTo>
                    <a:lnTo>
                      <a:pt x="1714" y="438"/>
                    </a:lnTo>
                    <a:lnTo>
                      <a:pt x="1715" y="437"/>
                    </a:lnTo>
                    <a:lnTo>
                      <a:pt x="1715" y="437"/>
                    </a:lnTo>
                    <a:lnTo>
                      <a:pt x="1717" y="437"/>
                    </a:lnTo>
                    <a:lnTo>
                      <a:pt x="1718" y="437"/>
                    </a:lnTo>
                    <a:lnTo>
                      <a:pt x="1719" y="437"/>
                    </a:lnTo>
                    <a:lnTo>
                      <a:pt x="1720" y="437"/>
                    </a:lnTo>
                    <a:lnTo>
                      <a:pt x="1721" y="436"/>
                    </a:lnTo>
                    <a:lnTo>
                      <a:pt x="1721" y="434"/>
                    </a:lnTo>
                    <a:lnTo>
                      <a:pt x="1721" y="433"/>
                    </a:lnTo>
                    <a:lnTo>
                      <a:pt x="1721" y="431"/>
                    </a:lnTo>
                    <a:lnTo>
                      <a:pt x="1722" y="431"/>
                    </a:lnTo>
                    <a:lnTo>
                      <a:pt x="1724" y="431"/>
                    </a:lnTo>
                    <a:lnTo>
                      <a:pt x="1725" y="431"/>
                    </a:lnTo>
                    <a:lnTo>
                      <a:pt x="1726" y="431"/>
                    </a:lnTo>
                    <a:lnTo>
                      <a:pt x="1728" y="432"/>
                    </a:lnTo>
                    <a:lnTo>
                      <a:pt x="1730" y="431"/>
                    </a:lnTo>
                    <a:lnTo>
                      <a:pt x="1730" y="430"/>
                    </a:lnTo>
                    <a:lnTo>
                      <a:pt x="1730" y="428"/>
                    </a:lnTo>
                    <a:lnTo>
                      <a:pt x="1730" y="426"/>
                    </a:lnTo>
                    <a:lnTo>
                      <a:pt x="1729" y="423"/>
                    </a:lnTo>
                    <a:lnTo>
                      <a:pt x="1728" y="420"/>
                    </a:lnTo>
                    <a:lnTo>
                      <a:pt x="1727" y="418"/>
                    </a:lnTo>
                    <a:lnTo>
                      <a:pt x="1726" y="418"/>
                    </a:lnTo>
                    <a:lnTo>
                      <a:pt x="1725" y="418"/>
                    </a:lnTo>
                    <a:lnTo>
                      <a:pt x="1725" y="419"/>
                    </a:lnTo>
                    <a:lnTo>
                      <a:pt x="1725" y="420"/>
                    </a:lnTo>
                    <a:lnTo>
                      <a:pt x="1725" y="420"/>
                    </a:lnTo>
                    <a:lnTo>
                      <a:pt x="1725" y="422"/>
                    </a:lnTo>
                    <a:lnTo>
                      <a:pt x="1724" y="423"/>
                    </a:lnTo>
                    <a:lnTo>
                      <a:pt x="1724" y="425"/>
                    </a:lnTo>
                    <a:lnTo>
                      <a:pt x="1724" y="426"/>
                    </a:lnTo>
                    <a:lnTo>
                      <a:pt x="1723" y="426"/>
                    </a:lnTo>
                    <a:lnTo>
                      <a:pt x="1722" y="423"/>
                    </a:lnTo>
                    <a:lnTo>
                      <a:pt x="1721" y="421"/>
                    </a:lnTo>
                    <a:lnTo>
                      <a:pt x="1720" y="419"/>
                    </a:lnTo>
                    <a:lnTo>
                      <a:pt x="1719" y="418"/>
                    </a:lnTo>
                    <a:lnTo>
                      <a:pt x="1718" y="417"/>
                    </a:lnTo>
                    <a:lnTo>
                      <a:pt x="1717" y="417"/>
                    </a:lnTo>
                    <a:lnTo>
                      <a:pt x="1716" y="418"/>
                    </a:lnTo>
                    <a:lnTo>
                      <a:pt x="1716" y="418"/>
                    </a:lnTo>
                    <a:lnTo>
                      <a:pt x="1716" y="421"/>
                    </a:lnTo>
                    <a:lnTo>
                      <a:pt x="1716" y="423"/>
                    </a:lnTo>
                    <a:lnTo>
                      <a:pt x="1717" y="425"/>
                    </a:lnTo>
                    <a:lnTo>
                      <a:pt x="1717" y="428"/>
                    </a:lnTo>
                    <a:lnTo>
                      <a:pt x="1717" y="429"/>
                    </a:lnTo>
                    <a:lnTo>
                      <a:pt x="1716" y="429"/>
                    </a:lnTo>
                    <a:lnTo>
                      <a:pt x="1715" y="429"/>
                    </a:lnTo>
                    <a:lnTo>
                      <a:pt x="1714" y="429"/>
                    </a:lnTo>
                    <a:lnTo>
                      <a:pt x="1712" y="431"/>
                    </a:lnTo>
                    <a:lnTo>
                      <a:pt x="1711" y="431"/>
                    </a:lnTo>
                    <a:lnTo>
                      <a:pt x="1710" y="430"/>
                    </a:lnTo>
                    <a:lnTo>
                      <a:pt x="1708" y="428"/>
                    </a:lnTo>
                    <a:lnTo>
                      <a:pt x="1707" y="426"/>
                    </a:lnTo>
                    <a:lnTo>
                      <a:pt x="1706" y="423"/>
                    </a:lnTo>
                    <a:lnTo>
                      <a:pt x="1705" y="421"/>
                    </a:lnTo>
                    <a:lnTo>
                      <a:pt x="1703" y="418"/>
                    </a:lnTo>
                    <a:lnTo>
                      <a:pt x="1696" y="410"/>
                    </a:lnTo>
                    <a:lnTo>
                      <a:pt x="1691" y="401"/>
                    </a:lnTo>
                    <a:lnTo>
                      <a:pt x="1690" y="399"/>
                    </a:lnTo>
                    <a:lnTo>
                      <a:pt x="1689" y="397"/>
                    </a:lnTo>
                    <a:lnTo>
                      <a:pt x="1690" y="395"/>
                    </a:lnTo>
                    <a:lnTo>
                      <a:pt x="1690" y="392"/>
                    </a:lnTo>
                    <a:lnTo>
                      <a:pt x="1690" y="390"/>
                    </a:lnTo>
                    <a:lnTo>
                      <a:pt x="1689" y="386"/>
                    </a:lnTo>
                    <a:lnTo>
                      <a:pt x="1683" y="380"/>
                    </a:lnTo>
                    <a:lnTo>
                      <a:pt x="1682" y="378"/>
                    </a:lnTo>
                    <a:lnTo>
                      <a:pt x="1680" y="376"/>
                    </a:lnTo>
                    <a:lnTo>
                      <a:pt x="1680" y="375"/>
                    </a:lnTo>
                    <a:lnTo>
                      <a:pt x="1679" y="373"/>
                    </a:lnTo>
                    <a:lnTo>
                      <a:pt x="1678" y="371"/>
                    </a:lnTo>
                    <a:lnTo>
                      <a:pt x="1677" y="368"/>
                    </a:lnTo>
                    <a:lnTo>
                      <a:pt x="1676" y="366"/>
                    </a:lnTo>
                    <a:lnTo>
                      <a:pt x="1675" y="363"/>
                    </a:lnTo>
                    <a:lnTo>
                      <a:pt x="1674" y="360"/>
                    </a:lnTo>
                    <a:lnTo>
                      <a:pt x="1673" y="357"/>
                    </a:lnTo>
                    <a:lnTo>
                      <a:pt x="1672" y="355"/>
                    </a:lnTo>
                    <a:lnTo>
                      <a:pt x="1673" y="353"/>
                    </a:lnTo>
                    <a:lnTo>
                      <a:pt x="1674" y="352"/>
                    </a:lnTo>
                    <a:lnTo>
                      <a:pt x="1676" y="351"/>
                    </a:lnTo>
                    <a:lnTo>
                      <a:pt x="1677" y="351"/>
                    </a:lnTo>
                    <a:close/>
                    <a:moveTo>
                      <a:pt x="396" y="344"/>
                    </a:moveTo>
                    <a:lnTo>
                      <a:pt x="403" y="346"/>
                    </a:lnTo>
                    <a:lnTo>
                      <a:pt x="407" y="349"/>
                    </a:lnTo>
                    <a:lnTo>
                      <a:pt x="413" y="355"/>
                    </a:lnTo>
                    <a:lnTo>
                      <a:pt x="417" y="360"/>
                    </a:lnTo>
                    <a:lnTo>
                      <a:pt x="420" y="366"/>
                    </a:lnTo>
                    <a:lnTo>
                      <a:pt x="421" y="372"/>
                    </a:lnTo>
                    <a:lnTo>
                      <a:pt x="417" y="379"/>
                    </a:lnTo>
                    <a:lnTo>
                      <a:pt x="409" y="385"/>
                    </a:lnTo>
                    <a:lnTo>
                      <a:pt x="401" y="388"/>
                    </a:lnTo>
                    <a:lnTo>
                      <a:pt x="391" y="386"/>
                    </a:lnTo>
                    <a:lnTo>
                      <a:pt x="382" y="384"/>
                    </a:lnTo>
                    <a:lnTo>
                      <a:pt x="374" y="381"/>
                    </a:lnTo>
                    <a:lnTo>
                      <a:pt x="369" y="378"/>
                    </a:lnTo>
                    <a:lnTo>
                      <a:pt x="368" y="374"/>
                    </a:lnTo>
                    <a:lnTo>
                      <a:pt x="369" y="368"/>
                    </a:lnTo>
                    <a:lnTo>
                      <a:pt x="372" y="362"/>
                    </a:lnTo>
                    <a:lnTo>
                      <a:pt x="376" y="356"/>
                    </a:lnTo>
                    <a:lnTo>
                      <a:pt x="379" y="351"/>
                    </a:lnTo>
                    <a:lnTo>
                      <a:pt x="383" y="346"/>
                    </a:lnTo>
                    <a:lnTo>
                      <a:pt x="389" y="344"/>
                    </a:lnTo>
                    <a:lnTo>
                      <a:pt x="396" y="344"/>
                    </a:lnTo>
                    <a:close/>
                    <a:moveTo>
                      <a:pt x="1718" y="344"/>
                    </a:moveTo>
                    <a:lnTo>
                      <a:pt x="1719" y="345"/>
                    </a:lnTo>
                    <a:lnTo>
                      <a:pt x="1720" y="346"/>
                    </a:lnTo>
                    <a:lnTo>
                      <a:pt x="1721" y="347"/>
                    </a:lnTo>
                    <a:lnTo>
                      <a:pt x="1722" y="349"/>
                    </a:lnTo>
                    <a:lnTo>
                      <a:pt x="1723" y="350"/>
                    </a:lnTo>
                    <a:lnTo>
                      <a:pt x="1724" y="352"/>
                    </a:lnTo>
                    <a:lnTo>
                      <a:pt x="1725" y="354"/>
                    </a:lnTo>
                    <a:lnTo>
                      <a:pt x="1726" y="356"/>
                    </a:lnTo>
                    <a:lnTo>
                      <a:pt x="1728" y="357"/>
                    </a:lnTo>
                    <a:lnTo>
                      <a:pt x="1730" y="359"/>
                    </a:lnTo>
                    <a:lnTo>
                      <a:pt x="1731" y="360"/>
                    </a:lnTo>
                    <a:lnTo>
                      <a:pt x="1731" y="360"/>
                    </a:lnTo>
                    <a:lnTo>
                      <a:pt x="1732" y="359"/>
                    </a:lnTo>
                    <a:lnTo>
                      <a:pt x="1732" y="358"/>
                    </a:lnTo>
                    <a:lnTo>
                      <a:pt x="1732" y="358"/>
                    </a:lnTo>
                    <a:lnTo>
                      <a:pt x="1732" y="357"/>
                    </a:lnTo>
                    <a:lnTo>
                      <a:pt x="1733" y="356"/>
                    </a:lnTo>
                    <a:lnTo>
                      <a:pt x="1733" y="356"/>
                    </a:lnTo>
                    <a:lnTo>
                      <a:pt x="1734" y="357"/>
                    </a:lnTo>
                    <a:lnTo>
                      <a:pt x="1737" y="359"/>
                    </a:lnTo>
                    <a:lnTo>
                      <a:pt x="1737" y="360"/>
                    </a:lnTo>
                    <a:lnTo>
                      <a:pt x="1737" y="359"/>
                    </a:lnTo>
                    <a:lnTo>
                      <a:pt x="1737" y="359"/>
                    </a:lnTo>
                    <a:lnTo>
                      <a:pt x="1737" y="358"/>
                    </a:lnTo>
                    <a:lnTo>
                      <a:pt x="1737" y="357"/>
                    </a:lnTo>
                    <a:lnTo>
                      <a:pt x="1737" y="357"/>
                    </a:lnTo>
                    <a:lnTo>
                      <a:pt x="1737" y="356"/>
                    </a:lnTo>
                    <a:lnTo>
                      <a:pt x="1737" y="354"/>
                    </a:lnTo>
                    <a:lnTo>
                      <a:pt x="1737" y="353"/>
                    </a:lnTo>
                    <a:lnTo>
                      <a:pt x="1738" y="352"/>
                    </a:lnTo>
                    <a:lnTo>
                      <a:pt x="1739" y="353"/>
                    </a:lnTo>
                    <a:lnTo>
                      <a:pt x="1741" y="354"/>
                    </a:lnTo>
                    <a:lnTo>
                      <a:pt x="1743" y="355"/>
                    </a:lnTo>
                    <a:lnTo>
                      <a:pt x="1745" y="357"/>
                    </a:lnTo>
                    <a:lnTo>
                      <a:pt x="1746" y="360"/>
                    </a:lnTo>
                    <a:lnTo>
                      <a:pt x="1747" y="362"/>
                    </a:lnTo>
                    <a:lnTo>
                      <a:pt x="1747" y="363"/>
                    </a:lnTo>
                    <a:lnTo>
                      <a:pt x="1747" y="365"/>
                    </a:lnTo>
                    <a:lnTo>
                      <a:pt x="1747" y="366"/>
                    </a:lnTo>
                    <a:lnTo>
                      <a:pt x="1747" y="368"/>
                    </a:lnTo>
                    <a:lnTo>
                      <a:pt x="1747" y="369"/>
                    </a:lnTo>
                    <a:lnTo>
                      <a:pt x="1748" y="371"/>
                    </a:lnTo>
                    <a:lnTo>
                      <a:pt x="1750" y="371"/>
                    </a:lnTo>
                    <a:lnTo>
                      <a:pt x="1751" y="371"/>
                    </a:lnTo>
                    <a:lnTo>
                      <a:pt x="1751" y="369"/>
                    </a:lnTo>
                    <a:lnTo>
                      <a:pt x="1751" y="368"/>
                    </a:lnTo>
                    <a:lnTo>
                      <a:pt x="1750" y="366"/>
                    </a:lnTo>
                    <a:lnTo>
                      <a:pt x="1750" y="365"/>
                    </a:lnTo>
                    <a:lnTo>
                      <a:pt x="1751" y="364"/>
                    </a:lnTo>
                    <a:lnTo>
                      <a:pt x="1751" y="363"/>
                    </a:lnTo>
                    <a:lnTo>
                      <a:pt x="1753" y="363"/>
                    </a:lnTo>
                    <a:lnTo>
                      <a:pt x="1754" y="363"/>
                    </a:lnTo>
                    <a:lnTo>
                      <a:pt x="1761" y="369"/>
                    </a:lnTo>
                    <a:lnTo>
                      <a:pt x="1762" y="371"/>
                    </a:lnTo>
                    <a:lnTo>
                      <a:pt x="1764" y="373"/>
                    </a:lnTo>
                    <a:lnTo>
                      <a:pt x="1765" y="374"/>
                    </a:lnTo>
                    <a:lnTo>
                      <a:pt x="1767" y="375"/>
                    </a:lnTo>
                    <a:lnTo>
                      <a:pt x="1769" y="376"/>
                    </a:lnTo>
                    <a:lnTo>
                      <a:pt x="1772" y="377"/>
                    </a:lnTo>
                    <a:lnTo>
                      <a:pt x="1774" y="378"/>
                    </a:lnTo>
                    <a:lnTo>
                      <a:pt x="1776" y="379"/>
                    </a:lnTo>
                    <a:lnTo>
                      <a:pt x="1778" y="381"/>
                    </a:lnTo>
                    <a:lnTo>
                      <a:pt x="1780" y="382"/>
                    </a:lnTo>
                    <a:lnTo>
                      <a:pt x="1781" y="384"/>
                    </a:lnTo>
                    <a:lnTo>
                      <a:pt x="1781" y="385"/>
                    </a:lnTo>
                    <a:lnTo>
                      <a:pt x="1781" y="386"/>
                    </a:lnTo>
                    <a:lnTo>
                      <a:pt x="1780" y="388"/>
                    </a:lnTo>
                    <a:lnTo>
                      <a:pt x="1780" y="389"/>
                    </a:lnTo>
                    <a:lnTo>
                      <a:pt x="1780" y="390"/>
                    </a:lnTo>
                    <a:lnTo>
                      <a:pt x="1780" y="391"/>
                    </a:lnTo>
                    <a:lnTo>
                      <a:pt x="1781" y="392"/>
                    </a:lnTo>
                    <a:lnTo>
                      <a:pt x="1782" y="394"/>
                    </a:lnTo>
                    <a:lnTo>
                      <a:pt x="1783" y="396"/>
                    </a:lnTo>
                    <a:lnTo>
                      <a:pt x="1783" y="397"/>
                    </a:lnTo>
                    <a:lnTo>
                      <a:pt x="1782" y="398"/>
                    </a:lnTo>
                    <a:lnTo>
                      <a:pt x="1782" y="399"/>
                    </a:lnTo>
                    <a:lnTo>
                      <a:pt x="1782" y="400"/>
                    </a:lnTo>
                    <a:lnTo>
                      <a:pt x="1780" y="402"/>
                    </a:lnTo>
                    <a:lnTo>
                      <a:pt x="1780" y="404"/>
                    </a:lnTo>
                    <a:lnTo>
                      <a:pt x="1780" y="406"/>
                    </a:lnTo>
                    <a:lnTo>
                      <a:pt x="1779" y="408"/>
                    </a:lnTo>
                    <a:lnTo>
                      <a:pt x="1779" y="410"/>
                    </a:lnTo>
                    <a:lnTo>
                      <a:pt x="1778" y="412"/>
                    </a:lnTo>
                    <a:lnTo>
                      <a:pt x="1778" y="414"/>
                    </a:lnTo>
                    <a:lnTo>
                      <a:pt x="1778" y="415"/>
                    </a:lnTo>
                    <a:lnTo>
                      <a:pt x="1777" y="416"/>
                    </a:lnTo>
                    <a:lnTo>
                      <a:pt x="1775" y="416"/>
                    </a:lnTo>
                    <a:lnTo>
                      <a:pt x="1773" y="416"/>
                    </a:lnTo>
                    <a:lnTo>
                      <a:pt x="1772" y="415"/>
                    </a:lnTo>
                    <a:lnTo>
                      <a:pt x="1770" y="414"/>
                    </a:lnTo>
                    <a:lnTo>
                      <a:pt x="1768" y="413"/>
                    </a:lnTo>
                    <a:lnTo>
                      <a:pt x="1766" y="411"/>
                    </a:lnTo>
                    <a:lnTo>
                      <a:pt x="1765" y="410"/>
                    </a:lnTo>
                    <a:lnTo>
                      <a:pt x="1762" y="408"/>
                    </a:lnTo>
                    <a:lnTo>
                      <a:pt x="1759" y="406"/>
                    </a:lnTo>
                    <a:lnTo>
                      <a:pt x="1756" y="404"/>
                    </a:lnTo>
                    <a:lnTo>
                      <a:pt x="1750" y="403"/>
                    </a:lnTo>
                    <a:lnTo>
                      <a:pt x="1743" y="401"/>
                    </a:lnTo>
                    <a:lnTo>
                      <a:pt x="1737" y="396"/>
                    </a:lnTo>
                    <a:lnTo>
                      <a:pt x="1736" y="395"/>
                    </a:lnTo>
                    <a:lnTo>
                      <a:pt x="1735" y="393"/>
                    </a:lnTo>
                    <a:lnTo>
                      <a:pt x="1735" y="392"/>
                    </a:lnTo>
                    <a:lnTo>
                      <a:pt x="1734" y="390"/>
                    </a:lnTo>
                    <a:lnTo>
                      <a:pt x="1734" y="389"/>
                    </a:lnTo>
                    <a:lnTo>
                      <a:pt x="1734" y="388"/>
                    </a:lnTo>
                    <a:lnTo>
                      <a:pt x="1739" y="390"/>
                    </a:lnTo>
                    <a:lnTo>
                      <a:pt x="1739" y="390"/>
                    </a:lnTo>
                    <a:lnTo>
                      <a:pt x="1739" y="389"/>
                    </a:lnTo>
                    <a:lnTo>
                      <a:pt x="1739" y="388"/>
                    </a:lnTo>
                    <a:lnTo>
                      <a:pt x="1738" y="386"/>
                    </a:lnTo>
                    <a:lnTo>
                      <a:pt x="1738" y="385"/>
                    </a:lnTo>
                    <a:lnTo>
                      <a:pt x="1739" y="385"/>
                    </a:lnTo>
                    <a:lnTo>
                      <a:pt x="1740" y="385"/>
                    </a:lnTo>
                    <a:lnTo>
                      <a:pt x="1741" y="385"/>
                    </a:lnTo>
                    <a:lnTo>
                      <a:pt x="1741" y="385"/>
                    </a:lnTo>
                    <a:lnTo>
                      <a:pt x="1742" y="385"/>
                    </a:lnTo>
                    <a:lnTo>
                      <a:pt x="1741" y="384"/>
                    </a:lnTo>
                    <a:lnTo>
                      <a:pt x="1741" y="383"/>
                    </a:lnTo>
                    <a:lnTo>
                      <a:pt x="1740" y="381"/>
                    </a:lnTo>
                    <a:lnTo>
                      <a:pt x="1739" y="379"/>
                    </a:lnTo>
                    <a:lnTo>
                      <a:pt x="1738" y="378"/>
                    </a:lnTo>
                    <a:lnTo>
                      <a:pt x="1736" y="377"/>
                    </a:lnTo>
                    <a:lnTo>
                      <a:pt x="1735" y="377"/>
                    </a:lnTo>
                    <a:lnTo>
                      <a:pt x="1733" y="377"/>
                    </a:lnTo>
                    <a:lnTo>
                      <a:pt x="1732" y="377"/>
                    </a:lnTo>
                    <a:lnTo>
                      <a:pt x="1731" y="378"/>
                    </a:lnTo>
                    <a:lnTo>
                      <a:pt x="1730" y="379"/>
                    </a:lnTo>
                    <a:lnTo>
                      <a:pt x="1729" y="380"/>
                    </a:lnTo>
                    <a:lnTo>
                      <a:pt x="1728" y="380"/>
                    </a:lnTo>
                    <a:lnTo>
                      <a:pt x="1726" y="379"/>
                    </a:lnTo>
                    <a:lnTo>
                      <a:pt x="1725" y="379"/>
                    </a:lnTo>
                    <a:lnTo>
                      <a:pt x="1724" y="379"/>
                    </a:lnTo>
                    <a:lnTo>
                      <a:pt x="1724" y="378"/>
                    </a:lnTo>
                    <a:lnTo>
                      <a:pt x="1723" y="377"/>
                    </a:lnTo>
                    <a:lnTo>
                      <a:pt x="1722" y="375"/>
                    </a:lnTo>
                    <a:lnTo>
                      <a:pt x="1721" y="374"/>
                    </a:lnTo>
                    <a:lnTo>
                      <a:pt x="1720" y="373"/>
                    </a:lnTo>
                    <a:lnTo>
                      <a:pt x="1719" y="371"/>
                    </a:lnTo>
                    <a:lnTo>
                      <a:pt x="1718" y="369"/>
                    </a:lnTo>
                    <a:lnTo>
                      <a:pt x="1718" y="369"/>
                    </a:lnTo>
                    <a:lnTo>
                      <a:pt x="1718" y="368"/>
                    </a:lnTo>
                    <a:lnTo>
                      <a:pt x="1719" y="367"/>
                    </a:lnTo>
                    <a:lnTo>
                      <a:pt x="1719" y="367"/>
                    </a:lnTo>
                    <a:lnTo>
                      <a:pt x="1720" y="367"/>
                    </a:lnTo>
                    <a:lnTo>
                      <a:pt x="1719" y="366"/>
                    </a:lnTo>
                    <a:lnTo>
                      <a:pt x="1718" y="364"/>
                    </a:lnTo>
                    <a:lnTo>
                      <a:pt x="1717" y="362"/>
                    </a:lnTo>
                    <a:lnTo>
                      <a:pt x="1715" y="360"/>
                    </a:lnTo>
                    <a:lnTo>
                      <a:pt x="1713" y="359"/>
                    </a:lnTo>
                    <a:lnTo>
                      <a:pt x="1712" y="359"/>
                    </a:lnTo>
                    <a:lnTo>
                      <a:pt x="1710" y="357"/>
                    </a:lnTo>
                    <a:lnTo>
                      <a:pt x="1709" y="356"/>
                    </a:lnTo>
                    <a:lnTo>
                      <a:pt x="1709" y="354"/>
                    </a:lnTo>
                    <a:lnTo>
                      <a:pt x="1709" y="353"/>
                    </a:lnTo>
                    <a:lnTo>
                      <a:pt x="1710" y="352"/>
                    </a:lnTo>
                    <a:lnTo>
                      <a:pt x="1711" y="352"/>
                    </a:lnTo>
                    <a:lnTo>
                      <a:pt x="1712" y="353"/>
                    </a:lnTo>
                    <a:lnTo>
                      <a:pt x="1714" y="354"/>
                    </a:lnTo>
                    <a:lnTo>
                      <a:pt x="1716" y="355"/>
                    </a:lnTo>
                    <a:lnTo>
                      <a:pt x="1717" y="356"/>
                    </a:lnTo>
                    <a:lnTo>
                      <a:pt x="1718" y="356"/>
                    </a:lnTo>
                    <a:lnTo>
                      <a:pt x="1718" y="356"/>
                    </a:lnTo>
                    <a:lnTo>
                      <a:pt x="1718" y="355"/>
                    </a:lnTo>
                    <a:lnTo>
                      <a:pt x="1718" y="353"/>
                    </a:lnTo>
                    <a:lnTo>
                      <a:pt x="1718" y="352"/>
                    </a:lnTo>
                    <a:lnTo>
                      <a:pt x="1718" y="351"/>
                    </a:lnTo>
                    <a:lnTo>
                      <a:pt x="1717" y="350"/>
                    </a:lnTo>
                    <a:lnTo>
                      <a:pt x="1717" y="349"/>
                    </a:lnTo>
                    <a:lnTo>
                      <a:pt x="1717" y="349"/>
                    </a:lnTo>
                    <a:lnTo>
                      <a:pt x="1717" y="348"/>
                    </a:lnTo>
                    <a:lnTo>
                      <a:pt x="1718" y="347"/>
                    </a:lnTo>
                    <a:lnTo>
                      <a:pt x="1717" y="345"/>
                    </a:lnTo>
                    <a:lnTo>
                      <a:pt x="1717" y="344"/>
                    </a:lnTo>
                    <a:lnTo>
                      <a:pt x="1718" y="344"/>
                    </a:lnTo>
                    <a:close/>
                    <a:moveTo>
                      <a:pt x="1707" y="334"/>
                    </a:moveTo>
                    <a:lnTo>
                      <a:pt x="1708" y="334"/>
                    </a:lnTo>
                    <a:lnTo>
                      <a:pt x="1709" y="334"/>
                    </a:lnTo>
                    <a:lnTo>
                      <a:pt x="1711" y="335"/>
                    </a:lnTo>
                    <a:lnTo>
                      <a:pt x="1713" y="336"/>
                    </a:lnTo>
                    <a:lnTo>
                      <a:pt x="1716" y="339"/>
                    </a:lnTo>
                    <a:lnTo>
                      <a:pt x="1715" y="340"/>
                    </a:lnTo>
                    <a:lnTo>
                      <a:pt x="1714" y="340"/>
                    </a:lnTo>
                    <a:lnTo>
                      <a:pt x="1713" y="339"/>
                    </a:lnTo>
                    <a:lnTo>
                      <a:pt x="1712" y="339"/>
                    </a:lnTo>
                    <a:lnTo>
                      <a:pt x="1710" y="338"/>
                    </a:lnTo>
                    <a:lnTo>
                      <a:pt x="1709" y="337"/>
                    </a:lnTo>
                    <a:lnTo>
                      <a:pt x="1708" y="336"/>
                    </a:lnTo>
                    <a:lnTo>
                      <a:pt x="1707" y="335"/>
                    </a:lnTo>
                    <a:lnTo>
                      <a:pt x="1707" y="335"/>
                    </a:lnTo>
                    <a:lnTo>
                      <a:pt x="1707" y="334"/>
                    </a:lnTo>
                    <a:lnTo>
                      <a:pt x="1707" y="334"/>
                    </a:lnTo>
                    <a:close/>
                    <a:moveTo>
                      <a:pt x="399" y="325"/>
                    </a:moveTo>
                    <a:lnTo>
                      <a:pt x="404" y="325"/>
                    </a:lnTo>
                    <a:lnTo>
                      <a:pt x="408" y="326"/>
                    </a:lnTo>
                    <a:lnTo>
                      <a:pt x="411" y="327"/>
                    </a:lnTo>
                    <a:lnTo>
                      <a:pt x="406" y="330"/>
                    </a:lnTo>
                    <a:lnTo>
                      <a:pt x="400" y="332"/>
                    </a:lnTo>
                    <a:lnTo>
                      <a:pt x="395" y="330"/>
                    </a:lnTo>
                    <a:lnTo>
                      <a:pt x="393" y="327"/>
                    </a:lnTo>
                    <a:lnTo>
                      <a:pt x="395" y="326"/>
                    </a:lnTo>
                    <a:lnTo>
                      <a:pt x="399" y="325"/>
                    </a:lnTo>
                    <a:close/>
                    <a:moveTo>
                      <a:pt x="123" y="318"/>
                    </a:moveTo>
                    <a:lnTo>
                      <a:pt x="124" y="318"/>
                    </a:lnTo>
                    <a:lnTo>
                      <a:pt x="125" y="319"/>
                    </a:lnTo>
                    <a:lnTo>
                      <a:pt x="125" y="320"/>
                    </a:lnTo>
                    <a:lnTo>
                      <a:pt x="126" y="321"/>
                    </a:lnTo>
                    <a:lnTo>
                      <a:pt x="126" y="323"/>
                    </a:lnTo>
                    <a:lnTo>
                      <a:pt x="127" y="325"/>
                    </a:lnTo>
                    <a:lnTo>
                      <a:pt x="126" y="327"/>
                    </a:lnTo>
                    <a:lnTo>
                      <a:pt x="126" y="328"/>
                    </a:lnTo>
                    <a:lnTo>
                      <a:pt x="125" y="329"/>
                    </a:lnTo>
                    <a:lnTo>
                      <a:pt x="122" y="330"/>
                    </a:lnTo>
                    <a:lnTo>
                      <a:pt x="119" y="332"/>
                    </a:lnTo>
                    <a:lnTo>
                      <a:pt x="116" y="333"/>
                    </a:lnTo>
                    <a:lnTo>
                      <a:pt x="113" y="333"/>
                    </a:lnTo>
                    <a:lnTo>
                      <a:pt x="112" y="330"/>
                    </a:lnTo>
                    <a:lnTo>
                      <a:pt x="111" y="327"/>
                    </a:lnTo>
                    <a:lnTo>
                      <a:pt x="111" y="325"/>
                    </a:lnTo>
                    <a:lnTo>
                      <a:pt x="113" y="322"/>
                    </a:lnTo>
                    <a:lnTo>
                      <a:pt x="115" y="320"/>
                    </a:lnTo>
                    <a:lnTo>
                      <a:pt x="117" y="320"/>
                    </a:lnTo>
                    <a:lnTo>
                      <a:pt x="118" y="320"/>
                    </a:lnTo>
                    <a:lnTo>
                      <a:pt x="120" y="319"/>
                    </a:lnTo>
                    <a:lnTo>
                      <a:pt x="121" y="318"/>
                    </a:lnTo>
                    <a:lnTo>
                      <a:pt x="123" y="318"/>
                    </a:lnTo>
                    <a:close/>
                    <a:moveTo>
                      <a:pt x="644" y="308"/>
                    </a:moveTo>
                    <a:lnTo>
                      <a:pt x="646" y="309"/>
                    </a:lnTo>
                    <a:lnTo>
                      <a:pt x="647" y="311"/>
                    </a:lnTo>
                    <a:lnTo>
                      <a:pt x="647" y="313"/>
                    </a:lnTo>
                    <a:lnTo>
                      <a:pt x="647" y="315"/>
                    </a:lnTo>
                    <a:lnTo>
                      <a:pt x="646" y="317"/>
                    </a:lnTo>
                    <a:lnTo>
                      <a:pt x="645" y="320"/>
                    </a:lnTo>
                    <a:lnTo>
                      <a:pt x="643" y="321"/>
                    </a:lnTo>
                    <a:lnTo>
                      <a:pt x="641" y="323"/>
                    </a:lnTo>
                    <a:lnTo>
                      <a:pt x="638" y="323"/>
                    </a:lnTo>
                    <a:lnTo>
                      <a:pt x="635" y="322"/>
                    </a:lnTo>
                    <a:lnTo>
                      <a:pt x="633" y="321"/>
                    </a:lnTo>
                    <a:lnTo>
                      <a:pt x="631" y="320"/>
                    </a:lnTo>
                    <a:lnTo>
                      <a:pt x="630" y="319"/>
                    </a:lnTo>
                    <a:lnTo>
                      <a:pt x="630" y="317"/>
                    </a:lnTo>
                    <a:lnTo>
                      <a:pt x="631" y="315"/>
                    </a:lnTo>
                    <a:lnTo>
                      <a:pt x="634" y="314"/>
                    </a:lnTo>
                    <a:lnTo>
                      <a:pt x="635" y="313"/>
                    </a:lnTo>
                    <a:lnTo>
                      <a:pt x="637" y="311"/>
                    </a:lnTo>
                    <a:lnTo>
                      <a:pt x="639" y="310"/>
                    </a:lnTo>
                    <a:lnTo>
                      <a:pt x="641" y="309"/>
                    </a:lnTo>
                    <a:lnTo>
                      <a:pt x="642" y="308"/>
                    </a:lnTo>
                    <a:lnTo>
                      <a:pt x="644" y="308"/>
                    </a:lnTo>
                    <a:close/>
                    <a:moveTo>
                      <a:pt x="260" y="306"/>
                    </a:moveTo>
                    <a:lnTo>
                      <a:pt x="261" y="307"/>
                    </a:lnTo>
                    <a:lnTo>
                      <a:pt x="262" y="307"/>
                    </a:lnTo>
                    <a:lnTo>
                      <a:pt x="262" y="307"/>
                    </a:lnTo>
                    <a:lnTo>
                      <a:pt x="263" y="307"/>
                    </a:lnTo>
                    <a:lnTo>
                      <a:pt x="264" y="306"/>
                    </a:lnTo>
                    <a:lnTo>
                      <a:pt x="267" y="309"/>
                    </a:lnTo>
                    <a:lnTo>
                      <a:pt x="270" y="310"/>
                    </a:lnTo>
                    <a:lnTo>
                      <a:pt x="272" y="311"/>
                    </a:lnTo>
                    <a:lnTo>
                      <a:pt x="274" y="313"/>
                    </a:lnTo>
                    <a:lnTo>
                      <a:pt x="276" y="314"/>
                    </a:lnTo>
                    <a:lnTo>
                      <a:pt x="278" y="315"/>
                    </a:lnTo>
                    <a:lnTo>
                      <a:pt x="280" y="316"/>
                    </a:lnTo>
                    <a:lnTo>
                      <a:pt x="280" y="318"/>
                    </a:lnTo>
                    <a:lnTo>
                      <a:pt x="279" y="320"/>
                    </a:lnTo>
                    <a:lnTo>
                      <a:pt x="277" y="321"/>
                    </a:lnTo>
                    <a:lnTo>
                      <a:pt x="274" y="322"/>
                    </a:lnTo>
                    <a:lnTo>
                      <a:pt x="272" y="323"/>
                    </a:lnTo>
                    <a:lnTo>
                      <a:pt x="270" y="323"/>
                    </a:lnTo>
                    <a:lnTo>
                      <a:pt x="267" y="323"/>
                    </a:lnTo>
                    <a:lnTo>
                      <a:pt x="264" y="322"/>
                    </a:lnTo>
                    <a:lnTo>
                      <a:pt x="261" y="321"/>
                    </a:lnTo>
                    <a:lnTo>
                      <a:pt x="258" y="320"/>
                    </a:lnTo>
                    <a:lnTo>
                      <a:pt x="257" y="318"/>
                    </a:lnTo>
                    <a:lnTo>
                      <a:pt x="255" y="316"/>
                    </a:lnTo>
                    <a:lnTo>
                      <a:pt x="257" y="314"/>
                    </a:lnTo>
                    <a:lnTo>
                      <a:pt x="257" y="311"/>
                    </a:lnTo>
                    <a:lnTo>
                      <a:pt x="259" y="309"/>
                    </a:lnTo>
                    <a:lnTo>
                      <a:pt x="260" y="306"/>
                    </a:lnTo>
                    <a:close/>
                    <a:moveTo>
                      <a:pt x="194" y="301"/>
                    </a:moveTo>
                    <a:lnTo>
                      <a:pt x="196" y="302"/>
                    </a:lnTo>
                    <a:lnTo>
                      <a:pt x="198" y="306"/>
                    </a:lnTo>
                    <a:lnTo>
                      <a:pt x="197" y="310"/>
                    </a:lnTo>
                    <a:lnTo>
                      <a:pt x="195" y="316"/>
                    </a:lnTo>
                    <a:lnTo>
                      <a:pt x="194" y="320"/>
                    </a:lnTo>
                    <a:lnTo>
                      <a:pt x="195" y="323"/>
                    </a:lnTo>
                    <a:lnTo>
                      <a:pt x="195" y="325"/>
                    </a:lnTo>
                    <a:lnTo>
                      <a:pt x="195" y="326"/>
                    </a:lnTo>
                    <a:lnTo>
                      <a:pt x="195" y="328"/>
                    </a:lnTo>
                    <a:lnTo>
                      <a:pt x="194" y="332"/>
                    </a:lnTo>
                    <a:lnTo>
                      <a:pt x="194" y="334"/>
                    </a:lnTo>
                    <a:lnTo>
                      <a:pt x="194" y="336"/>
                    </a:lnTo>
                    <a:lnTo>
                      <a:pt x="195" y="337"/>
                    </a:lnTo>
                    <a:lnTo>
                      <a:pt x="196" y="337"/>
                    </a:lnTo>
                    <a:lnTo>
                      <a:pt x="198" y="338"/>
                    </a:lnTo>
                    <a:lnTo>
                      <a:pt x="201" y="338"/>
                    </a:lnTo>
                    <a:lnTo>
                      <a:pt x="202" y="339"/>
                    </a:lnTo>
                    <a:lnTo>
                      <a:pt x="205" y="341"/>
                    </a:lnTo>
                    <a:lnTo>
                      <a:pt x="206" y="343"/>
                    </a:lnTo>
                    <a:lnTo>
                      <a:pt x="207" y="344"/>
                    </a:lnTo>
                    <a:lnTo>
                      <a:pt x="208" y="345"/>
                    </a:lnTo>
                    <a:lnTo>
                      <a:pt x="209" y="346"/>
                    </a:lnTo>
                    <a:lnTo>
                      <a:pt x="211" y="346"/>
                    </a:lnTo>
                    <a:lnTo>
                      <a:pt x="213" y="345"/>
                    </a:lnTo>
                    <a:lnTo>
                      <a:pt x="214" y="344"/>
                    </a:lnTo>
                    <a:lnTo>
                      <a:pt x="215" y="342"/>
                    </a:lnTo>
                    <a:lnTo>
                      <a:pt x="217" y="339"/>
                    </a:lnTo>
                    <a:lnTo>
                      <a:pt x="218" y="338"/>
                    </a:lnTo>
                    <a:lnTo>
                      <a:pt x="220" y="336"/>
                    </a:lnTo>
                    <a:lnTo>
                      <a:pt x="223" y="336"/>
                    </a:lnTo>
                    <a:lnTo>
                      <a:pt x="230" y="336"/>
                    </a:lnTo>
                    <a:lnTo>
                      <a:pt x="234" y="339"/>
                    </a:lnTo>
                    <a:lnTo>
                      <a:pt x="235" y="344"/>
                    </a:lnTo>
                    <a:lnTo>
                      <a:pt x="234" y="351"/>
                    </a:lnTo>
                    <a:lnTo>
                      <a:pt x="231" y="358"/>
                    </a:lnTo>
                    <a:lnTo>
                      <a:pt x="228" y="365"/>
                    </a:lnTo>
                    <a:lnTo>
                      <a:pt x="224" y="372"/>
                    </a:lnTo>
                    <a:lnTo>
                      <a:pt x="221" y="376"/>
                    </a:lnTo>
                    <a:lnTo>
                      <a:pt x="216" y="382"/>
                    </a:lnTo>
                    <a:lnTo>
                      <a:pt x="210" y="388"/>
                    </a:lnTo>
                    <a:lnTo>
                      <a:pt x="203" y="391"/>
                    </a:lnTo>
                    <a:lnTo>
                      <a:pt x="196" y="390"/>
                    </a:lnTo>
                    <a:lnTo>
                      <a:pt x="194" y="388"/>
                    </a:lnTo>
                    <a:lnTo>
                      <a:pt x="192" y="388"/>
                    </a:lnTo>
                    <a:lnTo>
                      <a:pt x="190" y="388"/>
                    </a:lnTo>
                    <a:lnTo>
                      <a:pt x="189" y="389"/>
                    </a:lnTo>
                    <a:lnTo>
                      <a:pt x="188" y="391"/>
                    </a:lnTo>
                    <a:lnTo>
                      <a:pt x="187" y="392"/>
                    </a:lnTo>
                    <a:lnTo>
                      <a:pt x="186" y="393"/>
                    </a:lnTo>
                    <a:lnTo>
                      <a:pt x="185" y="395"/>
                    </a:lnTo>
                    <a:lnTo>
                      <a:pt x="184" y="396"/>
                    </a:lnTo>
                    <a:lnTo>
                      <a:pt x="183" y="396"/>
                    </a:lnTo>
                    <a:lnTo>
                      <a:pt x="175" y="395"/>
                    </a:lnTo>
                    <a:lnTo>
                      <a:pt x="168" y="395"/>
                    </a:lnTo>
                    <a:lnTo>
                      <a:pt x="161" y="398"/>
                    </a:lnTo>
                    <a:lnTo>
                      <a:pt x="158" y="401"/>
                    </a:lnTo>
                    <a:lnTo>
                      <a:pt x="156" y="404"/>
                    </a:lnTo>
                    <a:lnTo>
                      <a:pt x="154" y="406"/>
                    </a:lnTo>
                    <a:lnTo>
                      <a:pt x="150" y="408"/>
                    </a:lnTo>
                    <a:lnTo>
                      <a:pt x="147" y="411"/>
                    </a:lnTo>
                    <a:lnTo>
                      <a:pt x="143" y="413"/>
                    </a:lnTo>
                    <a:lnTo>
                      <a:pt x="139" y="416"/>
                    </a:lnTo>
                    <a:lnTo>
                      <a:pt x="136" y="418"/>
                    </a:lnTo>
                    <a:lnTo>
                      <a:pt x="133" y="421"/>
                    </a:lnTo>
                    <a:lnTo>
                      <a:pt x="131" y="424"/>
                    </a:lnTo>
                    <a:lnTo>
                      <a:pt x="128" y="427"/>
                    </a:lnTo>
                    <a:lnTo>
                      <a:pt x="124" y="431"/>
                    </a:lnTo>
                    <a:lnTo>
                      <a:pt x="121" y="432"/>
                    </a:lnTo>
                    <a:lnTo>
                      <a:pt x="117" y="433"/>
                    </a:lnTo>
                    <a:lnTo>
                      <a:pt x="114" y="434"/>
                    </a:lnTo>
                    <a:lnTo>
                      <a:pt x="110" y="435"/>
                    </a:lnTo>
                    <a:lnTo>
                      <a:pt x="103" y="433"/>
                    </a:lnTo>
                    <a:lnTo>
                      <a:pt x="95" y="430"/>
                    </a:lnTo>
                    <a:lnTo>
                      <a:pt x="92" y="424"/>
                    </a:lnTo>
                    <a:lnTo>
                      <a:pt x="92" y="419"/>
                    </a:lnTo>
                    <a:lnTo>
                      <a:pt x="95" y="416"/>
                    </a:lnTo>
                    <a:lnTo>
                      <a:pt x="100" y="413"/>
                    </a:lnTo>
                    <a:lnTo>
                      <a:pt x="105" y="410"/>
                    </a:lnTo>
                    <a:lnTo>
                      <a:pt x="108" y="406"/>
                    </a:lnTo>
                    <a:lnTo>
                      <a:pt x="113" y="403"/>
                    </a:lnTo>
                    <a:lnTo>
                      <a:pt x="118" y="402"/>
                    </a:lnTo>
                    <a:lnTo>
                      <a:pt x="124" y="401"/>
                    </a:lnTo>
                    <a:lnTo>
                      <a:pt x="129" y="399"/>
                    </a:lnTo>
                    <a:lnTo>
                      <a:pt x="132" y="396"/>
                    </a:lnTo>
                    <a:lnTo>
                      <a:pt x="132" y="395"/>
                    </a:lnTo>
                    <a:lnTo>
                      <a:pt x="132" y="394"/>
                    </a:lnTo>
                    <a:lnTo>
                      <a:pt x="130" y="394"/>
                    </a:lnTo>
                    <a:lnTo>
                      <a:pt x="129" y="394"/>
                    </a:lnTo>
                    <a:lnTo>
                      <a:pt x="126" y="395"/>
                    </a:lnTo>
                    <a:lnTo>
                      <a:pt x="124" y="396"/>
                    </a:lnTo>
                    <a:lnTo>
                      <a:pt x="122" y="396"/>
                    </a:lnTo>
                    <a:lnTo>
                      <a:pt x="120" y="397"/>
                    </a:lnTo>
                    <a:lnTo>
                      <a:pt x="118" y="398"/>
                    </a:lnTo>
                    <a:lnTo>
                      <a:pt x="116" y="398"/>
                    </a:lnTo>
                    <a:lnTo>
                      <a:pt x="114" y="397"/>
                    </a:lnTo>
                    <a:lnTo>
                      <a:pt x="113" y="397"/>
                    </a:lnTo>
                    <a:lnTo>
                      <a:pt x="111" y="397"/>
                    </a:lnTo>
                    <a:lnTo>
                      <a:pt x="108" y="398"/>
                    </a:lnTo>
                    <a:lnTo>
                      <a:pt x="106" y="399"/>
                    </a:lnTo>
                    <a:lnTo>
                      <a:pt x="104" y="399"/>
                    </a:lnTo>
                    <a:lnTo>
                      <a:pt x="102" y="399"/>
                    </a:lnTo>
                    <a:lnTo>
                      <a:pt x="100" y="398"/>
                    </a:lnTo>
                    <a:lnTo>
                      <a:pt x="97" y="397"/>
                    </a:lnTo>
                    <a:lnTo>
                      <a:pt x="96" y="398"/>
                    </a:lnTo>
                    <a:lnTo>
                      <a:pt x="95" y="399"/>
                    </a:lnTo>
                    <a:lnTo>
                      <a:pt x="94" y="401"/>
                    </a:lnTo>
                    <a:lnTo>
                      <a:pt x="94" y="402"/>
                    </a:lnTo>
                    <a:lnTo>
                      <a:pt x="88" y="408"/>
                    </a:lnTo>
                    <a:lnTo>
                      <a:pt x="82" y="412"/>
                    </a:lnTo>
                    <a:lnTo>
                      <a:pt x="76" y="412"/>
                    </a:lnTo>
                    <a:lnTo>
                      <a:pt x="74" y="411"/>
                    </a:lnTo>
                    <a:lnTo>
                      <a:pt x="73" y="409"/>
                    </a:lnTo>
                    <a:lnTo>
                      <a:pt x="73" y="407"/>
                    </a:lnTo>
                    <a:lnTo>
                      <a:pt x="73" y="405"/>
                    </a:lnTo>
                    <a:lnTo>
                      <a:pt x="72" y="404"/>
                    </a:lnTo>
                    <a:lnTo>
                      <a:pt x="71" y="403"/>
                    </a:lnTo>
                    <a:lnTo>
                      <a:pt x="70" y="403"/>
                    </a:lnTo>
                    <a:lnTo>
                      <a:pt x="68" y="403"/>
                    </a:lnTo>
                    <a:lnTo>
                      <a:pt x="66" y="404"/>
                    </a:lnTo>
                    <a:lnTo>
                      <a:pt x="64" y="404"/>
                    </a:lnTo>
                    <a:lnTo>
                      <a:pt x="62" y="404"/>
                    </a:lnTo>
                    <a:lnTo>
                      <a:pt x="60" y="403"/>
                    </a:lnTo>
                    <a:lnTo>
                      <a:pt x="58" y="403"/>
                    </a:lnTo>
                    <a:lnTo>
                      <a:pt x="57" y="402"/>
                    </a:lnTo>
                    <a:lnTo>
                      <a:pt x="56" y="400"/>
                    </a:lnTo>
                    <a:lnTo>
                      <a:pt x="55" y="399"/>
                    </a:lnTo>
                    <a:lnTo>
                      <a:pt x="56" y="397"/>
                    </a:lnTo>
                    <a:lnTo>
                      <a:pt x="57" y="394"/>
                    </a:lnTo>
                    <a:lnTo>
                      <a:pt x="60" y="392"/>
                    </a:lnTo>
                    <a:lnTo>
                      <a:pt x="67" y="386"/>
                    </a:lnTo>
                    <a:lnTo>
                      <a:pt x="75" y="384"/>
                    </a:lnTo>
                    <a:lnTo>
                      <a:pt x="84" y="383"/>
                    </a:lnTo>
                    <a:lnTo>
                      <a:pt x="86" y="381"/>
                    </a:lnTo>
                    <a:lnTo>
                      <a:pt x="87" y="380"/>
                    </a:lnTo>
                    <a:lnTo>
                      <a:pt x="87" y="380"/>
                    </a:lnTo>
                    <a:lnTo>
                      <a:pt x="86" y="379"/>
                    </a:lnTo>
                    <a:lnTo>
                      <a:pt x="85" y="379"/>
                    </a:lnTo>
                    <a:lnTo>
                      <a:pt x="83" y="379"/>
                    </a:lnTo>
                    <a:lnTo>
                      <a:pt x="81" y="379"/>
                    </a:lnTo>
                    <a:lnTo>
                      <a:pt x="79" y="379"/>
                    </a:lnTo>
                    <a:lnTo>
                      <a:pt x="77" y="379"/>
                    </a:lnTo>
                    <a:lnTo>
                      <a:pt x="75" y="379"/>
                    </a:lnTo>
                    <a:lnTo>
                      <a:pt x="74" y="379"/>
                    </a:lnTo>
                    <a:lnTo>
                      <a:pt x="74" y="379"/>
                    </a:lnTo>
                    <a:lnTo>
                      <a:pt x="74" y="377"/>
                    </a:lnTo>
                    <a:lnTo>
                      <a:pt x="75" y="376"/>
                    </a:lnTo>
                    <a:lnTo>
                      <a:pt x="77" y="375"/>
                    </a:lnTo>
                    <a:lnTo>
                      <a:pt x="79" y="374"/>
                    </a:lnTo>
                    <a:lnTo>
                      <a:pt x="81" y="373"/>
                    </a:lnTo>
                    <a:lnTo>
                      <a:pt x="84" y="372"/>
                    </a:lnTo>
                    <a:lnTo>
                      <a:pt x="85" y="371"/>
                    </a:lnTo>
                    <a:lnTo>
                      <a:pt x="86" y="370"/>
                    </a:lnTo>
                    <a:lnTo>
                      <a:pt x="85" y="369"/>
                    </a:lnTo>
                    <a:lnTo>
                      <a:pt x="84" y="369"/>
                    </a:lnTo>
                    <a:lnTo>
                      <a:pt x="83" y="368"/>
                    </a:lnTo>
                    <a:lnTo>
                      <a:pt x="81" y="368"/>
                    </a:lnTo>
                    <a:lnTo>
                      <a:pt x="79" y="368"/>
                    </a:lnTo>
                    <a:lnTo>
                      <a:pt x="77" y="368"/>
                    </a:lnTo>
                    <a:lnTo>
                      <a:pt x="76" y="367"/>
                    </a:lnTo>
                    <a:lnTo>
                      <a:pt x="76" y="366"/>
                    </a:lnTo>
                    <a:lnTo>
                      <a:pt x="78" y="360"/>
                    </a:lnTo>
                    <a:lnTo>
                      <a:pt x="84" y="355"/>
                    </a:lnTo>
                    <a:lnTo>
                      <a:pt x="92" y="350"/>
                    </a:lnTo>
                    <a:lnTo>
                      <a:pt x="94" y="348"/>
                    </a:lnTo>
                    <a:lnTo>
                      <a:pt x="96" y="345"/>
                    </a:lnTo>
                    <a:lnTo>
                      <a:pt x="97" y="343"/>
                    </a:lnTo>
                    <a:lnTo>
                      <a:pt x="98" y="340"/>
                    </a:lnTo>
                    <a:lnTo>
                      <a:pt x="100" y="338"/>
                    </a:lnTo>
                    <a:lnTo>
                      <a:pt x="102" y="336"/>
                    </a:lnTo>
                    <a:lnTo>
                      <a:pt x="105" y="336"/>
                    </a:lnTo>
                    <a:lnTo>
                      <a:pt x="108" y="335"/>
                    </a:lnTo>
                    <a:lnTo>
                      <a:pt x="111" y="335"/>
                    </a:lnTo>
                    <a:lnTo>
                      <a:pt x="113" y="335"/>
                    </a:lnTo>
                    <a:lnTo>
                      <a:pt x="115" y="336"/>
                    </a:lnTo>
                    <a:lnTo>
                      <a:pt x="116" y="338"/>
                    </a:lnTo>
                    <a:lnTo>
                      <a:pt x="116" y="339"/>
                    </a:lnTo>
                    <a:lnTo>
                      <a:pt x="116" y="342"/>
                    </a:lnTo>
                    <a:lnTo>
                      <a:pt x="117" y="344"/>
                    </a:lnTo>
                    <a:lnTo>
                      <a:pt x="118" y="345"/>
                    </a:lnTo>
                    <a:lnTo>
                      <a:pt x="120" y="346"/>
                    </a:lnTo>
                    <a:lnTo>
                      <a:pt x="122" y="346"/>
                    </a:lnTo>
                    <a:lnTo>
                      <a:pt x="124" y="345"/>
                    </a:lnTo>
                    <a:lnTo>
                      <a:pt x="126" y="344"/>
                    </a:lnTo>
                    <a:lnTo>
                      <a:pt x="128" y="343"/>
                    </a:lnTo>
                    <a:lnTo>
                      <a:pt x="130" y="342"/>
                    </a:lnTo>
                    <a:lnTo>
                      <a:pt x="134" y="340"/>
                    </a:lnTo>
                    <a:lnTo>
                      <a:pt x="137" y="340"/>
                    </a:lnTo>
                    <a:lnTo>
                      <a:pt x="140" y="340"/>
                    </a:lnTo>
                    <a:lnTo>
                      <a:pt x="142" y="342"/>
                    </a:lnTo>
                    <a:lnTo>
                      <a:pt x="144" y="344"/>
                    </a:lnTo>
                    <a:lnTo>
                      <a:pt x="145" y="345"/>
                    </a:lnTo>
                    <a:lnTo>
                      <a:pt x="145" y="347"/>
                    </a:lnTo>
                    <a:lnTo>
                      <a:pt x="145" y="349"/>
                    </a:lnTo>
                    <a:lnTo>
                      <a:pt x="144" y="352"/>
                    </a:lnTo>
                    <a:lnTo>
                      <a:pt x="144" y="354"/>
                    </a:lnTo>
                    <a:lnTo>
                      <a:pt x="144" y="355"/>
                    </a:lnTo>
                    <a:lnTo>
                      <a:pt x="145" y="355"/>
                    </a:lnTo>
                    <a:lnTo>
                      <a:pt x="146" y="355"/>
                    </a:lnTo>
                    <a:lnTo>
                      <a:pt x="148" y="355"/>
                    </a:lnTo>
                    <a:lnTo>
                      <a:pt x="149" y="356"/>
                    </a:lnTo>
                    <a:lnTo>
                      <a:pt x="150" y="357"/>
                    </a:lnTo>
                    <a:lnTo>
                      <a:pt x="150" y="358"/>
                    </a:lnTo>
                    <a:lnTo>
                      <a:pt x="151" y="359"/>
                    </a:lnTo>
                    <a:lnTo>
                      <a:pt x="150" y="361"/>
                    </a:lnTo>
                    <a:lnTo>
                      <a:pt x="150" y="362"/>
                    </a:lnTo>
                    <a:lnTo>
                      <a:pt x="149" y="363"/>
                    </a:lnTo>
                    <a:lnTo>
                      <a:pt x="150" y="364"/>
                    </a:lnTo>
                    <a:lnTo>
                      <a:pt x="152" y="365"/>
                    </a:lnTo>
                    <a:lnTo>
                      <a:pt x="155" y="366"/>
                    </a:lnTo>
                    <a:lnTo>
                      <a:pt x="157" y="366"/>
                    </a:lnTo>
                    <a:lnTo>
                      <a:pt x="159" y="366"/>
                    </a:lnTo>
                    <a:lnTo>
                      <a:pt x="161" y="366"/>
                    </a:lnTo>
                    <a:lnTo>
                      <a:pt x="165" y="367"/>
                    </a:lnTo>
                    <a:lnTo>
                      <a:pt x="170" y="368"/>
                    </a:lnTo>
                    <a:lnTo>
                      <a:pt x="175" y="368"/>
                    </a:lnTo>
                    <a:lnTo>
                      <a:pt x="179" y="367"/>
                    </a:lnTo>
                    <a:lnTo>
                      <a:pt x="183" y="362"/>
                    </a:lnTo>
                    <a:lnTo>
                      <a:pt x="183" y="359"/>
                    </a:lnTo>
                    <a:lnTo>
                      <a:pt x="182" y="357"/>
                    </a:lnTo>
                    <a:lnTo>
                      <a:pt x="181" y="355"/>
                    </a:lnTo>
                    <a:lnTo>
                      <a:pt x="179" y="353"/>
                    </a:lnTo>
                    <a:lnTo>
                      <a:pt x="178" y="351"/>
                    </a:lnTo>
                    <a:lnTo>
                      <a:pt x="177" y="348"/>
                    </a:lnTo>
                    <a:lnTo>
                      <a:pt x="177" y="345"/>
                    </a:lnTo>
                    <a:lnTo>
                      <a:pt x="177" y="343"/>
                    </a:lnTo>
                    <a:lnTo>
                      <a:pt x="177" y="341"/>
                    </a:lnTo>
                    <a:lnTo>
                      <a:pt x="177" y="339"/>
                    </a:lnTo>
                    <a:lnTo>
                      <a:pt x="177" y="338"/>
                    </a:lnTo>
                    <a:lnTo>
                      <a:pt x="175" y="337"/>
                    </a:lnTo>
                    <a:lnTo>
                      <a:pt x="173" y="336"/>
                    </a:lnTo>
                    <a:lnTo>
                      <a:pt x="171" y="336"/>
                    </a:lnTo>
                    <a:lnTo>
                      <a:pt x="169" y="336"/>
                    </a:lnTo>
                    <a:lnTo>
                      <a:pt x="166" y="335"/>
                    </a:lnTo>
                    <a:lnTo>
                      <a:pt x="165" y="333"/>
                    </a:lnTo>
                    <a:lnTo>
                      <a:pt x="164" y="330"/>
                    </a:lnTo>
                    <a:lnTo>
                      <a:pt x="165" y="328"/>
                    </a:lnTo>
                    <a:lnTo>
                      <a:pt x="165" y="326"/>
                    </a:lnTo>
                    <a:lnTo>
                      <a:pt x="167" y="324"/>
                    </a:lnTo>
                    <a:lnTo>
                      <a:pt x="169" y="322"/>
                    </a:lnTo>
                    <a:lnTo>
                      <a:pt x="171" y="320"/>
                    </a:lnTo>
                    <a:lnTo>
                      <a:pt x="175" y="318"/>
                    </a:lnTo>
                    <a:lnTo>
                      <a:pt x="179" y="316"/>
                    </a:lnTo>
                    <a:lnTo>
                      <a:pt x="182" y="314"/>
                    </a:lnTo>
                    <a:lnTo>
                      <a:pt x="184" y="311"/>
                    </a:lnTo>
                    <a:lnTo>
                      <a:pt x="187" y="308"/>
                    </a:lnTo>
                    <a:lnTo>
                      <a:pt x="187" y="307"/>
                    </a:lnTo>
                    <a:lnTo>
                      <a:pt x="187" y="305"/>
                    </a:lnTo>
                    <a:lnTo>
                      <a:pt x="189" y="304"/>
                    </a:lnTo>
                    <a:lnTo>
                      <a:pt x="190" y="302"/>
                    </a:lnTo>
                    <a:lnTo>
                      <a:pt x="192" y="301"/>
                    </a:lnTo>
                    <a:lnTo>
                      <a:pt x="194" y="301"/>
                    </a:lnTo>
                    <a:close/>
                    <a:moveTo>
                      <a:pt x="321" y="291"/>
                    </a:moveTo>
                    <a:lnTo>
                      <a:pt x="330" y="292"/>
                    </a:lnTo>
                    <a:lnTo>
                      <a:pt x="333" y="292"/>
                    </a:lnTo>
                    <a:lnTo>
                      <a:pt x="336" y="292"/>
                    </a:lnTo>
                    <a:lnTo>
                      <a:pt x="338" y="293"/>
                    </a:lnTo>
                    <a:lnTo>
                      <a:pt x="340" y="293"/>
                    </a:lnTo>
                    <a:lnTo>
                      <a:pt x="342" y="294"/>
                    </a:lnTo>
                    <a:lnTo>
                      <a:pt x="345" y="295"/>
                    </a:lnTo>
                    <a:lnTo>
                      <a:pt x="348" y="296"/>
                    </a:lnTo>
                    <a:lnTo>
                      <a:pt x="350" y="296"/>
                    </a:lnTo>
                    <a:lnTo>
                      <a:pt x="352" y="298"/>
                    </a:lnTo>
                    <a:lnTo>
                      <a:pt x="356" y="302"/>
                    </a:lnTo>
                    <a:lnTo>
                      <a:pt x="357" y="308"/>
                    </a:lnTo>
                    <a:lnTo>
                      <a:pt x="357" y="314"/>
                    </a:lnTo>
                    <a:lnTo>
                      <a:pt x="356" y="320"/>
                    </a:lnTo>
                    <a:lnTo>
                      <a:pt x="356" y="325"/>
                    </a:lnTo>
                    <a:lnTo>
                      <a:pt x="358" y="329"/>
                    </a:lnTo>
                    <a:lnTo>
                      <a:pt x="362" y="334"/>
                    </a:lnTo>
                    <a:lnTo>
                      <a:pt x="366" y="339"/>
                    </a:lnTo>
                    <a:lnTo>
                      <a:pt x="366" y="341"/>
                    </a:lnTo>
                    <a:lnTo>
                      <a:pt x="365" y="342"/>
                    </a:lnTo>
                    <a:lnTo>
                      <a:pt x="364" y="343"/>
                    </a:lnTo>
                    <a:lnTo>
                      <a:pt x="362" y="343"/>
                    </a:lnTo>
                    <a:lnTo>
                      <a:pt x="360" y="344"/>
                    </a:lnTo>
                    <a:lnTo>
                      <a:pt x="356" y="345"/>
                    </a:lnTo>
                    <a:lnTo>
                      <a:pt x="354" y="345"/>
                    </a:lnTo>
                    <a:lnTo>
                      <a:pt x="352" y="347"/>
                    </a:lnTo>
                    <a:lnTo>
                      <a:pt x="350" y="350"/>
                    </a:lnTo>
                    <a:lnTo>
                      <a:pt x="348" y="352"/>
                    </a:lnTo>
                    <a:lnTo>
                      <a:pt x="347" y="355"/>
                    </a:lnTo>
                    <a:lnTo>
                      <a:pt x="346" y="357"/>
                    </a:lnTo>
                    <a:lnTo>
                      <a:pt x="344" y="359"/>
                    </a:lnTo>
                    <a:lnTo>
                      <a:pt x="342" y="361"/>
                    </a:lnTo>
                    <a:lnTo>
                      <a:pt x="340" y="363"/>
                    </a:lnTo>
                    <a:lnTo>
                      <a:pt x="338" y="365"/>
                    </a:lnTo>
                    <a:lnTo>
                      <a:pt x="332" y="369"/>
                    </a:lnTo>
                    <a:lnTo>
                      <a:pt x="325" y="371"/>
                    </a:lnTo>
                    <a:lnTo>
                      <a:pt x="318" y="372"/>
                    </a:lnTo>
                    <a:lnTo>
                      <a:pt x="311" y="371"/>
                    </a:lnTo>
                    <a:lnTo>
                      <a:pt x="309" y="369"/>
                    </a:lnTo>
                    <a:lnTo>
                      <a:pt x="306" y="367"/>
                    </a:lnTo>
                    <a:lnTo>
                      <a:pt x="304" y="365"/>
                    </a:lnTo>
                    <a:lnTo>
                      <a:pt x="302" y="363"/>
                    </a:lnTo>
                    <a:lnTo>
                      <a:pt x="301" y="361"/>
                    </a:lnTo>
                    <a:lnTo>
                      <a:pt x="300" y="359"/>
                    </a:lnTo>
                    <a:lnTo>
                      <a:pt x="301" y="357"/>
                    </a:lnTo>
                    <a:lnTo>
                      <a:pt x="302" y="355"/>
                    </a:lnTo>
                    <a:lnTo>
                      <a:pt x="305" y="353"/>
                    </a:lnTo>
                    <a:lnTo>
                      <a:pt x="310" y="350"/>
                    </a:lnTo>
                    <a:lnTo>
                      <a:pt x="315" y="347"/>
                    </a:lnTo>
                    <a:lnTo>
                      <a:pt x="319" y="343"/>
                    </a:lnTo>
                    <a:lnTo>
                      <a:pt x="319" y="341"/>
                    </a:lnTo>
                    <a:lnTo>
                      <a:pt x="316" y="340"/>
                    </a:lnTo>
                    <a:lnTo>
                      <a:pt x="311" y="342"/>
                    </a:lnTo>
                    <a:lnTo>
                      <a:pt x="304" y="344"/>
                    </a:lnTo>
                    <a:lnTo>
                      <a:pt x="300" y="345"/>
                    </a:lnTo>
                    <a:lnTo>
                      <a:pt x="296" y="347"/>
                    </a:lnTo>
                    <a:lnTo>
                      <a:pt x="292" y="350"/>
                    </a:lnTo>
                    <a:lnTo>
                      <a:pt x="287" y="351"/>
                    </a:lnTo>
                    <a:lnTo>
                      <a:pt x="283" y="351"/>
                    </a:lnTo>
                    <a:lnTo>
                      <a:pt x="281" y="349"/>
                    </a:lnTo>
                    <a:lnTo>
                      <a:pt x="282" y="344"/>
                    </a:lnTo>
                    <a:lnTo>
                      <a:pt x="283" y="338"/>
                    </a:lnTo>
                    <a:lnTo>
                      <a:pt x="286" y="333"/>
                    </a:lnTo>
                    <a:lnTo>
                      <a:pt x="290" y="328"/>
                    </a:lnTo>
                    <a:lnTo>
                      <a:pt x="295" y="326"/>
                    </a:lnTo>
                    <a:lnTo>
                      <a:pt x="300" y="323"/>
                    </a:lnTo>
                    <a:lnTo>
                      <a:pt x="302" y="320"/>
                    </a:lnTo>
                    <a:lnTo>
                      <a:pt x="302" y="319"/>
                    </a:lnTo>
                    <a:lnTo>
                      <a:pt x="300" y="318"/>
                    </a:lnTo>
                    <a:lnTo>
                      <a:pt x="299" y="318"/>
                    </a:lnTo>
                    <a:lnTo>
                      <a:pt x="297" y="317"/>
                    </a:lnTo>
                    <a:lnTo>
                      <a:pt x="295" y="316"/>
                    </a:lnTo>
                    <a:lnTo>
                      <a:pt x="294" y="315"/>
                    </a:lnTo>
                    <a:lnTo>
                      <a:pt x="293" y="314"/>
                    </a:lnTo>
                    <a:lnTo>
                      <a:pt x="293" y="313"/>
                    </a:lnTo>
                    <a:lnTo>
                      <a:pt x="294" y="311"/>
                    </a:lnTo>
                    <a:lnTo>
                      <a:pt x="296" y="310"/>
                    </a:lnTo>
                    <a:lnTo>
                      <a:pt x="296" y="309"/>
                    </a:lnTo>
                    <a:lnTo>
                      <a:pt x="298" y="309"/>
                    </a:lnTo>
                    <a:lnTo>
                      <a:pt x="300" y="309"/>
                    </a:lnTo>
                    <a:lnTo>
                      <a:pt x="303" y="308"/>
                    </a:lnTo>
                    <a:lnTo>
                      <a:pt x="306" y="307"/>
                    </a:lnTo>
                    <a:lnTo>
                      <a:pt x="309" y="307"/>
                    </a:lnTo>
                    <a:lnTo>
                      <a:pt x="311" y="306"/>
                    </a:lnTo>
                    <a:lnTo>
                      <a:pt x="313" y="305"/>
                    </a:lnTo>
                    <a:lnTo>
                      <a:pt x="314" y="304"/>
                    </a:lnTo>
                    <a:lnTo>
                      <a:pt x="313" y="303"/>
                    </a:lnTo>
                    <a:lnTo>
                      <a:pt x="311" y="302"/>
                    </a:lnTo>
                    <a:lnTo>
                      <a:pt x="310" y="302"/>
                    </a:lnTo>
                    <a:lnTo>
                      <a:pt x="308" y="302"/>
                    </a:lnTo>
                    <a:lnTo>
                      <a:pt x="305" y="301"/>
                    </a:lnTo>
                    <a:lnTo>
                      <a:pt x="303" y="301"/>
                    </a:lnTo>
                    <a:lnTo>
                      <a:pt x="301" y="301"/>
                    </a:lnTo>
                    <a:lnTo>
                      <a:pt x="299" y="300"/>
                    </a:lnTo>
                    <a:lnTo>
                      <a:pt x="298" y="299"/>
                    </a:lnTo>
                    <a:lnTo>
                      <a:pt x="299" y="298"/>
                    </a:lnTo>
                    <a:lnTo>
                      <a:pt x="300" y="297"/>
                    </a:lnTo>
                    <a:lnTo>
                      <a:pt x="302" y="296"/>
                    </a:lnTo>
                    <a:lnTo>
                      <a:pt x="312" y="292"/>
                    </a:lnTo>
                    <a:lnTo>
                      <a:pt x="321" y="291"/>
                    </a:lnTo>
                    <a:close/>
                    <a:moveTo>
                      <a:pt x="114" y="290"/>
                    </a:moveTo>
                    <a:lnTo>
                      <a:pt x="115" y="290"/>
                    </a:lnTo>
                    <a:lnTo>
                      <a:pt x="116" y="291"/>
                    </a:lnTo>
                    <a:lnTo>
                      <a:pt x="115" y="292"/>
                    </a:lnTo>
                    <a:lnTo>
                      <a:pt x="114" y="293"/>
                    </a:lnTo>
                    <a:lnTo>
                      <a:pt x="113" y="295"/>
                    </a:lnTo>
                    <a:lnTo>
                      <a:pt x="112" y="296"/>
                    </a:lnTo>
                    <a:lnTo>
                      <a:pt x="111" y="297"/>
                    </a:lnTo>
                    <a:lnTo>
                      <a:pt x="111" y="297"/>
                    </a:lnTo>
                    <a:lnTo>
                      <a:pt x="109" y="299"/>
                    </a:lnTo>
                    <a:lnTo>
                      <a:pt x="109" y="300"/>
                    </a:lnTo>
                    <a:lnTo>
                      <a:pt x="109" y="301"/>
                    </a:lnTo>
                    <a:lnTo>
                      <a:pt x="110" y="301"/>
                    </a:lnTo>
                    <a:lnTo>
                      <a:pt x="110" y="302"/>
                    </a:lnTo>
                    <a:lnTo>
                      <a:pt x="111" y="303"/>
                    </a:lnTo>
                    <a:lnTo>
                      <a:pt x="112" y="304"/>
                    </a:lnTo>
                    <a:lnTo>
                      <a:pt x="113" y="306"/>
                    </a:lnTo>
                    <a:lnTo>
                      <a:pt x="112" y="307"/>
                    </a:lnTo>
                    <a:lnTo>
                      <a:pt x="111" y="308"/>
                    </a:lnTo>
                    <a:lnTo>
                      <a:pt x="109" y="309"/>
                    </a:lnTo>
                    <a:lnTo>
                      <a:pt x="107" y="310"/>
                    </a:lnTo>
                    <a:lnTo>
                      <a:pt x="104" y="313"/>
                    </a:lnTo>
                    <a:lnTo>
                      <a:pt x="103" y="315"/>
                    </a:lnTo>
                    <a:lnTo>
                      <a:pt x="102" y="317"/>
                    </a:lnTo>
                    <a:lnTo>
                      <a:pt x="102" y="319"/>
                    </a:lnTo>
                    <a:lnTo>
                      <a:pt x="103" y="322"/>
                    </a:lnTo>
                    <a:lnTo>
                      <a:pt x="102" y="324"/>
                    </a:lnTo>
                    <a:lnTo>
                      <a:pt x="102" y="327"/>
                    </a:lnTo>
                    <a:lnTo>
                      <a:pt x="99" y="329"/>
                    </a:lnTo>
                    <a:lnTo>
                      <a:pt x="98" y="332"/>
                    </a:lnTo>
                    <a:lnTo>
                      <a:pt x="96" y="334"/>
                    </a:lnTo>
                    <a:lnTo>
                      <a:pt x="92" y="338"/>
                    </a:lnTo>
                    <a:lnTo>
                      <a:pt x="88" y="342"/>
                    </a:lnTo>
                    <a:lnTo>
                      <a:pt x="86" y="345"/>
                    </a:lnTo>
                    <a:lnTo>
                      <a:pt x="84" y="348"/>
                    </a:lnTo>
                    <a:lnTo>
                      <a:pt x="82" y="351"/>
                    </a:lnTo>
                    <a:lnTo>
                      <a:pt x="80" y="353"/>
                    </a:lnTo>
                    <a:lnTo>
                      <a:pt x="78" y="355"/>
                    </a:lnTo>
                    <a:lnTo>
                      <a:pt x="77" y="356"/>
                    </a:lnTo>
                    <a:lnTo>
                      <a:pt x="75" y="357"/>
                    </a:lnTo>
                    <a:lnTo>
                      <a:pt x="74" y="356"/>
                    </a:lnTo>
                    <a:lnTo>
                      <a:pt x="73" y="355"/>
                    </a:lnTo>
                    <a:lnTo>
                      <a:pt x="72" y="353"/>
                    </a:lnTo>
                    <a:lnTo>
                      <a:pt x="71" y="351"/>
                    </a:lnTo>
                    <a:lnTo>
                      <a:pt x="70" y="349"/>
                    </a:lnTo>
                    <a:lnTo>
                      <a:pt x="70" y="347"/>
                    </a:lnTo>
                    <a:lnTo>
                      <a:pt x="69" y="346"/>
                    </a:lnTo>
                    <a:lnTo>
                      <a:pt x="68" y="345"/>
                    </a:lnTo>
                    <a:lnTo>
                      <a:pt x="67" y="345"/>
                    </a:lnTo>
                    <a:lnTo>
                      <a:pt x="65" y="346"/>
                    </a:lnTo>
                    <a:lnTo>
                      <a:pt x="63" y="347"/>
                    </a:lnTo>
                    <a:lnTo>
                      <a:pt x="62" y="348"/>
                    </a:lnTo>
                    <a:lnTo>
                      <a:pt x="60" y="349"/>
                    </a:lnTo>
                    <a:lnTo>
                      <a:pt x="59" y="350"/>
                    </a:lnTo>
                    <a:lnTo>
                      <a:pt x="58" y="351"/>
                    </a:lnTo>
                    <a:lnTo>
                      <a:pt x="55" y="354"/>
                    </a:lnTo>
                    <a:lnTo>
                      <a:pt x="54" y="356"/>
                    </a:lnTo>
                    <a:lnTo>
                      <a:pt x="53" y="359"/>
                    </a:lnTo>
                    <a:lnTo>
                      <a:pt x="52" y="361"/>
                    </a:lnTo>
                    <a:lnTo>
                      <a:pt x="51" y="363"/>
                    </a:lnTo>
                    <a:lnTo>
                      <a:pt x="49" y="366"/>
                    </a:lnTo>
                    <a:lnTo>
                      <a:pt x="47" y="368"/>
                    </a:lnTo>
                    <a:lnTo>
                      <a:pt x="45" y="371"/>
                    </a:lnTo>
                    <a:lnTo>
                      <a:pt x="43" y="374"/>
                    </a:lnTo>
                    <a:lnTo>
                      <a:pt x="40" y="377"/>
                    </a:lnTo>
                    <a:lnTo>
                      <a:pt x="38" y="380"/>
                    </a:lnTo>
                    <a:lnTo>
                      <a:pt x="35" y="381"/>
                    </a:lnTo>
                    <a:lnTo>
                      <a:pt x="33" y="382"/>
                    </a:lnTo>
                    <a:lnTo>
                      <a:pt x="31" y="381"/>
                    </a:lnTo>
                    <a:lnTo>
                      <a:pt x="30" y="380"/>
                    </a:lnTo>
                    <a:lnTo>
                      <a:pt x="29" y="379"/>
                    </a:lnTo>
                    <a:lnTo>
                      <a:pt x="28" y="378"/>
                    </a:lnTo>
                    <a:lnTo>
                      <a:pt x="27" y="377"/>
                    </a:lnTo>
                    <a:lnTo>
                      <a:pt x="25" y="377"/>
                    </a:lnTo>
                    <a:lnTo>
                      <a:pt x="23" y="377"/>
                    </a:lnTo>
                    <a:lnTo>
                      <a:pt x="21" y="378"/>
                    </a:lnTo>
                    <a:lnTo>
                      <a:pt x="20" y="379"/>
                    </a:lnTo>
                    <a:lnTo>
                      <a:pt x="18" y="380"/>
                    </a:lnTo>
                    <a:lnTo>
                      <a:pt x="16" y="382"/>
                    </a:lnTo>
                    <a:lnTo>
                      <a:pt x="15" y="383"/>
                    </a:lnTo>
                    <a:lnTo>
                      <a:pt x="13" y="383"/>
                    </a:lnTo>
                    <a:lnTo>
                      <a:pt x="11" y="381"/>
                    </a:lnTo>
                    <a:lnTo>
                      <a:pt x="10" y="380"/>
                    </a:lnTo>
                    <a:lnTo>
                      <a:pt x="8" y="380"/>
                    </a:lnTo>
                    <a:lnTo>
                      <a:pt x="6" y="381"/>
                    </a:lnTo>
                    <a:lnTo>
                      <a:pt x="3" y="382"/>
                    </a:lnTo>
                    <a:lnTo>
                      <a:pt x="1" y="383"/>
                    </a:lnTo>
                    <a:lnTo>
                      <a:pt x="0" y="383"/>
                    </a:lnTo>
                    <a:lnTo>
                      <a:pt x="0" y="382"/>
                    </a:lnTo>
                    <a:lnTo>
                      <a:pt x="1" y="380"/>
                    </a:lnTo>
                    <a:lnTo>
                      <a:pt x="2" y="378"/>
                    </a:lnTo>
                    <a:lnTo>
                      <a:pt x="2" y="377"/>
                    </a:lnTo>
                    <a:lnTo>
                      <a:pt x="3" y="376"/>
                    </a:lnTo>
                    <a:lnTo>
                      <a:pt x="4" y="374"/>
                    </a:lnTo>
                    <a:lnTo>
                      <a:pt x="5" y="372"/>
                    </a:lnTo>
                    <a:lnTo>
                      <a:pt x="5" y="372"/>
                    </a:lnTo>
                    <a:lnTo>
                      <a:pt x="4" y="370"/>
                    </a:lnTo>
                    <a:lnTo>
                      <a:pt x="3" y="368"/>
                    </a:lnTo>
                    <a:lnTo>
                      <a:pt x="3" y="366"/>
                    </a:lnTo>
                    <a:lnTo>
                      <a:pt x="4" y="364"/>
                    </a:lnTo>
                    <a:lnTo>
                      <a:pt x="7" y="362"/>
                    </a:lnTo>
                    <a:lnTo>
                      <a:pt x="10" y="360"/>
                    </a:lnTo>
                    <a:lnTo>
                      <a:pt x="13" y="359"/>
                    </a:lnTo>
                    <a:lnTo>
                      <a:pt x="16" y="358"/>
                    </a:lnTo>
                    <a:lnTo>
                      <a:pt x="19" y="357"/>
                    </a:lnTo>
                    <a:lnTo>
                      <a:pt x="24" y="353"/>
                    </a:lnTo>
                    <a:lnTo>
                      <a:pt x="28" y="349"/>
                    </a:lnTo>
                    <a:lnTo>
                      <a:pt x="31" y="345"/>
                    </a:lnTo>
                    <a:lnTo>
                      <a:pt x="36" y="339"/>
                    </a:lnTo>
                    <a:lnTo>
                      <a:pt x="42" y="334"/>
                    </a:lnTo>
                    <a:lnTo>
                      <a:pt x="49" y="327"/>
                    </a:lnTo>
                    <a:lnTo>
                      <a:pt x="60" y="320"/>
                    </a:lnTo>
                    <a:lnTo>
                      <a:pt x="70" y="312"/>
                    </a:lnTo>
                    <a:lnTo>
                      <a:pt x="76" y="309"/>
                    </a:lnTo>
                    <a:lnTo>
                      <a:pt x="83" y="307"/>
                    </a:lnTo>
                    <a:lnTo>
                      <a:pt x="90" y="305"/>
                    </a:lnTo>
                    <a:lnTo>
                      <a:pt x="94" y="302"/>
                    </a:lnTo>
                    <a:lnTo>
                      <a:pt x="98" y="299"/>
                    </a:lnTo>
                    <a:lnTo>
                      <a:pt x="103" y="297"/>
                    </a:lnTo>
                    <a:lnTo>
                      <a:pt x="104" y="296"/>
                    </a:lnTo>
                    <a:lnTo>
                      <a:pt x="106" y="294"/>
                    </a:lnTo>
                    <a:lnTo>
                      <a:pt x="109" y="292"/>
                    </a:lnTo>
                    <a:lnTo>
                      <a:pt x="112" y="290"/>
                    </a:lnTo>
                    <a:lnTo>
                      <a:pt x="114" y="290"/>
                    </a:lnTo>
                    <a:close/>
                    <a:moveTo>
                      <a:pt x="1425" y="284"/>
                    </a:moveTo>
                    <a:lnTo>
                      <a:pt x="1426" y="284"/>
                    </a:lnTo>
                    <a:lnTo>
                      <a:pt x="1428" y="285"/>
                    </a:lnTo>
                    <a:lnTo>
                      <a:pt x="1430" y="286"/>
                    </a:lnTo>
                    <a:lnTo>
                      <a:pt x="1432" y="287"/>
                    </a:lnTo>
                    <a:lnTo>
                      <a:pt x="1433" y="288"/>
                    </a:lnTo>
                    <a:lnTo>
                      <a:pt x="1434" y="289"/>
                    </a:lnTo>
                    <a:lnTo>
                      <a:pt x="1434" y="290"/>
                    </a:lnTo>
                    <a:lnTo>
                      <a:pt x="1435" y="292"/>
                    </a:lnTo>
                    <a:lnTo>
                      <a:pt x="1436" y="294"/>
                    </a:lnTo>
                    <a:lnTo>
                      <a:pt x="1436" y="296"/>
                    </a:lnTo>
                    <a:lnTo>
                      <a:pt x="1437" y="298"/>
                    </a:lnTo>
                    <a:lnTo>
                      <a:pt x="1437" y="300"/>
                    </a:lnTo>
                    <a:lnTo>
                      <a:pt x="1436" y="301"/>
                    </a:lnTo>
                    <a:lnTo>
                      <a:pt x="1436" y="301"/>
                    </a:lnTo>
                    <a:lnTo>
                      <a:pt x="1435" y="301"/>
                    </a:lnTo>
                    <a:lnTo>
                      <a:pt x="1433" y="299"/>
                    </a:lnTo>
                    <a:lnTo>
                      <a:pt x="1428" y="296"/>
                    </a:lnTo>
                    <a:lnTo>
                      <a:pt x="1425" y="293"/>
                    </a:lnTo>
                    <a:lnTo>
                      <a:pt x="1424" y="289"/>
                    </a:lnTo>
                    <a:lnTo>
                      <a:pt x="1423" y="286"/>
                    </a:lnTo>
                    <a:lnTo>
                      <a:pt x="1424" y="284"/>
                    </a:lnTo>
                    <a:lnTo>
                      <a:pt x="1425" y="284"/>
                    </a:lnTo>
                    <a:close/>
                    <a:moveTo>
                      <a:pt x="128" y="265"/>
                    </a:moveTo>
                    <a:lnTo>
                      <a:pt x="130" y="265"/>
                    </a:lnTo>
                    <a:lnTo>
                      <a:pt x="131" y="266"/>
                    </a:lnTo>
                    <a:lnTo>
                      <a:pt x="132" y="267"/>
                    </a:lnTo>
                    <a:lnTo>
                      <a:pt x="133" y="268"/>
                    </a:lnTo>
                    <a:lnTo>
                      <a:pt x="134" y="269"/>
                    </a:lnTo>
                    <a:lnTo>
                      <a:pt x="134" y="270"/>
                    </a:lnTo>
                    <a:lnTo>
                      <a:pt x="133" y="272"/>
                    </a:lnTo>
                    <a:lnTo>
                      <a:pt x="132" y="274"/>
                    </a:lnTo>
                    <a:lnTo>
                      <a:pt x="131" y="277"/>
                    </a:lnTo>
                    <a:lnTo>
                      <a:pt x="128" y="278"/>
                    </a:lnTo>
                    <a:lnTo>
                      <a:pt x="126" y="278"/>
                    </a:lnTo>
                    <a:lnTo>
                      <a:pt x="125" y="276"/>
                    </a:lnTo>
                    <a:lnTo>
                      <a:pt x="123" y="274"/>
                    </a:lnTo>
                    <a:lnTo>
                      <a:pt x="123" y="271"/>
                    </a:lnTo>
                    <a:lnTo>
                      <a:pt x="123" y="269"/>
                    </a:lnTo>
                    <a:lnTo>
                      <a:pt x="124" y="267"/>
                    </a:lnTo>
                    <a:lnTo>
                      <a:pt x="126" y="265"/>
                    </a:lnTo>
                    <a:lnTo>
                      <a:pt x="128" y="265"/>
                    </a:lnTo>
                    <a:close/>
                    <a:moveTo>
                      <a:pt x="401" y="263"/>
                    </a:moveTo>
                    <a:lnTo>
                      <a:pt x="401" y="265"/>
                    </a:lnTo>
                    <a:lnTo>
                      <a:pt x="401" y="266"/>
                    </a:lnTo>
                    <a:lnTo>
                      <a:pt x="400" y="267"/>
                    </a:lnTo>
                    <a:lnTo>
                      <a:pt x="400" y="268"/>
                    </a:lnTo>
                    <a:lnTo>
                      <a:pt x="399" y="269"/>
                    </a:lnTo>
                    <a:lnTo>
                      <a:pt x="397" y="270"/>
                    </a:lnTo>
                    <a:lnTo>
                      <a:pt x="396" y="270"/>
                    </a:lnTo>
                    <a:lnTo>
                      <a:pt x="395" y="269"/>
                    </a:lnTo>
                    <a:lnTo>
                      <a:pt x="394" y="268"/>
                    </a:lnTo>
                    <a:lnTo>
                      <a:pt x="394" y="268"/>
                    </a:lnTo>
                    <a:lnTo>
                      <a:pt x="394" y="266"/>
                    </a:lnTo>
                    <a:lnTo>
                      <a:pt x="395" y="265"/>
                    </a:lnTo>
                    <a:lnTo>
                      <a:pt x="397" y="264"/>
                    </a:lnTo>
                    <a:lnTo>
                      <a:pt x="399" y="263"/>
                    </a:lnTo>
                    <a:lnTo>
                      <a:pt x="401" y="263"/>
                    </a:lnTo>
                    <a:close/>
                    <a:moveTo>
                      <a:pt x="246" y="258"/>
                    </a:moveTo>
                    <a:lnTo>
                      <a:pt x="248" y="258"/>
                    </a:lnTo>
                    <a:lnTo>
                      <a:pt x="250" y="259"/>
                    </a:lnTo>
                    <a:lnTo>
                      <a:pt x="252" y="260"/>
                    </a:lnTo>
                    <a:lnTo>
                      <a:pt x="253" y="261"/>
                    </a:lnTo>
                    <a:lnTo>
                      <a:pt x="254" y="262"/>
                    </a:lnTo>
                    <a:lnTo>
                      <a:pt x="261" y="273"/>
                    </a:lnTo>
                    <a:lnTo>
                      <a:pt x="262" y="274"/>
                    </a:lnTo>
                    <a:lnTo>
                      <a:pt x="263" y="276"/>
                    </a:lnTo>
                    <a:lnTo>
                      <a:pt x="263" y="277"/>
                    </a:lnTo>
                    <a:lnTo>
                      <a:pt x="263" y="279"/>
                    </a:lnTo>
                    <a:lnTo>
                      <a:pt x="263" y="281"/>
                    </a:lnTo>
                    <a:lnTo>
                      <a:pt x="259" y="285"/>
                    </a:lnTo>
                    <a:lnTo>
                      <a:pt x="254" y="286"/>
                    </a:lnTo>
                    <a:lnTo>
                      <a:pt x="249" y="286"/>
                    </a:lnTo>
                    <a:lnTo>
                      <a:pt x="245" y="284"/>
                    </a:lnTo>
                    <a:lnTo>
                      <a:pt x="242" y="282"/>
                    </a:lnTo>
                    <a:lnTo>
                      <a:pt x="241" y="281"/>
                    </a:lnTo>
                    <a:lnTo>
                      <a:pt x="241" y="278"/>
                    </a:lnTo>
                    <a:lnTo>
                      <a:pt x="241" y="276"/>
                    </a:lnTo>
                    <a:lnTo>
                      <a:pt x="241" y="273"/>
                    </a:lnTo>
                    <a:lnTo>
                      <a:pt x="242" y="271"/>
                    </a:lnTo>
                    <a:lnTo>
                      <a:pt x="242" y="269"/>
                    </a:lnTo>
                    <a:lnTo>
                      <a:pt x="242" y="264"/>
                    </a:lnTo>
                    <a:lnTo>
                      <a:pt x="243" y="261"/>
                    </a:lnTo>
                    <a:lnTo>
                      <a:pt x="244" y="260"/>
                    </a:lnTo>
                    <a:lnTo>
                      <a:pt x="245" y="259"/>
                    </a:lnTo>
                    <a:lnTo>
                      <a:pt x="246" y="258"/>
                    </a:lnTo>
                    <a:close/>
                    <a:moveTo>
                      <a:pt x="194" y="249"/>
                    </a:moveTo>
                    <a:lnTo>
                      <a:pt x="195" y="250"/>
                    </a:lnTo>
                    <a:lnTo>
                      <a:pt x="195" y="251"/>
                    </a:lnTo>
                    <a:lnTo>
                      <a:pt x="195" y="252"/>
                    </a:lnTo>
                    <a:lnTo>
                      <a:pt x="195" y="254"/>
                    </a:lnTo>
                    <a:lnTo>
                      <a:pt x="195" y="256"/>
                    </a:lnTo>
                    <a:lnTo>
                      <a:pt x="194" y="257"/>
                    </a:lnTo>
                    <a:lnTo>
                      <a:pt x="193" y="257"/>
                    </a:lnTo>
                    <a:lnTo>
                      <a:pt x="191" y="259"/>
                    </a:lnTo>
                    <a:lnTo>
                      <a:pt x="188" y="260"/>
                    </a:lnTo>
                    <a:lnTo>
                      <a:pt x="186" y="261"/>
                    </a:lnTo>
                    <a:lnTo>
                      <a:pt x="184" y="261"/>
                    </a:lnTo>
                    <a:lnTo>
                      <a:pt x="181" y="262"/>
                    </a:lnTo>
                    <a:lnTo>
                      <a:pt x="179" y="263"/>
                    </a:lnTo>
                    <a:lnTo>
                      <a:pt x="178" y="265"/>
                    </a:lnTo>
                    <a:lnTo>
                      <a:pt x="178" y="267"/>
                    </a:lnTo>
                    <a:lnTo>
                      <a:pt x="179" y="268"/>
                    </a:lnTo>
                    <a:lnTo>
                      <a:pt x="180" y="270"/>
                    </a:lnTo>
                    <a:lnTo>
                      <a:pt x="182" y="271"/>
                    </a:lnTo>
                    <a:lnTo>
                      <a:pt x="183" y="272"/>
                    </a:lnTo>
                    <a:lnTo>
                      <a:pt x="183" y="273"/>
                    </a:lnTo>
                    <a:lnTo>
                      <a:pt x="182" y="277"/>
                    </a:lnTo>
                    <a:lnTo>
                      <a:pt x="181" y="281"/>
                    </a:lnTo>
                    <a:lnTo>
                      <a:pt x="178" y="284"/>
                    </a:lnTo>
                    <a:lnTo>
                      <a:pt x="175" y="287"/>
                    </a:lnTo>
                    <a:lnTo>
                      <a:pt x="171" y="289"/>
                    </a:lnTo>
                    <a:lnTo>
                      <a:pt x="162" y="292"/>
                    </a:lnTo>
                    <a:lnTo>
                      <a:pt x="155" y="292"/>
                    </a:lnTo>
                    <a:lnTo>
                      <a:pt x="148" y="289"/>
                    </a:lnTo>
                    <a:lnTo>
                      <a:pt x="145" y="284"/>
                    </a:lnTo>
                    <a:lnTo>
                      <a:pt x="144" y="278"/>
                    </a:lnTo>
                    <a:lnTo>
                      <a:pt x="150" y="268"/>
                    </a:lnTo>
                    <a:lnTo>
                      <a:pt x="161" y="260"/>
                    </a:lnTo>
                    <a:lnTo>
                      <a:pt x="164" y="259"/>
                    </a:lnTo>
                    <a:lnTo>
                      <a:pt x="166" y="258"/>
                    </a:lnTo>
                    <a:lnTo>
                      <a:pt x="168" y="257"/>
                    </a:lnTo>
                    <a:lnTo>
                      <a:pt x="171" y="255"/>
                    </a:lnTo>
                    <a:lnTo>
                      <a:pt x="174" y="254"/>
                    </a:lnTo>
                    <a:lnTo>
                      <a:pt x="177" y="254"/>
                    </a:lnTo>
                    <a:lnTo>
                      <a:pt x="180" y="254"/>
                    </a:lnTo>
                    <a:lnTo>
                      <a:pt x="183" y="253"/>
                    </a:lnTo>
                    <a:lnTo>
                      <a:pt x="184" y="252"/>
                    </a:lnTo>
                    <a:lnTo>
                      <a:pt x="186" y="251"/>
                    </a:lnTo>
                    <a:lnTo>
                      <a:pt x="188" y="250"/>
                    </a:lnTo>
                    <a:lnTo>
                      <a:pt x="190" y="249"/>
                    </a:lnTo>
                    <a:lnTo>
                      <a:pt x="192" y="249"/>
                    </a:lnTo>
                    <a:lnTo>
                      <a:pt x="194" y="249"/>
                    </a:lnTo>
                    <a:close/>
                    <a:moveTo>
                      <a:pt x="479" y="247"/>
                    </a:moveTo>
                    <a:lnTo>
                      <a:pt x="481" y="249"/>
                    </a:lnTo>
                    <a:lnTo>
                      <a:pt x="482" y="250"/>
                    </a:lnTo>
                    <a:lnTo>
                      <a:pt x="483" y="252"/>
                    </a:lnTo>
                    <a:lnTo>
                      <a:pt x="482" y="254"/>
                    </a:lnTo>
                    <a:lnTo>
                      <a:pt x="481" y="256"/>
                    </a:lnTo>
                    <a:lnTo>
                      <a:pt x="479" y="258"/>
                    </a:lnTo>
                    <a:lnTo>
                      <a:pt x="476" y="260"/>
                    </a:lnTo>
                    <a:lnTo>
                      <a:pt x="473" y="262"/>
                    </a:lnTo>
                    <a:lnTo>
                      <a:pt x="470" y="263"/>
                    </a:lnTo>
                    <a:lnTo>
                      <a:pt x="467" y="263"/>
                    </a:lnTo>
                    <a:lnTo>
                      <a:pt x="465" y="262"/>
                    </a:lnTo>
                    <a:lnTo>
                      <a:pt x="464" y="260"/>
                    </a:lnTo>
                    <a:lnTo>
                      <a:pt x="464" y="258"/>
                    </a:lnTo>
                    <a:lnTo>
                      <a:pt x="465" y="256"/>
                    </a:lnTo>
                    <a:lnTo>
                      <a:pt x="467" y="254"/>
                    </a:lnTo>
                    <a:lnTo>
                      <a:pt x="469" y="253"/>
                    </a:lnTo>
                    <a:lnTo>
                      <a:pt x="470" y="251"/>
                    </a:lnTo>
                    <a:lnTo>
                      <a:pt x="472" y="251"/>
                    </a:lnTo>
                    <a:lnTo>
                      <a:pt x="474" y="250"/>
                    </a:lnTo>
                    <a:lnTo>
                      <a:pt x="476" y="249"/>
                    </a:lnTo>
                    <a:lnTo>
                      <a:pt x="477" y="247"/>
                    </a:lnTo>
                    <a:lnTo>
                      <a:pt x="479" y="247"/>
                    </a:lnTo>
                    <a:close/>
                    <a:moveTo>
                      <a:pt x="305" y="246"/>
                    </a:moveTo>
                    <a:lnTo>
                      <a:pt x="308" y="246"/>
                    </a:lnTo>
                    <a:lnTo>
                      <a:pt x="310" y="247"/>
                    </a:lnTo>
                    <a:lnTo>
                      <a:pt x="312" y="247"/>
                    </a:lnTo>
                    <a:lnTo>
                      <a:pt x="313" y="247"/>
                    </a:lnTo>
                    <a:lnTo>
                      <a:pt x="313" y="248"/>
                    </a:lnTo>
                    <a:lnTo>
                      <a:pt x="313" y="250"/>
                    </a:lnTo>
                    <a:lnTo>
                      <a:pt x="312" y="251"/>
                    </a:lnTo>
                    <a:lnTo>
                      <a:pt x="311" y="252"/>
                    </a:lnTo>
                    <a:lnTo>
                      <a:pt x="309" y="253"/>
                    </a:lnTo>
                    <a:lnTo>
                      <a:pt x="305" y="254"/>
                    </a:lnTo>
                    <a:lnTo>
                      <a:pt x="303" y="255"/>
                    </a:lnTo>
                    <a:lnTo>
                      <a:pt x="302" y="255"/>
                    </a:lnTo>
                    <a:lnTo>
                      <a:pt x="299" y="255"/>
                    </a:lnTo>
                    <a:lnTo>
                      <a:pt x="296" y="254"/>
                    </a:lnTo>
                    <a:lnTo>
                      <a:pt x="294" y="254"/>
                    </a:lnTo>
                    <a:lnTo>
                      <a:pt x="293" y="253"/>
                    </a:lnTo>
                    <a:lnTo>
                      <a:pt x="293" y="251"/>
                    </a:lnTo>
                    <a:lnTo>
                      <a:pt x="294" y="250"/>
                    </a:lnTo>
                    <a:lnTo>
                      <a:pt x="295" y="248"/>
                    </a:lnTo>
                    <a:lnTo>
                      <a:pt x="297" y="247"/>
                    </a:lnTo>
                    <a:lnTo>
                      <a:pt x="299" y="247"/>
                    </a:lnTo>
                    <a:lnTo>
                      <a:pt x="302" y="246"/>
                    </a:lnTo>
                    <a:lnTo>
                      <a:pt x="305" y="246"/>
                    </a:lnTo>
                    <a:close/>
                    <a:moveTo>
                      <a:pt x="426" y="238"/>
                    </a:moveTo>
                    <a:lnTo>
                      <a:pt x="429" y="239"/>
                    </a:lnTo>
                    <a:lnTo>
                      <a:pt x="430" y="240"/>
                    </a:lnTo>
                    <a:lnTo>
                      <a:pt x="431" y="242"/>
                    </a:lnTo>
                    <a:lnTo>
                      <a:pt x="431" y="244"/>
                    </a:lnTo>
                    <a:lnTo>
                      <a:pt x="430" y="246"/>
                    </a:lnTo>
                    <a:lnTo>
                      <a:pt x="429" y="248"/>
                    </a:lnTo>
                    <a:lnTo>
                      <a:pt x="427" y="250"/>
                    </a:lnTo>
                    <a:lnTo>
                      <a:pt x="424" y="252"/>
                    </a:lnTo>
                    <a:lnTo>
                      <a:pt x="422" y="253"/>
                    </a:lnTo>
                    <a:lnTo>
                      <a:pt x="415" y="254"/>
                    </a:lnTo>
                    <a:lnTo>
                      <a:pt x="408" y="253"/>
                    </a:lnTo>
                    <a:lnTo>
                      <a:pt x="403" y="253"/>
                    </a:lnTo>
                    <a:lnTo>
                      <a:pt x="399" y="254"/>
                    </a:lnTo>
                    <a:lnTo>
                      <a:pt x="396" y="254"/>
                    </a:lnTo>
                    <a:lnTo>
                      <a:pt x="392" y="254"/>
                    </a:lnTo>
                    <a:lnTo>
                      <a:pt x="389" y="253"/>
                    </a:lnTo>
                    <a:lnTo>
                      <a:pt x="387" y="251"/>
                    </a:lnTo>
                    <a:lnTo>
                      <a:pt x="386" y="249"/>
                    </a:lnTo>
                    <a:lnTo>
                      <a:pt x="385" y="248"/>
                    </a:lnTo>
                    <a:lnTo>
                      <a:pt x="386" y="246"/>
                    </a:lnTo>
                    <a:lnTo>
                      <a:pt x="387" y="244"/>
                    </a:lnTo>
                    <a:lnTo>
                      <a:pt x="389" y="242"/>
                    </a:lnTo>
                    <a:lnTo>
                      <a:pt x="391" y="242"/>
                    </a:lnTo>
                    <a:lnTo>
                      <a:pt x="394" y="241"/>
                    </a:lnTo>
                    <a:lnTo>
                      <a:pt x="396" y="241"/>
                    </a:lnTo>
                    <a:lnTo>
                      <a:pt x="399" y="240"/>
                    </a:lnTo>
                    <a:lnTo>
                      <a:pt x="401" y="240"/>
                    </a:lnTo>
                    <a:lnTo>
                      <a:pt x="402" y="240"/>
                    </a:lnTo>
                    <a:lnTo>
                      <a:pt x="403" y="240"/>
                    </a:lnTo>
                    <a:lnTo>
                      <a:pt x="403" y="240"/>
                    </a:lnTo>
                    <a:lnTo>
                      <a:pt x="401" y="240"/>
                    </a:lnTo>
                    <a:lnTo>
                      <a:pt x="414" y="239"/>
                    </a:lnTo>
                    <a:lnTo>
                      <a:pt x="426" y="238"/>
                    </a:lnTo>
                    <a:close/>
                    <a:moveTo>
                      <a:pt x="192" y="227"/>
                    </a:moveTo>
                    <a:lnTo>
                      <a:pt x="196" y="231"/>
                    </a:lnTo>
                    <a:lnTo>
                      <a:pt x="197" y="232"/>
                    </a:lnTo>
                    <a:lnTo>
                      <a:pt x="198" y="233"/>
                    </a:lnTo>
                    <a:lnTo>
                      <a:pt x="199" y="235"/>
                    </a:lnTo>
                    <a:lnTo>
                      <a:pt x="200" y="236"/>
                    </a:lnTo>
                    <a:lnTo>
                      <a:pt x="200" y="238"/>
                    </a:lnTo>
                    <a:lnTo>
                      <a:pt x="200" y="240"/>
                    </a:lnTo>
                    <a:lnTo>
                      <a:pt x="198" y="242"/>
                    </a:lnTo>
                    <a:lnTo>
                      <a:pt x="195" y="243"/>
                    </a:lnTo>
                    <a:lnTo>
                      <a:pt x="192" y="244"/>
                    </a:lnTo>
                    <a:lnTo>
                      <a:pt x="189" y="244"/>
                    </a:lnTo>
                    <a:lnTo>
                      <a:pt x="186" y="244"/>
                    </a:lnTo>
                    <a:lnTo>
                      <a:pt x="184" y="244"/>
                    </a:lnTo>
                    <a:lnTo>
                      <a:pt x="183" y="243"/>
                    </a:lnTo>
                    <a:lnTo>
                      <a:pt x="181" y="243"/>
                    </a:lnTo>
                    <a:lnTo>
                      <a:pt x="180" y="243"/>
                    </a:lnTo>
                    <a:lnTo>
                      <a:pt x="178" y="244"/>
                    </a:lnTo>
                    <a:lnTo>
                      <a:pt x="177" y="244"/>
                    </a:lnTo>
                    <a:lnTo>
                      <a:pt x="176" y="245"/>
                    </a:lnTo>
                    <a:lnTo>
                      <a:pt x="175" y="245"/>
                    </a:lnTo>
                    <a:lnTo>
                      <a:pt x="174" y="246"/>
                    </a:lnTo>
                    <a:lnTo>
                      <a:pt x="172" y="245"/>
                    </a:lnTo>
                    <a:lnTo>
                      <a:pt x="169" y="245"/>
                    </a:lnTo>
                    <a:lnTo>
                      <a:pt x="166" y="245"/>
                    </a:lnTo>
                    <a:lnTo>
                      <a:pt x="163" y="245"/>
                    </a:lnTo>
                    <a:lnTo>
                      <a:pt x="160" y="246"/>
                    </a:lnTo>
                    <a:lnTo>
                      <a:pt x="159" y="247"/>
                    </a:lnTo>
                    <a:lnTo>
                      <a:pt x="157" y="248"/>
                    </a:lnTo>
                    <a:lnTo>
                      <a:pt x="155" y="249"/>
                    </a:lnTo>
                    <a:lnTo>
                      <a:pt x="152" y="250"/>
                    </a:lnTo>
                    <a:lnTo>
                      <a:pt x="151" y="251"/>
                    </a:lnTo>
                    <a:lnTo>
                      <a:pt x="149" y="251"/>
                    </a:lnTo>
                    <a:lnTo>
                      <a:pt x="148" y="251"/>
                    </a:lnTo>
                    <a:lnTo>
                      <a:pt x="147" y="250"/>
                    </a:lnTo>
                    <a:lnTo>
                      <a:pt x="147" y="249"/>
                    </a:lnTo>
                    <a:lnTo>
                      <a:pt x="148" y="247"/>
                    </a:lnTo>
                    <a:lnTo>
                      <a:pt x="150" y="244"/>
                    </a:lnTo>
                    <a:lnTo>
                      <a:pt x="152" y="242"/>
                    </a:lnTo>
                    <a:lnTo>
                      <a:pt x="157" y="239"/>
                    </a:lnTo>
                    <a:lnTo>
                      <a:pt x="161" y="237"/>
                    </a:lnTo>
                    <a:lnTo>
                      <a:pt x="164" y="236"/>
                    </a:lnTo>
                    <a:lnTo>
                      <a:pt x="172" y="233"/>
                    </a:lnTo>
                    <a:lnTo>
                      <a:pt x="179" y="230"/>
                    </a:lnTo>
                    <a:lnTo>
                      <a:pt x="186" y="227"/>
                    </a:lnTo>
                    <a:lnTo>
                      <a:pt x="192" y="227"/>
                    </a:lnTo>
                    <a:close/>
                    <a:moveTo>
                      <a:pt x="374" y="188"/>
                    </a:moveTo>
                    <a:lnTo>
                      <a:pt x="379" y="188"/>
                    </a:lnTo>
                    <a:lnTo>
                      <a:pt x="382" y="189"/>
                    </a:lnTo>
                    <a:lnTo>
                      <a:pt x="385" y="191"/>
                    </a:lnTo>
                    <a:lnTo>
                      <a:pt x="386" y="192"/>
                    </a:lnTo>
                    <a:lnTo>
                      <a:pt x="387" y="193"/>
                    </a:lnTo>
                    <a:lnTo>
                      <a:pt x="388" y="195"/>
                    </a:lnTo>
                    <a:lnTo>
                      <a:pt x="390" y="196"/>
                    </a:lnTo>
                    <a:lnTo>
                      <a:pt x="391" y="197"/>
                    </a:lnTo>
                    <a:lnTo>
                      <a:pt x="393" y="198"/>
                    </a:lnTo>
                    <a:lnTo>
                      <a:pt x="395" y="199"/>
                    </a:lnTo>
                    <a:lnTo>
                      <a:pt x="398" y="198"/>
                    </a:lnTo>
                    <a:lnTo>
                      <a:pt x="400" y="198"/>
                    </a:lnTo>
                    <a:lnTo>
                      <a:pt x="402" y="198"/>
                    </a:lnTo>
                    <a:lnTo>
                      <a:pt x="404" y="199"/>
                    </a:lnTo>
                    <a:lnTo>
                      <a:pt x="406" y="201"/>
                    </a:lnTo>
                    <a:lnTo>
                      <a:pt x="407" y="202"/>
                    </a:lnTo>
                    <a:lnTo>
                      <a:pt x="407" y="203"/>
                    </a:lnTo>
                    <a:lnTo>
                      <a:pt x="408" y="205"/>
                    </a:lnTo>
                    <a:lnTo>
                      <a:pt x="408" y="207"/>
                    </a:lnTo>
                    <a:lnTo>
                      <a:pt x="408" y="208"/>
                    </a:lnTo>
                    <a:lnTo>
                      <a:pt x="408" y="210"/>
                    </a:lnTo>
                    <a:lnTo>
                      <a:pt x="411" y="211"/>
                    </a:lnTo>
                    <a:lnTo>
                      <a:pt x="412" y="211"/>
                    </a:lnTo>
                    <a:lnTo>
                      <a:pt x="413" y="212"/>
                    </a:lnTo>
                    <a:lnTo>
                      <a:pt x="415" y="212"/>
                    </a:lnTo>
                    <a:lnTo>
                      <a:pt x="416" y="214"/>
                    </a:lnTo>
                    <a:lnTo>
                      <a:pt x="416" y="215"/>
                    </a:lnTo>
                    <a:lnTo>
                      <a:pt x="416" y="216"/>
                    </a:lnTo>
                    <a:lnTo>
                      <a:pt x="415" y="217"/>
                    </a:lnTo>
                    <a:lnTo>
                      <a:pt x="413" y="218"/>
                    </a:lnTo>
                    <a:lnTo>
                      <a:pt x="411" y="220"/>
                    </a:lnTo>
                    <a:lnTo>
                      <a:pt x="408" y="222"/>
                    </a:lnTo>
                    <a:lnTo>
                      <a:pt x="408" y="222"/>
                    </a:lnTo>
                    <a:lnTo>
                      <a:pt x="409" y="223"/>
                    </a:lnTo>
                    <a:lnTo>
                      <a:pt x="409" y="224"/>
                    </a:lnTo>
                    <a:lnTo>
                      <a:pt x="411" y="226"/>
                    </a:lnTo>
                    <a:lnTo>
                      <a:pt x="408" y="228"/>
                    </a:lnTo>
                    <a:lnTo>
                      <a:pt x="406" y="229"/>
                    </a:lnTo>
                    <a:lnTo>
                      <a:pt x="403" y="230"/>
                    </a:lnTo>
                    <a:lnTo>
                      <a:pt x="400" y="231"/>
                    </a:lnTo>
                    <a:lnTo>
                      <a:pt x="397" y="232"/>
                    </a:lnTo>
                    <a:lnTo>
                      <a:pt x="391" y="233"/>
                    </a:lnTo>
                    <a:lnTo>
                      <a:pt x="386" y="236"/>
                    </a:lnTo>
                    <a:lnTo>
                      <a:pt x="380" y="238"/>
                    </a:lnTo>
                    <a:lnTo>
                      <a:pt x="377" y="238"/>
                    </a:lnTo>
                    <a:lnTo>
                      <a:pt x="374" y="237"/>
                    </a:lnTo>
                    <a:lnTo>
                      <a:pt x="373" y="236"/>
                    </a:lnTo>
                    <a:lnTo>
                      <a:pt x="371" y="235"/>
                    </a:lnTo>
                    <a:lnTo>
                      <a:pt x="370" y="234"/>
                    </a:lnTo>
                    <a:lnTo>
                      <a:pt x="369" y="233"/>
                    </a:lnTo>
                    <a:lnTo>
                      <a:pt x="367" y="232"/>
                    </a:lnTo>
                    <a:lnTo>
                      <a:pt x="365" y="231"/>
                    </a:lnTo>
                    <a:lnTo>
                      <a:pt x="364" y="229"/>
                    </a:lnTo>
                    <a:lnTo>
                      <a:pt x="362" y="228"/>
                    </a:lnTo>
                    <a:lnTo>
                      <a:pt x="362" y="227"/>
                    </a:lnTo>
                    <a:lnTo>
                      <a:pt x="363" y="226"/>
                    </a:lnTo>
                    <a:lnTo>
                      <a:pt x="366" y="225"/>
                    </a:lnTo>
                    <a:lnTo>
                      <a:pt x="368" y="225"/>
                    </a:lnTo>
                    <a:lnTo>
                      <a:pt x="371" y="225"/>
                    </a:lnTo>
                    <a:lnTo>
                      <a:pt x="372" y="225"/>
                    </a:lnTo>
                    <a:lnTo>
                      <a:pt x="374" y="224"/>
                    </a:lnTo>
                    <a:lnTo>
                      <a:pt x="377" y="224"/>
                    </a:lnTo>
                    <a:lnTo>
                      <a:pt x="378" y="223"/>
                    </a:lnTo>
                    <a:lnTo>
                      <a:pt x="379" y="222"/>
                    </a:lnTo>
                    <a:lnTo>
                      <a:pt x="379" y="220"/>
                    </a:lnTo>
                    <a:lnTo>
                      <a:pt x="378" y="218"/>
                    </a:lnTo>
                    <a:lnTo>
                      <a:pt x="376" y="217"/>
                    </a:lnTo>
                    <a:lnTo>
                      <a:pt x="374" y="217"/>
                    </a:lnTo>
                    <a:lnTo>
                      <a:pt x="372" y="217"/>
                    </a:lnTo>
                    <a:lnTo>
                      <a:pt x="370" y="216"/>
                    </a:lnTo>
                    <a:lnTo>
                      <a:pt x="368" y="216"/>
                    </a:lnTo>
                    <a:lnTo>
                      <a:pt x="368" y="215"/>
                    </a:lnTo>
                    <a:lnTo>
                      <a:pt x="367" y="213"/>
                    </a:lnTo>
                    <a:lnTo>
                      <a:pt x="367" y="212"/>
                    </a:lnTo>
                    <a:lnTo>
                      <a:pt x="367" y="210"/>
                    </a:lnTo>
                    <a:lnTo>
                      <a:pt x="368" y="209"/>
                    </a:lnTo>
                    <a:lnTo>
                      <a:pt x="367" y="208"/>
                    </a:lnTo>
                    <a:lnTo>
                      <a:pt x="366" y="208"/>
                    </a:lnTo>
                    <a:lnTo>
                      <a:pt x="365" y="207"/>
                    </a:lnTo>
                    <a:lnTo>
                      <a:pt x="363" y="207"/>
                    </a:lnTo>
                    <a:lnTo>
                      <a:pt x="362" y="205"/>
                    </a:lnTo>
                    <a:lnTo>
                      <a:pt x="362" y="204"/>
                    </a:lnTo>
                    <a:lnTo>
                      <a:pt x="363" y="202"/>
                    </a:lnTo>
                    <a:lnTo>
                      <a:pt x="363" y="201"/>
                    </a:lnTo>
                    <a:lnTo>
                      <a:pt x="364" y="200"/>
                    </a:lnTo>
                    <a:lnTo>
                      <a:pt x="365" y="198"/>
                    </a:lnTo>
                    <a:lnTo>
                      <a:pt x="366" y="197"/>
                    </a:lnTo>
                    <a:lnTo>
                      <a:pt x="365" y="195"/>
                    </a:lnTo>
                    <a:lnTo>
                      <a:pt x="365" y="194"/>
                    </a:lnTo>
                    <a:lnTo>
                      <a:pt x="365" y="193"/>
                    </a:lnTo>
                    <a:lnTo>
                      <a:pt x="366" y="191"/>
                    </a:lnTo>
                    <a:lnTo>
                      <a:pt x="367" y="190"/>
                    </a:lnTo>
                    <a:lnTo>
                      <a:pt x="370" y="189"/>
                    </a:lnTo>
                    <a:lnTo>
                      <a:pt x="374" y="188"/>
                    </a:lnTo>
                    <a:close/>
                    <a:moveTo>
                      <a:pt x="287" y="179"/>
                    </a:moveTo>
                    <a:lnTo>
                      <a:pt x="289" y="180"/>
                    </a:lnTo>
                    <a:lnTo>
                      <a:pt x="291" y="181"/>
                    </a:lnTo>
                    <a:lnTo>
                      <a:pt x="293" y="182"/>
                    </a:lnTo>
                    <a:lnTo>
                      <a:pt x="295" y="182"/>
                    </a:lnTo>
                    <a:lnTo>
                      <a:pt x="297" y="184"/>
                    </a:lnTo>
                    <a:lnTo>
                      <a:pt x="298" y="186"/>
                    </a:lnTo>
                    <a:lnTo>
                      <a:pt x="298" y="189"/>
                    </a:lnTo>
                    <a:lnTo>
                      <a:pt x="299" y="191"/>
                    </a:lnTo>
                    <a:lnTo>
                      <a:pt x="299" y="194"/>
                    </a:lnTo>
                    <a:lnTo>
                      <a:pt x="300" y="195"/>
                    </a:lnTo>
                    <a:lnTo>
                      <a:pt x="302" y="196"/>
                    </a:lnTo>
                    <a:lnTo>
                      <a:pt x="303" y="196"/>
                    </a:lnTo>
                    <a:lnTo>
                      <a:pt x="305" y="196"/>
                    </a:lnTo>
                    <a:lnTo>
                      <a:pt x="306" y="194"/>
                    </a:lnTo>
                    <a:lnTo>
                      <a:pt x="308" y="194"/>
                    </a:lnTo>
                    <a:lnTo>
                      <a:pt x="310" y="193"/>
                    </a:lnTo>
                    <a:lnTo>
                      <a:pt x="311" y="192"/>
                    </a:lnTo>
                    <a:lnTo>
                      <a:pt x="312" y="191"/>
                    </a:lnTo>
                    <a:lnTo>
                      <a:pt x="313" y="192"/>
                    </a:lnTo>
                    <a:lnTo>
                      <a:pt x="315" y="193"/>
                    </a:lnTo>
                    <a:lnTo>
                      <a:pt x="317" y="194"/>
                    </a:lnTo>
                    <a:lnTo>
                      <a:pt x="317" y="196"/>
                    </a:lnTo>
                    <a:lnTo>
                      <a:pt x="317" y="197"/>
                    </a:lnTo>
                    <a:lnTo>
                      <a:pt x="318" y="199"/>
                    </a:lnTo>
                    <a:lnTo>
                      <a:pt x="318" y="201"/>
                    </a:lnTo>
                    <a:lnTo>
                      <a:pt x="319" y="202"/>
                    </a:lnTo>
                    <a:lnTo>
                      <a:pt x="321" y="204"/>
                    </a:lnTo>
                    <a:lnTo>
                      <a:pt x="323" y="206"/>
                    </a:lnTo>
                    <a:lnTo>
                      <a:pt x="326" y="207"/>
                    </a:lnTo>
                    <a:lnTo>
                      <a:pt x="328" y="209"/>
                    </a:lnTo>
                    <a:lnTo>
                      <a:pt x="330" y="211"/>
                    </a:lnTo>
                    <a:lnTo>
                      <a:pt x="331" y="213"/>
                    </a:lnTo>
                    <a:lnTo>
                      <a:pt x="332" y="216"/>
                    </a:lnTo>
                    <a:lnTo>
                      <a:pt x="332" y="218"/>
                    </a:lnTo>
                    <a:lnTo>
                      <a:pt x="332" y="221"/>
                    </a:lnTo>
                    <a:lnTo>
                      <a:pt x="332" y="224"/>
                    </a:lnTo>
                    <a:lnTo>
                      <a:pt x="332" y="226"/>
                    </a:lnTo>
                    <a:lnTo>
                      <a:pt x="334" y="229"/>
                    </a:lnTo>
                    <a:lnTo>
                      <a:pt x="335" y="229"/>
                    </a:lnTo>
                    <a:lnTo>
                      <a:pt x="336" y="230"/>
                    </a:lnTo>
                    <a:lnTo>
                      <a:pt x="336" y="231"/>
                    </a:lnTo>
                    <a:lnTo>
                      <a:pt x="338" y="233"/>
                    </a:lnTo>
                    <a:lnTo>
                      <a:pt x="339" y="235"/>
                    </a:lnTo>
                    <a:lnTo>
                      <a:pt x="340" y="237"/>
                    </a:lnTo>
                    <a:lnTo>
                      <a:pt x="340" y="240"/>
                    </a:lnTo>
                    <a:lnTo>
                      <a:pt x="340" y="242"/>
                    </a:lnTo>
                    <a:lnTo>
                      <a:pt x="338" y="244"/>
                    </a:lnTo>
                    <a:lnTo>
                      <a:pt x="337" y="245"/>
                    </a:lnTo>
                    <a:lnTo>
                      <a:pt x="334" y="246"/>
                    </a:lnTo>
                    <a:lnTo>
                      <a:pt x="330" y="246"/>
                    </a:lnTo>
                    <a:lnTo>
                      <a:pt x="327" y="246"/>
                    </a:lnTo>
                    <a:lnTo>
                      <a:pt x="325" y="245"/>
                    </a:lnTo>
                    <a:lnTo>
                      <a:pt x="323" y="244"/>
                    </a:lnTo>
                    <a:lnTo>
                      <a:pt x="322" y="242"/>
                    </a:lnTo>
                    <a:lnTo>
                      <a:pt x="321" y="240"/>
                    </a:lnTo>
                    <a:lnTo>
                      <a:pt x="321" y="237"/>
                    </a:lnTo>
                    <a:lnTo>
                      <a:pt x="321" y="235"/>
                    </a:lnTo>
                    <a:lnTo>
                      <a:pt x="321" y="233"/>
                    </a:lnTo>
                    <a:lnTo>
                      <a:pt x="320" y="232"/>
                    </a:lnTo>
                    <a:lnTo>
                      <a:pt x="319" y="231"/>
                    </a:lnTo>
                    <a:lnTo>
                      <a:pt x="317" y="231"/>
                    </a:lnTo>
                    <a:lnTo>
                      <a:pt x="315" y="231"/>
                    </a:lnTo>
                    <a:lnTo>
                      <a:pt x="313" y="231"/>
                    </a:lnTo>
                    <a:lnTo>
                      <a:pt x="310" y="230"/>
                    </a:lnTo>
                    <a:lnTo>
                      <a:pt x="306" y="230"/>
                    </a:lnTo>
                    <a:lnTo>
                      <a:pt x="304" y="229"/>
                    </a:lnTo>
                    <a:lnTo>
                      <a:pt x="303" y="227"/>
                    </a:lnTo>
                    <a:lnTo>
                      <a:pt x="301" y="227"/>
                    </a:lnTo>
                    <a:lnTo>
                      <a:pt x="299" y="227"/>
                    </a:lnTo>
                    <a:lnTo>
                      <a:pt x="297" y="229"/>
                    </a:lnTo>
                    <a:lnTo>
                      <a:pt x="296" y="230"/>
                    </a:lnTo>
                    <a:lnTo>
                      <a:pt x="295" y="232"/>
                    </a:lnTo>
                    <a:lnTo>
                      <a:pt x="295" y="233"/>
                    </a:lnTo>
                    <a:lnTo>
                      <a:pt x="294" y="234"/>
                    </a:lnTo>
                    <a:lnTo>
                      <a:pt x="293" y="235"/>
                    </a:lnTo>
                    <a:lnTo>
                      <a:pt x="287" y="236"/>
                    </a:lnTo>
                    <a:lnTo>
                      <a:pt x="280" y="235"/>
                    </a:lnTo>
                    <a:lnTo>
                      <a:pt x="274" y="232"/>
                    </a:lnTo>
                    <a:lnTo>
                      <a:pt x="269" y="229"/>
                    </a:lnTo>
                    <a:lnTo>
                      <a:pt x="267" y="225"/>
                    </a:lnTo>
                    <a:lnTo>
                      <a:pt x="267" y="223"/>
                    </a:lnTo>
                    <a:lnTo>
                      <a:pt x="269" y="222"/>
                    </a:lnTo>
                    <a:lnTo>
                      <a:pt x="271" y="220"/>
                    </a:lnTo>
                    <a:lnTo>
                      <a:pt x="274" y="218"/>
                    </a:lnTo>
                    <a:lnTo>
                      <a:pt x="276" y="218"/>
                    </a:lnTo>
                    <a:lnTo>
                      <a:pt x="278" y="217"/>
                    </a:lnTo>
                    <a:lnTo>
                      <a:pt x="280" y="217"/>
                    </a:lnTo>
                    <a:lnTo>
                      <a:pt x="282" y="216"/>
                    </a:lnTo>
                    <a:lnTo>
                      <a:pt x="284" y="214"/>
                    </a:lnTo>
                    <a:lnTo>
                      <a:pt x="285" y="213"/>
                    </a:lnTo>
                    <a:lnTo>
                      <a:pt x="285" y="211"/>
                    </a:lnTo>
                    <a:lnTo>
                      <a:pt x="284" y="209"/>
                    </a:lnTo>
                    <a:lnTo>
                      <a:pt x="282" y="207"/>
                    </a:lnTo>
                    <a:lnTo>
                      <a:pt x="280" y="205"/>
                    </a:lnTo>
                    <a:lnTo>
                      <a:pt x="278" y="204"/>
                    </a:lnTo>
                    <a:lnTo>
                      <a:pt x="276" y="203"/>
                    </a:lnTo>
                    <a:lnTo>
                      <a:pt x="274" y="202"/>
                    </a:lnTo>
                    <a:lnTo>
                      <a:pt x="273" y="201"/>
                    </a:lnTo>
                    <a:lnTo>
                      <a:pt x="271" y="201"/>
                    </a:lnTo>
                    <a:lnTo>
                      <a:pt x="269" y="201"/>
                    </a:lnTo>
                    <a:lnTo>
                      <a:pt x="268" y="201"/>
                    </a:lnTo>
                    <a:lnTo>
                      <a:pt x="267" y="201"/>
                    </a:lnTo>
                    <a:lnTo>
                      <a:pt x="266" y="200"/>
                    </a:lnTo>
                    <a:lnTo>
                      <a:pt x="265" y="198"/>
                    </a:lnTo>
                    <a:lnTo>
                      <a:pt x="265" y="196"/>
                    </a:lnTo>
                    <a:lnTo>
                      <a:pt x="266" y="193"/>
                    </a:lnTo>
                    <a:lnTo>
                      <a:pt x="267" y="190"/>
                    </a:lnTo>
                    <a:lnTo>
                      <a:pt x="269" y="187"/>
                    </a:lnTo>
                    <a:lnTo>
                      <a:pt x="272" y="184"/>
                    </a:lnTo>
                    <a:lnTo>
                      <a:pt x="276" y="182"/>
                    </a:lnTo>
                    <a:lnTo>
                      <a:pt x="278" y="181"/>
                    </a:lnTo>
                    <a:lnTo>
                      <a:pt x="281" y="180"/>
                    </a:lnTo>
                    <a:lnTo>
                      <a:pt x="284" y="179"/>
                    </a:lnTo>
                    <a:lnTo>
                      <a:pt x="287" y="179"/>
                    </a:lnTo>
                    <a:close/>
                    <a:moveTo>
                      <a:pt x="371" y="136"/>
                    </a:moveTo>
                    <a:lnTo>
                      <a:pt x="375" y="137"/>
                    </a:lnTo>
                    <a:lnTo>
                      <a:pt x="378" y="139"/>
                    </a:lnTo>
                    <a:lnTo>
                      <a:pt x="380" y="141"/>
                    </a:lnTo>
                    <a:lnTo>
                      <a:pt x="381" y="143"/>
                    </a:lnTo>
                    <a:lnTo>
                      <a:pt x="381" y="145"/>
                    </a:lnTo>
                    <a:lnTo>
                      <a:pt x="380" y="147"/>
                    </a:lnTo>
                    <a:lnTo>
                      <a:pt x="378" y="149"/>
                    </a:lnTo>
                    <a:lnTo>
                      <a:pt x="375" y="150"/>
                    </a:lnTo>
                    <a:lnTo>
                      <a:pt x="371" y="150"/>
                    </a:lnTo>
                    <a:lnTo>
                      <a:pt x="369" y="150"/>
                    </a:lnTo>
                    <a:lnTo>
                      <a:pt x="366" y="149"/>
                    </a:lnTo>
                    <a:lnTo>
                      <a:pt x="365" y="149"/>
                    </a:lnTo>
                    <a:lnTo>
                      <a:pt x="363" y="147"/>
                    </a:lnTo>
                    <a:lnTo>
                      <a:pt x="362" y="146"/>
                    </a:lnTo>
                    <a:lnTo>
                      <a:pt x="360" y="144"/>
                    </a:lnTo>
                    <a:lnTo>
                      <a:pt x="352" y="144"/>
                    </a:lnTo>
                    <a:lnTo>
                      <a:pt x="350" y="144"/>
                    </a:lnTo>
                    <a:lnTo>
                      <a:pt x="349" y="143"/>
                    </a:lnTo>
                    <a:lnTo>
                      <a:pt x="349" y="142"/>
                    </a:lnTo>
                    <a:lnTo>
                      <a:pt x="350" y="141"/>
                    </a:lnTo>
                    <a:lnTo>
                      <a:pt x="351" y="140"/>
                    </a:lnTo>
                    <a:lnTo>
                      <a:pt x="354" y="139"/>
                    </a:lnTo>
                    <a:lnTo>
                      <a:pt x="356" y="138"/>
                    </a:lnTo>
                    <a:lnTo>
                      <a:pt x="360" y="138"/>
                    </a:lnTo>
                    <a:lnTo>
                      <a:pt x="362" y="137"/>
                    </a:lnTo>
                    <a:lnTo>
                      <a:pt x="365" y="137"/>
                    </a:lnTo>
                    <a:lnTo>
                      <a:pt x="367" y="137"/>
                    </a:lnTo>
                    <a:lnTo>
                      <a:pt x="371" y="136"/>
                    </a:lnTo>
                    <a:close/>
                    <a:moveTo>
                      <a:pt x="1114" y="0"/>
                    </a:moveTo>
                    <a:lnTo>
                      <a:pt x="1115" y="0"/>
                    </a:lnTo>
                    <a:lnTo>
                      <a:pt x="1117" y="1"/>
                    </a:lnTo>
                    <a:lnTo>
                      <a:pt x="1120" y="2"/>
                    </a:lnTo>
                    <a:lnTo>
                      <a:pt x="1122" y="4"/>
                    </a:lnTo>
                    <a:lnTo>
                      <a:pt x="1122" y="5"/>
                    </a:lnTo>
                    <a:lnTo>
                      <a:pt x="1123" y="5"/>
                    </a:lnTo>
                    <a:lnTo>
                      <a:pt x="1125" y="7"/>
                    </a:lnTo>
                    <a:lnTo>
                      <a:pt x="1126" y="8"/>
                    </a:lnTo>
                    <a:lnTo>
                      <a:pt x="1128" y="9"/>
                    </a:lnTo>
                    <a:lnTo>
                      <a:pt x="1129" y="9"/>
                    </a:lnTo>
                    <a:lnTo>
                      <a:pt x="1130" y="9"/>
                    </a:lnTo>
                    <a:lnTo>
                      <a:pt x="1130" y="8"/>
                    </a:lnTo>
                    <a:lnTo>
                      <a:pt x="1130" y="7"/>
                    </a:lnTo>
                    <a:lnTo>
                      <a:pt x="1129" y="5"/>
                    </a:lnTo>
                    <a:lnTo>
                      <a:pt x="1128" y="3"/>
                    </a:lnTo>
                    <a:lnTo>
                      <a:pt x="1127" y="2"/>
                    </a:lnTo>
                    <a:lnTo>
                      <a:pt x="1126" y="1"/>
                    </a:lnTo>
                    <a:lnTo>
                      <a:pt x="1126" y="0"/>
                    </a:lnTo>
                    <a:lnTo>
                      <a:pt x="1128" y="0"/>
                    </a:lnTo>
                    <a:lnTo>
                      <a:pt x="1130" y="1"/>
                    </a:lnTo>
                    <a:lnTo>
                      <a:pt x="1133" y="2"/>
                    </a:lnTo>
                    <a:lnTo>
                      <a:pt x="1135" y="2"/>
                    </a:lnTo>
                    <a:lnTo>
                      <a:pt x="1137" y="2"/>
                    </a:lnTo>
                    <a:lnTo>
                      <a:pt x="1139" y="2"/>
                    </a:lnTo>
                    <a:lnTo>
                      <a:pt x="1140" y="2"/>
                    </a:lnTo>
                    <a:lnTo>
                      <a:pt x="1142" y="1"/>
                    </a:lnTo>
                    <a:lnTo>
                      <a:pt x="1143" y="0"/>
                    </a:lnTo>
                    <a:lnTo>
                      <a:pt x="1145" y="0"/>
                    </a:lnTo>
                    <a:lnTo>
                      <a:pt x="1148" y="2"/>
                    </a:lnTo>
                    <a:lnTo>
                      <a:pt x="1151" y="3"/>
                    </a:lnTo>
                    <a:lnTo>
                      <a:pt x="1154" y="5"/>
                    </a:lnTo>
                    <a:lnTo>
                      <a:pt x="1158" y="6"/>
                    </a:lnTo>
                    <a:lnTo>
                      <a:pt x="1161" y="6"/>
                    </a:lnTo>
                    <a:lnTo>
                      <a:pt x="1162" y="5"/>
                    </a:lnTo>
                    <a:lnTo>
                      <a:pt x="1164" y="5"/>
                    </a:lnTo>
                    <a:lnTo>
                      <a:pt x="1166" y="5"/>
                    </a:lnTo>
                    <a:lnTo>
                      <a:pt x="1169" y="6"/>
                    </a:lnTo>
                    <a:lnTo>
                      <a:pt x="1172" y="7"/>
                    </a:lnTo>
                    <a:lnTo>
                      <a:pt x="1176" y="8"/>
                    </a:lnTo>
                    <a:lnTo>
                      <a:pt x="1180" y="9"/>
                    </a:lnTo>
                    <a:lnTo>
                      <a:pt x="1184" y="10"/>
                    </a:lnTo>
                    <a:lnTo>
                      <a:pt x="1196" y="13"/>
                    </a:lnTo>
                    <a:lnTo>
                      <a:pt x="1208" y="18"/>
                    </a:lnTo>
                    <a:lnTo>
                      <a:pt x="1210" y="20"/>
                    </a:lnTo>
                    <a:lnTo>
                      <a:pt x="1211" y="21"/>
                    </a:lnTo>
                    <a:lnTo>
                      <a:pt x="1212" y="23"/>
                    </a:lnTo>
                    <a:lnTo>
                      <a:pt x="1214" y="25"/>
                    </a:lnTo>
                    <a:lnTo>
                      <a:pt x="1216" y="26"/>
                    </a:lnTo>
                    <a:lnTo>
                      <a:pt x="1224" y="26"/>
                    </a:lnTo>
                    <a:lnTo>
                      <a:pt x="1230" y="29"/>
                    </a:lnTo>
                    <a:lnTo>
                      <a:pt x="1237" y="32"/>
                    </a:lnTo>
                    <a:lnTo>
                      <a:pt x="1243" y="34"/>
                    </a:lnTo>
                    <a:lnTo>
                      <a:pt x="1246" y="36"/>
                    </a:lnTo>
                    <a:lnTo>
                      <a:pt x="1249" y="39"/>
                    </a:lnTo>
                    <a:lnTo>
                      <a:pt x="1249" y="41"/>
                    </a:lnTo>
                    <a:lnTo>
                      <a:pt x="1249" y="43"/>
                    </a:lnTo>
                    <a:lnTo>
                      <a:pt x="1247" y="44"/>
                    </a:lnTo>
                    <a:lnTo>
                      <a:pt x="1241" y="44"/>
                    </a:lnTo>
                    <a:lnTo>
                      <a:pt x="1239" y="44"/>
                    </a:lnTo>
                    <a:lnTo>
                      <a:pt x="1238" y="45"/>
                    </a:lnTo>
                    <a:lnTo>
                      <a:pt x="1237" y="45"/>
                    </a:lnTo>
                    <a:lnTo>
                      <a:pt x="1235" y="45"/>
                    </a:lnTo>
                    <a:lnTo>
                      <a:pt x="1232" y="44"/>
                    </a:lnTo>
                    <a:lnTo>
                      <a:pt x="1202" y="38"/>
                    </a:lnTo>
                    <a:lnTo>
                      <a:pt x="1200" y="37"/>
                    </a:lnTo>
                    <a:lnTo>
                      <a:pt x="1199" y="37"/>
                    </a:lnTo>
                    <a:lnTo>
                      <a:pt x="1198" y="37"/>
                    </a:lnTo>
                    <a:lnTo>
                      <a:pt x="1197" y="38"/>
                    </a:lnTo>
                    <a:lnTo>
                      <a:pt x="1196" y="38"/>
                    </a:lnTo>
                    <a:lnTo>
                      <a:pt x="1193" y="39"/>
                    </a:lnTo>
                    <a:lnTo>
                      <a:pt x="1190" y="39"/>
                    </a:lnTo>
                    <a:lnTo>
                      <a:pt x="1188" y="38"/>
                    </a:lnTo>
                    <a:lnTo>
                      <a:pt x="1186" y="38"/>
                    </a:lnTo>
                    <a:lnTo>
                      <a:pt x="1184" y="38"/>
                    </a:lnTo>
                    <a:lnTo>
                      <a:pt x="1181" y="39"/>
                    </a:lnTo>
                    <a:lnTo>
                      <a:pt x="1179" y="39"/>
                    </a:lnTo>
                    <a:lnTo>
                      <a:pt x="1176" y="39"/>
                    </a:lnTo>
                    <a:lnTo>
                      <a:pt x="1173" y="38"/>
                    </a:lnTo>
                    <a:lnTo>
                      <a:pt x="1165" y="38"/>
                    </a:lnTo>
                    <a:lnTo>
                      <a:pt x="1163" y="38"/>
                    </a:lnTo>
                    <a:lnTo>
                      <a:pt x="1160" y="38"/>
                    </a:lnTo>
                    <a:lnTo>
                      <a:pt x="1158" y="38"/>
                    </a:lnTo>
                    <a:lnTo>
                      <a:pt x="1156" y="39"/>
                    </a:lnTo>
                    <a:lnTo>
                      <a:pt x="1155" y="39"/>
                    </a:lnTo>
                    <a:lnTo>
                      <a:pt x="1155" y="40"/>
                    </a:lnTo>
                    <a:lnTo>
                      <a:pt x="1158" y="41"/>
                    </a:lnTo>
                    <a:lnTo>
                      <a:pt x="1161" y="41"/>
                    </a:lnTo>
                    <a:lnTo>
                      <a:pt x="1163" y="40"/>
                    </a:lnTo>
                    <a:lnTo>
                      <a:pt x="1165" y="40"/>
                    </a:lnTo>
                    <a:lnTo>
                      <a:pt x="1171" y="40"/>
                    </a:lnTo>
                    <a:lnTo>
                      <a:pt x="1178" y="41"/>
                    </a:lnTo>
                    <a:lnTo>
                      <a:pt x="1186" y="42"/>
                    </a:lnTo>
                    <a:lnTo>
                      <a:pt x="1202" y="42"/>
                    </a:lnTo>
                    <a:lnTo>
                      <a:pt x="1208" y="41"/>
                    </a:lnTo>
                    <a:lnTo>
                      <a:pt x="1216" y="43"/>
                    </a:lnTo>
                    <a:lnTo>
                      <a:pt x="1224" y="46"/>
                    </a:lnTo>
                    <a:lnTo>
                      <a:pt x="1229" y="48"/>
                    </a:lnTo>
                    <a:lnTo>
                      <a:pt x="1237" y="50"/>
                    </a:lnTo>
                    <a:lnTo>
                      <a:pt x="1243" y="53"/>
                    </a:lnTo>
                    <a:lnTo>
                      <a:pt x="1245" y="52"/>
                    </a:lnTo>
                    <a:lnTo>
                      <a:pt x="1247" y="50"/>
                    </a:lnTo>
                    <a:lnTo>
                      <a:pt x="1249" y="50"/>
                    </a:lnTo>
                    <a:lnTo>
                      <a:pt x="1251" y="50"/>
                    </a:lnTo>
                    <a:lnTo>
                      <a:pt x="1255" y="52"/>
                    </a:lnTo>
                    <a:lnTo>
                      <a:pt x="1259" y="53"/>
                    </a:lnTo>
                    <a:lnTo>
                      <a:pt x="1261" y="53"/>
                    </a:lnTo>
                    <a:lnTo>
                      <a:pt x="1262" y="54"/>
                    </a:lnTo>
                    <a:lnTo>
                      <a:pt x="1264" y="56"/>
                    </a:lnTo>
                    <a:lnTo>
                      <a:pt x="1265" y="58"/>
                    </a:lnTo>
                    <a:lnTo>
                      <a:pt x="1266" y="59"/>
                    </a:lnTo>
                    <a:lnTo>
                      <a:pt x="1267" y="61"/>
                    </a:lnTo>
                    <a:lnTo>
                      <a:pt x="1267" y="63"/>
                    </a:lnTo>
                    <a:lnTo>
                      <a:pt x="1266" y="65"/>
                    </a:lnTo>
                    <a:lnTo>
                      <a:pt x="1266" y="67"/>
                    </a:lnTo>
                    <a:lnTo>
                      <a:pt x="1266" y="69"/>
                    </a:lnTo>
                    <a:lnTo>
                      <a:pt x="1267" y="70"/>
                    </a:lnTo>
                    <a:lnTo>
                      <a:pt x="1269" y="72"/>
                    </a:lnTo>
                    <a:lnTo>
                      <a:pt x="1271" y="72"/>
                    </a:lnTo>
                    <a:lnTo>
                      <a:pt x="1273" y="72"/>
                    </a:lnTo>
                    <a:lnTo>
                      <a:pt x="1275" y="72"/>
                    </a:lnTo>
                    <a:lnTo>
                      <a:pt x="1276" y="71"/>
                    </a:lnTo>
                    <a:lnTo>
                      <a:pt x="1277" y="70"/>
                    </a:lnTo>
                    <a:lnTo>
                      <a:pt x="1278" y="70"/>
                    </a:lnTo>
                    <a:lnTo>
                      <a:pt x="1279" y="70"/>
                    </a:lnTo>
                    <a:lnTo>
                      <a:pt x="1280" y="70"/>
                    </a:lnTo>
                    <a:lnTo>
                      <a:pt x="1282" y="71"/>
                    </a:lnTo>
                    <a:lnTo>
                      <a:pt x="1284" y="73"/>
                    </a:lnTo>
                    <a:lnTo>
                      <a:pt x="1287" y="75"/>
                    </a:lnTo>
                    <a:lnTo>
                      <a:pt x="1290" y="77"/>
                    </a:lnTo>
                    <a:lnTo>
                      <a:pt x="1292" y="78"/>
                    </a:lnTo>
                    <a:lnTo>
                      <a:pt x="1295" y="79"/>
                    </a:lnTo>
                    <a:lnTo>
                      <a:pt x="1298" y="81"/>
                    </a:lnTo>
                    <a:lnTo>
                      <a:pt x="1301" y="83"/>
                    </a:lnTo>
                    <a:lnTo>
                      <a:pt x="1304" y="85"/>
                    </a:lnTo>
                    <a:lnTo>
                      <a:pt x="1305" y="87"/>
                    </a:lnTo>
                    <a:lnTo>
                      <a:pt x="1307" y="89"/>
                    </a:lnTo>
                    <a:lnTo>
                      <a:pt x="1309" y="91"/>
                    </a:lnTo>
                    <a:lnTo>
                      <a:pt x="1311" y="93"/>
                    </a:lnTo>
                    <a:lnTo>
                      <a:pt x="1313" y="95"/>
                    </a:lnTo>
                    <a:lnTo>
                      <a:pt x="1313" y="97"/>
                    </a:lnTo>
                    <a:lnTo>
                      <a:pt x="1313" y="98"/>
                    </a:lnTo>
                    <a:lnTo>
                      <a:pt x="1312" y="99"/>
                    </a:lnTo>
                    <a:lnTo>
                      <a:pt x="1312" y="99"/>
                    </a:lnTo>
                    <a:lnTo>
                      <a:pt x="1311" y="101"/>
                    </a:lnTo>
                    <a:lnTo>
                      <a:pt x="1309" y="101"/>
                    </a:lnTo>
                    <a:lnTo>
                      <a:pt x="1308" y="103"/>
                    </a:lnTo>
                    <a:lnTo>
                      <a:pt x="1307" y="105"/>
                    </a:lnTo>
                    <a:lnTo>
                      <a:pt x="1306" y="106"/>
                    </a:lnTo>
                    <a:lnTo>
                      <a:pt x="1305" y="106"/>
                    </a:lnTo>
                    <a:lnTo>
                      <a:pt x="1305" y="108"/>
                    </a:lnTo>
                    <a:lnTo>
                      <a:pt x="1303" y="108"/>
                    </a:lnTo>
                    <a:lnTo>
                      <a:pt x="1297" y="108"/>
                    </a:lnTo>
                    <a:lnTo>
                      <a:pt x="1295" y="108"/>
                    </a:lnTo>
                    <a:lnTo>
                      <a:pt x="1293" y="109"/>
                    </a:lnTo>
                    <a:lnTo>
                      <a:pt x="1292" y="110"/>
                    </a:lnTo>
                    <a:lnTo>
                      <a:pt x="1290" y="110"/>
                    </a:lnTo>
                    <a:lnTo>
                      <a:pt x="1287" y="110"/>
                    </a:lnTo>
                    <a:lnTo>
                      <a:pt x="1279" y="109"/>
                    </a:lnTo>
                    <a:lnTo>
                      <a:pt x="1273" y="108"/>
                    </a:lnTo>
                    <a:lnTo>
                      <a:pt x="1265" y="105"/>
                    </a:lnTo>
                    <a:lnTo>
                      <a:pt x="1261" y="103"/>
                    </a:lnTo>
                    <a:lnTo>
                      <a:pt x="1258" y="103"/>
                    </a:lnTo>
                    <a:lnTo>
                      <a:pt x="1254" y="102"/>
                    </a:lnTo>
                    <a:lnTo>
                      <a:pt x="1251" y="101"/>
                    </a:lnTo>
                    <a:lnTo>
                      <a:pt x="1241" y="101"/>
                    </a:lnTo>
                    <a:lnTo>
                      <a:pt x="1235" y="99"/>
                    </a:lnTo>
                    <a:lnTo>
                      <a:pt x="1230" y="100"/>
                    </a:lnTo>
                    <a:lnTo>
                      <a:pt x="1226" y="101"/>
                    </a:lnTo>
                    <a:lnTo>
                      <a:pt x="1222" y="101"/>
                    </a:lnTo>
                    <a:lnTo>
                      <a:pt x="1212" y="101"/>
                    </a:lnTo>
                    <a:lnTo>
                      <a:pt x="1209" y="101"/>
                    </a:lnTo>
                    <a:lnTo>
                      <a:pt x="1207" y="101"/>
                    </a:lnTo>
                    <a:lnTo>
                      <a:pt x="1205" y="101"/>
                    </a:lnTo>
                    <a:lnTo>
                      <a:pt x="1204" y="102"/>
                    </a:lnTo>
                    <a:lnTo>
                      <a:pt x="1204" y="103"/>
                    </a:lnTo>
                    <a:lnTo>
                      <a:pt x="1204" y="103"/>
                    </a:lnTo>
                    <a:lnTo>
                      <a:pt x="1204" y="105"/>
                    </a:lnTo>
                    <a:lnTo>
                      <a:pt x="1204" y="108"/>
                    </a:lnTo>
                    <a:lnTo>
                      <a:pt x="1205" y="110"/>
                    </a:lnTo>
                    <a:lnTo>
                      <a:pt x="1206" y="112"/>
                    </a:lnTo>
                    <a:lnTo>
                      <a:pt x="1208" y="114"/>
                    </a:lnTo>
                    <a:lnTo>
                      <a:pt x="1210" y="115"/>
                    </a:lnTo>
                    <a:lnTo>
                      <a:pt x="1212" y="115"/>
                    </a:lnTo>
                    <a:lnTo>
                      <a:pt x="1213" y="114"/>
                    </a:lnTo>
                    <a:lnTo>
                      <a:pt x="1214" y="113"/>
                    </a:lnTo>
                    <a:lnTo>
                      <a:pt x="1215" y="112"/>
                    </a:lnTo>
                    <a:lnTo>
                      <a:pt x="1216" y="111"/>
                    </a:lnTo>
                    <a:lnTo>
                      <a:pt x="1216" y="110"/>
                    </a:lnTo>
                    <a:lnTo>
                      <a:pt x="1217" y="109"/>
                    </a:lnTo>
                    <a:lnTo>
                      <a:pt x="1220" y="109"/>
                    </a:lnTo>
                    <a:lnTo>
                      <a:pt x="1222" y="109"/>
                    </a:lnTo>
                    <a:lnTo>
                      <a:pt x="1225" y="109"/>
                    </a:lnTo>
                    <a:lnTo>
                      <a:pt x="1228" y="110"/>
                    </a:lnTo>
                    <a:lnTo>
                      <a:pt x="1231" y="111"/>
                    </a:lnTo>
                    <a:lnTo>
                      <a:pt x="1233" y="111"/>
                    </a:lnTo>
                    <a:lnTo>
                      <a:pt x="1237" y="111"/>
                    </a:lnTo>
                    <a:lnTo>
                      <a:pt x="1239" y="110"/>
                    </a:lnTo>
                    <a:lnTo>
                      <a:pt x="1244" y="108"/>
                    </a:lnTo>
                    <a:lnTo>
                      <a:pt x="1250" y="108"/>
                    </a:lnTo>
                    <a:lnTo>
                      <a:pt x="1259" y="110"/>
                    </a:lnTo>
                    <a:lnTo>
                      <a:pt x="1269" y="114"/>
                    </a:lnTo>
                    <a:lnTo>
                      <a:pt x="1280" y="118"/>
                    </a:lnTo>
                    <a:lnTo>
                      <a:pt x="1284" y="119"/>
                    </a:lnTo>
                    <a:lnTo>
                      <a:pt x="1288" y="121"/>
                    </a:lnTo>
                    <a:lnTo>
                      <a:pt x="1290" y="124"/>
                    </a:lnTo>
                    <a:lnTo>
                      <a:pt x="1291" y="127"/>
                    </a:lnTo>
                    <a:lnTo>
                      <a:pt x="1292" y="130"/>
                    </a:lnTo>
                    <a:lnTo>
                      <a:pt x="1291" y="131"/>
                    </a:lnTo>
                    <a:lnTo>
                      <a:pt x="1290" y="132"/>
                    </a:lnTo>
                    <a:lnTo>
                      <a:pt x="1289" y="132"/>
                    </a:lnTo>
                    <a:lnTo>
                      <a:pt x="1286" y="132"/>
                    </a:lnTo>
                    <a:lnTo>
                      <a:pt x="1283" y="133"/>
                    </a:lnTo>
                    <a:lnTo>
                      <a:pt x="1280" y="133"/>
                    </a:lnTo>
                    <a:lnTo>
                      <a:pt x="1279" y="134"/>
                    </a:lnTo>
                    <a:lnTo>
                      <a:pt x="1277" y="135"/>
                    </a:lnTo>
                    <a:lnTo>
                      <a:pt x="1275" y="137"/>
                    </a:lnTo>
                    <a:lnTo>
                      <a:pt x="1274" y="139"/>
                    </a:lnTo>
                    <a:lnTo>
                      <a:pt x="1274" y="141"/>
                    </a:lnTo>
                    <a:lnTo>
                      <a:pt x="1276" y="143"/>
                    </a:lnTo>
                    <a:lnTo>
                      <a:pt x="1279" y="143"/>
                    </a:lnTo>
                    <a:lnTo>
                      <a:pt x="1281" y="142"/>
                    </a:lnTo>
                    <a:lnTo>
                      <a:pt x="1283" y="141"/>
                    </a:lnTo>
                    <a:lnTo>
                      <a:pt x="1286" y="140"/>
                    </a:lnTo>
                    <a:lnTo>
                      <a:pt x="1287" y="140"/>
                    </a:lnTo>
                    <a:lnTo>
                      <a:pt x="1287" y="139"/>
                    </a:lnTo>
                    <a:lnTo>
                      <a:pt x="1290" y="139"/>
                    </a:lnTo>
                    <a:lnTo>
                      <a:pt x="1294" y="138"/>
                    </a:lnTo>
                    <a:lnTo>
                      <a:pt x="1297" y="138"/>
                    </a:lnTo>
                    <a:lnTo>
                      <a:pt x="1301" y="138"/>
                    </a:lnTo>
                    <a:lnTo>
                      <a:pt x="1303" y="137"/>
                    </a:lnTo>
                    <a:lnTo>
                      <a:pt x="1305" y="136"/>
                    </a:lnTo>
                    <a:lnTo>
                      <a:pt x="1306" y="135"/>
                    </a:lnTo>
                    <a:lnTo>
                      <a:pt x="1306" y="133"/>
                    </a:lnTo>
                    <a:lnTo>
                      <a:pt x="1306" y="131"/>
                    </a:lnTo>
                    <a:lnTo>
                      <a:pt x="1305" y="129"/>
                    </a:lnTo>
                    <a:lnTo>
                      <a:pt x="1305" y="127"/>
                    </a:lnTo>
                    <a:lnTo>
                      <a:pt x="1305" y="125"/>
                    </a:lnTo>
                    <a:lnTo>
                      <a:pt x="1306" y="124"/>
                    </a:lnTo>
                    <a:lnTo>
                      <a:pt x="1308" y="123"/>
                    </a:lnTo>
                    <a:lnTo>
                      <a:pt x="1310" y="122"/>
                    </a:lnTo>
                    <a:lnTo>
                      <a:pt x="1313" y="123"/>
                    </a:lnTo>
                    <a:lnTo>
                      <a:pt x="1316" y="124"/>
                    </a:lnTo>
                    <a:lnTo>
                      <a:pt x="1319" y="125"/>
                    </a:lnTo>
                    <a:lnTo>
                      <a:pt x="1321" y="128"/>
                    </a:lnTo>
                    <a:lnTo>
                      <a:pt x="1323" y="131"/>
                    </a:lnTo>
                    <a:lnTo>
                      <a:pt x="1324" y="133"/>
                    </a:lnTo>
                    <a:lnTo>
                      <a:pt x="1325" y="136"/>
                    </a:lnTo>
                    <a:lnTo>
                      <a:pt x="1325" y="137"/>
                    </a:lnTo>
                    <a:lnTo>
                      <a:pt x="1328" y="147"/>
                    </a:lnTo>
                    <a:lnTo>
                      <a:pt x="1333" y="157"/>
                    </a:lnTo>
                    <a:lnTo>
                      <a:pt x="1333" y="166"/>
                    </a:lnTo>
                    <a:lnTo>
                      <a:pt x="1332" y="168"/>
                    </a:lnTo>
                    <a:lnTo>
                      <a:pt x="1332" y="169"/>
                    </a:lnTo>
                    <a:lnTo>
                      <a:pt x="1333" y="171"/>
                    </a:lnTo>
                    <a:lnTo>
                      <a:pt x="1333" y="172"/>
                    </a:lnTo>
                    <a:lnTo>
                      <a:pt x="1333" y="176"/>
                    </a:lnTo>
                    <a:lnTo>
                      <a:pt x="1333" y="178"/>
                    </a:lnTo>
                    <a:lnTo>
                      <a:pt x="1331" y="180"/>
                    </a:lnTo>
                    <a:lnTo>
                      <a:pt x="1330" y="182"/>
                    </a:lnTo>
                    <a:lnTo>
                      <a:pt x="1329" y="184"/>
                    </a:lnTo>
                    <a:lnTo>
                      <a:pt x="1329" y="186"/>
                    </a:lnTo>
                    <a:lnTo>
                      <a:pt x="1329" y="188"/>
                    </a:lnTo>
                    <a:lnTo>
                      <a:pt x="1331" y="192"/>
                    </a:lnTo>
                    <a:lnTo>
                      <a:pt x="1333" y="191"/>
                    </a:lnTo>
                    <a:lnTo>
                      <a:pt x="1334" y="190"/>
                    </a:lnTo>
                    <a:lnTo>
                      <a:pt x="1336" y="189"/>
                    </a:lnTo>
                    <a:lnTo>
                      <a:pt x="1338" y="188"/>
                    </a:lnTo>
                    <a:lnTo>
                      <a:pt x="1338" y="187"/>
                    </a:lnTo>
                    <a:lnTo>
                      <a:pt x="1338" y="185"/>
                    </a:lnTo>
                    <a:lnTo>
                      <a:pt x="1339" y="184"/>
                    </a:lnTo>
                    <a:lnTo>
                      <a:pt x="1339" y="183"/>
                    </a:lnTo>
                    <a:lnTo>
                      <a:pt x="1340" y="182"/>
                    </a:lnTo>
                    <a:lnTo>
                      <a:pt x="1342" y="181"/>
                    </a:lnTo>
                    <a:lnTo>
                      <a:pt x="1343" y="180"/>
                    </a:lnTo>
                    <a:lnTo>
                      <a:pt x="1344" y="179"/>
                    </a:lnTo>
                    <a:lnTo>
                      <a:pt x="1344" y="178"/>
                    </a:lnTo>
                    <a:lnTo>
                      <a:pt x="1344" y="170"/>
                    </a:lnTo>
                    <a:lnTo>
                      <a:pt x="1344" y="168"/>
                    </a:lnTo>
                    <a:lnTo>
                      <a:pt x="1345" y="167"/>
                    </a:lnTo>
                    <a:lnTo>
                      <a:pt x="1345" y="166"/>
                    </a:lnTo>
                    <a:lnTo>
                      <a:pt x="1346" y="164"/>
                    </a:lnTo>
                    <a:lnTo>
                      <a:pt x="1346" y="161"/>
                    </a:lnTo>
                    <a:lnTo>
                      <a:pt x="1347" y="159"/>
                    </a:lnTo>
                    <a:lnTo>
                      <a:pt x="1348" y="158"/>
                    </a:lnTo>
                    <a:lnTo>
                      <a:pt x="1348" y="156"/>
                    </a:lnTo>
                    <a:lnTo>
                      <a:pt x="1348" y="154"/>
                    </a:lnTo>
                    <a:lnTo>
                      <a:pt x="1347" y="152"/>
                    </a:lnTo>
                    <a:lnTo>
                      <a:pt x="1344" y="149"/>
                    </a:lnTo>
                    <a:lnTo>
                      <a:pt x="1343" y="148"/>
                    </a:lnTo>
                    <a:lnTo>
                      <a:pt x="1343" y="147"/>
                    </a:lnTo>
                    <a:lnTo>
                      <a:pt x="1343" y="147"/>
                    </a:lnTo>
                    <a:lnTo>
                      <a:pt x="1345" y="147"/>
                    </a:lnTo>
                    <a:lnTo>
                      <a:pt x="1346" y="148"/>
                    </a:lnTo>
                    <a:lnTo>
                      <a:pt x="1347" y="148"/>
                    </a:lnTo>
                    <a:lnTo>
                      <a:pt x="1348" y="149"/>
                    </a:lnTo>
                    <a:lnTo>
                      <a:pt x="1354" y="155"/>
                    </a:lnTo>
                    <a:lnTo>
                      <a:pt x="1356" y="157"/>
                    </a:lnTo>
                    <a:lnTo>
                      <a:pt x="1358" y="158"/>
                    </a:lnTo>
                    <a:lnTo>
                      <a:pt x="1359" y="159"/>
                    </a:lnTo>
                    <a:lnTo>
                      <a:pt x="1360" y="159"/>
                    </a:lnTo>
                    <a:lnTo>
                      <a:pt x="1362" y="159"/>
                    </a:lnTo>
                    <a:lnTo>
                      <a:pt x="1363" y="160"/>
                    </a:lnTo>
                    <a:lnTo>
                      <a:pt x="1364" y="161"/>
                    </a:lnTo>
                    <a:lnTo>
                      <a:pt x="1365" y="162"/>
                    </a:lnTo>
                    <a:lnTo>
                      <a:pt x="1367" y="165"/>
                    </a:lnTo>
                    <a:lnTo>
                      <a:pt x="1368" y="166"/>
                    </a:lnTo>
                    <a:lnTo>
                      <a:pt x="1371" y="168"/>
                    </a:lnTo>
                    <a:lnTo>
                      <a:pt x="1373" y="169"/>
                    </a:lnTo>
                    <a:lnTo>
                      <a:pt x="1375" y="169"/>
                    </a:lnTo>
                    <a:lnTo>
                      <a:pt x="1376" y="169"/>
                    </a:lnTo>
                    <a:lnTo>
                      <a:pt x="1377" y="168"/>
                    </a:lnTo>
                    <a:lnTo>
                      <a:pt x="1377" y="166"/>
                    </a:lnTo>
                    <a:lnTo>
                      <a:pt x="1376" y="164"/>
                    </a:lnTo>
                    <a:lnTo>
                      <a:pt x="1374" y="161"/>
                    </a:lnTo>
                    <a:lnTo>
                      <a:pt x="1371" y="159"/>
                    </a:lnTo>
                    <a:lnTo>
                      <a:pt x="1368" y="157"/>
                    </a:lnTo>
                    <a:lnTo>
                      <a:pt x="1365" y="155"/>
                    </a:lnTo>
                    <a:lnTo>
                      <a:pt x="1363" y="153"/>
                    </a:lnTo>
                    <a:lnTo>
                      <a:pt x="1362" y="151"/>
                    </a:lnTo>
                    <a:lnTo>
                      <a:pt x="1360" y="149"/>
                    </a:lnTo>
                    <a:lnTo>
                      <a:pt x="1359" y="148"/>
                    </a:lnTo>
                    <a:lnTo>
                      <a:pt x="1357" y="147"/>
                    </a:lnTo>
                    <a:lnTo>
                      <a:pt x="1356" y="147"/>
                    </a:lnTo>
                    <a:lnTo>
                      <a:pt x="1355" y="146"/>
                    </a:lnTo>
                    <a:lnTo>
                      <a:pt x="1355" y="145"/>
                    </a:lnTo>
                    <a:lnTo>
                      <a:pt x="1356" y="145"/>
                    </a:lnTo>
                    <a:lnTo>
                      <a:pt x="1357" y="145"/>
                    </a:lnTo>
                    <a:lnTo>
                      <a:pt x="1358" y="145"/>
                    </a:lnTo>
                    <a:lnTo>
                      <a:pt x="1359" y="145"/>
                    </a:lnTo>
                    <a:lnTo>
                      <a:pt x="1361" y="146"/>
                    </a:lnTo>
                    <a:lnTo>
                      <a:pt x="1362" y="147"/>
                    </a:lnTo>
                    <a:lnTo>
                      <a:pt x="1363" y="148"/>
                    </a:lnTo>
                    <a:lnTo>
                      <a:pt x="1365" y="150"/>
                    </a:lnTo>
                    <a:lnTo>
                      <a:pt x="1367" y="152"/>
                    </a:lnTo>
                    <a:lnTo>
                      <a:pt x="1369" y="154"/>
                    </a:lnTo>
                    <a:lnTo>
                      <a:pt x="1371" y="156"/>
                    </a:lnTo>
                    <a:lnTo>
                      <a:pt x="1373" y="157"/>
                    </a:lnTo>
                    <a:lnTo>
                      <a:pt x="1375" y="159"/>
                    </a:lnTo>
                    <a:lnTo>
                      <a:pt x="1376" y="159"/>
                    </a:lnTo>
                    <a:lnTo>
                      <a:pt x="1376" y="159"/>
                    </a:lnTo>
                    <a:lnTo>
                      <a:pt x="1376" y="157"/>
                    </a:lnTo>
                    <a:lnTo>
                      <a:pt x="1375" y="155"/>
                    </a:lnTo>
                    <a:lnTo>
                      <a:pt x="1374" y="153"/>
                    </a:lnTo>
                    <a:lnTo>
                      <a:pt x="1374" y="152"/>
                    </a:lnTo>
                    <a:lnTo>
                      <a:pt x="1375" y="152"/>
                    </a:lnTo>
                    <a:lnTo>
                      <a:pt x="1377" y="151"/>
                    </a:lnTo>
                    <a:lnTo>
                      <a:pt x="1378" y="151"/>
                    </a:lnTo>
                    <a:lnTo>
                      <a:pt x="1379" y="150"/>
                    </a:lnTo>
                    <a:lnTo>
                      <a:pt x="1381" y="151"/>
                    </a:lnTo>
                    <a:lnTo>
                      <a:pt x="1382" y="151"/>
                    </a:lnTo>
                    <a:lnTo>
                      <a:pt x="1382" y="151"/>
                    </a:lnTo>
                    <a:lnTo>
                      <a:pt x="1383" y="151"/>
                    </a:lnTo>
                    <a:lnTo>
                      <a:pt x="1384" y="150"/>
                    </a:lnTo>
                    <a:lnTo>
                      <a:pt x="1385" y="150"/>
                    </a:lnTo>
                    <a:lnTo>
                      <a:pt x="1386" y="149"/>
                    </a:lnTo>
                    <a:lnTo>
                      <a:pt x="1389" y="149"/>
                    </a:lnTo>
                    <a:lnTo>
                      <a:pt x="1390" y="150"/>
                    </a:lnTo>
                    <a:lnTo>
                      <a:pt x="1392" y="150"/>
                    </a:lnTo>
                    <a:lnTo>
                      <a:pt x="1395" y="151"/>
                    </a:lnTo>
                    <a:lnTo>
                      <a:pt x="1398" y="153"/>
                    </a:lnTo>
                    <a:lnTo>
                      <a:pt x="1401" y="155"/>
                    </a:lnTo>
                    <a:lnTo>
                      <a:pt x="1403" y="157"/>
                    </a:lnTo>
                    <a:lnTo>
                      <a:pt x="1405" y="159"/>
                    </a:lnTo>
                    <a:lnTo>
                      <a:pt x="1409" y="164"/>
                    </a:lnTo>
                    <a:lnTo>
                      <a:pt x="1413" y="167"/>
                    </a:lnTo>
                    <a:lnTo>
                      <a:pt x="1417" y="170"/>
                    </a:lnTo>
                    <a:lnTo>
                      <a:pt x="1419" y="172"/>
                    </a:lnTo>
                    <a:lnTo>
                      <a:pt x="1422" y="174"/>
                    </a:lnTo>
                    <a:lnTo>
                      <a:pt x="1425" y="176"/>
                    </a:lnTo>
                    <a:lnTo>
                      <a:pt x="1428" y="178"/>
                    </a:lnTo>
                    <a:lnTo>
                      <a:pt x="1430" y="180"/>
                    </a:lnTo>
                    <a:lnTo>
                      <a:pt x="1431" y="182"/>
                    </a:lnTo>
                    <a:lnTo>
                      <a:pt x="1432" y="184"/>
                    </a:lnTo>
                    <a:lnTo>
                      <a:pt x="1431" y="186"/>
                    </a:lnTo>
                    <a:lnTo>
                      <a:pt x="1430" y="188"/>
                    </a:lnTo>
                    <a:lnTo>
                      <a:pt x="1429" y="190"/>
                    </a:lnTo>
                    <a:lnTo>
                      <a:pt x="1428" y="191"/>
                    </a:lnTo>
                    <a:lnTo>
                      <a:pt x="1426" y="193"/>
                    </a:lnTo>
                    <a:lnTo>
                      <a:pt x="1425" y="195"/>
                    </a:lnTo>
                    <a:lnTo>
                      <a:pt x="1425" y="198"/>
                    </a:lnTo>
                    <a:lnTo>
                      <a:pt x="1425" y="199"/>
                    </a:lnTo>
                    <a:lnTo>
                      <a:pt x="1424" y="199"/>
                    </a:lnTo>
                    <a:lnTo>
                      <a:pt x="1422" y="199"/>
                    </a:lnTo>
                    <a:lnTo>
                      <a:pt x="1421" y="198"/>
                    </a:lnTo>
                    <a:lnTo>
                      <a:pt x="1419" y="198"/>
                    </a:lnTo>
                    <a:lnTo>
                      <a:pt x="1418" y="198"/>
                    </a:lnTo>
                    <a:lnTo>
                      <a:pt x="1417" y="199"/>
                    </a:lnTo>
                    <a:lnTo>
                      <a:pt x="1417" y="200"/>
                    </a:lnTo>
                    <a:lnTo>
                      <a:pt x="1417" y="202"/>
                    </a:lnTo>
                    <a:lnTo>
                      <a:pt x="1418" y="203"/>
                    </a:lnTo>
                    <a:lnTo>
                      <a:pt x="1420" y="205"/>
                    </a:lnTo>
                    <a:lnTo>
                      <a:pt x="1421" y="206"/>
                    </a:lnTo>
                    <a:lnTo>
                      <a:pt x="1421" y="208"/>
                    </a:lnTo>
                    <a:lnTo>
                      <a:pt x="1421" y="210"/>
                    </a:lnTo>
                    <a:lnTo>
                      <a:pt x="1417" y="210"/>
                    </a:lnTo>
                    <a:lnTo>
                      <a:pt x="1416" y="210"/>
                    </a:lnTo>
                    <a:lnTo>
                      <a:pt x="1416" y="211"/>
                    </a:lnTo>
                    <a:lnTo>
                      <a:pt x="1416" y="212"/>
                    </a:lnTo>
                    <a:lnTo>
                      <a:pt x="1416" y="213"/>
                    </a:lnTo>
                    <a:lnTo>
                      <a:pt x="1415" y="214"/>
                    </a:lnTo>
                    <a:lnTo>
                      <a:pt x="1413" y="214"/>
                    </a:lnTo>
                    <a:lnTo>
                      <a:pt x="1412" y="214"/>
                    </a:lnTo>
                    <a:lnTo>
                      <a:pt x="1410" y="213"/>
                    </a:lnTo>
                    <a:lnTo>
                      <a:pt x="1408" y="212"/>
                    </a:lnTo>
                    <a:lnTo>
                      <a:pt x="1407" y="212"/>
                    </a:lnTo>
                    <a:lnTo>
                      <a:pt x="1405" y="211"/>
                    </a:lnTo>
                    <a:lnTo>
                      <a:pt x="1403" y="210"/>
                    </a:lnTo>
                    <a:lnTo>
                      <a:pt x="1401" y="209"/>
                    </a:lnTo>
                    <a:lnTo>
                      <a:pt x="1399" y="208"/>
                    </a:lnTo>
                    <a:lnTo>
                      <a:pt x="1396" y="206"/>
                    </a:lnTo>
                    <a:lnTo>
                      <a:pt x="1392" y="204"/>
                    </a:lnTo>
                    <a:lnTo>
                      <a:pt x="1389" y="202"/>
                    </a:lnTo>
                    <a:lnTo>
                      <a:pt x="1389" y="202"/>
                    </a:lnTo>
                    <a:lnTo>
                      <a:pt x="1389" y="203"/>
                    </a:lnTo>
                    <a:lnTo>
                      <a:pt x="1389" y="204"/>
                    </a:lnTo>
                    <a:lnTo>
                      <a:pt x="1390" y="206"/>
                    </a:lnTo>
                    <a:lnTo>
                      <a:pt x="1390" y="207"/>
                    </a:lnTo>
                    <a:lnTo>
                      <a:pt x="1390" y="209"/>
                    </a:lnTo>
                    <a:lnTo>
                      <a:pt x="1390" y="210"/>
                    </a:lnTo>
                    <a:lnTo>
                      <a:pt x="1389" y="210"/>
                    </a:lnTo>
                    <a:lnTo>
                      <a:pt x="1387" y="210"/>
                    </a:lnTo>
                    <a:lnTo>
                      <a:pt x="1386" y="209"/>
                    </a:lnTo>
                    <a:lnTo>
                      <a:pt x="1384" y="209"/>
                    </a:lnTo>
                    <a:lnTo>
                      <a:pt x="1383" y="208"/>
                    </a:lnTo>
                    <a:lnTo>
                      <a:pt x="1381" y="207"/>
                    </a:lnTo>
                    <a:lnTo>
                      <a:pt x="1380" y="207"/>
                    </a:lnTo>
                    <a:lnTo>
                      <a:pt x="1379" y="207"/>
                    </a:lnTo>
                    <a:lnTo>
                      <a:pt x="1379" y="208"/>
                    </a:lnTo>
                    <a:lnTo>
                      <a:pt x="1380" y="210"/>
                    </a:lnTo>
                    <a:lnTo>
                      <a:pt x="1382" y="212"/>
                    </a:lnTo>
                    <a:lnTo>
                      <a:pt x="1384" y="213"/>
                    </a:lnTo>
                    <a:lnTo>
                      <a:pt x="1385" y="214"/>
                    </a:lnTo>
                    <a:lnTo>
                      <a:pt x="1387" y="215"/>
                    </a:lnTo>
                    <a:lnTo>
                      <a:pt x="1389" y="216"/>
                    </a:lnTo>
                    <a:lnTo>
                      <a:pt x="1391" y="215"/>
                    </a:lnTo>
                    <a:lnTo>
                      <a:pt x="1392" y="215"/>
                    </a:lnTo>
                    <a:lnTo>
                      <a:pt x="1393" y="214"/>
                    </a:lnTo>
                    <a:lnTo>
                      <a:pt x="1394" y="213"/>
                    </a:lnTo>
                    <a:lnTo>
                      <a:pt x="1395" y="214"/>
                    </a:lnTo>
                    <a:lnTo>
                      <a:pt x="1402" y="217"/>
                    </a:lnTo>
                    <a:lnTo>
                      <a:pt x="1411" y="222"/>
                    </a:lnTo>
                    <a:lnTo>
                      <a:pt x="1417" y="229"/>
                    </a:lnTo>
                    <a:lnTo>
                      <a:pt x="1418" y="232"/>
                    </a:lnTo>
                    <a:lnTo>
                      <a:pt x="1417" y="235"/>
                    </a:lnTo>
                    <a:lnTo>
                      <a:pt x="1415" y="237"/>
                    </a:lnTo>
                    <a:lnTo>
                      <a:pt x="1413" y="239"/>
                    </a:lnTo>
                    <a:lnTo>
                      <a:pt x="1410" y="239"/>
                    </a:lnTo>
                    <a:lnTo>
                      <a:pt x="1405" y="237"/>
                    </a:lnTo>
                    <a:lnTo>
                      <a:pt x="1400" y="234"/>
                    </a:lnTo>
                    <a:lnTo>
                      <a:pt x="1395" y="231"/>
                    </a:lnTo>
                    <a:lnTo>
                      <a:pt x="1391" y="229"/>
                    </a:lnTo>
                    <a:lnTo>
                      <a:pt x="1387" y="228"/>
                    </a:lnTo>
                    <a:lnTo>
                      <a:pt x="1385" y="227"/>
                    </a:lnTo>
                    <a:lnTo>
                      <a:pt x="1383" y="227"/>
                    </a:lnTo>
                    <a:lnTo>
                      <a:pt x="1382" y="228"/>
                    </a:lnTo>
                    <a:lnTo>
                      <a:pt x="1381" y="230"/>
                    </a:lnTo>
                    <a:lnTo>
                      <a:pt x="1381" y="231"/>
                    </a:lnTo>
                    <a:lnTo>
                      <a:pt x="1382" y="233"/>
                    </a:lnTo>
                    <a:lnTo>
                      <a:pt x="1382" y="235"/>
                    </a:lnTo>
                    <a:lnTo>
                      <a:pt x="1383" y="238"/>
                    </a:lnTo>
                    <a:lnTo>
                      <a:pt x="1384" y="241"/>
                    </a:lnTo>
                    <a:lnTo>
                      <a:pt x="1385" y="245"/>
                    </a:lnTo>
                    <a:lnTo>
                      <a:pt x="1387" y="247"/>
                    </a:lnTo>
                    <a:lnTo>
                      <a:pt x="1391" y="249"/>
                    </a:lnTo>
                    <a:lnTo>
                      <a:pt x="1393" y="249"/>
                    </a:lnTo>
                    <a:lnTo>
                      <a:pt x="1394" y="249"/>
                    </a:lnTo>
                    <a:lnTo>
                      <a:pt x="1394" y="248"/>
                    </a:lnTo>
                    <a:lnTo>
                      <a:pt x="1394" y="247"/>
                    </a:lnTo>
                    <a:lnTo>
                      <a:pt x="1394" y="245"/>
                    </a:lnTo>
                    <a:lnTo>
                      <a:pt x="1394" y="243"/>
                    </a:lnTo>
                    <a:lnTo>
                      <a:pt x="1393" y="241"/>
                    </a:lnTo>
                    <a:lnTo>
                      <a:pt x="1393" y="240"/>
                    </a:lnTo>
                    <a:lnTo>
                      <a:pt x="1393" y="239"/>
                    </a:lnTo>
                    <a:lnTo>
                      <a:pt x="1393" y="238"/>
                    </a:lnTo>
                    <a:lnTo>
                      <a:pt x="1395" y="238"/>
                    </a:lnTo>
                    <a:lnTo>
                      <a:pt x="1396" y="239"/>
                    </a:lnTo>
                    <a:lnTo>
                      <a:pt x="1398" y="240"/>
                    </a:lnTo>
                    <a:lnTo>
                      <a:pt x="1399" y="241"/>
                    </a:lnTo>
                    <a:lnTo>
                      <a:pt x="1402" y="241"/>
                    </a:lnTo>
                    <a:lnTo>
                      <a:pt x="1405" y="241"/>
                    </a:lnTo>
                    <a:lnTo>
                      <a:pt x="1409" y="241"/>
                    </a:lnTo>
                    <a:lnTo>
                      <a:pt x="1412" y="243"/>
                    </a:lnTo>
                    <a:lnTo>
                      <a:pt x="1413" y="245"/>
                    </a:lnTo>
                    <a:lnTo>
                      <a:pt x="1414" y="247"/>
                    </a:lnTo>
                    <a:lnTo>
                      <a:pt x="1414" y="249"/>
                    </a:lnTo>
                    <a:lnTo>
                      <a:pt x="1414" y="251"/>
                    </a:lnTo>
                    <a:lnTo>
                      <a:pt x="1413" y="253"/>
                    </a:lnTo>
                    <a:lnTo>
                      <a:pt x="1413" y="255"/>
                    </a:lnTo>
                    <a:lnTo>
                      <a:pt x="1413" y="255"/>
                    </a:lnTo>
                    <a:lnTo>
                      <a:pt x="1413" y="256"/>
                    </a:lnTo>
                    <a:lnTo>
                      <a:pt x="1413" y="257"/>
                    </a:lnTo>
                    <a:lnTo>
                      <a:pt x="1412" y="258"/>
                    </a:lnTo>
                    <a:lnTo>
                      <a:pt x="1412" y="259"/>
                    </a:lnTo>
                    <a:lnTo>
                      <a:pt x="1411" y="259"/>
                    </a:lnTo>
                    <a:lnTo>
                      <a:pt x="1408" y="258"/>
                    </a:lnTo>
                    <a:lnTo>
                      <a:pt x="1406" y="258"/>
                    </a:lnTo>
                    <a:lnTo>
                      <a:pt x="1404" y="257"/>
                    </a:lnTo>
                    <a:lnTo>
                      <a:pt x="1403" y="257"/>
                    </a:lnTo>
                    <a:lnTo>
                      <a:pt x="1401" y="256"/>
                    </a:lnTo>
                    <a:lnTo>
                      <a:pt x="1400" y="257"/>
                    </a:lnTo>
                    <a:lnTo>
                      <a:pt x="1400" y="258"/>
                    </a:lnTo>
                    <a:lnTo>
                      <a:pt x="1400" y="260"/>
                    </a:lnTo>
                    <a:lnTo>
                      <a:pt x="1400" y="262"/>
                    </a:lnTo>
                    <a:lnTo>
                      <a:pt x="1401" y="265"/>
                    </a:lnTo>
                    <a:lnTo>
                      <a:pt x="1401" y="267"/>
                    </a:lnTo>
                    <a:lnTo>
                      <a:pt x="1402" y="269"/>
                    </a:lnTo>
                    <a:lnTo>
                      <a:pt x="1403" y="271"/>
                    </a:lnTo>
                    <a:lnTo>
                      <a:pt x="1405" y="272"/>
                    </a:lnTo>
                    <a:lnTo>
                      <a:pt x="1407" y="274"/>
                    </a:lnTo>
                    <a:lnTo>
                      <a:pt x="1409" y="274"/>
                    </a:lnTo>
                    <a:lnTo>
                      <a:pt x="1409" y="277"/>
                    </a:lnTo>
                    <a:lnTo>
                      <a:pt x="1410" y="277"/>
                    </a:lnTo>
                    <a:lnTo>
                      <a:pt x="1411" y="278"/>
                    </a:lnTo>
                    <a:lnTo>
                      <a:pt x="1413" y="279"/>
                    </a:lnTo>
                    <a:lnTo>
                      <a:pt x="1414" y="281"/>
                    </a:lnTo>
                    <a:lnTo>
                      <a:pt x="1414" y="283"/>
                    </a:lnTo>
                    <a:lnTo>
                      <a:pt x="1413" y="284"/>
                    </a:lnTo>
                    <a:lnTo>
                      <a:pt x="1412" y="284"/>
                    </a:lnTo>
                    <a:lnTo>
                      <a:pt x="1411" y="285"/>
                    </a:lnTo>
                    <a:lnTo>
                      <a:pt x="1409" y="285"/>
                    </a:lnTo>
                    <a:lnTo>
                      <a:pt x="1408" y="286"/>
                    </a:lnTo>
                    <a:lnTo>
                      <a:pt x="1407" y="286"/>
                    </a:lnTo>
                    <a:lnTo>
                      <a:pt x="1407" y="287"/>
                    </a:lnTo>
                    <a:lnTo>
                      <a:pt x="1407" y="289"/>
                    </a:lnTo>
                    <a:lnTo>
                      <a:pt x="1408" y="291"/>
                    </a:lnTo>
                    <a:lnTo>
                      <a:pt x="1409" y="294"/>
                    </a:lnTo>
                    <a:lnTo>
                      <a:pt x="1409" y="295"/>
                    </a:lnTo>
                    <a:lnTo>
                      <a:pt x="1410" y="296"/>
                    </a:lnTo>
                    <a:lnTo>
                      <a:pt x="1410" y="297"/>
                    </a:lnTo>
                    <a:lnTo>
                      <a:pt x="1409" y="297"/>
                    </a:lnTo>
                    <a:lnTo>
                      <a:pt x="1407" y="297"/>
                    </a:lnTo>
                    <a:lnTo>
                      <a:pt x="1405" y="297"/>
                    </a:lnTo>
                    <a:lnTo>
                      <a:pt x="1403" y="298"/>
                    </a:lnTo>
                    <a:lnTo>
                      <a:pt x="1402" y="298"/>
                    </a:lnTo>
                    <a:lnTo>
                      <a:pt x="1401" y="300"/>
                    </a:lnTo>
                    <a:lnTo>
                      <a:pt x="1401" y="301"/>
                    </a:lnTo>
                    <a:lnTo>
                      <a:pt x="1401" y="303"/>
                    </a:lnTo>
                    <a:lnTo>
                      <a:pt x="1403" y="313"/>
                    </a:lnTo>
                    <a:lnTo>
                      <a:pt x="1407" y="323"/>
                    </a:lnTo>
                    <a:lnTo>
                      <a:pt x="1408" y="325"/>
                    </a:lnTo>
                    <a:lnTo>
                      <a:pt x="1408" y="327"/>
                    </a:lnTo>
                    <a:lnTo>
                      <a:pt x="1408" y="329"/>
                    </a:lnTo>
                    <a:lnTo>
                      <a:pt x="1407" y="332"/>
                    </a:lnTo>
                    <a:lnTo>
                      <a:pt x="1407" y="334"/>
                    </a:lnTo>
                    <a:lnTo>
                      <a:pt x="1407" y="336"/>
                    </a:lnTo>
                    <a:lnTo>
                      <a:pt x="1407" y="338"/>
                    </a:lnTo>
                    <a:lnTo>
                      <a:pt x="1408" y="340"/>
                    </a:lnTo>
                    <a:lnTo>
                      <a:pt x="1409" y="342"/>
                    </a:lnTo>
                    <a:lnTo>
                      <a:pt x="1410" y="344"/>
                    </a:lnTo>
                    <a:lnTo>
                      <a:pt x="1412" y="345"/>
                    </a:lnTo>
                    <a:lnTo>
                      <a:pt x="1413" y="344"/>
                    </a:lnTo>
                    <a:lnTo>
                      <a:pt x="1413" y="344"/>
                    </a:lnTo>
                    <a:lnTo>
                      <a:pt x="1414" y="342"/>
                    </a:lnTo>
                    <a:lnTo>
                      <a:pt x="1414" y="341"/>
                    </a:lnTo>
                    <a:lnTo>
                      <a:pt x="1415" y="340"/>
                    </a:lnTo>
                    <a:lnTo>
                      <a:pt x="1415" y="339"/>
                    </a:lnTo>
                    <a:lnTo>
                      <a:pt x="1416" y="338"/>
                    </a:lnTo>
                    <a:lnTo>
                      <a:pt x="1417" y="338"/>
                    </a:lnTo>
                    <a:lnTo>
                      <a:pt x="1419" y="340"/>
                    </a:lnTo>
                    <a:lnTo>
                      <a:pt x="1421" y="342"/>
                    </a:lnTo>
                    <a:lnTo>
                      <a:pt x="1423" y="344"/>
                    </a:lnTo>
                    <a:lnTo>
                      <a:pt x="1425" y="346"/>
                    </a:lnTo>
                    <a:lnTo>
                      <a:pt x="1427" y="348"/>
                    </a:lnTo>
                    <a:lnTo>
                      <a:pt x="1433" y="354"/>
                    </a:lnTo>
                    <a:lnTo>
                      <a:pt x="1434" y="356"/>
                    </a:lnTo>
                    <a:lnTo>
                      <a:pt x="1434" y="357"/>
                    </a:lnTo>
                    <a:lnTo>
                      <a:pt x="1434" y="358"/>
                    </a:lnTo>
                    <a:lnTo>
                      <a:pt x="1433" y="358"/>
                    </a:lnTo>
                    <a:lnTo>
                      <a:pt x="1432" y="358"/>
                    </a:lnTo>
                    <a:lnTo>
                      <a:pt x="1430" y="358"/>
                    </a:lnTo>
                    <a:lnTo>
                      <a:pt x="1428" y="358"/>
                    </a:lnTo>
                    <a:lnTo>
                      <a:pt x="1427" y="358"/>
                    </a:lnTo>
                    <a:lnTo>
                      <a:pt x="1425" y="359"/>
                    </a:lnTo>
                    <a:lnTo>
                      <a:pt x="1424" y="359"/>
                    </a:lnTo>
                    <a:lnTo>
                      <a:pt x="1423" y="360"/>
                    </a:lnTo>
                    <a:lnTo>
                      <a:pt x="1423" y="361"/>
                    </a:lnTo>
                    <a:lnTo>
                      <a:pt x="1425" y="363"/>
                    </a:lnTo>
                    <a:lnTo>
                      <a:pt x="1427" y="365"/>
                    </a:lnTo>
                    <a:lnTo>
                      <a:pt x="1429" y="366"/>
                    </a:lnTo>
                    <a:lnTo>
                      <a:pt x="1431" y="368"/>
                    </a:lnTo>
                    <a:lnTo>
                      <a:pt x="1433" y="368"/>
                    </a:lnTo>
                    <a:lnTo>
                      <a:pt x="1435" y="369"/>
                    </a:lnTo>
                    <a:lnTo>
                      <a:pt x="1437" y="370"/>
                    </a:lnTo>
                    <a:lnTo>
                      <a:pt x="1438" y="371"/>
                    </a:lnTo>
                    <a:lnTo>
                      <a:pt x="1439" y="373"/>
                    </a:lnTo>
                    <a:lnTo>
                      <a:pt x="1441" y="374"/>
                    </a:lnTo>
                    <a:lnTo>
                      <a:pt x="1442" y="374"/>
                    </a:lnTo>
                    <a:lnTo>
                      <a:pt x="1443" y="375"/>
                    </a:lnTo>
                    <a:lnTo>
                      <a:pt x="1445" y="375"/>
                    </a:lnTo>
                    <a:lnTo>
                      <a:pt x="1446" y="375"/>
                    </a:lnTo>
                    <a:lnTo>
                      <a:pt x="1447" y="375"/>
                    </a:lnTo>
                    <a:lnTo>
                      <a:pt x="1448" y="376"/>
                    </a:lnTo>
                    <a:lnTo>
                      <a:pt x="1450" y="378"/>
                    </a:lnTo>
                    <a:lnTo>
                      <a:pt x="1452" y="380"/>
                    </a:lnTo>
                    <a:lnTo>
                      <a:pt x="1454" y="382"/>
                    </a:lnTo>
                    <a:lnTo>
                      <a:pt x="1456" y="385"/>
                    </a:lnTo>
                    <a:lnTo>
                      <a:pt x="1458" y="389"/>
                    </a:lnTo>
                    <a:lnTo>
                      <a:pt x="1458" y="390"/>
                    </a:lnTo>
                    <a:lnTo>
                      <a:pt x="1458" y="393"/>
                    </a:lnTo>
                    <a:lnTo>
                      <a:pt x="1459" y="395"/>
                    </a:lnTo>
                    <a:lnTo>
                      <a:pt x="1459" y="397"/>
                    </a:lnTo>
                    <a:lnTo>
                      <a:pt x="1458" y="399"/>
                    </a:lnTo>
                    <a:lnTo>
                      <a:pt x="1457" y="399"/>
                    </a:lnTo>
                    <a:lnTo>
                      <a:pt x="1456" y="399"/>
                    </a:lnTo>
                    <a:lnTo>
                      <a:pt x="1455" y="399"/>
                    </a:lnTo>
                    <a:lnTo>
                      <a:pt x="1453" y="398"/>
                    </a:lnTo>
                    <a:lnTo>
                      <a:pt x="1452" y="397"/>
                    </a:lnTo>
                    <a:lnTo>
                      <a:pt x="1449" y="396"/>
                    </a:lnTo>
                    <a:lnTo>
                      <a:pt x="1446" y="395"/>
                    </a:lnTo>
                    <a:lnTo>
                      <a:pt x="1444" y="393"/>
                    </a:lnTo>
                    <a:lnTo>
                      <a:pt x="1442" y="391"/>
                    </a:lnTo>
                    <a:lnTo>
                      <a:pt x="1438" y="388"/>
                    </a:lnTo>
                    <a:lnTo>
                      <a:pt x="1435" y="386"/>
                    </a:lnTo>
                    <a:lnTo>
                      <a:pt x="1433" y="386"/>
                    </a:lnTo>
                    <a:lnTo>
                      <a:pt x="1431" y="386"/>
                    </a:lnTo>
                    <a:lnTo>
                      <a:pt x="1430" y="388"/>
                    </a:lnTo>
                    <a:lnTo>
                      <a:pt x="1431" y="390"/>
                    </a:lnTo>
                    <a:lnTo>
                      <a:pt x="1431" y="392"/>
                    </a:lnTo>
                    <a:lnTo>
                      <a:pt x="1431" y="393"/>
                    </a:lnTo>
                    <a:lnTo>
                      <a:pt x="1431" y="395"/>
                    </a:lnTo>
                    <a:lnTo>
                      <a:pt x="1429" y="396"/>
                    </a:lnTo>
                    <a:lnTo>
                      <a:pt x="1428" y="395"/>
                    </a:lnTo>
                    <a:lnTo>
                      <a:pt x="1426" y="394"/>
                    </a:lnTo>
                    <a:lnTo>
                      <a:pt x="1423" y="393"/>
                    </a:lnTo>
                    <a:lnTo>
                      <a:pt x="1421" y="391"/>
                    </a:lnTo>
                    <a:lnTo>
                      <a:pt x="1419" y="391"/>
                    </a:lnTo>
                    <a:lnTo>
                      <a:pt x="1418" y="391"/>
                    </a:lnTo>
                    <a:lnTo>
                      <a:pt x="1418" y="392"/>
                    </a:lnTo>
                    <a:lnTo>
                      <a:pt x="1418" y="393"/>
                    </a:lnTo>
                    <a:lnTo>
                      <a:pt x="1419" y="395"/>
                    </a:lnTo>
                    <a:lnTo>
                      <a:pt x="1421" y="397"/>
                    </a:lnTo>
                    <a:lnTo>
                      <a:pt x="1421" y="399"/>
                    </a:lnTo>
                    <a:lnTo>
                      <a:pt x="1422" y="400"/>
                    </a:lnTo>
                    <a:lnTo>
                      <a:pt x="1423" y="401"/>
                    </a:lnTo>
                    <a:lnTo>
                      <a:pt x="1425" y="402"/>
                    </a:lnTo>
                    <a:lnTo>
                      <a:pt x="1427" y="403"/>
                    </a:lnTo>
                    <a:lnTo>
                      <a:pt x="1428" y="403"/>
                    </a:lnTo>
                    <a:lnTo>
                      <a:pt x="1429" y="404"/>
                    </a:lnTo>
                    <a:lnTo>
                      <a:pt x="1430" y="405"/>
                    </a:lnTo>
                    <a:lnTo>
                      <a:pt x="1430" y="406"/>
                    </a:lnTo>
                    <a:lnTo>
                      <a:pt x="1430" y="408"/>
                    </a:lnTo>
                    <a:lnTo>
                      <a:pt x="1431" y="409"/>
                    </a:lnTo>
                    <a:lnTo>
                      <a:pt x="1433" y="411"/>
                    </a:lnTo>
                    <a:lnTo>
                      <a:pt x="1436" y="412"/>
                    </a:lnTo>
                    <a:lnTo>
                      <a:pt x="1438" y="413"/>
                    </a:lnTo>
                    <a:lnTo>
                      <a:pt x="1441" y="413"/>
                    </a:lnTo>
                    <a:lnTo>
                      <a:pt x="1443" y="414"/>
                    </a:lnTo>
                    <a:lnTo>
                      <a:pt x="1445" y="416"/>
                    </a:lnTo>
                    <a:lnTo>
                      <a:pt x="1448" y="419"/>
                    </a:lnTo>
                    <a:lnTo>
                      <a:pt x="1449" y="421"/>
                    </a:lnTo>
                    <a:lnTo>
                      <a:pt x="1450" y="422"/>
                    </a:lnTo>
                    <a:lnTo>
                      <a:pt x="1451" y="424"/>
                    </a:lnTo>
                    <a:lnTo>
                      <a:pt x="1452" y="425"/>
                    </a:lnTo>
                    <a:lnTo>
                      <a:pt x="1452" y="426"/>
                    </a:lnTo>
                    <a:lnTo>
                      <a:pt x="1452" y="427"/>
                    </a:lnTo>
                    <a:lnTo>
                      <a:pt x="1451" y="428"/>
                    </a:lnTo>
                    <a:lnTo>
                      <a:pt x="1450" y="428"/>
                    </a:lnTo>
                    <a:lnTo>
                      <a:pt x="1449" y="429"/>
                    </a:lnTo>
                    <a:lnTo>
                      <a:pt x="1448" y="430"/>
                    </a:lnTo>
                    <a:lnTo>
                      <a:pt x="1448" y="430"/>
                    </a:lnTo>
                    <a:lnTo>
                      <a:pt x="1448" y="432"/>
                    </a:lnTo>
                    <a:lnTo>
                      <a:pt x="1450" y="434"/>
                    </a:lnTo>
                    <a:lnTo>
                      <a:pt x="1452" y="435"/>
                    </a:lnTo>
                    <a:lnTo>
                      <a:pt x="1455" y="437"/>
                    </a:lnTo>
                    <a:lnTo>
                      <a:pt x="1457" y="439"/>
                    </a:lnTo>
                    <a:lnTo>
                      <a:pt x="1460" y="440"/>
                    </a:lnTo>
                    <a:lnTo>
                      <a:pt x="1461" y="446"/>
                    </a:lnTo>
                    <a:lnTo>
                      <a:pt x="1462" y="450"/>
                    </a:lnTo>
                    <a:lnTo>
                      <a:pt x="1463" y="454"/>
                    </a:lnTo>
                    <a:lnTo>
                      <a:pt x="1464" y="457"/>
                    </a:lnTo>
                    <a:lnTo>
                      <a:pt x="1464" y="459"/>
                    </a:lnTo>
                    <a:lnTo>
                      <a:pt x="1464" y="461"/>
                    </a:lnTo>
                    <a:lnTo>
                      <a:pt x="1465" y="462"/>
                    </a:lnTo>
                    <a:lnTo>
                      <a:pt x="1465" y="464"/>
                    </a:lnTo>
                    <a:lnTo>
                      <a:pt x="1465" y="466"/>
                    </a:lnTo>
                    <a:lnTo>
                      <a:pt x="1465" y="467"/>
                    </a:lnTo>
                    <a:lnTo>
                      <a:pt x="1464" y="467"/>
                    </a:lnTo>
                    <a:lnTo>
                      <a:pt x="1463" y="467"/>
                    </a:lnTo>
                    <a:lnTo>
                      <a:pt x="1462" y="465"/>
                    </a:lnTo>
                    <a:lnTo>
                      <a:pt x="1458" y="463"/>
                    </a:lnTo>
                    <a:lnTo>
                      <a:pt x="1454" y="459"/>
                    </a:lnTo>
                    <a:lnTo>
                      <a:pt x="1452" y="455"/>
                    </a:lnTo>
                    <a:lnTo>
                      <a:pt x="1451" y="455"/>
                    </a:lnTo>
                    <a:lnTo>
                      <a:pt x="1449" y="455"/>
                    </a:lnTo>
                    <a:lnTo>
                      <a:pt x="1448" y="454"/>
                    </a:lnTo>
                    <a:lnTo>
                      <a:pt x="1447" y="454"/>
                    </a:lnTo>
                    <a:lnTo>
                      <a:pt x="1446" y="454"/>
                    </a:lnTo>
                    <a:lnTo>
                      <a:pt x="1445" y="454"/>
                    </a:lnTo>
                    <a:lnTo>
                      <a:pt x="1446" y="455"/>
                    </a:lnTo>
                    <a:lnTo>
                      <a:pt x="1449" y="458"/>
                    </a:lnTo>
                    <a:lnTo>
                      <a:pt x="1452" y="460"/>
                    </a:lnTo>
                    <a:lnTo>
                      <a:pt x="1455" y="462"/>
                    </a:lnTo>
                    <a:lnTo>
                      <a:pt x="1457" y="464"/>
                    </a:lnTo>
                    <a:lnTo>
                      <a:pt x="1460" y="467"/>
                    </a:lnTo>
                    <a:lnTo>
                      <a:pt x="1461" y="469"/>
                    </a:lnTo>
                    <a:lnTo>
                      <a:pt x="1461" y="470"/>
                    </a:lnTo>
                    <a:lnTo>
                      <a:pt x="1461" y="470"/>
                    </a:lnTo>
                    <a:lnTo>
                      <a:pt x="1460" y="471"/>
                    </a:lnTo>
                    <a:lnTo>
                      <a:pt x="1459" y="471"/>
                    </a:lnTo>
                    <a:lnTo>
                      <a:pt x="1458" y="470"/>
                    </a:lnTo>
                    <a:lnTo>
                      <a:pt x="1456" y="470"/>
                    </a:lnTo>
                    <a:lnTo>
                      <a:pt x="1455" y="470"/>
                    </a:lnTo>
                    <a:lnTo>
                      <a:pt x="1455" y="471"/>
                    </a:lnTo>
                    <a:lnTo>
                      <a:pt x="1454" y="472"/>
                    </a:lnTo>
                    <a:lnTo>
                      <a:pt x="1455" y="473"/>
                    </a:lnTo>
                    <a:lnTo>
                      <a:pt x="1456" y="475"/>
                    </a:lnTo>
                    <a:lnTo>
                      <a:pt x="1457" y="478"/>
                    </a:lnTo>
                    <a:lnTo>
                      <a:pt x="1458" y="480"/>
                    </a:lnTo>
                    <a:lnTo>
                      <a:pt x="1459" y="482"/>
                    </a:lnTo>
                    <a:lnTo>
                      <a:pt x="1460" y="485"/>
                    </a:lnTo>
                    <a:lnTo>
                      <a:pt x="1462" y="487"/>
                    </a:lnTo>
                    <a:lnTo>
                      <a:pt x="1464" y="488"/>
                    </a:lnTo>
                    <a:lnTo>
                      <a:pt x="1466" y="489"/>
                    </a:lnTo>
                    <a:lnTo>
                      <a:pt x="1467" y="489"/>
                    </a:lnTo>
                    <a:lnTo>
                      <a:pt x="1470" y="489"/>
                    </a:lnTo>
                    <a:lnTo>
                      <a:pt x="1471" y="490"/>
                    </a:lnTo>
                    <a:lnTo>
                      <a:pt x="1473" y="492"/>
                    </a:lnTo>
                    <a:lnTo>
                      <a:pt x="1475" y="495"/>
                    </a:lnTo>
                    <a:lnTo>
                      <a:pt x="1477" y="498"/>
                    </a:lnTo>
                    <a:lnTo>
                      <a:pt x="1478" y="501"/>
                    </a:lnTo>
                    <a:lnTo>
                      <a:pt x="1478" y="504"/>
                    </a:lnTo>
                    <a:lnTo>
                      <a:pt x="1478" y="506"/>
                    </a:lnTo>
                    <a:lnTo>
                      <a:pt x="1477" y="507"/>
                    </a:lnTo>
                    <a:lnTo>
                      <a:pt x="1476" y="507"/>
                    </a:lnTo>
                    <a:lnTo>
                      <a:pt x="1474" y="506"/>
                    </a:lnTo>
                    <a:lnTo>
                      <a:pt x="1472" y="505"/>
                    </a:lnTo>
                    <a:lnTo>
                      <a:pt x="1470" y="504"/>
                    </a:lnTo>
                    <a:lnTo>
                      <a:pt x="1466" y="502"/>
                    </a:lnTo>
                    <a:lnTo>
                      <a:pt x="1463" y="500"/>
                    </a:lnTo>
                    <a:lnTo>
                      <a:pt x="1460" y="497"/>
                    </a:lnTo>
                    <a:lnTo>
                      <a:pt x="1457" y="497"/>
                    </a:lnTo>
                    <a:lnTo>
                      <a:pt x="1455" y="497"/>
                    </a:lnTo>
                    <a:lnTo>
                      <a:pt x="1453" y="498"/>
                    </a:lnTo>
                    <a:lnTo>
                      <a:pt x="1452" y="500"/>
                    </a:lnTo>
                    <a:lnTo>
                      <a:pt x="1452" y="502"/>
                    </a:lnTo>
                    <a:lnTo>
                      <a:pt x="1452" y="504"/>
                    </a:lnTo>
                    <a:lnTo>
                      <a:pt x="1452" y="506"/>
                    </a:lnTo>
                    <a:lnTo>
                      <a:pt x="1453" y="508"/>
                    </a:lnTo>
                    <a:lnTo>
                      <a:pt x="1454" y="510"/>
                    </a:lnTo>
                    <a:lnTo>
                      <a:pt x="1455" y="512"/>
                    </a:lnTo>
                    <a:lnTo>
                      <a:pt x="1458" y="514"/>
                    </a:lnTo>
                    <a:lnTo>
                      <a:pt x="1460" y="515"/>
                    </a:lnTo>
                    <a:lnTo>
                      <a:pt x="1463" y="517"/>
                    </a:lnTo>
                    <a:lnTo>
                      <a:pt x="1466" y="518"/>
                    </a:lnTo>
                    <a:lnTo>
                      <a:pt x="1467" y="520"/>
                    </a:lnTo>
                    <a:lnTo>
                      <a:pt x="1470" y="522"/>
                    </a:lnTo>
                    <a:lnTo>
                      <a:pt x="1472" y="524"/>
                    </a:lnTo>
                    <a:lnTo>
                      <a:pt x="1474" y="526"/>
                    </a:lnTo>
                    <a:lnTo>
                      <a:pt x="1474" y="529"/>
                    </a:lnTo>
                    <a:lnTo>
                      <a:pt x="1474" y="531"/>
                    </a:lnTo>
                    <a:lnTo>
                      <a:pt x="1474" y="533"/>
                    </a:lnTo>
                    <a:lnTo>
                      <a:pt x="1473" y="535"/>
                    </a:lnTo>
                    <a:lnTo>
                      <a:pt x="1472" y="536"/>
                    </a:lnTo>
                    <a:lnTo>
                      <a:pt x="1470" y="538"/>
                    </a:lnTo>
                    <a:lnTo>
                      <a:pt x="1470" y="540"/>
                    </a:lnTo>
                    <a:lnTo>
                      <a:pt x="1469" y="542"/>
                    </a:lnTo>
                    <a:lnTo>
                      <a:pt x="1468" y="544"/>
                    </a:lnTo>
                    <a:lnTo>
                      <a:pt x="1462" y="544"/>
                    </a:lnTo>
                    <a:lnTo>
                      <a:pt x="1455" y="541"/>
                    </a:lnTo>
                    <a:lnTo>
                      <a:pt x="1448" y="536"/>
                    </a:lnTo>
                    <a:lnTo>
                      <a:pt x="1443" y="532"/>
                    </a:lnTo>
                    <a:lnTo>
                      <a:pt x="1437" y="528"/>
                    </a:lnTo>
                    <a:lnTo>
                      <a:pt x="1433" y="524"/>
                    </a:lnTo>
                    <a:lnTo>
                      <a:pt x="1431" y="523"/>
                    </a:lnTo>
                    <a:lnTo>
                      <a:pt x="1431" y="523"/>
                    </a:lnTo>
                    <a:lnTo>
                      <a:pt x="1430" y="524"/>
                    </a:lnTo>
                    <a:lnTo>
                      <a:pt x="1430" y="525"/>
                    </a:lnTo>
                    <a:lnTo>
                      <a:pt x="1431" y="526"/>
                    </a:lnTo>
                    <a:lnTo>
                      <a:pt x="1431" y="527"/>
                    </a:lnTo>
                    <a:lnTo>
                      <a:pt x="1431" y="528"/>
                    </a:lnTo>
                    <a:lnTo>
                      <a:pt x="1430" y="529"/>
                    </a:lnTo>
                    <a:lnTo>
                      <a:pt x="1428" y="529"/>
                    </a:lnTo>
                    <a:lnTo>
                      <a:pt x="1426" y="530"/>
                    </a:lnTo>
                    <a:lnTo>
                      <a:pt x="1425" y="531"/>
                    </a:lnTo>
                    <a:lnTo>
                      <a:pt x="1423" y="532"/>
                    </a:lnTo>
                    <a:lnTo>
                      <a:pt x="1423" y="534"/>
                    </a:lnTo>
                    <a:lnTo>
                      <a:pt x="1423" y="536"/>
                    </a:lnTo>
                    <a:lnTo>
                      <a:pt x="1424" y="537"/>
                    </a:lnTo>
                    <a:lnTo>
                      <a:pt x="1426" y="539"/>
                    </a:lnTo>
                    <a:lnTo>
                      <a:pt x="1428" y="540"/>
                    </a:lnTo>
                    <a:lnTo>
                      <a:pt x="1431" y="542"/>
                    </a:lnTo>
                    <a:lnTo>
                      <a:pt x="1433" y="543"/>
                    </a:lnTo>
                    <a:lnTo>
                      <a:pt x="1434" y="545"/>
                    </a:lnTo>
                    <a:lnTo>
                      <a:pt x="1434" y="546"/>
                    </a:lnTo>
                    <a:lnTo>
                      <a:pt x="1433" y="548"/>
                    </a:lnTo>
                    <a:lnTo>
                      <a:pt x="1432" y="549"/>
                    </a:lnTo>
                    <a:lnTo>
                      <a:pt x="1431" y="549"/>
                    </a:lnTo>
                    <a:lnTo>
                      <a:pt x="1430" y="550"/>
                    </a:lnTo>
                    <a:lnTo>
                      <a:pt x="1428" y="550"/>
                    </a:lnTo>
                    <a:lnTo>
                      <a:pt x="1427" y="550"/>
                    </a:lnTo>
                    <a:lnTo>
                      <a:pt x="1426" y="551"/>
                    </a:lnTo>
                    <a:lnTo>
                      <a:pt x="1426" y="553"/>
                    </a:lnTo>
                    <a:lnTo>
                      <a:pt x="1426" y="554"/>
                    </a:lnTo>
                    <a:lnTo>
                      <a:pt x="1427" y="556"/>
                    </a:lnTo>
                    <a:lnTo>
                      <a:pt x="1429" y="557"/>
                    </a:lnTo>
                    <a:lnTo>
                      <a:pt x="1431" y="558"/>
                    </a:lnTo>
                    <a:lnTo>
                      <a:pt x="1434" y="558"/>
                    </a:lnTo>
                    <a:lnTo>
                      <a:pt x="1436" y="559"/>
                    </a:lnTo>
                    <a:lnTo>
                      <a:pt x="1437" y="561"/>
                    </a:lnTo>
                    <a:lnTo>
                      <a:pt x="1439" y="563"/>
                    </a:lnTo>
                    <a:lnTo>
                      <a:pt x="1439" y="567"/>
                    </a:lnTo>
                    <a:lnTo>
                      <a:pt x="1442" y="570"/>
                    </a:lnTo>
                    <a:lnTo>
                      <a:pt x="1444" y="573"/>
                    </a:lnTo>
                    <a:lnTo>
                      <a:pt x="1447" y="575"/>
                    </a:lnTo>
                    <a:lnTo>
                      <a:pt x="1449" y="578"/>
                    </a:lnTo>
                    <a:lnTo>
                      <a:pt x="1452" y="580"/>
                    </a:lnTo>
                    <a:lnTo>
                      <a:pt x="1454" y="583"/>
                    </a:lnTo>
                    <a:lnTo>
                      <a:pt x="1466" y="594"/>
                    </a:lnTo>
                    <a:lnTo>
                      <a:pt x="1473" y="601"/>
                    </a:lnTo>
                    <a:lnTo>
                      <a:pt x="1478" y="609"/>
                    </a:lnTo>
                    <a:lnTo>
                      <a:pt x="1482" y="619"/>
                    </a:lnTo>
                    <a:lnTo>
                      <a:pt x="1482" y="622"/>
                    </a:lnTo>
                    <a:lnTo>
                      <a:pt x="1484" y="625"/>
                    </a:lnTo>
                    <a:lnTo>
                      <a:pt x="1485" y="628"/>
                    </a:lnTo>
                    <a:lnTo>
                      <a:pt x="1486" y="631"/>
                    </a:lnTo>
                    <a:lnTo>
                      <a:pt x="1487" y="635"/>
                    </a:lnTo>
                    <a:lnTo>
                      <a:pt x="1487" y="639"/>
                    </a:lnTo>
                    <a:lnTo>
                      <a:pt x="1488" y="642"/>
                    </a:lnTo>
                    <a:lnTo>
                      <a:pt x="1488" y="645"/>
                    </a:lnTo>
                    <a:lnTo>
                      <a:pt x="1493" y="663"/>
                    </a:lnTo>
                    <a:lnTo>
                      <a:pt x="1492" y="663"/>
                    </a:lnTo>
                    <a:lnTo>
                      <a:pt x="1492" y="663"/>
                    </a:lnTo>
                    <a:lnTo>
                      <a:pt x="1490" y="662"/>
                    </a:lnTo>
                    <a:lnTo>
                      <a:pt x="1489" y="660"/>
                    </a:lnTo>
                    <a:lnTo>
                      <a:pt x="1488" y="659"/>
                    </a:lnTo>
                    <a:lnTo>
                      <a:pt x="1488" y="659"/>
                    </a:lnTo>
                    <a:lnTo>
                      <a:pt x="1486" y="657"/>
                    </a:lnTo>
                    <a:lnTo>
                      <a:pt x="1485" y="655"/>
                    </a:lnTo>
                    <a:lnTo>
                      <a:pt x="1484" y="653"/>
                    </a:lnTo>
                    <a:lnTo>
                      <a:pt x="1482" y="651"/>
                    </a:lnTo>
                    <a:lnTo>
                      <a:pt x="1481" y="650"/>
                    </a:lnTo>
                    <a:lnTo>
                      <a:pt x="1480" y="650"/>
                    </a:lnTo>
                    <a:lnTo>
                      <a:pt x="1480" y="651"/>
                    </a:lnTo>
                    <a:lnTo>
                      <a:pt x="1479" y="652"/>
                    </a:lnTo>
                    <a:lnTo>
                      <a:pt x="1478" y="653"/>
                    </a:lnTo>
                    <a:lnTo>
                      <a:pt x="1478" y="655"/>
                    </a:lnTo>
                    <a:lnTo>
                      <a:pt x="1476" y="657"/>
                    </a:lnTo>
                    <a:lnTo>
                      <a:pt x="1472" y="655"/>
                    </a:lnTo>
                    <a:lnTo>
                      <a:pt x="1468" y="650"/>
                    </a:lnTo>
                    <a:lnTo>
                      <a:pt x="1463" y="645"/>
                    </a:lnTo>
                    <a:lnTo>
                      <a:pt x="1460" y="639"/>
                    </a:lnTo>
                    <a:lnTo>
                      <a:pt x="1458" y="635"/>
                    </a:lnTo>
                    <a:lnTo>
                      <a:pt x="1456" y="629"/>
                    </a:lnTo>
                    <a:lnTo>
                      <a:pt x="1454" y="623"/>
                    </a:lnTo>
                    <a:lnTo>
                      <a:pt x="1451" y="616"/>
                    </a:lnTo>
                    <a:lnTo>
                      <a:pt x="1446" y="610"/>
                    </a:lnTo>
                    <a:lnTo>
                      <a:pt x="1443" y="609"/>
                    </a:lnTo>
                    <a:lnTo>
                      <a:pt x="1439" y="608"/>
                    </a:lnTo>
                    <a:lnTo>
                      <a:pt x="1436" y="607"/>
                    </a:lnTo>
                    <a:lnTo>
                      <a:pt x="1433" y="604"/>
                    </a:lnTo>
                    <a:lnTo>
                      <a:pt x="1431" y="603"/>
                    </a:lnTo>
                    <a:lnTo>
                      <a:pt x="1429" y="600"/>
                    </a:lnTo>
                    <a:lnTo>
                      <a:pt x="1426" y="597"/>
                    </a:lnTo>
                    <a:lnTo>
                      <a:pt x="1423" y="594"/>
                    </a:lnTo>
                    <a:lnTo>
                      <a:pt x="1419" y="591"/>
                    </a:lnTo>
                    <a:lnTo>
                      <a:pt x="1415" y="589"/>
                    </a:lnTo>
                    <a:lnTo>
                      <a:pt x="1411" y="587"/>
                    </a:lnTo>
                    <a:lnTo>
                      <a:pt x="1409" y="585"/>
                    </a:lnTo>
                    <a:lnTo>
                      <a:pt x="1408" y="585"/>
                    </a:lnTo>
                    <a:lnTo>
                      <a:pt x="1407" y="584"/>
                    </a:lnTo>
                    <a:lnTo>
                      <a:pt x="1407" y="583"/>
                    </a:lnTo>
                    <a:lnTo>
                      <a:pt x="1405" y="581"/>
                    </a:lnTo>
                    <a:lnTo>
                      <a:pt x="1403" y="579"/>
                    </a:lnTo>
                    <a:lnTo>
                      <a:pt x="1401" y="579"/>
                    </a:lnTo>
                    <a:lnTo>
                      <a:pt x="1402" y="582"/>
                    </a:lnTo>
                    <a:lnTo>
                      <a:pt x="1404" y="585"/>
                    </a:lnTo>
                    <a:lnTo>
                      <a:pt x="1407" y="588"/>
                    </a:lnTo>
                    <a:lnTo>
                      <a:pt x="1411" y="591"/>
                    </a:lnTo>
                    <a:lnTo>
                      <a:pt x="1415" y="592"/>
                    </a:lnTo>
                    <a:lnTo>
                      <a:pt x="1418" y="596"/>
                    </a:lnTo>
                    <a:lnTo>
                      <a:pt x="1421" y="599"/>
                    </a:lnTo>
                    <a:lnTo>
                      <a:pt x="1425" y="603"/>
                    </a:lnTo>
                    <a:lnTo>
                      <a:pt x="1429" y="606"/>
                    </a:lnTo>
                    <a:lnTo>
                      <a:pt x="1431" y="607"/>
                    </a:lnTo>
                    <a:lnTo>
                      <a:pt x="1434" y="608"/>
                    </a:lnTo>
                    <a:lnTo>
                      <a:pt x="1437" y="610"/>
                    </a:lnTo>
                    <a:lnTo>
                      <a:pt x="1441" y="612"/>
                    </a:lnTo>
                    <a:lnTo>
                      <a:pt x="1444" y="615"/>
                    </a:lnTo>
                    <a:lnTo>
                      <a:pt x="1445" y="618"/>
                    </a:lnTo>
                    <a:lnTo>
                      <a:pt x="1445" y="619"/>
                    </a:lnTo>
                    <a:lnTo>
                      <a:pt x="1444" y="620"/>
                    </a:lnTo>
                    <a:lnTo>
                      <a:pt x="1443" y="621"/>
                    </a:lnTo>
                    <a:lnTo>
                      <a:pt x="1442" y="622"/>
                    </a:lnTo>
                    <a:lnTo>
                      <a:pt x="1441" y="622"/>
                    </a:lnTo>
                    <a:lnTo>
                      <a:pt x="1439" y="623"/>
                    </a:lnTo>
                    <a:lnTo>
                      <a:pt x="1438" y="624"/>
                    </a:lnTo>
                    <a:lnTo>
                      <a:pt x="1437" y="625"/>
                    </a:lnTo>
                    <a:lnTo>
                      <a:pt x="1435" y="625"/>
                    </a:lnTo>
                    <a:lnTo>
                      <a:pt x="1433" y="625"/>
                    </a:lnTo>
                    <a:lnTo>
                      <a:pt x="1432" y="625"/>
                    </a:lnTo>
                    <a:lnTo>
                      <a:pt x="1431" y="624"/>
                    </a:lnTo>
                    <a:lnTo>
                      <a:pt x="1430" y="623"/>
                    </a:lnTo>
                    <a:lnTo>
                      <a:pt x="1428" y="623"/>
                    </a:lnTo>
                    <a:lnTo>
                      <a:pt x="1427" y="623"/>
                    </a:lnTo>
                    <a:lnTo>
                      <a:pt x="1427" y="623"/>
                    </a:lnTo>
                    <a:lnTo>
                      <a:pt x="1429" y="626"/>
                    </a:lnTo>
                    <a:lnTo>
                      <a:pt x="1431" y="628"/>
                    </a:lnTo>
                    <a:lnTo>
                      <a:pt x="1434" y="630"/>
                    </a:lnTo>
                    <a:lnTo>
                      <a:pt x="1437" y="632"/>
                    </a:lnTo>
                    <a:lnTo>
                      <a:pt x="1439" y="633"/>
                    </a:lnTo>
                    <a:lnTo>
                      <a:pt x="1442" y="635"/>
                    </a:lnTo>
                    <a:lnTo>
                      <a:pt x="1443" y="636"/>
                    </a:lnTo>
                    <a:lnTo>
                      <a:pt x="1443" y="637"/>
                    </a:lnTo>
                    <a:lnTo>
                      <a:pt x="1442" y="637"/>
                    </a:lnTo>
                    <a:lnTo>
                      <a:pt x="1441" y="637"/>
                    </a:lnTo>
                    <a:lnTo>
                      <a:pt x="1439" y="637"/>
                    </a:lnTo>
                    <a:lnTo>
                      <a:pt x="1437" y="637"/>
                    </a:lnTo>
                    <a:lnTo>
                      <a:pt x="1436" y="637"/>
                    </a:lnTo>
                    <a:lnTo>
                      <a:pt x="1435" y="637"/>
                    </a:lnTo>
                    <a:lnTo>
                      <a:pt x="1434" y="638"/>
                    </a:lnTo>
                    <a:lnTo>
                      <a:pt x="1435" y="640"/>
                    </a:lnTo>
                    <a:lnTo>
                      <a:pt x="1436" y="641"/>
                    </a:lnTo>
                    <a:lnTo>
                      <a:pt x="1437" y="642"/>
                    </a:lnTo>
                    <a:lnTo>
                      <a:pt x="1438" y="643"/>
                    </a:lnTo>
                    <a:lnTo>
                      <a:pt x="1439" y="643"/>
                    </a:lnTo>
                    <a:lnTo>
                      <a:pt x="1441" y="645"/>
                    </a:lnTo>
                    <a:lnTo>
                      <a:pt x="1442" y="647"/>
                    </a:lnTo>
                    <a:lnTo>
                      <a:pt x="1444" y="649"/>
                    </a:lnTo>
                    <a:lnTo>
                      <a:pt x="1446" y="651"/>
                    </a:lnTo>
                    <a:lnTo>
                      <a:pt x="1448" y="652"/>
                    </a:lnTo>
                    <a:lnTo>
                      <a:pt x="1450" y="652"/>
                    </a:lnTo>
                    <a:lnTo>
                      <a:pt x="1452" y="651"/>
                    </a:lnTo>
                    <a:lnTo>
                      <a:pt x="1454" y="651"/>
                    </a:lnTo>
                    <a:lnTo>
                      <a:pt x="1456" y="651"/>
                    </a:lnTo>
                    <a:lnTo>
                      <a:pt x="1458" y="651"/>
                    </a:lnTo>
                    <a:lnTo>
                      <a:pt x="1462" y="654"/>
                    </a:lnTo>
                    <a:lnTo>
                      <a:pt x="1466" y="657"/>
                    </a:lnTo>
                    <a:lnTo>
                      <a:pt x="1470" y="659"/>
                    </a:lnTo>
                    <a:lnTo>
                      <a:pt x="1472" y="660"/>
                    </a:lnTo>
                    <a:lnTo>
                      <a:pt x="1474" y="661"/>
                    </a:lnTo>
                    <a:lnTo>
                      <a:pt x="1478" y="663"/>
                    </a:lnTo>
                    <a:lnTo>
                      <a:pt x="1480" y="665"/>
                    </a:lnTo>
                    <a:lnTo>
                      <a:pt x="1482" y="668"/>
                    </a:lnTo>
                    <a:lnTo>
                      <a:pt x="1484" y="669"/>
                    </a:lnTo>
                    <a:lnTo>
                      <a:pt x="1486" y="671"/>
                    </a:lnTo>
                    <a:lnTo>
                      <a:pt x="1487" y="673"/>
                    </a:lnTo>
                    <a:lnTo>
                      <a:pt x="1488" y="676"/>
                    </a:lnTo>
                    <a:lnTo>
                      <a:pt x="1487" y="678"/>
                    </a:lnTo>
                    <a:lnTo>
                      <a:pt x="1486" y="680"/>
                    </a:lnTo>
                    <a:lnTo>
                      <a:pt x="1484" y="681"/>
                    </a:lnTo>
                    <a:lnTo>
                      <a:pt x="1482" y="683"/>
                    </a:lnTo>
                    <a:lnTo>
                      <a:pt x="1480" y="684"/>
                    </a:lnTo>
                    <a:lnTo>
                      <a:pt x="1478" y="685"/>
                    </a:lnTo>
                    <a:lnTo>
                      <a:pt x="1476" y="686"/>
                    </a:lnTo>
                    <a:lnTo>
                      <a:pt x="1475" y="688"/>
                    </a:lnTo>
                    <a:lnTo>
                      <a:pt x="1475" y="691"/>
                    </a:lnTo>
                    <a:lnTo>
                      <a:pt x="1474" y="694"/>
                    </a:lnTo>
                    <a:lnTo>
                      <a:pt x="1472" y="695"/>
                    </a:lnTo>
                    <a:lnTo>
                      <a:pt x="1471" y="696"/>
                    </a:lnTo>
                    <a:lnTo>
                      <a:pt x="1469" y="697"/>
                    </a:lnTo>
                    <a:lnTo>
                      <a:pt x="1467" y="697"/>
                    </a:lnTo>
                    <a:lnTo>
                      <a:pt x="1465" y="697"/>
                    </a:lnTo>
                    <a:lnTo>
                      <a:pt x="1464" y="698"/>
                    </a:lnTo>
                    <a:lnTo>
                      <a:pt x="1461" y="702"/>
                    </a:lnTo>
                    <a:lnTo>
                      <a:pt x="1458" y="708"/>
                    </a:lnTo>
                    <a:lnTo>
                      <a:pt x="1455" y="713"/>
                    </a:lnTo>
                    <a:lnTo>
                      <a:pt x="1451" y="717"/>
                    </a:lnTo>
                    <a:lnTo>
                      <a:pt x="1446" y="718"/>
                    </a:lnTo>
                    <a:lnTo>
                      <a:pt x="1438" y="717"/>
                    </a:lnTo>
                    <a:lnTo>
                      <a:pt x="1431" y="718"/>
                    </a:lnTo>
                    <a:lnTo>
                      <a:pt x="1425" y="720"/>
                    </a:lnTo>
                    <a:lnTo>
                      <a:pt x="1423" y="720"/>
                    </a:lnTo>
                    <a:lnTo>
                      <a:pt x="1421" y="720"/>
                    </a:lnTo>
                    <a:lnTo>
                      <a:pt x="1419" y="720"/>
                    </a:lnTo>
                    <a:lnTo>
                      <a:pt x="1417" y="722"/>
                    </a:lnTo>
                    <a:lnTo>
                      <a:pt x="1415" y="722"/>
                    </a:lnTo>
                    <a:lnTo>
                      <a:pt x="1413" y="725"/>
                    </a:lnTo>
                    <a:lnTo>
                      <a:pt x="1411" y="727"/>
                    </a:lnTo>
                    <a:lnTo>
                      <a:pt x="1408" y="728"/>
                    </a:lnTo>
                    <a:lnTo>
                      <a:pt x="1405" y="728"/>
                    </a:lnTo>
                    <a:lnTo>
                      <a:pt x="1402" y="727"/>
                    </a:lnTo>
                    <a:lnTo>
                      <a:pt x="1400" y="726"/>
                    </a:lnTo>
                    <a:lnTo>
                      <a:pt x="1397" y="722"/>
                    </a:lnTo>
                    <a:lnTo>
                      <a:pt x="1394" y="719"/>
                    </a:lnTo>
                    <a:lnTo>
                      <a:pt x="1392" y="716"/>
                    </a:lnTo>
                    <a:lnTo>
                      <a:pt x="1390" y="714"/>
                    </a:lnTo>
                    <a:lnTo>
                      <a:pt x="1386" y="712"/>
                    </a:lnTo>
                    <a:lnTo>
                      <a:pt x="1385" y="715"/>
                    </a:lnTo>
                    <a:lnTo>
                      <a:pt x="1385" y="717"/>
                    </a:lnTo>
                    <a:lnTo>
                      <a:pt x="1386" y="719"/>
                    </a:lnTo>
                    <a:lnTo>
                      <a:pt x="1387" y="721"/>
                    </a:lnTo>
                    <a:lnTo>
                      <a:pt x="1389" y="725"/>
                    </a:lnTo>
                    <a:lnTo>
                      <a:pt x="1391" y="727"/>
                    </a:lnTo>
                    <a:lnTo>
                      <a:pt x="1392" y="729"/>
                    </a:lnTo>
                    <a:lnTo>
                      <a:pt x="1392" y="730"/>
                    </a:lnTo>
                    <a:lnTo>
                      <a:pt x="1391" y="732"/>
                    </a:lnTo>
                    <a:lnTo>
                      <a:pt x="1389" y="733"/>
                    </a:lnTo>
                    <a:lnTo>
                      <a:pt x="1386" y="735"/>
                    </a:lnTo>
                    <a:lnTo>
                      <a:pt x="1383" y="736"/>
                    </a:lnTo>
                    <a:lnTo>
                      <a:pt x="1380" y="738"/>
                    </a:lnTo>
                    <a:lnTo>
                      <a:pt x="1376" y="739"/>
                    </a:lnTo>
                    <a:lnTo>
                      <a:pt x="1373" y="740"/>
                    </a:lnTo>
                    <a:lnTo>
                      <a:pt x="1372" y="741"/>
                    </a:lnTo>
                    <a:lnTo>
                      <a:pt x="1372" y="743"/>
                    </a:lnTo>
                    <a:lnTo>
                      <a:pt x="1372" y="745"/>
                    </a:lnTo>
                    <a:lnTo>
                      <a:pt x="1372" y="748"/>
                    </a:lnTo>
                    <a:lnTo>
                      <a:pt x="1372" y="756"/>
                    </a:lnTo>
                    <a:lnTo>
                      <a:pt x="1371" y="764"/>
                    </a:lnTo>
                    <a:lnTo>
                      <a:pt x="1370" y="770"/>
                    </a:lnTo>
                    <a:lnTo>
                      <a:pt x="1370" y="773"/>
                    </a:lnTo>
                    <a:lnTo>
                      <a:pt x="1369" y="775"/>
                    </a:lnTo>
                    <a:lnTo>
                      <a:pt x="1368" y="776"/>
                    </a:lnTo>
                    <a:lnTo>
                      <a:pt x="1367" y="777"/>
                    </a:lnTo>
                    <a:lnTo>
                      <a:pt x="1365" y="777"/>
                    </a:lnTo>
                    <a:lnTo>
                      <a:pt x="1364" y="778"/>
                    </a:lnTo>
                    <a:lnTo>
                      <a:pt x="1362" y="780"/>
                    </a:lnTo>
                    <a:lnTo>
                      <a:pt x="1360" y="782"/>
                    </a:lnTo>
                    <a:lnTo>
                      <a:pt x="1359" y="784"/>
                    </a:lnTo>
                    <a:lnTo>
                      <a:pt x="1358" y="786"/>
                    </a:lnTo>
                    <a:lnTo>
                      <a:pt x="1358" y="789"/>
                    </a:lnTo>
                    <a:lnTo>
                      <a:pt x="1356" y="791"/>
                    </a:lnTo>
                    <a:lnTo>
                      <a:pt x="1354" y="793"/>
                    </a:lnTo>
                    <a:lnTo>
                      <a:pt x="1350" y="795"/>
                    </a:lnTo>
                    <a:lnTo>
                      <a:pt x="1349" y="796"/>
                    </a:lnTo>
                    <a:lnTo>
                      <a:pt x="1348" y="795"/>
                    </a:lnTo>
                    <a:lnTo>
                      <a:pt x="1346" y="794"/>
                    </a:lnTo>
                    <a:lnTo>
                      <a:pt x="1345" y="793"/>
                    </a:lnTo>
                    <a:lnTo>
                      <a:pt x="1343" y="793"/>
                    </a:lnTo>
                    <a:lnTo>
                      <a:pt x="1342" y="793"/>
                    </a:lnTo>
                    <a:lnTo>
                      <a:pt x="1341" y="794"/>
                    </a:lnTo>
                    <a:lnTo>
                      <a:pt x="1340" y="796"/>
                    </a:lnTo>
                    <a:lnTo>
                      <a:pt x="1339" y="797"/>
                    </a:lnTo>
                    <a:lnTo>
                      <a:pt x="1339" y="798"/>
                    </a:lnTo>
                    <a:lnTo>
                      <a:pt x="1338" y="799"/>
                    </a:lnTo>
                    <a:lnTo>
                      <a:pt x="1338" y="799"/>
                    </a:lnTo>
                    <a:lnTo>
                      <a:pt x="1335" y="799"/>
                    </a:lnTo>
                    <a:lnTo>
                      <a:pt x="1333" y="799"/>
                    </a:lnTo>
                    <a:lnTo>
                      <a:pt x="1330" y="797"/>
                    </a:lnTo>
                    <a:lnTo>
                      <a:pt x="1328" y="796"/>
                    </a:lnTo>
                    <a:lnTo>
                      <a:pt x="1327" y="794"/>
                    </a:lnTo>
                    <a:lnTo>
                      <a:pt x="1327" y="791"/>
                    </a:lnTo>
                    <a:lnTo>
                      <a:pt x="1328" y="790"/>
                    </a:lnTo>
                    <a:lnTo>
                      <a:pt x="1328" y="788"/>
                    </a:lnTo>
                    <a:lnTo>
                      <a:pt x="1329" y="786"/>
                    </a:lnTo>
                    <a:lnTo>
                      <a:pt x="1329" y="783"/>
                    </a:lnTo>
                    <a:lnTo>
                      <a:pt x="1329" y="782"/>
                    </a:lnTo>
                    <a:lnTo>
                      <a:pt x="1328" y="781"/>
                    </a:lnTo>
                    <a:lnTo>
                      <a:pt x="1326" y="781"/>
                    </a:lnTo>
                    <a:lnTo>
                      <a:pt x="1325" y="781"/>
                    </a:lnTo>
                    <a:lnTo>
                      <a:pt x="1324" y="782"/>
                    </a:lnTo>
                    <a:lnTo>
                      <a:pt x="1323" y="783"/>
                    </a:lnTo>
                    <a:lnTo>
                      <a:pt x="1323" y="786"/>
                    </a:lnTo>
                    <a:lnTo>
                      <a:pt x="1323" y="789"/>
                    </a:lnTo>
                    <a:lnTo>
                      <a:pt x="1323" y="791"/>
                    </a:lnTo>
                    <a:lnTo>
                      <a:pt x="1322" y="793"/>
                    </a:lnTo>
                    <a:lnTo>
                      <a:pt x="1322" y="795"/>
                    </a:lnTo>
                    <a:lnTo>
                      <a:pt x="1320" y="796"/>
                    </a:lnTo>
                    <a:lnTo>
                      <a:pt x="1317" y="797"/>
                    </a:lnTo>
                    <a:lnTo>
                      <a:pt x="1316" y="798"/>
                    </a:lnTo>
                    <a:lnTo>
                      <a:pt x="1314" y="799"/>
                    </a:lnTo>
                    <a:lnTo>
                      <a:pt x="1313" y="800"/>
                    </a:lnTo>
                    <a:lnTo>
                      <a:pt x="1311" y="801"/>
                    </a:lnTo>
                    <a:lnTo>
                      <a:pt x="1309" y="801"/>
                    </a:lnTo>
                    <a:lnTo>
                      <a:pt x="1307" y="801"/>
                    </a:lnTo>
                    <a:lnTo>
                      <a:pt x="1305" y="802"/>
                    </a:lnTo>
                    <a:lnTo>
                      <a:pt x="1303" y="803"/>
                    </a:lnTo>
                    <a:lnTo>
                      <a:pt x="1301" y="805"/>
                    </a:lnTo>
                    <a:lnTo>
                      <a:pt x="1301" y="806"/>
                    </a:lnTo>
                    <a:lnTo>
                      <a:pt x="1300" y="808"/>
                    </a:lnTo>
                    <a:lnTo>
                      <a:pt x="1300" y="810"/>
                    </a:lnTo>
                    <a:lnTo>
                      <a:pt x="1300" y="812"/>
                    </a:lnTo>
                    <a:lnTo>
                      <a:pt x="1299" y="813"/>
                    </a:lnTo>
                    <a:lnTo>
                      <a:pt x="1299" y="814"/>
                    </a:lnTo>
                    <a:lnTo>
                      <a:pt x="1298" y="814"/>
                    </a:lnTo>
                    <a:lnTo>
                      <a:pt x="1297" y="815"/>
                    </a:lnTo>
                    <a:lnTo>
                      <a:pt x="1296" y="816"/>
                    </a:lnTo>
                    <a:lnTo>
                      <a:pt x="1295" y="816"/>
                    </a:lnTo>
                    <a:lnTo>
                      <a:pt x="1295" y="817"/>
                    </a:lnTo>
                    <a:lnTo>
                      <a:pt x="1297" y="817"/>
                    </a:lnTo>
                    <a:lnTo>
                      <a:pt x="1298" y="819"/>
                    </a:lnTo>
                    <a:lnTo>
                      <a:pt x="1300" y="820"/>
                    </a:lnTo>
                    <a:lnTo>
                      <a:pt x="1301" y="822"/>
                    </a:lnTo>
                    <a:lnTo>
                      <a:pt x="1301" y="823"/>
                    </a:lnTo>
                    <a:lnTo>
                      <a:pt x="1300" y="824"/>
                    </a:lnTo>
                    <a:lnTo>
                      <a:pt x="1298" y="824"/>
                    </a:lnTo>
                    <a:lnTo>
                      <a:pt x="1296" y="824"/>
                    </a:lnTo>
                    <a:lnTo>
                      <a:pt x="1295" y="823"/>
                    </a:lnTo>
                    <a:lnTo>
                      <a:pt x="1293" y="823"/>
                    </a:lnTo>
                    <a:lnTo>
                      <a:pt x="1292" y="823"/>
                    </a:lnTo>
                    <a:lnTo>
                      <a:pt x="1290" y="824"/>
                    </a:lnTo>
                    <a:lnTo>
                      <a:pt x="1288" y="825"/>
                    </a:lnTo>
                    <a:lnTo>
                      <a:pt x="1287" y="826"/>
                    </a:lnTo>
                    <a:lnTo>
                      <a:pt x="1286" y="828"/>
                    </a:lnTo>
                    <a:lnTo>
                      <a:pt x="1286" y="830"/>
                    </a:lnTo>
                    <a:lnTo>
                      <a:pt x="1287" y="832"/>
                    </a:lnTo>
                    <a:lnTo>
                      <a:pt x="1289" y="836"/>
                    </a:lnTo>
                    <a:lnTo>
                      <a:pt x="1291" y="837"/>
                    </a:lnTo>
                    <a:lnTo>
                      <a:pt x="1293" y="838"/>
                    </a:lnTo>
                    <a:lnTo>
                      <a:pt x="1294" y="839"/>
                    </a:lnTo>
                    <a:lnTo>
                      <a:pt x="1296" y="840"/>
                    </a:lnTo>
                    <a:lnTo>
                      <a:pt x="1297" y="842"/>
                    </a:lnTo>
                    <a:lnTo>
                      <a:pt x="1298" y="843"/>
                    </a:lnTo>
                    <a:lnTo>
                      <a:pt x="1297" y="844"/>
                    </a:lnTo>
                    <a:lnTo>
                      <a:pt x="1296" y="845"/>
                    </a:lnTo>
                    <a:lnTo>
                      <a:pt x="1293" y="846"/>
                    </a:lnTo>
                    <a:lnTo>
                      <a:pt x="1292" y="847"/>
                    </a:lnTo>
                    <a:lnTo>
                      <a:pt x="1291" y="849"/>
                    </a:lnTo>
                    <a:lnTo>
                      <a:pt x="1291" y="851"/>
                    </a:lnTo>
                    <a:lnTo>
                      <a:pt x="1292" y="853"/>
                    </a:lnTo>
                    <a:lnTo>
                      <a:pt x="1292" y="856"/>
                    </a:lnTo>
                    <a:lnTo>
                      <a:pt x="1293" y="858"/>
                    </a:lnTo>
                    <a:lnTo>
                      <a:pt x="1296" y="860"/>
                    </a:lnTo>
                    <a:lnTo>
                      <a:pt x="1297" y="862"/>
                    </a:lnTo>
                    <a:lnTo>
                      <a:pt x="1298" y="865"/>
                    </a:lnTo>
                    <a:lnTo>
                      <a:pt x="1298" y="868"/>
                    </a:lnTo>
                    <a:lnTo>
                      <a:pt x="1298" y="871"/>
                    </a:lnTo>
                    <a:lnTo>
                      <a:pt x="1297" y="874"/>
                    </a:lnTo>
                    <a:lnTo>
                      <a:pt x="1296" y="878"/>
                    </a:lnTo>
                    <a:lnTo>
                      <a:pt x="1294" y="881"/>
                    </a:lnTo>
                    <a:lnTo>
                      <a:pt x="1292" y="884"/>
                    </a:lnTo>
                    <a:lnTo>
                      <a:pt x="1289" y="886"/>
                    </a:lnTo>
                    <a:lnTo>
                      <a:pt x="1288" y="887"/>
                    </a:lnTo>
                    <a:lnTo>
                      <a:pt x="1288" y="890"/>
                    </a:lnTo>
                    <a:lnTo>
                      <a:pt x="1288" y="894"/>
                    </a:lnTo>
                    <a:lnTo>
                      <a:pt x="1287" y="897"/>
                    </a:lnTo>
                    <a:lnTo>
                      <a:pt x="1287" y="900"/>
                    </a:lnTo>
                    <a:lnTo>
                      <a:pt x="1288" y="902"/>
                    </a:lnTo>
                    <a:lnTo>
                      <a:pt x="1287" y="904"/>
                    </a:lnTo>
                    <a:lnTo>
                      <a:pt x="1286" y="905"/>
                    </a:lnTo>
                    <a:lnTo>
                      <a:pt x="1284" y="905"/>
                    </a:lnTo>
                    <a:lnTo>
                      <a:pt x="1282" y="905"/>
                    </a:lnTo>
                    <a:lnTo>
                      <a:pt x="1280" y="905"/>
                    </a:lnTo>
                    <a:lnTo>
                      <a:pt x="1278" y="906"/>
                    </a:lnTo>
                    <a:lnTo>
                      <a:pt x="1277" y="906"/>
                    </a:lnTo>
                    <a:lnTo>
                      <a:pt x="1275" y="907"/>
                    </a:lnTo>
                    <a:lnTo>
                      <a:pt x="1274" y="908"/>
                    </a:lnTo>
                    <a:lnTo>
                      <a:pt x="1274" y="911"/>
                    </a:lnTo>
                    <a:lnTo>
                      <a:pt x="1275" y="914"/>
                    </a:lnTo>
                    <a:lnTo>
                      <a:pt x="1276" y="916"/>
                    </a:lnTo>
                    <a:lnTo>
                      <a:pt x="1277" y="919"/>
                    </a:lnTo>
                    <a:lnTo>
                      <a:pt x="1278" y="921"/>
                    </a:lnTo>
                    <a:lnTo>
                      <a:pt x="1278" y="924"/>
                    </a:lnTo>
                    <a:lnTo>
                      <a:pt x="1280" y="933"/>
                    </a:lnTo>
                    <a:lnTo>
                      <a:pt x="1282" y="942"/>
                    </a:lnTo>
                    <a:lnTo>
                      <a:pt x="1283" y="945"/>
                    </a:lnTo>
                    <a:lnTo>
                      <a:pt x="1283" y="948"/>
                    </a:lnTo>
                    <a:lnTo>
                      <a:pt x="1282" y="950"/>
                    </a:lnTo>
                    <a:lnTo>
                      <a:pt x="1281" y="952"/>
                    </a:lnTo>
                    <a:lnTo>
                      <a:pt x="1280" y="954"/>
                    </a:lnTo>
                    <a:lnTo>
                      <a:pt x="1278" y="957"/>
                    </a:lnTo>
                    <a:lnTo>
                      <a:pt x="1277" y="960"/>
                    </a:lnTo>
                    <a:lnTo>
                      <a:pt x="1275" y="963"/>
                    </a:lnTo>
                    <a:lnTo>
                      <a:pt x="1275" y="966"/>
                    </a:lnTo>
                    <a:lnTo>
                      <a:pt x="1274" y="969"/>
                    </a:lnTo>
                    <a:lnTo>
                      <a:pt x="1274" y="973"/>
                    </a:lnTo>
                    <a:lnTo>
                      <a:pt x="1275" y="977"/>
                    </a:lnTo>
                    <a:lnTo>
                      <a:pt x="1275" y="982"/>
                    </a:lnTo>
                    <a:lnTo>
                      <a:pt x="1275" y="989"/>
                    </a:lnTo>
                    <a:lnTo>
                      <a:pt x="1275" y="995"/>
                    </a:lnTo>
                    <a:lnTo>
                      <a:pt x="1274" y="999"/>
                    </a:lnTo>
                    <a:lnTo>
                      <a:pt x="1272" y="1001"/>
                    </a:lnTo>
                    <a:lnTo>
                      <a:pt x="1268" y="999"/>
                    </a:lnTo>
                    <a:lnTo>
                      <a:pt x="1266" y="997"/>
                    </a:lnTo>
                    <a:lnTo>
                      <a:pt x="1264" y="995"/>
                    </a:lnTo>
                    <a:lnTo>
                      <a:pt x="1261" y="995"/>
                    </a:lnTo>
                    <a:lnTo>
                      <a:pt x="1259" y="995"/>
                    </a:lnTo>
                    <a:lnTo>
                      <a:pt x="1257" y="997"/>
                    </a:lnTo>
                    <a:lnTo>
                      <a:pt x="1256" y="998"/>
                    </a:lnTo>
                    <a:lnTo>
                      <a:pt x="1255" y="1000"/>
                    </a:lnTo>
                    <a:lnTo>
                      <a:pt x="1254" y="1001"/>
                    </a:lnTo>
                    <a:lnTo>
                      <a:pt x="1253" y="1002"/>
                    </a:lnTo>
                    <a:lnTo>
                      <a:pt x="1252" y="1004"/>
                    </a:lnTo>
                    <a:lnTo>
                      <a:pt x="1250" y="1004"/>
                    </a:lnTo>
                    <a:lnTo>
                      <a:pt x="1249" y="1001"/>
                    </a:lnTo>
                    <a:lnTo>
                      <a:pt x="1246" y="999"/>
                    </a:lnTo>
                    <a:lnTo>
                      <a:pt x="1245" y="997"/>
                    </a:lnTo>
                    <a:lnTo>
                      <a:pt x="1245" y="995"/>
                    </a:lnTo>
                    <a:lnTo>
                      <a:pt x="1245" y="992"/>
                    </a:lnTo>
                    <a:lnTo>
                      <a:pt x="1245" y="990"/>
                    </a:lnTo>
                    <a:lnTo>
                      <a:pt x="1245" y="987"/>
                    </a:lnTo>
                    <a:lnTo>
                      <a:pt x="1244" y="985"/>
                    </a:lnTo>
                    <a:lnTo>
                      <a:pt x="1242" y="984"/>
                    </a:lnTo>
                    <a:lnTo>
                      <a:pt x="1240" y="983"/>
                    </a:lnTo>
                    <a:lnTo>
                      <a:pt x="1238" y="982"/>
                    </a:lnTo>
                    <a:lnTo>
                      <a:pt x="1236" y="982"/>
                    </a:lnTo>
                    <a:lnTo>
                      <a:pt x="1235" y="981"/>
                    </a:lnTo>
                    <a:lnTo>
                      <a:pt x="1232" y="980"/>
                    </a:lnTo>
                    <a:lnTo>
                      <a:pt x="1230" y="978"/>
                    </a:lnTo>
                    <a:lnTo>
                      <a:pt x="1229" y="977"/>
                    </a:lnTo>
                    <a:lnTo>
                      <a:pt x="1229" y="974"/>
                    </a:lnTo>
                    <a:lnTo>
                      <a:pt x="1228" y="971"/>
                    </a:lnTo>
                    <a:lnTo>
                      <a:pt x="1226" y="969"/>
                    </a:lnTo>
                    <a:lnTo>
                      <a:pt x="1224" y="968"/>
                    </a:lnTo>
                    <a:lnTo>
                      <a:pt x="1221" y="967"/>
                    </a:lnTo>
                    <a:lnTo>
                      <a:pt x="1218" y="967"/>
                    </a:lnTo>
                    <a:lnTo>
                      <a:pt x="1216" y="967"/>
                    </a:lnTo>
                    <a:lnTo>
                      <a:pt x="1213" y="967"/>
                    </a:lnTo>
                    <a:lnTo>
                      <a:pt x="1211" y="967"/>
                    </a:lnTo>
                    <a:lnTo>
                      <a:pt x="1210" y="968"/>
                    </a:lnTo>
                    <a:lnTo>
                      <a:pt x="1209" y="969"/>
                    </a:lnTo>
                    <a:lnTo>
                      <a:pt x="1209" y="970"/>
                    </a:lnTo>
                    <a:lnTo>
                      <a:pt x="1208" y="972"/>
                    </a:lnTo>
                    <a:lnTo>
                      <a:pt x="1207" y="973"/>
                    </a:lnTo>
                    <a:lnTo>
                      <a:pt x="1206" y="975"/>
                    </a:lnTo>
                    <a:lnTo>
                      <a:pt x="1205" y="976"/>
                    </a:lnTo>
                    <a:lnTo>
                      <a:pt x="1205" y="975"/>
                    </a:lnTo>
                    <a:lnTo>
                      <a:pt x="1204" y="974"/>
                    </a:lnTo>
                    <a:lnTo>
                      <a:pt x="1204" y="972"/>
                    </a:lnTo>
                    <a:lnTo>
                      <a:pt x="1204" y="969"/>
                    </a:lnTo>
                    <a:lnTo>
                      <a:pt x="1204" y="967"/>
                    </a:lnTo>
                    <a:lnTo>
                      <a:pt x="1204" y="966"/>
                    </a:lnTo>
                    <a:lnTo>
                      <a:pt x="1204" y="965"/>
                    </a:lnTo>
                    <a:lnTo>
                      <a:pt x="1203" y="962"/>
                    </a:lnTo>
                    <a:lnTo>
                      <a:pt x="1202" y="960"/>
                    </a:lnTo>
                    <a:lnTo>
                      <a:pt x="1200" y="959"/>
                    </a:lnTo>
                    <a:lnTo>
                      <a:pt x="1198" y="957"/>
                    </a:lnTo>
                    <a:lnTo>
                      <a:pt x="1196" y="956"/>
                    </a:lnTo>
                    <a:lnTo>
                      <a:pt x="1194" y="955"/>
                    </a:lnTo>
                    <a:lnTo>
                      <a:pt x="1190" y="953"/>
                    </a:lnTo>
                    <a:lnTo>
                      <a:pt x="1186" y="949"/>
                    </a:lnTo>
                    <a:lnTo>
                      <a:pt x="1184" y="944"/>
                    </a:lnTo>
                    <a:lnTo>
                      <a:pt x="1179" y="935"/>
                    </a:lnTo>
                    <a:lnTo>
                      <a:pt x="1174" y="927"/>
                    </a:lnTo>
                    <a:lnTo>
                      <a:pt x="1169" y="918"/>
                    </a:lnTo>
                    <a:lnTo>
                      <a:pt x="1166" y="908"/>
                    </a:lnTo>
                    <a:lnTo>
                      <a:pt x="1163" y="898"/>
                    </a:lnTo>
                    <a:lnTo>
                      <a:pt x="1159" y="888"/>
                    </a:lnTo>
                    <a:lnTo>
                      <a:pt x="1154" y="878"/>
                    </a:lnTo>
                    <a:lnTo>
                      <a:pt x="1148" y="868"/>
                    </a:lnTo>
                    <a:lnTo>
                      <a:pt x="1144" y="859"/>
                    </a:lnTo>
                    <a:lnTo>
                      <a:pt x="1143" y="848"/>
                    </a:lnTo>
                    <a:lnTo>
                      <a:pt x="1144" y="844"/>
                    </a:lnTo>
                    <a:lnTo>
                      <a:pt x="1146" y="839"/>
                    </a:lnTo>
                    <a:lnTo>
                      <a:pt x="1149" y="832"/>
                    </a:lnTo>
                    <a:lnTo>
                      <a:pt x="1150" y="827"/>
                    </a:lnTo>
                    <a:lnTo>
                      <a:pt x="1150" y="823"/>
                    </a:lnTo>
                    <a:lnTo>
                      <a:pt x="1147" y="821"/>
                    </a:lnTo>
                    <a:lnTo>
                      <a:pt x="1144" y="821"/>
                    </a:lnTo>
                    <a:lnTo>
                      <a:pt x="1142" y="823"/>
                    </a:lnTo>
                    <a:lnTo>
                      <a:pt x="1141" y="824"/>
                    </a:lnTo>
                    <a:lnTo>
                      <a:pt x="1139" y="827"/>
                    </a:lnTo>
                    <a:lnTo>
                      <a:pt x="1138" y="829"/>
                    </a:lnTo>
                    <a:lnTo>
                      <a:pt x="1137" y="831"/>
                    </a:lnTo>
                    <a:lnTo>
                      <a:pt x="1136" y="832"/>
                    </a:lnTo>
                    <a:lnTo>
                      <a:pt x="1135" y="834"/>
                    </a:lnTo>
                    <a:lnTo>
                      <a:pt x="1134" y="836"/>
                    </a:lnTo>
                    <a:lnTo>
                      <a:pt x="1133" y="837"/>
                    </a:lnTo>
                    <a:lnTo>
                      <a:pt x="1130" y="837"/>
                    </a:lnTo>
                    <a:lnTo>
                      <a:pt x="1128" y="836"/>
                    </a:lnTo>
                    <a:lnTo>
                      <a:pt x="1127" y="826"/>
                    </a:lnTo>
                    <a:lnTo>
                      <a:pt x="1128" y="817"/>
                    </a:lnTo>
                    <a:lnTo>
                      <a:pt x="1125" y="805"/>
                    </a:lnTo>
                    <a:lnTo>
                      <a:pt x="1122" y="795"/>
                    </a:lnTo>
                    <a:lnTo>
                      <a:pt x="1120" y="788"/>
                    </a:lnTo>
                    <a:lnTo>
                      <a:pt x="1118" y="783"/>
                    </a:lnTo>
                    <a:lnTo>
                      <a:pt x="1114" y="776"/>
                    </a:lnTo>
                    <a:lnTo>
                      <a:pt x="1102" y="758"/>
                    </a:lnTo>
                    <a:lnTo>
                      <a:pt x="1100" y="755"/>
                    </a:lnTo>
                    <a:lnTo>
                      <a:pt x="1100" y="752"/>
                    </a:lnTo>
                    <a:lnTo>
                      <a:pt x="1100" y="749"/>
                    </a:lnTo>
                    <a:lnTo>
                      <a:pt x="1101" y="746"/>
                    </a:lnTo>
                    <a:lnTo>
                      <a:pt x="1102" y="742"/>
                    </a:lnTo>
                    <a:lnTo>
                      <a:pt x="1103" y="740"/>
                    </a:lnTo>
                    <a:lnTo>
                      <a:pt x="1104" y="738"/>
                    </a:lnTo>
                    <a:lnTo>
                      <a:pt x="1105" y="737"/>
                    </a:lnTo>
                    <a:lnTo>
                      <a:pt x="1106" y="735"/>
                    </a:lnTo>
                    <a:lnTo>
                      <a:pt x="1106" y="733"/>
                    </a:lnTo>
                    <a:lnTo>
                      <a:pt x="1102" y="732"/>
                    </a:lnTo>
                    <a:lnTo>
                      <a:pt x="1098" y="730"/>
                    </a:lnTo>
                    <a:lnTo>
                      <a:pt x="1094" y="728"/>
                    </a:lnTo>
                    <a:lnTo>
                      <a:pt x="1092" y="725"/>
                    </a:lnTo>
                    <a:lnTo>
                      <a:pt x="1091" y="722"/>
                    </a:lnTo>
                    <a:lnTo>
                      <a:pt x="1090" y="721"/>
                    </a:lnTo>
                    <a:lnTo>
                      <a:pt x="1090" y="720"/>
                    </a:lnTo>
                    <a:lnTo>
                      <a:pt x="1090" y="719"/>
                    </a:lnTo>
                    <a:lnTo>
                      <a:pt x="1091" y="719"/>
                    </a:lnTo>
                    <a:lnTo>
                      <a:pt x="1092" y="720"/>
                    </a:lnTo>
                    <a:lnTo>
                      <a:pt x="1094" y="719"/>
                    </a:lnTo>
                    <a:lnTo>
                      <a:pt x="1096" y="719"/>
                    </a:lnTo>
                    <a:lnTo>
                      <a:pt x="1097" y="717"/>
                    </a:lnTo>
                    <a:lnTo>
                      <a:pt x="1097" y="716"/>
                    </a:lnTo>
                    <a:lnTo>
                      <a:pt x="1096" y="714"/>
                    </a:lnTo>
                    <a:lnTo>
                      <a:pt x="1094" y="711"/>
                    </a:lnTo>
                    <a:lnTo>
                      <a:pt x="1094" y="709"/>
                    </a:lnTo>
                    <a:lnTo>
                      <a:pt x="1093" y="707"/>
                    </a:lnTo>
                    <a:lnTo>
                      <a:pt x="1093" y="704"/>
                    </a:lnTo>
                    <a:lnTo>
                      <a:pt x="1092" y="702"/>
                    </a:lnTo>
                    <a:lnTo>
                      <a:pt x="1090" y="700"/>
                    </a:lnTo>
                    <a:lnTo>
                      <a:pt x="1089" y="699"/>
                    </a:lnTo>
                    <a:lnTo>
                      <a:pt x="1087" y="697"/>
                    </a:lnTo>
                    <a:lnTo>
                      <a:pt x="1087" y="695"/>
                    </a:lnTo>
                    <a:lnTo>
                      <a:pt x="1087" y="693"/>
                    </a:lnTo>
                    <a:lnTo>
                      <a:pt x="1088" y="692"/>
                    </a:lnTo>
                    <a:lnTo>
                      <a:pt x="1091" y="689"/>
                    </a:lnTo>
                    <a:lnTo>
                      <a:pt x="1094" y="688"/>
                    </a:lnTo>
                    <a:lnTo>
                      <a:pt x="1096" y="687"/>
                    </a:lnTo>
                    <a:lnTo>
                      <a:pt x="1098" y="686"/>
                    </a:lnTo>
                    <a:lnTo>
                      <a:pt x="1100" y="684"/>
                    </a:lnTo>
                    <a:lnTo>
                      <a:pt x="1102" y="683"/>
                    </a:lnTo>
                    <a:lnTo>
                      <a:pt x="1105" y="683"/>
                    </a:lnTo>
                    <a:lnTo>
                      <a:pt x="1107" y="683"/>
                    </a:lnTo>
                    <a:lnTo>
                      <a:pt x="1110" y="684"/>
                    </a:lnTo>
                    <a:lnTo>
                      <a:pt x="1113" y="686"/>
                    </a:lnTo>
                    <a:lnTo>
                      <a:pt x="1116" y="686"/>
                    </a:lnTo>
                    <a:lnTo>
                      <a:pt x="1119" y="686"/>
                    </a:lnTo>
                    <a:lnTo>
                      <a:pt x="1123" y="686"/>
                    </a:lnTo>
                    <a:lnTo>
                      <a:pt x="1126" y="686"/>
                    </a:lnTo>
                    <a:lnTo>
                      <a:pt x="1128" y="687"/>
                    </a:lnTo>
                    <a:lnTo>
                      <a:pt x="1130" y="690"/>
                    </a:lnTo>
                    <a:lnTo>
                      <a:pt x="1133" y="692"/>
                    </a:lnTo>
                    <a:lnTo>
                      <a:pt x="1135" y="693"/>
                    </a:lnTo>
                    <a:lnTo>
                      <a:pt x="1137" y="694"/>
                    </a:lnTo>
                    <a:lnTo>
                      <a:pt x="1139" y="694"/>
                    </a:lnTo>
                    <a:lnTo>
                      <a:pt x="1139" y="693"/>
                    </a:lnTo>
                    <a:lnTo>
                      <a:pt x="1139" y="692"/>
                    </a:lnTo>
                    <a:lnTo>
                      <a:pt x="1138" y="690"/>
                    </a:lnTo>
                    <a:lnTo>
                      <a:pt x="1137" y="688"/>
                    </a:lnTo>
                    <a:lnTo>
                      <a:pt x="1135" y="686"/>
                    </a:lnTo>
                    <a:lnTo>
                      <a:pt x="1133" y="685"/>
                    </a:lnTo>
                    <a:lnTo>
                      <a:pt x="1130" y="684"/>
                    </a:lnTo>
                    <a:lnTo>
                      <a:pt x="1129" y="683"/>
                    </a:lnTo>
                    <a:lnTo>
                      <a:pt x="1128" y="681"/>
                    </a:lnTo>
                    <a:lnTo>
                      <a:pt x="1127" y="679"/>
                    </a:lnTo>
                    <a:lnTo>
                      <a:pt x="1127" y="677"/>
                    </a:lnTo>
                    <a:lnTo>
                      <a:pt x="1126" y="675"/>
                    </a:lnTo>
                    <a:lnTo>
                      <a:pt x="1124" y="674"/>
                    </a:lnTo>
                    <a:lnTo>
                      <a:pt x="1119" y="674"/>
                    </a:lnTo>
                    <a:lnTo>
                      <a:pt x="1113" y="676"/>
                    </a:lnTo>
                    <a:lnTo>
                      <a:pt x="1108" y="677"/>
                    </a:lnTo>
                    <a:lnTo>
                      <a:pt x="1104" y="676"/>
                    </a:lnTo>
                    <a:lnTo>
                      <a:pt x="1103" y="673"/>
                    </a:lnTo>
                    <a:lnTo>
                      <a:pt x="1103" y="671"/>
                    </a:lnTo>
                    <a:lnTo>
                      <a:pt x="1104" y="670"/>
                    </a:lnTo>
                    <a:lnTo>
                      <a:pt x="1105" y="668"/>
                    </a:lnTo>
                    <a:lnTo>
                      <a:pt x="1108" y="666"/>
                    </a:lnTo>
                    <a:lnTo>
                      <a:pt x="1110" y="666"/>
                    </a:lnTo>
                    <a:lnTo>
                      <a:pt x="1112" y="665"/>
                    </a:lnTo>
                    <a:lnTo>
                      <a:pt x="1114" y="665"/>
                    </a:lnTo>
                    <a:lnTo>
                      <a:pt x="1116" y="665"/>
                    </a:lnTo>
                    <a:lnTo>
                      <a:pt x="1119" y="665"/>
                    </a:lnTo>
                    <a:lnTo>
                      <a:pt x="1120" y="664"/>
                    </a:lnTo>
                    <a:lnTo>
                      <a:pt x="1121" y="662"/>
                    </a:lnTo>
                    <a:lnTo>
                      <a:pt x="1121" y="661"/>
                    </a:lnTo>
                    <a:lnTo>
                      <a:pt x="1121" y="659"/>
                    </a:lnTo>
                    <a:lnTo>
                      <a:pt x="1120" y="657"/>
                    </a:lnTo>
                    <a:lnTo>
                      <a:pt x="1120" y="655"/>
                    </a:lnTo>
                    <a:lnTo>
                      <a:pt x="1119" y="653"/>
                    </a:lnTo>
                    <a:lnTo>
                      <a:pt x="1120" y="651"/>
                    </a:lnTo>
                    <a:lnTo>
                      <a:pt x="1120" y="650"/>
                    </a:lnTo>
                    <a:lnTo>
                      <a:pt x="1122" y="649"/>
                    </a:lnTo>
                    <a:lnTo>
                      <a:pt x="1124" y="648"/>
                    </a:lnTo>
                    <a:lnTo>
                      <a:pt x="1125" y="645"/>
                    </a:lnTo>
                    <a:lnTo>
                      <a:pt x="1126" y="643"/>
                    </a:lnTo>
                    <a:lnTo>
                      <a:pt x="1126" y="640"/>
                    </a:lnTo>
                    <a:lnTo>
                      <a:pt x="1126" y="637"/>
                    </a:lnTo>
                    <a:lnTo>
                      <a:pt x="1126" y="635"/>
                    </a:lnTo>
                    <a:lnTo>
                      <a:pt x="1128" y="632"/>
                    </a:lnTo>
                    <a:lnTo>
                      <a:pt x="1129" y="628"/>
                    </a:lnTo>
                    <a:lnTo>
                      <a:pt x="1129" y="624"/>
                    </a:lnTo>
                    <a:lnTo>
                      <a:pt x="1128" y="619"/>
                    </a:lnTo>
                    <a:lnTo>
                      <a:pt x="1127" y="613"/>
                    </a:lnTo>
                    <a:lnTo>
                      <a:pt x="1123" y="607"/>
                    </a:lnTo>
                    <a:lnTo>
                      <a:pt x="1117" y="604"/>
                    </a:lnTo>
                    <a:lnTo>
                      <a:pt x="1110" y="604"/>
                    </a:lnTo>
                    <a:lnTo>
                      <a:pt x="1109" y="604"/>
                    </a:lnTo>
                    <a:lnTo>
                      <a:pt x="1107" y="604"/>
                    </a:lnTo>
                    <a:lnTo>
                      <a:pt x="1105" y="604"/>
                    </a:lnTo>
                    <a:lnTo>
                      <a:pt x="1103" y="604"/>
                    </a:lnTo>
                    <a:lnTo>
                      <a:pt x="1101" y="604"/>
                    </a:lnTo>
                    <a:lnTo>
                      <a:pt x="1099" y="605"/>
                    </a:lnTo>
                    <a:lnTo>
                      <a:pt x="1098" y="605"/>
                    </a:lnTo>
                    <a:lnTo>
                      <a:pt x="1097" y="606"/>
                    </a:lnTo>
                    <a:lnTo>
                      <a:pt x="1096" y="607"/>
                    </a:lnTo>
                    <a:lnTo>
                      <a:pt x="1097" y="608"/>
                    </a:lnTo>
                    <a:lnTo>
                      <a:pt x="1098" y="610"/>
                    </a:lnTo>
                    <a:lnTo>
                      <a:pt x="1100" y="613"/>
                    </a:lnTo>
                    <a:lnTo>
                      <a:pt x="1104" y="617"/>
                    </a:lnTo>
                    <a:lnTo>
                      <a:pt x="1107" y="622"/>
                    </a:lnTo>
                    <a:lnTo>
                      <a:pt x="1108" y="626"/>
                    </a:lnTo>
                    <a:lnTo>
                      <a:pt x="1107" y="629"/>
                    </a:lnTo>
                    <a:lnTo>
                      <a:pt x="1102" y="631"/>
                    </a:lnTo>
                    <a:lnTo>
                      <a:pt x="1088" y="631"/>
                    </a:lnTo>
                    <a:lnTo>
                      <a:pt x="1086" y="632"/>
                    </a:lnTo>
                    <a:lnTo>
                      <a:pt x="1083" y="633"/>
                    </a:lnTo>
                    <a:lnTo>
                      <a:pt x="1082" y="633"/>
                    </a:lnTo>
                    <a:lnTo>
                      <a:pt x="1080" y="633"/>
                    </a:lnTo>
                    <a:lnTo>
                      <a:pt x="1077" y="632"/>
                    </a:lnTo>
                    <a:lnTo>
                      <a:pt x="1075" y="629"/>
                    </a:lnTo>
                    <a:lnTo>
                      <a:pt x="1074" y="628"/>
                    </a:lnTo>
                    <a:lnTo>
                      <a:pt x="1074" y="626"/>
                    </a:lnTo>
                    <a:lnTo>
                      <a:pt x="1074" y="624"/>
                    </a:lnTo>
                    <a:lnTo>
                      <a:pt x="1074" y="623"/>
                    </a:lnTo>
                    <a:lnTo>
                      <a:pt x="1073" y="621"/>
                    </a:lnTo>
                    <a:lnTo>
                      <a:pt x="1072" y="620"/>
                    </a:lnTo>
                    <a:lnTo>
                      <a:pt x="1069" y="619"/>
                    </a:lnTo>
                    <a:lnTo>
                      <a:pt x="1067" y="619"/>
                    </a:lnTo>
                    <a:lnTo>
                      <a:pt x="1065" y="617"/>
                    </a:lnTo>
                    <a:lnTo>
                      <a:pt x="1063" y="615"/>
                    </a:lnTo>
                    <a:lnTo>
                      <a:pt x="1062" y="612"/>
                    </a:lnTo>
                    <a:lnTo>
                      <a:pt x="1061" y="609"/>
                    </a:lnTo>
                    <a:lnTo>
                      <a:pt x="1061" y="606"/>
                    </a:lnTo>
                    <a:lnTo>
                      <a:pt x="1061" y="603"/>
                    </a:lnTo>
                    <a:lnTo>
                      <a:pt x="1062" y="599"/>
                    </a:lnTo>
                    <a:lnTo>
                      <a:pt x="1062" y="596"/>
                    </a:lnTo>
                    <a:lnTo>
                      <a:pt x="1063" y="592"/>
                    </a:lnTo>
                    <a:lnTo>
                      <a:pt x="1065" y="591"/>
                    </a:lnTo>
                    <a:lnTo>
                      <a:pt x="1066" y="590"/>
                    </a:lnTo>
                    <a:lnTo>
                      <a:pt x="1068" y="588"/>
                    </a:lnTo>
                    <a:lnTo>
                      <a:pt x="1069" y="587"/>
                    </a:lnTo>
                    <a:lnTo>
                      <a:pt x="1069" y="585"/>
                    </a:lnTo>
                    <a:lnTo>
                      <a:pt x="1069" y="581"/>
                    </a:lnTo>
                    <a:lnTo>
                      <a:pt x="1067" y="576"/>
                    </a:lnTo>
                    <a:lnTo>
                      <a:pt x="1065" y="571"/>
                    </a:lnTo>
                    <a:lnTo>
                      <a:pt x="1064" y="566"/>
                    </a:lnTo>
                    <a:lnTo>
                      <a:pt x="1065" y="563"/>
                    </a:lnTo>
                    <a:lnTo>
                      <a:pt x="1069" y="563"/>
                    </a:lnTo>
                    <a:lnTo>
                      <a:pt x="1072" y="563"/>
                    </a:lnTo>
                    <a:lnTo>
                      <a:pt x="1075" y="565"/>
                    </a:lnTo>
                    <a:lnTo>
                      <a:pt x="1078" y="567"/>
                    </a:lnTo>
                    <a:lnTo>
                      <a:pt x="1082" y="569"/>
                    </a:lnTo>
                    <a:lnTo>
                      <a:pt x="1086" y="571"/>
                    </a:lnTo>
                    <a:lnTo>
                      <a:pt x="1089" y="572"/>
                    </a:lnTo>
                    <a:lnTo>
                      <a:pt x="1092" y="573"/>
                    </a:lnTo>
                    <a:lnTo>
                      <a:pt x="1095" y="574"/>
                    </a:lnTo>
                    <a:lnTo>
                      <a:pt x="1098" y="575"/>
                    </a:lnTo>
                    <a:lnTo>
                      <a:pt x="1100" y="575"/>
                    </a:lnTo>
                    <a:lnTo>
                      <a:pt x="1103" y="576"/>
                    </a:lnTo>
                    <a:lnTo>
                      <a:pt x="1105" y="577"/>
                    </a:lnTo>
                    <a:lnTo>
                      <a:pt x="1108" y="578"/>
                    </a:lnTo>
                    <a:lnTo>
                      <a:pt x="1110" y="579"/>
                    </a:lnTo>
                    <a:lnTo>
                      <a:pt x="1112" y="580"/>
                    </a:lnTo>
                    <a:lnTo>
                      <a:pt x="1113" y="580"/>
                    </a:lnTo>
                    <a:lnTo>
                      <a:pt x="1114" y="579"/>
                    </a:lnTo>
                    <a:lnTo>
                      <a:pt x="1115" y="578"/>
                    </a:lnTo>
                    <a:lnTo>
                      <a:pt x="1115" y="576"/>
                    </a:lnTo>
                    <a:lnTo>
                      <a:pt x="1114" y="573"/>
                    </a:lnTo>
                    <a:lnTo>
                      <a:pt x="1113" y="568"/>
                    </a:lnTo>
                    <a:lnTo>
                      <a:pt x="1111" y="565"/>
                    </a:lnTo>
                    <a:lnTo>
                      <a:pt x="1109" y="563"/>
                    </a:lnTo>
                    <a:lnTo>
                      <a:pt x="1106" y="561"/>
                    </a:lnTo>
                    <a:lnTo>
                      <a:pt x="1102" y="559"/>
                    </a:lnTo>
                    <a:lnTo>
                      <a:pt x="1100" y="557"/>
                    </a:lnTo>
                    <a:lnTo>
                      <a:pt x="1098" y="554"/>
                    </a:lnTo>
                    <a:lnTo>
                      <a:pt x="1096" y="552"/>
                    </a:lnTo>
                    <a:lnTo>
                      <a:pt x="1096" y="549"/>
                    </a:lnTo>
                    <a:lnTo>
                      <a:pt x="1096" y="547"/>
                    </a:lnTo>
                    <a:lnTo>
                      <a:pt x="1095" y="545"/>
                    </a:lnTo>
                    <a:lnTo>
                      <a:pt x="1093" y="543"/>
                    </a:lnTo>
                    <a:lnTo>
                      <a:pt x="1090" y="542"/>
                    </a:lnTo>
                    <a:lnTo>
                      <a:pt x="1089" y="542"/>
                    </a:lnTo>
                    <a:lnTo>
                      <a:pt x="1087" y="542"/>
                    </a:lnTo>
                    <a:lnTo>
                      <a:pt x="1085" y="542"/>
                    </a:lnTo>
                    <a:lnTo>
                      <a:pt x="1084" y="542"/>
                    </a:lnTo>
                    <a:lnTo>
                      <a:pt x="1082" y="542"/>
                    </a:lnTo>
                    <a:lnTo>
                      <a:pt x="1081" y="541"/>
                    </a:lnTo>
                    <a:lnTo>
                      <a:pt x="1080" y="540"/>
                    </a:lnTo>
                    <a:lnTo>
                      <a:pt x="1080" y="538"/>
                    </a:lnTo>
                    <a:lnTo>
                      <a:pt x="1080" y="536"/>
                    </a:lnTo>
                    <a:lnTo>
                      <a:pt x="1081" y="534"/>
                    </a:lnTo>
                    <a:lnTo>
                      <a:pt x="1081" y="532"/>
                    </a:lnTo>
                    <a:lnTo>
                      <a:pt x="1081" y="530"/>
                    </a:lnTo>
                    <a:lnTo>
                      <a:pt x="1080" y="529"/>
                    </a:lnTo>
                    <a:lnTo>
                      <a:pt x="1077" y="528"/>
                    </a:lnTo>
                    <a:lnTo>
                      <a:pt x="1075" y="527"/>
                    </a:lnTo>
                    <a:lnTo>
                      <a:pt x="1072" y="526"/>
                    </a:lnTo>
                    <a:lnTo>
                      <a:pt x="1069" y="526"/>
                    </a:lnTo>
                    <a:lnTo>
                      <a:pt x="1067" y="527"/>
                    </a:lnTo>
                    <a:lnTo>
                      <a:pt x="1065" y="528"/>
                    </a:lnTo>
                    <a:lnTo>
                      <a:pt x="1064" y="528"/>
                    </a:lnTo>
                    <a:lnTo>
                      <a:pt x="1063" y="529"/>
                    </a:lnTo>
                    <a:lnTo>
                      <a:pt x="1063" y="530"/>
                    </a:lnTo>
                    <a:lnTo>
                      <a:pt x="1063" y="532"/>
                    </a:lnTo>
                    <a:lnTo>
                      <a:pt x="1063" y="534"/>
                    </a:lnTo>
                    <a:lnTo>
                      <a:pt x="1063" y="536"/>
                    </a:lnTo>
                    <a:lnTo>
                      <a:pt x="1063" y="539"/>
                    </a:lnTo>
                    <a:lnTo>
                      <a:pt x="1062" y="541"/>
                    </a:lnTo>
                    <a:lnTo>
                      <a:pt x="1060" y="542"/>
                    </a:lnTo>
                    <a:lnTo>
                      <a:pt x="1057" y="542"/>
                    </a:lnTo>
                    <a:lnTo>
                      <a:pt x="1054" y="541"/>
                    </a:lnTo>
                    <a:lnTo>
                      <a:pt x="1051" y="539"/>
                    </a:lnTo>
                    <a:lnTo>
                      <a:pt x="1047" y="536"/>
                    </a:lnTo>
                    <a:lnTo>
                      <a:pt x="1045" y="534"/>
                    </a:lnTo>
                    <a:lnTo>
                      <a:pt x="1044" y="532"/>
                    </a:lnTo>
                    <a:lnTo>
                      <a:pt x="1044" y="530"/>
                    </a:lnTo>
                    <a:lnTo>
                      <a:pt x="1044" y="528"/>
                    </a:lnTo>
                    <a:lnTo>
                      <a:pt x="1044" y="526"/>
                    </a:lnTo>
                    <a:lnTo>
                      <a:pt x="1043" y="524"/>
                    </a:lnTo>
                    <a:lnTo>
                      <a:pt x="1043" y="521"/>
                    </a:lnTo>
                    <a:lnTo>
                      <a:pt x="1042" y="518"/>
                    </a:lnTo>
                    <a:lnTo>
                      <a:pt x="1041" y="516"/>
                    </a:lnTo>
                    <a:lnTo>
                      <a:pt x="1040" y="514"/>
                    </a:lnTo>
                    <a:lnTo>
                      <a:pt x="1039" y="512"/>
                    </a:lnTo>
                    <a:lnTo>
                      <a:pt x="1039" y="509"/>
                    </a:lnTo>
                    <a:lnTo>
                      <a:pt x="1039" y="507"/>
                    </a:lnTo>
                    <a:lnTo>
                      <a:pt x="1039" y="506"/>
                    </a:lnTo>
                    <a:lnTo>
                      <a:pt x="1040" y="504"/>
                    </a:lnTo>
                    <a:lnTo>
                      <a:pt x="1041" y="503"/>
                    </a:lnTo>
                    <a:lnTo>
                      <a:pt x="1043" y="502"/>
                    </a:lnTo>
                    <a:lnTo>
                      <a:pt x="1044" y="501"/>
                    </a:lnTo>
                    <a:lnTo>
                      <a:pt x="1044" y="500"/>
                    </a:lnTo>
                    <a:lnTo>
                      <a:pt x="1044" y="497"/>
                    </a:lnTo>
                    <a:lnTo>
                      <a:pt x="1043" y="495"/>
                    </a:lnTo>
                    <a:lnTo>
                      <a:pt x="1042" y="494"/>
                    </a:lnTo>
                    <a:lnTo>
                      <a:pt x="1040" y="492"/>
                    </a:lnTo>
                    <a:lnTo>
                      <a:pt x="1039" y="490"/>
                    </a:lnTo>
                    <a:lnTo>
                      <a:pt x="1037" y="488"/>
                    </a:lnTo>
                    <a:lnTo>
                      <a:pt x="1036" y="486"/>
                    </a:lnTo>
                    <a:lnTo>
                      <a:pt x="1035" y="485"/>
                    </a:lnTo>
                    <a:lnTo>
                      <a:pt x="1037" y="483"/>
                    </a:lnTo>
                    <a:lnTo>
                      <a:pt x="1039" y="482"/>
                    </a:lnTo>
                    <a:lnTo>
                      <a:pt x="1040" y="481"/>
                    </a:lnTo>
                    <a:lnTo>
                      <a:pt x="1042" y="480"/>
                    </a:lnTo>
                    <a:lnTo>
                      <a:pt x="1043" y="479"/>
                    </a:lnTo>
                    <a:lnTo>
                      <a:pt x="1045" y="477"/>
                    </a:lnTo>
                    <a:lnTo>
                      <a:pt x="1046" y="474"/>
                    </a:lnTo>
                    <a:lnTo>
                      <a:pt x="1045" y="473"/>
                    </a:lnTo>
                    <a:lnTo>
                      <a:pt x="1044" y="471"/>
                    </a:lnTo>
                    <a:lnTo>
                      <a:pt x="1042" y="470"/>
                    </a:lnTo>
                    <a:lnTo>
                      <a:pt x="1039" y="469"/>
                    </a:lnTo>
                    <a:lnTo>
                      <a:pt x="1036" y="468"/>
                    </a:lnTo>
                    <a:lnTo>
                      <a:pt x="1034" y="467"/>
                    </a:lnTo>
                    <a:lnTo>
                      <a:pt x="1033" y="466"/>
                    </a:lnTo>
                    <a:lnTo>
                      <a:pt x="1033" y="464"/>
                    </a:lnTo>
                    <a:lnTo>
                      <a:pt x="1033" y="462"/>
                    </a:lnTo>
                    <a:lnTo>
                      <a:pt x="1033" y="460"/>
                    </a:lnTo>
                    <a:lnTo>
                      <a:pt x="1034" y="458"/>
                    </a:lnTo>
                    <a:lnTo>
                      <a:pt x="1034" y="457"/>
                    </a:lnTo>
                    <a:lnTo>
                      <a:pt x="1033" y="455"/>
                    </a:lnTo>
                    <a:lnTo>
                      <a:pt x="1032" y="452"/>
                    </a:lnTo>
                    <a:lnTo>
                      <a:pt x="1030" y="449"/>
                    </a:lnTo>
                    <a:lnTo>
                      <a:pt x="1026" y="447"/>
                    </a:lnTo>
                    <a:lnTo>
                      <a:pt x="1023" y="445"/>
                    </a:lnTo>
                    <a:lnTo>
                      <a:pt x="1021" y="442"/>
                    </a:lnTo>
                    <a:lnTo>
                      <a:pt x="1017" y="441"/>
                    </a:lnTo>
                    <a:lnTo>
                      <a:pt x="1016" y="440"/>
                    </a:lnTo>
                    <a:lnTo>
                      <a:pt x="1016" y="439"/>
                    </a:lnTo>
                    <a:lnTo>
                      <a:pt x="1016" y="438"/>
                    </a:lnTo>
                    <a:lnTo>
                      <a:pt x="1016" y="436"/>
                    </a:lnTo>
                    <a:lnTo>
                      <a:pt x="1017" y="434"/>
                    </a:lnTo>
                    <a:lnTo>
                      <a:pt x="1017" y="430"/>
                    </a:lnTo>
                    <a:lnTo>
                      <a:pt x="1017" y="426"/>
                    </a:lnTo>
                    <a:lnTo>
                      <a:pt x="1016" y="422"/>
                    </a:lnTo>
                    <a:lnTo>
                      <a:pt x="1015" y="419"/>
                    </a:lnTo>
                    <a:lnTo>
                      <a:pt x="1013" y="414"/>
                    </a:lnTo>
                    <a:lnTo>
                      <a:pt x="1012" y="411"/>
                    </a:lnTo>
                    <a:lnTo>
                      <a:pt x="1011" y="408"/>
                    </a:lnTo>
                    <a:lnTo>
                      <a:pt x="1009" y="405"/>
                    </a:lnTo>
                    <a:lnTo>
                      <a:pt x="1008" y="402"/>
                    </a:lnTo>
                    <a:lnTo>
                      <a:pt x="1007" y="400"/>
                    </a:lnTo>
                    <a:lnTo>
                      <a:pt x="1004" y="398"/>
                    </a:lnTo>
                    <a:lnTo>
                      <a:pt x="1001" y="397"/>
                    </a:lnTo>
                    <a:lnTo>
                      <a:pt x="999" y="395"/>
                    </a:lnTo>
                    <a:lnTo>
                      <a:pt x="998" y="393"/>
                    </a:lnTo>
                    <a:lnTo>
                      <a:pt x="996" y="391"/>
                    </a:lnTo>
                    <a:lnTo>
                      <a:pt x="994" y="388"/>
                    </a:lnTo>
                    <a:lnTo>
                      <a:pt x="993" y="386"/>
                    </a:lnTo>
                    <a:lnTo>
                      <a:pt x="991" y="383"/>
                    </a:lnTo>
                    <a:lnTo>
                      <a:pt x="987" y="380"/>
                    </a:lnTo>
                    <a:lnTo>
                      <a:pt x="984" y="377"/>
                    </a:lnTo>
                    <a:lnTo>
                      <a:pt x="981" y="374"/>
                    </a:lnTo>
                    <a:lnTo>
                      <a:pt x="979" y="370"/>
                    </a:lnTo>
                    <a:lnTo>
                      <a:pt x="977" y="366"/>
                    </a:lnTo>
                    <a:lnTo>
                      <a:pt x="977" y="362"/>
                    </a:lnTo>
                    <a:lnTo>
                      <a:pt x="971" y="353"/>
                    </a:lnTo>
                    <a:lnTo>
                      <a:pt x="964" y="344"/>
                    </a:lnTo>
                    <a:lnTo>
                      <a:pt x="956" y="338"/>
                    </a:lnTo>
                    <a:lnTo>
                      <a:pt x="945" y="332"/>
                    </a:lnTo>
                    <a:lnTo>
                      <a:pt x="934" y="327"/>
                    </a:lnTo>
                    <a:lnTo>
                      <a:pt x="931" y="325"/>
                    </a:lnTo>
                    <a:lnTo>
                      <a:pt x="928" y="324"/>
                    </a:lnTo>
                    <a:lnTo>
                      <a:pt x="923" y="323"/>
                    </a:lnTo>
                    <a:lnTo>
                      <a:pt x="920" y="322"/>
                    </a:lnTo>
                    <a:lnTo>
                      <a:pt x="917" y="321"/>
                    </a:lnTo>
                    <a:lnTo>
                      <a:pt x="914" y="319"/>
                    </a:lnTo>
                    <a:lnTo>
                      <a:pt x="910" y="317"/>
                    </a:lnTo>
                    <a:lnTo>
                      <a:pt x="906" y="315"/>
                    </a:lnTo>
                    <a:lnTo>
                      <a:pt x="903" y="313"/>
                    </a:lnTo>
                    <a:lnTo>
                      <a:pt x="901" y="313"/>
                    </a:lnTo>
                    <a:lnTo>
                      <a:pt x="898" y="312"/>
                    </a:lnTo>
                    <a:lnTo>
                      <a:pt x="895" y="311"/>
                    </a:lnTo>
                    <a:lnTo>
                      <a:pt x="893" y="310"/>
                    </a:lnTo>
                    <a:lnTo>
                      <a:pt x="891" y="310"/>
                    </a:lnTo>
                    <a:lnTo>
                      <a:pt x="889" y="309"/>
                    </a:lnTo>
                    <a:lnTo>
                      <a:pt x="888" y="311"/>
                    </a:lnTo>
                    <a:lnTo>
                      <a:pt x="889" y="312"/>
                    </a:lnTo>
                    <a:lnTo>
                      <a:pt x="890" y="314"/>
                    </a:lnTo>
                    <a:lnTo>
                      <a:pt x="892" y="316"/>
                    </a:lnTo>
                    <a:lnTo>
                      <a:pt x="893" y="317"/>
                    </a:lnTo>
                    <a:lnTo>
                      <a:pt x="893" y="318"/>
                    </a:lnTo>
                    <a:lnTo>
                      <a:pt x="891" y="319"/>
                    </a:lnTo>
                    <a:lnTo>
                      <a:pt x="890" y="319"/>
                    </a:lnTo>
                    <a:lnTo>
                      <a:pt x="888" y="319"/>
                    </a:lnTo>
                    <a:lnTo>
                      <a:pt x="886" y="318"/>
                    </a:lnTo>
                    <a:lnTo>
                      <a:pt x="884" y="318"/>
                    </a:lnTo>
                    <a:lnTo>
                      <a:pt x="882" y="317"/>
                    </a:lnTo>
                    <a:lnTo>
                      <a:pt x="881" y="317"/>
                    </a:lnTo>
                    <a:lnTo>
                      <a:pt x="873" y="315"/>
                    </a:lnTo>
                    <a:lnTo>
                      <a:pt x="867" y="314"/>
                    </a:lnTo>
                    <a:lnTo>
                      <a:pt x="864" y="315"/>
                    </a:lnTo>
                    <a:lnTo>
                      <a:pt x="862" y="319"/>
                    </a:lnTo>
                    <a:lnTo>
                      <a:pt x="859" y="319"/>
                    </a:lnTo>
                    <a:lnTo>
                      <a:pt x="856" y="317"/>
                    </a:lnTo>
                    <a:lnTo>
                      <a:pt x="853" y="315"/>
                    </a:lnTo>
                    <a:lnTo>
                      <a:pt x="850" y="313"/>
                    </a:lnTo>
                    <a:lnTo>
                      <a:pt x="848" y="313"/>
                    </a:lnTo>
                    <a:lnTo>
                      <a:pt x="847" y="314"/>
                    </a:lnTo>
                    <a:lnTo>
                      <a:pt x="846" y="315"/>
                    </a:lnTo>
                    <a:lnTo>
                      <a:pt x="846" y="317"/>
                    </a:lnTo>
                    <a:lnTo>
                      <a:pt x="846" y="319"/>
                    </a:lnTo>
                    <a:lnTo>
                      <a:pt x="846" y="321"/>
                    </a:lnTo>
                    <a:lnTo>
                      <a:pt x="846" y="322"/>
                    </a:lnTo>
                    <a:lnTo>
                      <a:pt x="846" y="323"/>
                    </a:lnTo>
                    <a:lnTo>
                      <a:pt x="843" y="323"/>
                    </a:lnTo>
                    <a:lnTo>
                      <a:pt x="840" y="322"/>
                    </a:lnTo>
                    <a:lnTo>
                      <a:pt x="837" y="321"/>
                    </a:lnTo>
                    <a:lnTo>
                      <a:pt x="834" y="320"/>
                    </a:lnTo>
                    <a:lnTo>
                      <a:pt x="830" y="319"/>
                    </a:lnTo>
                    <a:lnTo>
                      <a:pt x="827" y="318"/>
                    </a:lnTo>
                    <a:lnTo>
                      <a:pt x="823" y="317"/>
                    </a:lnTo>
                    <a:lnTo>
                      <a:pt x="819" y="316"/>
                    </a:lnTo>
                    <a:lnTo>
                      <a:pt x="815" y="315"/>
                    </a:lnTo>
                    <a:lnTo>
                      <a:pt x="812" y="314"/>
                    </a:lnTo>
                    <a:lnTo>
                      <a:pt x="810" y="312"/>
                    </a:lnTo>
                    <a:lnTo>
                      <a:pt x="809" y="310"/>
                    </a:lnTo>
                    <a:lnTo>
                      <a:pt x="807" y="309"/>
                    </a:lnTo>
                    <a:lnTo>
                      <a:pt x="805" y="307"/>
                    </a:lnTo>
                    <a:lnTo>
                      <a:pt x="802" y="306"/>
                    </a:lnTo>
                    <a:lnTo>
                      <a:pt x="798" y="305"/>
                    </a:lnTo>
                    <a:lnTo>
                      <a:pt x="795" y="304"/>
                    </a:lnTo>
                    <a:lnTo>
                      <a:pt x="791" y="303"/>
                    </a:lnTo>
                    <a:lnTo>
                      <a:pt x="789" y="303"/>
                    </a:lnTo>
                    <a:lnTo>
                      <a:pt x="788" y="302"/>
                    </a:lnTo>
                    <a:lnTo>
                      <a:pt x="788" y="301"/>
                    </a:lnTo>
                    <a:lnTo>
                      <a:pt x="789" y="300"/>
                    </a:lnTo>
                    <a:lnTo>
                      <a:pt x="791" y="299"/>
                    </a:lnTo>
                    <a:lnTo>
                      <a:pt x="793" y="298"/>
                    </a:lnTo>
                    <a:lnTo>
                      <a:pt x="796" y="297"/>
                    </a:lnTo>
                    <a:lnTo>
                      <a:pt x="798" y="296"/>
                    </a:lnTo>
                    <a:lnTo>
                      <a:pt x="799" y="295"/>
                    </a:lnTo>
                    <a:lnTo>
                      <a:pt x="802" y="295"/>
                    </a:lnTo>
                    <a:lnTo>
                      <a:pt x="804" y="295"/>
                    </a:lnTo>
                    <a:lnTo>
                      <a:pt x="807" y="295"/>
                    </a:lnTo>
                    <a:lnTo>
                      <a:pt x="810" y="295"/>
                    </a:lnTo>
                    <a:lnTo>
                      <a:pt x="812" y="294"/>
                    </a:lnTo>
                    <a:lnTo>
                      <a:pt x="814" y="294"/>
                    </a:lnTo>
                    <a:lnTo>
                      <a:pt x="816" y="293"/>
                    </a:lnTo>
                    <a:lnTo>
                      <a:pt x="816" y="291"/>
                    </a:lnTo>
                    <a:lnTo>
                      <a:pt x="815" y="289"/>
                    </a:lnTo>
                    <a:lnTo>
                      <a:pt x="814" y="288"/>
                    </a:lnTo>
                    <a:lnTo>
                      <a:pt x="811" y="287"/>
                    </a:lnTo>
                    <a:lnTo>
                      <a:pt x="808" y="286"/>
                    </a:lnTo>
                    <a:lnTo>
                      <a:pt x="805" y="286"/>
                    </a:lnTo>
                    <a:lnTo>
                      <a:pt x="803" y="287"/>
                    </a:lnTo>
                    <a:lnTo>
                      <a:pt x="801" y="287"/>
                    </a:lnTo>
                    <a:lnTo>
                      <a:pt x="798" y="287"/>
                    </a:lnTo>
                    <a:lnTo>
                      <a:pt x="795" y="286"/>
                    </a:lnTo>
                    <a:lnTo>
                      <a:pt x="792" y="284"/>
                    </a:lnTo>
                    <a:lnTo>
                      <a:pt x="790" y="283"/>
                    </a:lnTo>
                    <a:lnTo>
                      <a:pt x="787" y="281"/>
                    </a:lnTo>
                    <a:lnTo>
                      <a:pt x="781" y="279"/>
                    </a:lnTo>
                    <a:lnTo>
                      <a:pt x="774" y="278"/>
                    </a:lnTo>
                    <a:lnTo>
                      <a:pt x="767" y="274"/>
                    </a:lnTo>
                    <a:lnTo>
                      <a:pt x="765" y="273"/>
                    </a:lnTo>
                    <a:lnTo>
                      <a:pt x="764" y="270"/>
                    </a:lnTo>
                    <a:lnTo>
                      <a:pt x="764" y="268"/>
                    </a:lnTo>
                    <a:lnTo>
                      <a:pt x="765" y="266"/>
                    </a:lnTo>
                    <a:lnTo>
                      <a:pt x="767" y="264"/>
                    </a:lnTo>
                    <a:lnTo>
                      <a:pt x="769" y="262"/>
                    </a:lnTo>
                    <a:lnTo>
                      <a:pt x="774" y="261"/>
                    </a:lnTo>
                    <a:lnTo>
                      <a:pt x="777" y="260"/>
                    </a:lnTo>
                    <a:lnTo>
                      <a:pt x="780" y="260"/>
                    </a:lnTo>
                    <a:lnTo>
                      <a:pt x="783" y="259"/>
                    </a:lnTo>
                    <a:lnTo>
                      <a:pt x="785" y="259"/>
                    </a:lnTo>
                    <a:lnTo>
                      <a:pt x="787" y="258"/>
                    </a:lnTo>
                    <a:lnTo>
                      <a:pt x="789" y="258"/>
                    </a:lnTo>
                    <a:lnTo>
                      <a:pt x="790" y="259"/>
                    </a:lnTo>
                    <a:lnTo>
                      <a:pt x="792" y="260"/>
                    </a:lnTo>
                    <a:lnTo>
                      <a:pt x="794" y="261"/>
                    </a:lnTo>
                    <a:lnTo>
                      <a:pt x="795" y="263"/>
                    </a:lnTo>
                    <a:lnTo>
                      <a:pt x="799" y="263"/>
                    </a:lnTo>
                    <a:lnTo>
                      <a:pt x="801" y="262"/>
                    </a:lnTo>
                    <a:lnTo>
                      <a:pt x="803" y="261"/>
                    </a:lnTo>
                    <a:lnTo>
                      <a:pt x="805" y="260"/>
                    </a:lnTo>
                    <a:lnTo>
                      <a:pt x="807" y="258"/>
                    </a:lnTo>
                    <a:lnTo>
                      <a:pt x="809" y="257"/>
                    </a:lnTo>
                    <a:lnTo>
                      <a:pt x="811" y="257"/>
                    </a:lnTo>
                    <a:lnTo>
                      <a:pt x="815" y="256"/>
                    </a:lnTo>
                    <a:lnTo>
                      <a:pt x="819" y="257"/>
                    </a:lnTo>
                    <a:lnTo>
                      <a:pt x="826" y="259"/>
                    </a:lnTo>
                    <a:lnTo>
                      <a:pt x="830" y="260"/>
                    </a:lnTo>
                    <a:lnTo>
                      <a:pt x="834" y="259"/>
                    </a:lnTo>
                    <a:lnTo>
                      <a:pt x="834" y="257"/>
                    </a:lnTo>
                    <a:lnTo>
                      <a:pt x="835" y="255"/>
                    </a:lnTo>
                    <a:lnTo>
                      <a:pt x="836" y="255"/>
                    </a:lnTo>
                    <a:lnTo>
                      <a:pt x="837" y="254"/>
                    </a:lnTo>
                    <a:lnTo>
                      <a:pt x="839" y="254"/>
                    </a:lnTo>
                    <a:lnTo>
                      <a:pt x="841" y="254"/>
                    </a:lnTo>
                    <a:lnTo>
                      <a:pt x="842" y="254"/>
                    </a:lnTo>
                    <a:lnTo>
                      <a:pt x="844" y="254"/>
                    </a:lnTo>
                    <a:lnTo>
                      <a:pt x="845" y="253"/>
                    </a:lnTo>
                    <a:lnTo>
                      <a:pt x="846" y="252"/>
                    </a:lnTo>
                    <a:lnTo>
                      <a:pt x="845" y="251"/>
                    </a:lnTo>
                    <a:lnTo>
                      <a:pt x="844" y="249"/>
                    </a:lnTo>
                    <a:lnTo>
                      <a:pt x="841" y="245"/>
                    </a:lnTo>
                    <a:lnTo>
                      <a:pt x="836" y="242"/>
                    </a:lnTo>
                    <a:lnTo>
                      <a:pt x="831" y="240"/>
                    </a:lnTo>
                    <a:lnTo>
                      <a:pt x="826" y="241"/>
                    </a:lnTo>
                    <a:lnTo>
                      <a:pt x="826" y="242"/>
                    </a:lnTo>
                    <a:lnTo>
                      <a:pt x="825" y="243"/>
                    </a:lnTo>
                    <a:lnTo>
                      <a:pt x="824" y="245"/>
                    </a:lnTo>
                    <a:lnTo>
                      <a:pt x="823" y="246"/>
                    </a:lnTo>
                    <a:lnTo>
                      <a:pt x="821" y="247"/>
                    </a:lnTo>
                    <a:lnTo>
                      <a:pt x="820" y="247"/>
                    </a:lnTo>
                    <a:lnTo>
                      <a:pt x="817" y="247"/>
                    </a:lnTo>
                    <a:lnTo>
                      <a:pt x="816" y="245"/>
                    </a:lnTo>
                    <a:lnTo>
                      <a:pt x="813" y="244"/>
                    </a:lnTo>
                    <a:lnTo>
                      <a:pt x="810" y="244"/>
                    </a:lnTo>
                    <a:lnTo>
                      <a:pt x="807" y="245"/>
                    </a:lnTo>
                    <a:lnTo>
                      <a:pt x="805" y="245"/>
                    </a:lnTo>
                    <a:lnTo>
                      <a:pt x="804" y="247"/>
                    </a:lnTo>
                    <a:lnTo>
                      <a:pt x="803" y="249"/>
                    </a:lnTo>
                    <a:lnTo>
                      <a:pt x="802" y="250"/>
                    </a:lnTo>
                    <a:lnTo>
                      <a:pt x="799" y="250"/>
                    </a:lnTo>
                    <a:lnTo>
                      <a:pt x="796" y="251"/>
                    </a:lnTo>
                    <a:lnTo>
                      <a:pt x="793" y="251"/>
                    </a:lnTo>
                    <a:lnTo>
                      <a:pt x="791" y="250"/>
                    </a:lnTo>
                    <a:lnTo>
                      <a:pt x="789" y="249"/>
                    </a:lnTo>
                    <a:lnTo>
                      <a:pt x="786" y="248"/>
                    </a:lnTo>
                    <a:lnTo>
                      <a:pt x="784" y="248"/>
                    </a:lnTo>
                    <a:lnTo>
                      <a:pt x="782" y="246"/>
                    </a:lnTo>
                    <a:lnTo>
                      <a:pt x="782" y="245"/>
                    </a:lnTo>
                    <a:lnTo>
                      <a:pt x="782" y="243"/>
                    </a:lnTo>
                    <a:lnTo>
                      <a:pt x="783" y="241"/>
                    </a:lnTo>
                    <a:lnTo>
                      <a:pt x="783" y="239"/>
                    </a:lnTo>
                    <a:lnTo>
                      <a:pt x="779" y="234"/>
                    </a:lnTo>
                    <a:lnTo>
                      <a:pt x="772" y="233"/>
                    </a:lnTo>
                    <a:lnTo>
                      <a:pt x="763" y="232"/>
                    </a:lnTo>
                    <a:lnTo>
                      <a:pt x="757" y="231"/>
                    </a:lnTo>
                    <a:lnTo>
                      <a:pt x="752" y="228"/>
                    </a:lnTo>
                    <a:lnTo>
                      <a:pt x="748" y="226"/>
                    </a:lnTo>
                    <a:lnTo>
                      <a:pt x="745" y="223"/>
                    </a:lnTo>
                    <a:lnTo>
                      <a:pt x="743" y="220"/>
                    </a:lnTo>
                    <a:lnTo>
                      <a:pt x="741" y="216"/>
                    </a:lnTo>
                    <a:lnTo>
                      <a:pt x="739" y="213"/>
                    </a:lnTo>
                    <a:lnTo>
                      <a:pt x="738" y="211"/>
                    </a:lnTo>
                    <a:lnTo>
                      <a:pt x="737" y="209"/>
                    </a:lnTo>
                    <a:lnTo>
                      <a:pt x="737" y="206"/>
                    </a:lnTo>
                    <a:lnTo>
                      <a:pt x="737" y="204"/>
                    </a:lnTo>
                    <a:lnTo>
                      <a:pt x="737" y="202"/>
                    </a:lnTo>
                    <a:lnTo>
                      <a:pt x="737" y="200"/>
                    </a:lnTo>
                    <a:lnTo>
                      <a:pt x="738" y="199"/>
                    </a:lnTo>
                    <a:lnTo>
                      <a:pt x="739" y="198"/>
                    </a:lnTo>
                    <a:lnTo>
                      <a:pt x="747" y="194"/>
                    </a:lnTo>
                    <a:lnTo>
                      <a:pt x="756" y="191"/>
                    </a:lnTo>
                    <a:lnTo>
                      <a:pt x="765" y="188"/>
                    </a:lnTo>
                    <a:lnTo>
                      <a:pt x="768" y="188"/>
                    </a:lnTo>
                    <a:lnTo>
                      <a:pt x="773" y="187"/>
                    </a:lnTo>
                    <a:lnTo>
                      <a:pt x="776" y="186"/>
                    </a:lnTo>
                    <a:lnTo>
                      <a:pt x="780" y="184"/>
                    </a:lnTo>
                    <a:lnTo>
                      <a:pt x="782" y="183"/>
                    </a:lnTo>
                    <a:lnTo>
                      <a:pt x="784" y="182"/>
                    </a:lnTo>
                    <a:lnTo>
                      <a:pt x="787" y="180"/>
                    </a:lnTo>
                    <a:lnTo>
                      <a:pt x="789" y="179"/>
                    </a:lnTo>
                    <a:lnTo>
                      <a:pt x="790" y="178"/>
                    </a:lnTo>
                    <a:lnTo>
                      <a:pt x="791" y="176"/>
                    </a:lnTo>
                    <a:lnTo>
                      <a:pt x="792" y="175"/>
                    </a:lnTo>
                    <a:lnTo>
                      <a:pt x="793" y="174"/>
                    </a:lnTo>
                    <a:lnTo>
                      <a:pt x="795" y="174"/>
                    </a:lnTo>
                    <a:lnTo>
                      <a:pt x="798" y="174"/>
                    </a:lnTo>
                    <a:lnTo>
                      <a:pt x="801" y="175"/>
                    </a:lnTo>
                    <a:lnTo>
                      <a:pt x="803" y="175"/>
                    </a:lnTo>
                    <a:lnTo>
                      <a:pt x="806" y="175"/>
                    </a:lnTo>
                    <a:lnTo>
                      <a:pt x="807" y="174"/>
                    </a:lnTo>
                    <a:lnTo>
                      <a:pt x="809" y="174"/>
                    </a:lnTo>
                    <a:lnTo>
                      <a:pt x="811" y="173"/>
                    </a:lnTo>
                    <a:lnTo>
                      <a:pt x="813" y="172"/>
                    </a:lnTo>
                    <a:lnTo>
                      <a:pt x="815" y="172"/>
                    </a:lnTo>
                    <a:lnTo>
                      <a:pt x="815" y="172"/>
                    </a:lnTo>
                    <a:lnTo>
                      <a:pt x="816" y="173"/>
                    </a:lnTo>
                    <a:lnTo>
                      <a:pt x="817" y="174"/>
                    </a:lnTo>
                    <a:lnTo>
                      <a:pt x="824" y="174"/>
                    </a:lnTo>
                    <a:lnTo>
                      <a:pt x="827" y="174"/>
                    </a:lnTo>
                    <a:lnTo>
                      <a:pt x="830" y="173"/>
                    </a:lnTo>
                    <a:lnTo>
                      <a:pt x="831" y="171"/>
                    </a:lnTo>
                    <a:lnTo>
                      <a:pt x="833" y="169"/>
                    </a:lnTo>
                    <a:lnTo>
                      <a:pt x="835" y="167"/>
                    </a:lnTo>
                    <a:lnTo>
                      <a:pt x="837" y="165"/>
                    </a:lnTo>
                    <a:lnTo>
                      <a:pt x="840" y="164"/>
                    </a:lnTo>
                    <a:lnTo>
                      <a:pt x="843" y="162"/>
                    </a:lnTo>
                    <a:lnTo>
                      <a:pt x="845" y="160"/>
                    </a:lnTo>
                    <a:lnTo>
                      <a:pt x="847" y="158"/>
                    </a:lnTo>
                    <a:lnTo>
                      <a:pt x="847" y="156"/>
                    </a:lnTo>
                    <a:lnTo>
                      <a:pt x="846" y="153"/>
                    </a:lnTo>
                    <a:lnTo>
                      <a:pt x="844" y="151"/>
                    </a:lnTo>
                    <a:lnTo>
                      <a:pt x="843" y="150"/>
                    </a:lnTo>
                    <a:lnTo>
                      <a:pt x="842" y="149"/>
                    </a:lnTo>
                    <a:lnTo>
                      <a:pt x="840" y="147"/>
                    </a:lnTo>
                    <a:lnTo>
                      <a:pt x="838" y="146"/>
                    </a:lnTo>
                    <a:lnTo>
                      <a:pt x="837" y="145"/>
                    </a:lnTo>
                    <a:lnTo>
                      <a:pt x="836" y="144"/>
                    </a:lnTo>
                    <a:lnTo>
                      <a:pt x="837" y="143"/>
                    </a:lnTo>
                    <a:lnTo>
                      <a:pt x="838" y="142"/>
                    </a:lnTo>
                    <a:lnTo>
                      <a:pt x="840" y="141"/>
                    </a:lnTo>
                    <a:lnTo>
                      <a:pt x="842" y="141"/>
                    </a:lnTo>
                    <a:lnTo>
                      <a:pt x="844" y="141"/>
                    </a:lnTo>
                    <a:lnTo>
                      <a:pt x="845" y="141"/>
                    </a:lnTo>
                    <a:lnTo>
                      <a:pt x="846" y="141"/>
                    </a:lnTo>
                    <a:lnTo>
                      <a:pt x="847" y="140"/>
                    </a:lnTo>
                    <a:lnTo>
                      <a:pt x="846" y="139"/>
                    </a:lnTo>
                    <a:lnTo>
                      <a:pt x="844" y="137"/>
                    </a:lnTo>
                    <a:lnTo>
                      <a:pt x="843" y="137"/>
                    </a:lnTo>
                    <a:lnTo>
                      <a:pt x="842" y="136"/>
                    </a:lnTo>
                    <a:lnTo>
                      <a:pt x="841" y="136"/>
                    </a:lnTo>
                    <a:lnTo>
                      <a:pt x="840" y="135"/>
                    </a:lnTo>
                    <a:lnTo>
                      <a:pt x="841" y="135"/>
                    </a:lnTo>
                    <a:lnTo>
                      <a:pt x="842" y="135"/>
                    </a:lnTo>
                    <a:lnTo>
                      <a:pt x="843" y="134"/>
                    </a:lnTo>
                    <a:lnTo>
                      <a:pt x="843" y="134"/>
                    </a:lnTo>
                    <a:lnTo>
                      <a:pt x="842" y="133"/>
                    </a:lnTo>
                    <a:lnTo>
                      <a:pt x="840" y="132"/>
                    </a:lnTo>
                    <a:lnTo>
                      <a:pt x="838" y="132"/>
                    </a:lnTo>
                    <a:lnTo>
                      <a:pt x="835" y="131"/>
                    </a:lnTo>
                    <a:lnTo>
                      <a:pt x="832" y="131"/>
                    </a:lnTo>
                    <a:lnTo>
                      <a:pt x="832" y="132"/>
                    </a:lnTo>
                    <a:lnTo>
                      <a:pt x="831" y="132"/>
                    </a:lnTo>
                    <a:lnTo>
                      <a:pt x="831" y="133"/>
                    </a:lnTo>
                    <a:lnTo>
                      <a:pt x="831" y="133"/>
                    </a:lnTo>
                    <a:lnTo>
                      <a:pt x="830" y="133"/>
                    </a:lnTo>
                    <a:lnTo>
                      <a:pt x="826" y="133"/>
                    </a:lnTo>
                    <a:lnTo>
                      <a:pt x="821" y="131"/>
                    </a:lnTo>
                    <a:lnTo>
                      <a:pt x="817" y="129"/>
                    </a:lnTo>
                    <a:lnTo>
                      <a:pt x="815" y="129"/>
                    </a:lnTo>
                    <a:lnTo>
                      <a:pt x="812" y="128"/>
                    </a:lnTo>
                    <a:lnTo>
                      <a:pt x="809" y="128"/>
                    </a:lnTo>
                    <a:lnTo>
                      <a:pt x="807" y="128"/>
                    </a:lnTo>
                    <a:lnTo>
                      <a:pt x="805" y="127"/>
                    </a:lnTo>
                    <a:lnTo>
                      <a:pt x="804" y="125"/>
                    </a:lnTo>
                    <a:lnTo>
                      <a:pt x="804" y="123"/>
                    </a:lnTo>
                    <a:lnTo>
                      <a:pt x="803" y="121"/>
                    </a:lnTo>
                    <a:lnTo>
                      <a:pt x="803" y="119"/>
                    </a:lnTo>
                    <a:lnTo>
                      <a:pt x="803" y="118"/>
                    </a:lnTo>
                    <a:lnTo>
                      <a:pt x="804" y="116"/>
                    </a:lnTo>
                    <a:lnTo>
                      <a:pt x="804" y="115"/>
                    </a:lnTo>
                    <a:lnTo>
                      <a:pt x="805" y="113"/>
                    </a:lnTo>
                    <a:lnTo>
                      <a:pt x="807" y="112"/>
                    </a:lnTo>
                    <a:lnTo>
                      <a:pt x="808" y="110"/>
                    </a:lnTo>
                    <a:lnTo>
                      <a:pt x="809" y="109"/>
                    </a:lnTo>
                    <a:lnTo>
                      <a:pt x="811" y="108"/>
                    </a:lnTo>
                    <a:lnTo>
                      <a:pt x="813" y="106"/>
                    </a:lnTo>
                    <a:lnTo>
                      <a:pt x="813" y="105"/>
                    </a:lnTo>
                    <a:lnTo>
                      <a:pt x="813" y="104"/>
                    </a:lnTo>
                    <a:lnTo>
                      <a:pt x="813" y="103"/>
                    </a:lnTo>
                    <a:lnTo>
                      <a:pt x="813" y="102"/>
                    </a:lnTo>
                    <a:lnTo>
                      <a:pt x="813" y="100"/>
                    </a:lnTo>
                    <a:lnTo>
                      <a:pt x="813" y="99"/>
                    </a:lnTo>
                    <a:lnTo>
                      <a:pt x="813" y="98"/>
                    </a:lnTo>
                    <a:lnTo>
                      <a:pt x="813" y="99"/>
                    </a:lnTo>
                    <a:lnTo>
                      <a:pt x="816" y="99"/>
                    </a:lnTo>
                    <a:lnTo>
                      <a:pt x="818" y="100"/>
                    </a:lnTo>
                    <a:lnTo>
                      <a:pt x="820" y="100"/>
                    </a:lnTo>
                    <a:lnTo>
                      <a:pt x="821" y="101"/>
                    </a:lnTo>
                    <a:lnTo>
                      <a:pt x="825" y="100"/>
                    </a:lnTo>
                    <a:lnTo>
                      <a:pt x="827" y="98"/>
                    </a:lnTo>
                    <a:lnTo>
                      <a:pt x="828" y="96"/>
                    </a:lnTo>
                    <a:lnTo>
                      <a:pt x="829" y="94"/>
                    </a:lnTo>
                    <a:lnTo>
                      <a:pt x="830" y="92"/>
                    </a:lnTo>
                    <a:lnTo>
                      <a:pt x="831" y="91"/>
                    </a:lnTo>
                    <a:lnTo>
                      <a:pt x="832" y="89"/>
                    </a:lnTo>
                    <a:lnTo>
                      <a:pt x="834" y="86"/>
                    </a:lnTo>
                    <a:lnTo>
                      <a:pt x="836" y="85"/>
                    </a:lnTo>
                    <a:lnTo>
                      <a:pt x="838" y="84"/>
                    </a:lnTo>
                    <a:lnTo>
                      <a:pt x="840" y="83"/>
                    </a:lnTo>
                    <a:lnTo>
                      <a:pt x="842" y="81"/>
                    </a:lnTo>
                    <a:lnTo>
                      <a:pt x="844" y="79"/>
                    </a:lnTo>
                    <a:lnTo>
                      <a:pt x="846" y="79"/>
                    </a:lnTo>
                    <a:lnTo>
                      <a:pt x="853" y="79"/>
                    </a:lnTo>
                    <a:lnTo>
                      <a:pt x="859" y="81"/>
                    </a:lnTo>
                    <a:lnTo>
                      <a:pt x="864" y="84"/>
                    </a:lnTo>
                    <a:lnTo>
                      <a:pt x="870" y="85"/>
                    </a:lnTo>
                    <a:lnTo>
                      <a:pt x="873" y="85"/>
                    </a:lnTo>
                    <a:lnTo>
                      <a:pt x="875" y="85"/>
                    </a:lnTo>
                    <a:lnTo>
                      <a:pt x="876" y="84"/>
                    </a:lnTo>
                    <a:lnTo>
                      <a:pt x="877" y="83"/>
                    </a:lnTo>
                    <a:lnTo>
                      <a:pt x="877" y="81"/>
                    </a:lnTo>
                    <a:lnTo>
                      <a:pt x="877" y="79"/>
                    </a:lnTo>
                    <a:lnTo>
                      <a:pt x="877" y="78"/>
                    </a:lnTo>
                    <a:lnTo>
                      <a:pt x="877" y="76"/>
                    </a:lnTo>
                    <a:lnTo>
                      <a:pt x="877" y="74"/>
                    </a:lnTo>
                    <a:lnTo>
                      <a:pt x="877" y="73"/>
                    </a:lnTo>
                    <a:lnTo>
                      <a:pt x="878" y="70"/>
                    </a:lnTo>
                    <a:lnTo>
                      <a:pt x="879" y="68"/>
                    </a:lnTo>
                    <a:lnTo>
                      <a:pt x="879" y="66"/>
                    </a:lnTo>
                    <a:lnTo>
                      <a:pt x="878" y="63"/>
                    </a:lnTo>
                    <a:lnTo>
                      <a:pt x="875" y="61"/>
                    </a:lnTo>
                    <a:lnTo>
                      <a:pt x="872" y="59"/>
                    </a:lnTo>
                    <a:lnTo>
                      <a:pt x="870" y="57"/>
                    </a:lnTo>
                    <a:lnTo>
                      <a:pt x="868" y="55"/>
                    </a:lnTo>
                    <a:lnTo>
                      <a:pt x="866" y="53"/>
                    </a:lnTo>
                    <a:lnTo>
                      <a:pt x="865" y="50"/>
                    </a:lnTo>
                    <a:lnTo>
                      <a:pt x="865" y="48"/>
                    </a:lnTo>
                    <a:lnTo>
                      <a:pt x="866" y="46"/>
                    </a:lnTo>
                    <a:lnTo>
                      <a:pt x="869" y="45"/>
                    </a:lnTo>
                    <a:lnTo>
                      <a:pt x="873" y="43"/>
                    </a:lnTo>
                    <a:lnTo>
                      <a:pt x="879" y="43"/>
                    </a:lnTo>
                    <a:lnTo>
                      <a:pt x="883" y="44"/>
                    </a:lnTo>
                    <a:lnTo>
                      <a:pt x="888" y="48"/>
                    </a:lnTo>
                    <a:lnTo>
                      <a:pt x="893" y="54"/>
                    </a:lnTo>
                    <a:lnTo>
                      <a:pt x="901" y="57"/>
                    </a:lnTo>
                    <a:lnTo>
                      <a:pt x="904" y="59"/>
                    </a:lnTo>
                    <a:lnTo>
                      <a:pt x="907" y="61"/>
                    </a:lnTo>
                    <a:lnTo>
                      <a:pt x="911" y="63"/>
                    </a:lnTo>
                    <a:lnTo>
                      <a:pt x="914" y="65"/>
                    </a:lnTo>
                    <a:lnTo>
                      <a:pt x="916" y="67"/>
                    </a:lnTo>
                    <a:lnTo>
                      <a:pt x="918" y="69"/>
                    </a:lnTo>
                    <a:lnTo>
                      <a:pt x="921" y="71"/>
                    </a:lnTo>
                    <a:lnTo>
                      <a:pt x="923" y="72"/>
                    </a:lnTo>
                    <a:lnTo>
                      <a:pt x="926" y="73"/>
                    </a:lnTo>
                    <a:lnTo>
                      <a:pt x="927" y="73"/>
                    </a:lnTo>
                    <a:lnTo>
                      <a:pt x="928" y="73"/>
                    </a:lnTo>
                    <a:lnTo>
                      <a:pt x="928" y="72"/>
                    </a:lnTo>
                    <a:lnTo>
                      <a:pt x="928" y="71"/>
                    </a:lnTo>
                    <a:lnTo>
                      <a:pt x="926" y="68"/>
                    </a:lnTo>
                    <a:lnTo>
                      <a:pt x="923" y="66"/>
                    </a:lnTo>
                    <a:lnTo>
                      <a:pt x="920" y="64"/>
                    </a:lnTo>
                    <a:lnTo>
                      <a:pt x="917" y="63"/>
                    </a:lnTo>
                    <a:lnTo>
                      <a:pt x="905" y="56"/>
                    </a:lnTo>
                    <a:lnTo>
                      <a:pt x="895" y="48"/>
                    </a:lnTo>
                    <a:lnTo>
                      <a:pt x="894" y="47"/>
                    </a:lnTo>
                    <a:lnTo>
                      <a:pt x="892" y="45"/>
                    </a:lnTo>
                    <a:lnTo>
                      <a:pt x="891" y="44"/>
                    </a:lnTo>
                    <a:lnTo>
                      <a:pt x="889" y="43"/>
                    </a:lnTo>
                    <a:lnTo>
                      <a:pt x="889" y="41"/>
                    </a:lnTo>
                    <a:lnTo>
                      <a:pt x="889" y="40"/>
                    </a:lnTo>
                    <a:lnTo>
                      <a:pt x="901" y="40"/>
                    </a:lnTo>
                    <a:lnTo>
                      <a:pt x="904" y="40"/>
                    </a:lnTo>
                    <a:lnTo>
                      <a:pt x="908" y="40"/>
                    </a:lnTo>
                    <a:lnTo>
                      <a:pt x="912" y="39"/>
                    </a:lnTo>
                    <a:lnTo>
                      <a:pt x="915" y="38"/>
                    </a:lnTo>
                    <a:lnTo>
                      <a:pt x="916" y="38"/>
                    </a:lnTo>
                    <a:lnTo>
                      <a:pt x="918" y="37"/>
                    </a:lnTo>
                    <a:lnTo>
                      <a:pt x="920" y="36"/>
                    </a:lnTo>
                    <a:lnTo>
                      <a:pt x="923" y="36"/>
                    </a:lnTo>
                    <a:lnTo>
                      <a:pt x="928" y="36"/>
                    </a:lnTo>
                    <a:lnTo>
                      <a:pt x="930" y="36"/>
                    </a:lnTo>
                    <a:lnTo>
                      <a:pt x="932" y="35"/>
                    </a:lnTo>
                    <a:lnTo>
                      <a:pt x="934" y="34"/>
                    </a:lnTo>
                    <a:lnTo>
                      <a:pt x="935" y="34"/>
                    </a:lnTo>
                    <a:lnTo>
                      <a:pt x="937" y="33"/>
                    </a:lnTo>
                    <a:lnTo>
                      <a:pt x="939" y="32"/>
                    </a:lnTo>
                    <a:lnTo>
                      <a:pt x="942" y="32"/>
                    </a:lnTo>
                    <a:lnTo>
                      <a:pt x="945" y="32"/>
                    </a:lnTo>
                    <a:lnTo>
                      <a:pt x="948" y="33"/>
                    </a:lnTo>
                    <a:lnTo>
                      <a:pt x="950" y="34"/>
                    </a:lnTo>
                    <a:lnTo>
                      <a:pt x="951" y="35"/>
                    </a:lnTo>
                    <a:lnTo>
                      <a:pt x="952" y="37"/>
                    </a:lnTo>
                    <a:lnTo>
                      <a:pt x="954" y="38"/>
                    </a:lnTo>
                    <a:lnTo>
                      <a:pt x="956" y="40"/>
                    </a:lnTo>
                    <a:lnTo>
                      <a:pt x="957" y="41"/>
                    </a:lnTo>
                    <a:lnTo>
                      <a:pt x="959" y="42"/>
                    </a:lnTo>
                    <a:lnTo>
                      <a:pt x="960" y="42"/>
                    </a:lnTo>
                    <a:lnTo>
                      <a:pt x="961" y="43"/>
                    </a:lnTo>
                    <a:lnTo>
                      <a:pt x="962" y="44"/>
                    </a:lnTo>
                    <a:lnTo>
                      <a:pt x="962" y="50"/>
                    </a:lnTo>
                    <a:lnTo>
                      <a:pt x="962" y="55"/>
                    </a:lnTo>
                    <a:lnTo>
                      <a:pt x="963" y="59"/>
                    </a:lnTo>
                    <a:lnTo>
                      <a:pt x="963" y="63"/>
                    </a:lnTo>
                    <a:lnTo>
                      <a:pt x="964" y="67"/>
                    </a:lnTo>
                    <a:lnTo>
                      <a:pt x="964" y="67"/>
                    </a:lnTo>
                    <a:lnTo>
                      <a:pt x="964" y="69"/>
                    </a:lnTo>
                    <a:lnTo>
                      <a:pt x="964" y="71"/>
                    </a:lnTo>
                    <a:lnTo>
                      <a:pt x="965" y="72"/>
                    </a:lnTo>
                    <a:lnTo>
                      <a:pt x="966" y="73"/>
                    </a:lnTo>
                    <a:lnTo>
                      <a:pt x="967" y="72"/>
                    </a:lnTo>
                    <a:lnTo>
                      <a:pt x="968" y="71"/>
                    </a:lnTo>
                    <a:lnTo>
                      <a:pt x="969" y="70"/>
                    </a:lnTo>
                    <a:lnTo>
                      <a:pt x="969" y="69"/>
                    </a:lnTo>
                    <a:lnTo>
                      <a:pt x="970" y="69"/>
                    </a:lnTo>
                    <a:lnTo>
                      <a:pt x="970" y="67"/>
                    </a:lnTo>
                    <a:lnTo>
                      <a:pt x="970" y="64"/>
                    </a:lnTo>
                    <a:lnTo>
                      <a:pt x="969" y="61"/>
                    </a:lnTo>
                    <a:lnTo>
                      <a:pt x="968" y="58"/>
                    </a:lnTo>
                    <a:lnTo>
                      <a:pt x="967" y="55"/>
                    </a:lnTo>
                    <a:lnTo>
                      <a:pt x="968" y="53"/>
                    </a:lnTo>
                    <a:lnTo>
                      <a:pt x="969" y="52"/>
                    </a:lnTo>
                    <a:lnTo>
                      <a:pt x="969" y="50"/>
                    </a:lnTo>
                    <a:lnTo>
                      <a:pt x="970" y="50"/>
                    </a:lnTo>
                    <a:lnTo>
                      <a:pt x="970" y="49"/>
                    </a:lnTo>
                    <a:lnTo>
                      <a:pt x="969" y="48"/>
                    </a:lnTo>
                    <a:lnTo>
                      <a:pt x="968" y="46"/>
                    </a:lnTo>
                    <a:lnTo>
                      <a:pt x="966" y="44"/>
                    </a:lnTo>
                    <a:lnTo>
                      <a:pt x="964" y="42"/>
                    </a:lnTo>
                    <a:lnTo>
                      <a:pt x="964" y="40"/>
                    </a:lnTo>
                    <a:lnTo>
                      <a:pt x="963" y="38"/>
                    </a:lnTo>
                    <a:lnTo>
                      <a:pt x="964" y="38"/>
                    </a:lnTo>
                    <a:lnTo>
                      <a:pt x="964" y="38"/>
                    </a:lnTo>
                    <a:lnTo>
                      <a:pt x="966" y="38"/>
                    </a:lnTo>
                    <a:lnTo>
                      <a:pt x="967" y="39"/>
                    </a:lnTo>
                    <a:lnTo>
                      <a:pt x="968" y="40"/>
                    </a:lnTo>
                    <a:lnTo>
                      <a:pt x="970" y="41"/>
                    </a:lnTo>
                    <a:lnTo>
                      <a:pt x="971" y="43"/>
                    </a:lnTo>
                    <a:lnTo>
                      <a:pt x="972" y="44"/>
                    </a:lnTo>
                    <a:lnTo>
                      <a:pt x="974" y="46"/>
                    </a:lnTo>
                    <a:lnTo>
                      <a:pt x="977" y="48"/>
                    </a:lnTo>
                    <a:lnTo>
                      <a:pt x="981" y="50"/>
                    </a:lnTo>
                    <a:lnTo>
                      <a:pt x="983" y="52"/>
                    </a:lnTo>
                    <a:lnTo>
                      <a:pt x="984" y="54"/>
                    </a:lnTo>
                    <a:lnTo>
                      <a:pt x="985" y="55"/>
                    </a:lnTo>
                    <a:lnTo>
                      <a:pt x="985" y="55"/>
                    </a:lnTo>
                    <a:lnTo>
                      <a:pt x="985" y="58"/>
                    </a:lnTo>
                    <a:lnTo>
                      <a:pt x="986" y="61"/>
                    </a:lnTo>
                    <a:lnTo>
                      <a:pt x="988" y="63"/>
                    </a:lnTo>
                    <a:lnTo>
                      <a:pt x="991" y="65"/>
                    </a:lnTo>
                    <a:lnTo>
                      <a:pt x="992" y="66"/>
                    </a:lnTo>
                    <a:lnTo>
                      <a:pt x="995" y="68"/>
                    </a:lnTo>
                    <a:lnTo>
                      <a:pt x="997" y="68"/>
                    </a:lnTo>
                    <a:lnTo>
                      <a:pt x="999" y="69"/>
                    </a:lnTo>
                    <a:lnTo>
                      <a:pt x="1000" y="69"/>
                    </a:lnTo>
                    <a:lnTo>
                      <a:pt x="1000" y="68"/>
                    </a:lnTo>
                    <a:lnTo>
                      <a:pt x="1000" y="68"/>
                    </a:lnTo>
                    <a:lnTo>
                      <a:pt x="999" y="67"/>
                    </a:lnTo>
                    <a:lnTo>
                      <a:pt x="999" y="66"/>
                    </a:lnTo>
                    <a:lnTo>
                      <a:pt x="999" y="65"/>
                    </a:lnTo>
                    <a:lnTo>
                      <a:pt x="997" y="64"/>
                    </a:lnTo>
                    <a:lnTo>
                      <a:pt x="996" y="63"/>
                    </a:lnTo>
                    <a:lnTo>
                      <a:pt x="996" y="62"/>
                    </a:lnTo>
                    <a:lnTo>
                      <a:pt x="997" y="62"/>
                    </a:lnTo>
                    <a:lnTo>
                      <a:pt x="998" y="62"/>
                    </a:lnTo>
                    <a:lnTo>
                      <a:pt x="1000" y="62"/>
                    </a:lnTo>
                    <a:lnTo>
                      <a:pt x="1002" y="62"/>
                    </a:lnTo>
                    <a:lnTo>
                      <a:pt x="1004" y="62"/>
                    </a:lnTo>
                    <a:lnTo>
                      <a:pt x="1007" y="63"/>
                    </a:lnTo>
                    <a:lnTo>
                      <a:pt x="1009" y="64"/>
                    </a:lnTo>
                    <a:lnTo>
                      <a:pt x="1011" y="64"/>
                    </a:lnTo>
                    <a:lnTo>
                      <a:pt x="1012" y="64"/>
                    </a:lnTo>
                    <a:lnTo>
                      <a:pt x="1013" y="64"/>
                    </a:lnTo>
                    <a:lnTo>
                      <a:pt x="1013" y="63"/>
                    </a:lnTo>
                    <a:lnTo>
                      <a:pt x="1012" y="61"/>
                    </a:lnTo>
                    <a:lnTo>
                      <a:pt x="1011" y="60"/>
                    </a:lnTo>
                    <a:lnTo>
                      <a:pt x="1009" y="59"/>
                    </a:lnTo>
                    <a:lnTo>
                      <a:pt x="1008" y="58"/>
                    </a:lnTo>
                    <a:lnTo>
                      <a:pt x="1006" y="58"/>
                    </a:lnTo>
                    <a:lnTo>
                      <a:pt x="1005" y="57"/>
                    </a:lnTo>
                    <a:lnTo>
                      <a:pt x="1000" y="54"/>
                    </a:lnTo>
                    <a:lnTo>
                      <a:pt x="997" y="50"/>
                    </a:lnTo>
                    <a:lnTo>
                      <a:pt x="994" y="46"/>
                    </a:lnTo>
                    <a:lnTo>
                      <a:pt x="991" y="43"/>
                    </a:lnTo>
                    <a:lnTo>
                      <a:pt x="989" y="40"/>
                    </a:lnTo>
                    <a:lnTo>
                      <a:pt x="988" y="39"/>
                    </a:lnTo>
                    <a:lnTo>
                      <a:pt x="986" y="37"/>
                    </a:lnTo>
                    <a:lnTo>
                      <a:pt x="985" y="36"/>
                    </a:lnTo>
                    <a:lnTo>
                      <a:pt x="984" y="34"/>
                    </a:lnTo>
                    <a:lnTo>
                      <a:pt x="983" y="33"/>
                    </a:lnTo>
                    <a:lnTo>
                      <a:pt x="982" y="32"/>
                    </a:lnTo>
                    <a:lnTo>
                      <a:pt x="983" y="31"/>
                    </a:lnTo>
                    <a:lnTo>
                      <a:pt x="984" y="30"/>
                    </a:lnTo>
                    <a:lnTo>
                      <a:pt x="987" y="30"/>
                    </a:lnTo>
                    <a:lnTo>
                      <a:pt x="992" y="31"/>
                    </a:lnTo>
                    <a:lnTo>
                      <a:pt x="999" y="32"/>
                    </a:lnTo>
                    <a:lnTo>
                      <a:pt x="1005" y="34"/>
                    </a:lnTo>
                    <a:lnTo>
                      <a:pt x="1007" y="36"/>
                    </a:lnTo>
                    <a:lnTo>
                      <a:pt x="1010" y="38"/>
                    </a:lnTo>
                    <a:lnTo>
                      <a:pt x="1012" y="40"/>
                    </a:lnTo>
                    <a:lnTo>
                      <a:pt x="1015" y="42"/>
                    </a:lnTo>
                    <a:lnTo>
                      <a:pt x="1026" y="48"/>
                    </a:lnTo>
                    <a:lnTo>
                      <a:pt x="1039" y="56"/>
                    </a:lnTo>
                    <a:lnTo>
                      <a:pt x="1051" y="63"/>
                    </a:lnTo>
                    <a:lnTo>
                      <a:pt x="1053" y="65"/>
                    </a:lnTo>
                    <a:lnTo>
                      <a:pt x="1055" y="67"/>
                    </a:lnTo>
                    <a:lnTo>
                      <a:pt x="1056" y="69"/>
                    </a:lnTo>
                    <a:lnTo>
                      <a:pt x="1057" y="71"/>
                    </a:lnTo>
                    <a:lnTo>
                      <a:pt x="1059" y="73"/>
                    </a:lnTo>
                    <a:lnTo>
                      <a:pt x="1062" y="75"/>
                    </a:lnTo>
                    <a:lnTo>
                      <a:pt x="1065" y="77"/>
                    </a:lnTo>
                    <a:lnTo>
                      <a:pt x="1069" y="79"/>
                    </a:lnTo>
                    <a:lnTo>
                      <a:pt x="1071" y="79"/>
                    </a:lnTo>
                    <a:lnTo>
                      <a:pt x="1072" y="80"/>
                    </a:lnTo>
                    <a:lnTo>
                      <a:pt x="1072" y="79"/>
                    </a:lnTo>
                    <a:lnTo>
                      <a:pt x="1072" y="79"/>
                    </a:lnTo>
                    <a:lnTo>
                      <a:pt x="1071" y="78"/>
                    </a:lnTo>
                    <a:lnTo>
                      <a:pt x="1071" y="77"/>
                    </a:lnTo>
                    <a:lnTo>
                      <a:pt x="1069" y="75"/>
                    </a:lnTo>
                    <a:lnTo>
                      <a:pt x="1067" y="73"/>
                    </a:lnTo>
                    <a:lnTo>
                      <a:pt x="1065" y="73"/>
                    </a:lnTo>
                    <a:lnTo>
                      <a:pt x="1064" y="70"/>
                    </a:lnTo>
                    <a:lnTo>
                      <a:pt x="1063" y="68"/>
                    </a:lnTo>
                    <a:lnTo>
                      <a:pt x="1062" y="66"/>
                    </a:lnTo>
                    <a:lnTo>
                      <a:pt x="1062" y="64"/>
                    </a:lnTo>
                    <a:lnTo>
                      <a:pt x="1061" y="63"/>
                    </a:lnTo>
                    <a:lnTo>
                      <a:pt x="1061" y="61"/>
                    </a:lnTo>
                    <a:lnTo>
                      <a:pt x="1061" y="59"/>
                    </a:lnTo>
                    <a:lnTo>
                      <a:pt x="1061" y="58"/>
                    </a:lnTo>
                    <a:lnTo>
                      <a:pt x="1060" y="57"/>
                    </a:lnTo>
                    <a:lnTo>
                      <a:pt x="1059" y="55"/>
                    </a:lnTo>
                    <a:lnTo>
                      <a:pt x="1059" y="54"/>
                    </a:lnTo>
                    <a:lnTo>
                      <a:pt x="1059" y="53"/>
                    </a:lnTo>
                    <a:lnTo>
                      <a:pt x="1059" y="53"/>
                    </a:lnTo>
                    <a:lnTo>
                      <a:pt x="1060" y="53"/>
                    </a:lnTo>
                    <a:lnTo>
                      <a:pt x="1061" y="53"/>
                    </a:lnTo>
                    <a:lnTo>
                      <a:pt x="1064" y="54"/>
                    </a:lnTo>
                    <a:lnTo>
                      <a:pt x="1066" y="54"/>
                    </a:lnTo>
                    <a:lnTo>
                      <a:pt x="1067" y="54"/>
                    </a:lnTo>
                    <a:lnTo>
                      <a:pt x="1067" y="53"/>
                    </a:lnTo>
                    <a:lnTo>
                      <a:pt x="1067" y="49"/>
                    </a:lnTo>
                    <a:lnTo>
                      <a:pt x="1065" y="47"/>
                    </a:lnTo>
                    <a:lnTo>
                      <a:pt x="1063" y="44"/>
                    </a:lnTo>
                    <a:lnTo>
                      <a:pt x="1060" y="42"/>
                    </a:lnTo>
                    <a:lnTo>
                      <a:pt x="1056" y="40"/>
                    </a:lnTo>
                    <a:lnTo>
                      <a:pt x="1053" y="38"/>
                    </a:lnTo>
                    <a:lnTo>
                      <a:pt x="1052" y="36"/>
                    </a:lnTo>
                    <a:lnTo>
                      <a:pt x="1050" y="34"/>
                    </a:lnTo>
                    <a:lnTo>
                      <a:pt x="1048" y="31"/>
                    </a:lnTo>
                    <a:lnTo>
                      <a:pt x="1046" y="29"/>
                    </a:lnTo>
                    <a:lnTo>
                      <a:pt x="1044" y="27"/>
                    </a:lnTo>
                    <a:lnTo>
                      <a:pt x="1043" y="26"/>
                    </a:lnTo>
                    <a:lnTo>
                      <a:pt x="1050" y="27"/>
                    </a:lnTo>
                    <a:lnTo>
                      <a:pt x="1057" y="29"/>
                    </a:lnTo>
                    <a:lnTo>
                      <a:pt x="1063" y="30"/>
                    </a:lnTo>
                    <a:lnTo>
                      <a:pt x="1070" y="30"/>
                    </a:lnTo>
                    <a:lnTo>
                      <a:pt x="1076" y="33"/>
                    </a:lnTo>
                    <a:lnTo>
                      <a:pt x="1082" y="36"/>
                    </a:lnTo>
                    <a:lnTo>
                      <a:pt x="1087" y="38"/>
                    </a:lnTo>
                    <a:lnTo>
                      <a:pt x="1091" y="39"/>
                    </a:lnTo>
                    <a:lnTo>
                      <a:pt x="1095" y="41"/>
                    </a:lnTo>
                    <a:lnTo>
                      <a:pt x="1098" y="44"/>
                    </a:lnTo>
                    <a:lnTo>
                      <a:pt x="1101" y="46"/>
                    </a:lnTo>
                    <a:lnTo>
                      <a:pt x="1103" y="48"/>
                    </a:lnTo>
                    <a:lnTo>
                      <a:pt x="1105" y="50"/>
                    </a:lnTo>
                    <a:lnTo>
                      <a:pt x="1108" y="52"/>
                    </a:lnTo>
                    <a:lnTo>
                      <a:pt x="1110" y="53"/>
                    </a:lnTo>
                    <a:lnTo>
                      <a:pt x="1110" y="49"/>
                    </a:lnTo>
                    <a:lnTo>
                      <a:pt x="1110" y="47"/>
                    </a:lnTo>
                    <a:lnTo>
                      <a:pt x="1109" y="45"/>
                    </a:lnTo>
                    <a:lnTo>
                      <a:pt x="1108" y="43"/>
                    </a:lnTo>
                    <a:lnTo>
                      <a:pt x="1106" y="41"/>
                    </a:lnTo>
                    <a:lnTo>
                      <a:pt x="1102" y="38"/>
                    </a:lnTo>
                    <a:lnTo>
                      <a:pt x="1096" y="36"/>
                    </a:lnTo>
                    <a:lnTo>
                      <a:pt x="1091" y="34"/>
                    </a:lnTo>
                    <a:lnTo>
                      <a:pt x="1086" y="32"/>
                    </a:lnTo>
                    <a:lnTo>
                      <a:pt x="1081" y="30"/>
                    </a:lnTo>
                    <a:lnTo>
                      <a:pt x="1075" y="28"/>
                    </a:lnTo>
                    <a:lnTo>
                      <a:pt x="1069" y="26"/>
                    </a:lnTo>
                    <a:lnTo>
                      <a:pt x="1059" y="25"/>
                    </a:lnTo>
                    <a:lnTo>
                      <a:pt x="1049" y="24"/>
                    </a:lnTo>
                    <a:lnTo>
                      <a:pt x="1047" y="23"/>
                    </a:lnTo>
                    <a:lnTo>
                      <a:pt x="1044" y="21"/>
                    </a:lnTo>
                    <a:lnTo>
                      <a:pt x="1042" y="20"/>
                    </a:lnTo>
                    <a:lnTo>
                      <a:pt x="1039" y="20"/>
                    </a:lnTo>
                    <a:lnTo>
                      <a:pt x="1038" y="20"/>
                    </a:lnTo>
                    <a:lnTo>
                      <a:pt x="1036" y="20"/>
                    </a:lnTo>
                    <a:lnTo>
                      <a:pt x="1034" y="21"/>
                    </a:lnTo>
                    <a:lnTo>
                      <a:pt x="1032" y="20"/>
                    </a:lnTo>
                    <a:lnTo>
                      <a:pt x="1031" y="20"/>
                    </a:lnTo>
                    <a:lnTo>
                      <a:pt x="1029" y="18"/>
                    </a:lnTo>
                    <a:lnTo>
                      <a:pt x="1029" y="17"/>
                    </a:lnTo>
                    <a:lnTo>
                      <a:pt x="1029" y="16"/>
                    </a:lnTo>
                    <a:lnTo>
                      <a:pt x="1030" y="16"/>
                    </a:lnTo>
                    <a:lnTo>
                      <a:pt x="1031" y="15"/>
                    </a:lnTo>
                    <a:lnTo>
                      <a:pt x="1031" y="14"/>
                    </a:lnTo>
                    <a:lnTo>
                      <a:pt x="1031" y="13"/>
                    </a:lnTo>
                    <a:lnTo>
                      <a:pt x="1029" y="12"/>
                    </a:lnTo>
                    <a:lnTo>
                      <a:pt x="1027" y="11"/>
                    </a:lnTo>
                    <a:lnTo>
                      <a:pt x="1025" y="9"/>
                    </a:lnTo>
                    <a:lnTo>
                      <a:pt x="1024" y="8"/>
                    </a:lnTo>
                    <a:lnTo>
                      <a:pt x="1024" y="7"/>
                    </a:lnTo>
                    <a:lnTo>
                      <a:pt x="1025" y="7"/>
                    </a:lnTo>
                    <a:lnTo>
                      <a:pt x="1026" y="7"/>
                    </a:lnTo>
                    <a:lnTo>
                      <a:pt x="1029" y="7"/>
                    </a:lnTo>
                    <a:lnTo>
                      <a:pt x="1031" y="8"/>
                    </a:lnTo>
                    <a:lnTo>
                      <a:pt x="1033" y="9"/>
                    </a:lnTo>
                    <a:lnTo>
                      <a:pt x="1035" y="10"/>
                    </a:lnTo>
                    <a:lnTo>
                      <a:pt x="1036" y="12"/>
                    </a:lnTo>
                    <a:lnTo>
                      <a:pt x="1038" y="14"/>
                    </a:lnTo>
                    <a:lnTo>
                      <a:pt x="1039" y="14"/>
                    </a:lnTo>
                    <a:lnTo>
                      <a:pt x="1041" y="14"/>
                    </a:lnTo>
                    <a:lnTo>
                      <a:pt x="1042" y="13"/>
                    </a:lnTo>
                    <a:lnTo>
                      <a:pt x="1043" y="12"/>
                    </a:lnTo>
                    <a:lnTo>
                      <a:pt x="1042" y="11"/>
                    </a:lnTo>
                    <a:lnTo>
                      <a:pt x="1041" y="10"/>
                    </a:lnTo>
                    <a:lnTo>
                      <a:pt x="1040" y="9"/>
                    </a:lnTo>
                    <a:lnTo>
                      <a:pt x="1039" y="8"/>
                    </a:lnTo>
                    <a:lnTo>
                      <a:pt x="1038" y="7"/>
                    </a:lnTo>
                    <a:lnTo>
                      <a:pt x="1038" y="6"/>
                    </a:lnTo>
                    <a:lnTo>
                      <a:pt x="1038" y="6"/>
                    </a:lnTo>
                    <a:lnTo>
                      <a:pt x="1040" y="6"/>
                    </a:lnTo>
                    <a:lnTo>
                      <a:pt x="1041" y="6"/>
                    </a:lnTo>
                    <a:lnTo>
                      <a:pt x="1044" y="7"/>
                    </a:lnTo>
                    <a:lnTo>
                      <a:pt x="1046" y="8"/>
                    </a:lnTo>
                    <a:lnTo>
                      <a:pt x="1049" y="8"/>
                    </a:lnTo>
                    <a:lnTo>
                      <a:pt x="1051" y="9"/>
                    </a:lnTo>
                    <a:lnTo>
                      <a:pt x="1053" y="10"/>
                    </a:lnTo>
                    <a:lnTo>
                      <a:pt x="1054" y="10"/>
                    </a:lnTo>
                    <a:lnTo>
                      <a:pt x="1055" y="10"/>
                    </a:lnTo>
                    <a:lnTo>
                      <a:pt x="1057" y="10"/>
                    </a:lnTo>
                    <a:lnTo>
                      <a:pt x="1058" y="11"/>
                    </a:lnTo>
                    <a:lnTo>
                      <a:pt x="1060" y="11"/>
                    </a:lnTo>
                    <a:lnTo>
                      <a:pt x="1061" y="11"/>
                    </a:lnTo>
                    <a:lnTo>
                      <a:pt x="1061" y="10"/>
                    </a:lnTo>
                    <a:lnTo>
                      <a:pt x="1060" y="10"/>
                    </a:lnTo>
                    <a:lnTo>
                      <a:pt x="1059" y="9"/>
                    </a:lnTo>
                    <a:lnTo>
                      <a:pt x="1059" y="9"/>
                    </a:lnTo>
                    <a:lnTo>
                      <a:pt x="1057" y="8"/>
                    </a:lnTo>
                    <a:lnTo>
                      <a:pt x="1057" y="7"/>
                    </a:lnTo>
                    <a:lnTo>
                      <a:pt x="1056" y="6"/>
                    </a:lnTo>
                    <a:lnTo>
                      <a:pt x="1056" y="6"/>
                    </a:lnTo>
                    <a:lnTo>
                      <a:pt x="1055" y="6"/>
                    </a:lnTo>
                    <a:lnTo>
                      <a:pt x="1055" y="6"/>
                    </a:lnTo>
                    <a:lnTo>
                      <a:pt x="1056" y="6"/>
                    </a:lnTo>
                    <a:lnTo>
                      <a:pt x="1057" y="6"/>
                    </a:lnTo>
                    <a:lnTo>
                      <a:pt x="1059" y="6"/>
                    </a:lnTo>
                    <a:lnTo>
                      <a:pt x="1060" y="7"/>
                    </a:lnTo>
                    <a:lnTo>
                      <a:pt x="1062" y="8"/>
                    </a:lnTo>
                    <a:lnTo>
                      <a:pt x="1063" y="8"/>
                    </a:lnTo>
                    <a:lnTo>
                      <a:pt x="1063" y="8"/>
                    </a:lnTo>
                    <a:lnTo>
                      <a:pt x="1064" y="8"/>
                    </a:lnTo>
                    <a:lnTo>
                      <a:pt x="1064" y="7"/>
                    </a:lnTo>
                    <a:lnTo>
                      <a:pt x="1063" y="6"/>
                    </a:lnTo>
                    <a:lnTo>
                      <a:pt x="1062" y="5"/>
                    </a:lnTo>
                    <a:lnTo>
                      <a:pt x="1061" y="4"/>
                    </a:lnTo>
                    <a:lnTo>
                      <a:pt x="1062" y="3"/>
                    </a:lnTo>
                    <a:lnTo>
                      <a:pt x="1063" y="3"/>
                    </a:lnTo>
                    <a:lnTo>
                      <a:pt x="1065" y="2"/>
                    </a:lnTo>
                    <a:lnTo>
                      <a:pt x="1067" y="2"/>
                    </a:lnTo>
                    <a:lnTo>
                      <a:pt x="1071" y="4"/>
                    </a:lnTo>
                    <a:lnTo>
                      <a:pt x="1073" y="6"/>
                    </a:lnTo>
                    <a:lnTo>
                      <a:pt x="1075" y="8"/>
                    </a:lnTo>
                    <a:lnTo>
                      <a:pt x="1076" y="9"/>
                    </a:lnTo>
                    <a:lnTo>
                      <a:pt x="1077" y="11"/>
                    </a:lnTo>
                    <a:lnTo>
                      <a:pt x="1078" y="12"/>
                    </a:lnTo>
                    <a:lnTo>
                      <a:pt x="1080" y="14"/>
                    </a:lnTo>
                    <a:lnTo>
                      <a:pt x="1082" y="16"/>
                    </a:lnTo>
                    <a:lnTo>
                      <a:pt x="1094" y="22"/>
                    </a:lnTo>
                    <a:lnTo>
                      <a:pt x="1098" y="24"/>
                    </a:lnTo>
                    <a:lnTo>
                      <a:pt x="1101" y="25"/>
                    </a:lnTo>
                    <a:lnTo>
                      <a:pt x="1105" y="27"/>
                    </a:lnTo>
                    <a:lnTo>
                      <a:pt x="1108" y="28"/>
                    </a:lnTo>
                    <a:lnTo>
                      <a:pt x="1110" y="30"/>
                    </a:lnTo>
                    <a:lnTo>
                      <a:pt x="1113" y="32"/>
                    </a:lnTo>
                    <a:lnTo>
                      <a:pt x="1114" y="33"/>
                    </a:lnTo>
                    <a:lnTo>
                      <a:pt x="1116" y="35"/>
                    </a:lnTo>
                    <a:lnTo>
                      <a:pt x="1118" y="36"/>
                    </a:lnTo>
                    <a:lnTo>
                      <a:pt x="1119" y="37"/>
                    </a:lnTo>
                    <a:lnTo>
                      <a:pt x="1120" y="36"/>
                    </a:lnTo>
                    <a:lnTo>
                      <a:pt x="1120" y="36"/>
                    </a:lnTo>
                    <a:lnTo>
                      <a:pt x="1119" y="35"/>
                    </a:lnTo>
                    <a:lnTo>
                      <a:pt x="1118" y="34"/>
                    </a:lnTo>
                    <a:lnTo>
                      <a:pt x="1117" y="33"/>
                    </a:lnTo>
                    <a:lnTo>
                      <a:pt x="1116" y="32"/>
                    </a:lnTo>
                    <a:lnTo>
                      <a:pt x="1116" y="32"/>
                    </a:lnTo>
                    <a:lnTo>
                      <a:pt x="1115" y="31"/>
                    </a:lnTo>
                    <a:lnTo>
                      <a:pt x="1113" y="30"/>
                    </a:lnTo>
                    <a:lnTo>
                      <a:pt x="1112" y="29"/>
                    </a:lnTo>
                    <a:lnTo>
                      <a:pt x="1112" y="27"/>
                    </a:lnTo>
                    <a:lnTo>
                      <a:pt x="1112" y="26"/>
                    </a:lnTo>
                    <a:lnTo>
                      <a:pt x="1113" y="26"/>
                    </a:lnTo>
                    <a:lnTo>
                      <a:pt x="1115" y="26"/>
                    </a:lnTo>
                    <a:lnTo>
                      <a:pt x="1117" y="27"/>
                    </a:lnTo>
                    <a:lnTo>
                      <a:pt x="1118" y="27"/>
                    </a:lnTo>
                    <a:lnTo>
                      <a:pt x="1120" y="27"/>
                    </a:lnTo>
                    <a:lnTo>
                      <a:pt x="1121" y="27"/>
                    </a:lnTo>
                    <a:lnTo>
                      <a:pt x="1121" y="27"/>
                    </a:lnTo>
                    <a:lnTo>
                      <a:pt x="1121" y="27"/>
                    </a:lnTo>
                    <a:lnTo>
                      <a:pt x="1120" y="26"/>
                    </a:lnTo>
                    <a:lnTo>
                      <a:pt x="1118" y="24"/>
                    </a:lnTo>
                    <a:lnTo>
                      <a:pt x="1117" y="23"/>
                    </a:lnTo>
                    <a:lnTo>
                      <a:pt x="1117" y="22"/>
                    </a:lnTo>
                    <a:lnTo>
                      <a:pt x="1118" y="21"/>
                    </a:lnTo>
                    <a:lnTo>
                      <a:pt x="1119" y="21"/>
                    </a:lnTo>
                    <a:lnTo>
                      <a:pt x="1120" y="21"/>
                    </a:lnTo>
                    <a:lnTo>
                      <a:pt x="1122" y="21"/>
                    </a:lnTo>
                    <a:lnTo>
                      <a:pt x="1123" y="21"/>
                    </a:lnTo>
                    <a:lnTo>
                      <a:pt x="1125" y="21"/>
                    </a:lnTo>
                    <a:lnTo>
                      <a:pt x="1125" y="20"/>
                    </a:lnTo>
                    <a:lnTo>
                      <a:pt x="1125" y="20"/>
                    </a:lnTo>
                    <a:lnTo>
                      <a:pt x="1124" y="18"/>
                    </a:lnTo>
                    <a:lnTo>
                      <a:pt x="1121" y="16"/>
                    </a:lnTo>
                    <a:lnTo>
                      <a:pt x="1118" y="14"/>
                    </a:lnTo>
                    <a:lnTo>
                      <a:pt x="1115" y="13"/>
                    </a:lnTo>
                    <a:lnTo>
                      <a:pt x="1112" y="12"/>
                    </a:lnTo>
                    <a:lnTo>
                      <a:pt x="1110" y="11"/>
                    </a:lnTo>
                    <a:lnTo>
                      <a:pt x="1108" y="9"/>
                    </a:lnTo>
                    <a:lnTo>
                      <a:pt x="1107" y="8"/>
                    </a:lnTo>
                    <a:lnTo>
                      <a:pt x="1106" y="6"/>
                    </a:lnTo>
                    <a:lnTo>
                      <a:pt x="1105" y="4"/>
                    </a:lnTo>
                    <a:lnTo>
                      <a:pt x="1105" y="3"/>
                    </a:lnTo>
                    <a:lnTo>
                      <a:pt x="1106" y="2"/>
                    </a:lnTo>
                    <a:lnTo>
                      <a:pt x="1107" y="2"/>
                    </a:lnTo>
                    <a:lnTo>
                      <a:pt x="1108" y="1"/>
                    </a:lnTo>
                    <a:lnTo>
                      <a:pt x="1110" y="1"/>
                    </a:lnTo>
                    <a:lnTo>
                      <a:pt x="1111" y="1"/>
                    </a:lnTo>
                    <a:lnTo>
                      <a:pt x="1112" y="0"/>
                    </a:lnTo>
                    <a:lnTo>
                      <a:pt x="1114"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3"/>
              <p:cNvSpPr>
                <a:spLocks noEditPoints="1"/>
              </p:cNvSpPr>
              <p:nvPr/>
            </p:nvSpPr>
            <p:spPr bwMode="auto">
              <a:xfrm>
                <a:off x="3072" y="723"/>
                <a:ext cx="453" cy="452"/>
              </a:xfrm>
              <a:custGeom>
                <a:avLst/>
                <a:gdLst>
                  <a:gd name="T0" fmla="*/ 1517 w 3169"/>
                  <a:gd name="T1" fmla="*/ 414 h 3163"/>
                  <a:gd name="T2" fmla="*/ 1554 w 3169"/>
                  <a:gd name="T3" fmla="*/ 404 h 3163"/>
                  <a:gd name="T4" fmla="*/ 1589 w 3169"/>
                  <a:gd name="T5" fmla="*/ 429 h 3163"/>
                  <a:gd name="T6" fmla="*/ 1596 w 3169"/>
                  <a:gd name="T7" fmla="*/ 459 h 3163"/>
                  <a:gd name="T8" fmla="*/ 1538 w 3169"/>
                  <a:gd name="T9" fmla="*/ 476 h 3163"/>
                  <a:gd name="T10" fmla="*/ 1517 w 3169"/>
                  <a:gd name="T11" fmla="*/ 524 h 3163"/>
                  <a:gd name="T12" fmla="*/ 1497 w 3169"/>
                  <a:gd name="T13" fmla="*/ 551 h 3163"/>
                  <a:gd name="T14" fmla="*/ 1435 w 3169"/>
                  <a:gd name="T15" fmla="*/ 577 h 3163"/>
                  <a:gd name="T16" fmla="*/ 1437 w 3169"/>
                  <a:gd name="T17" fmla="*/ 594 h 3163"/>
                  <a:gd name="T18" fmla="*/ 1444 w 3169"/>
                  <a:gd name="T19" fmla="*/ 635 h 3163"/>
                  <a:gd name="T20" fmla="*/ 1353 w 3169"/>
                  <a:gd name="T21" fmla="*/ 677 h 3163"/>
                  <a:gd name="T22" fmla="*/ 1371 w 3169"/>
                  <a:gd name="T23" fmla="*/ 726 h 3163"/>
                  <a:gd name="T24" fmla="*/ 1321 w 3169"/>
                  <a:gd name="T25" fmla="*/ 716 h 3163"/>
                  <a:gd name="T26" fmla="*/ 1234 w 3169"/>
                  <a:gd name="T27" fmla="*/ 719 h 3163"/>
                  <a:gd name="T28" fmla="*/ 1235 w 3169"/>
                  <a:gd name="T29" fmla="*/ 757 h 3163"/>
                  <a:gd name="T30" fmla="*/ 1378 w 3169"/>
                  <a:gd name="T31" fmla="*/ 751 h 3163"/>
                  <a:gd name="T32" fmla="*/ 1328 w 3169"/>
                  <a:gd name="T33" fmla="*/ 790 h 3163"/>
                  <a:gd name="T34" fmla="*/ 1205 w 3169"/>
                  <a:gd name="T35" fmla="*/ 802 h 3163"/>
                  <a:gd name="T36" fmla="*/ 1140 w 3169"/>
                  <a:gd name="T37" fmla="*/ 728 h 3163"/>
                  <a:gd name="T38" fmla="*/ 1158 w 3169"/>
                  <a:gd name="T39" fmla="*/ 695 h 3163"/>
                  <a:gd name="T40" fmla="*/ 1229 w 3169"/>
                  <a:gd name="T41" fmla="*/ 704 h 3163"/>
                  <a:gd name="T42" fmla="*/ 1282 w 3169"/>
                  <a:gd name="T43" fmla="*/ 654 h 3163"/>
                  <a:gd name="T44" fmla="*/ 1303 w 3169"/>
                  <a:gd name="T45" fmla="*/ 632 h 3163"/>
                  <a:gd name="T46" fmla="*/ 1272 w 3169"/>
                  <a:gd name="T47" fmla="*/ 608 h 3163"/>
                  <a:gd name="T48" fmla="*/ 1303 w 3169"/>
                  <a:gd name="T49" fmla="*/ 598 h 3163"/>
                  <a:gd name="T50" fmla="*/ 1258 w 3169"/>
                  <a:gd name="T51" fmla="*/ 609 h 3163"/>
                  <a:gd name="T52" fmla="*/ 1221 w 3169"/>
                  <a:gd name="T53" fmla="*/ 627 h 3163"/>
                  <a:gd name="T54" fmla="*/ 1174 w 3169"/>
                  <a:gd name="T55" fmla="*/ 613 h 3163"/>
                  <a:gd name="T56" fmla="*/ 1154 w 3169"/>
                  <a:gd name="T57" fmla="*/ 577 h 3163"/>
                  <a:gd name="T58" fmla="*/ 1150 w 3169"/>
                  <a:gd name="T59" fmla="*/ 549 h 3163"/>
                  <a:gd name="T60" fmla="*/ 1173 w 3169"/>
                  <a:gd name="T61" fmla="*/ 522 h 3163"/>
                  <a:gd name="T62" fmla="*/ 1175 w 3169"/>
                  <a:gd name="T63" fmla="*/ 494 h 3163"/>
                  <a:gd name="T64" fmla="*/ 1230 w 3169"/>
                  <a:gd name="T65" fmla="*/ 522 h 3163"/>
                  <a:gd name="T66" fmla="*/ 1259 w 3169"/>
                  <a:gd name="T67" fmla="*/ 525 h 3163"/>
                  <a:gd name="T68" fmla="*/ 1302 w 3169"/>
                  <a:gd name="T69" fmla="*/ 568 h 3163"/>
                  <a:gd name="T70" fmla="*/ 1330 w 3169"/>
                  <a:gd name="T71" fmla="*/ 543 h 3163"/>
                  <a:gd name="T72" fmla="*/ 1336 w 3169"/>
                  <a:gd name="T73" fmla="*/ 539 h 3163"/>
                  <a:gd name="T74" fmla="*/ 1419 w 3169"/>
                  <a:gd name="T75" fmla="*/ 502 h 3163"/>
                  <a:gd name="T76" fmla="*/ 1375 w 3169"/>
                  <a:gd name="T77" fmla="*/ 500 h 3163"/>
                  <a:gd name="T78" fmla="*/ 1287 w 3169"/>
                  <a:gd name="T79" fmla="*/ 519 h 3163"/>
                  <a:gd name="T80" fmla="*/ 1263 w 3169"/>
                  <a:gd name="T81" fmla="*/ 512 h 3163"/>
                  <a:gd name="T82" fmla="*/ 1244 w 3169"/>
                  <a:gd name="T83" fmla="*/ 500 h 3163"/>
                  <a:gd name="T84" fmla="*/ 1242 w 3169"/>
                  <a:gd name="T85" fmla="*/ 478 h 3163"/>
                  <a:gd name="T86" fmla="*/ 1223 w 3169"/>
                  <a:gd name="T87" fmla="*/ 459 h 3163"/>
                  <a:gd name="T88" fmla="*/ 1291 w 3169"/>
                  <a:gd name="T89" fmla="*/ 447 h 3163"/>
                  <a:gd name="T90" fmla="*/ 1292 w 3169"/>
                  <a:gd name="T91" fmla="*/ 423 h 3163"/>
                  <a:gd name="T92" fmla="*/ 1334 w 3169"/>
                  <a:gd name="T93" fmla="*/ 431 h 3163"/>
                  <a:gd name="T94" fmla="*/ 1342 w 3169"/>
                  <a:gd name="T95" fmla="*/ 405 h 3163"/>
                  <a:gd name="T96" fmla="*/ 1385 w 3169"/>
                  <a:gd name="T97" fmla="*/ 398 h 3163"/>
                  <a:gd name="T98" fmla="*/ 1404 w 3169"/>
                  <a:gd name="T99" fmla="*/ 404 h 3163"/>
                  <a:gd name="T100" fmla="*/ 1445 w 3169"/>
                  <a:gd name="T101" fmla="*/ 395 h 3163"/>
                  <a:gd name="T102" fmla="*/ 1191 w 3169"/>
                  <a:gd name="T103" fmla="*/ 164 h 3163"/>
                  <a:gd name="T104" fmla="*/ 522 w 3169"/>
                  <a:gd name="T105" fmla="*/ 561 h 3163"/>
                  <a:gd name="T106" fmla="*/ 615 w 3169"/>
                  <a:gd name="T107" fmla="*/ 2689 h 3163"/>
                  <a:gd name="T108" fmla="*/ 1422 w 3169"/>
                  <a:gd name="T109" fmla="*/ 3043 h 3163"/>
                  <a:gd name="T110" fmla="*/ 2375 w 3169"/>
                  <a:gd name="T111" fmla="*/ 2822 h 3163"/>
                  <a:gd name="T112" fmla="*/ 2933 w 3169"/>
                  <a:gd name="T113" fmla="*/ 990 h 3163"/>
                  <a:gd name="T114" fmla="*/ 1984 w 3169"/>
                  <a:gd name="T115" fmla="*/ 165 h 3163"/>
                  <a:gd name="T116" fmla="*/ 2157 w 3169"/>
                  <a:gd name="T117" fmla="*/ 106 h 3163"/>
                  <a:gd name="T118" fmla="*/ 2769 w 3169"/>
                  <a:gd name="T119" fmla="*/ 2631 h 3163"/>
                  <a:gd name="T120" fmla="*/ 186 w 3169"/>
                  <a:gd name="T121" fmla="*/ 2325 h 3163"/>
                  <a:gd name="T122" fmla="*/ 1386 w 3169"/>
                  <a:gd name="T123" fmla="*/ 12 h 3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9" h="3163">
                    <a:moveTo>
                      <a:pt x="1474" y="388"/>
                    </a:moveTo>
                    <a:lnTo>
                      <a:pt x="1478" y="389"/>
                    </a:lnTo>
                    <a:lnTo>
                      <a:pt x="1483" y="390"/>
                    </a:lnTo>
                    <a:lnTo>
                      <a:pt x="1487" y="392"/>
                    </a:lnTo>
                    <a:lnTo>
                      <a:pt x="1489" y="394"/>
                    </a:lnTo>
                    <a:lnTo>
                      <a:pt x="1492" y="394"/>
                    </a:lnTo>
                    <a:lnTo>
                      <a:pt x="1495" y="395"/>
                    </a:lnTo>
                    <a:lnTo>
                      <a:pt x="1498" y="395"/>
                    </a:lnTo>
                    <a:lnTo>
                      <a:pt x="1502" y="395"/>
                    </a:lnTo>
                    <a:lnTo>
                      <a:pt x="1505" y="396"/>
                    </a:lnTo>
                    <a:lnTo>
                      <a:pt x="1508" y="396"/>
                    </a:lnTo>
                    <a:lnTo>
                      <a:pt x="1510" y="397"/>
                    </a:lnTo>
                    <a:lnTo>
                      <a:pt x="1512" y="397"/>
                    </a:lnTo>
                    <a:lnTo>
                      <a:pt x="1515" y="398"/>
                    </a:lnTo>
                    <a:lnTo>
                      <a:pt x="1522" y="398"/>
                    </a:lnTo>
                    <a:lnTo>
                      <a:pt x="1527" y="400"/>
                    </a:lnTo>
                    <a:lnTo>
                      <a:pt x="1532" y="402"/>
                    </a:lnTo>
                    <a:lnTo>
                      <a:pt x="1534" y="402"/>
                    </a:lnTo>
                    <a:lnTo>
                      <a:pt x="1535" y="403"/>
                    </a:lnTo>
                    <a:lnTo>
                      <a:pt x="1535" y="405"/>
                    </a:lnTo>
                    <a:lnTo>
                      <a:pt x="1533" y="406"/>
                    </a:lnTo>
                    <a:lnTo>
                      <a:pt x="1532" y="407"/>
                    </a:lnTo>
                    <a:lnTo>
                      <a:pt x="1530" y="408"/>
                    </a:lnTo>
                    <a:lnTo>
                      <a:pt x="1528" y="409"/>
                    </a:lnTo>
                    <a:lnTo>
                      <a:pt x="1526" y="410"/>
                    </a:lnTo>
                    <a:lnTo>
                      <a:pt x="1525" y="411"/>
                    </a:lnTo>
                    <a:lnTo>
                      <a:pt x="1524" y="411"/>
                    </a:lnTo>
                    <a:lnTo>
                      <a:pt x="1523" y="412"/>
                    </a:lnTo>
                    <a:lnTo>
                      <a:pt x="1522" y="413"/>
                    </a:lnTo>
                    <a:lnTo>
                      <a:pt x="1519" y="414"/>
                    </a:lnTo>
                    <a:lnTo>
                      <a:pt x="1518" y="414"/>
                    </a:lnTo>
                    <a:lnTo>
                      <a:pt x="1517" y="414"/>
                    </a:lnTo>
                    <a:lnTo>
                      <a:pt x="1516" y="414"/>
                    </a:lnTo>
                    <a:lnTo>
                      <a:pt x="1516" y="415"/>
                    </a:lnTo>
                    <a:lnTo>
                      <a:pt x="1517" y="416"/>
                    </a:lnTo>
                    <a:lnTo>
                      <a:pt x="1519" y="416"/>
                    </a:lnTo>
                    <a:lnTo>
                      <a:pt x="1521" y="416"/>
                    </a:lnTo>
                    <a:lnTo>
                      <a:pt x="1523" y="416"/>
                    </a:lnTo>
                    <a:lnTo>
                      <a:pt x="1524" y="416"/>
                    </a:lnTo>
                    <a:lnTo>
                      <a:pt x="1526" y="416"/>
                    </a:lnTo>
                    <a:lnTo>
                      <a:pt x="1527" y="416"/>
                    </a:lnTo>
                    <a:lnTo>
                      <a:pt x="1527" y="416"/>
                    </a:lnTo>
                    <a:lnTo>
                      <a:pt x="1527" y="416"/>
                    </a:lnTo>
                    <a:lnTo>
                      <a:pt x="1528" y="416"/>
                    </a:lnTo>
                    <a:lnTo>
                      <a:pt x="1529" y="414"/>
                    </a:lnTo>
                    <a:lnTo>
                      <a:pt x="1532" y="413"/>
                    </a:lnTo>
                    <a:lnTo>
                      <a:pt x="1534" y="413"/>
                    </a:lnTo>
                    <a:lnTo>
                      <a:pt x="1536" y="412"/>
                    </a:lnTo>
                    <a:lnTo>
                      <a:pt x="1538" y="411"/>
                    </a:lnTo>
                    <a:lnTo>
                      <a:pt x="1540" y="410"/>
                    </a:lnTo>
                    <a:lnTo>
                      <a:pt x="1541" y="408"/>
                    </a:lnTo>
                    <a:lnTo>
                      <a:pt x="1543" y="407"/>
                    </a:lnTo>
                    <a:lnTo>
                      <a:pt x="1546" y="407"/>
                    </a:lnTo>
                    <a:lnTo>
                      <a:pt x="1549" y="408"/>
                    </a:lnTo>
                    <a:lnTo>
                      <a:pt x="1552" y="410"/>
                    </a:lnTo>
                    <a:lnTo>
                      <a:pt x="1554" y="411"/>
                    </a:lnTo>
                    <a:lnTo>
                      <a:pt x="1555" y="411"/>
                    </a:lnTo>
                    <a:lnTo>
                      <a:pt x="1555" y="411"/>
                    </a:lnTo>
                    <a:lnTo>
                      <a:pt x="1555" y="410"/>
                    </a:lnTo>
                    <a:lnTo>
                      <a:pt x="1555" y="409"/>
                    </a:lnTo>
                    <a:lnTo>
                      <a:pt x="1554" y="408"/>
                    </a:lnTo>
                    <a:lnTo>
                      <a:pt x="1554" y="407"/>
                    </a:lnTo>
                    <a:lnTo>
                      <a:pt x="1554" y="406"/>
                    </a:lnTo>
                    <a:lnTo>
                      <a:pt x="1554" y="404"/>
                    </a:lnTo>
                    <a:lnTo>
                      <a:pt x="1554" y="404"/>
                    </a:lnTo>
                    <a:lnTo>
                      <a:pt x="1556" y="403"/>
                    </a:lnTo>
                    <a:lnTo>
                      <a:pt x="1557" y="404"/>
                    </a:lnTo>
                    <a:lnTo>
                      <a:pt x="1559" y="404"/>
                    </a:lnTo>
                    <a:lnTo>
                      <a:pt x="1561" y="405"/>
                    </a:lnTo>
                    <a:lnTo>
                      <a:pt x="1563" y="406"/>
                    </a:lnTo>
                    <a:lnTo>
                      <a:pt x="1564" y="408"/>
                    </a:lnTo>
                    <a:lnTo>
                      <a:pt x="1564" y="408"/>
                    </a:lnTo>
                    <a:lnTo>
                      <a:pt x="1565" y="409"/>
                    </a:lnTo>
                    <a:lnTo>
                      <a:pt x="1565" y="410"/>
                    </a:lnTo>
                    <a:lnTo>
                      <a:pt x="1567" y="410"/>
                    </a:lnTo>
                    <a:lnTo>
                      <a:pt x="1568" y="410"/>
                    </a:lnTo>
                    <a:lnTo>
                      <a:pt x="1570" y="408"/>
                    </a:lnTo>
                    <a:lnTo>
                      <a:pt x="1573" y="408"/>
                    </a:lnTo>
                    <a:lnTo>
                      <a:pt x="1577" y="408"/>
                    </a:lnTo>
                    <a:lnTo>
                      <a:pt x="1579" y="408"/>
                    </a:lnTo>
                    <a:lnTo>
                      <a:pt x="1580" y="409"/>
                    </a:lnTo>
                    <a:lnTo>
                      <a:pt x="1579" y="410"/>
                    </a:lnTo>
                    <a:lnTo>
                      <a:pt x="1578" y="411"/>
                    </a:lnTo>
                    <a:lnTo>
                      <a:pt x="1578" y="412"/>
                    </a:lnTo>
                    <a:lnTo>
                      <a:pt x="1577" y="413"/>
                    </a:lnTo>
                    <a:lnTo>
                      <a:pt x="1577" y="414"/>
                    </a:lnTo>
                    <a:lnTo>
                      <a:pt x="1579" y="416"/>
                    </a:lnTo>
                    <a:lnTo>
                      <a:pt x="1581" y="418"/>
                    </a:lnTo>
                    <a:lnTo>
                      <a:pt x="1583" y="419"/>
                    </a:lnTo>
                    <a:lnTo>
                      <a:pt x="1585" y="421"/>
                    </a:lnTo>
                    <a:lnTo>
                      <a:pt x="1586" y="422"/>
                    </a:lnTo>
                    <a:lnTo>
                      <a:pt x="1587" y="425"/>
                    </a:lnTo>
                    <a:lnTo>
                      <a:pt x="1587" y="426"/>
                    </a:lnTo>
                    <a:lnTo>
                      <a:pt x="1587" y="427"/>
                    </a:lnTo>
                    <a:lnTo>
                      <a:pt x="1587" y="427"/>
                    </a:lnTo>
                    <a:lnTo>
                      <a:pt x="1589" y="429"/>
                    </a:lnTo>
                    <a:lnTo>
                      <a:pt x="1592" y="430"/>
                    </a:lnTo>
                    <a:lnTo>
                      <a:pt x="1596" y="431"/>
                    </a:lnTo>
                    <a:lnTo>
                      <a:pt x="1599" y="431"/>
                    </a:lnTo>
                    <a:lnTo>
                      <a:pt x="1601" y="431"/>
                    </a:lnTo>
                    <a:lnTo>
                      <a:pt x="1603" y="431"/>
                    </a:lnTo>
                    <a:lnTo>
                      <a:pt x="1605" y="432"/>
                    </a:lnTo>
                    <a:lnTo>
                      <a:pt x="1606" y="433"/>
                    </a:lnTo>
                    <a:lnTo>
                      <a:pt x="1608" y="435"/>
                    </a:lnTo>
                    <a:lnTo>
                      <a:pt x="1611" y="436"/>
                    </a:lnTo>
                    <a:lnTo>
                      <a:pt x="1613" y="437"/>
                    </a:lnTo>
                    <a:lnTo>
                      <a:pt x="1615" y="438"/>
                    </a:lnTo>
                    <a:lnTo>
                      <a:pt x="1616" y="441"/>
                    </a:lnTo>
                    <a:lnTo>
                      <a:pt x="1617" y="441"/>
                    </a:lnTo>
                    <a:lnTo>
                      <a:pt x="1617" y="442"/>
                    </a:lnTo>
                    <a:lnTo>
                      <a:pt x="1618" y="443"/>
                    </a:lnTo>
                    <a:lnTo>
                      <a:pt x="1619" y="444"/>
                    </a:lnTo>
                    <a:lnTo>
                      <a:pt x="1620" y="445"/>
                    </a:lnTo>
                    <a:lnTo>
                      <a:pt x="1620" y="446"/>
                    </a:lnTo>
                    <a:lnTo>
                      <a:pt x="1618" y="447"/>
                    </a:lnTo>
                    <a:lnTo>
                      <a:pt x="1616" y="448"/>
                    </a:lnTo>
                    <a:lnTo>
                      <a:pt x="1615" y="448"/>
                    </a:lnTo>
                    <a:lnTo>
                      <a:pt x="1614" y="449"/>
                    </a:lnTo>
                    <a:lnTo>
                      <a:pt x="1612" y="450"/>
                    </a:lnTo>
                    <a:lnTo>
                      <a:pt x="1610" y="451"/>
                    </a:lnTo>
                    <a:lnTo>
                      <a:pt x="1608" y="453"/>
                    </a:lnTo>
                    <a:lnTo>
                      <a:pt x="1607" y="454"/>
                    </a:lnTo>
                    <a:lnTo>
                      <a:pt x="1605" y="455"/>
                    </a:lnTo>
                    <a:lnTo>
                      <a:pt x="1604" y="455"/>
                    </a:lnTo>
                    <a:lnTo>
                      <a:pt x="1602" y="455"/>
                    </a:lnTo>
                    <a:lnTo>
                      <a:pt x="1601" y="456"/>
                    </a:lnTo>
                    <a:lnTo>
                      <a:pt x="1599" y="457"/>
                    </a:lnTo>
                    <a:lnTo>
                      <a:pt x="1596" y="459"/>
                    </a:lnTo>
                    <a:lnTo>
                      <a:pt x="1592" y="461"/>
                    </a:lnTo>
                    <a:lnTo>
                      <a:pt x="1589" y="463"/>
                    </a:lnTo>
                    <a:lnTo>
                      <a:pt x="1587" y="463"/>
                    </a:lnTo>
                    <a:lnTo>
                      <a:pt x="1585" y="464"/>
                    </a:lnTo>
                    <a:lnTo>
                      <a:pt x="1584" y="464"/>
                    </a:lnTo>
                    <a:lnTo>
                      <a:pt x="1583" y="466"/>
                    </a:lnTo>
                    <a:lnTo>
                      <a:pt x="1581" y="467"/>
                    </a:lnTo>
                    <a:lnTo>
                      <a:pt x="1578" y="467"/>
                    </a:lnTo>
                    <a:lnTo>
                      <a:pt x="1575" y="466"/>
                    </a:lnTo>
                    <a:lnTo>
                      <a:pt x="1573" y="466"/>
                    </a:lnTo>
                    <a:lnTo>
                      <a:pt x="1569" y="466"/>
                    </a:lnTo>
                    <a:lnTo>
                      <a:pt x="1568" y="467"/>
                    </a:lnTo>
                    <a:lnTo>
                      <a:pt x="1568" y="471"/>
                    </a:lnTo>
                    <a:lnTo>
                      <a:pt x="1566" y="471"/>
                    </a:lnTo>
                    <a:lnTo>
                      <a:pt x="1564" y="472"/>
                    </a:lnTo>
                    <a:lnTo>
                      <a:pt x="1561" y="471"/>
                    </a:lnTo>
                    <a:lnTo>
                      <a:pt x="1558" y="471"/>
                    </a:lnTo>
                    <a:lnTo>
                      <a:pt x="1556" y="471"/>
                    </a:lnTo>
                    <a:lnTo>
                      <a:pt x="1538" y="471"/>
                    </a:lnTo>
                    <a:lnTo>
                      <a:pt x="1537" y="471"/>
                    </a:lnTo>
                    <a:lnTo>
                      <a:pt x="1536" y="471"/>
                    </a:lnTo>
                    <a:lnTo>
                      <a:pt x="1533" y="471"/>
                    </a:lnTo>
                    <a:lnTo>
                      <a:pt x="1531" y="471"/>
                    </a:lnTo>
                    <a:lnTo>
                      <a:pt x="1528" y="471"/>
                    </a:lnTo>
                    <a:lnTo>
                      <a:pt x="1527" y="472"/>
                    </a:lnTo>
                    <a:lnTo>
                      <a:pt x="1526" y="474"/>
                    </a:lnTo>
                    <a:lnTo>
                      <a:pt x="1528" y="474"/>
                    </a:lnTo>
                    <a:lnTo>
                      <a:pt x="1530" y="475"/>
                    </a:lnTo>
                    <a:lnTo>
                      <a:pt x="1532" y="475"/>
                    </a:lnTo>
                    <a:lnTo>
                      <a:pt x="1534" y="476"/>
                    </a:lnTo>
                    <a:lnTo>
                      <a:pt x="1536" y="476"/>
                    </a:lnTo>
                    <a:lnTo>
                      <a:pt x="1538" y="476"/>
                    </a:lnTo>
                    <a:lnTo>
                      <a:pt x="1540" y="476"/>
                    </a:lnTo>
                    <a:lnTo>
                      <a:pt x="1541" y="477"/>
                    </a:lnTo>
                    <a:lnTo>
                      <a:pt x="1542" y="478"/>
                    </a:lnTo>
                    <a:lnTo>
                      <a:pt x="1542" y="479"/>
                    </a:lnTo>
                    <a:lnTo>
                      <a:pt x="1541" y="480"/>
                    </a:lnTo>
                    <a:lnTo>
                      <a:pt x="1540" y="481"/>
                    </a:lnTo>
                    <a:lnTo>
                      <a:pt x="1540" y="482"/>
                    </a:lnTo>
                    <a:lnTo>
                      <a:pt x="1540" y="486"/>
                    </a:lnTo>
                    <a:lnTo>
                      <a:pt x="1552" y="484"/>
                    </a:lnTo>
                    <a:lnTo>
                      <a:pt x="1562" y="482"/>
                    </a:lnTo>
                    <a:lnTo>
                      <a:pt x="1564" y="480"/>
                    </a:lnTo>
                    <a:lnTo>
                      <a:pt x="1567" y="479"/>
                    </a:lnTo>
                    <a:lnTo>
                      <a:pt x="1569" y="477"/>
                    </a:lnTo>
                    <a:lnTo>
                      <a:pt x="1573" y="476"/>
                    </a:lnTo>
                    <a:lnTo>
                      <a:pt x="1577" y="476"/>
                    </a:lnTo>
                    <a:lnTo>
                      <a:pt x="1580" y="477"/>
                    </a:lnTo>
                    <a:lnTo>
                      <a:pt x="1582" y="478"/>
                    </a:lnTo>
                    <a:lnTo>
                      <a:pt x="1583" y="478"/>
                    </a:lnTo>
                    <a:lnTo>
                      <a:pt x="1583" y="480"/>
                    </a:lnTo>
                    <a:lnTo>
                      <a:pt x="1583" y="482"/>
                    </a:lnTo>
                    <a:lnTo>
                      <a:pt x="1579" y="485"/>
                    </a:lnTo>
                    <a:lnTo>
                      <a:pt x="1574" y="488"/>
                    </a:lnTo>
                    <a:lnTo>
                      <a:pt x="1568" y="490"/>
                    </a:lnTo>
                    <a:lnTo>
                      <a:pt x="1557" y="498"/>
                    </a:lnTo>
                    <a:lnTo>
                      <a:pt x="1548" y="506"/>
                    </a:lnTo>
                    <a:lnTo>
                      <a:pt x="1540" y="509"/>
                    </a:lnTo>
                    <a:lnTo>
                      <a:pt x="1532" y="512"/>
                    </a:lnTo>
                    <a:lnTo>
                      <a:pt x="1526" y="516"/>
                    </a:lnTo>
                    <a:lnTo>
                      <a:pt x="1523" y="518"/>
                    </a:lnTo>
                    <a:lnTo>
                      <a:pt x="1521" y="520"/>
                    </a:lnTo>
                    <a:lnTo>
                      <a:pt x="1519" y="522"/>
                    </a:lnTo>
                    <a:lnTo>
                      <a:pt x="1517" y="524"/>
                    </a:lnTo>
                    <a:lnTo>
                      <a:pt x="1517" y="525"/>
                    </a:lnTo>
                    <a:lnTo>
                      <a:pt x="1517" y="526"/>
                    </a:lnTo>
                    <a:lnTo>
                      <a:pt x="1518" y="528"/>
                    </a:lnTo>
                    <a:lnTo>
                      <a:pt x="1517" y="530"/>
                    </a:lnTo>
                    <a:lnTo>
                      <a:pt x="1517" y="530"/>
                    </a:lnTo>
                    <a:lnTo>
                      <a:pt x="1515" y="531"/>
                    </a:lnTo>
                    <a:lnTo>
                      <a:pt x="1513" y="530"/>
                    </a:lnTo>
                    <a:lnTo>
                      <a:pt x="1511" y="528"/>
                    </a:lnTo>
                    <a:lnTo>
                      <a:pt x="1509" y="526"/>
                    </a:lnTo>
                    <a:lnTo>
                      <a:pt x="1507" y="526"/>
                    </a:lnTo>
                    <a:lnTo>
                      <a:pt x="1505" y="527"/>
                    </a:lnTo>
                    <a:lnTo>
                      <a:pt x="1504" y="528"/>
                    </a:lnTo>
                    <a:lnTo>
                      <a:pt x="1503" y="531"/>
                    </a:lnTo>
                    <a:lnTo>
                      <a:pt x="1504" y="532"/>
                    </a:lnTo>
                    <a:lnTo>
                      <a:pt x="1506" y="534"/>
                    </a:lnTo>
                    <a:lnTo>
                      <a:pt x="1508" y="535"/>
                    </a:lnTo>
                    <a:lnTo>
                      <a:pt x="1511" y="537"/>
                    </a:lnTo>
                    <a:lnTo>
                      <a:pt x="1512" y="538"/>
                    </a:lnTo>
                    <a:lnTo>
                      <a:pt x="1512" y="539"/>
                    </a:lnTo>
                    <a:lnTo>
                      <a:pt x="1512" y="540"/>
                    </a:lnTo>
                    <a:lnTo>
                      <a:pt x="1511" y="541"/>
                    </a:lnTo>
                    <a:lnTo>
                      <a:pt x="1509" y="541"/>
                    </a:lnTo>
                    <a:lnTo>
                      <a:pt x="1508" y="542"/>
                    </a:lnTo>
                    <a:lnTo>
                      <a:pt x="1507" y="543"/>
                    </a:lnTo>
                    <a:lnTo>
                      <a:pt x="1506" y="544"/>
                    </a:lnTo>
                    <a:lnTo>
                      <a:pt x="1506" y="546"/>
                    </a:lnTo>
                    <a:lnTo>
                      <a:pt x="1506" y="547"/>
                    </a:lnTo>
                    <a:lnTo>
                      <a:pt x="1505" y="549"/>
                    </a:lnTo>
                    <a:lnTo>
                      <a:pt x="1503" y="549"/>
                    </a:lnTo>
                    <a:lnTo>
                      <a:pt x="1500" y="550"/>
                    </a:lnTo>
                    <a:lnTo>
                      <a:pt x="1499" y="551"/>
                    </a:lnTo>
                    <a:lnTo>
                      <a:pt x="1497" y="551"/>
                    </a:lnTo>
                    <a:lnTo>
                      <a:pt x="1495" y="552"/>
                    </a:lnTo>
                    <a:lnTo>
                      <a:pt x="1494" y="553"/>
                    </a:lnTo>
                    <a:lnTo>
                      <a:pt x="1493" y="554"/>
                    </a:lnTo>
                    <a:lnTo>
                      <a:pt x="1493" y="555"/>
                    </a:lnTo>
                    <a:lnTo>
                      <a:pt x="1493" y="557"/>
                    </a:lnTo>
                    <a:lnTo>
                      <a:pt x="1493" y="557"/>
                    </a:lnTo>
                    <a:lnTo>
                      <a:pt x="1492" y="558"/>
                    </a:lnTo>
                    <a:lnTo>
                      <a:pt x="1492" y="559"/>
                    </a:lnTo>
                    <a:lnTo>
                      <a:pt x="1492" y="560"/>
                    </a:lnTo>
                    <a:lnTo>
                      <a:pt x="1491" y="562"/>
                    </a:lnTo>
                    <a:lnTo>
                      <a:pt x="1491" y="563"/>
                    </a:lnTo>
                    <a:lnTo>
                      <a:pt x="1489" y="563"/>
                    </a:lnTo>
                    <a:lnTo>
                      <a:pt x="1486" y="563"/>
                    </a:lnTo>
                    <a:lnTo>
                      <a:pt x="1483" y="562"/>
                    </a:lnTo>
                    <a:lnTo>
                      <a:pt x="1480" y="562"/>
                    </a:lnTo>
                    <a:lnTo>
                      <a:pt x="1477" y="563"/>
                    </a:lnTo>
                    <a:lnTo>
                      <a:pt x="1475" y="564"/>
                    </a:lnTo>
                    <a:lnTo>
                      <a:pt x="1473" y="565"/>
                    </a:lnTo>
                    <a:lnTo>
                      <a:pt x="1469" y="565"/>
                    </a:lnTo>
                    <a:lnTo>
                      <a:pt x="1463" y="566"/>
                    </a:lnTo>
                    <a:lnTo>
                      <a:pt x="1459" y="570"/>
                    </a:lnTo>
                    <a:lnTo>
                      <a:pt x="1455" y="572"/>
                    </a:lnTo>
                    <a:lnTo>
                      <a:pt x="1449" y="573"/>
                    </a:lnTo>
                    <a:lnTo>
                      <a:pt x="1445" y="572"/>
                    </a:lnTo>
                    <a:lnTo>
                      <a:pt x="1443" y="572"/>
                    </a:lnTo>
                    <a:lnTo>
                      <a:pt x="1442" y="572"/>
                    </a:lnTo>
                    <a:lnTo>
                      <a:pt x="1441" y="573"/>
                    </a:lnTo>
                    <a:lnTo>
                      <a:pt x="1440" y="573"/>
                    </a:lnTo>
                    <a:lnTo>
                      <a:pt x="1439" y="574"/>
                    </a:lnTo>
                    <a:lnTo>
                      <a:pt x="1438" y="575"/>
                    </a:lnTo>
                    <a:lnTo>
                      <a:pt x="1437" y="576"/>
                    </a:lnTo>
                    <a:lnTo>
                      <a:pt x="1435" y="577"/>
                    </a:lnTo>
                    <a:lnTo>
                      <a:pt x="1433" y="577"/>
                    </a:lnTo>
                    <a:lnTo>
                      <a:pt x="1429" y="577"/>
                    </a:lnTo>
                    <a:lnTo>
                      <a:pt x="1426" y="576"/>
                    </a:lnTo>
                    <a:lnTo>
                      <a:pt x="1424" y="576"/>
                    </a:lnTo>
                    <a:lnTo>
                      <a:pt x="1421" y="577"/>
                    </a:lnTo>
                    <a:lnTo>
                      <a:pt x="1419" y="579"/>
                    </a:lnTo>
                    <a:lnTo>
                      <a:pt x="1418" y="579"/>
                    </a:lnTo>
                    <a:lnTo>
                      <a:pt x="1418" y="580"/>
                    </a:lnTo>
                    <a:lnTo>
                      <a:pt x="1419" y="581"/>
                    </a:lnTo>
                    <a:lnTo>
                      <a:pt x="1421" y="582"/>
                    </a:lnTo>
                    <a:lnTo>
                      <a:pt x="1423" y="583"/>
                    </a:lnTo>
                    <a:lnTo>
                      <a:pt x="1430" y="582"/>
                    </a:lnTo>
                    <a:lnTo>
                      <a:pt x="1438" y="581"/>
                    </a:lnTo>
                    <a:lnTo>
                      <a:pt x="1447" y="581"/>
                    </a:lnTo>
                    <a:lnTo>
                      <a:pt x="1450" y="581"/>
                    </a:lnTo>
                    <a:lnTo>
                      <a:pt x="1452" y="582"/>
                    </a:lnTo>
                    <a:lnTo>
                      <a:pt x="1454" y="584"/>
                    </a:lnTo>
                    <a:lnTo>
                      <a:pt x="1454" y="587"/>
                    </a:lnTo>
                    <a:lnTo>
                      <a:pt x="1454" y="589"/>
                    </a:lnTo>
                    <a:lnTo>
                      <a:pt x="1452" y="590"/>
                    </a:lnTo>
                    <a:lnTo>
                      <a:pt x="1450" y="591"/>
                    </a:lnTo>
                    <a:lnTo>
                      <a:pt x="1447" y="592"/>
                    </a:lnTo>
                    <a:lnTo>
                      <a:pt x="1443" y="591"/>
                    </a:lnTo>
                    <a:lnTo>
                      <a:pt x="1439" y="590"/>
                    </a:lnTo>
                    <a:lnTo>
                      <a:pt x="1435" y="588"/>
                    </a:lnTo>
                    <a:lnTo>
                      <a:pt x="1433" y="588"/>
                    </a:lnTo>
                    <a:lnTo>
                      <a:pt x="1432" y="589"/>
                    </a:lnTo>
                    <a:lnTo>
                      <a:pt x="1432" y="590"/>
                    </a:lnTo>
                    <a:lnTo>
                      <a:pt x="1432" y="591"/>
                    </a:lnTo>
                    <a:lnTo>
                      <a:pt x="1433" y="592"/>
                    </a:lnTo>
                    <a:lnTo>
                      <a:pt x="1435" y="593"/>
                    </a:lnTo>
                    <a:lnTo>
                      <a:pt x="1437" y="594"/>
                    </a:lnTo>
                    <a:lnTo>
                      <a:pt x="1439" y="594"/>
                    </a:lnTo>
                    <a:lnTo>
                      <a:pt x="1440" y="595"/>
                    </a:lnTo>
                    <a:lnTo>
                      <a:pt x="1441" y="596"/>
                    </a:lnTo>
                    <a:lnTo>
                      <a:pt x="1443" y="597"/>
                    </a:lnTo>
                    <a:lnTo>
                      <a:pt x="1445" y="598"/>
                    </a:lnTo>
                    <a:lnTo>
                      <a:pt x="1448" y="600"/>
                    </a:lnTo>
                    <a:lnTo>
                      <a:pt x="1450" y="602"/>
                    </a:lnTo>
                    <a:lnTo>
                      <a:pt x="1451" y="604"/>
                    </a:lnTo>
                    <a:lnTo>
                      <a:pt x="1450" y="606"/>
                    </a:lnTo>
                    <a:lnTo>
                      <a:pt x="1450" y="608"/>
                    </a:lnTo>
                    <a:lnTo>
                      <a:pt x="1450" y="610"/>
                    </a:lnTo>
                    <a:lnTo>
                      <a:pt x="1450" y="612"/>
                    </a:lnTo>
                    <a:lnTo>
                      <a:pt x="1449" y="615"/>
                    </a:lnTo>
                    <a:lnTo>
                      <a:pt x="1447" y="616"/>
                    </a:lnTo>
                    <a:lnTo>
                      <a:pt x="1445" y="617"/>
                    </a:lnTo>
                    <a:lnTo>
                      <a:pt x="1443" y="618"/>
                    </a:lnTo>
                    <a:lnTo>
                      <a:pt x="1443" y="619"/>
                    </a:lnTo>
                    <a:lnTo>
                      <a:pt x="1443" y="619"/>
                    </a:lnTo>
                    <a:lnTo>
                      <a:pt x="1445" y="620"/>
                    </a:lnTo>
                    <a:lnTo>
                      <a:pt x="1447" y="621"/>
                    </a:lnTo>
                    <a:lnTo>
                      <a:pt x="1449" y="622"/>
                    </a:lnTo>
                    <a:lnTo>
                      <a:pt x="1451" y="622"/>
                    </a:lnTo>
                    <a:lnTo>
                      <a:pt x="1452" y="624"/>
                    </a:lnTo>
                    <a:lnTo>
                      <a:pt x="1452" y="625"/>
                    </a:lnTo>
                    <a:lnTo>
                      <a:pt x="1451" y="626"/>
                    </a:lnTo>
                    <a:lnTo>
                      <a:pt x="1449" y="627"/>
                    </a:lnTo>
                    <a:lnTo>
                      <a:pt x="1447" y="628"/>
                    </a:lnTo>
                    <a:lnTo>
                      <a:pt x="1445" y="630"/>
                    </a:lnTo>
                    <a:lnTo>
                      <a:pt x="1445" y="631"/>
                    </a:lnTo>
                    <a:lnTo>
                      <a:pt x="1445" y="632"/>
                    </a:lnTo>
                    <a:lnTo>
                      <a:pt x="1445" y="634"/>
                    </a:lnTo>
                    <a:lnTo>
                      <a:pt x="1444" y="635"/>
                    </a:lnTo>
                    <a:lnTo>
                      <a:pt x="1443" y="636"/>
                    </a:lnTo>
                    <a:lnTo>
                      <a:pt x="1438" y="638"/>
                    </a:lnTo>
                    <a:lnTo>
                      <a:pt x="1433" y="640"/>
                    </a:lnTo>
                    <a:lnTo>
                      <a:pt x="1427" y="643"/>
                    </a:lnTo>
                    <a:lnTo>
                      <a:pt x="1423" y="643"/>
                    </a:lnTo>
                    <a:lnTo>
                      <a:pt x="1420" y="642"/>
                    </a:lnTo>
                    <a:lnTo>
                      <a:pt x="1415" y="639"/>
                    </a:lnTo>
                    <a:lnTo>
                      <a:pt x="1412" y="638"/>
                    </a:lnTo>
                    <a:lnTo>
                      <a:pt x="1408" y="638"/>
                    </a:lnTo>
                    <a:lnTo>
                      <a:pt x="1404" y="639"/>
                    </a:lnTo>
                    <a:lnTo>
                      <a:pt x="1400" y="640"/>
                    </a:lnTo>
                    <a:lnTo>
                      <a:pt x="1399" y="643"/>
                    </a:lnTo>
                    <a:lnTo>
                      <a:pt x="1399" y="645"/>
                    </a:lnTo>
                    <a:lnTo>
                      <a:pt x="1400" y="647"/>
                    </a:lnTo>
                    <a:lnTo>
                      <a:pt x="1402" y="649"/>
                    </a:lnTo>
                    <a:lnTo>
                      <a:pt x="1404" y="651"/>
                    </a:lnTo>
                    <a:lnTo>
                      <a:pt x="1407" y="656"/>
                    </a:lnTo>
                    <a:lnTo>
                      <a:pt x="1407" y="661"/>
                    </a:lnTo>
                    <a:lnTo>
                      <a:pt x="1404" y="667"/>
                    </a:lnTo>
                    <a:lnTo>
                      <a:pt x="1400" y="671"/>
                    </a:lnTo>
                    <a:lnTo>
                      <a:pt x="1394" y="673"/>
                    </a:lnTo>
                    <a:lnTo>
                      <a:pt x="1386" y="673"/>
                    </a:lnTo>
                    <a:lnTo>
                      <a:pt x="1378" y="673"/>
                    </a:lnTo>
                    <a:lnTo>
                      <a:pt x="1371" y="673"/>
                    </a:lnTo>
                    <a:lnTo>
                      <a:pt x="1364" y="672"/>
                    </a:lnTo>
                    <a:lnTo>
                      <a:pt x="1357" y="671"/>
                    </a:lnTo>
                    <a:lnTo>
                      <a:pt x="1355" y="671"/>
                    </a:lnTo>
                    <a:lnTo>
                      <a:pt x="1353" y="672"/>
                    </a:lnTo>
                    <a:lnTo>
                      <a:pt x="1352" y="674"/>
                    </a:lnTo>
                    <a:lnTo>
                      <a:pt x="1351" y="675"/>
                    </a:lnTo>
                    <a:lnTo>
                      <a:pt x="1352" y="677"/>
                    </a:lnTo>
                    <a:lnTo>
                      <a:pt x="1353" y="677"/>
                    </a:lnTo>
                    <a:lnTo>
                      <a:pt x="1354" y="677"/>
                    </a:lnTo>
                    <a:lnTo>
                      <a:pt x="1356" y="677"/>
                    </a:lnTo>
                    <a:lnTo>
                      <a:pt x="1358" y="676"/>
                    </a:lnTo>
                    <a:lnTo>
                      <a:pt x="1359" y="675"/>
                    </a:lnTo>
                    <a:lnTo>
                      <a:pt x="1371" y="674"/>
                    </a:lnTo>
                    <a:lnTo>
                      <a:pt x="1382" y="676"/>
                    </a:lnTo>
                    <a:lnTo>
                      <a:pt x="1390" y="679"/>
                    </a:lnTo>
                    <a:lnTo>
                      <a:pt x="1393" y="683"/>
                    </a:lnTo>
                    <a:lnTo>
                      <a:pt x="1393" y="691"/>
                    </a:lnTo>
                    <a:lnTo>
                      <a:pt x="1396" y="695"/>
                    </a:lnTo>
                    <a:lnTo>
                      <a:pt x="1397" y="695"/>
                    </a:lnTo>
                    <a:lnTo>
                      <a:pt x="1398" y="695"/>
                    </a:lnTo>
                    <a:lnTo>
                      <a:pt x="1399" y="693"/>
                    </a:lnTo>
                    <a:lnTo>
                      <a:pt x="1400" y="692"/>
                    </a:lnTo>
                    <a:lnTo>
                      <a:pt x="1400" y="690"/>
                    </a:lnTo>
                    <a:lnTo>
                      <a:pt x="1400" y="688"/>
                    </a:lnTo>
                    <a:lnTo>
                      <a:pt x="1400" y="687"/>
                    </a:lnTo>
                    <a:lnTo>
                      <a:pt x="1402" y="686"/>
                    </a:lnTo>
                    <a:lnTo>
                      <a:pt x="1404" y="685"/>
                    </a:lnTo>
                    <a:lnTo>
                      <a:pt x="1407" y="685"/>
                    </a:lnTo>
                    <a:lnTo>
                      <a:pt x="1410" y="685"/>
                    </a:lnTo>
                    <a:lnTo>
                      <a:pt x="1415" y="689"/>
                    </a:lnTo>
                    <a:lnTo>
                      <a:pt x="1418" y="694"/>
                    </a:lnTo>
                    <a:lnTo>
                      <a:pt x="1418" y="700"/>
                    </a:lnTo>
                    <a:lnTo>
                      <a:pt x="1414" y="704"/>
                    </a:lnTo>
                    <a:lnTo>
                      <a:pt x="1408" y="707"/>
                    </a:lnTo>
                    <a:lnTo>
                      <a:pt x="1400" y="709"/>
                    </a:lnTo>
                    <a:lnTo>
                      <a:pt x="1392" y="712"/>
                    </a:lnTo>
                    <a:lnTo>
                      <a:pt x="1386" y="716"/>
                    </a:lnTo>
                    <a:lnTo>
                      <a:pt x="1383" y="719"/>
                    </a:lnTo>
                    <a:lnTo>
                      <a:pt x="1377" y="723"/>
                    </a:lnTo>
                    <a:lnTo>
                      <a:pt x="1371" y="726"/>
                    </a:lnTo>
                    <a:lnTo>
                      <a:pt x="1366" y="726"/>
                    </a:lnTo>
                    <a:lnTo>
                      <a:pt x="1364" y="725"/>
                    </a:lnTo>
                    <a:lnTo>
                      <a:pt x="1363" y="724"/>
                    </a:lnTo>
                    <a:lnTo>
                      <a:pt x="1364" y="722"/>
                    </a:lnTo>
                    <a:lnTo>
                      <a:pt x="1364" y="721"/>
                    </a:lnTo>
                    <a:lnTo>
                      <a:pt x="1366" y="719"/>
                    </a:lnTo>
                    <a:lnTo>
                      <a:pt x="1367" y="718"/>
                    </a:lnTo>
                    <a:lnTo>
                      <a:pt x="1367" y="716"/>
                    </a:lnTo>
                    <a:lnTo>
                      <a:pt x="1366" y="715"/>
                    </a:lnTo>
                    <a:lnTo>
                      <a:pt x="1363" y="714"/>
                    </a:lnTo>
                    <a:lnTo>
                      <a:pt x="1359" y="714"/>
                    </a:lnTo>
                    <a:lnTo>
                      <a:pt x="1355" y="713"/>
                    </a:lnTo>
                    <a:lnTo>
                      <a:pt x="1352" y="712"/>
                    </a:lnTo>
                    <a:lnTo>
                      <a:pt x="1349" y="710"/>
                    </a:lnTo>
                    <a:lnTo>
                      <a:pt x="1348" y="709"/>
                    </a:lnTo>
                    <a:lnTo>
                      <a:pt x="1347" y="708"/>
                    </a:lnTo>
                    <a:lnTo>
                      <a:pt x="1345" y="708"/>
                    </a:lnTo>
                    <a:lnTo>
                      <a:pt x="1343" y="708"/>
                    </a:lnTo>
                    <a:lnTo>
                      <a:pt x="1341" y="710"/>
                    </a:lnTo>
                    <a:lnTo>
                      <a:pt x="1340" y="711"/>
                    </a:lnTo>
                    <a:lnTo>
                      <a:pt x="1338" y="711"/>
                    </a:lnTo>
                    <a:lnTo>
                      <a:pt x="1336" y="711"/>
                    </a:lnTo>
                    <a:lnTo>
                      <a:pt x="1334" y="710"/>
                    </a:lnTo>
                    <a:lnTo>
                      <a:pt x="1331" y="709"/>
                    </a:lnTo>
                    <a:lnTo>
                      <a:pt x="1329" y="709"/>
                    </a:lnTo>
                    <a:lnTo>
                      <a:pt x="1328" y="709"/>
                    </a:lnTo>
                    <a:lnTo>
                      <a:pt x="1326" y="710"/>
                    </a:lnTo>
                    <a:lnTo>
                      <a:pt x="1325" y="712"/>
                    </a:lnTo>
                    <a:lnTo>
                      <a:pt x="1325" y="714"/>
                    </a:lnTo>
                    <a:lnTo>
                      <a:pt x="1324" y="715"/>
                    </a:lnTo>
                    <a:lnTo>
                      <a:pt x="1322" y="716"/>
                    </a:lnTo>
                    <a:lnTo>
                      <a:pt x="1321" y="716"/>
                    </a:lnTo>
                    <a:lnTo>
                      <a:pt x="1319" y="715"/>
                    </a:lnTo>
                    <a:lnTo>
                      <a:pt x="1317" y="713"/>
                    </a:lnTo>
                    <a:lnTo>
                      <a:pt x="1316" y="712"/>
                    </a:lnTo>
                    <a:lnTo>
                      <a:pt x="1315" y="710"/>
                    </a:lnTo>
                    <a:lnTo>
                      <a:pt x="1315" y="708"/>
                    </a:lnTo>
                    <a:lnTo>
                      <a:pt x="1313" y="707"/>
                    </a:lnTo>
                    <a:lnTo>
                      <a:pt x="1312" y="706"/>
                    </a:lnTo>
                    <a:lnTo>
                      <a:pt x="1310" y="706"/>
                    </a:lnTo>
                    <a:lnTo>
                      <a:pt x="1309" y="707"/>
                    </a:lnTo>
                    <a:lnTo>
                      <a:pt x="1308" y="708"/>
                    </a:lnTo>
                    <a:lnTo>
                      <a:pt x="1306" y="708"/>
                    </a:lnTo>
                    <a:lnTo>
                      <a:pt x="1305" y="711"/>
                    </a:lnTo>
                    <a:lnTo>
                      <a:pt x="1304" y="713"/>
                    </a:lnTo>
                    <a:lnTo>
                      <a:pt x="1304" y="715"/>
                    </a:lnTo>
                    <a:lnTo>
                      <a:pt x="1302" y="718"/>
                    </a:lnTo>
                    <a:lnTo>
                      <a:pt x="1300" y="721"/>
                    </a:lnTo>
                    <a:lnTo>
                      <a:pt x="1295" y="722"/>
                    </a:lnTo>
                    <a:lnTo>
                      <a:pt x="1290" y="721"/>
                    </a:lnTo>
                    <a:lnTo>
                      <a:pt x="1285" y="720"/>
                    </a:lnTo>
                    <a:lnTo>
                      <a:pt x="1273" y="714"/>
                    </a:lnTo>
                    <a:lnTo>
                      <a:pt x="1269" y="714"/>
                    </a:lnTo>
                    <a:lnTo>
                      <a:pt x="1267" y="715"/>
                    </a:lnTo>
                    <a:lnTo>
                      <a:pt x="1265" y="717"/>
                    </a:lnTo>
                    <a:lnTo>
                      <a:pt x="1261" y="718"/>
                    </a:lnTo>
                    <a:lnTo>
                      <a:pt x="1258" y="718"/>
                    </a:lnTo>
                    <a:lnTo>
                      <a:pt x="1253" y="718"/>
                    </a:lnTo>
                    <a:lnTo>
                      <a:pt x="1249" y="716"/>
                    </a:lnTo>
                    <a:lnTo>
                      <a:pt x="1246" y="715"/>
                    </a:lnTo>
                    <a:lnTo>
                      <a:pt x="1243" y="714"/>
                    </a:lnTo>
                    <a:lnTo>
                      <a:pt x="1238" y="716"/>
                    </a:lnTo>
                    <a:lnTo>
                      <a:pt x="1236" y="717"/>
                    </a:lnTo>
                    <a:lnTo>
                      <a:pt x="1234" y="719"/>
                    </a:lnTo>
                    <a:lnTo>
                      <a:pt x="1233" y="722"/>
                    </a:lnTo>
                    <a:lnTo>
                      <a:pt x="1231" y="724"/>
                    </a:lnTo>
                    <a:lnTo>
                      <a:pt x="1230" y="727"/>
                    </a:lnTo>
                    <a:lnTo>
                      <a:pt x="1228" y="729"/>
                    </a:lnTo>
                    <a:lnTo>
                      <a:pt x="1226" y="730"/>
                    </a:lnTo>
                    <a:lnTo>
                      <a:pt x="1222" y="730"/>
                    </a:lnTo>
                    <a:lnTo>
                      <a:pt x="1218" y="729"/>
                    </a:lnTo>
                    <a:lnTo>
                      <a:pt x="1213" y="729"/>
                    </a:lnTo>
                    <a:lnTo>
                      <a:pt x="1207" y="732"/>
                    </a:lnTo>
                    <a:lnTo>
                      <a:pt x="1205" y="734"/>
                    </a:lnTo>
                    <a:lnTo>
                      <a:pt x="1204" y="736"/>
                    </a:lnTo>
                    <a:lnTo>
                      <a:pt x="1204" y="738"/>
                    </a:lnTo>
                    <a:lnTo>
                      <a:pt x="1205" y="739"/>
                    </a:lnTo>
                    <a:lnTo>
                      <a:pt x="1207" y="740"/>
                    </a:lnTo>
                    <a:lnTo>
                      <a:pt x="1210" y="741"/>
                    </a:lnTo>
                    <a:lnTo>
                      <a:pt x="1214" y="742"/>
                    </a:lnTo>
                    <a:lnTo>
                      <a:pt x="1216" y="743"/>
                    </a:lnTo>
                    <a:lnTo>
                      <a:pt x="1218" y="744"/>
                    </a:lnTo>
                    <a:lnTo>
                      <a:pt x="1221" y="745"/>
                    </a:lnTo>
                    <a:lnTo>
                      <a:pt x="1223" y="746"/>
                    </a:lnTo>
                    <a:lnTo>
                      <a:pt x="1226" y="747"/>
                    </a:lnTo>
                    <a:lnTo>
                      <a:pt x="1228" y="748"/>
                    </a:lnTo>
                    <a:lnTo>
                      <a:pt x="1229" y="749"/>
                    </a:lnTo>
                    <a:lnTo>
                      <a:pt x="1229" y="751"/>
                    </a:lnTo>
                    <a:lnTo>
                      <a:pt x="1228" y="752"/>
                    </a:lnTo>
                    <a:lnTo>
                      <a:pt x="1226" y="755"/>
                    </a:lnTo>
                    <a:lnTo>
                      <a:pt x="1226" y="756"/>
                    </a:lnTo>
                    <a:lnTo>
                      <a:pt x="1226" y="757"/>
                    </a:lnTo>
                    <a:lnTo>
                      <a:pt x="1227" y="757"/>
                    </a:lnTo>
                    <a:lnTo>
                      <a:pt x="1229" y="757"/>
                    </a:lnTo>
                    <a:lnTo>
                      <a:pt x="1232" y="757"/>
                    </a:lnTo>
                    <a:lnTo>
                      <a:pt x="1235" y="757"/>
                    </a:lnTo>
                    <a:lnTo>
                      <a:pt x="1237" y="758"/>
                    </a:lnTo>
                    <a:lnTo>
                      <a:pt x="1239" y="759"/>
                    </a:lnTo>
                    <a:lnTo>
                      <a:pt x="1242" y="759"/>
                    </a:lnTo>
                    <a:lnTo>
                      <a:pt x="1245" y="758"/>
                    </a:lnTo>
                    <a:lnTo>
                      <a:pt x="1248" y="757"/>
                    </a:lnTo>
                    <a:lnTo>
                      <a:pt x="1251" y="756"/>
                    </a:lnTo>
                    <a:lnTo>
                      <a:pt x="1254" y="755"/>
                    </a:lnTo>
                    <a:lnTo>
                      <a:pt x="1256" y="755"/>
                    </a:lnTo>
                    <a:lnTo>
                      <a:pt x="1259" y="755"/>
                    </a:lnTo>
                    <a:lnTo>
                      <a:pt x="1263" y="756"/>
                    </a:lnTo>
                    <a:lnTo>
                      <a:pt x="1265" y="757"/>
                    </a:lnTo>
                    <a:lnTo>
                      <a:pt x="1267" y="757"/>
                    </a:lnTo>
                    <a:lnTo>
                      <a:pt x="1268" y="759"/>
                    </a:lnTo>
                    <a:lnTo>
                      <a:pt x="1270" y="760"/>
                    </a:lnTo>
                    <a:lnTo>
                      <a:pt x="1271" y="761"/>
                    </a:lnTo>
                    <a:lnTo>
                      <a:pt x="1272" y="762"/>
                    </a:lnTo>
                    <a:lnTo>
                      <a:pt x="1274" y="762"/>
                    </a:lnTo>
                    <a:lnTo>
                      <a:pt x="1277" y="761"/>
                    </a:lnTo>
                    <a:lnTo>
                      <a:pt x="1281" y="761"/>
                    </a:lnTo>
                    <a:lnTo>
                      <a:pt x="1284" y="760"/>
                    </a:lnTo>
                    <a:lnTo>
                      <a:pt x="1288" y="759"/>
                    </a:lnTo>
                    <a:lnTo>
                      <a:pt x="1291" y="757"/>
                    </a:lnTo>
                    <a:lnTo>
                      <a:pt x="1299" y="751"/>
                    </a:lnTo>
                    <a:lnTo>
                      <a:pt x="1308" y="745"/>
                    </a:lnTo>
                    <a:lnTo>
                      <a:pt x="1319" y="740"/>
                    </a:lnTo>
                    <a:lnTo>
                      <a:pt x="1329" y="740"/>
                    </a:lnTo>
                    <a:lnTo>
                      <a:pt x="1339" y="742"/>
                    </a:lnTo>
                    <a:lnTo>
                      <a:pt x="1349" y="744"/>
                    </a:lnTo>
                    <a:lnTo>
                      <a:pt x="1359" y="744"/>
                    </a:lnTo>
                    <a:lnTo>
                      <a:pt x="1370" y="745"/>
                    </a:lnTo>
                    <a:lnTo>
                      <a:pt x="1376" y="748"/>
                    </a:lnTo>
                    <a:lnTo>
                      <a:pt x="1378" y="751"/>
                    </a:lnTo>
                    <a:lnTo>
                      <a:pt x="1380" y="755"/>
                    </a:lnTo>
                    <a:lnTo>
                      <a:pt x="1382" y="758"/>
                    </a:lnTo>
                    <a:lnTo>
                      <a:pt x="1382" y="761"/>
                    </a:lnTo>
                    <a:lnTo>
                      <a:pt x="1382" y="763"/>
                    </a:lnTo>
                    <a:lnTo>
                      <a:pt x="1380" y="766"/>
                    </a:lnTo>
                    <a:lnTo>
                      <a:pt x="1378" y="768"/>
                    </a:lnTo>
                    <a:lnTo>
                      <a:pt x="1377" y="770"/>
                    </a:lnTo>
                    <a:lnTo>
                      <a:pt x="1376" y="771"/>
                    </a:lnTo>
                    <a:lnTo>
                      <a:pt x="1376" y="773"/>
                    </a:lnTo>
                    <a:lnTo>
                      <a:pt x="1378" y="773"/>
                    </a:lnTo>
                    <a:lnTo>
                      <a:pt x="1379" y="774"/>
                    </a:lnTo>
                    <a:lnTo>
                      <a:pt x="1381" y="774"/>
                    </a:lnTo>
                    <a:lnTo>
                      <a:pt x="1383" y="774"/>
                    </a:lnTo>
                    <a:lnTo>
                      <a:pt x="1384" y="775"/>
                    </a:lnTo>
                    <a:lnTo>
                      <a:pt x="1385" y="777"/>
                    </a:lnTo>
                    <a:lnTo>
                      <a:pt x="1387" y="778"/>
                    </a:lnTo>
                    <a:lnTo>
                      <a:pt x="1388" y="780"/>
                    </a:lnTo>
                    <a:lnTo>
                      <a:pt x="1389" y="782"/>
                    </a:lnTo>
                    <a:lnTo>
                      <a:pt x="1390" y="783"/>
                    </a:lnTo>
                    <a:lnTo>
                      <a:pt x="1386" y="788"/>
                    </a:lnTo>
                    <a:lnTo>
                      <a:pt x="1380" y="791"/>
                    </a:lnTo>
                    <a:lnTo>
                      <a:pt x="1373" y="794"/>
                    </a:lnTo>
                    <a:lnTo>
                      <a:pt x="1366" y="795"/>
                    </a:lnTo>
                    <a:lnTo>
                      <a:pt x="1357" y="797"/>
                    </a:lnTo>
                    <a:lnTo>
                      <a:pt x="1348" y="799"/>
                    </a:lnTo>
                    <a:lnTo>
                      <a:pt x="1340" y="799"/>
                    </a:lnTo>
                    <a:lnTo>
                      <a:pt x="1333" y="795"/>
                    </a:lnTo>
                    <a:lnTo>
                      <a:pt x="1332" y="794"/>
                    </a:lnTo>
                    <a:lnTo>
                      <a:pt x="1331" y="792"/>
                    </a:lnTo>
                    <a:lnTo>
                      <a:pt x="1330" y="791"/>
                    </a:lnTo>
                    <a:lnTo>
                      <a:pt x="1329" y="790"/>
                    </a:lnTo>
                    <a:lnTo>
                      <a:pt x="1328" y="790"/>
                    </a:lnTo>
                    <a:lnTo>
                      <a:pt x="1328" y="790"/>
                    </a:lnTo>
                    <a:lnTo>
                      <a:pt x="1327" y="792"/>
                    </a:lnTo>
                    <a:lnTo>
                      <a:pt x="1327" y="795"/>
                    </a:lnTo>
                    <a:lnTo>
                      <a:pt x="1325" y="798"/>
                    </a:lnTo>
                    <a:lnTo>
                      <a:pt x="1321" y="800"/>
                    </a:lnTo>
                    <a:lnTo>
                      <a:pt x="1315" y="801"/>
                    </a:lnTo>
                    <a:lnTo>
                      <a:pt x="1308" y="801"/>
                    </a:lnTo>
                    <a:lnTo>
                      <a:pt x="1295" y="802"/>
                    </a:lnTo>
                    <a:lnTo>
                      <a:pt x="1281" y="803"/>
                    </a:lnTo>
                    <a:lnTo>
                      <a:pt x="1260" y="804"/>
                    </a:lnTo>
                    <a:lnTo>
                      <a:pt x="1242" y="803"/>
                    </a:lnTo>
                    <a:lnTo>
                      <a:pt x="1239" y="802"/>
                    </a:lnTo>
                    <a:lnTo>
                      <a:pt x="1237" y="802"/>
                    </a:lnTo>
                    <a:lnTo>
                      <a:pt x="1237" y="801"/>
                    </a:lnTo>
                    <a:lnTo>
                      <a:pt x="1237" y="800"/>
                    </a:lnTo>
                    <a:lnTo>
                      <a:pt x="1237" y="799"/>
                    </a:lnTo>
                    <a:lnTo>
                      <a:pt x="1237" y="798"/>
                    </a:lnTo>
                    <a:lnTo>
                      <a:pt x="1237" y="797"/>
                    </a:lnTo>
                    <a:lnTo>
                      <a:pt x="1236" y="795"/>
                    </a:lnTo>
                    <a:lnTo>
                      <a:pt x="1234" y="793"/>
                    </a:lnTo>
                    <a:lnTo>
                      <a:pt x="1231" y="793"/>
                    </a:lnTo>
                    <a:lnTo>
                      <a:pt x="1229" y="793"/>
                    </a:lnTo>
                    <a:lnTo>
                      <a:pt x="1226" y="793"/>
                    </a:lnTo>
                    <a:lnTo>
                      <a:pt x="1224" y="793"/>
                    </a:lnTo>
                    <a:lnTo>
                      <a:pt x="1220" y="795"/>
                    </a:lnTo>
                    <a:lnTo>
                      <a:pt x="1217" y="796"/>
                    </a:lnTo>
                    <a:lnTo>
                      <a:pt x="1215" y="798"/>
                    </a:lnTo>
                    <a:lnTo>
                      <a:pt x="1212" y="801"/>
                    </a:lnTo>
                    <a:lnTo>
                      <a:pt x="1209" y="803"/>
                    </a:lnTo>
                    <a:lnTo>
                      <a:pt x="1208" y="803"/>
                    </a:lnTo>
                    <a:lnTo>
                      <a:pt x="1206" y="803"/>
                    </a:lnTo>
                    <a:lnTo>
                      <a:pt x="1205" y="802"/>
                    </a:lnTo>
                    <a:lnTo>
                      <a:pt x="1203" y="801"/>
                    </a:lnTo>
                    <a:lnTo>
                      <a:pt x="1201" y="801"/>
                    </a:lnTo>
                    <a:lnTo>
                      <a:pt x="1199" y="801"/>
                    </a:lnTo>
                    <a:lnTo>
                      <a:pt x="1197" y="801"/>
                    </a:lnTo>
                    <a:lnTo>
                      <a:pt x="1195" y="801"/>
                    </a:lnTo>
                    <a:lnTo>
                      <a:pt x="1194" y="801"/>
                    </a:lnTo>
                    <a:lnTo>
                      <a:pt x="1192" y="801"/>
                    </a:lnTo>
                    <a:lnTo>
                      <a:pt x="1191" y="799"/>
                    </a:lnTo>
                    <a:lnTo>
                      <a:pt x="1189" y="796"/>
                    </a:lnTo>
                    <a:lnTo>
                      <a:pt x="1187" y="793"/>
                    </a:lnTo>
                    <a:lnTo>
                      <a:pt x="1185" y="789"/>
                    </a:lnTo>
                    <a:lnTo>
                      <a:pt x="1183" y="779"/>
                    </a:lnTo>
                    <a:lnTo>
                      <a:pt x="1183" y="767"/>
                    </a:lnTo>
                    <a:lnTo>
                      <a:pt x="1185" y="760"/>
                    </a:lnTo>
                    <a:lnTo>
                      <a:pt x="1187" y="754"/>
                    </a:lnTo>
                    <a:lnTo>
                      <a:pt x="1187" y="747"/>
                    </a:lnTo>
                    <a:lnTo>
                      <a:pt x="1183" y="742"/>
                    </a:lnTo>
                    <a:lnTo>
                      <a:pt x="1180" y="739"/>
                    </a:lnTo>
                    <a:lnTo>
                      <a:pt x="1178" y="737"/>
                    </a:lnTo>
                    <a:lnTo>
                      <a:pt x="1177" y="734"/>
                    </a:lnTo>
                    <a:lnTo>
                      <a:pt x="1176" y="731"/>
                    </a:lnTo>
                    <a:lnTo>
                      <a:pt x="1175" y="728"/>
                    </a:lnTo>
                    <a:lnTo>
                      <a:pt x="1171" y="726"/>
                    </a:lnTo>
                    <a:lnTo>
                      <a:pt x="1166" y="727"/>
                    </a:lnTo>
                    <a:lnTo>
                      <a:pt x="1160" y="730"/>
                    </a:lnTo>
                    <a:lnTo>
                      <a:pt x="1154" y="732"/>
                    </a:lnTo>
                    <a:lnTo>
                      <a:pt x="1151" y="733"/>
                    </a:lnTo>
                    <a:lnTo>
                      <a:pt x="1148" y="733"/>
                    </a:lnTo>
                    <a:lnTo>
                      <a:pt x="1146" y="732"/>
                    </a:lnTo>
                    <a:lnTo>
                      <a:pt x="1144" y="731"/>
                    </a:lnTo>
                    <a:lnTo>
                      <a:pt x="1142" y="730"/>
                    </a:lnTo>
                    <a:lnTo>
                      <a:pt x="1140" y="728"/>
                    </a:lnTo>
                    <a:lnTo>
                      <a:pt x="1138" y="727"/>
                    </a:lnTo>
                    <a:lnTo>
                      <a:pt x="1137" y="726"/>
                    </a:lnTo>
                    <a:lnTo>
                      <a:pt x="1135" y="725"/>
                    </a:lnTo>
                    <a:lnTo>
                      <a:pt x="1133" y="724"/>
                    </a:lnTo>
                    <a:lnTo>
                      <a:pt x="1130" y="723"/>
                    </a:lnTo>
                    <a:lnTo>
                      <a:pt x="1128" y="721"/>
                    </a:lnTo>
                    <a:lnTo>
                      <a:pt x="1127" y="719"/>
                    </a:lnTo>
                    <a:lnTo>
                      <a:pt x="1126" y="716"/>
                    </a:lnTo>
                    <a:lnTo>
                      <a:pt x="1125" y="714"/>
                    </a:lnTo>
                    <a:lnTo>
                      <a:pt x="1125" y="712"/>
                    </a:lnTo>
                    <a:lnTo>
                      <a:pt x="1124" y="711"/>
                    </a:lnTo>
                    <a:lnTo>
                      <a:pt x="1123" y="710"/>
                    </a:lnTo>
                    <a:lnTo>
                      <a:pt x="1122" y="709"/>
                    </a:lnTo>
                    <a:lnTo>
                      <a:pt x="1120" y="708"/>
                    </a:lnTo>
                    <a:lnTo>
                      <a:pt x="1119" y="706"/>
                    </a:lnTo>
                    <a:lnTo>
                      <a:pt x="1118" y="703"/>
                    </a:lnTo>
                    <a:lnTo>
                      <a:pt x="1119" y="701"/>
                    </a:lnTo>
                    <a:lnTo>
                      <a:pt x="1121" y="699"/>
                    </a:lnTo>
                    <a:lnTo>
                      <a:pt x="1124" y="696"/>
                    </a:lnTo>
                    <a:lnTo>
                      <a:pt x="1128" y="695"/>
                    </a:lnTo>
                    <a:lnTo>
                      <a:pt x="1133" y="695"/>
                    </a:lnTo>
                    <a:lnTo>
                      <a:pt x="1135" y="695"/>
                    </a:lnTo>
                    <a:lnTo>
                      <a:pt x="1138" y="695"/>
                    </a:lnTo>
                    <a:lnTo>
                      <a:pt x="1140" y="696"/>
                    </a:lnTo>
                    <a:lnTo>
                      <a:pt x="1142" y="696"/>
                    </a:lnTo>
                    <a:lnTo>
                      <a:pt x="1145" y="696"/>
                    </a:lnTo>
                    <a:lnTo>
                      <a:pt x="1148" y="695"/>
                    </a:lnTo>
                    <a:lnTo>
                      <a:pt x="1151" y="695"/>
                    </a:lnTo>
                    <a:lnTo>
                      <a:pt x="1153" y="694"/>
                    </a:lnTo>
                    <a:lnTo>
                      <a:pt x="1155" y="694"/>
                    </a:lnTo>
                    <a:lnTo>
                      <a:pt x="1157" y="694"/>
                    </a:lnTo>
                    <a:lnTo>
                      <a:pt x="1158" y="695"/>
                    </a:lnTo>
                    <a:lnTo>
                      <a:pt x="1163" y="698"/>
                    </a:lnTo>
                    <a:lnTo>
                      <a:pt x="1166" y="700"/>
                    </a:lnTo>
                    <a:lnTo>
                      <a:pt x="1167" y="702"/>
                    </a:lnTo>
                    <a:lnTo>
                      <a:pt x="1167" y="705"/>
                    </a:lnTo>
                    <a:lnTo>
                      <a:pt x="1167" y="707"/>
                    </a:lnTo>
                    <a:lnTo>
                      <a:pt x="1167" y="710"/>
                    </a:lnTo>
                    <a:lnTo>
                      <a:pt x="1167" y="711"/>
                    </a:lnTo>
                    <a:lnTo>
                      <a:pt x="1168" y="712"/>
                    </a:lnTo>
                    <a:lnTo>
                      <a:pt x="1169" y="712"/>
                    </a:lnTo>
                    <a:lnTo>
                      <a:pt x="1171" y="712"/>
                    </a:lnTo>
                    <a:lnTo>
                      <a:pt x="1172" y="712"/>
                    </a:lnTo>
                    <a:lnTo>
                      <a:pt x="1174" y="712"/>
                    </a:lnTo>
                    <a:lnTo>
                      <a:pt x="1175" y="712"/>
                    </a:lnTo>
                    <a:lnTo>
                      <a:pt x="1180" y="711"/>
                    </a:lnTo>
                    <a:lnTo>
                      <a:pt x="1184" y="710"/>
                    </a:lnTo>
                    <a:lnTo>
                      <a:pt x="1188" y="709"/>
                    </a:lnTo>
                    <a:lnTo>
                      <a:pt x="1191" y="708"/>
                    </a:lnTo>
                    <a:lnTo>
                      <a:pt x="1195" y="707"/>
                    </a:lnTo>
                    <a:lnTo>
                      <a:pt x="1198" y="705"/>
                    </a:lnTo>
                    <a:lnTo>
                      <a:pt x="1201" y="704"/>
                    </a:lnTo>
                    <a:lnTo>
                      <a:pt x="1204" y="703"/>
                    </a:lnTo>
                    <a:lnTo>
                      <a:pt x="1207" y="704"/>
                    </a:lnTo>
                    <a:lnTo>
                      <a:pt x="1210" y="704"/>
                    </a:lnTo>
                    <a:lnTo>
                      <a:pt x="1213" y="705"/>
                    </a:lnTo>
                    <a:lnTo>
                      <a:pt x="1215" y="707"/>
                    </a:lnTo>
                    <a:lnTo>
                      <a:pt x="1216" y="708"/>
                    </a:lnTo>
                    <a:lnTo>
                      <a:pt x="1219" y="709"/>
                    </a:lnTo>
                    <a:lnTo>
                      <a:pt x="1222" y="709"/>
                    </a:lnTo>
                    <a:lnTo>
                      <a:pt x="1224" y="708"/>
                    </a:lnTo>
                    <a:lnTo>
                      <a:pt x="1226" y="707"/>
                    </a:lnTo>
                    <a:lnTo>
                      <a:pt x="1228" y="706"/>
                    </a:lnTo>
                    <a:lnTo>
                      <a:pt x="1229" y="704"/>
                    </a:lnTo>
                    <a:lnTo>
                      <a:pt x="1229" y="702"/>
                    </a:lnTo>
                    <a:lnTo>
                      <a:pt x="1229" y="700"/>
                    </a:lnTo>
                    <a:lnTo>
                      <a:pt x="1230" y="698"/>
                    </a:lnTo>
                    <a:lnTo>
                      <a:pt x="1232" y="695"/>
                    </a:lnTo>
                    <a:lnTo>
                      <a:pt x="1234" y="694"/>
                    </a:lnTo>
                    <a:lnTo>
                      <a:pt x="1236" y="693"/>
                    </a:lnTo>
                    <a:lnTo>
                      <a:pt x="1238" y="692"/>
                    </a:lnTo>
                    <a:lnTo>
                      <a:pt x="1240" y="691"/>
                    </a:lnTo>
                    <a:lnTo>
                      <a:pt x="1242" y="689"/>
                    </a:lnTo>
                    <a:lnTo>
                      <a:pt x="1243" y="687"/>
                    </a:lnTo>
                    <a:lnTo>
                      <a:pt x="1244" y="686"/>
                    </a:lnTo>
                    <a:lnTo>
                      <a:pt x="1245" y="684"/>
                    </a:lnTo>
                    <a:lnTo>
                      <a:pt x="1248" y="683"/>
                    </a:lnTo>
                    <a:lnTo>
                      <a:pt x="1251" y="681"/>
                    </a:lnTo>
                    <a:lnTo>
                      <a:pt x="1254" y="680"/>
                    </a:lnTo>
                    <a:lnTo>
                      <a:pt x="1255" y="678"/>
                    </a:lnTo>
                    <a:lnTo>
                      <a:pt x="1256" y="676"/>
                    </a:lnTo>
                    <a:lnTo>
                      <a:pt x="1257" y="674"/>
                    </a:lnTo>
                    <a:lnTo>
                      <a:pt x="1256" y="671"/>
                    </a:lnTo>
                    <a:lnTo>
                      <a:pt x="1254" y="669"/>
                    </a:lnTo>
                    <a:lnTo>
                      <a:pt x="1252" y="667"/>
                    </a:lnTo>
                    <a:lnTo>
                      <a:pt x="1250" y="666"/>
                    </a:lnTo>
                    <a:lnTo>
                      <a:pt x="1249" y="664"/>
                    </a:lnTo>
                    <a:lnTo>
                      <a:pt x="1247" y="663"/>
                    </a:lnTo>
                    <a:lnTo>
                      <a:pt x="1247" y="661"/>
                    </a:lnTo>
                    <a:lnTo>
                      <a:pt x="1247" y="659"/>
                    </a:lnTo>
                    <a:lnTo>
                      <a:pt x="1248" y="657"/>
                    </a:lnTo>
                    <a:lnTo>
                      <a:pt x="1250" y="655"/>
                    </a:lnTo>
                    <a:lnTo>
                      <a:pt x="1258" y="651"/>
                    </a:lnTo>
                    <a:lnTo>
                      <a:pt x="1269" y="649"/>
                    </a:lnTo>
                    <a:lnTo>
                      <a:pt x="1279" y="651"/>
                    </a:lnTo>
                    <a:lnTo>
                      <a:pt x="1282" y="654"/>
                    </a:lnTo>
                    <a:lnTo>
                      <a:pt x="1284" y="656"/>
                    </a:lnTo>
                    <a:lnTo>
                      <a:pt x="1286" y="659"/>
                    </a:lnTo>
                    <a:lnTo>
                      <a:pt x="1288" y="662"/>
                    </a:lnTo>
                    <a:lnTo>
                      <a:pt x="1291" y="665"/>
                    </a:lnTo>
                    <a:lnTo>
                      <a:pt x="1295" y="671"/>
                    </a:lnTo>
                    <a:lnTo>
                      <a:pt x="1303" y="674"/>
                    </a:lnTo>
                    <a:lnTo>
                      <a:pt x="1312" y="673"/>
                    </a:lnTo>
                    <a:lnTo>
                      <a:pt x="1313" y="672"/>
                    </a:lnTo>
                    <a:lnTo>
                      <a:pt x="1316" y="671"/>
                    </a:lnTo>
                    <a:lnTo>
                      <a:pt x="1318" y="670"/>
                    </a:lnTo>
                    <a:lnTo>
                      <a:pt x="1319" y="669"/>
                    </a:lnTo>
                    <a:lnTo>
                      <a:pt x="1321" y="667"/>
                    </a:lnTo>
                    <a:lnTo>
                      <a:pt x="1322" y="666"/>
                    </a:lnTo>
                    <a:lnTo>
                      <a:pt x="1322" y="665"/>
                    </a:lnTo>
                    <a:lnTo>
                      <a:pt x="1321" y="664"/>
                    </a:lnTo>
                    <a:lnTo>
                      <a:pt x="1319" y="663"/>
                    </a:lnTo>
                    <a:lnTo>
                      <a:pt x="1315" y="663"/>
                    </a:lnTo>
                    <a:lnTo>
                      <a:pt x="1311" y="663"/>
                    </a:lnTo>
                    <a:lnTo>
                      <a:pt x="1308" y="662"/>
                    </a:lnTo>
                    <a:lnTo>
                      <a:pt x="1306" y="661"/>
                    </a:lnTo>
                    <a:lnTo>
                      <a:pt x="1304" y="659"/>
                    </a:lnTo>
                    <a:lnTo>
                      <a:pt x="1302" y="657"/>
                    </a:lnTo>
                    <a:lnTo>
                      <a:pt x="1300" y="656"/>
                    </a:lnTo>
                    <a:lnTo>
                      <a:pt x="1299" y="654"/>
                    </a:lnTo>
                    <a:lnTo>
                      <a:pt x="1296" y="653"/>
                    </a:lnTo>
                    <a:lnTo>
                      <a:pt x="1295" y="649"/>
                    </a:lnTo>
                    <a:lnTo>
                      <a:pt x="1297" y="645"/>
                    </a:lnTo>
                    <a:lnTo>
                      <a:pt x="1302" y="640"/>
                    </a:lnTo>
                    <a:lnTo>
                      <a:pt x="1304" y="636"/>
                    </a:lnTo>
                    <a:lnTo>
                      <a:pt x="1305" y="634"/>
                    </a:lnTo>
                    <a:lnTo>
                      <a:pt x="1304" y="633"/>
                    </a:lnTo>
                    <a:lnTo>
                      <a:pt x="1303" y="632"/>
                    </a:lnTo>
                    <a:lnTo>
                      <a:pt x="1301" y="632"/>
                    </a:lnTo>
                    <a:lnTo>
                      <a:pt x="1299" y="632"/>
                    </a:lnTo>
                    <a:lnTo>
                      <a:pt x="1296" y="632"/>
                    </a:lnTo>
                    <a:lnTo>
                      <a:pt x="1293" y="632"/>
                    </a:lnTo>
                    <a:lnTo>
                      <a:pt x="1291" y="633"/>
                    </a:lnTo>
                    <a:lnTo>
                      <a:pt x="1289" y="633"/>
                    </a:lnTo>
                    <a:lnTo>
                      <a:pt x="1288" y="632"/>
                    </a:lnTo>
                    <a:lnTo>
                      <a:pt x="1286" y="632"/>
                    </a:lnTo>
                    <a:lnTo>
                      <a:pt x="1285" y="632"/>
                    </a:lnTo>
                    <a:lnTo>
                      <a:pt x="1283" y="631"/>
                    </a:lnTo>
                    <a:lnTo>
                      <a:pt x="1281" y="632"/>
                    </a:lnTo>
                    <a:lnTo>
                      <a:pt x="1280" y="633"/>
                    </a:lnTo>
                    <a:lnTo>
                      <a:pt x="1278" y="634"/>
                    </a:lnTo>
                    <a:lnTo>
                      <a:pt x="1277" y="634"/>
                    </a:lnTo>
                    <a:lnTo>
                      <a:pt x="1273" y="634"/>
                    </a:lnTo>
                    <a:lnTo>
                      <a:pt x="1269" y="632"/>
                    </a:lnTo>
                    <a:lnTo>
                      <a:pt x="1267" y="631"/>
                    </a:lnTo>
                    <a:lnTo>
                      <a:pt x="1265" y="628"/>
                    </a:lnTo>
                    <a:lnTo>
                      <a:pt x="1264" y="626"/>
                    </a:lnTo>
                    <a:lnTo>
                      <a:pt x="1264" y="624"/>
                    </a:lnTo>
                    <a:lnTo>
                      <a:pt x="1264" y="622"/>
                    </a:lnTo>
                    <a:lnTo>
                      <a:pt x="1265" y="620"/>
                    </a:lnTo>
                    <a:lnTo>
                      <a:pt x="1265" y="618"/>
                    </a:lnTo>
                    <a:lnTo>
                      <a:pt x="1265" y="616"/>
                    </a:lnTo>
                    <a:lnTo>
                      <a:pt x="1265" y="615"/>
                    </a:lnTo>
                    <a:lnTo>
                      <a:pt x="1264" y="613"/>
                    </a:lnTo>
                    <a:lnTo>
                      <a:pt x="1264" y="611"/>
                    </a:lnTo>
                    <a:lnTo>
                      <a:pt x="1265" y="610"/>
                    </a:lnTo>
                    <a:lnTo>
                      <a:pt x="1265" y="609"/>
                    </a:lnTo>
                    <a:lnTo>
                      <a:pt x="1267" y="608"/>
                    </a:lnTo>
                    <a:lnTo>
                      <a:pt x="1269" y="608"/>
                    </a:lnTo>
                    <a:lnTo>
                      <a:pt x="1272" y="608"/>
                    </a:lnTo>
                    <a:lnTo>
                      <a:pt x="1274" y="608"/>
                    </a:lnTo>
                    <a:lnTo>
                      <a:pt x="1277" y="608"/>
                    </a:lnTo>
                    <a:lnTo>
                      <a:pt x="1278" y="606"/>
                    </a:lnTo>
                    <a:lnTo>
                      <a:pt x="1278" y="604"/>
                    </a:lnTo>
                    <a:lnTo>
                      <a:pt x="1278" y="603"/>
                    </a:lnTo>
                    <a:lnTo>
                      <a:pt x="1277" y="601"/>
                    </a:lnTo>
                    <a:lnTo>
                      <a:pt x="1277" y="600"/>
                    </a:lnTo>
                    <a:lnTo>
                      <a:pt x="1279" y="598"/>
                    </a:lnTo>
                    <a:lnTo>
                      <a:pt x="1280" y="597"/>
                    </a:lnTo>
                    <a:lnTo>
                      <a:pt x="1282" y="596"/>
                    </a:lnTo>
                    <a:lnTo>
                      <a:pt x="1285" y="596"/>
                    </a:lnTo>
                    <a:lnTo>
                      <a:pt x="1287" y="597"/>
                    </a:lnTo>
                    <a:lnTo>
                      <a:pt x="1289" y="598"/>
                    </a:lnTo>
                    <a:lnTo>
                      <a:pt x="1291" y="600"/>
                    </a:lnTo>
                    <a:lnTo>
                      <a:pt x="1293" y="601"/>
                    </a:lnTo>
                    <a:lnTo>
                      <a:pt x="1295" y="602"/>
                    </a:lnTo>
                    <a:lnTo>
                      <a:pt x="1300" y="603"/>
                    </a:lnTo>
                    <a:lnTo>
                      <a:pt x="1306" y="604"/>
                    </a:lnTo>
                    <a:lnTo>
                      <a:pt x="1310" y="604"/>
                    </a:lnTo>
                    <a:lnTo>
                      <a:pt x="1321" y="606"/>
                    </a:lnTo>
                    <a:lnTo>
                      <a:pt x="1331" y="606"/>
                    </a:lnTo>
                    <a:lnTo>
                      <a:pt x="1334" y="605"/>
                    </a:lnTo>
                    <a:lnTo>
                      <a:pt x="1335" y="603"/>
                    </a:lnTo>
                    <a:lnTo>
                      <a:pt x="1335" y="602"/>
                    </a:lnTo>
                    <a:lnTo>
                      <a:pt x="1334" y="600"/>
                    </a:lnTo>
                    <a:lnTo>
                      <a:pt x="1332" y="599"/>
                    </a:lnTo>
                    <a:lnTo>
                      <a:pt x="1329" y="598"/>
                    </a:lnTo>
                    <a:lnTo>
                      <a:pt x="1322" y="597"/>
                    </a:lnTo>
                    <a:lnTo>
                      <a:pt x="1313" y="597"/>
                    </a:lnTo>
                    <a:lnTo>
                      <a:pt x="1304" y="598"/>
                    </a:lnTo>
                    <a:lnTo>
                      <a:pt x="1304" y="598"/>
                    </a:lnTo>
                    <a:lnTo>
                      <a:pt x="1303" y="598"/>
                    </a:lnTo>
                    <a:lnTo>
                      <a:pt x="1301" y="599"/>
                    </a:lnTo>
                    <a:lnTo>
                      <a:pt x="1300" y="599"/>
                    </a:lnTo>
                    <a:lnTo>
                      <a:pt x="1299" y="599"/>
                    </a:lnTo>
                    <a:lnTo>
                      <a:pt x="1298" y="599"/>
                    </a:lnTo>
                    <a:lnTo>
                      <a:pt x="1298" y="598"/>
                    </a:lnTo>
                    <a:lnTo>
                      <a:pt x="1300" y="595"/>
                    </a:lnTo>
                    <a:lnTo>
                      <a:pt x="1300" y="593"/>
                    </a:lnTo>
                    <a:lnTo>
                      <a:pt x="1300" y="591"/>
                    </a:lnTo>
                    <a:lnTo>
                      <a:pt x="1300" y="588"/>
                    </a:lnTo>
                    <a:lnTo>
                      <a:pt x="1298" y="588"/>
                    </a:lnTo>
                    <a:lnTo>
                      <a:pt x="1296" y="589"/>
                    </a:lnTo>
                    <a:lnTo>
                      <a:pt x="1294" y="590"/>
                    </a:lnTo>
                    <a:lnTo>
                      <a:pt x="1293" y="592"/>
                    </a:lnTo>
                    <a:lnTo>
                      <a:pt x="1291" y="593"/>
                    </a:lnTo>
                    <a:lnTo>
                      <a:pt x="1289" y="593"/>
                    </a:lnTo>
                    <a:lnTo>
                      <a:pt x="1286" y="592"/>
                    </a:lnTo>
                    <a:lnTo>
                      <a:pt x="1283" y="592"/>
                    </a:lnTo>
                    <a:lnTo>
                      <a:pt x="1281" y="592"/>
                    </a:lnTo>
                    <a:lnTo>
                      <a:pt x="1277" y="594"/>
                    </a:lnTo>
                    <a:lnTo>
                      <a:pt x="1274" y="597"/>
                    </a:lnTo>
                    <a:lnTo>
                      <a:pt x="1273" y="599"/>
                    </a:lnTo>
                    <a:lnTo>
                      <a:pt x="1272" y="601"/>
                    </a:lnTo>
                    <a:lnTo>
                      <a:pt x="1271" y="604"/>
                    </a:lnTo>
                    <a:lnTo>
                      <a:pt x="1269" y="602"/>
                    </a:lnTo>
                    <a:lnTo>
                      <a:pt x="1268" y="601"/>
                    </a:lnTo>
                    <a:lnTo>
                      <a:pt x="1267" y="599"/>
                    </a:lnTo>
                    <a:lnTo>
                      <a:pt x="1266" y="597"/>
                    </a:lnTo>
                    <a:lnTo>
                      <a:pt x="1265" y="596"/>
                    </a:lnTo>
                    <a:lnTo>
                      <a:pt x="1261" y="597"/>
                    </a:lnTo>
                    <a:lnTo>
                      <a:pt x="1259" y="600"/>
                    </a:lnTo>
                    <a:lnTo>
                      <a:pt x="1258" y="605"/>
                    </a:lnTo>
                    <a:lnTo>
                      <a:pt x="1258" y="609"/>
                    </a:lnTo>
                    <a:lnTo>
                      <a:pt x="1258" y="612"/>
                    </a:lnTo>
                    <a:lnTo>
                      <a:pt x="1259" y="614"/>
                    </a:lnTo>
                    <a:lnTo>
                      <a:pt x="1259" y="616"/>
                    </a:lnTo>
                    <a:lnTo>
                      <a:pt x="1259" y="618"/>
                    </a:lnTo>
                    <a:lnTo>
                      <a:pt x="1258" y="620"/>
                    </a:lnTo>
                    <a:lnTo>
                      <a:pt x="1256" y="622"/>
                    </a:lnTo>
                    <a:lnTo>
                      <a:pt x="1254" y="624"/>
                    </a:lnTo>
                    <a:lnTo>
                      <a:pt x="1252" y="626"/>
                    </a:lnTo>
                    <a:lnTo>
                      <a:pt x="1249" y="627"/>
                    </a:lnTo>
                    <a:lnTo>
                      <a:pt x="1246" y="628"/>
                    </a:lnTo>
                    <a:lnTo>
                      <a:pt x="1244" y="628"/>
                    </a:lnTo>
                    <a:lnTo>
                      <a:pt x="1243" y="628"/>
                    </a:lnTo>
                    <a:lnTo>
                      <a:pt x="1242" y="627"/>
                    </a:lnTo>
                    <a:lnTo>
                      <a:pt x="1241" y="626"/>
                    </a:lnTo>
                    <a:lnTo>
                      <a:pt x="1240" y="624"/>
                    </a:lnTo>
                    <a:lnTo>
                      <a:pt x="1239" y="623"/>
                    </a:lnTo>
                    <a:lnTo>
                      <a:pt x="1238" y="622"/>
                    </a:lnTo>
                    <a:lnTo>
                      <a:pt x="1236" y="622"/>
                    </a:lnTo>
                    <a:lnTo>
                      <a:pt x="1235" y="623"/>
                    </a:lnTo>
                    <a:lnTo>
                      <a:pt x="1236" y="625"/>
                    </a:lnTo>
                    <a:lnTo>
                      <a:pt x="1236" y="627"/>
                    </a:lnTo>
                    <a:lnTo>
                      <a:pt x="1236" y="629"/>
                    </a:lnTo>
                    <a:lnTo>
                      <a:pt x="1236" y="630"/>
                    </a:lnTo>
                    <a:lnTo>
                      <a:pt x="1233" y="630"/>
                    </a:lnTo>
                    <a:lnTo>
                      <a:pt x="1230" y="630"/>
                    </a:lnTo>
                    <a:lnTo>
                      <a:pt x="1227" y="629"/>
                    </a:lnTo>
                    <a:lnTo>
                      <a:pt x="1225" y="627"/>
                    </a:lnTo>
                    <a:lnTo>
                      <a:pt x="1224" y="626"/>
                    </a:lnTo>
                    <a:lnTo>
                      <a:pt x="1223" y="625"/>
                    </a:lnTo>
                    <a:lnTo>
                      <a:pt x="1222" y="625"/>
                    </a:lnTo>
                    <a:lnTo>
                      <a:pt x="1221" y="626"/>
                    </a:lnTo>
                    <a:lnTo>
                      <a:pt x="1221" y="627"/>
                    </a:lnTo>
                    <a:lnTo>
                      <a:pt x="1220" y="629"/>
                    </a:lnTo>
                    <a:lnTo>
                      <a:pt x="1220" y="630"/>
                    </a:lnTo>
                    <a:lnTo>
                      <a:pt x="1219" y="632"/>
                    </a:lnTo>
                    <a:lnTo>
                      <a:pt x="1217" y="634"/>
                    </a:lnTo>
                    <a:lnTo>
                      <a:pt x="1216" y="635"/>
                    </a:lnTo>
                    <a:lnTo>
                      <a:pt x="1213" y="636"/>
                    </a:lnTo>
                    <a:lnTo>
                      <a:pt x="1209" y="636"/>
                    </a:lnTo>
                    <a:lnTo>
                      <a:pt x="1203" y="636"/>
                    </a:lnTo>
                    <a:lnTo>
                      <a:pt x="1195" y="635"/>
                    </a:lnTo>
                    <a:lnTo>
                      <a:pt x="1188" y="634"/>
                    </a:lnTo>
                    <a:lnTo>
                      <a:pt x="1183" y="632"/>
                    </a:lnTo>
                    <a:lnTo>
                      <a:pt x="1181" y="628"/>
                    </a:lnTo>
                    <a:lnTo>
                      <a:pt x="1183" y="626"/>
                    </a:lnTo>
                    <a:lnTo>
                      <a:pt x="1185" y="625"/>
                    </a:lnTo>
                    <a:lnTo>
                      <a:pt x="1187" y="624"/>
                    </a:lnTo>
                    <a:lnTo>
                      <a:pt x="1190" y="623"/>
                    </a:lnTo>
                    <a:lnTo>
                      <a:pt x="1192" y="621"/>
                    </a:lnTo>
                    <a:lnTo>
                      <a:pt x="1194" y="620"/>
                    </a:lnTo>
                    <a:lnTo>
                      <a:pt x="1195" y="618"/>
                    </a:lnTo>
                    <a:lnTo>
                      <a:pt x="1195" y="616"/>
                    </a:lnTo>
                    <a:lnTo>
                      <a:pt x="1194" y="616"/>
                    </a:lnTo>
                    <a:lnTo>
                      <a:pt x="1193" y="617"/>
                    </a:lnTo>
                    <a:lnTo>
                      <a:pt x="1192" y="617"/>
                    </a:lnTo>
                    <a:lnTo>
                      <a:pt x="1191" y="618"/>
                    </a:lnTo>
                    <a:lnTo>
                      <a:pt x="1189" y="618"/>
                    </a:lnTo>
                    <a:lnTo>
                      <a:pt x="1188" y="618"/>
                    </a:lnTo>
                    <a:lnTo>
                      <a:pt x="1187" y="618"/>
                    </a:lnTo>
                    <a:lnTo>
                      <a:pt x="1186" y="617"/>
                    </a:lnTo>
                    <a:lnTo>
                      <a:pt x="1185" y="616"/>
                    </a:lnTo>
                    <a:lnTo>
                      <a:pt x="1175" y="616"/>
                    </a:lnTo>
                    <a:lnTo>
                      <a:pt x="1174" y="614"/>
                    </a:lnTo>
                    <a:lnTo>
                      <a:pt x="1174" y="613"/>
                    </a:lnTo>
                    <a:lnTo>
                      <a:pt x="1174" y="611"/>
                    </a:lnTo>
                    <a:lnTo>
                      <a:pt x="1176" y="610"/>
                    </a:lnTo>
                    <a:lnTo>
                      <a:pt x="1177" y="608"/>
                    </a:lnTo>
                    <a:lnTo>
                      <a:pt x="1178" y="606"/>
                    </a:lnTo>
                    <a:lnTo>
                      <a:pt x="1179" y="605"/>
                    </a:lnTo>
                    <a:lnTo>
                      <a:pt x="1179" y="603"/>
                    </a:lnTo>
                    <a:lnTo>
                      <a:pt x="1177" y="602"/>
                    </a:lnTo>
                    <a:lnTo>
                      <a:pt x="1175" y="601"/>
                    </a:lnTo>
                    <a:lnTo>
                      <a:pt x="1174" y="600"/>
                    </a:lnTo>
                    <a:lnTo>
                      <a:pt x="1173" y="598"/>
                    </a:lnTo>
                    <a:lnTo>
                      <a:pt x="1174" y="597"/>
                    </a:lnTo>
                    <a:lnTo>
                      <a:pt x="1176" y="595"/>
                    </a:lnTo>
                    <a:lnTo>
                      <a:pt x="1177" y="594"/>
                    </a:lnTo>
                    <a:lnTo>
                      <a:pt x="1179" y="592"/>
                    </a:lnTo>
                    <a:lnTo>
                      <a:pt x="1185" y="589"/>
                    </a:lnTo>
                    <a:lnTo>
                      <a:pt x="1190" y="587"/>
                    </a:lnTo>
                    <a:lnTo>
                      <a:pt x="1197" y="586"/>
                    </a:lnTo>
                    <a:lnTo>
                      <a:pt x="1201" y="584"/>
                    </a:lnTo>
                    <a:lnTo>
                      <a:pt x="1203" y="583"/>
                    </a:lnTo>
                    <a:lnTo>
                      <a:pt x="1205" y="582"/>
                    </a:lnTo>
                    <a:lnTo>
                      <a:pt x="1205" y="581"/>
                    </a:lnTo>
                    <a:lnTo>
                      <a:pt x="1204" y="579"/>
                    </a:lnTo>
                    <a:lnTo>
                      <a:pt x="1203" y="578"/>
                    </a:lnTo>
                    <a:lnTo>
                      <a:pt x="1201" y="577"/>
                    </a:lnTo>
                    <a:lnTo>
                      <a:pt x="1199" y="576"/>
                    </a:lnTo>
                    <a:lnTo>
                      <a:pt x="1197" y="575"/>
                    </a:lnTo>
                    <a:lnTo>
                      <a:pt x="1188" y="573"/>
                    </a:lnTo>
                    <a:lnTo>
                      <a:pt x="1180" y="575"/>
                    </a:lnTo>
                    <a:lnTo>
                      <a:pt x="1169" y="579"/>
                    </a:lnTo>
                    <a:lnTo>
                      <a:pt x="1156" y="579"/>
                    </a:lnTo>
                    <a:lnTo>
                      <a:pt x="1155" y="578"/>
                    </a:lnTo>
                    <a:lnTo>
                      <a:pt x="1154" y="577"/>
                    </a:lnTo>
                    <a:lnTo>
                      <a:pt x="1154" y="577"/>
                    </a:lnTo>
                    <a:lnTo>
                      <a:pt x="1154" y="576"/>
                    </a:lnTo>
                    <a:lnTo>
                      <a:pt x="1154" y="575"/>
                    </a:lnTo>
                    <a:lnTo>
                      <a:pt x="1156" y="574"/>
                    </a:lnTo>
                    <a:lnTo>
                      <a:pt x="1158" y="573"/>
                    </a:lnTo>
                    <a:lnTo>
                      <a:pt x="1162" y="573"/>
                    </a:lnTo>
                    <a:lnTo>
                      <a:pt x="1165" y="572"/>
                    </a:lnTo>
                    <a:lnTo>
                      <a:pt x="1167" y="571"/>
                    </a:lnTo>
                    <a:lnTo>
                      <a:pt x="1169" y="570"/>
                    </a:lnTo>
                    <a:lnTo>
                      <a:pt x="1170" y="568"/>
                    </a:lnTo>
                    <a:lnTo>
                      <a:pt x="1171" y="567"/>
                    </a:lnTo>
                    <a:lnTo>
                      <a:pt x="1172" y="566"/>
                    </a:lnTo>
                    <a:lnTo>
                      <a:pt x="1171" y="565"/>
                    </a:lnTo>
                    <a:lnTo>
                      <a:pt x="1169" y="565"/>
                    </a:lnTo>
                    <a:lnTo>
                      <a:pt x="1166" y="566"/>
                    </a:lnTo>
                    <a:lnTo>
                      <a:pt x="1163" y="567"/>
                    </a:lnTo>
                    <a:lnTo>
                      <a:pt x="1160" y="567"/>
                    </a:lnTo>
                    <a:lnTo>
                      <a:pt x="1156" y="567"/>
                    </a:lnTo>
                    <a:lnTo>
                      <a:pt x="1154" y="567"/>
                    </a:lnTo>
                    <a:lnTo>
                      <a:pt x="1151" y="566"/>
                    </a:lnTo>
                    <a:lnTo>
                      <a:pt x="1149" y="565"/>
                    </a:lnTo>
                    <a:lnTo>
                      <a:pt x="1147" y="564"/>
                    </a:lnTo>
                    <a:lnTo>
                      <a:pt x="1146" y="563"/>
                    </a:lnTo>
                    <a:lnTo>
                      <a:pt x="1146" y="561"/>
                    </a:lnTo>
                    <a:lnTo>
                      <a:pt x="1147" y="559"/>
                    </a:lnTo>
                    <a:lnTo>
                      <a:pt x="1148" y="558"/>
                    </a:lnTo>
                    <a:lnTo>
                      <a:pt x="1149" y="556"/>
                    </a:lnTo>
                    <a:lnTo>
                      <a:pt x="1150" y="555"/>
                    </a:lnTo>
                    <a:lnTo>
                      <a:pt x="1150" y="553"/>
                    </a:lnTo>
                    <a:lnTo>
                      <a:pt x="1150" y="552"/>
                    </a:lnTo>
                    <a:lnTo>
                      <a:pt x="1150" y="550"/>
                    </a:lnTo>
                    <a:lnTo>
                      <a:pt x="1150" y="549"/>
                    </a:lnTo>
                    <a:lnTo>
                      <a:pt x="1151" y="547"/>
                    </a:lnTo>
                    <a:lnTo>
                      <a:pt x="1152" y="546"/>
                    </a:lnTo>
                    <a:lnTo>
                      <a:pt x="1154" y="545"/>
                    </a:lnTo>
                    <a:lnTo>
                      <a:pt x="1156" y="545"/>
                    </a:lnTo>
                    <a:lnTo>
                      <a:pt x="1158" y="545"/>
                    </a:lnTo>
                    <a:lnTo>
                      <a:pt x="1161" y="545"/>
                    </a:lnTo>
                    <a:lnTo>
                      <a:pt x="1163" y="544"/>
                    </a:lnTo>
                    <a:lnTo>
                      <a:pt x="1165" y="544"/>
                    </a:lnTo>
                    <a:lnTo>
                      <a:pt x="1165" y="543"/>
                    </a:lnTo>
                    <a:lnTo>
                      <a:pt x="1166" y="542"/>
                    </a:lnTo>
                    <a:lnTo>
                      <a:pt x="1165" y="541"/>
                    </a:lnTo>
                    <a:lnTo>
                      <a:pt x="1163" y="540"/>
                    </a:lnTo>
                    <a:lnTo>
                      <a:pt x="1161" y="539"/>
                    </a:lnTo>
                    <a:lnTo>
                      <a:pt x="1158" y="539"/>
                    </a:lnTo>
                    <a:lnTo>
                      <a:pt x="1156" y="538"/>
                    </a:lnTo>
                    <a:lnTo>
                      <a:pt x="1156" y="537"/>
                    </a:lnTo>
                    <a:lnTo>
                      <a:pt x="1156" y="536"/>
                    </a:lnTo>
                    <a:lnTo>
                      <a:pt x="1156" y="534"/>
                    </a:lnTo>
                    <a:lnTo>
                      <a:pt x="1157" y="533"/>
                    </a:lnTo>
                    <a:lnTo>
                      <a:pt x="1156" y="531"/>
                    </a:lnTo>
                    <a:lnTo>
                      <a:pt x="1156" y="528"/>
                    </a:lnTo>
                    <a:lnTo>
                      <a:pt x="1155" y="527"/>
                    </a:lnTo>
                    <a:lnTo>
                      <a:pt x="1155" y="525"/>
                    </a:lnTo>
                    <a:lnTo>
                      <a:pt x="1156" y="523"/>
                    </a:lnTo>
                    <a:lnTo>
                      <a:pt x="1158" y="522"/>
                    </a:lnTo>
                    <a:lnTo>
                      <a:pt x="1161" y="522"/>
                    </a:lnTo>
                    <a:lnTo>
                      <a:pt x="1164" y="522"/>
                    </a:lnTo>
                    <a:lnTo>
                      <a:pt x="1166" y="523"/>
                    </a:lnTo>
                    <a:lnTo>
                      <a:pt x="1168" y="523"/>
                    </a:lnTo>
                    <a:lnTo>
                      <a:pt x="1170" y="524"/>
                    </a:lnTo>
                    <a:lnTo>
                      <a:pt x="1172" y="523"/>
                    </a:lnTo>
                    <a:lnTo>
                      <a:pt x="1173" y="522"/>
                    </a:lnTo>
                    <a:lnTo>
                      <a:pt x="1174" y="521"/>
                    </a:lnTo>
                    <a:lnTo>
                      <a:pt x="1173" y="519"/>
                    </a:lnTo>
                    <a:lnTo>
                      <a:pt x="1172" y="519"/>
                    </a:lnTo>
                    <a:lnTo>
                      <a:pt x="1170" y="518"/>
                    </a:lnTo>
                    <a:lnTo>
                      <a:pt x="1167" y="518"/>
                    </a:lnTo>
                    <a:lnTo>
                      <a:pt x="1166" y="516"/>
                    </a:lnTo>
                    <a:lnTo>
                      <a:pt x="1166" y="514"/>
                    </a:lnTo>
                    <a:lnTo>
                      <a:pt x="1166" y="512"/>
                    </a:lnTo>
                    <a:lnTo>
                      <a:pt x="1167" y="510"/>
                    </a:lnTo>
                    <a:lnTo>
                      <a:pt x="1169" y="507"/>
                    </a:lnTo>
                    <a:lnTo>
                      <a:pt x="1172" y="506"/>
                    </a:lnTo>
                    <a:lnTo>
                      <a:pt x="1175" y="504"/>
                    </a:lnTo>
                    <a:lnTo>
                      <a:pt x="1178" y="504"/>
                    </a:lnTo>
                    <a:lnTo>
                      <a:pt x="1181" y="504"/>
                    </a:lnTo>
                    <a:lnTo>
                      <a:pt x="1184" y="504"/>
                    </a:lnTo>
                    <a:lnTo>
                      <a:pt x="1186" y="504"/>
                    </a:lnTo>
                    <a:lnTo>
                      <a:pt x="1187" y="504"/>
                    </a:lnTo>
                    <a:lnTo>
                      <a:pt x="1187" y="503"/>
                    </a:lnTo>
                    <a:lnTo>
                      <a:pt x="1187" y="502"/>
                    </a:lnTo>
                    <a:lnTo>
                      <a:pt x="1187" y="501"/>
                    </a:lnTo>
                    <a:lnTo>
                      <a:pt x="1187" y="500"/>
                    </a:lnTo>
                    <a:lnTo>
                      <a:pt x="1189" y="499"/>
                    </a:lnTo>
                    <a:lnTo>
                      <a:pt x="1191" y="498"/>
                    </a:lnTo>
                    <a:lnTo>
                      <a:pt x="1193" y="498"/>
                    </a:lnTo>
                    <a:lnTo>
                      <a:pt x="1196" y="498"/>
                    </a:lnTo>
                    <a:lnTo>
                      <a:pt x="1197" y="498"/>
                    </a:lnTo>
                    <a:lnTo>
                      <a:pt x="1197" y="496"/>
                    </a:lnTo>
                    <a:lnTo>
                      <a:pt x="1194" y="494"/>
                    </a:lnTo>
                    <a:lnTo>
                      <a:pt x="1189" y="494"/>
                    </a:lnTo>
                    <a:lnTo>
                      <a:pt x="1184" y="494"/>
                    </a:lnTo>
                    <a:lnTo>
                      <a:pt x="1179" y="494"/>
                    </a:lnTo>
                    <a:lnTo>
                      <a:pt x="1175" y="494"/>
                    </a:lnTo>
                    <a:lnTo>
                      <a:pt x="1174" y="493"/>
                    </a:lnTo>
                    <a:lnTo>
                      <a:pt x="1173" y="493"/>
                    </a:lnTo>
                    <a:lnTo>
                      <a:pt x="1173" y="491"/>
                    </a:lnTo>
                    <a:lnTo>
                      <a:pt x="1174" y="490"/>
                    </a:lnTo>
                    <a:lnTo>
                      <a:pt x="1175" y="489"/>
                    </a:lnTo>
                    <a:lnTo>
                      <a:pt x="1177" y="488"/>
                    </a:lnTo>
                    <a:lnTo>
                      <a:pt x="1179" y="487"/>
                    </a:lnTo>
                    <a:lnTo>
                      <a:pt x="1181" y="486"/>
                    </a:lnTo>
                    <a:lnTo>
                      <a:pt x="1184" y="486"/>
                    </a:lnTo>
                    <a:lnTo>
                      <a:pt x="1187" y="486"/>
                    </a:lnTo>
                    <a:lnTo>
                      <a:pt x="1189" y="486"/>
                    </a:lnTo>
                    <a:lnTo>
                      <a:pt x="1197" y="484"/>
                    </a:lnTo>
                    <a:lnTo>
                      <a:pt x="1203" y="485"/>
                    </a:lnTo>
                    <a:lnTo>
                      <a:pt x="1209" y="488"/>
                    </a:lnTo>
                    <a:lnTo>
                      <a:pt x="1212" y="490"/>
                    </a:lnTo>
                    <a:lnTo>
                      <a:pt x="1213" y="492"/>
                    </a:lnTo>
                    <a:lnTo>
                      <a:pt x="1213" y="494"/>
                    </a:lnTo>
                    <a:lnTo>
                      <a:pt x="1213" y="496"/>
                    </a:lnTo>
                    <a:lnTo>
                      <a:pt x="1212" y="499"/>
                    </a:lnTo>
                    <a:lnTo>
                      <a:pt x="1212" y="502"/>
                    </a:lnTo>
                    <a:lnTo>
                      <a:pt x="1214" y="504"/>
                    </a:lnTo>
                    <a:lnTo>
                      <a:pt x="1216" y="506"/>
                    </a:lnTo>
                    <a:lnTo>
                      <a:pt x="1218" y="508"/>
                    </a:lnTo>
                    <a:lnTo>
                      <a:pt x="1220" y="510"/>
                    </a:lnTo>
                    <a:lnTo>
                      <a:pt x="1222" y="512"/>
                    </a:lnTo>
                    <a:lnTo>
                      <a:pt x="1223" y="513"/>
                    </a:lnTo>
                    <a:lnTo>
                      <a:pt x="1223" y="515"/>
                    </a:lnTo>
                    <a:lnTo>
                      <a:pt x="1224" y="517"/>
                    </a:lnTo>
                    <a:lnTo>
                      <a:pt x="1225" y="518"/>
                    </a:lnTo>
                    <a:lnTo>
                      <a:pt x="1226" y="520"/>
                    </a:lnTo>
                    <a:lnTo>
                      <a:pt x="1228" y="521"/>
                    </a:lnTo>
                    <a:lnTo>
                      <a:pt x="1230" y="522"/>
                    </a:lnTo>
                    <a:lnTo>
                      <a:pt x="1231" y="522"/>
                    </a:lnTo>
                    <a:lnTo>
                      <a:pt x="1233" y="521"/>
                    </a:lnTo>
                    <a:lnTo>
                      <a:pt x="1235" y="521"/>
                    </a:lnTo>
                    <a:lnTo>
                      <a:pt x="1236" y="521"/>
                    </a:lnTo>
                    <a:lnTo>
                      <a:pt x="1238" y="522"/>
                    </a:lnTo>
                    <a:lnTo>
                      <a:pt x="1246" y="522"/>
                    </a:lnTo>
                    <a:lnTo>
                      <a:pt x="1247" y="522"/>
                    </a:lnTo>
                    <a:lnTo>
                      <a:pt x="1249" y="523"/>
                    </a:lnTo>
                    <a:lnTo>
                      <a:pt x="1250" y="524"/>
                    </a:lnTo>
                    <a:lnTo>
                      <a:pt x="1250" y="526"/>
                    </a:lnTo>
                    <a:lnTo>
                      <a:pt x="1250" y="528"/>
                    </a:lnTo>
                    <a:lnTo>
                      <a:pt x="1249" y="530"/>
                    </a:lnTo>
                    <a:lnTo>
                      <a:pt x="1248" y="531"/>
                    </a:lnTo>
                    <a:lnTo>
                      <a:pt x="1247" y="533"/>
                    </a:lnTo>
                    <a:lnTo>
                      <a:pt x="1246" y="535"/>
                    </a:lnTo>
                    <a:lnTo>
                      <a:pt x="1246" y="537"/>
                    </a:lnTo>
                    <a:lnTo>
                      <a:pt x="1246" y="538"/>
                    </a:lnTo>
                    <a:lnTo>
                      <a:pt x="1248" y="540"/>
                    </a:lnTo>
                    <a:lnTo>
                      <a:pt x="1250" y="541"/>
                    </a:lnTo>
                    <a:lnTo>
                      <a:pt x="1252" y="543"/>
                    </a:lnTo>
                    <a:lnTo>
                      <a:pt x="1254" y="544"/>
                    </a:lnTo>
                    <a:lnTo>
                      <a:pt x="1256" y="544"/>
                    </a:lnTo>
                    <a:lnTo>
                      <a:pt x="1258" y="544"/>
                    </a:lnTo>
                    <a:lnTo>
                      <a:pt x="1258" y="543"/>
                    </a:lnTo>
                    <a:lnTo>
                      <a:pt x="1258" y="541"/>
                    </a:lnTo>
                    <a:lnTo>
                      <a:pt x="1258" y="539"/>
                    </a:lnTo>
                    <a:lnTo>
                      <a:pt x="1255" y="537"/>
                    </a:lnTo>
                    <a:lnTo>
                      <a:pt x="1254" y="535"/>
                    </a:lnTo>
                    <a:lnTo>
                      <a:pt x="1253" y="532"/>
                    </a:lnTo>
                    <a:lnTo>
                      <a:pt x="1254" y="528"/>
                    </a:lnTo>
                    <a:lnTo>
                      <a:pt x="1256" y="526"/>
                    </a:lnTo>
                    <a:lnTo>
                      <a:pt x="1259" y="525"/>
                    </a:lnTo>
                    <a:lnTo>
                      <a:pt x="1263" y="525"/>
                    </a:lnTo>
                    <a:lnTo>
                      <a:pt x="1265" y="526"/>
                    </a:lnTo>
                    <a:lnTo>
                      <a:pt x="1267" y="527"/>
                    </a:lnTo>
                    <a:lnTo>
                      <a:pt x="1268" y="530"/>
                    </a:lnTo>
                    <a:lnTo>
                      <a:pt x="1269" y="531"/>
                    </a:lnTo>
                    <a:lnTo>
                      <a:pt x="1269" y="533"/>
                    </a:lnTo>
                    <a:lnTo>
                      <a:pt x="1269" y="536"/>
                    </a:lnTo>
                    <a:lnTo>
                      <a:pt x="1270" y="537"/>
                    </a:lnTo>
                    <a:lnTo>
                      <a:pt x="1269" y="539"/>
                    </a:lnTo>
                    <a:lnTo>
                      <a:pt x="1268" y="540"/>
                    </a:lnTo>
                    <a:lnTo>
                      <a:pt x="1267" y="541"/>
                    </a:lnTo>
                    <a:lnTo>
                      <a:pt x="1268" y="542"/>
                    </a:lnTo>
                    <a:lnTo>
                      <a:pt x="1269" y="543"/>
                    </a:lnTo>
                    <a:lnTo>
                      <a:pt x="1270" y="543"/>
                    </a:lnTo>
                    <a:lnTo>
                      <a:pt x="1270" y="544"/>
                    </a:lnTo>
                    <a:lnTo>
                      <a:pt x="1271" y="545"/>
                    </a:lnTo>
                    <a:lnTo>
                      <a:pt x="1270" y="548"/>
                    </a:lnTo>
                    <a:lnTo>
                      <a:pt x="1270" y="553"/>
                    </a:lnTo>
                    <a:lnTo>
                      <a:pt x="1269" y="558"/>
                    </a:lnTo>
                    <a:lnTo>
                      <a:pt x="1270" y="561"/>
                    </a:lnTo>
                    <a:lnTo>
                      <a:pt x="1273" y="563"/>
                    </a:lnTo>
                    <a:lnTo>
                      <a:pt x="1279" y="564"/>
                    </a:lnTo>
                    <a:lnTo>
                      <a:pt x="1286" y="564"/>
                    </a:lnTo>
                    <a:lnTo>
                      <a:pt x="1293" y="565"/>
                    </a:lnTo>
                    <a:lnTo>
                      <a:pt x="1294" y="566"/>
                    </a:lnTo>
                    <a:lnTo>
                      <a:pt x="1295" y="566"/>
                    </a:lnTo>
                    <a:lnTo>
                      <a:pt x="1297" y="567"/>
                    </a:lnTo>
                    <a:lnTo>
                      <a:pt x="1299" y="568"/>
                    </a:lnTo>
                    <a:lnTo>
                      <a:pt x="1300" y="568"/>
                    </a:lnTo>
                    <a:lnTo>
                      <a:pt x="1302" y="569"/>
                    </a:lnTo>
                    <a:lnTo>
                      <a:pt x="1302" y="568"/>
                    </a:lnTo>
                    <a:lnTo>
                      <a:pt x="1302" y="568"/>
                    </a:lnTo>
                    <a:lnTo>
                      <a:pt x="1300" y="567"/>
                    </a:lnTo>
                    <a:lnTo>
                      <a:pt x="1299" y="565"/>
                    </a:lnTo>
                    <a:lnTo>
                      <a:pt x="1297" y="564"/>
                    </a:lnTo>
                    <a:lnTo>
                      <a:pt x="1295" y="562"/>
                    </a:lnTo>
                    <a:lnTo>
                      <a:pt x="1295" y="561"/>
                    </a:lnTo>
                    <a:lnTo>
                      <a:pt x="1293" y="559"/>
                    </a:lnTo>
                    <a:lnTo>
                      <a:pt x="1292" y="558"/>
                    </a:lnTo>
                    <a:lnTo>
                      <a:pt x="1291" y="556"/>
                    </a:lnTo>
                    <a:lnTo>
                      <a:pt x="1289" y="555"/>
                    </a:lnTo>
                    <a:lnTo>
                      <a:pt x="1287" y="555"/>
                    </a:lnTo>
                    <a:lnTo>
                      <a:pt x="1284" y="554"/>
                    </a:lnTo>
                    <a:lnTo>
                      <a:pt x="1282" y="552"/>
                    </a:lnTo>
                    <a:lnTo>
                      <a:pt x="1281" y="551"/>
                    </a:lnTo>
                    <a:lnTo>
                      <a:pt x="1280" y="549"/>
                    </a:lnTo>
                    <a:lnTo>
                      <a:pt x="1280" y="547"/>
                    </a:lnTo>
                    <a:lnTo>
                      <a:pt x="1281" y="545"/>
                    </a:lnTo>
                    <a:lnTo>
                      <a:pt x="1281" y="543"/>
                    </a:lnTo>
                    <a:lnTo>
                      <a:pt x="1281" y="542"/>
                    </a:lnTo>
                    <a:lnTo>
                      <a:pt x="1280" y="540"/>
                    </a:lnTo>
                    <a:lnTo>
                      <a:pt x="1280" y="538"/>
                    </a:lnTo>
                    <a:lnTo>
                      <a:pt x="1280" y="536"/>
                    </a:lnTo>
                    <a:lnTo>
                      <a:pt x="1281" y="534"/>
                    </a:lnTo>
                    <a:lnTo>
                      <a:pt x="1281" y="533"/>
                    </a:lnTo>
                    <a:lnTo>
                      <a:pt x="1283" y="531"/>
                    </a:lnTo>
                    <a:lnTo>
                      <a:pt x="1284" y="531"/>
                    </a:lnTo>
                    <a:lnTo>
                      <a:pt x="1287" y="531"/>
                    </a:lnTo>
                    <a:lnTo>
                      <a:pt x="1297" y="531"/>
                    </a:lnTo>
                    <a:lnTo>
                      <a:pt x="1308" y="532"/>
                    </a:lnTo>
                    <a:lnTo>
                      <a:pt x="1319" y="535"/>
                    </a:lnTo>
                    <a:lnTo>
                      <a:pt x="1324" y="537"/>
                    </a:lnTo>
                    <a:lnTo>
                      <a:pt x="1327" y="540"/>
                    </a:lnTo>
                    <a:lnTo>
                      <a:pt x="1330" y="543"/>
                    </a:lnTo>
                    <a:lnTo>
                      <a:pt x="1333" y="546"/>
                    </a:lnTo>
                    <a:lnTo>
                      <a:pt x="1335" y="549"/>
                    </a:lnTo>
                    <a:lnTo>
                      <a:pt x="1337" y="551"/>
                    </a:lnTo>
                    <a:lnTo>
                      <a:pt x="1338" y="552"/>
                    </a:lnTo>
                    <a:lnTo>
                      <a:pt x="1338" y="554"/>
                    </a:lnTo>
                    <a:lnTo>
                      <a:pt x="1339" y="555"/>
                    </a:lnTo>
                    <a:lnTo>
                      <a:pt x="1341" y="557"/>
                    </a:lnTo>
                    <a:lnTo>
                      <a:pt x="1343" y="559"/>
                    </a:lnTo>
                    <a:lnTo>
                      <a:pt x="1345" y="559"/>
                    </a:lnTo>
                    <a:lnTo>
                      <a:pt x="1347" y="560"/>
                    </a:lnTo>
                    <a:lnTo>
                      <a:pt x="1349" y="561"/>
                    </a:lnTo>
                    <a:lnTo>
                      <a:pt x="1351" y="562"/>
                    </a:lnTo>
                    <a:lnTo>
                      <a:pt x="1353" y="563"/>
                    </a:lnTo>
                    <a:lnTo>
                      <a:pt x="1356" y="563"/>
                    </a:lnTo>
                    <a:lnTo>
                      <a:pt x="1358" y="563"/>
                    </a:lnTo>
                    <a:lnTo>
                      <a:pt x="1359" y="563"/>
                    </a:lnTo>
                    <a:lnTo>
                      <a:pt x="1359" y="563"/>
                    </a:lnTo>
                    <a:lnTo>
                      <a:pt x="1358" y="562"/>
                    </a:lnTo>
                    <a:lnTo>
                      <a:pt x="1357" y="561"/>
                    </a:lnTo>
                    <a:lnTo>
                      <a:pt x="1355" y="560"/>
                    </a:lnTo>
                    <a:lnTo>
                      <a:pt x="1353" y="560"/>
                    </a:lnTo>
                    <a:lnTo>
                      <a:pt x="1351" y="559"/>
                    </a:lnTo>
                    <a:lnTo>
                      <a:pt x="1349" y="557"/>
                    </a:lnTo>
                    <a:lnTo>
                      <a:pt x="1348" y="556"/>
                    </a:lnTo>
                    <a:lnTo>
                      <a:pt x="1347" y="554"/>
                    </a:lnTo>
                    <a:lnTo>
                      <a:pt x="1346" y="552"/>
                    </a:lnTo>
                    <a:lnTo>
                      <a:pt x="1345" y="551"/>
                    </a:lnTo>
                    <a:lnTo>
                      <a:pt x="1343" y="548"/>
                    </a:lnTo>
                    <a:lnTo>
                      <a:pt x="1341" y="546"/>
                    </a:lnTo>
                    <a:lnTo>
                      <a:pt x="1339" y="543"/>
                    </a:lnTo>
                    <a:lnTo>
                      <a:pt x="1337" y="541"/>
                    </a:lnTo>
                    <a:lnTo>
                      <a:pt x="1336" y="539"/>
                    </a:lnTo>
                    <a:lnTo>
                      <a:pt x="1334" y="538"/>
                    </a:lnTo>
                    <a:lnTo>
                      <a:pt x="1332" y="536"/>
                    </a:lnTo>
                    <a:lnTo>
                      <a:pt x="1331" y="535"/>
                    </a:lnTo>
                    <a:lnTo>
                      <a:pt x="1331" y="533"/>
                    </a:lnTo>
                    <a:lnTo>
                      <a:pt x="1332" y="532"/>
                    </a:lnTo>
                    <a:lnTo>
                      <a:pt x="1334" y="530"/>
                    </a:lnTo>
                    <a:lnTo>
                      <a:pt x="1337" y="528"/>
                    </a:lnTo>
                    <a:lnTo>
                      <a:pt x="1341" y="526"/>
                    </a:lnTo>
                    <a:lnTo>
                      <a:pt x="1346" y="524"/>
                    </a:lnTo>
                    <a:lnTo>
                      <a:pt x="1351" y="522"/>
                    </a:lnTo>
                    <a:lnTo>
                      <a:pt x="1354" y="522"/>
                    </a:lnTo>
                    <a:lnTo>
                      <a:pt x="1358" y="522"/>
                    </a:lnTo>
                    <a:lnTo>
                      <a:pt x="1362" y="521"/>
                    </a:lnTo>
                    <a:lnTo>
                      <a:pt x="1366" y="520"/>
                    </a:lnTo>
                    <a:lnTo>
                      <a:pt x="1369" y="518"/>
                    </a:lnTo>
                    <a:lnTo>
                      <a:pt x="1372" y="516"/>
                    </a:lnTo>
                    <a:lnTo>
                      <a:pt x="1374" y="514"/>
                    </a:lnTo>
                    <a:lnTo>
                      <a:pt x="1376" y="513"/>
                    </a:lnTo>
                    <a:lnTo>
                      <a:pt x="1378" y="512"/>
                    </a:lnTo>
                    <a:lnTo>
                      <a:pt x="1380" y="511"/>
                    </a:lnTo>
                    <a:lnTo>
                      <a:pt x="1382" y="510"/>
                    </a:lnTo>
                    <a:lnTo>
                      <a:pt x="1391" y="506"/>
                    </a:lnTo>
                    <a:lnTo>
                      <a:pt x="1399" y="505"/>
                    </a:lnTo>
                    <a:lnTo>
                      <a:pt x="1408" y="506"/>
                    </a:lnTo>
                    <a:lnTo>
                      <a:pt x="1409" y="506"/>
                    </a:lnTo>
                    <a:lnTo>
                      <a:pt x="1411" y="505"/>
                    </a:lnTo>
                    <a:lnTo>
                      <a:pt x="1413" y="505"/>
                    </a:lnTo>
                    <a:lnTo>
                      <a:pt x="1416" y="504"/>
                    </a:lnTo>
                    <a:lnTo>
                      <a:pt x="1419" y="504"/>
                    </a:lnTo>
                    <a:lnTo>
                      <a:pt x="1420" y="503"/>
                    </a:lnTo>
                    <a:lnTo>
                      <a:pt x="1420" y="502"/>
                    </a:lnTo>
                    <a:lnTo>
                      <a:pt x="1419" y="502"/>
                    </a:lnTo>
                    <a:lnTo>
                      <a:pt x="1412" y="500"/>
                    </a:lnTo>
                    <a:lnTo>
                      <a:pt x="1405" y="500"/>
                    </a:lnTo>
                    <a:lnTo>
                      <a:pt x="1398" y="500"/>
                    </a:lnTo>
                    <a:lnTo>
                      <a:pt x="1382" y="500"/>
                    </a:lnTo>
                    <a:lnTo>
                      <a:pt x="1380" y="498"/>
                    </a:lnTo>
                    <a:lnTo>
                      <a:pt x="1381" y="495"/>
                    </a:lnTo>
                    <a:lnTo>
                      <a:pt x="1384" y="491"/>
                    </a:lnTo>
                    <a:lnTo>
                      <a:pt x="1389" y="487"/>
                    </a:lnTo>
                    <a:lnTo>
                      <a:pt x="1393" y="484"/>
                    </a:lnTo>
                    <a:lnTo>
                      <a:pt x="1396" y="482"/>
                    </a:lnTo>
                    <a:lnTo>
                      <a:pt x="1398" y="481"/>
                    </a:lnTo>
                    <a:lnTo>
                      <a:pt x="1401" y="480"/>
                    </a:lnTo>
                    <a:lnTo>
                      <a:pt x="1403" y="479"/>
                    </a:lnTo>
                    <a:lnTo>
                      <a:pt x="1404" y="478"/>
                    </a:lnTo>
                    <a:lnTo>
                      <a:pt x="1406" y="476"/>
                    </a:lnTo>
                    <a:lnTo>
                      <a:pt x="1406" y="476"/>
                    </a:lnTo>
                    <a:lnTo>
                      <a:pt x="1406" y="475"/>
                    </a:lnTo>
                    <a:lnTo>
                      <a:pt x="1405" y="474"/>
                    </a:lnTo>
                    <a:lnTo>
                      <a:pt x="1404" y="474"/>
                    </a:lnTo>
                    <a:lnTo>
                      <a:pt x="1402" y="474"/>
                    </a:lnTo>
                    <a:lnTo>
                      <a:pt x="1397" y="474"/>
                    </a:lnTo>
                    <a:lnTo>
                      <a:pt x="1393" y="476"/>
                    </a:lnTo>
                    <a:lnTo>
                      <a:pt x="1389" y="478"/>
                    </a:lnTo>
                    <a:lnTo>
                      <a:pt x="1386" y="480"/>
                    </a:lnTo>
                    <a:lnTo>
                      <a:pt x="1382" y="482"/>
                    </a:lnTo>
                    <a:lnTo>
                      <a:pt x="1378" y="485"/>
                    </a:lnTo>
                    <a:lnTo>
                      <a:pt x="1376" y="488"/>
                    </a:lnTo>
                    <a:lnTo>
                      <a:pt x="1374" y="491"/>
                    </a:lnTo>
                    <a:lnTo>
                      <a:pt x="1374" y="496"/>
                    </a:lnTo>
                    <a:lnTo>
                      <a:pt x="1374" y="497"/>
                    </a:lnTo>
                    <a:lnTo>
                      <a:pt x="1375" y="499"/>
                    </a:lnTo>
                    <a:lnTo>
                      <a:pt x="1375" y="500"/>
                    </a:lnTo>
                    <a:lnTo>
                      <a:pt x="1374" y="502"/>
                    </a:lnTo>
                    <a:lnTo>
                      <a:pt x="1372" y="503"/>
                    </a:lnTo>
                    <a:lnTo>
                      <a:pt x="1370" y="505"/>
                    </a:lnTo>
                    <a:lnTo>
                      <a:pt x="1369" y="506"/>
                    </a:lnTo>
                    <a:lnTo>
                      <a:pt x="1368" y="508"/>
                    </a:lnTo>
                    <a:lnTo>
                      <a:pt x="1363" y="511"/>
                    </a:lnTo>
                    <a:lnTo>
                      <a:pt x="1356" y="513"/>
                    </a:lnTo>
                    <a:lnTo>
                      <a:pt x="1349" y="515"/>
                    </a:lnTo>
                    <a:lnTo>
                      <a:pt x="1341" y="516"/>
                    </a:lnTo>
                    <a:lnTo>
                      <a:pt x="1338" y="517"/>
                    </a:lnTo>
                    <a:lnTo>
                      <a:pt x="1335" y="519"/>
                    </a:lnTo>
                    <a:lnTo>
                      <a:pt x="1331" y="519"/>
                    </a:lnTo>
                    <a:lnTo>
                      <a:pt x="1327" y="520"/>
                    </a:lnTo>
                    <a:lnTo>
                      <a:pt x="1326" y="519"/>
                    </a:lnTo>
                    <a:lnTo>
                      <a:pt x="1325" y="518"/>
                    </a:lnTo>
                    <a:lnTo>
                      <a:pt x="1325" y="516"/>
                    </a:lnTo>
                    <a:lnTo>
                      <a:pt x="1326" y="515"/>
                    </a:lnTo>
                    <a:lnTo>
                      <a:pt x="1326" y="514"/>
                    </a:lnTo>
                    <a:lnTo>
                      <a:pt x="1326" y="513"/>
                    </a:lnTo>
                    <a:lnTo>
                      <a:pt x="1325" y="512"/>
                    </a:lnTo>
                    <a:lnTo>
                      <a:pt x="1323" y="511"/>
                    </a:lnTo>
                    <a:lnTo>
                      <a:pt x="1321" y="512"/>
                    </a:lnTo>
                    <a:lnTo>
                      <a:pt x="1319" y="513"/>
                    </a:lnTo>
                    <a:lnTo>
                      <a:pt x="1316" y="515"/>
                    </a:lnTo>
                    <a:lnTo>
                      <a:pt x="1313" y="517"/>
                    </a:lnTo>
                    <a:lnTo>
                      <a:pt x="1312" y="519"/>
                    </a:lnTo>
                    <a:lnTo>
                      <a:pt x="1310" y="520"/>
                    </a:lnTo>
                    <a:lnTo>
                      <a:pt x="1306" y="521"/>
                    </a:lnTo>
                    <a:lnTo>
                      <a:pt x="1299" y="522"/>
                    </a:lnTo>
                    <a:lnTo>
                      <a:pt x="1293" y="522"/>
                    </a:lnTo>
                    <a:lnTo>
                      <a:pt x="1289" y="520"/>
                    </a:lnTo>
                    <a:lnTo>
                      <a:pt x="1287" y="519"/>
                    </a:lnTo>
                    <a:lnTo>
                      <a:pt x="1287" y="517"/>
                    </a:lnTo>
                    <a:lnTo>
                      <a:pt x="1287" y="516"/>
                    </a:lnTo>
                    <a:lnTo>
                      <a:pt x="1288" y="514"/>
                    </a:lnTo>
                    <a:lnTo>
                      <a:pt x="1288" y="513"/>
                    </a:lnTo>
                    <a:lnTo>
                      <a:pt x="1289" y="512"/>
                    </a:lnTo>
                    <a:lnTo>
                      <a:pt x="1289" y="510"/>
                    </a:lnTo>
                    <a:lnTo>
                      <a:pt x="1290" y="508"/>
                    </a:lnTo>
                    <a:lnTo>
                      <a:pt x="1292" y="506"/>
                    </a:lnTo>
                    <a:lnTo>
                      <a:pt x="1294" y="505"/>
                    </a:lnTo>
                    <a:lnTo>
                      <a:pt x="1296" y="504"/>
                    </a:lnTo>
                    <a:lnTo>
                      <a:pt x="1310" y="499"/>
                    </a:lnTo>
                    <a:lnTo>
                      <a:pt x="1325" y="496"/>
                    </a:lnTo>
                    <a:lnTo>
                      <a:pt x="1328" y="495"/>
                    </a:lnTo>
                    <a:lnTo>
                      <a:pt x="1329" y="494"/>
                    </a:lnTo>
                    <a:lnTo>
                      <a:pt x="1329" y="494"/>
                    </a:lnTo>
                    <a:lnTo>
                      <a:pt x="1328" y="493"/>
                    </a:lnTo>
                    <a:lnTo>
                      <a:pt x="1327" y="493"/>
                    </a:lnTo>
                    <a:lnTo>
                      <a:pt x="1325" y="493"/>
                    </a:lnTo>
                    <a:lnTo>
                      <a:pt x="1323" y="493"/>
                    </a:lnTo>
                    <a:lnTo>
                      <a:pt x="1321" y="494"/>
                    </a:lnTo>
                    <a:lnTo>
                      <a:pt x="1319" y="494"/>
                    </a:lnTo>
                    <a:lnTo>
                      <a:pt x="1317" y="494"/>
                    </a:lnTo>
                    <a:lnTo>
                      <a:pt x="1306" y="495"/>
                    </a:lnTo>
                    <a:lnTo>
                      <a:pt x="1296" y="498"/>
                    </a:lnTo>
                    <a:lnTo>
                      <a:pt x="1287" y="502"/>
                    </a:lnTo>
                    <a:lnTo>
                      <a:pt x="1283" y="503"/>
                    </a:lnTo>
                    <a:lnTo>
                      <a:pt x="1281" y="505"/>
                    </a:lnTo>
                    <a:lnTo>
                      <a:pt x="1279" y="507"/>
                    </a:lnTo>
                    <a:lnTo>
                      <a:pt x="1277" y="509"/>
                    </a:lnTo>
                    <a:lnTo>
                      <a:pt x="1275" y="512"/>
                    </a:lnTo>
                    <a:lnTo>
                      <a:pt x="1269" y="513"/>
                    </a:lnTo>
                    <a:lnTo>
                      <a:pt x="1263" y="512"/>
                    </a:lnTo>
                    <a:lnTo>
                      <a:pt x="1256" y="510"/>
                    </a:lnTo>
                    <a:lnTo>
                      <a:pt x="1252" y="508"/>
                    </a:lnTo>
                    <a:lnTo>
                      <a:pt x="1249" y="507"/>
                    </a:lnTo>
                    <a:lnTo>
                      <a:pt x="1247" y="506"/>
                    </a:lnTo>
                    <a:lnTo>
                      <a:pt x="1247" y="505"/>
                    </a:lnTo>
                    <a:lnTo>
                      <a:pt x="1248" y="504"/>
                    </a:lnTo>
                    <a:lnTo>
                      <a:pt x="1250" y="503"/>
                    </a:lnTo>
                    <a:lnTo>
                      <a:pt x="1254" y="502"/>
                    </a:lnTo>
                    <a:lnTo>
                      <a:pt x="1265" y="499"/>
                    </a:lnTo>
                    <a:lnTo>
                      <a:pt x="1275" y="499"/>
                    </a:lnTo>
                    <a:lnTo>
                      <a:pt x="1285" y="498"/>
                    </a:lnTo>
                    <a:lnTo>
                      <a:pt x="1295" y="492"/>
                    </a:lnTo>
                    <a:lnTo>
                      <a:pt x="1304" y="486"/>
                    </a:lnTo>
                    <a:lnTo>
                      <a:pt x="1306" y="485"/>
                    </a:lnTo>
                    <a:lnTo>
                      <a:pt x="1306" y="485"/>
                    </a:lnTo>
                    <a:lnTo>
                      <a:pt x="1306" y="484"/>
                    </a:lnTo>
                    <a:lnTo>
                      <a:pt x="1304" y="484"/>
                    </a:lnTo>
                    <a:lnTo>
                      <a:pt x="1302" y="484"/>
                    </a:lnTo>
                    <a:lnTo>
                      <a:pt x="1300" y="485"/>
                    </a:lnTo>
                    <a:lnTo>
                      <a:pt x="1298" y="485"/>
                    </a:lnTo>
                    <a:lnTo>
                      <a:pt x="1296" y="486"/>
                    </a:lnTo>
                    <a:lnTo>
                      <a:pt x="1293" y="488"/>
                    </a:lnTo>
                    <a:lnTo>
                      <a:pt x="1289" y="490"/>
                    </a:lnTo>
                    <a:lnTo>
                      <a:pt x="1285" y="492"/>
                    </a:lnTo>
                    <a:lnTo>
                      <a:pt x="1281" y="494"/>
                    </a:lnTo>
                    <a:lnTo>
                      <a:pt x="1271" y="496"/>
                    </a:lnTo>
                    <a:lnTo>
                      <a:pt x="1260" y="498"/>
                    </a:lnTo>
                    <a:lnTo>
                      <a:pt x="1256" y="498"/>
                    </a:lnTo>
                    <a:lnTo>
                      <a:pt x="1253" y="499"/>
                    </a:lnTo>
                    <a:lnTo>
                      <a:pt x="1250" y="500"/>
                    </a:lnTo>
                    <a:lnTo>
                      <a:pt x="1247" y="500"/>
                    </a:lnTo>
                    <a:lnTo>
                      <a:pt x="1244" y="500"/>
                    </a:lnTo>
                    <a:lnTo>
                      <a:pt x="1241" y="500"/>
                    </a:lnTo>
                    <a:lnTo>
                      <a:pt x="1239" y="499"/>
                    </a:lnTo>
                    <a:lnTo>
                      <a:pt x="1237" y="499"/>
                    </a:lnTo>
                    <a:lnTo>
                      <a:pt x="1235" y="498"/>
                    </a:lnTo>
                    <a:lnTo>
                      <a:pt x="1235" y="497"/>
                    </a:lnTo>
                    <a:lnTo>
                      <a:pt x="1235" y="495"/>
                    </a:lnTo>
                    <a:lnTo>
                      <a:pt x="1236" y="494"/>
                    </a:lnTo>
                    <a:lnTo>
                      <a:pt x="1237" y="493"/>
                    </a:lnTo>
                    <a:lnTo>
                      <a:pt x="1238" y="492"/>
                    </a:lnTo>
                    <a:lnTo>
                      <a:pt x="1239" y="491"/>
                    </a:lnTo>
                    <a:lnTo>
                      <a:pt x="1240" y="490"/>
                    </a:lnTo>
                    <a:lnTo>
                      <a:pt x="1241" y="490"/>
                    </a:lnTo>
                    <a:lnTo>
                      <a:pt x="1243" y="489"/>
                    </a:lnTo>
                    <a:lnTo>
                      <a:pt x="1243" y="489"/>
                    </a:lnTo>
                    <a:lnTo>
                      <a:pt x="1244" y="488"/>
                    </a:lnTo>
                    <a:lnTo>
                      <a:pt x="1244" y="487"/>
                    </a:lnTo>
                    <a:lnTo>
                      <a:pt x="1244" y="486"/>
                    </a:lnTo>
                    <a:lnTo>
                      <a:pt x="1243" y="485"/>
                    </a:lnTo>
                    <a:lnTo>
                      <a:pt x="1242" y="485"/>
                    </a:lnTo>
                    <a:lnTo>
                      <a:pt x="1242" y="484"/>
                    </a:lnTo>
                    <a:lnTo>
                      <a:pt x="1242" y="482"/>
                    </a:lnTo>
                    <a:lnTo>
                      <a:pt x="1244" y="480"/>
                    </a:lnTo>
                    <a:lnTo>
                      <a:pt x="1246" y="480"/>
                    </a:lnTo>
                    <a:lnTo>
                      <a:pt x="1251" y="478"/>
                    </a:lnTo>
                    <a:lnTo>
                      <a:pt x="1256" y="475"/>
                    </a:lnTo>
                    <a:lnTo>
                      <a:pt x="1260" y="471"/>
                    </a:lnTo>
                    <a:lnTo>
                      <a:pt x="1256" y="471"/>
                    </a:lnTo>
                    <a:lnTo>
                      <a:pt x="1253" y="472"/>
                    </a:lnTo>
                    <a:lnTo>
                      <a:pt x="1250" y="474"/>
                    </a:lnTo>
                    <a:lnTo>
                      <a:pt x="1247" y="475"/>
                    </a:lnTo>
                    <a:lnTo>
                      <a:pt x="1246" y="476"/>
                    </a:lnTo>
                    <a:lnTo>
                      <a:pt x="1242" y="478"/>
                    </a:lnTo>
                    <a:lnTo>
                      <a:pt x="1238" y="479"/>
                    </a:lnTo>
                    <a:lnTo>
                      <a:pt x="1234" y="480"/>
                    </a:lnTo>
                    <a:lnTo>
                      <a:pt x="1232" y="479"/>
                    </a:lnTo>
                    <a:lnTo>
                      <a:pt x="1232" y="479"/>
                    </a:lnTo>
                    <a:lnTo>
                      <a:pt x="1231" y="478"/>
                    </a:lnTo>
                    <a:lnTo>
                      <a:pt x="1232" y="477"/>
                    </a:lnTo>
                    <a:lnTo>
                      <a:pt x="1232" y="476"/>
                    </a:lnTo>
                    <a:lnTo>
                      <a:pt x="1232" y="476"/>
                    </a:lnTo>
                    <a:lnTo>
                      <a:pt x="1233" y="475"/>
                    </a:lnTo>
                    <a:lnTo>
                      <a:pt x="1234" y="474"/>
                    </a:lnTo>
                    <a:lnTo>
                      <a:pt x="1235" y="472"/>
                    </a:lnTo>
                    <a:lnTo>
                      <a:pt x="1236" y="471"/>
                    </a:lnTo>
                    <a:lnTo>
                      <a:pt x="1237" y="470"/>
                    </a:lnTo>
                    <a:lnTo>
                      <a:pt x="1238" y="469"/>
                    </a:lnTo>
                    <a:lnTo>
                      <a:pt x="1238" y="469"/>
                    </a:lnTo>
                    <a:lnTo>
                      <a:pt x="1238" y="468"/>
                    </a:lnTo>
                    <a:lnTo>
                      <a:pt x="1236" y="468"/>
                    </a:lnTo>
                    <a:lnTo>
                      <a:pt x="1234" y="469"/>
                    </a:lnTo>
                    <a:lnTo>
                      <a:pt x="1231" y="469"/>
                    </a:lnTo>
                    <a:lnTo>
                      <a:pt x="1227" y="470"/>
                    </a:lnTo>
                    <a:lnTo>
                      <a:pt x="1222" y="470"/>
                    </a:lnTo>
                    <a:lnTo>
                      <a:pt x="1218" y="471"/>
                    </a:lnTo>
                    <a:lnTo>
                      <a:pt x="1216" y="470"/>
                    </a:lnTo>
                    <a:lnTo>
                      <a:pt x="1215" y="469"/>
                    </a:lnTo>
                    <a:lnTo>
                      <a:pt x="1215" y="468"/>
                    </a:lnTo>
                    <a:lnTo>
                      <a:pt x="1215" y="466"/>
                    </a:lnTo>
                    <a:lnTo>
                      <a:pt x="1216" y="465"/>
                    </a:lnTo>
                    <a:lnTo>
                      <a:pt x="1218" y="464"/>
                    </a:lnTo>
                    <a:lnTo>
                      <a:pt x="1220" y="463"/>
                    </a:lnTo>
                    <a:lnTo>
                      <a:pt x="1221" y="462"/>
                    </a:lnTo>
                    <a:lnTo>
                      <a:pt x="1222" y="461"/>
                    </a:lnTo>
                    <a:lnTo>
                      <a:pt x="1223" y="459"/>
                    </a:lnTo>
                    <a:lnTo>
                      <a:pt x="1225" y="457"/>
                    </a:lnTo>
                    <a:lnTo>
                      <a:pt x="1227" y="456"/>
                    </a:lnTo>
                    <a:lnTo>
                      <a:pt x="1231" y="455"/>
                    </a:lnTo>
                    <a:lnTo>
                      <a:pt x="1233" y="455"/>
                    </a:lnTo>
                    <a:lnTo>
                      <a:pt x="1236" y="455"/>
                    </a:lnTo>
                    <a:lnTo>
                      <a:pt x="1238" y="455"/>
                    </a:lnTo>
                    <a:lnTo>
                      <a:pt x="1240" y="455"/>
                    </a:lnTo>
                    <a:lnTo>
                      <a:pt x="1241" y="454"/>
                    </a:lnTo>
                    <a:lnTo>
                      <a:pt x="1242" y="452"/>
                    </a:lnTo>
                    <a:lnTo>
                      <a:pt x="1242" y="451"/>
                    </a:lnTo>
                    <a:lnTo>
                      <a:pt x="1244" y="449"/>
                    </a:lnTo>
                    <a:lnTo>
                      <a:pt x="1246" y="448"/>
                    </a:lnTo>
                    <a:lnTo>
                      <a:pt x="1248" y="447"/>
                    </a:lnTo>
                    <a:lnTo>
                      <a:pt x="1251" y="447"/>
                    </a:lnTo>
                    <a:lnTo>
                      <a:pt x="1254" y="447"/>
                    </a:lnTo>
                    <a:lnTo>
                      <a:pt x="1256" y="445"/>
                    </a:lnTo>
                    <a:lnTo>
                      <a:pt x="1260" y="443"/>
                    </a:lnTo>
                    <a:lnTo>
                      <a:pt x="1265" y="443"/>
                    </a:lnTo>
                    <a:lnTo>
                      <a:pt x="1267" y="443"/>
                    </a:lnTo>
                    <a:lnTo>
                      <a:pt x="1269" y="444"/>
                    </a:lnTo>
                    <a:lnTo>
                      <a:pt x="1271" y="444"/>
                    </a:lnTo>
                    <a:lnTo>
                      <a:pt x="1273" y="445"/>
                    </a:lnTo>
                    <a:lnTo>
                      <a:pt x="1275" y="445"/>
                    </a:lnTo>
                    <a:lnTo>
                      <a:pt x="1276" y="446"/>
                    </a:lnTo>
                    <a:lnTo>
                      <a:pt x="1277" y="445"/>
                    </a:lnTo>
                    <a:lnTo>
                      <a:pt x="1279" y="445"/>
                    </a:lnTo>
                    <a:lnTo>
                      <a:pt x="1281" y="445"/>
                    </a:lnTo>
                    <a:lnTo>
                      <a:pt x="1283" y="445"/>
                    </a:lnTo>
                    <a:lnTo>
                      <a:pt x="1285" y="445"/>
                    </a:lnTo>
                    <a:lnTo>
                      <a:pt x="1287" y="447"/>
                    </a:lnTo>
                    <a:lnTo>
                      <a:pt x="1289" y="447"/>
                    </a:lnTo>
                    <a:lnTo>
                      <a:pt x="1291" y="447"/>
                    </a:lnTo>
                    <a:lnTo>
                      <a:pt x="1293" y="446"/>
                    </a:lnTo>
                    <a:lnTo>
                      <a:pt x="1294" y="446"/>
                    </a:lnTo>
                    <a:lnTo>
                      <a:pt x="1294" y="446"/>
                    </a:lnTo>
                    <a:lnTo>
                      <a:pt x="1293" y="445"/>
                    </a:lnTo>
                    <a:lnTo>
                      <a:pt x="1291" y="443"/>
                    </a:lnTo>
                    <a:lnTo>
                      <a:pt x="1290" y="442"/>
                    </a:lnTo>
                    <a:lnTo>
                      <a:pt x="1287" y="441"/>
                    </a:lnTo>
                    <a:lnTo>
                      <a:pt x="1285" y="441"/>
                    </a:lnTo>
                    <a:lnTo>
                      <a:pt x="1283" y="440"/>
                    </a:lnTo>
                    <a:lnTo>
                      <a:pt x="1281" y="439"/>
                    </a:lnTo>
                    <a:lnTo>
                      <a:pt x="1280" y="438"/>
                    </a:lnTo>
                    <a:lnTo>
                      <a:pt x="1281" y="437"/>
                    </a:lnTo>
                    <a:lnTo>
                      <a:pt x="1281" y="436"/>
                    </a:lnTo>
                    <a:lnTo>
                      <a:pt x="1282" y="435"/>
                    </a:lnTo>
                    <a:lnTo>
                      <a:pt x="1284" y="435"/>
                    </a:lnTo>
                    <a:lnTo>
                      <a:pt x="1285" y="435"/>
                    </a:lnTo>
                    <a:lnTo>
                      <a:pt x="1287" y="435"/>
                    </a:lnTo>
                    <a:lnTo>
                      <a:pt x="1288" y="434"/>
                    </a:lnTo>
                    <a:lnTo>
                      <a:pt x="1289" y="434"/>
                    </a:lnTo>
                    <a:lnTo>
                      <a:pt x="1289" y="433"/>
                    </a:lnTo>
                    <a:lnTo>
                      <a:pt x="1289" y="432"/>
                    </a:lnTo>
                    <a:lnTo>
                      <a:pt x="1289" y="431"/>
                    </a:lnTo>
                    <a:lnTo>
                      <a:pt x="1289" y="431"/>
                    </a:lnTo>
                    <a:lnTo>
                      <a:pt x="1287" y="429"/>
                    </a:lnTo>
                    <a:lnTo>
                      <a:pt x="1285" y="428"/>
                    </a:lnTo>
                    <a:lnTo>
                      <a:pt x="1284" y="427"/>
                    </a:lnTo>
                    <a:lnTo>
                      <a:pt x="1283" y="426"/>
                    </a:lnTo>
                    <a:lnTo>
                      <a:pt x="1282" y="425"/>
                    </a:lnTo>
                    <a:lnTo>
                      <a:pt x="1283" y="424"/>
                    </a:lnTo>
                    <a:lnTo>
                      <a:pt x="1285" y="423"/>
                    </a:lnTo>
                    <a:lnTo>
                      <a:pt x="1289" y="423"/>
                    </a:lnTo>
                    <a:lnTo>
                      <a:pt x="1292" y="423"/>
                    </a:lnTo>
                    <a:lnTo>
                      <a:pt x="1296" y="423"/>
                    </a:lnTo>
                    <a:lnTo>
                      <a:pt x="1299" y="423"/>
                    </a:lnTo>
                    <a:lnTo>
                      <a:pt x="1302" y="425"/>
                    </a:lnTo>
                    <a:lnTo>
                      <a:pt x="1304" y="425"/>
                    </a:lnTo>
                    <a:lnTo>
                      <a:pt x="1305" y="427"/>
                    </a:lnTo>
                    <a:lnTo>
                      <a:pt x="1307" y="428"/>
                    </a:lnTo>
                    <a:lnTo>
                      <a:pt x="1308" y="429"/>
                    </a:lnTo>
                    <a:lnTo>
                      <a:pt x="1312" y="431"/>
                    </a:lnTo>
                    <a:lnTo>
                      <a:pt x="1316" y="433"/>
                    </a:lnTo>
                    <a:lnTo>
                      <a:pt x="1319" y="435"/>
                    </a:lnTo>
                    <a:lnTo>
                      <a:pt x="1321" y="434"/>
                    </a:lnTo>
                    <a:lnTo>
                      <a:pt x="1323" y="433"/>
                    </a:lnTo>
                    <a:lnTo>
                      <a:pt x="1325" y="433"/>
                    </a:lnTo>
                    <a:lnTo>
                      <a:pt x="1329" y="435"/>
                    </a:lnTo>
                    <a:lnTo>
                      <a:pt x="1331" y="437"/>
                    </a:lnTo>
                    <a:lnTo>
                      <a:pt x="1333" y="439"/>
                    </a:lnTo>
                    <a:lnTo>
                      <a:pt x="1337" y="440"/>
                    </a:lnTo>
                    <a:lnTo>
                      <a:pt x="1340" y="441"/>
                    </a:lnTo>
                    <a:lnTo>
                      <a:pt x="1344" y="442"/>
                    </a:lnTo>
                    <a:lnTo>
                      <a:pt x="1347" y="443"/>
                    </a:lnTo>
                    <a:lnTo>
                      <a:pt x="1349" y="443"/>
                    </a:lnTo>
                    <a:lnTo>
                      <a:pt x="1350" y="442"/>
                    </a:lnTo>
                    <a:lnTo>
                      <a:pt x="1351" y="441"/>
                    </a:lnTo>
                    <a:lnTo>
                      <a:pt x="1350" y="441"/>
                    </a:lnTo>
                    <a:lnTo>
                      <a:pt x="1349" y="440"/>
                    </a:lnTo>
                    <a:lnTo>
                      <a:pt x="1347" y="439"/>
                    </a:lnTo>
                    <a:lnTo>
                      <a:pt x="1346" y="439"/>
                    </a:lnTo>
                    <a:lnTo>
                      <a:pt x="1345" y="439"/>
                    </a:lnTo>
                    <a:lnTo>
                      <a:pt x="1343" y="437"/>
                    </a:lnTo>
                    <a:lnTo>
                      <a:pt x="1340" y="435"/>
                    </a:lnTo>
                    <a:lnTo>
                      <a:pt x="1337" y="433"/>
                    </a:lnTo>
                    <a:lnTo>
                      <a:pt x="1334" y="431"/>
                    </a:lnTo>
                    <a:lnTo>
                      <a:pt x="1331" y="429"/>
                    </a:lnTo>
                    <a:lnTo>
                      <a:pt x="1329" y="426"/>
                    </a:lnTo>
                    <a:lnTo>
                      <a:pt x="1328" y="424"/>
                    </a:lnTo>
                    <a:lnTo>
                      <a:pt x="1327" y="423"/>
                    </a:lnTo>
                    <a:lnTo>
                      <a:pt x="1328" y="422"/>
                    </a:lnTo>
                    <a:lnTo>
                      <a:pt x="1329" y="421"/>
                    </a:lnTo>
                    <a:lnTo>
                      <a:pt x="1330" y="420"/>
                    </a:lnTo>
                    <a:lnTo>
                      <a:pt x="1331" y="420"/>
                    </a:lnTo>
                    <a:lnTo>
                      <a:pt x="1331" y="419"/>
                    </a:lnTo>
                    <a:lnTo>
                      <a:pt x="1332" y="416"/>
                    </a:lnTo>
                    <a:lnTo>
                      <a:pt x="1333" y="416"/>
                    </a:lnTo>
                    <a:lnTo>
                      <a:pt x="1333" y="415"/>
                    </a:lnTo>
                    <a:lnTo>
                      <a:pt x="1333" y="414"/>
                    </a:lnTo>
                    <a:lnTo>
                      <a:pt x="1333" y="413"/>
                    </a:lnTo>
                    <a:lnTo>
                      <a:pt x="1333" y="413"/>
                    </a:lnTo>
                    <a:lnTo>
                      <a:pt x="1333" y="412"/>
                    </a:lnTo>
                    <a:lnTo>
                      <a:pt x="1334" y="412"/>
                    </a:lnTo>
                    <a:lnTo>
                      <a:pt x="1335" y="412"/>
                    </a:lnTo>
                    <a:lnTo>
                      <a:pt x="1337" y="413"/>
                    </a:lnTo>
                    <a:lnTo>
                      <a:pt x="1339" y="415"/>
                    </a:lnTo>
                    <a:lnTo>
                      <a:pt x="1341" y="416"/>
                    </a:lnTo>
                    <a:lnTo>
                      <a:pt x="1344" y="418"/>
                    </a:lnTo>
                    <a:lnTo>
                      <a:pt x="1346" y="419"/>
                    </a:lnTo>
                    <a:lnTo>
                      <a:pt x="1349" y="419"/>
                    </a:lnTo>
                    <a:lnTo>
                      <a:pt x="1349" y="418"/>
                    </a:lnTo>
                    <a:lnTo>
                      <a:pt x="1348" y="416"/>
                    </a:lnTo>
                    <a:lnTo>
                      <a:pt x="1347" y="414"/>
                    </a:lnTo>
                    <a:lnTo>
                      <a:pt x="1346" y="411"/>
                    </a:lnTo>
                    <a:lnTo>
                      <a:pt x="1345" y="409"/>
                    </a:lnTo>
                    <a:lnTo>
                      <a:pt x="1344" y="407"/>
                    </a:lnTo>
                    <a:lnTo>
                      <a:pt x="1343" y="406"/>
                    </a:lnTo>
                    <a:lnTo>
                      <a:pt x="1342" y="405"/>
                    </a:lnTo>
                    <a:lnTo>
                      <a:pt x="1342" y="404"/>
                    </a:lnTo>
                    <a:lnTo>
                      <a:pt x="1341" y="403"/>
                    </a:lnTo>
                    <a:lnTo>
                      <a:pt x="1342" y="402"/>
                    </a:lnTo>
                    <a:lnTo>
                      <a:pt x="1343" y="401"/>
                    </a:lnTo>
                    <a:lnTo>
                      <a:pt x="1344" y="401"/>
                    </a:lnTo>
                    <a:lnTo>
                      <a:pt x="1347" y="402"/>
                    </a:lnTo>
                    <a:lnTo>
                      <a:pt x="1348" y="402"/>
                    </a:lnTo>
                    <a:lnTo>
                      <a:pt x="1349" y="402"/>
                    </a:lnTo>
                    <a:lnTo>
                      <a:pt x="1350" y="403"/>
                    </a:lnTo>
                    <a:lnTo>
                      <a:pt x="1352" y="404"/>
                    </a:lnTo>
                    <a:lnTo>
                      <a:pt x="1354" y="405"/>
                    </a:lnTo>
                    <a:lnTo>
                      <a:pt x="1355" y="405"/>
                    </a:lnTo>
                    <a:lnTo>
                      <a:pt x="1357" y="406"/>
                    </a:lnTo>
                    <a:lnTo>
                      <a:pt x="1357" y="406"/>
                    </a:lnTo>
                    <a:lnTo>
                      <a:pt x="1357" y="406"/>
                    </a:lnTo>
                    <a:lnTo>
                      <a:pt x="1357" y="404"/>
                    </a:lnTo>
                    <a:lnTo>
                      <a:pt x="1356" y="403"/>
                    </a:lnTo>
                    <a:lnTo>
                      <a:pt x="1355" y="402"/>
                    </a:lnTo>
                    <a:lnTo>
                      <a:pt x="1355" y="401"/>
                    </a:lnTo>
                    <a:lnTo>
                      <a:pt x="1355" y="399"/>
                    </a:lnTo>
                    <a:lnTo>
                      <a:pt x="1355" y="398"/>
                    </a:lnTo>
                    <a:lnTo>
                      <a:pt x="1357" y="397"/>
                    </a:lnTo>
                    <a:lnTo>
                      <a:pt x="1359" y="396"/>
                    </a:lnTo>
                    <a:lnTo>
                      <a:pt x="1362" y="396"/>
                    </a:lnTo>
                    <a:lnTo>
                      <a:pt x="1366" y="396"/>
                    </a:lnTo>
                    <a:lnTo>
                      <a:pt x="1370" y="396"/>
                    </a:lnTo>
                    <a:lnTo>
                      <a:pt x="1373" y="397"/>
                    </a:lnTo>
                    <a:lnTo>
                      <a:pt x="1376" y="398"/>
                    </a:lnTo>
                    <a:lnTo>
                      <a:pt x="1378" y="400"/>
                    </a:lnTo>
                    <a:lnTo>
                      <a:pt x="1381" y="400"/>
                    </a:lnTo>
                    <a:lnTo>
                      <a:pt x="1384" y="400"/>
                    </a:lnTo>
                    <a:lnTo>
                      <a:pt x="1385" y="398"/>
                    </a:lnTo>
                    <a:lnTo>
                      <a:pt x="1386" y="398"/>
                    </a:lnTo>
                    <a:lnTo>
                      <a:pt x="1387" y="398"/>
                    </a:lnTo>
                    <a:lnTo>
                      <a:pt x="1388" y="398"/>
                    </a:lnTo>
                    <a:lnTo>
                      <a:pt x="1392" y="398"/>
                    </a:lnTo>
                    <a:lnTo>
                      <a:pt x="1393" y="399"/>
                    </a:lnTo>
                    <a:lnTo>
                      <a:pt x="1394" y="400"/>
                    </a:lnTo>
                    <a:lnTo>
                      <a:pt x="1395" y="401"/>
                    </a:lnTo>
                    <a:lnTo>
                      <a:pt x="1396" y="402"/>
                    </a:lnTo>
                    <a:lnTo>
                      <a:pt x="1399" y="404"/>
                    </a:lnTo>
                    <a:lnTo>
                      <a:pt x="1402" y="407"/>
                    </a:lnTo>
                    <a:lnTo>
                      <a:pt x="1405" y="409"/>
                    </a:lnTo>
                    <a:lnTo>
                      <a:pt x="1408" y="411"/>
                    </a:lnTo>
                    <a:lnTo>
                      <a:pt x="1410" y="413"/>
                    </a:lnTo>
                    <a:lnTo>
                      <a:pt x="1412" y="416"/>
                    </a:lnTo>
                    <a:lnTo>
                      <a:pt x="1413" y="418"/>
                    </a:lnTo>
                    <a:lnTo>
                      <a:pt x="1414" y="419"/>
                    </a:lnTo>
                    <a:lnTo>
                      <a:pt x="1414" y="420"/>
                    </a:lnTo>
                    <a:lnTo>
                      <a:pt x="1416" y="420"/>
                    </a:lnTo>
                    <a:lnTo>
                      <a:pt x="1419" y="421"/>
                    </a:lnTo>
                    <a:lnTo>
                      <a:pt x="1420" y="420"/>
                    </a:lnTo>
                    <a:lnTo>
                      <a:pt x="1421" y="420"/>
                    </a:lnTo>
                    <a:lnTo>
                      <a:pt x="1421" y="419"/>
                    </a:lnTo>
                    <a:lnTo>
                      <a:pt x="1421" y="418"/>
                    </a:lnTo>
                    <a:lnTo>
                      <a:pt x="1421" y="416"/>
                    </a:lnTo>
                    <a:lnTo>
                      <a:pt x="1420" y="414"/>
                    </a:lnTo>
                    <a:lnTo>
                      <a:pt x="1419" y="412"/>
                    </a:lnTo>
                    <a:lnTo>
                      <a:pt x="1416" y="409"/>
                    </a:lnTo>
                    <a:lnTo>
                      <a:pt x="1414" y="408"/>
                    </a:lnTo>
                    <a:lnTo>
                      <a:pt x="1412" y="406"/>
                    </a:lnTo>
                    <a:lnTo>
                      <a:pt x="1410" y="406"/>
                    </a:lnTo>
                    <a:lnTo>
                      <a:pt x="1407" y="405"/>
                    </a:lnTo>
                    <a:lnTo>
                      <a:pt x="1404" y="404"/>
                    </a:lnTo>
                    <a:lnTo>
                      <a:pt x="1402" y="402"/>
                    </a:lnTo>
                    <a:lnTo>
                      <a:pt x="1400" y="401"/>
                    </a:lnTo>
                    <a:lnTo>
                      <a:pt x="1399" y="400"/>
                    </a:lnTo>
                    <a:lnTo>
                      <a:pt x="1398" y="400"/>
                    </a:lnTo>
                    <a:lnTo>
                      <a:pt x="1396" y="400"/>
                    </a:lnTo>
                    <a:lnTo>
                      <a:pt x="1394" y="398"/>
                    </a:lnTo>
                    <a:lnTo>
                      <a:pt x="1392" y="396"/>
                    </a:lnTo>
                    <a:lnTo>
                      <a:pt x="1392" y="394"/>
                    </a:lnTo>
                    <a:lnTo>
                      <a:pt x="1393" y="393"/>
                    </a:lnTo>
                    <a:lnTo>
                      <a:pt x="1396" y="393"/>
                    </a:lnTo>
                    <a:lnTo>
                      <a:pt x="1398" y="393"/>
                    </a:lnTo>
                    <a:lnTo>
                      <a:pt x="1400" y="393"/>
                    </a:lnTo>
                    <a:lnTo>
                      <a:pt x="1402" y="394"/>
                    </a:lnTo>
                    <a:lnTo>
                      <a:pt x="1405" y="393"/>
                    </a:lnTo>
                    <a:lnTo>
                      <a:pt x="1409" y="393"/>
                    </a:lnTo>
                    <a:lnTo>
                      <a:pt x="1412" y="392"/>
                    </a:lnTo>
                    <a:lnTo>
                      <a:pt x="1416" y="392"/>
                    </a:lnTo>
                    <a:lnTo>
                      <a:pt x="1425" y="392"/>
                    </a:lnTo>
                    <a:lnTo>
                      <a:pt x="1431" y="394"/>
                    </a:lnTo>
                    <a:lnTo>
                      <a:pt x="1437" y="398"/>
                    </a:lnTo>
                    <a:lnTo>
                      <a:pt x="1437" y="399"/>
                    </a:lnTo>
                    <a:lnTo>
                      <a:pt x="1439" y="400"/>
                    </a:lnTo>
                    <a:lnTo>
                      <a:pt x="1441" y="402"/>
                    </a:lnTo>
                    <a:lnTo>
                      <a:pt x="1443" y="403"/>
                    </a:lnTo>
                    <a:lnTo>
                      <a:pt x="1446" y="404"/>
                    </a:lnTo>
                    <a:lnTo>
                      <a:pt x="1448" y="405"/>
                    </a:lnTo>
                    <a:lnTo>
                      <a:pt x="1451" y="406"/>
                    </a:lnTo>
                    <a:lnTo>
                      <a:pt x="1452" y="406"/>
                    </a:lnTo>
                    <a:lnTo>
                      <a:pt x="1445" y="400"/>
                    </a:lnTo>
                    <a:lnTo>
                      <a:pt x="1443" y="398"/>
                    </a:lnTo>
                    <a:lnTo>
                      <a:pt x="1444" y="396"/>
                    </a:lnTo>
                    <a:lnTo>
                      <a:pt x="1445" y="395"/>
                    </a:lnTo>
                    <a:lnTo>
                      <a:pt x="1447" y="394"/>
                    </a:lnTo>
                    <a:lnTo>
                      <a:pt x="1450" y="393"/>
                    </a:lnTo>
                    <a:lnTo>
                      <a:pt x="1452" y="392"/>
                    </a:lnTo>
                    <a:lnTo>
                      <a:pt x="1456" y="390"/>
                    </a:lnTo>
                    <a:lnTo>
                      <a:pt x="1460" y="390"/>
                    </a:lnTo>
                    <a:lnTo>
                      <a:pt x="1464" y="392"/>
                    </a:lnTo>
                    <a:lnTo>
                      <a:pt x="1466" y="392"/>
                    </a:lnTo>
                    <a:lnTo>
                      <a:pt x="1469" y="393"/>
                    </a:lnTo>
                    <a:lnTo>
                      <a:pt x="1471" y="394"/>
                    </a:lnTo>
                    <a:lnTo>
                      <a:pt x="1472" y="393"/>
                    </a:lnTo>
                    <a:lnTo>
                      <a:pt x="1472" y="392"/>
                    </a:lnTo>
                    <a:lnTo>
                      <a:pt x="1472" y="391"/>
                    </a:lnTo>
                    <a:lnTo>
                      <a:pt x="1472" y="390"/>
                    </a:lnTo>
                    <a:lnTo>
                      <a:pt x="1471" y="390"/>
                    </a:lnTo>
                    <a:lnTo>
                      <a:pt x="1474" y="388"/>
                    </a:lnTo>
                    <a:close/>
                    <a:moveTo>
                      <a:pt x="1589" y="111"/>
                    </a:moveTo>
                    <a:lnTo>
                      <a:pt x="1586" y="111"/>
                    </a:lnTo>
                    <a:lnTo>
                      <a:pt x="1517" y="111"/>
                    </a:lnTo>
                    <a:lnTo>
                      <a:pt x="1473" y="114"/>
                    </a:lnTo>
                    <a:lnTo>
                      <a:pt x="1428" y="119"/>
                    </a:lnTo>
                    <a:lnTo>
                      <a:pt x="1428" y="119"/>
                    </a:lnTo>
                    <a:lnTo>
                      <a:pt x="1428" y="119"/>
                    </a:lnTo>
                    <a:lnTo>
                      <a:pt x="1427" y="119"/>
                    </a:lnTo>
                    <a:lnTo>
                      <a:pt x="1424" y="119"/>
                    </a:lnTo>
                    <a:lnTo>
                      <a:pt x="1420" y="119"/>
                    </a:lnTo>
                    <a:lnTo>
                      <a:pt x="1369" y="125"/>
                    </a:lnTo>
                    <a:lnTo>
                      <a:pt x="1319" y="133"/>
                    </a:lnTo>
                    <a:lnTo>
                      <a:pt x="1274" y="143"/>
                    </a:lnTo>
                    <a:lnTo>
                      <a:pt x="1231" y="154"/>
                    </a:lnTo>
                    <a:lnTo>
                      <a:pt x="1225" y="154"/>
                    </a:lnTo>
                    <a:lnTo>
                      <a:pt x="1208" y="159"/>
                    </a:lnTo>
                    <a:lnTo>
                      <a:pt x="1191" y="164"/>
                    </a:lnTo>
                    <a:lnTo>
                      <a:pt x="1189" y="164"/>
                    </a:lnTo>
                    <a:lnTo>
                      <a:pt x="1187" y="164"/>
                    </a:lnTo>
                    <a:lnTo>
                      <a:pt x="1185" y="165"/>
                    </a:lnTo>
                    <a:lnTo>
                      <a:pt x="1183" y="166"/>
                    </a:lnTo>
                    <a:lnTo>
                      <a:pt x="1155" y="173"/>
                    </a:lnTo>
                    <a:lnTo>
                      <a:pt x="1126" y="182"/>
                    </a:lnTo>
                    <a:lnTo>
                      <a:pt x="1088" y="196"/>
                    </a:lnTo>
                    <a:lnTo>
                      <a:pt x="1048" y="211"/>
                    </a:lnTo>
                    <a:lnTo>
                      <a:pt x="987" y="236"/>
                    </a:lnTo>
                    <a:lnTo>
                      <a:pt x="927" y="265"/>
                    </a:lnTo>
                    <a:lnTo>
                      <a:pt x="869" y="296"/>
                    </a:lnTo>
                    <a:lnTo>
                      <a:pt x="812" y="330"/>
                    </a:lnTo>
                    <a:lnTo>
                      <a:pt x="810" y="330"/>
                    </a:lnTo>
                    <a:lnTo>
                      <a:pt x="779" y="349"/>
                    </a:lnTo>
                    <a:lnTo>
                      <a:pt x="749" y="371"/>
                    </a:lnTo>
                    <a:lnTo>
                      <a:pt x="746" y="371"/>
                    </a:lnTo>
                    <a:lnTo>
                      <a:pt x="718" y="392"/>
                    </a:lnTo>
                    <a:lnTo>
                      <a:pt x="689" y="412"/>
                    </a:lnTo>
                    <a:lnTo>
                      <a:pt x="688" y="413"/>
                    </a:lnTo>
                    <a:lnTo>
                      <a:pt x="687" y="413"/>
                    </a:lnTo>
                    <a:lnTo>
                      <a:pt x="687" y="414"/>
                    </a:lnTo>
                    <a:lnTo>
                      <a:pt x="660" y="436"/>
                    </a:lnTo>
                    <a:lnTo>
                      <a:pt x="633" y="457"/>
                    </a:lnTo>
                    <a:lnTo>
                      <a:pt x="632" y="458"/>
                    </a:lnTo>
                    <a:lnTo>
                      <a:pt x="631" y="459"/>
                    </a:lnTo>
                    <a:lnTo>
                      <a:pt x="630" y="460"/>
                    </a:lnTo>
                    <a:lnTo>
                      <a:pt x="629" y="461"/>
                    </a:lnTo>
                    <a:lnTo>
                      <a:pt x="603" y="484"/>
                    </a:lnTo>
                    <a:lnTo>
                      <a:pt x="576" y="508"/>
                    </a:lnTo>
                    <a:lnTo>
                      <a:pt x="576" y="510"/>
                    </a:lnTo>
                    <a:lnTo>
                      <a:pt x="574" y="510"/>
                    </a:lnTo>
                    <a:lnTo>
                      <a:pt x="522" y="561"/>
                    </a:lnTo>
                    <a:lnTo>
                      <a:pt x="473" y="614"/>
                    </a:lnTo>
                    <a:lnTo>
                      <a:pt x="427" y="670"/>
                    </a:lnTo>
                    <a:lnTo>
                      <a:pt x="384" y="727"/>
                    </a:lnTo>
                    <a:lnTo>
                      <a:pt x="344" y="788"/>
                    </a:lnTo>
                    <a:lnTo>
                      <a:pt x="306" y="850"/>
                    </a:lnTo>
                    <a:lnTo>
                      <a:pt x="280" y="896"/>
                    </a:lnTo>
                    <a:lnTo>
                      <a:pt x="257" y="942"/>
                    </a:lnTo>
                    <a:lnTo>
                      <a:pt x="236" y="990"/>
                    </a:lnTo>
                    <a:lnTo>
                      <a:pt x="234" y="990"/>
                    </a:lnTo>
                    <a:lnTo>
                      <a:pt x="202" y="1069"/>
                    </a:lnTo>
                    <a:lnTo>
                      <a:pt x="174" y="1151"/>
                    </a:lnTo>
                    <a:lnTo>
                      <a:pt x="152" y="1233"/>
                    </a:lnTo>
                    <a:lnTo>
                      <a:pt x="135" y="1318"/>
                    </a:lnTo>
                    <a:lnTo>
                      <a:pt x="122" y="1404"/>
                    </a:lnTo>
                    <a:lnTo>
                      <a:pt x="114" y="1492"/>
                    </a:lnTo>
                    <a:lnTo>
                      <a:pt x="112" y="1581"/>
                    </a:lnTo>
                    <a:lnTo>
                      <a:pt x="112" y="1644"/>
                    </a:lnTo>
                    <a:lnTo>
                      <a:pt x="118" y="1734"/>
                    </a:lnTo>
                    <a:lnTo>
                      <a:pt x="131" y="1823"/>
                    </a:lnTo>
                    <a:lnTo>
                      <a:pt x="147" y="1909"/>
                    </a:lnTo>
                    <a:lnTo>
                      <a:pt x="169" y="1994"/>
                    </a:lnTo>
                    <a:lnTo>
                      <a:pt x="196" y="2076"/>
                    </a:lnTo>
                    <a:lnTo>
                      <a:pt x="227" y="2157"/>
                    </a:lnTo>
                    <a:lnTo>
                      <a:pt x="264" y="2235"/>
                    </a:lnTo>
                    <a:lnTo>
                      <a:pt x="305" y="2310"/>
                    </a:lnTo>
                    <a:lnTo>
                      <a:pt x="349" y="2383"/>
                    </a:lnTo>
                    <a:lnTo>
                      <a:pt x="398" y="2453"/>
                    </a:lnTo>
                    <a:lnTo>
                      <a:pt x="451" y="2520"/>
                    </a:lnTo>
                    <a:lnTo>
                      <a:pt x="507" y="2584"/>
                    </a:lnTo>
                    <a:lnTo>
                      <a:pt x="566" y="2644"/>
                    </a:lnTo>
                    <a:lnTo>
                      <a:pt x="590" y="2668"/>
                    </a:lnTo>
                    <a:lnTo>
                      <a:pt x="615" y="2689"/>
                    </a:lnTo>
                    <a:lnTo>
                      <a:pt x="615" y="2689"/>
                    </a:lnTo>
                    <a:lnTo>
                      <a:pt x="615" y="2690"/>
                    </a:lnTo>
                    <a:lnTo>
                      <a:pt x="616" y="2691"/>
                    </a:lnTo>
                    <a:lnTo>
                      <a:pt x="617" y="2691"/>
                    </a:lnTo>
                    <a:lnTo>
                      <a:pt x="641" y="2712"/>
                    </a:lnTo>
                    <a:lnTo>
                      <a:pt x="668" y="2734"/>
                    </a:lnTo>
                    <a:lnTo>
                      <a:pt x="694" y="2754"/>
                    </a:lnTo>
                    <a:lnTo>
                      <a:pt x="722" y="2775"/>
                    </a:lnTo>
                    <a:lnTo>
                      <a:pt x="750" y="2794"/>
                    </a:lnTo>
                    <a:lnTo>
                      <a:pt x="779" y="2812"/>
                    </a:lnTo>
                    <a:lnTo>
                      <a:pt x="779" y="2814"/>
                    </a:lnTo>
                    <a:lnTo>
                      <a:pt x="780" y="2814"/>
                    </a:lnTo>
                    <a:lnTo>
                      <a:pt x="781" y="2815"/>
                    </a:lnTo>
                    <a:lnTo>
                      <a:pt x="783" y="2816"/>
                    </a:lnTo>
                    <a:lnTo>
                      <a:pt x="783" y="2816"/>
                    </a:lnTo>
                    <a:lnTo>
                      <a:pt x="783" y="2816"/>
                    </a:lnTo>
                    <a:lnTo>
                      <a:pt x="783" y="2817"/>
                    </a:lnTo>
                    <a:lnTo>
                      <a:pt x="784" y="2817"/>
                    </a:lnTo>
                    <a:lnTo>
                      <a:pt x="785" y="2818"/>
                    </a:lnTo>
                    <a:lnTo>
                      <a:pt x="787" y="2819"/>
                    </a:lnTo>
                    <a:lnTo>
                      <a:pt x="789" y="2820"/>
                    </a:lnTo>
                    <a:lnTo>
                      <a:pt x="793" y="2822"/>
                    </a:lnTo>
                    <a:lnTo>
                      <a:pt x="797" y="2824"/>
                    </a:lnTo>
                    <a:lnTo>
                      <a:pt x="872" y="2868"/>
                    </a:lnTo>
                    <a:lnTo>
                      <a:pt x="948" y="2908"/>
                    </a:lnTo>
                    <a:lnTo>
                      <a:pt x="1028" y="2944"/>
                    </a:lnTo>
                    <a:lnTo>
                      <a:pt x="1110" y="2974"/>
                    </a:lnTo>
                    <a:lnTo>
                      <a:pt x="1114" y="2974"/>
                    </a:lnTo>
                    <a:lnTo>
                      <a:pt x="1188" y="2999"/>
                    </a:lnTo>
                    <a:lnTo>
                      <a:pt x="1265" y="3017"/>
                    </a:lnTo>
                    <a:lnTo>
                      <a:pt x="1342" y="3032"/>
                    </a:lnTo>
                    <a:lnTo>
                      <a:pt x="1422" y="3043"/>
                    </a:lnTo>
                    <a:lnTo>
                      <a:pt x="1422" y="3043"/>
                    </a:lnTo>
                    <a:lnTo>
                      <a:pt x="1423" y="3043"/>
                    </a:lnTo>
                    <a:lnTo>
                      <a:pt x="1424" y="3043"/>
                    </a:lnTo>
                    <a:lnTo>
                      <a:pt x="1425" y="3043"/>
                    </a:lnTo>
                    <a:lnTo>
                      <a:pt x="1428" y="3043"/>
                    </a:lnTo>
                    <a:lnTo>
                      <a:pt x="1480" y="3048"/>
                    </a:lnTo>
                    <a:lnTo>
                      <a:pt x="1532" y="3051"/>
                    </a:lnTo>
                    <a:lnTo>
                      <a:pt x="1584" y="3052"/>
                    </a:lnTo>
                    <a:lnTo>
                      <a:pt x="1663" y="3050"/>
                    </a:lnTo>
                    <a:lnTo>
                      <a:pt x="1743" y="3043"/>
                    </a:lnTo>
                    <a:lnTo>
                      <a:pt x="1743" y="3043"/>
                    </a:lnTo>
                    <a:lnTo>
                      <a:pt x="1743" y="3043"/>
                    </a:lnTo>
                    <a:lnTo>
                      <a:pt x="1744" y="3043"/>
                    </a:lnTo>
                    <a:lnTo>
                      <a:pt x="1747" y="3043"/>
                    </a:lnTo>
                    <a:lnTo>
                      <a:pt x="1751" y="3043"/>
                    </a:lnTo>
                    <a:lnTo>
                      <a:pt x="1770" y="3040"/>
                    </a:lnTo>
                    <a:lnTo>
                      <a:pt x="1789" y="3037"/>
                    </a:lnTo>
                    <a:lnTo>
                      <a:pt x="1858" y="3027"/>
                    </a:lnTo>
                    <a:lnTo>
                      <a:pt x="1926" y="3013"/>
                    </a:lnTo>
                    <a:lnTo>
                      <a:pt x="1993" y="2996"/>
                    </a:lnTo>
                    <a:lnTo>
                      <a:pt x="2057" y="2974"/>
                    </a:lnTo>
                    <a:lnTo>
                      <a:pt x="2061" y="2974"/>
                    </a:lnTo>
                    <a:lnTo>
                      <a:pt x="2143" y="2944"/>
                    </a:lnTo>
                    <a:lnTo>
                      <a:pt x="2221" y="2908"/>
                    </a:lnTo>
                    <a:lnTo>
                      <a:pt x="2298" y="2868"/>
                    </a:lnTo>
                    <a:lnTo>
                      <a:pt x="2371" y="2824"/>
                    </a:lnTo>
                    <a:lnTo>
                      <a:pt x="2371" y="2824"/>
                    </a:lnTo>
                    <a:lnTo>
                      <a:pt x="2371" y="2824"/>
                    </a:lnTo>
                    <a:lnTo>
                      <a:pt x="2372" y="2824"/>
                    </a:lnTo>
                    <a:lnTo>
                      <a:pt x="2372" y="2824"/>
                    </a:lnTo>
                    <a:lnTo>
                      <a:pt x="2374" y="2823"/>
                    </a:lnTo>
                    <a:lnTo>
                      <a:pt x="2375" y="2822"/>
                    </a:lnTo>
                    <a:lnTo>
                      <a:pt x="2378" y="2821"/>
                    </a:lnTo>
                    <a:lnTo>
                      <a:pt x="2381" y="2819"/>
                    </a:lnTo>
                    <a:lnTo>
                      <a:pt x="2385" y="2816"/>
                    </a:lnTo>
                    <a:lnTo>
                      <a:pt x="2442" y="2778"/>
                    </a:lnTo>
                    <a:lnTo>
                      <a:pt x="2497" y="2736"/>
                    </a:lnTo>
                    <a:lnTo>
                      <a:pt x="2552" y="2692"/>
                    </a:lnTo>
                    <a:lnTo>
                      <a:pt x="2603" y="2644"/>
                    </a:lnTo>
                    <a:lnTo>
                      <a:pt x="2653" y="2594"/>
                    </a:lnTo>
                    <a:lnTo>
                      <a:pt x="2699" y="2543"/>
                    </a:lnTo>
                    <a:lnTo>
                      <a:pt x="2730" y="2507"/>
                    </a:lnTo>
                    <a:lnTo>
                      <a:pt x="2760" y="2470"/>
                    </a:lnTo>
                    <a:lnTo>
                      <a:pt x="2787" y="2431"/>
                    </a:lnTo>
                    <a:lnTo>
                      <a:pt x="2835" y="2359"/>
                    </a:lnTo>
                    <a:lnTo>
                      <a:pt x="2879" y="2284"/>
                    </a:lnTo>
                    <a:lnTo>
                      <a:pt x="2919" y="2206"/>
                    </a:lnTo>
                    <a:lnTo>
                      <a:pt x="2953" y="2126"/>
                    </a:lnTo>
                    <a:lnTo>
                      <a:pt x="2983" y="2045"/>
                    </a:lnTo>
                    <a:lnTo>
                      <a:pt x="3008" y="1960"/>
                    </a:lnTo>
                    <a:lnTo>
                      <a:pt x="3029" y="1872"/>
                    </a:lnTo>
                    <a:lnTo>
                      <a:pt x="3041" y="1798"/>
                    </a:lnTo>
                    <a:lnTo>
                      <a:pt x="3051" y="1722"/>
                    </a:lnTo>
                    <a:lnTo>
                      <a:pt x="3056" y="1644"/>
                    </a:lnTo>
                    <a:lnTo>
                      <a:pt x="3057" y="1614"/>
                    </a:lnTo>
                    <a:lnTo>
                      <a:pt x="3058" y="1581"/>
                    </a:lnTo>
                    <a:lnTo>
                      <a:pt x="3056" y="1492"/>
                    </a:lnTo>
                    <a:lnTo>
                      <a:pt x="3048" y="1404"/>
                    </a:lnTo>
                    <a:lnTo>
                      <a:pt x="3035" y="1318"/>
                    </a:lnTo>
                    <a:lnTo>
                      <a:pt x="3017" y="1233"/>
                    </a:lnTo>
                    <a:lnTo>
                      <a:pt x="2994" y="1151"/>
                    </a:lnTo>
                    <a:lnTo>
                      <a:pt x="2967" y="1069"/>
                    </a:lnTo>
                    <a:lnTo>
                      <a:pt x="2935" y="990"/>
                    </a:lnTo>
                    <a:lnTo>
                      <a:pt x="2933" y="990"/>
                    </a:lnTo>
                    <a:lnTo>
                      <a:pt x="2905" y="931"/>
                    </a:lnTo>
                    <a:lnTo>
                      <a:pt x="2876" y="873"/>
                    </a:lnTo>
                    <a:lnTo>
                      <a:pt x="2842" y="817"/>
                    </a:lnTo>
                    <a:lnTo>
                      <a:pt x="2808" y="762"/>
                    </a:lnTo>
                    <a:lnTo>
                      <a:pt x="2761" y="695"/>
                    </a:lnTo>
                    <a:lnTo>
                      <a:pt x="2711" y="633"/>
                    </a:lnTo>
                    <a:lnTo>
                      <a:pt x="2658" y="573"/>
                    </a:lnTo>
                    <a:lnTo>
                      <a:pt x="2641" y="557"/>
                    </a:lnTo>
                    <a:lnTo>
                      <a:pt x="2625" y="541"/>
                    </a:lnTo>
                    <a:lnTo>
                      <a:pt x="2594" y="510"/>
                    </a:lnTo>
                    <a:lnTo>
                      <a:pt x="2592" y="510"/>
                    </a:lnTo>
                    <a:lnTo>
                      <a:pt x="2592" y="508"/>
                    </a:lnTo>
                    <a:lnTo>
                      <a:pt x="2567" y="484"/>
                    </a:lnTo>
                    <a:lnTo>
                      <a:pt x="2539" y="461"/>
                    </a:lnTo>
                    <a:lnTo>
                      <a:pt x="2538" y="460"/>
                    </a:lnTo>
                    <a:lnTo>
                      <a:pt x="2538" y="459"/>
                    </a:lnTo>
                    <a:lnTo>
                      <a:pt x="2537" y="459"/>
                    </a:lnTo>
                    <a:lnTo>
                      <a:pt x="2537" y="459"/>
                    </a:lnTo>
                    <a:lnTo>
                      <a:pt x="2510" y="437"/>
                    </a:lnTo>
                    <a:lnTo>
                      <a:pt x="2481" y="414"/>
                    </a:lnTo>
                    <a:lnTo>
                      <a:pt x="2481" y="412"/>
                    </a:lnTo>
                    <a:lnTo>
                      <a:pt x="2451" y="392"/>
                    </a:lnTo>
                    <a:lnTo>
                      <a:pt x="2422" y="371"/>
                    </a:lnTo>
                    <a:lnTo>
                      <a:pt x="2420" y="371"/>
                    </a:lnTo>
                    <a:lnTo>
                      <a:pt x="2389" y="349"/>
                    </a:lnTo>
                    <a:lnTo>
                      <a:pt x="2359" y="330"/>
                    </a:lnTo>
                    <a:lnTo>
                      <a:pt x="2281" y="285"/>
                    </a:lnTo>
                    <a:lnTo>
                      <a:pt x="2202" y="245"/>
                    </a:lnTo>
                    <a:lnTo>
                      <a:pt x="2120" y="211"/>
                    </a:lnTo>
                    <a:lnTo>
                      <a:pt x="2053" y="185"/>
                    </a:lnTo>
                    <a:lnTo>
                      <a:pt x="1986" y="166"/>
                    </a:lnTo>
                    <a:lnTo>
                      <a:pt x="1984" y="165"/>
                    </a:lnTo>
                    <a:lnTo>
                      <a:pt x="1981" y="164"/>
                    </a:lnTo>
                    <a:lnTo>
                      <a:pt x="1979" y="164"/>
                    </a:lnTo>
                    <a:lnTo>
                      <a:pt x="1977" y="164"/>
                    </a:lnTo>
                    <a:lnTo>
                      <a:pt x="1944" y="154"/>
                    </a:lnTo>
                    <a:lnTo>
                      <a:pt x="1938" y="154"/>
                    </a:lnTo>
                    <a:lnTo>
                      <a:pt x="1895" y="143"/>
                    </a:lnTo>
                    <a:lnTo>
                      <a:pt x="1852" y="135"/>
                    </a:lnTo>
                    <a:lnTo>
                      <a:pt x="1852" y="135"/>
                    </a:lnTo>
                    <a:lnTo>
                      <a:pt x="1852" y="135"/>
                    </a:lnTo>
                    <a:lnTo>
                      <a:pt x="1851" y="134"/>
                    </a:lnTo>
                    <a:lnTo>
                      <a:pt x="1850" y="133"/>
                    </a:lnTo>
                    <a:lnTo>
                      <a:pt x="1800" y="125"/>
                    </a:lnTo>
                    <a:lnTo>
                      <a:pt x="1749" y="119"/>
                    </a:lnTo>
                    <a:lnTo>
                      <a:pt x="1749" y="119"/>
                    </a:lnTo>
                    <a:lnTo>
                      <a:pt x="1748" y="119"/>
                    </a:lnTo>
                    <a:lnTo>
                      <a:pt x="1746" y="119"/>
                    </a:lnTo>
                    <a:lnTo>
                      <a:pt x="1743" y="119"/>
                    </a:lnTo>
                    <a:lnTo>
                      <a:pt x="1739" y="119"/>
                    </a:lnTo>
                    <a:lnTo>
                      <a:pt x="1696" y="114"/>
                    </a:lnTo>
                    <a:lnTo>
                      <a:pt x="1651" y="111"/>
                    </a:lnTo>
                    <a:lnTo>
                      <a:pt x="1593" y="111"/>
                    </a:lnTo>
                    <a:lnTo>
                      <a:pt x="1592" y="111"/>
                    </a:lnTo>
                    <a:lnTo>
                      <a:pt x="1592" y="111"/>
                    </a:lnTo>
                    <a:lnTo>
                      <a:pt x="1591" y="111"/>
                    </a:lnTo>
                    <a:lnTo>
                      <a:pt x="1589" y="111"/>
                    </a:lnTo>
                    <a:close/>
                    <a:moveTo>
                      <a:pt x="1584" y="0"/>
                    </a:moveTo>
                    <a:lnTo>
                      <a:pt x="1685" y="3"/>
                    </a:lnTo>
                    <a:lnTo>
                      <a:pt x="1783" y="12"/>
                    </a:lnTo>
                    <a:lnTo>
                      <a:pt x="1879" y="28"/>
                    </a:lnTo>
                    <a:lnTo>
                      <a:pt x="1974" y="48"/>
                    </a:lnTo>
                    <a:lnTo>
                      <a:pt x="2066" y="74"/>
                    </a:lnTo>
                    <a:lnTo>
                      <a:pt x="2157" y="106"/>
                    </a:lnTo>
                    <a:lnTo>
                      <a:pt x="2244" y="144"/>
                    </a:lnTo>
                    <a:lnTo>
                      <a:pt x="2328" y="185"/>
                    </a:lnTo>
                    <a:lnTo>
                      <a:pt x="2411" y="232"/>
                    </a:lnTo>
                    <a:lnTo>
                      <a:pt x="2489" y="283"/>
                    </a:lnTo>
                    <a:lnTo>
                      <a:pt x="2564" y="339"/>
                    </a:lnTo>
                    <a:lnTo>
                      <a:pt x="2636" y="399"/>
                    </a:lnTo>
                    <a:lnTo>
                      <a:pt x="2705" y="463"/>
                    </a:lnTo>
                    <a:lnTo>
                      <a:pt x="2769" y="532"/>
                    </a:lnTo>
                    <a:lnTo>
                      <a:pt x="2829" y="603"/>
                    </a:lnTo>
                    <a:lnTo>
                      <a:pt x="2884" y="678"/>
                    </a:lnTo>
                    <a:lnTo>
                      <a:pt x="2936" y="757"/>
                    </a:lnTo>
                    <a:lnTo>
                      <a:pt x="2983" y="838"/>
                    </a:lnTo>
                    <a:lnTo>
                      <a:pt x="3025" y="923"/>
                    </a:lnTo>
                    <a:lnTo>
                      <a:pt x="3061" y="1010"/>
                    </a:lnTo>
                    <a:lnTo>
                      <a:pt x="3093" y="1100"/>
                    </a:lnTo>
                    <a:lnTo>
                      <a:pt x="3120" y="1192"/>
                    </a:lnTo>
                    <a:lnTo>
                      <a:pt x="3141" y="1287"/>
                    </a:lnTo>
                    <a:lnTo>
                      <a:pt x="3156" y="1383"/>
                    </a:lnTo>
                    <a:lnTo>
                      <a:pt x="3165" y="1482"/>
                    </a:lnTo>
                    <a:lnTo>
                      <a:pt x="3169" y="1581"/>
                    </a:lnTo>
                    <a:lnTo>
                      <a:pt x="3165" y="1681"/>
                    </a:lnTo>
                    <a:lnTo>
                      <a:pt x="3156" y="1780"/>
                    </a:lnTo>
                    <a:lnTo>
                      <a:pt x="3141" y="1877"/>
                    </a:lnTo>
                    <a:lnTo>
                      <a:pt x="3120" y="1970"/>
                    </a:lnTo>
                    <a:lnTo>
                      <a:pt x="3093" y="2063"/>
                    </a:lnTo>
                    <a:lnTo>
                      <a:pt x="3061" y="2152"/>
                    </a:lnTo>
                    <a:lnTo>
                      <a:pt x="3025" y="2240"/>
                    </a:lnTo>
                    <a:lnTo>
                      <a:pt x="2983" y="2325"/>
                    </a:lnTo>
                    <a:lnTo>
                      <a:pt x="2936" y="2406"/>
                    </a:lnTo>
                    <a:lnTo>
                      <a:pt x="2884" y="2484"/>
                    </a:lnTo>
                    <a:lnTo>
                      <a:pt x="2829" y="2560"/>
                    </a:lnTo>
                    <a:lnTo>
                      <a:pt x="2769" y="2631"/>
                    </a:lnTo>
                    <a:lnTo>
                      <a:pt x="2705" y="2699"/>
                    </a:lnTo>
                    <a:lnTo>
                      <a:pt x="2636" y="2763"/>
                    </a:lnTo>
                    <a:lnTo>
                      <a:pt x="2564" y="2823"/>
                    </a:lnTo>
                    <a:lnTo>
                      <a:pt x="2489" y="2879"/>
                    </a:lnTo>
                    <a:lnTo>
                      <a:pt x="2411" y="2930"/>
                    </a:lnTo>
                    <a:lnTo>
                      <a:pt x="2328" y="2977"/>
                    </a:lnTo>
                    <a:lnTo>
                      <a:pt x="2244" y="3020"/>
                    </a:lnTo>
                    <a:lnTo>
                      <a:pt x="2157" y="3057"/>
                    </a:lnTo>
                    <a:lnTo>
                      <a:pt x="2066" y="3088"/>
                    </a:lnTo>
                    <a:lnTo>
                      <a:pt x="1974" y="3115"/>
                    </a:lnTo>
                    <a:lnTo>
                      <a:pt x="1879" y="3135"/>
                    </a:lnTo>
                    <a:lnTo>
                      <a:pt x="1783" y="3150"/>
                    </a:lnTo>
                    <a:lnTo>
                      <a:pt x="1685" y="3159"/>
                    </a:lnTo>
                    <a:lnTo>
                      <a:pt x="1584" y="3163"/>
                    </a:lnTo>
                    <a:lnTo>
                      <a:pt x="1484" y="3159"/>
                    </a:lnTo>
                    <a:lnTo>
                      <a:pt x="1386" y="3150"/>
                    </a:lnTo>
                    <a:lnTo>
                      <a:pt x="1289" y="3135"/>
                    </a:lnTo>
                    <a:lnTo>
                      <a:pt x="1194" y="3115"/>
                    </a:lnTo>
                    <a:lnTo>
                      <a:pt x="1102" y="3088"/>
                    </a:lnTo>
                    <a:lnTo>
                      <a:pt x="1012" y="3057"/>
                    </a:lnTo>
                    <a:lnTo>
                      <a:pt x="925" y="3020"/>
                    </a:lnTo>
                    <a:lnTo>
                      <a:pt x="840" y="2977"/>
                    </a:lnTo>
                    <a:lnTo>
                      <a:pt x="758" y="2930"/>
                    </a:lnTo>
                    <a:lnTo>
                      <a:pt x="679" y="2879"/>
                    </a:lnTo>
                    <a:lnTo>
                      <a:pt x="605" y="2823"/>
                    </a:lnTo>
                    <a:lnTo>
                      <a:pt x="532" y="2763"/>
                    </a:lnTo>
                    <a:lnTo>
                      <a:pt x="464" y="2699"/>
                    </a:lnTo>
                    <a:lnTo>
                      <a:pt x="400" y="2631"/>
                    </a:lnTo>
                    <a:lnTo>
                      <a:pt x="340" y="2560"/>
                    </a:lnTo>
                    <a:lnTo>
                      <a:pt x="285" y="2484"/>
                    </a:lnTo>
                    <a:lnTo>
                      <a:pt x="232" y="2406"/>
                    </a:lnTo>
                    <a:lnTo>
                      <a:pt x="186" y="2325"/>
                    </a:lnTo>
                    <a:lnTo>
                      <a:pt x="144" y="2240"/>
                    </a:lnTo>
                    <a:lnTo>
                      <a:pt x="107" y="2152"/>
                    </a:lnTo>
                    <a:lnTo>
                      <a:pt x="75" y="2063"/>
                    </a:lnTo>
                    <a:lnTo>
                      <a:pt x="49" y="1970"/>
                    </a:lnTo>
                    <a:lnTo>
                      <a:pt x="28" y="1877"/>
                    </a:lnTo>
                    <a:lnTo>
                      <a:pt x="12" y="1780"/>
                    </a:lnTo>
                    <a:lnTo>
                      <a:pt x="3" y="1681"/>
                    </a:lnTo>
                    <a:lnTo>
                      <a:pt x="0" y="1581"/>
                    </a:lnTo>
                    <a:lnTo>
                      <a:pt x="3" y="1482"/>
                    </a:lnTo>
                    <a:lnTo>
                      <a:pt x="12" y="1383"/>
                    </a:lnTo>
                    <a:lnTo>
                      <a:pt x="28" y="1287"/>
                    </a:lnTo>
                    <a:lnTo>
                      <a:pt x="49" y="1192"/>
                    </a:lnTo>
                    <a:lnTo>
                      <a:pt x="75" y="1100"/>
                    </a:lnTo>
                    <a:lnTo>
                      <a:pt x="107" y="1010"/>
                    </a:lnTo>
                    <a:lnTo>
                      <a:pt x="144" y="923"/>
                    </a:lnTo>
                    <a:lnTo>
                      <a:pt x="186" y="838"/>
                    </a:lnTo>
                    <a:lnTo>
                      <a:pt x="232" y="757"/>
                    </a:lnTo>
                    <a:lnTo>
                      <a:pt x="285" y="678"/>
                    </a:lnTo>
                    <a:lnTo>
                      <a:pt x="340" y="603"/>
                    </a:lnTo>
                    <a:lnTo>
                      <a:pt x="400" y="532"/>
                    </a:lnTo>
                    <a:lnTo>
                      <a:pt x="464" y="463"/>
                    </a:lnTo>
                    <a:lnTo>
                      <a:pt x="532" y="399"/>
                    </a:lnTo>
                    <a:lnTo>
                      <a:pt x="605" y="339"/>
                    </a:lnTo>
                    <a:lnTo>
                      <a:pt x="679" y="283"/>
                    </a:lnTo>
                    <a:lnTo>
                      <a:pt x="758" y="232"/>
                    </a:lnTo>
                    <a:lnTo>
                      <a:pt x="840" y="185"/>
                    </a:lnTo>
                    <a:lnTo>
                      <a:pt x="925" y="144"/>
                    </a:lnTo>
                    <a:lnTo>
                      <a:pt x="1012" y="106"/>
                    </a:lnTo>
                    <a:lnTo>
                      <a:pt x="1102" y="74"/>
                    </a:lnTo>
                    <a:lnTo>
                      <a:pt x="1194" y="48"/>
                    </a:lnTo>
                    <a:lnTo>
                      <a:pt x="1289" y="28"/>
                    </a:lnTo>
                    <a:lnTo>
                      <a:pt x="1386" y="12"/>
                    </a:lnTo>
                    <a:lnTo>
                      <a:pt x="1484" y="3"/>
                    </a:lnTo>
                    <a:lnTo>
                      <a:pt x="1584" y="0"/>
                    </a:lnTo>
                    <a:close/>
                  </a:path>
                </a:pathLst>
              </a:custGeom>
              <a:solidFill>
                <a:schemeClr val="accent3"/>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4"/>
              <p:cNvSpPr>
                <a:spLocks/>
              </p:cNvSpPr>
              <p:nvPr/>
            </p:nvSpPr>
            <p:spPr bwMode="auto">
              <a:xfrm>
                <a:off x="3295" y="964"/>
                <a:ext cx="210" cy="210"/>
              </a:xfrm>
              <a:custGeom>
                <a:avLst/>
                <a:gdLst>
                  <a:gd name="T0" fmla="*/ 0 w 2041"/>
                  <a:gd name="T1" fmla="*/ 0 h 2036"/>
                  <a:gd name="T2" fmla="*/ 1719 w 2041"/>
                  <a:gd name="T3" fmla="*/ 459 h 2036"/>
                  <a:gd name="T4" fmla="*/ 1318 w 2041"/>
                  <a:gd name="T5" fmla="*/ 859 h 2036"/>
                  <a:gd name="T6" fmla="*/ 1410 w 2041"/>
                  <a:gd name="T7" fmla="*/ 952 h 2036"/>
                  <a:gd name="T8" fmla="*/ 2041 w 2041"/>
                  <a:gd name="T9" fmla="*/ 1582 h 2036"/>
                  <a:gd name="T10" fmla="*/ 1585 w 2041"/>
                  <a:gd name="T11" fmla="*/ 2036 h 2036"/>
                  <a:gd name="T12" fmla="*/ 954 w 2041"/>
                  <a:gd name="T13" fmla="*/ 1406 h 2036"/>
                  <a:gd name="T14" fmla="*/ 862 w 2041"/>
                  <a:gd name="T15" fmla="*/ 1314 h 2036"/>
                  <a:gd name="T16" fmla="*/ 460 w 2041"/>
                  <a:gd name="T17" fmla="*/ 1715 h 2036"/>
                  <a:gd name="T18" fmla="*/ 0 w 2041"/>
                  <a:gd name="T19" fmla="*/ 0 h 2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41" h="2036">
                    <a:moveTo>
                      <a:pt x="0" y="0"/>
                    </a:moveTo>
                    <a:lnTo>
                      <a:pt x="1719" y="459"/>
                    </a:lnTo>
                    <a:lnTo>
                      <a:pt x="1318" y="859"/>
                    </a:lnTo>
                    <a:lnTo>
                      <a:pt x="1410" y="952"/>
                    </a:lnTo>
                    <a:lnTo>
                      <a:pt x="2041" y="1582"/>
                    </a:lnTo>
                    <a:lnTo>
                      <a:pt x="1585" y="2036"/>
                    </a:lnTo>
                    <a:lnTo>
                      <a:pt x="954" y="1406"/>
                    </a:lnTo>
                    <a:lnTo>
                      <a:pt x="862" y="1314"/>
                    </a:lnTo>
                    <a:lnTo>
                      <a:pt x="460" y="1715"/>
                    </a:lnTo>
                    <a:lnTo>
                      <a:pt x="0" y="0"/>
                    </a:lnTo>
                    <a:close/>
                  </a:path>
                </a:pathLst>
              </a:custGeom>
              <a:solidFill>
                <a:schemeClr val="accent3"/>
              </a:solid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82833011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43073" y="397404"/>
            <a:ext cx="10353675" cy="717550"/>
          </a:xfrm>
          <a:prstGeom prst="rect">
            <a:avLst/>
          </a:prstGeom>
        </p:spPr>
        <p:txBody>
          <a:bodyPr vert="horz" wrap="square" lIns="0" tIns="0" rIns="0" bIns="0" rtlCol="0" anchor="t">
            <a:noAutofit/>
          </a:bodyPr>
          <a:lstStyle/>
          <a:p>
            <a:pPr>
              <a:defRPr/>
            </a:pPr>
            <a:r>
              <a:rPr lang="en-US" sz="4000" dirty="0"/>
              <a:t>VDI  with Windows Server 2012 </a:t>
            </a:r>
            <a:endParaRPr sz="4000" dirty="0"/>
          </a:p>
        </p:txBody>
      </p:sp>
      <p:sp>
        <p:nvSpPr>
          <p:cNvPr id="58379" name="TextBox 31"/>
          <p:cNvSpPr txBox="1">
            <a:spLocks noChangeArrowheads="1"/>
          </p:cNvSpPr>
          <p:nvPr/>
        </p:nvSpPr>
        <p:spPr bwMode="auto">
          <a:xfrm>
            <a:off x="7290090" y="2155456"/>
            <a:ext cx="4858525" cy="400110"/>
          </a:xfrm>
          <a:prstGeom prst="rect">
            <a:avLst/>
          </a:prstGeom>
          <a:noFill/>
          <a:ln w="9525">
            <a:noFill/>
            <a:miter lim="800000"/>
            <a:headEnd/>
            <a:tailEnd/>
          </a:ln>
        </p:spPr>
        <p:txBody>
          <a:bodyPr wrap="square">
            <a:spAutoFit/>
          </a:bodyPr>
          <a:lstStyle/>
          <a:p>
            <a:pPr algn="ctr"/>
            <a:r>
              <a:rPr lang="en-US" sz="2000" dirty="0">
                <a:solidFill>
                  <a:srgbClr val="404040"/>
                </a:solidFill>
              </a:rPr>
              <a:t>Powered by Windows Server 2012</a:t>
            </a:r>
          </a:p>
        </p:txBody>
      </p:sp>
      <p:sp>
        <p:nvSpPr>
          <p:cNvPr id="2064" name="Rectangle 2063"/>
          <p:cNvSpPr>
            <a:spLocks noChangeArrowheads="1"/>
          </p:cNvSpPr>
          <p:nvPr/>
        </p:nvSpPr>
        <p:spPr bwMode="auto">
          <a:xfrm>
            <a:off x="7288083" y="4511947"/>
            <a:ext cx="4860532" cy="341911"/>
          </a:xfrm>
          <a:prstGeom prst="rect">
            <a:avLst/>
          </a:prstGeom>
          <a:solidFill>
            <a:schemeClr val="accent3"/>
          </a:solidFill>
          <a:ln w="9525">
            <a:noFill/>
            <a:miter lim="800000"/>
            <a:headEnd/>
            <a:tailEnd/>
          </a:ln>
        </p:spPr>
        <p:txBody>
          <a:bodyPr wrap="square" lIns="94764" tIns="47382" rIns="94764" bIns="47382">
            <a:spAutoFit/>
          </a:bodyPr>
          <a:lstStyle/>
          <a:p>
            <a:pPr algn="ctr"/>
            <a:r>
              <a:rPr lang="en-US" sz="1600" dirty="0">
                <a:solidFill>
                  <a:srgbClr val="FFFFFF"/>
                </a:solidFill>
              </a:rPr>
              <a:t>1 platform • 1 experience • 3 deployment choices</a:t>
            </a:r>
          </a:p>
        </p:txBody>
      </p:sp>
      <p:sp>
        <p:nvSpPr>
          <p:cNvPr id="58454" name="TextBox 90"/>
          <p:cNvSpPr txBox="1">
            <a:spLocks noChangeArrowheads="1"/>
          </p:cNvSpPr>
          <p:nvPr/>
        </p:nvSpPr>
        <p:spPr bwMode="auto">
          <a:xfrm>
            <a:off x="10779294" y="2551751"/>
            <a:ext cx="1366523" cy="613589"/>
          </a:xfrm>
          <a:prstGeom prst="rect">
            <a:avLst/>
          </a:prstGeom>
          <a:noFill/>
          <a:ln w="9525">
            <a:noFill/>
            <a:miter lim="800000"/>
            <a:headEnd/>
            <a:tailEnd/>
          </a:ln>
        </p:spPr>
        <p:txBody>
          <a:bodyPr>
            <a:noAutofit/>
          </a:bodyPr>
          <a:lstStyle/>
          <a:p>
            <a:pPr algn="ctr"/>
            <a:r>
              <a:rPr lang="en-US" sz="1600" dirty="0"/>
              <a:t>Personal</a:t>
            </a:r>
          </a:p>
          <a:p>
            <a:pPr algn="ctr"/>
            <a:r>
              <a:rPr lang="en-US" sz="1600" dirty="0"/>
              <a:t>VMs</a:t>
            </a:r>
          </a:p>
        </p:txBody>
      </p:sp>
      <p:pic>
        <p:nvPicPr>
          <p:cNvPr id="135" name="Picture 1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8829" y="1620248"/>
            <a:ext cx="940349" cy="1228515"/>
          </a:xfrm>
          <a:prstGeom prst="rect">
            <a:avLst/>
          </a:prstGeom>
        </p:spPr>
      </p:pic>
      <p:grpSp>
        <p:nvGrpSpPr>
          <p:cNvPr id="142" name="Group 141"/>
          <p:cNvGrpSpPr/>
          <p:nvPr/>
        </p:nvGrpSpPr>
        <p:grpSpPr>
          <a:xfrm>
            <a:off x="4649060" y="2000975"/>
            <a:ext cx="1095306" cy="1072204"/>
            <a:chOff x="6254753" y="4211843"/>
            <a:chExt cx="1237484" cy="1211383"/>
          </a:xfrm>
        </p:grpSpPr>
        <p:sp>
          <p:nvSpPr>
            <p:cNvPr id="145" name="TextBox 144"/>
            <p:cNvSpPr txBox="1"/>
            <p:nvPr/>
          </p:nvSpPr>
          <p:spPr>
            <a:xfrm>
              <a:off x="6337233" y="4906161"/>
              <a:ext cx="998221" cy="517065"/>
            </a:xfrm>
            <a:prstGeom prst="rect">
              <a:avLst/>
            </a:prstGeom>
            <a:noFill/>
          </p:spPr>
          <p:txBody>
            <a:bodyPr wrap="none" lIns="182880" tIns="146304" rIns="182880" bIns="146304" rtlCol="0">
              <a:spAutoFit/>
            </a:bodyPr>
            <a:lstStyle/>
            <a:p>
              <a:pPr>
                <a:lnSpc>
                  <a:spcPct val="90000"/>
                </a:lnSpc>
              </a:pPr>
              <a:r>
                <a:rPr lang="en-GB" sz="1600" spc="-50" dirty="0" smtClean="0">
                  <a:solidFill>
                    <a:srgbClr val="C00000"/>
                  </a:solidFill>
                </a:rPr>
                <a:t>Firewall</a:t>
              </a:r>
            </a:p>
          </p:txBody>
        </p:sp>
        <p:sp>
          <p:nvSpPr>
            <p:cNvPr id="150" name="Freeform 6"/>
            <p:cNvSpPr>
              <a:spLocks noEditPoints="1"/>
            </p:cNvSpPr>
            <p:nvPr/>
          </p:nvSpPr>
          <p:spPr bwMode="auto">
            <a:xfrm>
              <a:off x="6254753" y="4211843"/>
              <a:ext cx="1237484" cy="769593"/>
            </a:xfrm>
            <a:custGeom>
              <a:avLst/>
              <a:gdLst>
                <a:gd name="T0" fmla="*/ 2943 w 3874"/>
                <a:gd name="T1" fmla="*/ 1838 h 2407"/>
                <a:gd name="T2" fmla="*/ 3396 w 3874"/>
                <a:gd name="T3" fmla="*/ 2407 h 2407"/>
                <a:gd name="T4" fmla="*/ 2672 w 3874"/>
                <a:gd name="T5" fmla="*/ 2407 h 2407"/>
                <a:gd name="T6" fmla="*/ 2465 w 3874"/>
                <a:gd name="T7" fmla="*/ 2000 h 2407"/>
                <a:gd name="T8" fmla="*/ 1491 w 3874"/>
                <a:gd name="T9" fmla="*/ 1838 h 2407"/>
                <a:gd name="T10" fmla="*/ 2412 w 3874"/>
                <a:gd name="T11" fmla="*/ 2407 h 2407"/>
                <a:gd name="T12" fmla="*/ 1859 w 3874"/>
                <a:gd name="T13" fmla="*/ 2407 h 2407"/>
                <a:gd name="T14" fmla="*/ 1478 w 3874"/>
                <a:gd name="T15" fmla="*/ 2324 h 2407"/>
                <a:gd name="T16" fmla="*/ 495 w 3874"/>
                <a:gd name="T17" fmla="*/ 1838 h 2407"/>
                <a:gd name="T18" fmla="*/ 1425 w 3874"/>
                <a:gd name="T19" fmla="*/ 1838 h 2407"/>
                <a:gd name="T20" fmla="*/ 1015 w 3874"/>
                <a:gd name="T21" fmla="*/ 2407 h 2407"/>
                <a:gd name="T22" fmla="*/ 491 w 3874"/>
                <a:gd name="T23" fmla="*/ 2401 h 2407"/>
                <a:gd name="T24" fmla="*/ 3604 w 3874"/>
                <a:gd name="T25" fmla="*/ 1838 h 2407"/>
                <a:gd name="T26" fmla="*/ 3867 w 3874"/>
                <a:gd name="T27" fmla="*/ 2407 h 2407"/>
                <a:gd name="T28" fmla="*/ 3528 w 3874"/>
                <a:gd name="T29" fmla="*/ 2407 h 2407"/>
                <a:gd name="T30" fmla="*/ 3459 w 3874"/>
                <a:gd name="T31" fmla="*/ 2264 h 2407"/>
                <a:gd name="T32" fmla="*/ 3571 w 3874"/>
                <a:gd name="T33" fmla="*/ 1838 h 2407"/>
                <a:gd name="T34" fmla="*/ 448 w 3874"/>
                <a:gd name="T35" fmla="*/ 2407 h 2407"/>
                <a:gd name="T36" fmla="*/ 248 w 3874"/>
                <a:gd name="T37" fmla="*/ 2407 h 2407"/>
                <a:gd name="T38" fmla="*/ 0 w 3874"/>
                <a:gd name="T39" fmla="*/ 2397 h 2407"/>
                <a:gd name="T40" fmla="*/ 0 w 3874"/>
                <a:gd name="T41" fmla="*/ 1838 h 2407"/>
                <a:gd name="T42" fmla="*/ 3870 w 3874"/>
                <a:gd name="T43" fmla="*/ 1795 h 2407"/>
                <a:gd name="T44" fmla="*/ 3399 w 3874"/>
                <a:gd name="T45" fmla="*/ 1795 h 2407"/>
                <a:gd name="T46" fmla="*/ 2951 w 3874"/>
                <a:gd name="T47" fmla="*/ 1793 h 2407"/>
                <a:gd name="T48" fmla="*/ 2951 w 3874"/>
                <a:gd name="T49" fmla="*/ 1389 h 2407"/>
                <a:gd name="T50" fmla="*/ 2895 w 3874"/>
                <a:gd name="T51" fmla="*/ 1795 h 2407"/>
                <a:gd name="T52" fmla="*/ 2170 w 3874"/>
                <a:gd name="T53" fmla="*/ 1795 h 2407"/>
                <a:gd name="T54" fmla="*/ 1910 w 3874"/>
                <a:gd name="T55" fmla="*/ 1795 h 2407"/>
                <a:gd name="T56" fmla="*/ 1274 w 3874"/>
                <a:gd name="T57" fmla="*/ 1795 h 2407"/>
                <a:gd name="T58" fmla="*/ 977 w 3874"/>
                <a:gd name="T59" fmla="*/ 1785 h 2407"/>
                <a:gd name="T60" fmla="*/ 977 w 3874"/>
                <a:gd name="T61" fmla="*/ 1228 h 2407"/>
                <a:gd name="T62" fmla="*/ 477 w 3874"/>
                <a:gd name="T63" fmla="*/ 1795 h 2407"/>
                <a:gd name="T64" fmla="*/ 0 w 3874"/>
                <a:gd name="T65" fmla="*/ 1795 h 2407"/>
                <a:gd name="T66" fmla="*/ 0 w 3874"/>
                <a:gd name="T67" fmla="*/ 1238 h 2407"/>
                <a:gd name="T68" fmla="*/ 3601 w 3874"/>
                <a:gd name="T69" fmla="*/ 614 h 2407"/>
                <a:gd name="T70" fmla="*/ 3452 w 3874"/>
                <a:gd name="T71" fmla="*/ 1121 h 2407"/>
                <a:gd name="T72" fmla="*/ 0 w 3874"/>
                <a:gd name="T73" fmla="*/ 614 h 2407"/>
                <a:gd name="T74" fmla="*/ 0 w 3874"/>
                <a:gd name="T75" fmla="*/ 1180 h 2407"/>
                <a:gd name="T76" fmla="*/ 0 w 3874"/>
                <a:gd name="T77" fmla="*/ 999 h 2407"/>
                <a:gd name="T78" fmla="*/ 2459 w 3874"/>
                <a:gd name="T79" fmla="*/ 1181 h 2407"/>
                <a:gd name="T80" fmla="*/ 2459 w 3874"/>
                <a:gd name="T81" fmla="*/ 614 h 2407"/>
                <a:gd name="T82" fmla="*/ 1472 w 3874"/>
                <a:gd name="T83" fmla="*/ 1179 h 2407"/>
                <a:gd name="T84" fmla="*/ 1950 w 3874"/>
                <a:gd name="T85" fmla="*/ 614 h 2407"/>
                <a:gd name="T86" fmla="*/ 486 w 3874"/>
                <a:gd name="T87" fmla="*/ 1170 h 2407"/>
                <a:gd name="T88" fmla="*/ 963 w 3874"/>
                <a:gd name="T89" fmla="*/ 614 h 2407"/>
                <a:gd name="T90" fmla="*/ 3874 w 3874"/>
                <a:gd name="T91" fmla="*/ 567 h 2407"/>
                <a:gd name="T92" fmla="*/ 3161 w 3874"/>
                <a:gd name="T93" fmla="*/ 567 h 2407"/>
                <a:gd name="T94" fmla="*/ 2958 w 3874"/>
                <a:gd name="T95" fmla="*/ 507 h 2407"/>
                <a:gd name="T96" fmla="*/ 2958 w 3874"/>
                <a:gd name="T97" fmla="*/ 0 h 2407"/>
                <a:gd name="T98" fmla="*/ 2450 w 3874"/>
                <a:gd name="T99" fmla="*/ 0 h 2407"/>
                <a:gd name="T100" fmla="*/ 2905 w 3874"/>
                <a:gd name="T101" fmla="*/ 567 h 2407"/>
                <a:gd name="T102" fmla="*/ 2079 w 3874"/>
                <a:gd name="T103" fmla="*/ 567 h 2407"/>
                <a:gd name="T104" fmla="*/ 1984 w 3874"/>
                <a:gd name="T105" fmla="*/ 0 h 2407"/>
                <a:gd name="T106" fmla="*/ 1918 w 3874"/>
                <a:gd name="T107" fmla="*/ 0 h 2407"/>
                <a:gd name="T108" fmla="*/ 1440 w 3874"/>
                <a:gd name="T109" fmla="*/ 567 h 2407"/>
                <a:gd name="T110" fmla="*/ 984 w 3874"/>
                <a:gd name="T111" fmla="*/ 561 h 2407"/>
                <a:gd name="T112" fmla="*/ 984 w 3874"/>
                <a:gd name="T113" fmla="*/ 84 h 2407"/>
                <a:gd name="T114" fmla="*/ 1394 w 3874"/>
                <a:gd name="T115" fmla="*/ 0 h 2407"/>
                <a:gd name="T116" fmla="*/ 933 w 3874"/>
                <a:gd name="T117" fmla="*/ 567 h 2407"/>
                <a:gd name="T118" fmla="*/ 3 w 3874"/>
                <a:gd name="T119" fmla="*/ 567 h 2407"/>
                <a:gd name="T120" fmla="*/ 0 w 3874"/>
                <a:gd name="T121" fmla="*/ 226 h 2407"/>
                <a:gd name="T122" fmla="*/ 0 w 3874"/>
                <a:gd name="T123" fmla="*/ 0 h 2407"/>
                <a:gd name="T124" fmla="*/ 926 w 3874"/>
                <a:gd name="T125" fmla="*/ 0 h 2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74" h="2407">
                  <a:moveTo>
                    <a:pt x="2465" y="1838"/>
                  </a:moveTo>
                  <a:lnTo>
                    <a:pt x="2465" y="1838"/>
                  </a:lnTo>
                  <a:lnTo>
                    <a:pt x="2465" y="1838"/>
                  </a:lnTo>
                  <a:lnTo>
                    <a:pt x="2469" y="1838"/>
                  </a:lnTo>
                  <a:lnTo>
                    <a:pt x="2472" y="1838"/>
                  </a:lnTo>
                  <a:lnTo>
                    <a:pt x="2478" y="1838"/>
                  </a:lnTo>
                  <a:lnTo>
                    <a:pt x="2875" y="1838"/>
                  </a:lnTo>
                  <a:lnTo>
                    <a:pt x="2943" y="1838"/>
                  </a:lnTo>
                  <a:lnTo>
                    <a:pt x="3018" y="1838"/>
                  </a:lnTo>
                  <a:lnTo>
                    <a:pt x="3192" y="1838"/>
                  </a:lnTo>
                  <a:lnTo>
                    <a:pt x="3291" y="1838"/>
                  </a:lnTo>
                  <a:lnTo>
                    <a:pt x="3399" y="1838"/>
                  </a:lnTo>
                  <a:lnTo>
                    <a:pt x="3399" y="2407"/>
                  </a:lnTo>
                  <a:lnTo>
                    <a:pt x="3399" y="2407"/>
                  </a:lnTo>
                  <a:lnTo>
                    <a:pt x="3398" y="2407"/>
                  </a:lnTo>
                  <a:lnTo>
                    <a:pt x="3396" y="2407"/>
                  </a:lnTo>
                  <a:lnTo>
                    <a:pt x="3395" y="2407"/>
                  </a:lnTo>
                  <a:lnTo>
                    <a:pt x="3392" y="2407"/>
                  </a:lnTo>
                  <a:lnTo>
                    <a:pt x="3386" y="2407"/>
                  </a:lnTo>
                  <a:lnTo>
                    <a:pt x="2989" y="2407"/>
                  </a:lnTo>
                  <a:lnTo>
                    <a:pt x="2920" y="2407"/>
                  </a:lnTo>
                  <a:lnTo>
                    <a:pt x="2846" y="2407"/>
                  </a:lnTo>
                  <a:lnTo>
                    <a:pt x="2762" y="2407"/>
                  </a:lnTo>
                  <a:lnTo>
                    <a:pt x="2672" y="2407"/>
                  </a:lnTo>
                  <a:lnTo>
                    <a:pt x="2573" y="2407"/>
                  </a:lnTo>
                  <a:lnTo>
                    <a:pt x="2465" y="2407"/>
                  </a:lnTo>
                  <a:lnTo>
                    <a:pt x="2465" y="2407"/>
                  </a:lnTo>
                  <a:lnTo>
                    <a:pt x="2465" y="2406"/>
                  </a:lnTo>
                  <a:lnTo>
                    <a:pt x="2465" y="2347"/>
                  </a:lnTo>
                  <a:lnTo>
                    <a:pt x="2465" y="2324"/>
                  </a:lnTo>
                  <a:lnTo>
                    <a:pt x="2465" y="2297"/>
                  </a:lnTo>
                  <a:lnTo>
                    <a:pt x="2465" y="2000"/>
                  </a:lnTo>
                  <a:lnTo>
                    <a:pt x="2465" y="1923"/>
                  </a:lnTo>
                  <a:lnTo>
                    <a:pt x="2465" y="1838"/>
                  </a:lnTo>
                  <a:close/>
                  <a:moveTo>
                    <a:pt x="1478" y="1838"/>
                  </a:moveTo>
                  <a:lnTo>
                    <a:pt x="1478" y="1838"/>
                  </a:lnTo>
                  <a:lnTo>
                    <a:pt x="1478" y="1838"/>
                  </a:lnTo>
                  <a:lnTo>
                    <a:pt x="1482" y="1838"/>
                  </a:lnTo>
                  <a:lnTo>
                    <a:pt x="1485" y="1838"/>
                  </a:lnTo>
                  <a:lnTo>
                    <a:pt x="1491" y="1838"/>
                  </a:lnTo>
                  <a:lnTo>
                    <a:pt x="1888" y="1838"/>
                  </a:lnTo>
                  <a:lnTo>
                    <a:pt x="1956" y="1838"/>
                  </a:lnTo>
                  <a:lnTo>
                    <a:pt x="2031" y="1838"/>
                  </a:lnTo>
                  <a:lnTo>
                    <a:pt x="2205" y="1838"/>
                  </a:lnTo>
                  <a:lnTo>
                    <a:pt x="2304" y="1838"/>
                  </a:lnTo>
                  <a:lnTo>
                    <a:pt x="2412" y="1838"/>
                  </a:lnTo>
                  <a:lnTo>
                    <a:pt x="2412" y="2407"/>
                  </a:lnTo>
                  <a:lnTo>
                    <a:pt x="2412" y="2407"/>
                  </a:lnTo>
                  <a:lnTo>
                    <a:pt x="2411" y="2407"/>
                  </a:lnTo>
                  <a:lnTo>
                    <a:pt x="2410" y="2407"/>
                  </a:lnTo>
                  <a:lnTo>
                    <a:pt x="2408" y="2407"/>
                  </a:lnTo>
                  <a:lnTo>
                    <a:pt x="2405" y="2407"/>
                  </a:lnTo>
                  <a:lnTo>
                    <a:pt x="2399" y="2407"/>
                  </a:lnTo>
                  <a:lnTo>
                    <a:pt x="2002" y="2407"/>
                  </a:lnTo>
                  <a:lnTo>
                    <a:pt x="1933" y="2407"/>
                  </a:lnTo>
                  <a:lnTo>
                    <a:pt x="1859" y="2407"/>
                  </a:lnTo>
                  <a:lnTo>
                    <a:pt x="1775" y="2407"/>
                  </a:lnTo>
                  <a:lnTo>
                    <a:pt x="1685" y="2407"/>
                  </a:lnTo>
                  <a:lnTo>
                    <a:pt x="1586" y="2407"/>
                  </a:lnTo>
                  <a:lnTo>
                    <a:pt x="1478" y="2407"/>
                  </a:lnTo>
                  <a:lnTo>
                    <a:pt x="1478" y="2407"/>
                  </a:lnTo>
                  <a:lnTo>
                    <a:pt x="1478" y="2406"/>
                  </a:lnTo>
                  <a:lnTo>
                    <a:pt x="1478" y="2347"/>
                  </a:lnTo>
                  <a:lnTo>
                    <a:pt x="1478" y="2324"/>
                  </a:lnTo>
                  <a:lnTo>
                    <a:pt x="1478" y="2297"/>
                  </a:lnTo>
                  <a:lnTo>
                    <a:pt x="1478" y="2000"/>
                  </a:lnTo>
                  <a:lnTo>
                    <a:pt x="1478" y="1923"/>
                  </a:lnTo>
                  <a:lnTo>
                    <a:pt x="1478" y="1838"/>
                  </a:lnTo>
                  <a:close/>
                  <a:moveTo>
                    <a:pt x="491" y="1838"/>
                  </a:moveTo>
                  <a:lnTo>
                    <a:pt x="491" y="1838"/>
                  </a:lnTo>
                  <a:lnTo>
                    <a:pt x="491" y="1838"/>
                  </a:lnTo>
                  <a:lnTo>
                    <a:pt x="495" y="1838"/>
                  </a:lnTo>
                  <a:lnTo>
                    <a:pt x="499" y="1838"/>
                  </a:lnTo>
                  <a:lnTo>
                    <a:pt x="504" y="1838"/>
                  </a:lnTo>
                  <a:lnTo>
                    <a:pt x="902" y="1838"/>
                  </a:lnTo>
                  <a:lnTo>
                    <a:pt x="969" y="1838"/>
                  </a:lnTo>
                  <a:lnTo>
                    <a:pt x="1045" y="1838"/>
                  </a:lnTo>
                  <a:lnTo>
                    <a:pt x="1218" y="1838"/>
                  </a:lnTo>
                  <a:lnTo>
                    <a:pt x="1318" y="1838"/>
                  </a:lnTo>
                  <a:lnTo>
                    <a:pt x="1425" y="1838"/>
                  </a:lnTo>
                  <a:lnTo>
                    <a:pt x="1425" y="2407"/>
                  </a:lnTo>
                  <a:lnTo>
                    <a:pt x="1425" y="2407"/>
                  </a:lnTo>
                  <a:lnTo>
                    <a:pt x="1424" y="2407"/>
                  </a:lnTo>
                  <a:lnTo>
                    <a:pt x="1424" y="2407"/>
                  </a:lnTo>
                  <a:lnTo>
                    <a:pt x="1422" y="2407"/>
                  </a:lnTo>
                  <a:lnTo>
                    <a:pt x="1418" y="2407"/>
                  </a:lnTo>
                  <a:lnTo>
                    <a:pt x="1412" y="2407"/>
                  </a:lnTo>
                  <a:lnTo>
                    <a:pt x="1015" y="2407"/>
                  </a:lnTo>
                  <a:lnTo>
                    <a:pt x="946" y="2407"/>
                  </a:lnTo>
                  <a:lnTo>
                    <a:pt x="872" y="2407"/>
                  </a:lnTo>
                  <a:lnTo>
                    <a:pt x="788" y="2407"/>
                  </a:lnTo>
                  <a:lnTo>
                    <a:pt x="698" y="2407"/>
                  </a:lnTo>
                  <a:lnTo>
                    <a:pt x="599" y="2407"/>
                  </a:lnTo>
                  <a:lnTo>
                    <a:pt x="491" y="2407"/>
                  </a:lnTo>
                  <a:lnTo>
                    <a:pt x="491" y="2405"/>
                  </a:lnTo>
                  <a:lnTo>
                    <a:pt x="491" y="2401"/>
                  </a:lnTo>
                  <a:lnTo>
                    <a:pt x="491" y="2397"/>
                  </a:lnTo>
                  <a:lnTo>
                    <a:pt x="491" y="2347"/>
                  </a:lnTo>
                  <a:lnTo>
                    <a:pt x="491" y="2324"/>
                  </a:lnTo>
                  <a:lnTo>
                    <a:pt x="491" y="2297"/>
                  </a:lnTo>
                  <a:lnTo>
                    <a:pt x="491" y="2264"/>
                  </a:lnTo>
                  <a:lnTo>
                    <a:pt x="491" y="2225"/>
                  </a:lnTo>
                  <a:lnTo>
                    <a:pt x="491" y="1838"/>
                  </a:lnTo>
                  <a:close/>
                  <a:moveTo>
                    <a:pt x="3604" y="1838"/>
                  </a:moveTo>
                  <a:lnTo>
                    <a:pt x="3645" y="1838"/>
                  </a:lnTo>
                  <a:lnTo>
                    <a:pt x="3689" y="1838"/>
                  </a:lnTo>
                  <a:lnTo>
                    <a:pt x="3804" y="1838"/>
                  </a:lnTo>
                  <a:lnTo>
                    <a:pt x="3873" y="1838"/>
                  </a:lnTo>
                  <a:lnTo>
                    <a:pt x="3873" y="2407"/>
                  </a:lnTo>
                  <a:lnTo>
                    <a:pt x="3873" y="2407"/>
                  </a:lnTo>
                  <a:lnTo>
                    <a:pt x="3870" y="2407"/>
                  </a:lnTo>
                  <a:lnTo>
                    <a:pt x="3867" y="2407"/>
                  </a:lnTo>
                  <a:lnTo>
                    <a:pt x="3829" y="2407"/>
                  </a:lnTo>
                  <a:lnTo>
                    <a:pt x="3811" y="2407"/>
                  </a:lnTo>
                  <a:lnTo>
                    <a:pt x="3789" y="2407"/>
                  </a:lnTo>
                  <a:lnTo>
                    <a:pt x="3760" y="2407"/>
                  </a:lnTo>
                  <a:lnTo>
                    <a:pt x="3727" y="2407"/>
                  </a:lnTo>
                  <a:lnTo>
                    <a:pt x="3687" y="2407"/>
                  </a:lnTo>
                  <a:lnTo>
                    <a:pt x="3642" y="2407"/>
                  </a:lnTo>
                  <a:lnTo>
                    <a:pt x="3528" y="2407"/>
                  </a:lnTo>
                  <a:lnTo>
                    <a:pt x="3459" y="2407"/>
                  </a:lnTo>
                  <a:lnTo>
                    <a:pt x="3459" y="2405"/>
                  </a:lnTo>
                  <a:lnTo>
                    <a:pt x="3459" y="2401"/>
                  </a:lnTo>
                  <a:lnTo>
                    <a:pt x="3459" y="2397"/>
                  </a:lnTo>
                  <a:lnTo>
                    <a:pt x="3459" y="2347"/>
                  </a:lnTo>
                  <a:lnTo>
                    <a:pt x="3459" y="2324"/>
                  </a:lnTo>
                  <a:lnTo>
                    <a:pt x="3459" y="2297"/>
                  </a:lnTo>
                  <a:lnTo>
                    <a:pt x="3459" y="2264"/>
                  </a:lnTo>
                  <a:lnTo>
                    <a:pt x="3459" y="2225"/>
                  </a:lnTo>
                  <a:lnTo>
                    <a:pt x="3459" y="2000"/>
                  </a:lnTo>
                  <a:lnTo>
                    <a:pt x="3459" y="1923"/>
                  </a:lnTo>
                  <a:lnTo>
                    <a:pt x="3459" y="1838"/>
                  </a:lnTo>
                  <a:lnTo>
                    <a:pt x="3459" y="1838"/>
                  </a:lnTo>
                  <a:lnTo>
                    <a:pt x="3460" y="1838"/>
                  </a:lnTo>
                  <a:lnTo>
                    <a:pt x="3461" y="1838"/>
                  </a:lnTo>
                  <a:lnTo>
                    <a:pt x="3571" y="1838"/>
                  </a:lnTo>
                  <a:lnTo>
                    <a:pt x="3604" y="1838"/>
                  </a:lnTo>
                  <a:close/>
                  <a:moveTo>
                    <a:pt x="157" y="1838"/>
                  </a:moveTo>
                  <a:lnTo>
                    <a:pt x="201" y="1838"/>
                  </a:lnTo>
                  <a:lnTo>
                    <a:pt x="250" y="1838"/>
                  </a:lnTo>
                  <a:lnTo>
                    <a:pt x="373" y="1838"/>
                  </a:lnTo>
                  <a:lnTo>
                    <a:pt x="448" y="1838"/>
                  </a:lnTo>
                  <a:lnTo>
                    <a:pt x="448" y="2407"/>
                  </a:lnTo>
                  <a:lnTo>
                    <a:pt x="448" y="2407"/>
                  </a:lnTo>
                  <a:lnTo>
                    <a:pt x="445" y="2407"/>
                  </a:lnTo>
                  <a:lnTo>
                    <a:pt x="442" y="2407"/>
                  </a:lnTo>
                  <a:lnTo>
                    <a:pt x="402" y="2407"/>
                  </a:lnTo>
                  <a:lnTo>
                    <a:pt x="382" y="2407"/>
                  </a:lnTo>
                  <a:lnTo>
                    <a:pt x="357" y="2407"/>
                  </a:lnTo>
                  <a:lnTo>
                    <a:pt x="326" y="2407"/>
                  </a:lnTo>
                  <a:lnTo>
                    <a:pt x="291" y="2407"/>
                  </a:lnTo>
                  <a:lnTo>
                    <a:pt x="248" y="2407"/>
                  </a:lnTo>
                  <a:lnTo>
                    <a:pt x="197" y="2407"/>
                  </a:lnTo>
                  <a:lnTo>
                    <a:pt x="74" y="2407"/>
                  </a:lnTo>
                  <a:lnTo>
                    <a:pt x="0" y="2407"/>
                  </a:lnTo>
                  <a:lnTo>
                    <a:pt x="0" y="2407"/>
                  </a:lnTo>
                  <a:lnTo>
                    <a:pt x="0" y="2406"/>
                  </a:lnTo>
                  <a:lnTo>
                    <a:pt x="0" y="2405"/>
                  </a:lnTo>
                  <a:lnTo>
                    <a:pt x="0" y="2401"/>
                  </a:lnTo>
                  <a:lnTo>
                    <a:pt x="0" y="2397"/>
                  </a:lnTo>
                  <a:lnTo>
                    <a:pt x="0" y="2347"/>
                  </a:lnTo>
                  <a:lnTo>
                    <a:pt x="0" y="2324"/>
                  </a:lnTo>
                  <a:lnTo>
                    <a:pt x="0" y="2297"/>
                  </a:lnTo>
                  <a:lnTo>
                    <a:pt x="0" y="2264"/>
                  </a:lnTo>
                  <a:lnTo>
                    <a:pt x="0" y="2225"/>
                  </a:lnTo>
                  <a:lnTo>
                    <a:pt x="0" y="2000"/>
                  </a:lnTo>
                  <a:lnTo>
                    <a:pt x="0" y="1923"/>
                  </a:lnTo>
                  <a:lnTo>
                    <a:pt x="0" y="1838"/>
                  </a:lnTo>
                  <a:lnTo>
                    <a:pt x="0" y="1838"/>
                  </a:lnTo>
                  <a:lnTo>
                    <a:pt x="1" y="1838"/>
                  </a:lnTo>
                  <a:lnTo>
                    <a:pt x="2" y="1838"/>
                  </a:lnTo>
                  <a:lnTo>
                    <a:pt x="122" y="1838"/>
                  </a:lnTo>
                  <a:lnTo>
                    <a:pt x="157" y="1838"/>
                  </a:lnTo>
                  <a:close/>
                  <a:moveTo>
                    <a:pt x="2951" y="1228"/>
                  </a:moveTo>
                  <a:lnTo>
                    <a:pt x="3870" y="1228"/>
                  </a:lnTo>
                  <a:lnTo>
                    <a:pt x="3870" y="1795"/>
                  </a:lnTo>
                  <a:lnTo>
                    <a:pt x="3870" y="1795"/>
                  </a:lnTo>
                  <a:lnTo>
                    <a:pt x="3869" y="1795"/>
                  </a:lnTo>
                  <a:lnTo>
                    <a:pt x="3868" y="1795"/>
                  </a:lnTo>
                  <a:lnTo>
                    <a:pt x="3867" y="1795"/>
                  </a:lnTo>
                  <a:lnTo>
                    <a:pt x="3862" y="1795"/>
                  </a:lnTo>
                  <a:lnTo>
                    <a:pt x="3857" y="1795"/>
                  </a:lnTo>
                  <a:lnTo>
                    <a:pt x="3466" y="1795"/>
                  </a:lnTo>
                  <a:lnTo>
                    <a:pt x="3399" y="1795"/>
                  </a:lnTo>
                  <a:lnTo>
                    <a:pt x="3325" y="1795"/>
                  </a:lnTo>
                  <a:lnTo>
                    <a:pt x="3243" y="1795"/>
                  </a:lnTo>
                  <a:lnTo>
                    <a:pt x="3154" y="1795"/>
                  </a:lnTo>
                  <a:lnTo>
                    <a:pt x="3056" y="1795"/>
                  </a:lnTo>
                  <a:lnTo>
                    <a:pt x="2951" y="1795"/>
                  </a:lnTo>
                  <a:lnTo>
                    <a:pt x="2951" y="1795"/>
                  </a:lnTo>
                  <a:lnTo>
                    <a:pt x="2951" y="1794"/>
                  </a:lnTo>
                  <a:lnTo>
                    <a:pt x="2951" y="1793"/>
                  </a:lnTo>
                  <a:lnTo>
                    <a:pt x="2951" y="1789"/>
                  </a:lnTo>
                  <a:lnTo>
                    <a:pt x="2951" y="1785"/>
                  </a:lnTo>
                  <a:lnTo>
                    <a:pt x="2951" y="1735"/>
                  </a:lnTo>
                  <a:lnTo>
                    <a:pt x="2951" y="1712"/>
                  </a:lnTo>
                  <a:lnTo>
                    <a:pt x="2951" y="1685"/>
                  </a:lnTo>
                  <a:lnTo>
                    <a:pt x="2951" y="1652"/>
                  </a:lnTo>
                  <a:lnTo>
                    <a:pt x="2951" y="1613"/>
                  </a:lnTo>
                  <a:lnTo>
                    <a:pt x="2951" y="1389"/>
                  </a:lnTo>
                  <a:lnTo>
                    <a:pt x="2951" y="1312"/>
                  </a:lnTo>
                  <a:lnTo>
                    <a:pt x="2951" y="1228"/>
                  </a:lnTo>
                  <a:close/>
                  <a:moveTo>
                    <a:pt x="1964" y="1228"/>
                  </a:moveTo>
                  <a:lnTo>
                    <a:pt x="2898" y="1228"/>
                  </a:lnTo>
                  <a:lnTo>
                    <a:pt x="2898" y="1795"/>
                  </a:lnTo>
                  <a:lnTo>
                    <a:pt x="2898" y="1795"/>
                  </a:lnTo>
                  <a:lnTo>
                    <a:pt x="2896" y="1795"/>
                  </a:lnTo>
                  <a:lnTo>
                    <a:pt x="2895" y="1795"/>
                  </a:lnTo>
                  <a:lnTo>
                    <a:pt x="2893" y="1795"/>
                  </a:lnTo>
                  <a:lnTo>
                    <a:pt x="2889" y="1795"/>
                  </a:lnTo>
                  <a:lnTo>
                    <a:pt x="2885" y="1795"/>
                  </a:lnTo>
                  <a:lnTo>
                    <a:pt x="2488" y="1795"/>
                  </a:lnTo>
                  <a:lnTo>
                    <a:pt x="2419" y="1795"/>
                  </a:lnTo>
                  <a:lnTo>
                    <a:pt x="2343" y="1795"/>
                  </a:lnTo>
                  <a:lnTo>
                    <a:pt x="2261" y="1795"/>
                  </a:lnTo>
                  <a:lnTo>
                    <a:pt x="2170" y="1795"/>
                  </a:lnTo>
                  <a:lnTo>
                    <a:pt x="2072" y="1795"/>
                  </a:lnTo>
                  <a:lnTo>
                    <a:pt x="1964" y="1795"/>
                  </a:lnTo>
                  <a:lnTo>
                    <a:pt x="1964" y="1228"/>
                  </a:lnTo>
                  <a:close/>
                  <a:moveTo>
                    <a:pt x="977" y="1228"/>
                  </a:moveTo>
                  <a:lnTo>
                    <a:pt x="1911" y="1228"/>
                  </a:lnTo>
                  <a:lnTo>
                    <a:pt x="1911" y="1795"/>
                  </a:lnTo>
                  <a:lnTo>
                    <a:pt x="1911" y="1795"/>
                  </a:lnTo>
                  <a:lnTo>
                    <a:pt x="1910" y="1795"/>
                  </a:lnTo>
                  <a:lnTo>
                    <a:pt x="1908" y="1795"/>
                  </a:lnTo>
                  <a:lnTo>
                    <a:pt x="1906" y="1795"/>
                  </a:lnTo>
                  <a:lnTo>
                    <a:pt x="1903" y="1795"/>
                  </a:lnTo>
                  <a:lnTo>
                    <a:pt x="1898" y="1795"/>
                  </a:lnTo>
                  <a:lnTo>
                    <a:pt x="1501" y="1795"/>
                  </a:lnTo>
                  <a:lnTo>
                    <a:pt x="1432" y="1795"/>
                  </a:lnTo>
                  <a:lnTo>
                    <a:pt x="1357" y="1795"/>
                  </a:lnTo>
                  <a:lnTo>
                    <a:pt x="1274" y="1795"/>
                  </a:lnTo>
                  <a:lnTo>
                    <a:pt x="1183" y="1795"/>
                  </a:lnTo>
                  <a:lnTo>
                    <a:pt x="1085" y="1795"/>
                  </a:lnTo>
                  <a:lnTo>
                    <a:pt x="977" y="1795"/>
                  </a:lnTo>
                  <a:lnTo>
                    <a:pt x="977" y="1795"/>
                  </a:lnTo>
                  <a:lnTo>
                    <a:pt x="977" y="1794"/>
                  </a:lnTo>
                  <a:lnTo>
                    <a:pt x="977" y="1793"/>
                  </a:lnTo>
                  <a:lnTo>
                    <a:pt x="977" y="1789"/>
                  </a:lnTo>
                  <a:lnTo>
                    <a:pt x="977" y="1785"/>
                  </a:lnTo>
                  <a:lnTo>
                    <a:pt x="977" y="1735"/>
                  </a:lnTo>
                  <a:lnTo>
                    <a:pt x="977" y="1712"/>
                  </a:lnTo>
                  <a:lnTo>
                    <a:pt x="977" y="1685"/>
                  </a:lnTo>
                  <a:lnTo>
                    <a:pt x="977" y="1652"/>
                  </a:lnTo>
                  <a:lnTo>
                    <a:pt x="977" y="1613"/>
                  </a:lnTo>
                  <a:lnTo>
                    <a:pt x="977" y="1389"/>
                  </a:lnTo>
                  <a:lnTo>
                    <a:pt x="977" y="1312"/>
                  </a:lnTo>
                  <a:lnTo>
                    <a:pt x="977" y="1228"/>
                  </a:lnTo>
                  <a:close/>
                  <a:moveTo>
                    <a:pt x="0" y="1228"/>
                  </a:moveTo>
                  <a:lnTo>
                    <a:pt x="933" y="1228"/>
                  </a:lnTo>
                  <a:lnTo>
                    <a:pt x="933" y="1795"/>
                  </a:lnTo>
                  <a:lnTo>
                    <a:pt x="826" y="1795"/>
                  </a:lnTo>
                  <a:lnTo>
                    <a:pt x="727" y="1795"/>
                  </a:lnTo>
                  <a:lnTo>
                    <a:pt x="636" y="1795"/>
                  </a:lnTo>
                  <a:lnTo>
                    <a:pt x="553" y="1795"/>
                  </a:lnTo>
                  <a:lnTo>
                    <a:pt x="477" y="1795"/>
                  </a:lnTo>
                  <a:lnTo>
                    <a:pt x="410" y="1795"/>
                  </a:lnTo>
                  <a:lnTo>
                    <a:pt x="13" y="1795"/>
                  </a:lnTo>
                  <a:lnTo>
                    <a:pt x="7" y="1795"/>
                  </a:lnTo>
                  <a:lnTo>
                    <a:pt x="3" y="1795"/>
                  </a:lnTo>
                  <a:lnTo>
                    <a:pt x="1" y="1795"/>
                  </a:lnTo>
                  <a:lnTo>
                    <a:pt x="0" y="1795"/>
                  </a:lnTo>
                  <a:lnTo>
                    <a:pt x="0" y="1795"/>
                  </a:lnTo>
                  <a:lnTo>
                    <a:pt x="0" y="1795"/>
                  </a:lnTo>
                  <a:lnTo>
                    <a:pt x="0" y="1710"/>
                  </a:lnTo>
                  <a:lnTo>
                    <a:pt x="0" y="1634"/>
                  </a:lnTo>
                  <a:lnTo>
                    <a:pt x="0" y="1410"/>
                  </a:lnTo>
                  <a:lnTo>
                    <a:pt x="0" y="1370"/>
                  </a:lnTo>
                  <a:lnTo>
                    <a:pt x="0" y="1339"/>
                  </a:lnTo>
                  <a:lnTo>
                    <a:pt x="0" y="1310"/>
                  </a:lnTo>
                  <a:lnTo>
                    <a:pt x="0" y="1289"/>
                  </a:lnTo>
                  <a:lnTo>
                    <a:pt x="0" y="1238"/>
                  </a:lnTo>
                  <a:lnTo>
                    <a:pt x="0" y="1233"/>
                  </a:lnTo>
                  <a:lnTo>
                    <a:pt x="0" y="1231"/>
                  </a:lnTo>
                  <a:lnTo>
                    <a:pt x="0" y="1228"/>
                  </a:lnTo>
                  <a:lnTo>
                    <a:pt x="0" y="1228"/>
                  </a:lnTo>
                  <a:lnTo>
                    <a:pt x="0" y="1228"/>
                  </a:lnTo>
                  <a:close/>
                  <a:moveTo>
                    <a:pt x="3452" y="614"/>
                  </a:moveTo>
                  <a:lnTo>
                    <a:pt x="3567" y="614"/>
                  </a:lnTo>
                  <a:lnTo>
                    <a:pt x="3601" y="614"/>
                  </a:lnTo>
                  <a:lnTo>
                    <a:pt x="3641" y="614"/>
                  </a:lnTo>
                  <a:lnTo>
                    <a:pt x="3874" y="614"/>
                  </a:lnTo>
                  <a:lnTo>
                    <a:pt x="3874" y="1181"/>
                  </a:lnTo>
                  <a:lnTo>
                    <a:pt x="3452" y="1181"/>
                  </a:lnTo>
                  <a:lnTo>
                    <a:pt x="3452" y="1179"/>
                  </a:lnTo>
                  <a:lnTo>
                    <a:pt x="3452" y="1175"/>
                  </a:lnTo>
                  <a:lnTo>
                    <a:pt x="3452" y="1170"/>
                  </a:lnTo>
                  <a:lnTo>
                    <a:pt x="3452" y="1121"/>
                  </a:lnTo>
                  <a:lnTo>
                    <a:pt x="3452" y="1098"/>
                  </a:lnTo>
                  <a:lnTo>
                    <a:pt x="3452" y="1071"/>
                  </a:lnTo>
                  <a:lnTo>
                    <a:pt x="3452" y="1038"/>
                  </a:lnTo>
                  <a:lnTo>
                    <a:pt x="3452" y="999"/>
                  </a:lnTo>
                  <a:lnTo>
                    <a:pt x="3452" y="775"/>
                  </a:lnTo>
                  <a:lnTo>
                    <a:pt x="3452" y="698"/>
                  </a:lnTo>
                  <a:lnTo>
                    <a:pt x="3452" y="614"/>
                  </a:lnTo>
                  <a:close/>
                  <a:moveTo>
                    <a:pt x="0" y="614"/>
                  </a:moveTo>
                  <a:lnTo>
                    <a:pt x="119" y="614"/>
                  </a:lnTo>
                  <a:lnTo>
                    <a:pt x="156" y="614"/>
                  </a:lnTo>
                  <a:lnTo>
                    <a:pt x="197" y="614"/>
                  </a:lnTo>
                  <a:lnTo>
                    <a:pt x="442" y="614"/>
                  </a:lnTo>
                  <a:lnTo>
                    <a:pt x="442" y="1181"/>
                  </a:lnTo>
                  <a:lnTo>
                    <a:pt x="0" y="1181"/>
                  </a:lnTo>
                  <a:lnTo>
                    <a:pt x="0" y="1181"/>
                  </a:lnTo>
                  <a:lnTo>
                    <a:pt x="0" y="1180"/>
                  </a:lnTo>
                  <a:lnTo>
                    <a:pt x="0" y="1179"/>
                  </a:lnTo>
                  <a:lnTo>
                    <a:pt x="0" y="1175"/>
                  </a:lnTo>
                  <a:lnTo>
                    <a:pt x="0" y="1170"/>
                  </a:lnTo>
                  <a:lnTo>
                    <a:pt x="0" y="1121"/>
                  </a:lnTo>
                  <a:lnTo>
                    <a:pt x="0" y="1098"/>
                  </a:lnTo>
                  <a:lnTo>
                    <a:pt x="0" y="1071"/>
                  </a:lnTo>
                  <a:lnTo>
                    <a:pt x="0" y="1038"/>
                  </a:lnTo>
                  <a:lnTo>
                    <a:pt x="0" y="999"/>
                  </a:lnTo>
                  <a:lnTo>
                    <a:pt x="0" y="775"/>
                  </a:lnTo>
                  <a:lnTo>
                    <a:pt x="0" y="698"/>
                  </a:lnTo>
                  <a:lnTo>
                    <a:pt x="0" y="614"/>
                  </a:lnTo>
                  <a:close/>
                  <a:moveTo>
                    <a:pt x="2937" y="614"/>
                  </a:moveTo>
                  <a:lnTo>
                    <a:pt x="3012" y="614"/>
                  </a:lnTo>
                  <a:lnTo>
                    <a:pt x="3393" y="614"/>
                  </a:lnTo>
                  <a:lnTo>
                    <a:pt x="3393" y="1181"/>
                  </a:lnTo>
                  <a:lnTo>
                    <a:pt x="2459" y="1181"/>
                  </a:lnTo>
                  <a:lnTo>
                    <a:pt x="2459" y="1181"/>
                  </a:lnTo>
                  <a:lnTo>
                    <a:pt x="2459" y="1180"/>
                  </a:lnTo>
                  <a:lnTo>
                    <a:pt x="2459" y="1121"/>
                  </a:lnTo>
                  <a:lnTo>
                    <a:pt x="2459" y="1098"/>
                  </a:lnTo>
                  <a:lnTo>
                    <a:pt x="2459" y="1071"/>
                  </a:lnTo>
                  <a:lnTo>
                    <a:pt x="2459" y="775"/>
                  </a:lnTo>
                  <a:lnTo>
                    <a:pt x="2459" y="698"/>
                  </a:lnTo>
                  <a:lnTo>
                    <a:pt x="2459" y="614"/>
                  </a:lnTo>
                  <a:lnTo>
                    <a:pt x="2869" y="614"/>
                  </a:lnTo>
                  <a:lnTo>
                    <a:pt x="2937" y="614"/>
                  </a:lnTo>
                  <a:close/>
                  <a:moveTo>
                    <a:pt x="1950" y="614"/>
                  </a:moveTo>
                  <a:lnTo>
                    <a:pt x="2025" y="614"/>
                  </a:lnTo>
                  <a:lnTo>
                    <a:pt x="2406" y="614"/>
                  </a:lnTo>
                  <a:lnTo>
                    <a:pt x="2406" y="1181"/>
                  </a:lnTo>
                  <a:lnTo>
                    <a:pt x="1472" y="1181"/>
                  </a:lnTo>
                  <a:lnTo>
                    <a:pt x="1472" y="1179"/>
                  </a:lnTo>
                  <a:lnTo>
                    <a:pt x="1472" y="1175"/>
                  </a:lnTo>
                  <a:lnTo>
                    <a:pt x="1472" y="1170"/>
                  </a:lnTo>
                  <a:lnTo>
                    <a:pt x="1472" y="1071"/>
                  </a:lnTo>
                  <a:lnTo>
                    <a:pt x="1472" y="1038"/>
                  </a:lnTo>
                  <a:lnTo>
                    <a:pt x="1472" y="999"/>
                  </a:lnTo>
                  <a:lnTo>
                    <a:pt x="1472" y="614"/>
                  </a:lnTo>
                  <a:lnTo>
                    <a:pt x="1882" y="614"/>
                  </a:lnTo>
                  <a:lnTo>
                    <a:pt x="1950" y="614"/>
                  </a:lnTo>
                  <a:close/>
                  <a:moveTo>
                    <a:pt x="963" y="614"/>
                  </a:moveTo>
                  <a:lnTo>
                    <a:pt x="1039" y="614"/>
                  </a:lnTo>
                  <a:lnTo>
                    <a:pt x="1419" y="614"/>
                  </a:lnTo>
                  <a:lnTo>
                    <a:pt x="1419" y="1181"/>
                  </a:lnTo>
                  <a:lnTo>
                    <a:pt x="486" y="1181"/>
                  </a:lnTo>
                  <a:lnTo>
                    <a:pt x="486" y="1179"/>
                  </a:lnTo>
                  <a:lnTo>
                    <a:pt x="486" y="1175"/>
                  </a:lnTo>
                  <a:lnTo>
                    <a:pt x="486" y="1170"/>
                  </a:lnTo>
                  <a:lnTo>
                    <a:pt x="486" y="1121"/>
                  </a:lnTo>
                  <a:lnTo>
                    <a:pt x="486" y="1098"/>
                  </a:lnTo>
                  <a:lnTo>
                    <a:pt x="486" y="1071"/>
                  </a:lnTo>
                  <a:lnTo>
                    <a:pt x="486" y="1038"/>
                  </a:lnTo>
                  <a:lnTo>
                    <a:pt x="486" y="999"/>
                  </a:lnTo>
                  <a:lnTo>
                    <a:pt x="486" y="614"/>
                  </a:lnTo>
                  <a:lnTo>
                    <a:pt x="896" y="614"/>
                  </a:lnTo>
                  <a:lnTo>
                    <a:pt x="963" y="614"/>
                  </a:lnTo>
                  <a:close/>
                  <a:moveTo>
                    <a:pt x="3427" y="0"/>
                  </a:moveTo>
                  <a:lnTo>
                    <a:pt x="3502" y="0"/>
                  </a:lnTo>
                  <a:lnTo>
                    <a:pt x="3582" y="0"/>
                  </a:lnTo>
                  <a:lnTo>
                    <a:pt x="3672" y="0"/>
                  </a:lnTo>
                  <a:lnTo>
                    <a:pt x="3769" y="0"/>
                  </a:lnTo>
                  <a:lnTo>
                    <a:pt x="3874" y="0"/>
                  </a:lnTo>
                  <a:lnTo>
                    <a:pt x="3874" y="567"/>
                  </a:lnTo>
                  <a:lnTo>
                    <a:pt x="3874" y="567"/>
                  </a:lnTo>
                  <a:lnTo>
                    <a:pt x="3874" y="567"/>
                  </a:lnTo>
                  <a:lnTo>
                    <a:pt x="3870" y="567"/>
                  </a:lnTo>
                  <a:lnTo>
                    <a:pt x="3867" y="567"/>
                  </a:lnTo>
                  <a:lnTo>
                    <a:pt x="3862" y="567"/>
                  </a:lnTo>
                  <a:lnTo>
                    <a:pt x="3472" y="567"/>
                  </a:lnTo>
                  <a:lnTo>
                    <a:pt x="3406" y="567"/>
                  </a:lnTo>
                  <a:lnTo>
                    <a:pt x="3331" y="567"/>
                  </a:lnTo>
                  <a:lnTo>
                    <a:pt x="3161" y="567"/>
                  </a:lnTo>
                  <a:lnTo>
                    <a:pt x="3064" y="567"/>
                  </a:lnTo>
                  <a:lnTo>
                    <a:pt x="2958" y="567"/>
                  </a:lnTo>
                  <a:lnTo>
                    <a:pt x="2958" y="567"/>
                  </a:lnTo>
                  <a:lnTo>
                    <a:pt x="2958" y="566"/>
                  </a:lnTo>
                  <a:lnTo>
                    <a:pt x="2958" y="565"/>
                  </a:lnTo>
                  <a:lnTo>
                    <a:pt x="2958" y="561"/>
                  </a:lnTo>
                  <a:lnTo>
                    <a:pt x="2958" y="556"/>
                  </a:lnTo>
                  <a:lnTo>
                    <a:pt x="2958" y="507"/>
                  </a:lnTo>
                  <a:lnTo>
                    <a:pt x="2958" y="484"/>
                  </a:lnTo>
                  <a:lnTo>
                    <a:pt x="2958" y="457"/>
                  </a:lnTo>
                  <a:lnTo>
                    <a:pt x="2958" y="424"/>
                  </a:lnTo>
                  <a:lnTo>
                    <a:pt x="2958" y="385"/>
                  </a:lnTo>
                  <a:lnTo>
                    <a:pt x="2958" y="161"/>
                  </a:lnTo>
                  <a:lnTo>
                    <a:pt x="2958" y="84"/>
                  </a:lnTo>
                  <a:lnTo>
                    <a:pt x="2958" y="0"/>
                  </a:lnTo>
                  <a:lnTo>
                    <a:pt x="2958" y="0"/>
                  </a:lnTo>
                  <a:lnTo>
                    <a:pt x="2959" y="0"/>
                  </a:lnTo>
                  <a:lnTo>
                    <a:pt x="2960" y="0"/>
                  </a:lnTo>
                  <a:lnTo>
                    <a:pt x="2961" y="0"/>
                  </a:lnTo>
                  <a:lnTo>
                    <a:pt x="2965" y="0"/>
                  </a:lnTo>
                  <a:lnTo>
                    <a:pt x="2971" y="0"/>
                  </a:lnTo>
                  <a:lnTo>
                    <a:pt x="3361" y="0"/>
                  </a:lnTo>
                  <a:lnTo>
                    <a:pt x="3427" y="0"/>
                  </a:lnTo>
                  <a:close/>
                  <a:moveTo>
                    <a:pt x="2450" y="0"/>
                  </a:moveTo>
                  <a:lnTo>
                    <a:pt x="2525" y="0"/>
                  </a:lnTo>
                  <a:lnTo>
                    <a:pt x="2608" y="0"/>
                  </a:lnTo>
                  <a:lnTo>
                    <a:pt x="2698" y="0"/>
                  </a:lnTo>
                  <a:lnTo>
                    <a:pt x="2797" y="0"/>
                  </a:lnTo>
                  <a:lnTo>
                    <a:pt x="2905" y="0"/>
                  </a:lnTo>
                  <a:lnTo>
                    <a:pt x="2905" y="567"/>
                  </a:lnTo>
                  <a:lnTo>
                    <a:pt x="2905" y="567"/>
                  </a:lnTo>
                  <a:lnTo>
                    <a:pt x="2905" y="567"/>
                  </a:lnTo>
                  <a:lnTo>
                    <a:pt x="2901" y="567"/>
                  </a:lnTo>
                  <a:lnTo>
                    <a:pt x="2898" y="567"/>
                  </a:lnTo>
                  <a:lnTo>
                    <a:pt x="2892" y="567"/>
                  </a:lnTo>
                  <a:lnTo>
                    <a:pt x="2496" y="567"/>
                  </a:lnTo>
                  <a:lnTo>
                    <a:pt x="2427" y="567"/>
                  </a:lnTo>
                  <a:lnTo>
                    <a:pt x="2352" y="567"/>
                  </a:lnTo>
                  <a:lnTo>
                    <a:pt x="2178" y="567"/>
                  </a:lnTo>
                  <a:lnTo>
                    <a:pt x="2079" y="567"/>
                  </a:lnTo>
                  <a:lnTo>
                    <a:pt x="1971" y="567"/>
                  </a:lnTo>
                  <a:lnTo>
                    <a:pt x="1971" y="0"/>
                  </a:lnTo>
                  <a:lnTo>
                    <a:pt x="1971" y="0"/>
                  </a:lnTo>
                  <a:lnTo>
                    <a:pt x="1972" y="0"/>
                  </a:lnTo>
                  <a:lnTo>
                    <a:pt x="1973" y="0"/>
                  </a:lnTo>
                  <a:lnTo>
                    <a:pt x="1976" y="0"/>
                  </a:lnTo>
                  <a:lnTo>
                    <a:pt x="1979" y="0"/>
                  </a:lnTo>
                  <a:lnTo>
                    <a:pt x="1984" y="0"/>
                  </a:lnTo>
                  <a:lnTo>
                    <a:pt x="2381" y="0"/>
                  </a:lnTo>
                  <a:lnTo>
                    <a:pt x="2450" y="0"/>
                  </a:lnTo>
                  <a:close/>
                  <a:moveTo>
                    <a:pt x="1463" y="0"/>
                  </a:moveTo>
                  <a:lnTo>
                    <a:pt x="1539" y="0"/>
                  </a:lnTo>
                  <a:lnTo>
                    <a:pt x="1621" y="0"/>
                  </a:lnTo>
                  <a:lnTo>
                    <a:pt x="1712" y="0"/>
                  </a:lnTo>
                  <a:lnTo>
                    <a:pt x="1810" y="0"/>
                  </a:lnTo>
                  <a:lnTo>
                    <a:pt x="1918" y="0"/>
                  </a:lnTo>
                  <a:lnTo>
                    <a:pt x="1918" y="567"/>
                  </a:lnTo>
                  <a:lnTo>
                    <a:pt x="1918" y="567"/>
                  </a:lnTo>
                  <a:lnTo>
                    <a:pt x="1918" y="567"/>
                  </a:lnTo>
                  <a:lnTo>
                    <a:pt x="1914" y="567"/>
                  </a:lnTo>
                  <a:lnTo>
                    <a:pt x="1911" y="567"/>
                  </a:lnTo>
                  <a:lnTo>
                    <a:pt x="1905" y="567"/>
                  </a:lnTo>
                  <a:lnTo>
                    <a:pt x="1509" y="567"/>
                  </a:lnTo>
                  <a:lnTo>
                    <a:pt x="1440" y="567"/>
                  </a:lnTo>
                  <a:lnTo>
                    <a:pt x="1365" y="567"/>
                  </a:lnTo>
                  <a:lnTo>
                    <a:pt x="1191" y="567"/>
                  </a:lnTo>
                  <a:lnTo>
                    <a:pt x="1092" y="567"/>
                  </a:lnTo>
                  <a:lnTo>
                    <a:pt x="984" y="567"/>
                  </a:lnTo>
                  <a:lnTo>
                    <a:pt x="984" y="567"/>
                  </a:lnTo>
                  <a:lnTo>
                    <a:pt x="984" y="566"/>
                  </a:lnTo>
                  <a:lnTo>
                    <a:pt x="984" y="565"/>
                  </a:lnTo>
                  <a:lnTo>
                    <a:pt x="984" y="561"/>
                  </a:lnTo>
                  <a:lnTo>
                    <a:pt x="984" y="556"/>
                  </a:lnTo>
                  <a:lnTo>
                    <a:pt x="984" y="507"/>
                  </a:lnTo>
                  <a:lnTo>
                    <a:pt x="984" y="484"/>
                  </a:lnTo>
                  <a:lnTo>
                    <a:pt x="984" y="457"/>
                  </a:lnTo>
                  <a:lnTo>
                    <a:pt x="984" y="424"/>
                  </a:lnTo>
                  <a:lnTo>
                    <a:pt x="984" y="385"/>
                  </a:lnTo>
                  <a:lnTo>
                    <a:pt x="984" y="161"/>
                  </a:lnTo>
                  <a:lnTo>
                    <a:pt x="984" y="84"/>
                  </a:lnTo>
                  <a:lnTo>
                    <a:pt x="984" y="0"/>
                  </a:lnTo>
                  <a:lnTo>
                    <a:pt x="984" y="0"/>
                  </a:lnTo>
                  <a:lnTo>
                    <a:pt x="985" y="0"/>
                  </a:lnTo>
                  <a:lnTo>
                    <a:pt x="987" y="0"/>
                  </a:lnTo>
                  <a:lnTo>
                    <a:pt x="989" y="0"/>
                  </a:lnTo>
                  <a:lnTo>
                    <a:pt x="993" y="0"/>
                  </a:lnTo>
                  <a:lnTo>
                    <a:pt x="997" y="0"/>
                  </a:lnTo>
                  <a:lnTo>
                    <a:pt x="1394" y="0"/>
                  </a:lnTo>
                  <a:lnTo>
                    <a:pt x="1463" y="0"/>
                  </a:lnTo>
                  <a:close/>
                  <a:moveTo>
                    <a:pt x="926" y="0"/>
                  </a:moveTo>
                  <a:lnTo>
                    <a:pt x="930" y="0"/>
                  </a:lnTo>
                  <a:lnTo>
                    <a:pt x="932" y="0"/>
                  </a:lnTo>
                  <a:lnTo>
                    <a:pt x="933" y="0"/>
                  </a:lnTo>
                  <a:lnTo>
                    <a:pt x="933" y="0"/>
                  </a:lnTo>
                  <a:lnTo>
                    <a:pt x="933" y="0"/>
                  </a:lnTo>
                  <a:lnTo>
                    <a:pt x="933" y="567"/>
                  </a:lnTo>
                  <a:lnTo>
                    <a:pt x="826" y="567"/>
                  </a:lnTo>
                  <a:lnTo>
                    <a:pt x="727" y="567"/>
                  </a:lnTo>
                  <a:lnTo>
                    <a:pt x="553" y="567"/>
                  </a:lnTo>
                  <a:lnTo>
                    <a:pt x="477" y="567"/>
                  </a:lnTo>
                  <a:lnTo>
                    <a:pt x="410" y="567"/>
                  </a:lnTo>
                  <a:lnTo>
                    <a:pt x="13" y="567"/>
                  </a:lnTo>
                  <a:lnTo>
                    <a:pt x="7" y="567"/>
                  </a:lnTo>
                  <a:lnTo>
                    <a:pt x="3" y="567"/>
                  </a:lnTo>
                  <a:lnTo>
                    <a:pt x="0" y="567"/>
                  </a:lnTo>
                  <a:lnTo>
                    <a:pt x="0" y="567"/>
                  </a:lnTo>
                  <a:lnTo>
                    <a:pt x="0" y="567"/>
                  </a:lnTo>
                  <a:lnTo>
                    <a:pt x="0" y="482"/>
                  </a:lnTo>
                  <a:lnTo>
                    <a:pt x="0" y="406"/>
                  </a:lnTo>
                  <a:lnTo>
                    <a:pt x="0" y="338"/>
                  </a:lnTo>
                  <a:lnTo>
                    <a:pt x="0" y="278"/>
                  </a:lnTo>
                  <a:lnTo>
                    <a:pt x="0" y="226"/>
                  </a:lnTo>
                  <a:lnTo>
                    <a:pt x="0" y="83"/>
                  </a:lnTo>
                  <a:lnTo>
                    <a:pt x="0" y="60"/>
                  </a:lnTo>
                  <a:lnTo>
                    <a:pt x="0" y="41"/>
                  </a:lnTo>
                  <a:lnTo>
                    <a:pt x="0" y="28"/>
                  </a:lnTo>
                  <a:lnTo>
                    <a:pt x="0" y="18"/>
                  </a:lnTo>
                  <a:lnTo>
                    <a:pt x="0" y="0"/>
                  </a:lnTo>
                  <a:lnTo>
                    <a:pt x="0" y="0"/>
                  </a:lnTo>
                  <a:lnTo>
                    <a:pt x="0" y="0"/>
                  </a:lnTo>
                  <a:lnTo>
                    <a:pt x="107" y="0"/>
                  </a:lnTo>
                  <a:lnTo>
                    <a:pt x="207" y="0"/>
                  </a:lnTo>
                  <a:lnTo>
                    <a:pt x="298" y="0"/>
                  </a:lnTo>
                  <a:lnTo>
                    <a:pt x="380" y="0"/>
                  </a:lnTo>
                  <a:lnTo>
                    <a:pt x="456" y="0"/>
                  </a:lnTo>
                  <a:lnTo>
                    <a:pt x="523" y="0"/>
                  </a:lnTo>
                  <a:lnTo>
                    <a:pt x="920" y="0"/>
                  </a:lnTo>
                  <a:lnTo>
                    <a:pt x="926"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cxnSp>
        <p:nvCxnSpPr>
          <p:cNvPr id="4" name="Straight Arrow Connector 3"/>
          <p:cNvCxnSpPr/>
          <p:nvPr/>
        </p:nvCxnSpPr>
        <p:spPr>
          <a:xfrm>
            <a:off x="2695489" y="2335402"/>
            <a:ext cx="1705061" cy="0"/>
          </a:xfrm>
          <a:prstGeom prst="straightConnector1">
            <a:avLst/>
          </a:prstGeom>
          <a:ln w="22225" cap="rnd" cmpd="sng">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p:cNvCxnSpPr/>
          <p:nvPr/>
        </p:nvCxnSpPr>
        <p:spPr>
          <a:xfrm flipH="1">
            <a:off x="4320075" y="3073179"/>
            <a:ext cx="469413" cy="1441563"/>
          </a:xfrm>
          <a:prstGeom prst="straightConnector1">
            <a:avLst/>
          </a:prstGeom>
          <a:ln w="22225" cap="rnd" cmpd="sng">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a:off x="5571378" y="3073179"/>
            <a:ext cx="336106" cy="1441563"/>
          </a:xfrm>
          <a:prstGeom prst="straightConnector1">
            <a:avLst/>
          </a:prstGeom>
          <a:ln w="22225" cap="rnd" cmpd="sng">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flipH="1">
            <a:off x="1231420" y="2964844"/>
            <a:ext cx="614818" cy="891803"/>
          </a:xfrm>
          <a:prstGeom prst="straightConnector1">
            <a:avLst/>
          </a:prstGeom>
          <a:ln w="22225" cap="rnd" cmpd="sng">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a:off x="2432617" y="2964844"/>
            <a:ext cx="0" cy="1617634"/>
          </a:xfrm>
          <a:prstGeom prst="straightConnector1">
            <a:avLst/>
          </a:prstGeom>
          <a:ln w="22225" cap="rnd" cmpd="sng">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58487" name="TextBox 18"/>
          <p:cNvSpPr txBox="1">
            <a:spLocks noChangeArrowheads="1"/>
          </p:cNvSpPr>
          <p:nvPr/>
        </p:nvSpPr>
        <p:spPr bwMode="auto">
          <a:xfrm>
            <a:off x="7213887" y="2548909"/>
            <a:ext cx="1368682" cy="616503"/>
          </a:xfrm>
          <a:prstGeom prst="rect">
            <a:avLst/>
          </a:prstGeom>
          <a:noFill/>
          <a:ln w="9525">
            <a:noFill/>
            <a:miter lim="800000"/>
            <a:headEnd/>
            <a:tailEnd/>
          </a:ln>
        </p:spPr>
        <p:txBody>
          <a:bodyPr/>
          <a:lstStyle/>
          <a:p>
            <a:pPr algn="ctr"/>
            <a:r>
              <a:rPr lang="en-US" sz="1600" dirty="0"/>
              <a:t>Desktop sessions</a:t>
            </a:r>
          </a:p>
        </p:txBody>
      </p:sp>
      <p:grpSp>
        <p:nvGrpSpPr>
          <p:cNvPr id="14" name="Group 13"/>
          <p:cNvGrpSpPr/>
          <p:nvPr/>
        </p:nvGrpSpPr>
        <p:grpSpPr>
          <a:xfrm>
            <a:off x="8893901" y="2547435"/>
            <a:ext cx="1641642" cy="1824561"/>
            <a:chOff x="8741495" y="1876965"/>
            <a:chExt cx="1641642" cy="1824561"/>
          </a:xfrm>
        </p:grpSpPr>
        <p:sp>
          <p:nvSpPr>
            <p:cNvPr id="58474" name="TextBox 89"/>
            <p:cNvSpPr txBox="1">
              <a:spLocks noChangeArrowheads="1"/>
            </p:cNvSpPr>
            <p:nvPr/>
          </p:nvSpPr>
          <p:spPr bwMode="auto">
            <a:xfrm>
              <a:off x="8859902" y="1876965"/>
              <a:ext cx="1368681" cy="627213"/>
            </a:xfrm>
            <a:prstGeom prst="rect">
              <a:avLst/>
            </a:prstGeom>
            <a:noFill/>
            <a:ln w="9525">
              <a:noFill/>
              <a:miter lim="800000"/>
              <a:headEnd/>
              <a:tailEnd/>
            </a:ln>
          </p:spPr>
          <p:txBody>
            <a:bodyPr/>
            <a:lstStyle/>
            <a:p>
              <a:pPr algn="ctr"/>
              <a:r>
                <a:rPr lang="en-US" sz="1600" dirty="0"/>
                <a:t>Pooled </a:t>
              </a:r>
            </a:p>
            <a:p>
              <a:pPr algn="ctr"/>
              <a:r>
                <a:rPr lang="en-US" sz="1600" dirty="0"/>
                <a:t>VMs </a:t>
              </a:r>
            </a:p>
          </p:txBody>
        </p:sp>
        <p:grpSp>
          <p:nvGrpSpPr>
            <p:cNvPr id="194" name="Group 193"/>
            <p:cNvGrpSpPr/>
            <p:nvPr/>
          </p:nvGrpSpPr>
          <p:grpSpPr>
            <a:xfrm>
              <a:off x="8741495" y="2544670"/>
              <a:ext cx="1641642" cy="1156856"/>
              <a:chOff x="6683984" y="2374533"/>
              <a:chExt cx="1881161" cy="1325643"/>
            </a:xfrm>
          </p:grpSpPr>
          <p:grpSp>
            <p:nvGrpSpPr>
              <p:cNvPr id="195" name="Group 313"/>
              <p:cNvGrpSpPr>
                <a:grpSpLocks/>
              </p:cNvGrpSpPr>
              <p:nvPr/>
            </p:nvGrpSpPr>
            <p:grpSpPr bwMode="auto">
              <a:xfrm>
                <a:off x="6987946" y="2374533"/>
                <a:ext cx="1577199" cy="1313797"/>
                <a:chOff x="7124317" y="1911485"/>
                <a:chExt cx="769907" cy="641245"/>
              </a:xfrm>
            </p:grpSpPr>
            <p:grpSp>
              <p:nvGrpSpPr>
                <p:cNvPr id="212" name="Group 23"/>
                <p:cNvGrpSpPr>
                  <a:grpSpLocks/>
                </p:cNvGrpSpPr>
                <p:nvPr/>
              </p:nvGrpSpPr>
              <p:grpSpPr bwMode="auto">
                <a:xfrm>
                  <a:off x="7246547" y="1911485"/>
                  <a:ext cx="647677" cy="641245"/>
                  <a:chOff x="10182538" y="2584807"/>
                  <a:chExt cx="837231" cy="738944"/>
                </a:xfrm>
              </p:grpSpPr>
              <p:sp>
                <p:nvSpPr>
                  <p:cNvPr id="216" name="Rectangle 215"/>
                  <p:cNvSpPr/>
                  <p:nvPr/>
                </p:nvSpPr>
                <p:spPr bwMode="auto">
                  <a:xfrm>
                    <a:off x="10336445" y="2747669"/>
                    <a:ext cx="258557" cy="210344"/>
                  </a:xfrm>
                  <a:prstGeom prst="rect">
                    <a:avLst/>
                  </a:prstGeom>
                  <a:solidFill>
                    <a:srgbClr val="FFFFFF">
                      <a:alpha val="14118"/>
                    </a:srgbClr>
                  </a:solidFill>
                  <a:ln w="222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sp>
                <p:nvSpPr>
                  <p:cNvPr id="217" name="Oval 21"/>
                  <p:cNvSpPr/>
                  <p:nvPr/>
                </p:nvSpPr>
                <p:spPr>
                  <a:xfrm>
                    <a:off x="10182538" y="2584807"/>
                    <a:ext cx="837231" cy="738944"/>
                  </a:xfrm>
                  <a:prstGeom prst="ellipse">
                    <a:avLst/>
                  </a:prstGeom>
                  <a:noFill/>
                  <a:ln w="19050" cap="flat" cmpd="sng" algn="ctr">
                    <a:solidFill>
                      <a:schemeClr val="accent3"/>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sp>
                <p:nvSpPr>
                  <p:cNvPr id="218" name="Rectangle 217"/>
                  <p:cNvSpPr/>
                  <p:nvPr/>
                </p:nvSpPr>
                <p:spPr bwMode="auto">
                  <a:xfrm>
                    <a:off x="10465719" y="3027443"/>
                    <a:ext cx="258557" cy="214000"/>
                  </a:xfrm>
                  <a:prstGeom prst="rect">
                    <a:avLst/>
                  </a:prstGeom>
                  <a:solidFill>
                    <a:srgbClr val="FFFFFF">
                      <a:alpha val="14118"/>
                    </a:srgbClr>
                  </a:solidFill>
                  <a:ln w="222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sp>
                <p:nvSpPr>
                  <p:cNvPr id="219" name="Rectangle 218"/>
                  <p:cNvSpPr/>
                  <p:nvPr/>
                </p:nvSpPr>
                <p:spPr bwMode="auto">
                  <a:xfrm>
                    <a:off x="10640142" y="2747593"/>
                    <a:ext cx="260609" cy="210344"/>
                  </a:xfrm>
                  <a:prstGeom prst="rect">
                    <a:avLst/>
                  </a:prstGeom>
                  <a:solidFill>
                    <a:srgbClr val="FFFFFF">
                      <a:alpha val="14118"/>
                    </a:srgbClr>
                  </a:solidFill>
                  <a:ln w="222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grpSp>
            <p:grpSp>
              <p:nvGrpSpPr>
                <p:cNvPr id="213" name="Group 312"/>
                <p:cNvGrpSpPr>
                  <a:grpSpLocks/>
                </p:cNvGrpSpPr>
                <p:nvPr/>
              </p:nvGrpSpPr>
              <p:grpSpPr bwMode="auto">
                <a:xfrm>
                  <a:off x="7124317" y="2071796"/>
                  <a:ext cx="112709" cy="409507"/>
                  <a:chOff x="7124317" y="2071796"/>
                  <a:chExt cx="112709" cy="409507"/>
                </a:xfrm>
              </p:grpSpPr>
              <p:cxnSp>
                <p:nvCxnSpPr>
                  <p:cNvPr id="214" name="Straight Connector 213"/>
                  <p:cNvCxnSpPr/>
                  <p:nvPr/>
                </p:nvCxnSpPr>
                <p:spPr>
                  <a:xfrm>
                    <a:off x="7124317" y="2071796"/>
                    <a:ext cx="90485" cy="80950"/>
                  </a:xfrm>
                  <a:prstGeom prst="line">
                    <a:avLst/>
                  </a:prstGeom>
                  <a:ln w="22225">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flipV="1">
                    <a:off x="7144954" y="2379720"/>
                    <a:ext cx="92072" cy="101583"/>
                  </a:xfrm>
                  <a:prstGeom prst="line">
                    <a:avLst/>
                  </a:prstGeom>
                  <a:ln w="22225">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grpSp>
          <p:sp>
            <p:nvSpPr>
              <p:cNvPr id="196" name="Freeform 195"/>
              <p:cNvSpPr>
                <a:spLocks noEditPoints="1"/>
              </p:cNvSpPr>
              <p:nvPr/>
            </p:nvSpPr>
            <p:spPr bwMode="auto">
              <a:xfrm>
                <a:off x="6683984" y="3255762"/>
                <a:ext cx="294148" cy="444414"/>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98" name="Freeform 197"/>
              <p:cNvSpPr>
                <a:spLocks noEditPoints="1"/>
              </p:cNvSpPr>
              <p:nvPr/>
            </p:nvSpPr>
            <p:spPr bwMode="auto">
              <a:xfrm>
                <a:off x="6683984" y="2399044"/>
                <a:ext cx="294148" cy="444414"/>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nvGrpSpPr>
              <p:cNvPr id="199" name="Group 198"/>
              <p:cNvGrpSpPr>
                <a:grpSpLocks noChangeAspect="1"/>
              </p:cNvGrpSpPr>
              <p:nvPr/>
            </p:nvGrpSpPr>
            <p:grpSpPr bwMode="auto">
              <a:xfrm>
                <a:off x="7537595" y="2721189"/>
                <a:ext cx="301303" cy="274774"/>
                <a:chOff x="4755" y="2434"/>
                <a:chExt cx="1238" cy="1129"/>
              </a:xfrm>
            </p:grpSpPr>
            <p:sp>
              <p:nvSpPr>
                <p:cNvPr id="209" name="Freeform 208"/>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10" name="Freeform 209"/>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11" name="Freeform 210"/>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200" name="Group 199"/>
              <p:cNvGrpSpPr>
                <a:grpSpLocks noChangeAspect="1"/>
              </p:cNvGrpSpPr>
              <p:nvPr/>
            </p:nvGrpSpPr>
            <p:grpSpPr bwMode="auto">
              <a:xfrm>
                <a:off x="7741335" y="3211943"/>
                <a:ext cx="301303" cy="274774"/>
                <a:chOff x="4755" y="2434"/>
                <a:chExt cx="1238" cy="1129"/>
              </a:xfrm>
            </p:grpSpPr>
            <p:sp>
              <p:nvSpPr>
                <p:cNvPr id="206" name="Freeform 205"/>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07" name="Freeform 206"/>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08" name="Freeform 207"/>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201" name="Group 200"/>
              <p:cNvGrpSpPr>
                <a:grpSpLocks noChangeAspect="1"/>
              </p:cNvGrpSpPr>
              <p:nvPr/>
            </p:nvGrpSpPr>
            <p:grpSpPr bwMode="auto">
              <a:xfrm>
                <a:off x="8019378" y="2721189"/>
                <a:ext cx="301303" cy="274774"/>
                <a:chOff x="4755" y="2434"/>
                <a:chExt cx="1238" cy="1129"/>
              </a:xfrm>
            </p:grpSpPr>
            <p:sp>
              <p:nvSpPr>
                <p:cNvPr id="203" name="Freeform 202"/>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04" name="Freeform 203"/>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05" name="Freeform 204"/>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grpSp>
      <p:grpSp>
        <p:nvGrpSpPr>
          <p:cNvPr id="251" name="Group 250"/>
          <p:cNvGrpSpPr/>
          <p:nvPr/>
        </p:nvGrpSpPr>
        <p:grpSpPr>
          <a:xfrm>
            <a:off x="10960880" y="3250607"/>
            <a:ext cx="1025143" cy="1092913"/>
            <a:chOff x="9927187" y="2444053"/>
            <a:chExt cx="1152790" cy="1228998"/>
          </a:xfrm>
        </p:grpSpPr>
        <p:grpSp>
          <p:nvGrpSpPr>
            <p:cNvPr id="254" name="Group 264"/>
            <p:cNvGrpSpPr>
              <a:grpSpLocks/>
            </p:cNvGrpSpPr>
            <p:nvPr/>
          </p:nvGrpSpPr>
          <p:grpSpPr bwMode="auto">
            <a:xfrm>
              <a:off x="10228447" y="2736593"/>
              <a:ext cx="330297" cy="729496"/>
              <a:chOff x="8315029" y="1967905"/>
              <a:chExt cx="242879" cy="536351"/>
            </a:xfrm>
          </p:grpSpPr>
          <p:cxnSp>
            <p:nvCxnSpPr>
              <p:cNvPr id="279" name="Straight Connector 278"/>
              <p:cNvCxnSpPr/>
              <p:nvPr/>
            </p:nvCxnSpPr>
            <p:spPr>
              <a:xfrm>
                <a:off x="8315029" y="1967905"/>
                <a:ext cx="242878" cy="0"/>
              </a:xfrm>
              <a:prstGeom prst="line">
                <a:avLst/>
              </a:prstGeom>
              <a:ln w="25400">
                <a:solidFill>
                  <a:srgbClr val="0071BC"/>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a:xfrm flipV="1">
                <a:off x="8322966" y="2204404"/>
                <a:ext cx="231767" cy="1587"/>
              </a:xfrm>
              <a:prstGeom prst="line">
                <a:avLst/>
              </a:prstGeom>
              <a:ln w="25400">
                <a:solidFill>
                  <a:srgbClr val="0071BC"/>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a:off x="8322966" y="2502544"/>
                <a:ext cx="234942" cy="1712"/>
              </a:xfrm>
              <a:prstGeom prst="line">
                <a:avLst/>
              </a:prstGeom>
              <a:ln w="25400">
                <a:solidFill>
                  <a:srgbClr val="0071BC"/>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56" name="Freeform 255"/>
            <p:cNvSpPr>
              <a:spLocks noEditPoints="1"/>
            </p:cNvSpPr>
            <p:nvPr/>
          </p:nvSpPr>
          <p:spPr bwMode="auto">
            <a:xfrm>
              <a:off x="9937374" y="2446061"/>
              <a:ext cx="248867" cy="376000"/>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59" name="Freeform 258"/>
            <p:cNvSpPr>
              <a:spLocks noEditPoints="1"/>
            </p:cNvSpPr>
            <p:nvPr/>
          </p:nvSpPr>
          <p:spPr bwMode="auto">
            <a:xfrm>
              <a:off x="9927187" y="2852877"/>
              <a:ext cx="248867" cy="376000"/>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60" name="Freeform 259"/>
            <p:cNvSpPr>
              <a:spLocks noEditPoints="1"/>
            </p:cNvSpPr>
            <p:nvPr/>
          </p:nvSpPr>
          <p:spPr bwMode="auto">
            <a:xfrm>
              <a:off x="9937374" y="3280852"/>
              <a:ext cx="248867" cy="376000"/>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64" name="Rectangle 263"/>
            <p:cNvSpPr/>
            <p:nvPr/>
          </p:nvSpPr>
          <p:spPr bwMode="auto">
            <a:xfrm>
              <a:off x="10650042" y="2444053"/>
              <a:ext cx="413001" cy="373979"/>
            </a:xfrm>
            <a:prstGeom prst="rect">
              <a:avLst/>
            </a:prstGeom>
            <a:solidFill>
              <a:srgbClr val="FFFFFF">
                <a:alpha val="14118"/>
              </a:srgbClr>
            </a:solidFill>
            <a:ln w="222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dirty="0">
                <a:solidFill>
                  <a:srgbClr val="FFFFFF"/>
                </a:solidFill>
                <a:ea typeface="ＭＳ Ｐゴシック" pitchFamily="-103" charset="-128"/>
              </a:endParaRPr>
            </a:p>
          </p:txBody>
        </p:sp>
        <p:sp>
          <p:nvSpPr>
            <p:cNvPr id="265" name="Rectangle 264"/>
            <p:cNvSpPr/>
            <p:nvPr/>
          </p:nvSpPr>
          <p:spPr bwMode="auto">
            <a:xfrm>
              <a:off x="10655900" y="2867466"/>
              <a:ext cx="413001" cy="373979"/>
            </a:xfrm>
            <a:prstGeom prst="rect">
              <a:avLst/>
            </a:prstGeom>
            <a:solidFill>
              <a:srgbClr val="FFFFFF">
                <a:alpha val="14118"/>
              </a:srgbClr>
            </a:solidFill>
            <a:ln w="222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dirty="0">
                <a:solidFill>
                  <a:srgbClr val="FFFFFF"/>
                </a:solidFill>
                <a:ea typeface="ＭＳ Ｐゴシック" pitchFamily="-103" charset="-128"/>
              </a:endParaRPr>
            </a:p>
          </p:txBody>
        </p:sp>
        <p:sp>
          <p:nvSpPr>
            <p:cNvPr id="266" name="Rectangle 265"/>
            <p:cNvSpPr/>
            <p:nvPr/>
          </p:nvSpPr>
          <p:spPr bwMode="auto">
            <a:xfrm>
              <a:off x="10666976" y="3299072"/>
              <a:ext cx="413001" cy="373979"/>
            </a:xfrm>
            <a:prstGeom prst="rect">
              <a:avLst/>
            </a:prstGeom>
            <a:solidFill>
              <a:srgbClr val="FFFFFF">
                <a:alpha val="14118"/>
              </a:srgbClr>
            </a:solidFill>
            <a:ln w="222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dirty="0">
                <a:solidFill>
                  <a:srgbClr val="FFFFFF"/>
                </a:solidFill>
                <a:ea typeface="ＭＳ Ｐゴシック" pitchFamily="-103" charset="-128"/>
              </a:endParaRPr>
            </a:p>
          </p:txBody>
        </p:sp>
        <p:grpSp>
          <p:nvGrpSpPr>
            <p:cNvPr id="267" name="Group 266"/>
            <p:cNvGrpSpPr>
              <a:grpSpLocks noChangeAspect="1"/>
            </p:cNvGrpSpPr>
            <p:nvPr/>
          </p:nvGrpSpPr>
          <p:grpSpPr bwMode="auto">
            <a:xfrm>
              <a:off x="10722824" y="3348674"/>
              <a:ext cx="301303" cy="274774"/>
              <a:chOff x="4755" y="2434"/>
              <a:chExt cx="1238" cy="1129"/>
            </a:xfrm>
          </p:grpSpPr>
          <p:sp>
            <p:nvSpPr>
              <p:cNvPr id="276" name="Freeform 275"/>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77" name="Freeform 276"/>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78" name="Freeform 277"/>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268" name="Group 267"/>
            <p:cNvGrpSpPr>
              <a:grpSpLocks noChangeAspect="1"/>
            </p:cNvGrpSpPr>
            <p:nvPr/>
          </p:nvGrpSpPr>
          <p:grpSpPr bwMode="auto">
            <a:xfrm>
              <a:off x="10711748" y="2924588"/>
              <a:ext cx="301303" cy="274774"/>
              <a:chOff x="4755" y="2434"/>
              <a:chExt cx="1238" cy="1129"/>
            </a:xfrm>
          </p:grpSpPr>
          <p:sp>
            <p:nvSpPr>
              <p:cNvPr id="273" name="Freeform 272"/>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74" name="Freeform 273"/>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75" name="Freeform 274"/>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269" name="Group 268"/>
            <p:cNvGrpSpPr>
              <a:grpSpLocks noChangeAspect="1"/>
            </p:cNvGrpSpPr>
            <p:nvPr/>
          </p:nvGrpSpPr>
          <p:grpSpPr bwMode="auto">
            <a:xfrm>
              <a:off x="10702739" y="2503820"/>
              <a:ext cx="301303" cy="274774"/>
              <a:chOff x="4755" y="2434"/>
              <a:chExt cx="1238" cy="1129"/>
            </a:xfrm>
          </p:grpSpPr>
          <p:sp>
            <p:nvSpPr>
              <p:cNvPr id="270" name="Freeform 269"/>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71" name="Freeform 270"/>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72" name="Freeform 271"/>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grpSp>
        <p:nvGrpSpPr>
          <p:cNvPr id="58473" name="Group 58472"/>
          <p:cNvGrpSpPr/>
          <p:nvPr/>
        </p:nvGrpSpPr>
        <p:grpSpPr>
          <a:xfrm>
            <a:off x="5260673" y="4582478"/>
            <a:ext cx="1616043" cy="815942"/>
            <a:chOff x="5292422" y="5484784"/>
            <a:chExt cx="1616043" cy="815942"/>
          </a:xfrm>
        </p:grpSpPr>
        <p:sp>
          <p:nvSpPr>
            <p:cNvPr id="58408" name="TextBox 129"/>
            <p:cNvSpPr txBox="1">
              <a:spLocks noChangeArrowheads="1"/>
            </p:cNvSpPr>
            <p:nvPr/>
          </p:nvSpPr>
          <p:spPr bwMode="auto">
            <a:xfrm>
              <a:off x="5478691" y="6066175"/>
              <a:ext cx="1360978" cy="234551"/>
            </a:xfrm>
            <a:prstGeom prst="rect">
              <a:avLst/>
            </a:prstGeom>
            <a:noFill/>
            <a:ln w="9525">
              <a:noFill/>
              <a:miter lim="800000"/>
              <a:headEnd/>
              <a:tailEnd/>
            </a:ln>
          </p:spPr>
          <p:txBody>
            <a:bodyPr wrap="square" bIns="0">
              <a:spAutoFit/>
            </a:bodyPr>
            <a:lstStyle/>
            <a:p>
              <a:r>
                <a:rPr lang="en-US" sz="1224" dirty="0" smtClean="0">
                  <a:solidFill>
                    <a:srgbClr val="404040"/>
                  </a:solidFill>
                </a:rPr>
                <a:t>Public Location</a:t>
              </a:r>
              <a:endParaRPr lang="en-US" sz="1224" dirty="0">
                <a:solidFill>
                  <a:srgbClr val="404040"/>
                </a:solidFill>
              </a:endParaRPr>
            </a:p>
          </p:txBody>
        </p:sp>
        <p:sp>
          <p:nvSpPr>
            <p:cNvPr id="58409" name="Freeform 59"/>
            <p:cNvSpPr>
              <a:spLocks noEditPoints="1"/>
            </p:cNvSpPr>
            <p:nvPr/>
          </p:nvSpPr>
          <p:spPr bwMode="black">
            <a:xfrm>
              <a:off x="5292422" y="5518652"/>
              <a:ext cx="621410" cy="546435"/>
            </a:xfrm>
            <a:custGeom>
              <a:avLst/>
              <a:gdLst>
                <a:gd name="T0" fmla="*/ 738751117 w 174"/>
                <a:gd name="T1" fmla="*/ 427244640 h 153"/>
                <a:gd name="T2" fmla="*/ 600666207 w 174"/>
                <a:gd name="T3" fmla="*/ 744230736 h 153"/>
                <a:gd name="T4" fmla="*/ 573050276 w 174"/>
                <a:gd name="T5" fmla="*/ 744230736 h 153"/>
                <a:gd name="T6" fmla="*/ 510910490 w 174"/>
                <a:gd name="T7" fmla="*/ 744230736 h 153"/>
                <a:gd name="T8" fmla="*/ 573050276 w 174"/>
                <a:gd name="T9" fmla="*/ 427244640 h 153"/>
                <a:gd name="T10" fmla="*/ 600666207 w 174"/>
                <a:gd name="T11" fmla="*/ 0 h 153"/>
                <a:gd name="T12" fmla="*/ 925165221 w 174"/>
                <a:gd name="T13" fmla="*/ 950963538 h 153"/>
                <a:gd name="T14" fmla="*/ 179508807 w 174"/>
                <a:gd name="T15" fmla="*/ 847598449 h 153"/>
                <a:gd name="T16" fmla="*/ 600666207 w 174"/>
                <a:gd name="T17" fmla="*/ 0 h 153"/>
                <a:gd name="T18" fmla="*/ 324499014 w 174"/>
                <a:gd name="T19" fmla="*/ 158494360 h 153"/>
                <a:gd name="T20" fmla="*/ 600666207 w 174"/>
                <a:gd name="T21" fmla="*/ 985417692 h 153"/>
                <a:gd name="T22" fmla="*/ 966589117 w 174"/>
                <a:gd name="T23" fmla="*/ 248077787 h 153"/>
                <a:gd name="T24" fmla="*/ 600666207 w 174"/>
                <a:gd name="T25" fmla="*/ 0 h 153"/>
                <a:gd name="T26" fmla="*/ 773272345 w 174"/>
                <a:gd name="T27" fmla="*/ 434135471 h 153"/>
                <a:gd name="T28" fmla="*/ 828504207 w 174"/>
                <a:gd name="T29" fmla="*/ 578848170 h 153"/>
                <a:gd name="T30" fmla="*/ 745653786 w 174"/>
                <a:gd name="T31" fmla="*/ 661540765 h 153"/>
                <a:gd name="T32" fmla="*/ 731845821 w 174"/>
                <a:gd name="T33" fmla="*/ 695994920 h 153"/>
                <a:gd name="T34" fmla="*/ 869930731 w 174"/>
                <a:gd name="T35" fmla="*/ 585739001 h 153"/>
                <a:gd name="T36" fmla="*/ 628282138 w 174"/>
                <a:gd name="T37" fmla="*/ 323879552 h 153"/>
                <a:gd name="T38" fmla="*/ 669708662 w 174"/>
                <a:gd name="T39" fmla="*/ 234296125 h 153"/>
                <a:gd name="T40" fmla="*/ 607571503 w 174"/>
                <a:gd name="T41" fmla="*/ 186057684 h 153"/>
                <a:gd name="T42" fmla="*/ 628282138 w 174"/>
                <a:gd name="T43" fmla="*/ 227405294 h 153"/>
                <a:gd name="T44" fmla="*/ 586858241 w 174"/>
                <a:gd name="T45" fmla="*/ 323879552 h 153"/>
                <a:gd name="T46" fmla="*/ 642092731 w 174"/>
                <a:gd name="T47" fmla="*/ 379006199 h 153"/>
                <a:gd name="T48" fmla="*/ 648995400 w 174"/>
                <a:gd name="T49" fmla="*/ 358333706 h 153"/>
                <a:gd name="T50" fmla="*/ 573050276 w 174"/>
                <a:gd name="T51" fmla="*/ 289422772 h 153"/>
                <a:gd name="T52" fmla="*/ 524721083 w 174"/>
                <a:gd name="T53" fmla="*/ 261859449 h 153"/>
                <a:gd name="T54" fmla="*/ 538529048 w 174"/>
                <a:gd name="T55" fmla="*/ 289422772 h 153"/>
                <a:gd name="T56" fmla="*/ 510910490 w 174"/>
                <a:gd name="T57" fmla="*/ 344552044 h 153"/>
                <a:gd name="T58" fmla="*/ 552337014 w 174"/>
                <a:gd name="T59" fmla="*/ 379006199 h 153"/>
                <a:gd name="T60" fmla="*/ 559239683 w 174"/>
                <a:gd name="T61" fmla="*/ 358333706 h 153"/>
                <a:gd name="T62" fmla="*/ 559239683 w 174"/>
                <a:gd name="T63" fmla="*/ 323879552 h 1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4"/>
                <a:gd name="T97" fmla="*/ 0 h 153"/>
                <a:gd name="T98" fmla="*/ 174 w 174"/>
                <a:gd name="T99" fmla="*/ 153 h 15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4" h="153">
                  <a:moveTo>
                    <a:pt x="87" y="62"/>
                  </a:moveTo>
                  <a:cubicBezTo>
                    <a:pt x="107" y="62"/>
                    <a:pt x="107" y="62"/>
                    <a:pt x="107" y="62"/>
                  </a:cubicBezTo>
                  <a:cubicBezTo>
                    <a:pt x="107" y="62"/>
                    <a:pt x="112" y="90"/>
                    <a:pt x="95" y="108"/>
                  </a:cubicBezTo>
                  <a:cubicBezTo>
                    <a:pt x="87" y="108"/>
                    <a:pt x="87" y="108"/>
                    <a:pt x="87" y="108"/>
                  </a:cubicBezTo>
                  <a:cubicBezTo>
                    <a:pt x="87" y="108"/>
                    <a:pt x="87" y="108"/>
                    <a:pt x="87" y="108"/>
                  </a:cubicBezTo>
                  <a:cubicBezTo>
                    <a:pt x="83" y="108"/>
                    <a:pt x="83" y="108"/>
                    <a:pt x="83" y="108"/>
                  </a:cubicBezTo>
                  <a:cubicBezTo>
                    <a:pt x="82" y="108"/>
                    <a:pt x="82" y="108"/>
                    <a:pt x="82" y="108"/>
                  </a:cubicBezTo>
                  <a:cubicBezTo>
                    <a:pt x="74" y="108"/>
                    <a:pt x="74" y="108"/>
                    <a:pt x="74" y="108"/>
                  </a:cubicBezTo>
                  <a:cubicBezTo>
                    <a:pt x="58" y="90"/>
                    <a:pt x="63" y="62"/>
                    <a:pt x="63" y="62"/>
                  </a:cubicBezTo>
                  <a:cubicBezTo>
                    <a:pt x="83" y="62"/>
                    <a:pt x="83" y="62"/>
                    <a:pt x="83" y="62"/>
                  </a:cubicBezTo>
                  <a:lnTo>
                    <a:pt x="87" y="62"/>
                  </a:lnTo>
                  <a:close/>
                  <a:moveTo>
                    <a:pt x="87" y="0"/>
                  </a:moveTo>
                  <a:cubicBezTo>
                    <a:pt x="110" y="0"/>
                    <a:pt x="133" y="10"/>
                    <a:pt x="148" y="30"/>
                  </a:cubicBezTo>
                  <a:cubicBezTo>
                    <a:pt x="174" y="64"/>
                    <a:pt x="167" y="112"/>
                    <a:pt x="134" y="138"/>
                  </a:cubicBezTo>
                  <a:cubicBezTo>
                    <a:pt x="120" y="148"/>
                    <a:pt x="103" y="153"/>
                    <a:pt x="87" y="153"/>
                  </a:cubicBezTo>
                  <a:cubicBezTo>
                    <a:pt x="64" y="153"/>
                    <a:pt x="41" y="143"/>
                    <a:pt x="26" y="123"/>
                  </a:cubicBezTo>
                  <a:cubicBezTo>
                    <a:pt x="0" y="89"/>
                    <a:pt x="7" y="41"/>
                    <a:pt x="40" y="15"/>
                  </a:cubicBezTo>
                  <a:cubicBezTo>
                    <a:pt x="54" y="5"/>
                    <a:pt x="71" y="0"/>
                    <a:pt x="87" y="0"/>
                  </a:cubicBezTo>
                  <a:moveTo>
                    <a:pt x="87" y="10"/>
                  </a:moveTo>
                  <a:cubicBezTo>
                    <a:pt x="72" y="10"/>
                    <a:pt x="58" y="15"/>
                    <a:pt x="47" y="23"/>
                  </a:cubicBezTo>
                  <a:cubicBezTo>
                    <a:pt x="17" y="46"/>
                    <a:pt x="12" y="88"/>
                    <a:pt x="34" y="117"/>
                  </a:cubicBezTo>
                  <a:cubicBezTo>
                    <a:pt x="47" y="134"/>
                    <a:pt x="66" y="143"/>
                    <a:pt x="87" y="143"/>
                  </a:cubicBezTo>
                  <a:cubicBezTo>
                    <a:pt x="102" y="143"/>
                    <a:pt x="116" y="138"/>
                    <a:pt x="127" y="129"/>
                  </a:cubicBezTo>
                  <a:cubicBezTo>
                    <a:pt x="157" y="107"/>
                    <a:pt x="162" y="65"/>
                    <a:pt x="140" y="36"/>
                  </a:cubicBezTo>
                  <a:cubicBezTo>
                    <a:pt x="127" y="19"/>
                    <a:pt x="108" y="10"/>
                    <a:pt x="87" y="10"/>
                  </a:cubicBezTo>
                  <a:cubicBezTo>
                    <a:pt x="87" y="0"/>
                    <a:pt x="87" y="0"/>
                    <a:pt x="87" y="0"/>
                  </a:cubicBezTo>
                  <a:lnTo>
                    <a:pt x="87" y="10"/>
                  </a:lnTo>
                  <a:close/>
                  <a:moveTo>
                    <a:pt x="112" y="63"/>
                  </a:moveTo>
                  <a:cubicBezTo>
                    <a:pt x="112" y="64"/>
                    <a:pt x="112" y="66"/>
                    <a:pt x="112" y="69"/>
                  </a:cubicBezTo>
                  <a:cubicBezTo>
                    <a:pt x="118" y="71"/>
                    <a:pt x="121" y="78"/>
                    <a:pt x="120" y="84"/>
                  </a:cubicBezTo>
                  <a:cubicBezTo>
                    <a:pt x="120" y="88"/>
                    <a:pt x="117" y="91"/>
                    <a:pt x="114" y="93"/>
                  </a:cubicBezTo>
                  <a:cubicBezTo>
                    <a:pt x="112" y="95"/>
                    <a:pt x="110" y="95"/>
                    <a:pt x="108" y="96"/>
                  </a:cubicBezTo>
                  <a:cubicBezTo>
                    <a:pt x="107" y="98"/>
                    <a:pt x="106" y="99"/>
                    <a:pt x="105" y="101"/>
                  </a:cubicBezTo>
                  <a:cubicBezTo>
                    <a:pt x="106" y="101"/>
                    <a:pt x="106" y="101"/>
                    <a:pt x="106" y="101"/>
                  </a:cubicBezTo>
                  <a:cubicBezTo>
                    <a:pt x="110" y="101"/>
                    <a:pt x="114" y="100"/>
                    <a:pt x="117" y="98"/>
                  </a:cubicBezTo>
                  <a:cubicBezTo>
                    <a:pt x="122" y="95"/>
                    <a:pt x="125" y="90"/>
                    <a:pt x="126" y="85"/>
                  </a:cubicBezTo>
                  <a:cubicBezTo>
                    <a:pt x="128" y="75"/>
                    <a:pt x="121" y="65"/>
                    <a:pt x="112" y="63"/>
                  </a:cubicBezTo>
                  <a:close/>
                  <a:moveTo>
                    <a:pt x="91" y="47"/>
                  </a:moveTo>
                  <a:cubicBezTo>
                    <a:pt x="91" y="46"/>
                    <a:pt x="92" y="44"/>
                    <a:pt x="94" y="42"/>
                  </a:cubicBezTo>
                  <a:cubicBezTo>
                    <a:pt x="97" y="39"/>
                    <a:pt x="97" y="37"/>
                    <a:pt x="97" y="34"/>
                  </a:cubicBezTo>
                  <a:cubicBezTo>
                    <a:pt x="96" y="29"/>
                    <a:pt x="90" y="26"/>
                    <a:pt x="90" y="26"/>
                  </a:cubicBezTo>
                  <a:cubicBezTo>
                    <a:pt x="89" y="26"/>
                    <a:pt x="88" y="26"/>
                    <a:pt x="88" y="27"/>
                  </a:cubicBezTo>
                  <a:cubicBezTo>
                    <a:pt x="87" y="28"/>
                    <a:pt x="87" y="28"/>
                    <a:pt x="88" y="29"/>
                  </a:cubicBezTo>
                  <a:cubicBezTo>
                    <a:pt x="88" y="29"/>
                    <a:pt x="90" y="31"/>
                    <a:pt x="91" y="33"/>
                  </a:cubicBezTo>
                  <a:cubicBezTo>
                    <a:pt x="91" y="35"/>
                    <a:pt x="90" y="37"/>
                    <a:pt x="88" y="39"/>
                  </a:cubicBezTo>
                  <a:cubicBezTo>
                    <a:pt x="85" y="42"/>
                    <a:pt x="84" y="44"/>
                    <a:pt x="85" y="47"/>
                  </a:cubicBezTo>
                  <a:cubicBezTo>
                    <a:pt x="86" y="52"/>
                    <a:pt x="92" y="55"/>
                    <a:pt x="92" y="55"/>
                  </a:cubicBezTo>
                  <a:cubicBezTo>
                    <a:pt x="92" y="55"/>
                    <a:pt x="93" y="55"/>
                    <a:pt x="93" y="55"/>
                  </a:cubicBezTo>
                  <a:cubicBezTo>
                    <a:pt x="94" y="55"/>
                    <a:pt x="94" y="55"/>
                    <a:pt x="94" y="54"/>
                  </a:cubicBezTo>
                  <a:cubicBezTo>
                    <a:pt x="95" y="53"/>
                    <a:pt x="95" y="52"/>
                    <a:pt x="94" y="52"/>
                  </a:cubicBezTo>
                  <a:cubicBezTo>
                    <a:pt x="94" y="52"/>
                    <a:pt x="92" y="50"/>
                    <a:pt x="91" y="47"/>
                  </a:cubicBezTo>
                  <a:close/>
                  <a:moveTo>
                    <a:pt x="83" y="42"/>
                  </a:moveTo>
                  <a:cubicBezTo>
                    <a:pt x="82" y="39"/>
                    <a:pt x="79" y="37"/>
                    <a:pt x="78" y="37"/>
                  </a:cubicBezTo>
                  <a:cubicBezTo>
                    <a:pt x="77" y="37"/>
                    <a:pt x="77" y="37"/>
                    <a:pt x="76" y="38"/>
                  </a:cubicBezTo>
                  <a:cubicBezTo>
                    <a:pt x="76" y="39"/>
                    <a:pt x="76" y="39"/>
                    <a:pt x="77" y="40"/>
                  </a:cubicBezTo>
                  <a:cubicBezTo>
                    <a:pt x="77" y="40"/>
                    <a:pt x="78" y="41"/>
                    <a:pt x="78" y="42"/>
                  </a:cubicBezTo>
                  <a:cubicBezTo>
                    <a:pt x="78" y="43"/>
                    <a:pt x="77" y="44"/>
                    <a:pt x="76" y="45"/>
                  </a:cubicBezTo>
                  <a:cubicBezTo>
                    <a:pt x="74" y="47"/>
                    <a:pt x="74" y="48"/>
                    <a:pt x="74" y="50"/>
                  </a:cubicBezTo>
                  <a:cubicBezTo>
                    <a:pt x="75" y="53"/>
                    <a:pt x="79" y="54"/>
                    <a:pt x="79" y="55"/>
                  </a:cubicBezTo>
                  <a:cubicBezTo>
                    <a:pt x="79" y="55"/>
                    <a:pt x="80" y="55"/>
                    <a:pt x="80" y="55"/>
                  </a:cubicBezTo>
                  <a:cubicBezTo>
                    <a:pt x="80" y="55"/>
                    <a:pt x="81" y="55"/>
                    <a:pt x="81" y="54"/>
                  </a:cubicBezTo>
                  <a:cubicBezTo>
                    <a:pt x="82" y="53"/>
                    <a:pt x="82" y="52"/>
                    <a:pt x="81" y="52"/>
                  </a:cubicBezTo>
                  <a:cubicBezTo>
                    <a:pt x="81" y="52"/>
                    <a:pt x="80" y="51"/>
                    <a:pt x="80" y="50"/>
                  </a:cubicBezTo>
                  <a:cubicBezTo>
                    <a:pt x="80" y="49"/>
                    <a:pt x="80" y="48"/>
                    <a:pt x="81" y="47"/>
                  </a:cubicBezTo>
                  <a:cubicBezTo>
                    <a:pt x="83" y="45"/>
                    <a:pt x="83" y="43"/>
                    <a:pt x="83" y="42"/>
                  </a:cubicBezTo>
                  <a:close/>
                </a:path>
              </a:pathLst>
            </a:custGeom>
            <a:solidFill>
              <a:srgbClr val="0070C0"/>
            </a:solidFill>
            <a:ln w="9525">
              <a:noFill/>
              <a:miter lim="800000"/>
              <a:headEnd/>
              <a:tailEnd/>
            </a:ln>
          </p:spPr>
          <p:txBody>
            <a:bodyPr/>
            <a:lstStyle/>
            <a:p>
              <a:endParaRPr lang="en-US" sz="2448">
                <a:solidFill>
                  <a:srgbClr val="000000"/>
                </a:solidFill>
              </a:endParaRPr>
            </a:p>
          </p:txBody>
        </p:sp>
        <p:pic>
          <p:nvPicPr>
            <p:cNvPr id="282" name="Picture 28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14201" y="5484784"/>
              <a:ext cx="994264" cy="663948"/>
            </a:xfrm>
            <a:prstGeom prst="rect">
              <a:avLst/>
            </a:prstGeom>
          </p:spPr>
        </p:pic>
      </p:grpSp>
      <p:sp>
        <p:nvSpPr>
          <p:cNvPr id="58419" name="TextBox 126"/>
          <p:cNvSpPr txBox="1">
            <a:spLocks noChangeArrowheads="1"/>
          </p:cNvSpPr>
          <p:nvPr/>
        </p:nvSpPr>
        <p:spPr bwMode="auto">
          <a:xfrm>
            <a:off x="357632" y="5156568"/>
            <a:ext cx="1431286" cy="280718"/>
          </a:xfrm>
          <a:prstGeom prst="rect">
            <a:avLst/>
          </a:prstGeom>
          <a:noFill/>
          <a:ln w="9525">
            <a:noFill/>
            <a:miter lim="800000"/>
            <a:headEnd/>
            <a:tailEnd/>
          </a:ln>
        </p:spPr>
        <p:txBody>
          <a:bodyPr>
            <a:spAutoFit/>
          </a:bodyPr>
          <a:lstStyle/>
          <a:p>
            <a:r>
              <a:rPr lang="en-US" sz="1224" dirty="0">
                <a:solidFill>
                  <a:srgbClr val="404040"/>
                </a:solidFill>
              </a:rPr>
              <a:t>Corporate Office</a:t>
            </a:r>
          </a:p>
        </p:txBody>
      </p:sp>
      <p:grpSp>
        <p:nvGrpSpPr>
          <p:cNvPr id="58478" name="Group 58477"/>
          <p:cNvGrpSpPr/>
          <p:nvPr/>
        </p:nvGrpSpPr>
        <p:grpSpPr>
          <a:xfrm>
            <a:off x="1892827" y="4630958"/>
            <a:ext cx="1232398" cy="807485"/>
            <a:chOff x="1924576" y="5533264"/>
            <a:chExt cx="1232398" cy="807485"/>
          </a:xfrm>
        </p:grpSpPr>
        <p:sp>
          <p:nvSpPr>
            <p:cNvPr id="58412" name="TextBox 127"/>
            <p:cNvSpPr txBox="1">
              <a:spLocks noChangeArrowheads="1"/>
            </p:cNvSpPr>
            <p:nvPr/>
          </p:nvSpPr>
          <p:spPr bwMode="auto">
            <a:xfrm>
              <a:off x="1928614" y="6060032"/>
              <a:ext cx="1228360" cy="280717"/>
            </a:xfrm>
            <a:prstGeom prst="rect">
              <a:avLst/>
            </a:prstGeom>
            <a:noFill/>
            <a:ln w="9525">
              <a:noFill/>
              <a:miter lim="800000"/>
              <a:headEnd/>
              <a:tailEnd/>
            </a:ln>
          </p:spPr>
          <p:txBody>
            <a:bodyPr>
              <a:spAutoFit/>
            </a:bodyPr>
            <a:lstStyle/>
            <a:p>
              <a:r>
                <a:rPr lang="en-US" sz="1224" dirty="0">
                  <a:solidFill>
                    <a:srgbClr val="000000">
                      <a:lumMod val="75000"/>
                      <a:lumOff val="25000"/>
                    </a:srgbClr>
                  </a:solidFill>
                </a:rPr>
                <a:t>Branch Office</a:t>
              </a:r>
            </a:p>
          </p:txBody>
        </p:sp>
        <p:sp>
          <p:nvSpPr>
            <p:cNvPr id="31" name="Freeform 16"/>
            <p:cNvSpPr>
              <a:spLocks noEditPoints="1"/>
            </p:cNvSpPr>
            <p:nvPr/>
          </p:nvSpPr>
          <p:spPr bwMode="auto">
            <a:xfrm>
              <a:off x="1924576" y="5533264"/>
              <a:ext cx="1172460" cy="518141"/>
            </a:xfrm>
            <a:custGeom>
              <a:avLst/>
              <a:gdLst>
                <a:gd name="T0" fmla="*/ 3105 w 3926"/>
                <a:gd name="T1" fmla="*/ 1075 h 1735"/>
                <a:gd name="T2" fmla="*/ 3105 w 3926"/>
                <a:gd name="T3" fmla="*/ 1515 h 1735"/>
                <a:gd name="T4" fmla="*/ 3544 w 3926"/>
                <a:gd name="T5" fmla="*/ 1515 h 1735"/>
                <a:gd name="T6" fmla="*/ 3544 w 3926"/>
                <a:gd name="T7" fmla="*/ 1075 h 1735"/>
                <a:gd name="T8" fmla="*/ 3105 w 3926"/>
                <a:gd name="T9" fmla="*/ 1075 h 1735"/>
                <a:gd name="T10" fmla="*/ 2198 w 3926"/>
                <a:gd name="T11" fmla="*/ 1069 h 1735"/>
                <a:gd name="T12" fmla="*/ 2198 w 3926"/>
                <a:gd name="T13" fmla="*/ 1509 h 1735"/>
                <a:gd name="T14" fmla="*/ 2638 w 3926"/>
                <a:gd name="T15" fmla="*/ 1509 h 1735"/>
                <a:gd name="T16" fmla="*/ 2638 w 3926"/>
                <a:gd name="T17" fmla="*/ 1069 h 1735"/>
                <a:gd name="T18" fmla="*/ 2198 w 3926"/>
                <a:gd name="T19" fmla="*/ 1069 h 1735"/>
                <a:gd name="T20" fmla="*/ 401 w 3926"/>
                <a:gd name="T21" fmla="*/ 1069 h 1735"/>
                <a:gd name="T22" fmla="*/ 401 w 3926"/>
                <a:gd name="T23" fmla="*/ 1509 h 1735"/>
                <a:gd name="T24" fmla="*/ 840 w 3926"/>
                <a:gd name="T25" fmla="*/ 1509 h 1735"/>
                <a:gd name="T26" fmla="*/ 840 w 3926"/>
                <a:gd name="T27" fmla="*/ 1069 h 1735"/>
                <a:gd name="T28" fmla="*/ 401 w 3926"/>
                <a:gd name="T29" fmla="*/ 1069 h 1735"/>
                <a:gd name="T30" fmla="*/ 1286 w 3926"/>
                <a:gd name="T31" fmla="*/ 1053 h 1735"/>
                <a:gd name="T32" fmla="*/ 1286 w 3926"/>
                <a:gd name="T33" fmla="*/ 1708 h 1735"/>
                <a:gd name="T34" fmla="*/ 1726 w 3926"/>
                <a:gd name="T35" fmla="*/ 1708 h 1735"/>
                <a:gd name="T36" fmla="*/ 1726 w 3926"/>
                <a:gd name="T37" fmla="*/ 1053 h 1735"/>
                <a:gd name="T38" fmla="*/ 1286 w 3926"/>
                <a:gd name="T39" fmla="*/ 1053 h 1735"/>
                <a:gd name="T40" fmla="*/ 1306 w 3926"/>
                <a:gd name="T41" fmla="*/ 304 h 1735"/>
                <a:gd name="T42" fmla="*/ 1306 w 3926"/>
                <a:gd name="T43" fmla="*/ 745 h 1735"/>
                <a:gd name="T44" fmla="*/ 1746 w 3926"/>
                <a:gd name="T45" fmla="*/ 745 h 1735"/>
                <a:gd name="T46" fmla="*/ 1746 w 3926"/>
                <a:gd name="T47" fmla="*/ 304 h 1735"/>
                <a:gd name="T48" fmla="*/ 1306 w 3926"/>
                <a:gd name="T49" fmla="*/ 304 h 1735"/>
                <a:gd name="T50" fmla="*/ 401 w 3926"/>
                <a:gd name="T51" fmla="*/ 304 h 1735"/>
                <a:gd name="T52" fmla="*/ 401 w 3926"/>
                <a:gd name="T53" fmla="*/ 745 h 1735"/>
                <a:gd name="T54" fmla="*/ 840 w 3926"/>
                <a:gd name="T55" fmla="*/ 745 h 1735"/>
                <a:gd name="T56" fmla="*/ 840 w 3926"/>
                <a:gd name="T57" fmla="*/ 304 h 1735"/>
                <a:gd name="T58" fmla="*/ 401 w 3926"/>
                <a:gd name="T59" fmla="*/ 304 h 1735"/>
                <a:gd name="T60" fmla="*/ 3113 w 3926"/>
                <a:gd name="T61" fmla="*/ 298 h 1735"/>
                <a:gd name="T62" fmla="*/ 3113 w 3926"/>
                <a:gd name="T63" fmla="*/ 739 h 1735"/>
                <a:gd name="T64" fmla="*/ 3553 w 3926"/>
                <a:gd name="T65" fmla="*/ 739 h 1735"/>
                <a:gd name="T66" fmla="*/ 3553 w 3926"/>
                <a:gd name="T67" fmla="*/ 298 h 1735"/>
                <a:gd name="T68" fmla="*/ 3113 w 3926"/>
                <a:gd name="T69" fmla="*/ 298 h 1735"/>
                <a:gd name="T70" fmla="*/ 2219 w 3926"/>
                <a:gd name="T71" fmla="*/ 298 h 1735"/>
                <a:gd name="T72" fmla="*/ 2219 w 3926"/>
                <a:gd name="T73" fmla="*/ 739 h 1735"/>
                <a:gd name="T74" fmla="*/ 2659 w 3926"/>
                <a:gd name="T75" fmla="*/ 739 h 1735"/>
                <a:gd name="T76" fmla="*/ 2659 w 3926"/>
                <a:gd name="T77" fmla="*/ 298 h 1735"/>
                <a:gd name="T78" fmla="*/ 2219 w 3926"/>
                <a:gd name="T79" fmla="*/ 298 h 1735"/>
                <a:gd name="T80" fmla="*/ 0 w 3926"/>
                <a:gd name="T81" fmla="*/ 0 h 1735"/>
                <a:gd name="T82" fmla="*/ 3926 w 3926"/>
                <a:gd name="T83" fmla="*/ 0 h 1735"/>
                <a:gd name="T84" fmla="*/ 3926 w 3926"/>
                <a:gd name="T85" fmla="*/ 1735 h 1735"/>
                <a:gd name="T86" fmla="*/ 0 w 3926"/>
                <a:gd name="T87" fmla="*/ 1735 h 1735"/>
                <a:gd name="T88" fmla="*/ 0 w 3926"/>
                <a:gd name="T89" fmla="*/ 0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26" h="1735">
                  <a:moveTo>
                    <a:pt x="3105" y="1075"/>
                  </a:moveTo>
                  <a:lnTo>
                    <a:pt x="3105" y="1515"/>
                  </a:lnTo>
                  <a:lnTo>
                    <a:pt x="3544" y="1515"/>
                  </a:lnTo>
                  <a:lnTo>
                    <a:pt x="3544" y="1075"/>
                  </a:lnTo>
                  <a:lnTo>
                    <a:pt x="3105" y="1075"/>
                  </a:lnTo>
                  <a:close/>
                  <a:moveTo>
                    <a:pt x="2198" y="1069"/>
                  </a:moveTo>
                  <a:lnTo>
                    <a:pt x="2198" y="1509"/>
                  </a:lnTo>
                  <a:lnTo>
                    <a:pt x="2638" y="1509"/>
                  </a:lnTo>
                  <a:lnTo>
                    <a:pt x="2638" y="1069"/>
                  </a:lnTo>
                  <a:lnTo>
                    <a:pt x="2198" y="1069"/>
                  </a:lnTo>
                  <a:close/>
                  <a:moveTo>
                    <a:pt x="401" y="1069"/>
                  </a:moveTo>
                  <a:lnTo>
                    <a:pt x="401" y="1509"/>
                  </a:lnTo>
                  <a:lnTo>
                    <a:pt x="840" y="1509"/>
                  </a:lnTo>
                  <a:lnTo>
                    <a:pt x="840" y="1069"/>
                  </a:lnTo>
                  <a:lnTo>
                    <a:pt x="401" y="1069"/>
                  </a:lnTo>
                  <a:close/>
                  <a:moveTo>
                    <a:pt x="1286" y="1053"/>
                  </a:moveTo>
                  <a:lnTo>
                    <a:pt x="1286" y="1708"/>
                  </a:lnTo>
                  <a:lnTo>
                    <a:pt x="1726" y="1708"/>
                  </a:lnTo>
                  <a:lnTo>
                    <a:pt x="1726" y="1053"/>
                  </a:lnTo>
                  <a:lnTo>
                    <a:pt x="1286" y="1053"/>
                  </a:lnTo>
                  <a:close/>
                  <a:moveTo>
                    <a:pt x="1306" y="304"/>
                  </a:moveTo>
                  <a:lnTo>
                    <a:pt x="1306" y="745"/>
                  </a:lnTo>
                  <a:lnTo>
                    <a:pt x="1746" y="745"/>
                  </a:lnTo>
                  <a:lnTo>
                    <a:pt x="1746" y="304"/>
                  </a:lnTo>
                  <a:lnTo>
                    <a:pt x="1306" y="304"/>
                  </a:lnTo>
                  <a:close/>
                  <a:moveTo>
                    <a:pt x="401" y="304"/>
                  </a:moveTo>
                  <a:lnTo>
                    <a:pt x="401" y="745"/>
                  </a:lnTo>
                  <a:lnTo>
                    <a:pt x="840" y="745"/>
                  </a:lnTo>
                  <a:lnTo>
                    <a:pt x="840" y="304"/>
                  </a:lnTo>
                  <a:lnTo>
                    <a:pt x="401" y="304"/>
                  </a:lnTo>
                  <a:close/>
                  <a:moveTo>
                    <a:pt x="3113" y="298"/>
                  </a:moveTo>
                  <a:lnTo>
                    <a:pt x="3113" y="739"/>
                  </a:lnTo>
                  <a:lnTo>
                    <a:pt x="3553" y="739"/>
                  </a:lnTo>
                  <a:lnTo>
                    <a:pt x="3553" y="298"/>
                  </a:lnTo>
                  <a:lnTo>
                    <a:pt x="3113" y="298"/>
                  </a:lnTo>
                  <a:close/>
                  <a:moveTo>
                    <a:pt x="2219" y="298"/>
                  </a:moveTo>
                  <a:lnTo>
                    <a:pt x="2219" y="739"/>
                  </a:lnTo>
                  <a:lnTo>
                    <a:pt x="2659" y="739"/>
                  </a:lnTo>
                  <a:lnTo>
                    <a:pt x="2659" y="298"/>
                  </a:lnTo>
                  <a:lnTo>
                    <a:pt x="2219" y="298"/>
                  </a:lnTo>
                  <a:close/>
                  <a:moveTo>
                    <a:pt x="0" y="0"/>
                  </a:moveTo>
                  <a:lnTo>
                    <a:pt x="3926" y="0"/>
                  </a:lnTo>
                  <a:lnTo>
                    <a:pt x="3926" y="1735"/>
                  </a:lnTo>
                  <a:lnTo>
                    <a:pt x="0" y="1735"/>
                  </a:lnTo>
                  <a:lnTo>
                    <a:pt x="0" y="0"/>
                  </a:lnTo>
                  <a:close/>
                </a:path>
              </a:pathLst>
            </a:custGeom>
            <a:solidFill>
              <a:srgbClr val="0070C0"/>
            </a:solidFill>
            <a:ln w="0">
              <a:solidFill>
                <a:srgbClr val="2281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8477" name="Group 58476"/>
          <p:cNvGrpSpPr/>
          <p:nvPr/>
        </p:nvGrpSpPr>
        <p:grpSpPr>
          <a:xfrm>
            <a:off x="3525826" y="4616639"/>
            <a:ext cx="1331566" cy="821796"/>
            <a:chOff x="3557575" y="5518945"/>
            <a:chExt cx="1331566" cy="821796"/>
          </a:xfrm>
        </p:grpSpPr>
        <p:sp>
          <p:nvSpPr>
            <p:cNvPr id="58400" name="TextBox 128"/>
            <p:cNvSpPr txBox="1">
              <a:spLocks noChangeArrowheads="1"/>
            </p:cNvSpPr>
            <p:nvPr/>
          </p:nvSpPr>
          <p:spPr bwMode="auto">
            <a:xfrm>
              <a:off x="3840885" y="6060024"/>
              <a:ext cx="869528" cy="280717"/>
            </a:xfrm>
            <a:prstGeom prst="rect">
              <a:avLst/>
            </a:prstGeom>
            <a:noFill/>
            <a:ln w="9525">
              <a:noFill/>
              <a:miter lim="800000"/>
              <a:headEnd/>
              <a:tailEnd/>
            </a:ln>
          </p:spPr>
          <p:txBody>
            <a:bodyPr>
              <a:spAutoFit/>
            </a:bodyPr>
            <a:lstStyle/>
            <a:p>
              <a:pPr algn="ctr"/>
              <a:r>
                <a:rPr lang="en-US" sz="1224" dirty="0">
                  <a:solidFill>
                    <a:srgbClr val="404040"/>
                  </a:solidFill>
                </a:rPr>
                <a:t>Home</a:t>
              </a:r>
            </a:p>
          </p:txBody>
        </p:sp>
        <p:grpSp>
          <p:nvGrpSpPr>
            <p:cNvPr id="58467" name="Group 58466"/>
            <p:cNvGrpSpPr/>
            <p:nvPr/>
          </p:nvGrpSpPr>
          <p:grpSpPr>
            <a:xfrm>
              <a:off x="4308297" y="5593568"/>
              <a:ext cx="580844" cy="517335"/>
              <a:chOff x="4309861" y="5606162"/>
              <a:chExt cx="580844" cy="517335"/>
            </a:xfrm>
          </p:grpSpPr>
          <p:sp>
            <p:nvSpPr>
              <p:cNvPr id="284" name="Freeform 283"/>
              <p:cNvSpPr>
                <a:spLocks noEditPoints="1"/>
              </p:cNvSpPr>
              <p:nvPr/>
            </p:nvSpPr>
            <p:spPr bwMode="auto">
              <a:xfrm>
                <a:off x="4620353" y="5606162"/>
                <a:ext cx="270352" cy="517335"/>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85" name="Freeform 284"/>
              <p:cNvSpPr>
                <a:spLocks/>
              </p:cNvSpPr>
              <p:nvPr/>
            </p:nvSpPr>
            <p:spPr bwMode="auto">
              <a:xfrm>
                <a:off x="4327987" y="5779462"/>
                <a:ext cx="381242" cy="284537"/>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86" name="Freeform 285"/>
              <p:cNvSpPr>
                <a:spLocks noEditPoints="1"/>
              </p:cNvSpPr>
              <p:nvPr/>
            </p:nvSpPr>
            <p:spPr bwMode="auto">
              <a:xfrm>
                <a:off x="4309861" y="5770207"/>
                <a:ext cx="413777" cy="353290"/>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sp>
          <p:nvSpPr>
            <p:cNvPr id="58472" name="Freeform 22"/>
            <p:cNvSpPr>
              <a:spLocks noEditPoints="1"/>
            </p:cNvSpPr>
            <p:nvPr/>
          </p:nvSpPr>
          <p:spPr bwMode="auto">
            <a:xfrm>
              <a:off x="3557575" y="5518945"/>
              <a:ext cx="684206" cy="589797"/>
            </a:xfrm>
            <a:custGeom>
              <a:avLst/>
              <a:gdLst>
                <a:gd name="T0" fmla="*/ 3455 w 3899"/>
                <a:gd name="T1" fmla="*/ 3361 h 3361"/>
                <a:gd name="T2" fmla="*/ 2514 w 3899"/>
                <a:gd name="T3" fmla="*/ 3344 h 3361"/>
                <a:gd name="T4" fmla="*/ 2515 w 3899"/>
                <a:gd name="T5" fmla="*/ 3265 h 3361"/>
                <a:gd name="T6" fmla="*/ 2518 w 3899"/>
                <a:gd name="T7" fmla="*/ 3133 h 3361"/>
                <a:gd name="T8" fmla="*/ 2520 w 3899"/>
                <a:gd name="T9" fmla="*/ 2962 h 3361"/>
                <a:gd name="T10" fmla="*/ 2522 w 3899"/>
                <a:gd name="T11" fmla="*/ 2768 h 3361"/>
                <a:gd name="T12" fmla="*/ 2524 w 3899"/>
                <a:gd name="T13" fmla="*/ 2566 h 3361"/>
                <a:gd name="T14" fmla="*/ 2522 w 3899"/>
                <a:gd name="T15" fmla="*/ 2372 h 3361"/>
                <a:gd name="T16" fmla="*/ 2520 w 3899"/>
                <a:gd name="T17" fmla="*/ 2198 h 3361"/>
                <a:gd name="T18" fmla="*/ 2514 w 3899"/>
                <a:gd name="T19" fmla="*/ 2062 h 3361"/>
                <a:gd name="T20" fmla="*/ 2486 w 3899"/>
                <a:gd name="T21" fmla="*/ 2007 h 3361"/>
                <a:gd name="T22" fmla="*/ 2428 w 3899"/>
                <a:gd name="T23" fmla="*/ 1954 h 3361"/>
                <a:gd name="T24" fmla="*/ 2371 w 3899"/>
                <a:gd name="T25" fmla="*/ 1919 h 3361"/>
                <a:gd name="T26" fmla="*/ 2244 w 3899"/>
                <a:gd name="T27" fmla="*/ 1887 h 3361"/>
                <a:gd name="T28" fmla="*/ 2084 w 3899"/>
                <a:gd name="T29" fmla="*/ 1874 h 3361"/>
                <a:gd name="T30" fmla="*/ 1921 w 3899"/>
                <a:gd name="T31" fmla="*/ 1881 h 3361"/>
                <a:gd name="T32" fmla="*/ 1780 w 3899"/>
                <a:gd name="T33" fmla="*/ 1906 h 3361"/>
                <a:gd name="T34" fmla="*/ 1703 w 3899"/>
                <a:gd name="T35" fmla="*/ 1941 h 3361"/>
                <a:gd name="T36" fmla="*/ 1636 w 3899"/>
                <a:gd name="T37" fmla="*/ 1991 h 3361"/>
                <a:gd name="T38" fmla="*/ 1584 w 3899"/>
                <a:gd name="T39" fmla="*/ 2052 h 3361"/>
                <a:gd name="T40" fmla="*/ 1574 w 3899"/>
                <a:gd name="T41" fmla="*/ 2127 h 3361"/>
                <a:gd name="T42" fmla="*/ 1577 w 3899"/>
                <a:gd name="T43" fmla="*/ 2271 h 3361"/>
                <a:gd name="T44" fmla="*/ 1578 w 3899"/>
                <a:gd name="T45" fmla="*/ 2447 h 3361"/>
                <a:gd name="T46" fmla="*/ 1579 w 3899"/>
                <a:gd name="T47" fmla="*/ 2641 h 3361"/>
                <a:gd name="T48" fmla="*/ 1578 w 3899"/>
                <a:gd name="T49" fmla="*/ 2838 h 3361"/>
                <a:gd name="T50" fmla="*/ 1577 w 3899"/>
                <a:gd name="T51" fmla="*/ 3024 h 3361"/>
                <a:gd name="T52" fmla="*/ 1574 w 3899"/>
                <a:gd name="T53" fmla="*/ 3182 h 3361"/>
                <a:gd name="T54" fmla="*/ 1573 w 3899"/>
                <a:gd name="T55" fmla="*/ 3298 h 3361"/>
                <a:gd name="T56" fmla="*/ 1572 w 3899"/>
                <a:gd name="T57" fmla="*/ 3357 h 3361"/>
                <a:gd name="T58" fmla="*/ 517 w 3899"/>
                <a:gd name="T59" fmla="*/ 1535 h 3361"/>
                <a:gd name="T60" fmla="*/ 2798 w 3899"/>
                <a:gd name="T61" fmla="*/ 467 h 3361"/>
                <a:gd name="T62" fmla="*/ 3326 w 3899"/>
                <a:gd name="T63" fmla="*/ 782 h 3361"/>
                <a:gd name="T64" fmla="*/ 3893 w 3899"/>
                <a:gd name="T65" fmla="*/ 1287 h 3361"/>
                <a:gd name="T66" fmla="*/ 3899 w 3899"/>
                <a:gd name="T67" fmla="*/ 1385 h 3361"/>
                <a:gd name="T68" fmla="*/ 3897 w 3899"/>
                <a:gd name="T69" fmla="*/ 1497 h 3361"/>
                <a:gd name="T70" fmla="*/ 3891 w 3899"/>
                <a:gd name="T71" fmla="*/ 1598 h 3361"/>
                <a:gd name="T72" fmla="*/ 3885 w 3899"/>
                <a:gd name="T73" fmla="*/ 1666 h 3361"/>
                <a:gd name="T74" fmla="*/ 1984 w 3899"/>
                <a:gd name="T75" fmla="*/ 570 h 3361"/>
                <a:gd name="T76" fmla="*/ 0 w 3899"/>
                <a:gd name="T77" fmla="*/ 1695 h 3361"/>
                <a:gd name="T78" fmla="*/ 0 w 3899"/>
                <a:gd name="T79" fmla="*/ 1619 h 3361"/>
                <a:gd name="T80" fmla="*/ 4 w 3899"/>
                <a:gd name="T81" fmla="*/ 1507 h 3361"/>
                <a:gd name="T82" fmla="*/ 12 w 3899"/>
                <a:gd name="T83" fmla="*/ 1380 h 3361"/>
                <a:gd name="T84" fmla="*/ 26 w 3899"/>
                <a:gd name="T85" fmla="*/ 1266 h 3361"/>
                <a:gd name="T86" fmla="*/ 50 w 3899"/>
                <a:gd name="T87" fmla="*/ 1188 h 3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99" h="3361">
                  <a:moveTo>
                    <a:pt x="1986" y="694"/>
                  </a:moveTo>
                  <a:lnTo>
                    <a:pt x="3455" y="1562"/>
                  </a:lnTo>
                  <a:lnTo>
                    <a:pt x="3455" y="3361"/>
                  </a:lnTo>
                  <a:lnTo>
                    <a:pt x="2514" y="3361"/>
                  </a:lnTo>
                  <a:lnTo>
                    <a:pt x="2514" y="3357"/>
                  </a:lnTo>
                  <a:lnTo>
                    <a:pt x="2514" y="3344"/>
                  </a:lnTo>
                  <a:lnTo>
                    <a:pt x="2514" y="3326"/>
                  </a:lnTo>
                  <a:lnTo>
                    <a:pt x="2515" y="3298"/>
                  </a:lnTo>
                  <a:lnTo>
                    <a:pt x="2515" y="3265"/>
                  </a:lnTo>
                  <a:lnTo>
                    <a:pt x="2516" y="3226"/>
                  </a:lnTo>
                  <a:lnTo>
                    <a:pt x="2518" y="3181"/>
                  </a:lnTo>
                  <a:lnTo>
                    <a:pt x="2518" y="3133"/>
                  </a:lnTo>
                  <a:lnTo>
                    <a:pt x="2519" y="3080"/>
                  </a:lnTo>
                  <a:lnTo>
                    <a:pt x="2520" y="3022"/>
                  </a:lnTo>
                  <a:lnTo>
                    <a:pt x="2520" y="2962"/>
                  </a:lnTo>
                  <a:lnTo>
                    <a:pt x="2521" y="2900"/>
                  </a:lnTo>
                  <a:lnTo>
                    <a:pt x="2521" y="2835"/>
                  </a:lnTo>
                  <a:lnTo>
                    <a:pt x="2522" y="2768"/>
                  </a:lnTo>
                  <a:lnTo>
                    <a:pt x="2522" y="2701"/>
                  </a:lnTo>
                  <a:lnTo>
                    <a:pt x="2524" y="2634"/>
                  </a:lnTo>
                  <a:lnTo>
                    <a:pt x="2524" y="2566"/>
                  </a:lnTo>
                  <a:lnTo>
                    <a:pt x="2524" y="2500"/>
                  </a:lnTo>
                  <a:lnTo>
                    <a:pt x="2522" y="2435"/>
                  </a:lnTo>
                  <a:lnTo>
                    <a:pt x="2522" y="2372"/>
                  </a:lnTo>
                  <a:lnTo>
                    <a:pt x="2521" y="2311"/>
                  </a:lnTo>
                  <a:lnTo>
                    <a:pt x="2521" y="2253"/>
                  </a:lnTo>
                  <a:lnTo>
                    <a:pt x="2520" y="2198"/>
                  </a:lnTo>
                  <a:lnTo>
                    <a:pt x="2518" y="2149"/>
                  </a:lnTo>
                  <a:lnTo>
                    <a:pt x="2516" y="2103"/>
                  </a:lnTo>
                  <a:lnTo>
                    <a:pt x="2514" y="2062"/>
                  </a:lnTo>
                  <a:lnTo>
                    <a:pt x="2509" y="2045"/>
                  </a:lnTo>
                  <a:lnTo>
                    <a:pt x="2500" y="2026"/>
                  </a:lnTo>
                  <a:lnTo>
                    <a:pt x="2486" y="2007"/>
                  </a:lnTo>
                  <a:lnTo>
                    <a:pt x="2468" y="1988"/>
                  </a:lnTo>
                  <a:lnTo>
                    <a:pt x="2449" y="1970"/>
                  </a:lnTo>
                  <a:lnTo>
                    <a:pt x="2428" y="1954"/>
                  </a:lnTo>
                  <a:lnTo>
                    <a:pt x="2408" y="1939"/>
                  </a:lnTo>
                  <a:lnTo>
                    <a:pt x="2389" y="1928"/>
                  </a:lnTo>
                  <a:lnTo>
                    <a:pt x="2371" y="1919"/>
                  </a:lnTo>
                  <a:lnTo>
                    <a:pt x="2334" y="1906"/>
                  </a:lnTo>
                  <a:lnTo>
                    <a:pt x="2292" y="1896"/>
                  </a:lnTo>
                  <a:lnTo>
                    <a:pt x="2244" y="1887"/>
                  </a:lnTo>
                  <a:lnTo>
                    <a:pt x="2193" y="1881"/>
                  </a:lnTo>
                  <a:lnTo>
                    <a:pt x="2140" y="1877"/>
                  </a:lnTo>
                  <a:lnTo>
                    <a:pt x="2084" y="1874"/>
                  </a:lnTo>
                  <a:lnTo>
                    <a:pt x="2029" y="1874"/>
                  </a:lnTo>
                  <a:lnTo>
                    <a:pt x="1974" y="1877"/>
                  </a:lnTo>
                  <a:lnTo>
                    <a:pt x="1921" y="1881"/>
                  </a:lnTo>
                  <a:lnTo>
                    <a:pt x="1870" y="1887"/>
                  </a:lnTo>
                  <a:lnTo>
                    <a:pt x="1823" y="1896"/>
                  </a:lnTo>
                  <a:lnTo>
                    <a:pt x="1780" y="1906"/>
                  </a:lnTo>
                  <a:lnTo>
                    <a:pt x="1743" y="1919"/>
                  </a:lnTo>
                  <a:lnTo>
                    <a:pt x="1725" y="1929"/>
                  </a:lnTo>
                  <a:lnTo>
                    <a:pt x="1703" y="1941"/>
                  </a:lnTo>
                  <a:lnTo>
                    <a:pt x="1681" y="1955"/>
                  </a:lnTo>
                  <a:lnTo>
                    <a:pt x="1658" y="1972"/>
                  </a:lnTo>
                  <a:lnTo>
                    <a:pt x="1636" y="1991"/>
                  </a:lnTo>
                  <a:lnTo>
                    <a:pt x="1616" y="2010"/>
                  </a:lnTo>
                  <a:lnTo>
                    <a:pt x="1598" y="2032"/>
                  </a:lnTo>
                  <a:lnTo>
                    <a:pt x="1584" y="2052"/>
                  </a:lnTo>
                  <a:lnTo>
                    <a:pt x="1574" y="2072"/>
                  </a:lnTo>
                  <a:lnTo>
                    <a:pt x="1572" y="2091"/>
                  </a:lnTo>
                  <a:lnTo>
                    <a:pt x="1574" y="2127"/>
                  </a:lnTo>
                  <a:lnTo>
                    <a:pt x="1575" y="2171"/>
                  </a:lnTo>
                  <a:lnTo>
                    <a:pt x="1577" y="2218"/>
                  </a:lnTo>
                  <a:lnTo>
                    <a:pt x="1577" y="2271"/>
                  </a:lnTo>
                  <a:lnTo>
                    <a:pt x="1578" y="2326"/>
                  </a:lnTo>
                  <a:lnTo>
                    <a:pt x="1578" y="2385"/>
                  </a:lnTo>
                  <a:lnTo>
                    <a:pt x="1578" y="2447"/>
                  </a:lnTo>
                  <a:lnTo>
                    <a:pt x="1579" y="2509"/>
                  </a:lnTo>
                  <a:lnTo>
                    <a:pt x="1579" y="2574"/>
                  </a:lnTo>
                  <a:lnTo>
                    <a:pt x="1579" y="2641"/>
                  </a:lnTo>
                  <a:lnTo>
                    <a:pt x="1578" y="2707"/>
                  </a:lnTo>
                  <a:lnTo>
                    <a:pt x="1578" y="2773"/>
                  </a:lnTo>
                  <a:lnTo>
                    <a:pt x="1578" y="2838"/>
                  </a:lnTo>
                  <a:lnTo>
                    <a:pt x="1577" y="2902"/>
                  </a:lnTo>
                  <a:lnTo>
                    <a:pt x="1577" y="2965"/>
                  </a:lnTo>
                  <a:lnTo>
                    <a:pt x="1577" y="3024"/>
                  </a:lnTo>
                  <a:lnTo>
                    <a:pt x="1575" y="3081"/>
                  </a:lnTo>
                  <a:lnTo>
                    <a:pt x="1575" y="3134"/>
                  </a:lnTo>
                  <a:lnTo>
                    <a:pt x="1574" y="3182"/>
                  </a:lnTo>
                  <a:lnTo>
                    <a:pt x="1574" y="3226"/>
                  </a:lnTo>
                  <a:lnTo>
                    <a:pt x="1573" y="3265"/>
                  </a:lnTo>
                  <a:lnTo>
                    <a:pt x="1573" y="3298"/>
                  </a:lnTo>
                  <a:lnTo>
                    <a:pt x="1573" y="3326"/>
                  </a:lnTo>
                  <a:lnTo>
                    <a:pt x="1572" y="3346"/>
                  </a:lnTo>
                  <a:lnTo>
                    <a:pt x="1572" y="3357"/>
                  </a:lnTo>
                  <a:lnTo>
                    <a:pt x="1572" y="3361"/>
                  </a:lnTo>
                  <a:lnTo>
                    <a:pt x="517" y="3361"/>
                  </a:lnTo>
                  <a:lnTo>
                    <a:pt x="517" y="1535"/>
                  </a:lnTo>
                  <a:lnTo>
                    <a:pt x="1986" y="694"/>
                  </a:lnTo>
                  <a:close/>
                  <a:moveTo>
                    <a:pt x="2013" y="0"/>
                  </a:moveTo>
                  <a:lnTo>
                    <a:pt x="2798" y="467"/>
                  </a:lnTo>
                  <a:lnTo>
                    <a:pt x="2798" y="195"/>
                  </a:lnTo>
                  <a:lnTo>
                    <a:pt x="3326" y="195"/>
                  </a:lnTo>
                  <a:lnTo>
                    <a:pt x="3326" y="782"/>
                  </a:lnTo>
                  <a:lnTo>
                    <a:pt x="3882" y="1240"/>
                  </a:lnTo>
                  <a:lnTo>
                    <a:pt x="3889" y="1261"/>
                  </a:lnTo>
                  <a:lnTo>
                    <a:pt x="3893" y="1287"/>
                  </a:lnTo>
                  <a:lnTo>
                    <a:pt x="3897" y="1316"/>
                  </a:lnTo>
                  <a:lnTo>
                    <a:pt x="3899" y="1349"/>
                  </a:lnTo>
                  <a:lnTo>
                    <a:pt x="3899" y="1385"/>
                  </a:lnTo>
                  <a:lnTo>
                    <a:pt x="3899" y="1423"/>
                  </a:lnTo>
                  <a:lnTo>
                    <a:pt x="3898" y="1459"/>
                  </a:lnTo>
                  <a:lnTo>
                    <a:pt x="3897" y="1497"/>
                  </a:lnTo>
                  <a:lnTo>
                    <a:pt x="3895" y="1533"/>
                  </a:lnTo>
                  <a:lnTo>
                    <a:pt x="3893" y="1567"/>
                  </a:lnTo>
                  <a:lnTo>
                    <a:pt x="3891" y="1598"/>
                  </a:lnTo>
                  <a:lnTo>
                    <a:pt x="3888" y="1626"/>
                  </a:lnTo>
                  <a:lnTo>
                    <a:pt x="3886" y="1648"/>
                  </a:lnTo>
                  <a:lnTo>
                    <a:pt x="3885" y="1666"/>
                  </a:lnTo>
                  <a:lnTo>
                    <a:pt x="3884" y="1677"/>
                  </a:lnTo>
                  <a:lnTo>
                    <a:pt x="3882" y="1680"/>
                  </a:lnTo>
                  <a:lnTo>
                    <a:pt x="1984" y="570"/>
                  </a:lnTo>
                  <a:lnTo>
                    <a:pt x="0" y="1710"/>
                  </a:lnTo>
                  <a:lnTo>
                    <a:pt x="0" y="1706"/>
                  </a:lnTo>
                  <a:lnTo>
                    <a:pt x="0" y="1695"/>
                  </a:lnTo>
                  <a:lnTo>
                    <a:pt x="0" y="1674"/>
                  </a:lnTo>
                  <a:lnTo>
                    <a:pt x="0" y="1650"/>
                  </a:lnTo>
                  <a:lnTo>
                    <a:pt x="0" y="1619"/>
                  </a:lnTo>
                  <a:lnTo>
                    <a:pt x="1" y="1585"/>
                  </a:lnTo>
                  <a:lnTo>
                    <a:pt x="2" y="1547"/>
                  </a:lnTo>
                  <a:lnTo>
                    <a:pt x="4" y="1507"/>
                  </a:lnTo>
                  <a:lnTo>
                    <a:pt x="6" y="1465"/>
                  </a:lnTo>
                  <a:lnTo>
                    <a:pt x="8" y="1423"/>
                  </a:lnTo>
                  <a:lnTo>
                    <a:pt x="12" y="1380"/>
                  </a:lnTo>
                  <a:lnTo>
                    <a:pt x="15" y="1340"/>
                  </a:lnTo>
                  <a:lnTo>
                    <a:pt x="20" y="1302"/>
                  </a:lnTo>
                  <a:lnTo>
                    <a:pt x="26" y="1266"/>
                  </a:lnTo>
                  <a:lnTo>
                    <a:pt x="33" y="1234"/>
                  </a:lnTo>
                  <a:lnTo>
                    <a:pt x="41" y="1208"/>
                  </a:lnTo>
                  <a:lnTo>
                    <a:pt x="50" y="1188"/>
                  </a:lnTo>
                  <a:lnTo>
                    <a:pt x="2013"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 name="Group 4"/>
          <p:cNvGrpSpPr/>
          <p:nvPr/>
        </p:nvGrpSpPr>
        <p:grpSpPr>
          <a:xfrm>
            <a:off x="610102" y="4011471"/>
            <a:ext cx="907515" cy="1093348"/>
            <a:chOff x="610102" y="4011471"/>
            <a:chExt cx="907515" cy="1093348"/>
          </a:xfrm>
        </p:grpSpPr>
        <p:sp>
          <p:nvSpPr>
            <p:cNvPr id="101" name="Freeform 12"/>
            <p:cNvSpPr>
              <a:spLocks noEditPoints="1"/>
            </p:cNvSpPr>
            <p:nvPr/>
          </p:nvSpPr>
          <p:spPr bwMode="auto">
            <a:xfrm>
              <a:off x="1105773" y="4011471"/>
              <a:ext cx="411844" cy="847379"/>
            </a:xfrm>
            <a:custGeom>
              <a:avLst/>
              <a:gdLst>
                <a:gd name="T0" fmla="*/ 678 w 678"/>
                <a:gd name="T1" fmla="*/ 1395 h 1395"/>
                <a:gd name="T2" fmla="*/ 0 w 678"/>
                <a:gd name="T3" fmla="*/ 1395 h 1395"/>
                <a:gd name="T4" fmla="*/ 0 w 678"/>
                <a:gd name="T5" fmla="*/ 0 h 1395"/>
                <a:gd name="T6" fmla="*/ 678 w 678"/>
                <a:gd name="T7" fmla="*/ 0 h 1395"/>
                <a:gd name="T8" fmla="*/ 678 w 678"/>
                <a:gd name="T9" fmla="*/ 1395 h 1395"/>
                <a:gd name="T10" fmla="*/ 640 w 678"/>
                <a:gd name="T11" fmla="*/ 638 h 1395"/>
                <a:gd name="T12" fmla="*/ 36 w 678"/>
                <a:gd name="T13" fmla="*/ 638 h 1395"/>
                <a:gd name="T14" fmla="*/ 36 w 678"/>
                <a:gd name="T15" fmla="*/ 903 h 1395"/>
                <a:gd name="T16" fmla="*/ 640 w 678"/>
                <a:gd name="T17" fmla="*/ 903 h 1395"/>
                <a:gd name="T18" fmla="*/ 640 w 678"/>
                <a:gd name="T19" fmla="*/ 638 h 1395"/>
                <a:gd name="T20" fmla="*/ 642 w 678"/>
                <a:gd name="T21" fmla="*/ 1246 h 1395"/>
                <a:gd name="T22" fmla="*/ 359 w 678"/>
                <a:gd name="T23" fmla="*/ 1246 h 1395"/>
                <a:gd name="T24" fmla="*/ 359 w 678"/>
                <a:gd name="T25" fmla="*/ 1368 h 1395"/>
                <a:gd name="T26" fmla="*/ 642 w 678"/>
                <a:gd name="T27" fmla="*/ 1368 h 1395"/>
                <a:gd name="T28" fmla="*/ 642 w 678"/>
                <a:gd name="T29" fmla="*/ 1246 h 1395"/>
                <a:gd name="T30" fmla="*/ 321 w 678"/>
                <a:gd name="T31" fmla="*/ 1246 h 1395"/>
                <a:gd name="T32" fmla="*/ 42 w 678"/>
                <a:gd name="T33" fmla="*/ 1246 h 1395"/>
                <a:gd name="T34" fmla="*/ 42 w 678"/>
                <a:gd name="T35" fmla="*/ 1393 h 1395"/>
                <a:gd name="T36" fmla="*/ 321 w 678"/>
                <a:gd name="T37" fmla="*/ 1393 h 1395"/>
                <a:gd name="T38" fmla="*/ 321 w 678"/>
                <a:gd name="T39" fmla="*/ 1246 h 1395"/>
                <a:gd name="T40" fmla="*/ 640 w 678"/>
                <a:gd name="T41" fmla="*/ 948 h 1395"/>
                <a:gd name="T42" fmla="*/ 36 w 678"/>
                <a:gd name="T43" fmla="*/ 948 h 1395"/>
                <a:gd name="T44" fmla="*/ 36 w 678"/>
                <a:gd name="T45" fmla="*/ 1211 h 1395"/>
                <a:gd name="T46" fmla="*/ 640 w 678"/>
                <a:gd name="T47" fmla="*/ 1211 h 1395"/>
                <a:gd name="T48" fmla="*/ 640 w 678"/>
                <a:gd name="T49" fmla="*/ 948 h 1395"/>
                <a:gd name="T50" fmla="*/ 640 w 678"/>
                <a:gd name="T51" fmla="*/ 31 h 1395"/>
                <a:gd name="T52" fmla="*/ 36 w 678"/>
                <a:gd name="T53" fmla="*/ 31 h 1395"/>
                <a:gd name="T54" fmla="*/ 36 w 678"/>
                <a:gd name="T55" fmla="*/ 296 h 1395"/>
                <a:gd name="T56" fmla="*/ 640 w 678"/>
                <a:gd name="T57" fmla="*/ 296 h 1395"/>
                <a:gd name="T58" fmla="*/ 640 w 678"/>
                <a:gd name="T59" fmla="*/ 31 h 1395"/>
                <a:gd name="T60" fmla="*/ 640 w 678"/>
                <a:gd name="T61" fmla="*/ 332 h 1395"/>
                <a:gd name="T62" fmla="*/ 36 w 678"/>
                <a:gd name="T63" fmla="*/ 332 h 1395"/>
                <a:gd name="T64" fmla="*/ 36 w 678"/>
                <a:gd name="T65" fmla="*/ 595 h 1395"/>
                <a:gd name="T66" fmla="*/ 640 w 678"/>
                <a:gd name="T67" fmla="*/ 595 h 1395"/>
                <a:gd name="T68" fmla="*/ 640 w 678"/>
                <a:gd name="T69" fmla="*/ 332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8" h="1395">
                  <a:moveTo>
                    <a:pt x="678" y="1395"/>
                  </a:moveTo>
                  <a:lnTo>
                    <a:pt x="0" y="1395"/>
                  </a:lnTo>
                  <a:lnTo>
                    <a:pt x="0" y="0"/>
                  </a:lnTo>
                  <a:lnTo>
                    <a:pt x="678" y="0"/>
                  </a:lnTo>
                  <a:lnTo>
                    <a:pt x="678" y="1395"/>
                  </a:lnTo>
                  <a:close/>
                  <a:moveTo>
                    <a:pt x="640" y="638"/>
                  </a:moveTo>
                  <a:lnTo>
                    <a:pt x="36" y="638"/>
                  </a:lnTo>
                  <a:lnTo>
                    <a:pt x="36" y="903"/>
                  </a:lnTo>
                  <a:lnTo>
                    <a:pt x="640" y="903"/>
                  </a:lnTo>
                  <a:lnTo>
                    <a:pt x="640" y="638"/>
                  </a:lnTo>
                  <a:close/>
                  <a:moveTo>
                    <a:pt x="642" y="1246"/>
                  </a:moveTo>
                  <a:lnTo>
                    <a:pt x="359" y="1246"/>
                  </a:lnTo>
                  <a:lnTo>
                    <a:pt x="359" y="1368"/>
                  </a:lnTo>
                  <a:lnTo>
                    <a:pt x="642" y="1368"/>
                  </a:lnTo>
                  <a:lnTo>
                    <a:pt x="642" y="1246"/>
                  </a:lnTo>
                  <a:close/>
                  <a:moveTo>
                    <a:pt x="321" y="1246"/>
                  </a:moveTo>
                  <a:lnTo>
                    <a:pt x="42" y="1246"/>
                  </a:lnTo>
                  <a:lnTo>
                    <a:pt x="42" y="1393"/>
                  </a:lnTo>
                  <a:lnTo>
                    <a:pt x="321" y="1393"/>
                  </a:lnTo>
                  <a:lnTo>
                    <a:pt x="321" y="1246"/>
                  </a:lnTo>
                  <a:close/>
                  <a:moveTo>
                    <a:pt x="640" y="948"/>
                  </a:moveTo>
                  <a:lnTo>
                    <a:pt x="36" y="948"/>
                  </a:lnTo>
                  <a:lnTo>
                    <a:pt x="36" y="1211"/>
                  </a:lnTo>
                  <a:lnTo>
                    <a:pt x="640" y="1211"/>
                  </a:lnTo>
                  <a:lnTo>
                    <a:pt x="640" y="948"/>
                  </a:lnTo>
                  <a:close/>
                  <a:moveTo>
                    <a:pt x="640" y="31"/>
                  </a:moveTo>
                  <a:lnTo>
                    <a:pt x="36" y="31"/>
                  </a:lnTo>
                  <a:lnTo>
                    <a:pt x="36" y="296"/>
                  </a:lnTo>
                  <a:lnTo>
                    <a:pt x="640" y="296"/>
                  </a:lnTo>
                  <a:lnTo>
                    <a:pt x="640" y="31"/>
                  </a:lnTo>
                  <a:close/>
                  <a:moveTo>
                    <a:pt x="640" y="332"/>
                  </a:moveTo>
                  <a:lnTo>
                    <a:pt x="36" y="332"/>
                  </a:lnTo>
                  <a:lnTo>
                    <a:pt x="36" y="595"/>
                  </a:lnTo>
                  <a:lnTo>
                    <a:pt x="640" y="595"/>
                  </a:lnTo>
                  <a:lnTo>
                    <a:pt x="640" y="332"/>
                  </a:ln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3"/>
            <p:cNvSpPr>
              <a:spLocks noEditPoints="1"/>
            </p:cNvSpPr>
            <p:nvPr/>
          </p:nvSpPr>
          <p:spPr bwMode="auto">
            <a:xfrm>
              <a:off x="610102" y="4011471"/>
              <a:ext cx="411844" cy="847379"/>
            </a:xfrm>
            <a:custGeom>
              <a:avLst/>
              <a:gdLst>
                <a:gd name="T0" fmla="*/ 678 w 678"/>
                <a:gd name="T1" fmla="*/ 1395 h 1395"/>
                <a:gd name="T2" fmla="*/ 0 w 678"/>
                <a:gd name="T3" fmla="*/ 1395 h 1395"/>
                <a:gd name="T4" fmla="*/ 0 w 678"/>
                <a:gd name="T5" fmla="*/ 0 h 1395"/>
                <a:gd name="T6" fmla="*/ 678 w 678"/>
                <a:gd name="T7" fmla="*/ 0 h 1395"/>
                <a:gd name="T8" fmla="*/ 678 w 678"/>
                <a:gd name="T9" fmla="*/ 1395 h 1395"/>
                <a:gd name="T10" fmla="*/ 640 w 678"/>
                <a:gd name="T11" fmla="*/ 638 h 1395"/>
                <a:gd name="T12" fmla="*/ 38 w 678"/>
                <a:gd name="T13" fmla="*/ 638 h 1395"/>
                <a:gd name="T14" fmla="*/ 38 w 678"/>
                <a:gd name="T15" fmla="*/ 903 h 1395"/>
                <a:gd name="T16" fmla="*/ 640 w 678"/>
                <a:gd name="T17" fmla="*/ 903 h 1395"/>
                <a:gd name="T18" fmla="*/ 640 w 678"/>
                <a:gd name="T19" fmla="*/ 638 h 1395"/>
                <a:gd name="T20" fmla="*/ 642 w 678"/>
                <a:gd name="T21" fmla="*/ 1246 h 1395"/>
                <a:gd name="T22" fmla="*/ 359 w 678"/>
                <a:gd name="T23" fmla="*/ 1246 h 1395"/>
                <a:gd name="T24" fmla="*/ 359 w 678"/>
                <a:gd name="T25" fmla="*/ 1368 h 1395"/>
                <a:gd name="T26" fmla="*/ 642 w 678"/>
                <a:gd name="T27" fmla="*/ 1368 h 1395"/>
                <a:gd name="T28" fmla="*/ 642 w 678"/>
                <a:gd name="T29" fmla="*/ 1246 h 1395"/>
                <a:gd name="T30" fmla="*/ 323 w 678"/>
                <a:gd name="T31" fmla="*/ 1246 h 1395"/>
                <a:gd name="T32" fmla="*/ 44 w 678"/>
                <a:gd name="T33" fmla="*/ 1246 h 1395"/>
                <a:gd name="T34" fmla="*/ 44 w 678"/>
                <a:gd name="T35" fmla="*/ 1393 h 1395"/>
                <a:gd name="T36" fmla="*/ 323 w 678"/>
                <a:gd name="T37" fmla="*/ 1393 h 1395"/>
                <a:gd name="T38" fmla="*/ 323 w 678"/>
                <a:gd name="T39" fmla="*/ 1246 h 1395"/>
                <a:gd name="T40" fmla="*/ 640 w 678"/>
                <a:gd name="T41" fmla="*/ 948 h 1395"/>
                <a:gd name="T42" fmla="*/ 38 w 678"/>
                <a:gd name="T43" fmla="*/ 948 h 1395"/>
                <a:gd name="T44" fmla="*/ 38 w 678"/>
                <a:gd name="T45" fmla="*/ 1211 h 1395"/>
                <a:gd name="T46" fmla="*/ 640 w 678"/>
                <a:gd name="T47" fmla="*/ 1211 h 1395"/>
                <a:gd name="T48" fmla="*/ 640 w 678"/>
                <a:gd name="T49" fmla="*/ 948 h 1395"/>
                <a:gd name="T50" fmla="*/ 640 w 678"/>
                <a:gd name="T51" fmla="*/ 31 h 1395"/>
                <a:gd name="T52" fmla="*/ 38 w 678"/>
                <a:gd name="T53" fmla="*/ 31 h 1395"/>
                <a:gd name="T54" fmla="*/ 38 w 678"/>
                <a:gd name="T55" fmla="*/ 296 h 1395"/>
                <a:gd name="T56" fmla="*/ 640 w 678"/>
                <a:gd name="T57" fmla="*/ 296 h 1395"/>
                <a:gd name="T58" fmla="*/ 640 w 678"/>
                <a:gd name="T59" fmla="*/ 31 h 1395"/>
                <a:gd name="T60" fmla="*/ 640 w 678"/>
                <a:gd name="T61" fmla="*/ 332 h 1395"/>
                <a:gd name="T62" fmla="*/ 38 w 678"/>
                <a:gd name="T63" fmla="*/ 332 h 1395"/>
                <a:gd name="T64" fmla="*/ 38 w 678"/>
                <a:gd name="T65" fmla="*/ 595 h 1395"/>
                <a:gd name="T66" fmla="*/ 640 w 678"/>
                <a:gd name="T67" fmla="*/ 595 h 1395"/>
                <a:gd name="T68" fmla="*/ 640 w 678"/>
                <a:gd name="T69" fmla="*/ 332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8" h="1395">
                  <a:moveTo>
                    <a:pt x="678" y="1395"/>
                  </a:moveTo>
                  <a:lnTo>
                    <a:pt x="0" y="1395"/>
                  </a:lnTo>
                  <a:lnTo>
                    <a:pt x="0" y="0"/>
                  </a:lnTo>
                  <a:lnTo>
                    <a:pt x="678" y="0"/>
                  </a:lnTo>
                  <a:lnTo>
                    <a:pt x="678" y="1395"/>
                  </a:lnTo>
                  <a:close/>
                  <a:moveTo>
                    <a:pt x="640" y="638"/>
                  </a:moveTo>
                  <a:lnTo>
                    <a:pt x="38" y="638"/>
                  </a:lnTo>
                  <a:lnTo>
                    <a:pt x="38" y="903"/>
                  </a:lnTo>
                  <a:lnTo>
                    <a:pt x="640" y="903"/>
                  </a:lnTo>
                  <a:lnTo>
                    <a:pt x="640" y="638"/>
                  </a:lnTo>
                  <a:close/>
                  <a:moveTo>
                    <a:pt x="642" y="1246"/>
                  </a:moveTo>
                  <a:lnTo>
                    <a:pt x="359" y="1246"/>
                  </a:lnTo>
                  <a:lnTo>
                    <a:pt x="359" y="1368"/>
                  </a:lnTo>
                  <a:lnTo>
                    <a:pt x="642" y="1368"/>
                  </a:lnTo>
                  <a:lnTo>
                    <a:pt x="642" y="1246"/>
                  </a:lnTo>
                  <a:close/>
                  <a:moveTo>
                    <a:pt x="323" y="1246"/>
                  </a:moveTo>
                  <a:lnTo>
                    <a:pt x="44" y="1246"/>
                  </a:lnTo>
                  <a:lnTo>
                    <a:pt x="44" y="1393"/>
                  </a:lnTo>
                  <a:lnTo>
                    <a:pt x="323" y="1393"/>
                  </a:lnTo>
                  <a:lnTo>
                    <a:pt x="323" y="1246"/>
                  </a:lnTo>
                  <a:close/>
                  <a:moveTo>
                    <a:pt x="640" y="948"/>
                  </a:moveTo>
                  <a:lnTo>
                    <a:pt x="38" y="948"/>
                  </a:lnTo>
                  <a:lnTo>
                    <a:pt x="38" y="1211"/>
                  </a:lnTo>
                  <a:lnTo>
                    <a:pt x="640" y="1211"/>
                  </a:lnTo>
                  <a:lnTo>
                    <a:pt x="640" y="948"/>
                  </a:lnTo>
                  <a:close/>
                  <a:moveTo>
                    <a:pt x="640" y="31"/>
                  </a:moveTo>
                  <a:lnTo>
                    <a:pt x="38" y="31"/>
                  </a:lnTo>
                  <a:lnTo>
                    <a:pt x="38" y="296"/>
                  </a:lnTo>
                  <a:lnTo>
                    <a:pt x="640" y="296"/>
                  </a:lnTo>
                  <a:lnTo>
                    <a:pt x="640" y="31"/>
                  </a:lnTo>
                  <a:close/>
                  <a:moveTo>
                    <a:pt x="640" y="332"/>
                  </a:moveTo>
                  <a:lnTo>
                    <a:pt x="38" y="332"/>
                  </a:lnTo>
                  <a:lnTo>
                    <a:pt x="38" y="595"/>
                  </a:lnTo>
                  <a:lnTo>
                    <a:pt x="640" y="595"/>
                  </a:lnTo>
                  <a:lnTo>
                    <a:pt x="640" y="332"/>
                  </a:ln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Rectangle 14"/>
            <p:cNvSpPr>
              <a:spLocks noChangeArrowheads="1"/>
            </p:cNvSpPr>
            <p:nvPr/>
          </p:nvSpPr>
          <p:spPr bwMode="auto">
            <a:xfrm>
              <a:off x="791314" y="4258655"/>
              <a:ext cx="560059" cy="8461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5"/>
            <p:cNvSpPr>
              <a:spLocks noEditPoints="1"/>
            </p:cNvSpPr>
            <p:nvPr/>
          </p:nvSpPr>
          <p:spPr bwMode="auto">
            <a:xfrm>
              <a:off x="785652" y="4244728"/>
              <a:ext cx="575246" cy="846164"/>
            </a:xfrm>
            <a:custGeom>
              <a:avLst/>
              <a:gdLst>
                <a:gd name="T0" fmla="*/ 947 w 947"/>
                <a:gd name="T1" fmla="*/ 1393 h 1393"/>
                <a:gd name="T2" fmla="*/ 0 w 947"/>
                <a:gd name="T3" fmla="*/ 1393 h 1393"/>
                <a:gd name="T4" fmla="*/ 0 w 947"/>
                <a:gd name="T5" fmla="*/ 0 h 1393"/>
                <a:gd name="T6" fmla="*/ 947 w 947"/>
                <a:gd name="T7" fmla="*/ 0 h 1393"/>
                <a:gd name="T8" fmla="*/ 947 w 947"/>
                <a:gd name="T9" fmla="*/ 1393 h 1393"/>
                <a:gd name="T10" fmla="*/ 894 w 947"/>
                <a:gd name="T11" fmla="*/ 638 h 1393"/>
                <a:gd name="T12" fmla="*/ 50 w 947"/>
                <a:gd name="T13" fmla="*/ 638 h 1393"/>
                <a:gd name="T14" fmla="*/ 50 w 947"/>
                <a:gd name="T15" fmla="*/ 903 h 1393"/>
                <a:gd name="T16" fmla="*/ 894 w 947"/>
                <a:gd name="T17" fmla="*/ 903 h 1393"/>
                <a:gd name="T18" fmla="*/ 894 w 947"/>
                <a:gd name="T19" fmla="*/ 638 h 1393"/>
                <a:gd name="T20" fmla="*/ 896 w 947"/>
                <a:gd name="T21" fmla="*/ 1244 h 1393"/>
                <a:gd name="T22" fmla="*/ 502 w 947"/>
                <a:gd name="T23" fmla="*/ 1244 h 1393"/>
                <a:gd name="T24" fmla="*/ 502 w 947"/>
                <a:gd name="T25" fmla="*/ 1368 h 1393"/>
                <a:gd name="T26" fmla="*/ 896 w 947"/>
                <a:gd name="T27" fmla="*/ 1368 h 1393"/>
                <a:gd name="T28" fmla="*/ 896 w 947"/>
                <a:gd name="T29" fmla="*/ 1244 h 1393"/>
                <a:gd name="T30" fmla="*/ 450 w 947"/>
                <a:gd name="T31" fmla="*/ 1246 h 1393"/>
                <a:gd name="T32" fmla="*/ 59 w 947"/>
                <a:gd name="T33" fmla="*/ 1246 h 1393"/>
                <a:gd name="T34" fmla="*/ 59 w 947"/>
                <a:gd name="T35" fmla="*/ 1393 h 1393"/>
                <a:gd name="T36" fmla="*/ 450 w 947"/>
                <a:gd name="T37" fmla="*/ 1393 h 1393"/>
                <a:gd name="T38" fmla="*/ 450 w 947"/>
                <a:gd name="T39" fmla="*/ 1246 h 1393"/>
                <a:gd name="T40" fmla="*/ 894 w 947"/>
                <a:gd name="T41" fmla="*/ 946 h 1393"/>
                <a:gd name="T42" fmla="*/ 50 w 947"/>
                <a:gd name="T43" fmla="*/ 946 h 1393"/>
                <a:gd name="T44" fmla="*/ 50 w 947"/>
                <a:gd name="T45" fmla="*/ 1211 h 1393"/>
                <a:gd name="T46" fmla="*/ 894 w 947"/>
                <a:gd name="T47" fmla="*/ 1211 h 1393"/>
                <a:gd name="T48" fmla="*/ 894 w 947"/>
                <a:gd name="T49" fmla="*/ 946 h 1393"/>
                <a:gd name="T50" fmla="*/ 894 w 947"/>
                <a:gd name="T51" fmla="*/ 31 h 1393"/>
                <a:gd name="T52" fmla="*/ 50 w 947"/>
                <a:gd name="T53" fmla="*/ 31 h 1393"/>
                <a:gd name="T54" fmla="*/ 50 w 947"/>
                <a:gd name="T55" fmla="*/ 296 h 1393"/>
                <a:gd name="T56" fmla="*/ 894 w 947"/>
                <a:gd name="T57" fmla="*/ 296 h 1393"/>
                <a:gd name="T58" fmla="*/ 894 w 947"/>
                <a:gd name="T59" fmla="*/ 31 h 1393"/>
                <a:gd name="T60" fmla="*/ 894 w 947"/>
                <a:gd name="T61" fmla="*/ 331 h 1393"/>
                <a:gd name="T62" fmla="*/ 50 w 947"/>
                <a:gd name="T63" fmla="*/ 331 h 1393"/>
                <a:gd name="T64" fmla="*/ 50 w 947"/>
                <a:gd name="T65" fmla="*/ 595 h 1393"/>
                <a:gd name="T66" fmla="*/ 894 w 947"/>
                <a:gd name="T67" fmla="*/ 595 h 1393"/>
                <a:gd name="T68" fmla="*/ 894 w 947"/>
                <a:gd name="T69" fmla="*/ 331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7" h="1393">
                  <a:moveTo>
                    <a:pt x="947" y="1393"/>
                  </a:moveTo>
                  <a:lnTo>
                    <a:pt x="0" y="1393"/>
                  </a:lnTo>
                  <a:lnTo>
                    <a:pt x="0" y="0"/>
                  </a:lnTo>
                  <a:lnTo>
                    <a:pt x="947" y="0"/>
                  </a:lnTo>
                  <a:lnTo>
                    <a:pt x="947" y="1393"/>
                  </a:lnTo>
                  <a:close/>
                  <a:moveTo>
                    <a:pt x="894" y="638"/>
                  </a:moveTo>
                  <a:lnTo>
                    <a:pt x="50" y="638"/>
                  </a:lnTo>
                  <a:lnTo>
                    <a:pt x="50" y="903"/>
                  </a:lnTo>
                  <a:lnTo>
                    <a:pt x="894" y="903"/>
                  </a:lnTo>
                  <a:lnTo>
                    <a:pt x="894" y="638"/>
                  </a:lnTo>
                  <a:close/>
                  <a:moveTo>
                    <a:pt x="896" y="1244"/>
                  </a:moveTo>
                  <a:lnTo>
                    <a:pt x="502" y="1244"/>
                  </a:lnTo>
                  <a:lnTo>
                    <a:pt x="502" y="1368"/>
                  </a:lnTo>
                  <a:lnTo>
                    <a:pt x="896" y="1368"/>
                  </a:lnTo>
                  <a:lnTo>
                    <a:pt x="896" y="1244"/>
                  </a:lnTo>
                  <a:close/>
                  <a:moveTo>
                    <a:pt x="450" y="1246"/>
                  </a:moveTo>
                  <a:lnTo>
                    <a:pt x="59" y="1246"/>
                  </a:lnTo>
                  <a:lnTo>
                    <a:pt x="59" y="1393"/>
                  </a:lnTo>
                  <a:lnTo>
                    <a:pt x="450" y="1393"/>
                  </a:lnTo>
                  <a:lnTo>
                    <a:pt x="450" y="1246"/>
                  </a:lnTo>
                  <a:close/>
                  <a:moveTo>
                    <a:pt x="894" y="946"/>
                  </a:moveTo>
                  <a:lnTo>
                    <a:pt x="50" y="946"/>
                  </a:lnTo>
                  <a:lnTo>
                    <a:pt x="50" y="1211"/>
                  </a:lnTo>
                  <a:lnTo>
                    <a:pt x="894" y="1211"/>
                  </a:lnTo>
                  <a:lnTo>
                    <a:pt x="894" y="946"/>
                  </a:lnTo>
                  <a:close/>
                  <a:moveTo>
                    <a:pt x="894" y="31"/>
                  </a:moveTo>
                  <a:lnTo>
                    <a:pt x="50" y="31"/>
                  </a:lnTo>
                  <a:lnTo>
                    <a:pt x="50" y="296"/>
                  </a:lnTo>
                  <a:lnTo>
                    <a:pt x="894" y="296"/>
                  </a:lnTo>
                  <a:lnTo>
                    <a:pt x="894" y="31"/>
                  </a:lnTo>
                  <a:close/>
                  <a:moveTo>
                    <a:pt x="894" y="331"/>
                  </a:moveTo>
                  <a:lnTo>
                    <a:pt x="50" y="331"/>
                  </a:lnTo>
                  <a:lnTo>
                    <a:pt x="50" y="595"/>
                  </a:lnTo>
                  <a:lnTo>
                    <a:pt x="894" y="595"/>
                  </a:lnTo>
                  <a:lnTo>
                    <a:pt x="894" y="331"/>
                  </a:lnTo>
                  <a:close/>
                </a:path>
              </a:pathLst>
            </a:custGeom>
            <a:solidFill>
              <a:srgbClr val="F793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5" name="Group 104"/>
          <p:cNvGrpSpPr/>
          <p:nvPr/>
        </p:nvGrpSpPr>
        <p:grpSpPr>
          <a:xfrm>
            <a:off x="7347645" y="3191748"/>
            <a:ext cx="863943" cy="1193301"/>
            <a:chOff x="11050071" y="1898694"/>
            <a:chExt cx="713562" cy="985589"/>
          </a:xfrm>
        </p:grpSpPr>
        <p:sp>
          <p:nvSpPr>
            <p:cNvPr id="106" name="Freeform 24"/>
            <p:cNvSpPr>
              <a:spLocks noEditPoints="1"/>
            </p:cNvSpPr>
            <p:nvPr/>
          </p:nvSpPr>
          <p:spPr bwMode="auto">
            <a:xfrm>
              <a:off x="11263458" y="1898694"/>
              <a:ext cx="500175" cy="985589"/>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540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7" name="Freeform 25"/>
            <p:cNvSpPr>
              <a:spLocks noEditPoints="1"/>
            </p:cNvSpPr>
            <p:nvPr/>
          </p:nvSpPr>
          <p:spPr bwMode="auto">
            <a:xfrm>
              <a:off x="11063097" y="2048969"/>
              <a:ext cx="619142" cy="528832"/>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26"/>
            <p:cNvSpPr>
              <a:spLocks noEditPoints="1"/>
            </p:cNvSpPr>
            <p:nvPr/>
          </p:nvSpPr>
          <p:spPr bwMode="auto">
            <a:xfrm>
              <a:off x="11050071" y="2028997"/>
              <a:ext cx="632167" cy="548803"/>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61622843"/>
      </p:ext>
    </p:extLst>
  </p:cSld>
  <p:clrMapOvr>
    <a:masterClrMapping/>
  </p:clrMapOvr>
  <p:transition>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8" name="Group 157"/>
          <p:cNvGrpSpPr/>
          <p:nvPr/>
        </p:nvGrpSpPr>
        <p:grpSpPr>
          <a:xfrm>
            <a:off x="7041996" y="4757514"/>
            <a:ext cx="1032753" cy="371061"/>
            <a:chOff x="1305089" y="2190750"/>
            <a:chExt cx="744821" cy="267608"/>
          </a:xfrm>
        </p:grpSpPr>
        <p:sp>
          <p:nvSpPr>
            <p:cNvPr id="159" name="5-Point Star 158"/>
            <p:cNvSpPr/>
            <p:nvPr/>
          </p:nvSpPr>
          <p:spPr bwMode="auto">
            <a:xfrm>
              <a:off x="1543696"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5-Point Star 162"/>
            <p:cNvSpPr/>
            <p:nvPr/>
          </p:nvSpPr>
          <p:spPr bwMode="auto">
            <a:xfrm>
              <a:off x="1782302"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68" name="5-Point Star 167"/>
            <p:cNvSpPr/>
            <p:nvPr/>
          </p:nvSpPr>
          <p:spPr bwMode="auto">
            <a:xfrm>
              <a:off x="1305089"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1" name="Group 170"/>
          <p:cNvGrpSpPr/>
          <p:nvPr/>
        </p:nvGrpSpPr>
        <p:grpSpPr>
          <a:xfrm>
            <a:off x="9943367" y="4757493"/>
            <a:ext cx="1032875" cy="371102"/>
            <a:chOff x="1305089" y="2190750"/>
            <a:chExt cx="744821" cy="267608"/>
          </a:xfrm>
        </p:grpSpPr>
        <p:sp>
          <p:nvSpPr>
            <p:cNvPr id="172" name="5-Point Star 171"/>
            <p:cNvSpPr/>
            <p:nvPr/>
          </p:nvSpPr>
          <p:spPr bwMode="auto">
            <a:xfrm>
              <a:off x="1543696"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73" name="5-Point Star 172"/>
            <p:cNvSpPr/>
            <p:nvPr/>
          </p:nvSpPr>
          <p:spPr bwMode="auto">
            <a:xfrm>
              <a:off x="1782302"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74" name="5-Point Star 173"/>
            <p:cNvSpPr/>
            <p:nvPr/>
          </p:nvSpPr>
          <p:spPr bwMode="auto">
            <a:xfrm>
              <a:off x="1305089"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1" name="Group 190"/>
          <p:cNvGrpSpPr/>
          <p:nvPr/>
        </p:nvGrpSpPr>
        <p:grpSpPr>
          <a:xfrm>
            <a:off x="4335806" y="4751250"/>
            <a:ext cx="725606" cy="383589"/>
            <a:chOff x="1305089" y="2190750"/>
            <a:chExt cx="506215" cy="267608"/>
          </a:xfrm>
        </p:grpSpPr>
        <p:sp>
          <p:nvSpPr>
            <p:cNvPr id="195" name="5-Point Star 194"/>
            <p:cNvSpPr/>
            <p:nvPr/>
          </p:nvSpPr>
          <p:spPr bwMode="auto">
            <a:xfrm>
              <a:off x="1543696"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99" name="5-Point Star 198"/>
            <p:cNvSpPr/>
            <p:nvPr/>
          </p:nvSpPr>
          <p:spPr bwMode="auto">
            <a:xfrm>
              <a:off x="1305089"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5-Point Star 1"/>
          <p:cNvSpPr/>
          <p:nvPr/>
        </p:nvSpPr>
        <p:spPr bwMode="auto">
          <a:xfrm>
            <a:off x="1878804" y="2070571"/>
            <a:ext cx="400305" cy="400305"/>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 name="Group 4"/>
          <p:cNvGrpSpPr/>
          <p:nvPr/>
        </p:nvGrpSpPr>
        <p:grpSpPr>
          <a:xfrm>
            <a:off x="1706734" y="2602354"/>
            <a:ext cx="730493" cy="363914"/>
            <a:chOff x="1423596" y="1795370"/>
            <a:chExt cx="537176" cy="267608"/>
          </a:xfrm>
        </p:grpSpPr>
        <p:sp>
          <p:nvSpPr>
            <p:cNvPr id="138" name="5-Point Star 137"/>
            <p:cNvSpPr/>
            <p:nvPr/>
          </p:nvSpPr>
          <p:spPr bwMode="auto">
            <a:xfrm>
              <a:off x="1423596" y="179537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5-Point Star 139"/>
            <p:cNvSpPr/>
            <p:nvPr/>
          </p:nvSpPr>
          <p:spPr bwMode="auto">
            <a:xfrm>
              <a:off x="1693164" y="179537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p:cNvGrpSpPr/>
          <p:nvPr/>
        </p:nvGrpSpPr>
        <p:grpSpPr>
          <a:xfrm>
            <a:off x="1545580" y="3151423"/>
            <a:ext cx="1012865" cy="363914"/>
            <a:chOff x="1305089" y="2190750"/>
            <a:chExt cx="744821" cy="267608"/>
          </a:xfrm>
        </p:grpSpPr>
        <p:sp>
          <p:nvSpPr>
            <p:cNvPr id="141" name="5-Point Star 140"/>
            <p:cNvSpPr/>
            <p:nvPr/>
          </p:nvSpPr>
          <p:spPr bwMode="auto">
            <a:xfrm>
              <a:off x="1543696"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5-Point Star 141"/>
            <p:cNvSpPr/>
            <p:nvPr/>
          </p:nvSpPr>
          <p:spPr bwMode="auto">
            <a:xfrm>
              <a:off x="1782302"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5-Point Star 142"/>
            <p:cNvSpPr/>
            <p:nvPr/>
          </p:nvSpPr>
          <p:spPr bwMode="auto">
            <a:xfrm>
              <a:off x="1305089"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5650" name="TextBox 171"/>
          <p:cNvSpPr txBox="1">
            <a:spLocks noChangeArrowheads="1"/>
          </p:cNvSpPr>
          <p:nvPr/>
        </p:nvSpPr>
        <p:spPr bwMode="auto">
          <a:xfrm>
            <a:off x="3316193" y="1594214"/>
            <a:ext cx="2764834" cy="448831"/>
          </a:xfrm>
          <a:prstGeom prst="rect">
            <a:avLst/>
          </a:prstGeom>
          <a:solidFill>
            <a:schemeClr val="accent3"/>
          </a:solidFill>
          <a:ln>
            <a:noFill/>
            <a:headEnd/>
            <a:tailEnd/>
          </a:ln>
          <a:effectLst/>
        </p:spPr>
        <p:style>
          <a:lnRef idx="1">
            <a:schemeClr val="accent3"/>
          </a:lnRef>
          <a:fillRef idx="3">
            <a:schemeClr val="accent3"/>
          </a:fillRef>
          <a:effectRef idx="2">
            <a:schemeClr val="accent3"/>
          </a:effectRef>
          <a:fontRef idx="minor">
            <a:schemeClr val="lt1"/>
          </a:fontRef>
        </p:style>
        <p:txBody>
          <a:bodyPr/>
          <a:lstStyle/>
          <a:p>
            <a:pPr algn="ctr"/>
            <a:r>
              <a:rPr lang="en-US" sz="2000" dirty="0">
                <a:solidFill>
                  <a:srgbClr val="FFFFFF"/>
                </a:solidFill>
              </a:rPr>
              <a:t>Sessions</a:t>
            </a:r>
          </a:p>
        </p:txBody>
      </p:sp>
      <p:sp>
        <p:nvSpPr>
          <p:cNvPr id="65637" name="TextBox 311"/>
          <p:cNvSpPr txBox="1">
            <a:spLocks noChangeArrowheads="1"/>
          </p:cNvSpPr>
          <p:nvPr/>
        </p:nvSpPr>
        <p:spPr bwMode="auto">
          <a:xfrm>
            <a:off x="9052929" y="1594214"/>
            <a:ext cx="2764834" cy="448831"/>
          </a:xfrm>
          <a:prstGeom prst="rect">
            <a:avLst/>
          </a:prstGeom>
          <a:solidFill>
            <a:schemeClr val="accent3"/>
          </a:solidFill>
          <a:ln w="9525">
            <a:noFill/>
            <a:miter lim="800000"/>
            <a:headEnd/>
            <a:tailEnd/>
          </a:ln>
        </p:spPr>
        <p:txBody>
          <a:bodyPr/>
          <a:lstStyle/>
          <a:p>
            <a:pPr algn="ctr"/>
            <a:r>
              <a:rPr lang="en-US" sz="2000" dirty="0">
                <a:solidFill>
                  <a:srgbClr val="FFFFFF"/>
                </a:solidFill>
              </a:rPr>
              <a:t>Personal VMs</a:t>
            </a:r>
          </a:p>
        </p:txBody>
      </p:sp>
      <p:sp>
        <p:nvSpPr>
          <p:cNvPr id="65615" name="TextBox 308"/>
          <p:cNvSpPr txBox="1">
            <a:spLocks noChangeArrowheads="1"/>
          </p:cNvSpPr>
          <p:nvPr/>
        </p:nvSpPr>
        <p:spPr bwMode="auto">
          <a:xfrm>
            <a:off x="6184726" y="1594214"/>
            <a:ext cx="2764834" cy="448831"/>
          </a:xfrm>
          <a:prstGeom prst="rect">
            <a:avLst/>
          </a:prstGeom>
          <a:solidFill>
            <a:schemeClr val="accent3"/>
          </a:solidFill>
          <a:ln w="9525">
            <a:noFill/>
            <a:miter lim="800000"/>
            <a:headEnd/>
            <a:tailEnd/>
          </a:ln>
        </p:spPr>
        <p:txBody>
          <a:bodyPr/>
          <a:lstStyle/>
          <a:p>
            <a:pPr algn="ctr"/>
            <a:r>
              <a:rPr lang="en-US" sz="2000" dirty="0">
                <a:solidFill>
                  <a:srgbClr val="FFFFFF"/>
                </a:solidFill>
              </a:rPr>
              <a:t>Pooled VMs</a:t>
            </a:r>
          </a:p>
        </p:txBody>
      </p:sp>
      <p:graphicFrame>
        <p:nvGraphicFramePr>
          <p:cNvPr id="65538" name="Object 2"/>
          <p:cNvGraphicFramePr>
            <a:graphicFrameLocks noChangeAspect="1"/>
          </p:cNvGraphicFramePr>
          <p:nvPr/>
        </p:nvGraphicFramePr>
        <p:xfrm>
          <a:off x="882" y="0"/>
          <a:ext cx="161911" cy="161911"/>
        </p:xfrm>
        <a:graphic>
          <a:graphicData uri="http://schemas.openxmlformats.org/presentationml/2006/ole">
            <mc:AlternateContent xmlns:mc="http://schemas.openxmlformats.org/markup-compatibility/2006">
              <mc:Choice xmlns:v="urn:schemas-microsoft-com:vml" Requires="v">
                <p:oleObj spid="_x0000_s113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2" y="0"/>
                        <a:ext cx="161911" cy="1619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6" name="Title 1"/>
          <p:cNvSpPr>
            <a:spLocks noGrp="1"/>
          </p:cNvSpPr>
          <p:nvPr>
            <p:ph type="title" idx="4294967295"/>
            <p:custDataLst>
              <p:tags r:id="rId2"/>
            </p:custDataLst>
          </p:nvPr>
        </p:nvSpPr>
        <p:spPr>
          <a:xfrm>
            <a:off x="419099" y="405871"/>
            <a:ext cx="11991975" cy="546100"/>
          </a:xfrm>
          <a:prstGeom prst="rect">
            <a:avLst/>
          </a:prstGeom>
        </p:spPr>
        <p:txBody>
          <a:bodyPr vert="horz" wrap="square" lIns="0" tIns="0" rIns="0" bIns="0" rtlCol="0" anchor="t">
            <a:noAutofit/>
          </a:bodyPr>
          <a:lstStyle/>
          <a:p>
            <a:pPr>
              <a:defRPr/>
            </a:pPr>
            <a:r>
              <a:rPr lang="en-US" sz="4000" dirty="0"/>
              <a:t>Choosing the Right VDI </a:t>
            </a:r>
            <a:r>
              <a:rPr lang="en-US" sz="4000" dirty="0" smtClean="0"/>
              <a:t>Architecture</a:t>
            </a:r>
            <a:endParaRPr lang="en-US" sz="4000" dirty="0"/>
          </a:p>
        </p:txBody>
      </p:sp>
      <p:sp>
        <p:nvSpPr>
          <p:cNvPr id="120" name="TextBox 119"/>
          <p:cNvSpPr txBox="1">
            <a:spLocks noChangeArrowheads="1"/>
          </p:cNvSpPr>
          <p:nvPr/>
        </p:nvSpPr>
        <p:spPr bwMode="auto">
          <a:xfrm>
            <a:off x="329126" y="5371463"/>
            <a:ext cx="2579179" cy="403466"/>
          </a:xfrm>
          <a:prstGeom prst="rect">
            <a:avLst/>
          </a:prstGeom>
          <a:noFill/>
          <a:ln w="9525">
            <a:noFill/>
            <a:miter lim="800000"/>
            <a:headEnd/>
            <a:tailEnd/>
          </a:ln>
        </p:spPr>
        <p:txBody>
          <a:bodyPr wrap="square" lIns="94764" tIns="47382" rIns="94764" bIns="47382">
            <a:spAutoFit/>
          </a:bodyPr>
          <a:lstStyle/>
          <a:p>
            <a:r>
              <a:rPr lang="en-US" sz="2000" dirty="0">
                <a:solidFill>
                  <a:srgbClr val="404040"/>
                </a:solidFill>
              </a:rPr>
              <a:t>Ease of management </a:t>
            </a:r>
          </a:p>
        </p:txBody>
      </p:sp>
      <p:sp>
        <p:nvSpPr>
          <p:cNvPr id="121" name="TextBox 120"/>
          <p:cNvSpPr txBox="1">
            <a:spLocks noChangeArrowheads="1"/>
          </p:cNvSpPr>
          <p:nvPr/>
        </p:nvSpPr>
        <p:spPr bwMode="auto">
          <a:xfrm>
            <a:off x="346059" y="4748709"/>
            <a:ext cx="2579180" cy="403466"/>
          </a:xfrm>
          <a:prstGeom prst="rect">
            <a:avLst/>
          </a:prstGeom>
          <a:noFill/>
          <a:ln w="9525">
            <a:noFill/>
            <a:miter lim="800000"/>
            <a:headEnd/>
            <a:tailEnd/>
          </a:ln>
        </p:spPr>
        <p:txBody>
          <a:bodyPr wrap="square" lIns="94764" tIns="47382" rIns="94764" bIns="47382">
            <a:spAutoFit/>
          </a:bodyPr>
          <a:lstStyle/>
          <a:p>
            <a:r>
              <a:rPr lang="en-US" sz="2000" dirty="0">
                <a:solidFill>
                  <a:srgbClr val="404040"/>
                </a:solidFill>
              </a:rPr>
              <a:t>App compatibility</a:t>
            </a:r>
          </a:p>
        </p:txBody>
      </p:sp>
      <p:sp>
        <p:nvSpPr>
          <p:cNvPr id="122" name="TextBox 121"/>
          <p:cNvSpPr txBox="1">
            <a:spLocks noChangeArrowheads="1"/>
          </p:cNvSpPr>
          <p:nvPr/>
        </p:nvSpPr>
        <p:spPr bwMode="auto">
          <a:xfrm>
            <a:off x="325969" y="4199953"/>
            <a:ext cx="2737898" cy="403466"/>
          </a:xfrm>
          <a:prstGeom prst="rect">
            <a:avLst/>
          </a:prstGeom>
          <a:noFill/>
          <a:ln w="9525">
            <a:noFill/>
            <a:miter lim="800000"/>
            <a:headEnd/>
            <a:tailEnd/>
          </a:ln>
        </p:spPr>
        <p:txBody>
          <a:bodyPr wrap="square" lIns="94764" tIns="47382" rIns="94764" bIns="47382">
            <a:spAutoFit/>
          </a:bodyPr>
          <a:lstStyle/>
          <a:p>
            <a:r>
              <a:rPr lang="en-US" sz="2000" dirty="0">
                <a:solidFill>
                  <a:srgbClr val="404040"/>
                </a:solidFill>
              </a:rPr>
              <a:t>Personalization</a:t>
            </a:r>
          </a:p>
        </p:txBody>
      </p:sp>
      <p:sp>
        <p:nvSpPr>
          <p:cNvPr id="123" name="TextBox 122"/>
          <p:cNvSpPr txBox="1">
            <a:spLocks noChangeArrowheads="1"/>
          </p:cNvSpPr>
          <p:nvPr/>
        </p:nvSpPr>
        <p:spPr bwMode="auto">
          <a:xfrm>
            <a:off x="346060" y="5961518"/>
            <a:ext cx="2579179" cy="403466"/>
          </a:xfrm>
          <a:prstGeom prst="rect">
            <a:avLst/>
          </a:prstGeom>
          <a:noFill/>
          <a:ln w="9525">
            <a:noFill/>
            <a:miter lim="800000"/>
            <a:headEnd/>
            <a:tailEnd/>
          </a:ln>
        </p:spPr>
        <p:txBody>
          <a:bodyPr wrap="square" lIns="94764" tIns="47382" rIns="94764" bIns="47382">
            <a:spAutoFit/>
          </a:bodyPr>
          <a:lstStyle/>
          <a:p>
            <a:r>
              <a:rPr lang="en-US" sz="2000" dirty="0">
                <a:solidFill>
                  <a:srgbClr val="404040"/>
                </a:solidFill>
              </a:rPr>
              <a:t>Cost effectiveness</a:t>
            </a:r>
          </a:p>
        </p:txBody>
      </p:sp>
      <p:sp>
        <p:nvSpPr>
          <p:cNvPr id="136" name="TextBox 135"/>
          <p:cNvSpPr txBox="1"/>
          <p:nvPr/>
        </p:nvSpPr>
        <p:spPr>
          <a:xfrm>
            <a:off x="354213" y="2066689"/>
            <a:ext cx="1198628" cy="400110"/>
          </a:xfrm>
          <a:prstGeom prst="rect">
            <a:avLst/>
          </a:prstGeom>
          <a:noFill/>
        </p:spPr>
        <p:txBody>
          <a:bodyPr wrap="square" rtlCol="0">
            <a:spAutoFit/>
          </a:bodyPr>
          <a:lstStyle/>
          <a:p>
            <a:r>
              <a:rPr lang="en-US" sz="2000" dirty="0">
                <a:solidFill>
                  <a:srgbClr val="404040"/>
                </a:solidFill>
              </a:rPr>
              <a:t>Good</a:t>
            </a:r>
          </a:p>
        </p:txBody>
      </p:sp>
      <p:sp>
        <p:nvSpPr>
          <p:cNvPr id="137" name="TextBox 136"/>
          <p:cNvSpPr txBox="1"/>
          <p:nvPr/>
        </p:nvSpPr>
        <p:spPr>
          <a:xfrm>
            <a:off x="328812" y="2594301"/>
            <a:ext cx="1198628" cy="400110"/>
          </a:xfrm>
          <a:prstGeom prst="rect">
            <a:avLst/>
          </a:prstGeom>
          <a:noFill/>
        </p:spPr>
        <p:txBody>
          <a:bodyPr wrap="square" rtlCol="0">
            <a:spAutoFit/>
          </a:bodyPr>
          <a:lstStyle/>
          <a:p>
            <a:r>
              <a:rPr lang="en-US" sz="2000" dirty="0">
                <a:solidFill>
                  <a:srgbClr val="404040"/>
                </a:solidFill>
              </a:rPr>
              <a:t>Better</a:t>
            </a:r>
          </a:p>
        </p:txBody>
      </p:sp>
      <p:sp>
        <p:nvSpPr>
          <p:cNvPr id="139" name="TextBox 138"/>
          <p:cNvSpPr txBox="1"/>
          <p:nvPr/>
        </p:nvSpPr>
        <p:spPr>
          <a:xfrm>
            <a:off x="328812" y="3150512"/>
            <a:ext cx="849436" cy="400110"/>
          </a:xfrm>
          <a:prstGeom prst="rect">
            <a:avLst/>
          </a:prstGeom>
          <a:noFill/>
        </p:spPr>
        <p:txBody>
          <a:bodyPr wrap="square" rtlCol="0">
            <a:spAutoFit/>
          </a:bodyPr>
          <a:lstStyle/>
          <a:p>
            <a:r>
              <a:rPr lang="en-US" sz="2000" dirty="0">
                <a:solidFill>
                  <a:srgbClr val="404040"/>
                </a:solidFill>
              </a:rPr>
              <a:t>Best</a:t>
            </a:r>
          </a:p>
        </p:txBody>
      </p:sp>
      <p:grpSp>
        <p:nvGrpSpPr>
          <p:cNvPr id="149" name="Group 148"/>
          <p:cNvGrpSpPr/>
          <p:nvPr/>
        </p:nvGrpSpPr>
        <p:grpSpPr>
          <a:xfrm>
            <a:off x="4223423" y="5395067"/>
            <a:ext cx="950371" cy="341462"/>
            <a:chOff x="1305089" y="2190750"/>
            <a:chExt cx="744821" cy="267608"/>
          </a:xfrm>
        </p:grpSpPr>
        <p:sp>
          <p:nvSpPr>
            <p:cNvPr id="150" name="5-Point Star 149"/>
            <p:cNvSpPr/>
            <p:nvPr/>
          </p:nvSpPr>
          <p:spPr bwMode="auto">
            <a:xfrm>
              <a:off x="1543696"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5-Point Star 155"/>
            <p:cNvSpPr/>
            <p:nvPr/>
          </p:nvSpPr>
          <p:spPr bwMode="auto">
            <a:xfrm>
              <a:off x="1782302"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5-Point Star 156"/>
            <p:cNvSpPr/>
            <p:nvPr/>
          </p:nvSpPr>
          <p:spPr bwMode="auto">
            <a:xfrm>
              <a:off x="1305089"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75" name="Group 174"/>
          <p:cNvGrpSpPr/>
          <p:nvPr/>
        </p:nvGrpSpPr>
        <p:grpSpPr>
          <a:xfrm>
            <a:off x="9937374" y="4059388"/>
            <a:ext cx="1069091" cy="384116"/>
            <a:chOff x="1305089" y="2190750"/>
            <a:chExt cx="744821" cy="267608"/>
          </a:xfrm>
        </p:grpSpPr>
        <p:sp>
          <p:nvSpPr>
            <p:cNvPr id="176" name="5-Point Star 175"/>
            <p:cNvSpPr/>
            <p:nvPr/>
          </p:nvSpPr>
          <p:spPr bwMode="auto">
            <a:xfrm>
              <a:off x="1543696"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5-Point Star 176"/>
            <p:cNvSpPr/>
            <p:nvPr/>
          </p:nvSpPr>
          <p:spPr bwMode="auto">
            <a:xfrm>
              <a:off x="1782302"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5-Point Star 181"/>
            <p:cNvSpPr/>
            <p:nvPr/>
          </p:nvSpPr>
          <p:spPr bwMode="auto">
            <a:xfrm>
              <a:off x="1305089"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00" name="Group 199"/>
          <p:cNvGrpSpPr/>
          <p:nvPr/>
        </p:nvGrpSpPr>
        <p:grpSpPr>
          <a:xfrm>
            <a:off x="4347922" y="4066058"/>
            <a:ext cx="701373" cy="370776"/>
            <a:chOff x="1305089" y="2190750"/>
            <a:chExt cx="506215" cy="267608"/>
          </a:xfrm>
        </p:grpSpPr>
        <p:sp>
          <p:nvSpPr>
            <p:cNvPr id="201" name="5-Point Star 200"/>
            <p:cNvSpPr/>
            <p:nvPr/>
          </p:nvSpPr>
          <p:spPr bwMode="auto">
            <a:xfrm>
              <a:off x="1543696"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202" name="5-Point Star 201"/>
            <p:cNvSpPr/>
            <p:nvPr/>
          </p:nvSpPr>
          <p:spPr bwMode="auto">
            <a:xfrm>
              <a:off x="1305089"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3" name="Group 212"/>
          <p:cNvGrpSpPr/>
          <p:nvPr/>
        </p:nvGrpSpPr>
        <p:grpSpPr>
          <a:xfrm>
            <a:off x="7186650" y="5375791"/>
            <a:ext cx="718847" cy="380015"/>
            <a:chOff x="1305089" y="2190750"/>
            <a:chExt cx="506215" cy="267608"/>
          </a:xfrm>
        </p:grpSpPr>
        <p:sp>
          <p:nvSpPr>
            <p:cNvPr id="214" name="5-Point Star 213"/>
            <p:cNvSpPr/>
            <p:nvPr/>
          </p:nvSpPr>
          <p:spPr bwMode="auto">
            <a:xfrm>
              <a:off x="1543696"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5-Point Star 215"/>
            <p:cNvSpPr/>
            <p:nvPr/>
          </p:nvSpPr>
          <p:spPr bwMode="auto">
            <a:xfrm>
              <a:off x="1305089"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7" name="Group 216"/>
          <p:cNvGrpSpPr/>
          <p:nvPr/>
        </p:nvGrpSpPr>
        <p:grpSpPr>
          <a:xfrm>
            <a:off x="7230100" y="4066057"/>
            <a:ext cx="701375" cy="370778"/>
            <a:chOff x="1305089" y="2190750"/>
            <a:chExt cx="506215" cy="267608"/>
          </a:xfrm>
        </p:grpSpPr>
        <p:sp>
          <p:nvSpPr>
            <p:cNvPr id="219" name="5-Point Star 218"/>
            <p:cNvSpPr/>
            <p:nvPr/>
          </p:nvSpPr>
          <p:spPr bwMode="auto">
            <a:xfrm>
              <a:off x="1543696"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5-Point Star 219"/>
            <p:cNvSpPr/>
            <p:nvPr/>
          </p:nvSpPr>
          <p:spPr bwMode="auto">
            <a:xfrm>
              <a:off x="1305089"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3" name="5-Point Star 222"/>
          <p:cNvSpPr/>
          <p:nvPr/>
        </p:nvSpPr>
        <p:spPr bwMode="auto">
          <a:xfrm>
            <a:off x="10287942" y="5381819"/>
            <a:ext cx="367958" cy="36795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5" name="Group 224"/>
          <p:cNvGrpSpPr/>
          <p:nvPr/>
        </p:nvGrpSpPr>
        <p:grpSpPr>
          <a:xfrm>
            <a:off x="4212079" y="5981047"/>
            <a:ext cx="973060" cy="349611"/>
            <a:chOff x="1305089" y="2190750"/>
            <a:chExt cx="744821" cy="267608"/>
          </a:xfrm>
        </p:grpSpPr>
        <p:sp>
          <p:nvSpPr>
            <p:cNvPr id="226" name="5-Point Star 225"/>
            <p:cNvSpPr/>
            <p:nvPr/>
          </p:nvSpPr>
          <p:spPr bwMode="auto">
            <a:xfrm>
              <a:off x="1543696"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5-Point Star 226"/>
            <p:cNvSpPr/>
            <p:nvPr/>
          </p:nvSpPr>
          <p:spPr bwMode="auto">
            <a:xfrm>
              <a:off x="1782302"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5-Point Star 227"/>
            <p:cNvSpPr/>
            <p:nvPr/>
          </p:nvSpPr>
          <p:spPr bwMode="auto">
            <a:xfrm>
              <a:off x="1305089"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29" name="Group 228"/>
          <p:cNvGrpSpPr/>
          <p:nvPr/>
        </p:nvGrpSpPr>
        <p:grpSpPr>
          <a:xfrm>
            <a:off x="7192841" y="5969119"/>
            <a:ext cx="706464" cy="373468"/>
            <a:chOff x="1305089" y="2190750"/>
            <a:chExt cx="506215" cy="267608"/>
          </a:xfrm>
        </p:grpSpPr>
        <p:sp>
          <p:nvSpPr>
            <p:cNvPr id="230" name="5-Point Star 229"/>
            <p:cNvSpPr/>
            <p:nvPr/>
          </p:nvSpPr>
          <p:spPr bwMode="auto">
            <a:xfrm>
              <a:off x="1543696"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5-Point Star 230"/>
            <p:cNvSpPr/>
            <p:nvPr/>
          </p:nvSpPr>
          <p:spPr bwMode="auto">
            <a:xfrm>
              <a:off x="1305089" y="2190750"/>
              <a:ext cx="267608" cy="267608"/>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32" name="5-Point Star 231"/>
          <p:cNvSpPr/>
          <p:nvPr/>
        </p:nvSpPr>
        <p:spPr bwMode="auto">
          <a:xfrm>
            <a:off x="10258260" y="5962304"/>
            <a:ext cx="387097" cy="387097"/>
          </a:xfrm>
          <a:prstGeom prst="star5">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a:endParaRPr lang="en-US" sz="2448" spc="-6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p:nvGrpSpPr>
        <p:grpSpPr>
          <a:xfrm>
            <a:off x="6803301" y="2137457"/>
            <a:ext cx="1761844" cy="1313797"/>
            <a:chOff x="6803301" y="2374533"/>
            <a:chExt cx="1761844" cy="1313797"/>
          </a:xfrm>
        </p:grpSpPr>
        <p:grpSp>
          <p:nvGrpSpPr>
            <p:cNvPr id="65597" name="Group 313"/>
            <p:cNvGrpSpPr>
              <a:grpSpLocks/>
            </p:cNvGrpSpPr>
            <p:nvPr/>
          </p:nvGrpSpPr>
          <p:grpSpPr bwMode="auto">
            <a:xfrm>
              <a:off x="6987946" y="2374533"/>
              <a:ext cx="1577199" cy="1313797"/>
              <a:chOff x="7124317" y="1911485"/>
              <a:chExt cx="769907" cy="641245"/>
            </a:xfrm>
          </p:grpSpPr>
          <p:grpSp>
            <p:nvGrpSpPr>
              <p:cNvPr id="65598" name="Group 23"/>
              <p:cNvGrpSpPr>
                <a:grpSpLocks/>
              </p:cNvGrpSpPr>
              <p:nvPr/>
            </p:nvGrpSpPr>
            <p:grpSpPr bwMode="auto">
              <a:xfrm>
                <a:off x="7246547" y="1911485"/>
                <a:ext cx="647677" cy="641245"/>
                <a:chOff x="10182538" y="2584807"/>
                <a:chExt cx="837231" cy="738944"/>
              </a:xfrm>
            </p:grpSpPr>
            <p:sp>
              <p:nvSpPr>
                <p:cNvPr id="194" name="Rectangle 193"/>
                <p:cNvSpPr/>
                <p:nvPr/>
              </p:nvSpPr>
              <p:spPr bwMode="auto">
                <a:xfrm>
                  <a:off x="10336445" y="2747669"/>
                  <a:ext cx="258557" cy="210344"/>
                </a:xfrm>
                <a:prstGeom prst="rect">
                  <a:avLst/>
                </a:prstGeom>
                <a:solidFill>
                  <a:srgbClr val="FFFFFF">
                    <a:alpha val="14118"/>
                  </a:srgbClr>
                </a:solidFill>
                <a:ln w="222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sp>
              <p:nvSpPr>
                <p:cNvPr id="183" name="Oval 21"/>
                <p:cNvSpPr/>
                <p:nvPr/>
              </p:nvSpPr>
              <p:spPr>
                <a:xfrm>
                  <a:off x="10182538" y="2584807"/>
                  <a:ext cx="837231" cy="738944"/>
                </a:xfrm>
                <a:prstGeom prst="ellipse">
                  <a:avLst/>
                </a:prstGeom>
                <a:noFill/>
                <a:ln w="19050" cap="flat" cmpd="sng" algn="ctr">
                  <a:solidFill>
                    <a:schemeClr val="accent3"/>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sp>
              <p:nvSpPr>
                <p:cNvPr id="190" name="Rectangle 189"/>
                <p:cNvSpPr/>
                <p:nvPr/>
              </p:nvSpPr>
              <p:spPr bwMode="auto">
                <a:xfrm>
                  <a:off x="10465719" y="3027443"/>
                  <a:ext cx="258557" cy="214000"/>
                </a:xfrm>
                <a:prstGeom prst="rect">
                  <a:avLst/>
                </a:prstGeom>
                <a:solidFill>
                  <a:srgbClr val="FFFFFF">
                    <a:alpha val="14118"/>
                  </a:srgbClr>
                </a:solidFill>
                <a:ln w="222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sp>
              <p:nvSpPr>
                <p:cNvPr id="186" name="Rectangle 185"/>
                <p:cNvSpPr/>
                <p:nvPr/>
              </p:nvSpPr>
              <p:spPr bwMode="auto">
                <a:xfrm>
                  <a:off x="10640142" y="2747593"/>
                  <a:ext cx="260609" cy="210344"/>
                </a:xfrm>
                <a:prstGeom prst="rect">
                  <a:avLst/>
                </a:prstGeom>
                <a:solidFill>
                  <a:srgbClr val="FFFFFF">
                    <a:alpha val="14118"/>
                  </a:srgbClr>
                </a:solidFill>
                <a:ln w="222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a:solidFill>
                      <a:srgbClr val="FFFFFF"/>
                    </a:solidFill>
                    <a:ea typeface="ＭＳ Ｐゴシック" pitchFamily="-103" charset="-128"/>
                  </a:endParaRPr>
                </a:p>
              </p:txBody>
            </p:sp>
          </p:grpSp>
          <p:grpSp>
            <p:nvGrpSpPr>
              <p:cNvPr id="65599" name="Group 312"/>
              <p:cNvGrpSpPr>
                <a:grpSpLocks/>
              </p:cNvGrpSpPr>
              <p:nvPr/>
            </p:nvGrpSpPr>
            <p:grpSpPr bwMode="auto">
              <a:xfrm>
                <a:off x="7124317" y="2071796"/>
                <a:ext cx="112709" cy="409507"/>
                <a:chOff x="7124317" y="2071796"/>
                <a:chExt cx="112709" cy="409507"/>
              </a:xfrm>
            </p:grpSpPr>
            <p:cxnSp>
              <p:nvCxnSpPr>
                <p:cNvPr id="178" name="Straight Connector 177"/>
                <p:cNvCxnSpPr/>
                <p:nvPr/>
              </p:nvCxnSpPr>
              <p:spPr>
                <a:xfrm>
                  <a:off x="7124317" y="2071796"/>
                  <a:ext cx="90485" cy="80950"/>
                </a:xfrm>
                <a:prstGeom prst="line">
                  <a:avLst/>
                </a:prstGeom>
                <a:ln w="22225">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flipV="1">
                  <a:off x="7144954" y="2379720"/>
                  <a:ext cx="92072" cy="101583"/>
                </a:xfrm>
                <a:prstGeom prst="line">
                  <a:avLst/>
                </a:prstGeom>
                <a:ln w="22225">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grpSp>
        <p:sp>
          <p:nvSpPr>
            <p:cNvPr id="128" name="Freeform 127"/>
            <p:cNvSpPr>
              <a:spLocks noEditPoints="1"/>
            </p:cNvSpPr>
            <p:nvPr/>
          </p:nvSpPr>
          <p:spPr bwMode="auto">
            <a:xfrm>
              <a:off x="6834486" y="3138139"/>
              <a:ext cx="294149" cy="444414"/>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29" name="Freeform 128"/>
            <p:cNvSpPr>
              <a:spLocks noEditPoints="1"/>
            </p:cNvSpPr>
            <p:nvPr/>
          </p:nvSpPr>
          <p:spPr bwMode="auto">
            <a:xfrm>
              <a:off x="6803301" y="2461019"/>
              <a:ext cx="294149" cy="444414"/>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nvGrpSpPr>
            <p:cNvPr id="147" name="Group 146"/>
            <p:cNvGrpSpPr>
              <a:grpSpLocks noChangeAspect="1"/>
            </p:cNvGrpSpPr>
            <p:nvPr/>
          </p:nvGrpSpPr>
          <p:grpSpPr bwMode="auto">
            <a:xfrm>
              <a:off x="7537595" y="2721189"/>
              <a:ext cx="301303" cy="274774"/>
              <a:chOff x="4755" y="2434"/>
              <a:chExt cx="1238" cy="1129"/>
            </a:xfrm>
          </p:grpSpPr>
          <p:sp>
            <p:nvSpPr>
              <p:cNvPr id="148" name="Freeform 147"/>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4" name="Freeform 183"/>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5" name="Freeform 184"/>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187" name="Group 186"/>
            <p:cNvGrpSpPr>
              <a:grpSpLocks noChangeAspect="1"/>
            </p:cNvGrpSpPr>
            <p:nvPr/>
          </p:nvGrpSpPr>
          <p:grpSpPr bwMode="auto">
            <a:xfrm>
              <a:off x="7741335" y="3211943"/>
              <a:ext cx="301303" cy="274774"/>
              <a:chOff x="4755" y="2434"/>
              <a:chExt cx="1238" cy="1129"/>
            </a:xfrm>
          </p:grpSpPr>
          <p:sp>
            <p:nvSpPr>
              <p:cNvPr id="198" name="Freeform 197"/>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09" name="Freeform 208"/>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10" name="Freeform 209"/>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211" name="Group 210"/>
            <p:cNvGrpSpPr>
              <a:grpSpLocks noChangeAspect="1"/>
            </p:cNvGrpSpPr>
            <p:nvPr/>
          </p:nvGrpSpPr>
          <p:grpSpPr bwMode="auto">
            <a:xfrm>
              <a:off x="8019378" y="2721189"/>
              <a:ext cx="301303" cy="274774"/>
              <a:chOff x="4755" y="2434"/>
              <a:chExt cx="1238" cy="1129"/>
            </a:xfrm>
          </p:grpSpPr>
          <p:sp>
            <p:nvSpPr>
              <p:cNvPr id="221" name="Freeform 220"/>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22" name="Freeform 221"/>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24" name="Freeform 223"/>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grpSp>
        <p:nvGrpSpPr>
          <p:cNvPr id="12" name="Group 11"/>
          <p:cNvGrpSpPr/>
          <p:nvPr/>
        </p:nvGrpSpPr>
        <p:grpSpPr>
          <a:xfrm>
            <a:off x="9927187" y="2206977"/>
            <a:ext cx="1152790" cy="1228998"/>
            <a:chOff x="9927187" y="2444053"/>
            <a:chExt cx="1152790" cy="1228998"/>
          </a:xfrm>
        </p:grpSpPr>
        <p:grpSp>
          <p:nvGrpSpPr>
            <p:cNvPr id="65617" name="Group 264"/>
            <p:cNvGrpSpPr>
              <a:grpSpLocks/>
            </p:cNvGrpSpPr>
            <p:nvPr/>
          </p:nvGrpSpPr>
          <p:grpSpPr bwMode="auto">
            <a:xfrm>
              <a:off x="10228447" y="2736593"/>
              <a:ext cx="330297" cy="729496"/>
              <a:chOff x="8315029" y="1967905"/>
              <a:chExt cx="242879" cy="536351"/>
            </a:xfrm>
          </p:grpSpPr>
          <p:cxnSp>
            <p:nvCxnSpPr>
              <p:cNvPr id="203" name="Straight Connector 202"/>
              <p:cNvCxnSpPr/>
              <p:nvPr/>
            </p:nvCxnSpPr>
            <p:spPr>
              <a:xfrm>
                <a:off x="8315029" y="1967905"/>
                <a:ext cx="242878" cy="0"/>
              </a:xfrm>
              <a:prstGeom prst="line">
                <a:avLst/>
              </a:prstGeom>
              <a:ln w="25400">
                <a:solidFill>
                  <a:srgbClr val="0071BC"/>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flipV="1">
                <a:off x="8322966" y="2204404"/>
                <a:ext cx="231767" cy="1587"/>
              </a:xfrm>
              <a:prstGeom prst="line">
                <a:avLst/>
              </a:prstGeom>
              <a:ln w="25400">
                <a:solidFill>
                  <a:srgbClr val="0071BC"/>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8322966" y="2502544"/>
                <a:ext cx="234942" cy="1712"/>
              </a:xfrm>
              <a:prstGeom prst="line">
                <a:avLst/>
              </a:prstGeom>
              <a:ln w="25400">
                <a:solidFill>
                  <a:srgbClr val="0071BC"/>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30" name="Freeform 129"/>
            <p:cNvSpPr>
              <a:spLocks noEditPoints="1"/>
            </p:cNvSpPr>
            <p:nvPr/>
          </p:nvSpPr>
          <p:spPr bwMode="auto">
            <a:xfrm>
              <a:off x="9937374" y="2446061"/>
              <a:ext cx="248867" cy="376000"/>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31" name="Freeform 130"/>
            <p:cNvSpPr>
              <a:spLocks noEditPoints="1"/>
            </p:cNvSpPr>
            <p:nvPr/>
          </p:nvSpPr>
          <p:spPr bwMode="auto">
            <a:xfrm>
              <a:off x="9927187" y="2852877"/>
              <a:ext cx="248867" cy="376000"/>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32" name="Freeform 131"/>
            <p:cNvSpPr>
              <a:spLocks noEditPoints="1"/>
            </p:cNvSpPr>
            <p:nvPr/>
          </p:nvSpPr>
          <p:spPr bwMode="auto">
            <a:xfrm>
              <a:off x="9937374" y="3280852"/>
              <a:ext cx="248867" cy="376000"/>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34" name="Rectangle 233"/>
            <p:cNvSpPr/>
            <p:nvPr/>
          </p:nvSpPr>
          <p:spPr bwMode="auto">
            <a:xfrm>
              <a:off x="10650042" y="2444053"/>
              <a:ext cx="413001" cy="373979"/>
            </a:xfrm>
            <a:prstGeom prst="rect">
              <a:avLst/>
            </a:prstGeom>
            <a:solidFill>
              <a:srgbClr val="FFFFFF">
                <a:alpha val="14118"/>
              </a:srgbClr>
            </a:solidFill>
            <a:ln w="222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dirty="0">
                <a:solidFill>
                  <a:srgbClr val="FFFFFF"/>
                </a:solidFill>
                <a:ea typeface="ＭＳ Ｐゴシック" pitchFamily="-103" charset="-128"/>
              </a:endParaRPr>
            </a:p>
          </p:txBody>
        </p:sp>
        <p:sp>
          <p:nvSpPr>
            <p:cNvPr id="235" name="Rectangle 234"/>
            <p:cNvSpPr/>
            <p:nvPr/>
          </p:nvSpPr>
          <p:spPr bwMode="auto">
            <a:xfrm>
              <a:off x="10655900" y="2867466"/>
              <a:ext cx="413001" cy="373979"/>
            </a:xfrm>
            <a:prstGeom prst="rect">
              <a:avLst/>
            </a:prstGeom>
            <a:solidFill>
              <a:srgbClr val="FFFFFF">
                <a:alpha val="14118"/>
              </a:srgbClr>
            </a:solidFill>
            <a:ln w="222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dirty="0">
                <a:solidFill>
                  <a:srgbClr val="FFFFFF"/>
                </a:solidFill>
                <a:ea typeface="ＭＳ Ｐゴシック" pitchFamily="-103" charset="-128"/>
              </a:endParaRPr>
            </a:p>
          </p:txBody>
        </p:sp>
        <p:sp>
          <p:nvSpPr>
            <p:cNvPr id="236" name="Rectangle 235"/>
            <p:cNvSpPr/>
            <p:nvPr/>
          </p:nvSpPr>
          <p:spPr bwMode="auto">
            <a:xfrm>
              <a:off x="10666976" y="3299072"/>
              <a:ext cx="413001" cy="373979"/>
            </a:xfrm>
            <a:prstGeom prst="rect">
              <a:avLst/>
            </a:prstGeom>
            <a:solidFill>
              <a:srgbClr val="FFFFFF">
                <a:alpha val="14118"/>
              </a:srgbClr>
            </a:solidFill>
            <a:ln w="2222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2448" dirty="0">
                <a:solidFill>
                  <a:srgbClr val="FFFFFF"/>
                </a:solidFill>
                <a:ea typeface="ＭＳ Ｐゴシック" pitchFamily="-103" charset="-128"/>
              </a:endParaRPr>
            </a:p>
          </p:txBody>
        </p:sp>
        <p:grpSp>
          <p:nvGrpSpPr>
            <p:cNvPr id="237" name="Group 236"/>
            <p:cNvGrpSpPr>
              <a:grpSpLocks noChangeAspect="1"/>
            </p:cNvGrpSpPr>
            <p:nvPr/>
          </p:nvGrpSpPr>
          <p:grpSpPr bwMode="auto">
            <a:xfrm>
              <a:off x="10722824" y="3348674"/>
              <a:ext cx="301303" cy="274774"/>
              <a:chOff x="4755" y="2434"/>
              <a:chExt cx="1238" cy="1129"/>
            </a:xfrm>
          </p:grpSpPr>
          <p:sp>
            <p:nvSpPr>
              <p:cNvPr id="238" name="Freeform 237"/>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39" name="Freeform 238"/>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40" name="Freeform 239"/>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241" name="Group 240"/>
            <p:cNvGrpSpPr>
              <a:grpSpLocks noChangeAspect="1"/>
            </p:cNvGrpSpPr>
            <p:nvPr/>
          </p:nvGrpSpPr>
          <p:grpSpPr bwMode="auto">
            <a:xfrm>
              <a:off x="10711748" y="2924588"/>
              <a:ext cx="301303" cy="274774"/>
              <a:chOff x="4755" y="2434"/>
              <a:chExt cx="1238" cy="1129"/>
            </a:xfrm>
          </p:grpSpPr>
          <p:sp>
            <p:nvSpPr>
              <p:cNvPr id="242" name="Freeform 241"/>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43" name="Freeform 242"/>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44" name="Freeform 243"/>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nvGrpSpPr>
            <p:cNvPr id="245" name="Group 244"/>
            <p:cNvGrpSpPr>
              <a:grpSpLocks noChangeAspect="1"/>
            </p:cNvGrpSpPr>
            <p:nvPr/>
          </p:nvGrpSpPr>
          <p:grpSpPr bwMode="auto">
            <a:xfrm>
              <a:off x="10702739" y="2503820"/>
              <a:ext cx="301303" cy="274774"/>
              <a:chOff x="4755" y="2434"/>
              <a:chExt cx="1238" cy="1129"/>
            </a:xfrm>
          </p:grpSpPr>
          <p:sp>
            <p:nvSpPr>
              <p:cNvPr id="246" name="Freeform 245"/>
              <p:cNvSpPr>
                <a:spLocks noEditPoints="1"/>
              </p:cNvSpPr>
              <p:nvPr/>
            </p:nvSpPr>
            <p:spPr bwMode="auto">
              <a:xfrm>
                <a:off x="5403" y="2434"/>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9525" cap="flat">
                <a:solidFill>
                  <a:srgbClr val="3D5800"/>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47" name="Freeform 246"/>
              <p:cNvSpPr>
                <a:spLocks/>
              </p:cNvSpPr>
              <p:nvPr/>
            </p:nvSpPr>
            <p:spPr bwMode="auto">
              <a:xfrm>
                <a:off x="4801" y="2828"/>
                <a:ext cx="832" cy="58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248" name="Freeform 247"/>
              <p:cNvSpPr>
                <a:spLocks noEditPoints="1"/>
              </p:cNvSpPr>
              <p:nvPr/>
            </p:nvSpPr>
            <p:spPr bwMode="auto">
              <a:xfrm>
                <a:off x="4755" y="2792"/>
                <a:ext cx="903" cy="771"/>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grpSp>
      </p:grpSp>
      <p:grpSp>
        <p:nvGrpSpPr>
          <p:cNvPr id="152" name="Group 151"/>
          <p:cNvGrpSpPr/>
          <p:nvPr/>
        </p:nvGrpSpPr>
        <p:grpSpPr>
          <a:xfrm>
            <a:off x="3982941" y="2140879"/>
            <a:ext cx="1100737" cy="1520367"/>
            <a:chOff x="11050071" y="1898694"/>
            <a:chExt cx="713562" cy="985589"/>
          </a:xfrm>
        </p:grpSpPr>
        <p:sp>
          <p:nvSpPr>
            <p:cNvPr id="153" name="Freeform 24"/>
            <p:cNvSpPr>
              <a:spLocks noEditPoints="1"/>
            </p:cNvSpPr>
            <p:nvPr/>
          </p:nvSpPr>
          <p:spPr bwMode="auto">
            <a:xfrm>
              <a:off x="11263458" y="1898694"/>
              <a:ext cx="500175" cy="985589"/>
            </a:xfrm>
            <a:custGeom>
              <a:avLst/>
              <a:gdLst>
                <a:gd name="T0" fmla="*/ 112 w 991"/>
                <a:gd name="T1" fmla="*/ 1688 h 1955"/>
                <a:gd name="T2" fmla="*/ 112 w 991"/>
                <a:gd name="T3" fmla="*/ 1756 h 1955"/>
                <a:gd name="T4" fmla="*/ 880 w 991"/>
                <a:gd name="T5" fmla="*/ 1756 h 1955"/>
                <a:gd name="T6" fmla="*/ 880 w 991"/>
                <a:gd name="T7" fmla="*/ 1688 h 1955"/>
                <a:gd name="T8" fmla="*/ 112 w 991"/>
                <a:gd name="T9" fmla="*/ 1688 h 1955"/>
                <a:gd name="T10" fmla="*/ 112 w 991"/>
                <a:gd name="T11" fmla="*/ 1537 h 1955"/>
                <a:gd name="T12" fmla="*/ 112 w 991"/>
                <a:gd name="T13" fmla="*/ 1606 h 1955"/>
                <a:gd name="T14" fmla="*/ 265 w 991"/>
                <a:gd name="T15" fmla="*/ 1606 h 1955"/>
                <a:gd name="T16" fmla="*/ 265 w 991"/>
                <a:gd name="T17" fmla="*/ 1537 h 1955"/>
                <a:gd name="T18" fmla="*/ 112 w 991"/>
                <a:gd name="T19" fmla="*/ 1537 h 1955"/>
                <a:gd name="T20" fmla="*/ 112 w 991"/>
                <a:gd name="T21" fmla="*/ 1387 h 1955"/>
                <a:gd name="T22" fmla="*/ 112 w 991"/>
                <a:gd name="T23" fmla="*/ 1455 h 1955"/>
                <a:gd name="T24" fmla="*/ 265 w 991"/>
                <a:gd name="T25" fmla="*/ 1455 h 1955"/>
                <a:gd name="T26" fmla="*/ 265 w 991"/>
                <a:gd name="T27" fmla="*/ 1387 h 1955"/>
                <a:gd name="T28" fmla="*/ 112 w 991"/>
                <a:gd name="T29" fmla="*/ 1387 h 1955"/>
                <a:gd name="T30" fmla="*/ 112 w 991"/>
                <a:gd name="T31" fmla="*/ 364 h 1955"/>
                <a:gd name="T32" fmla="*/ 112 w 991"/>
                <a:gd name="T33" fmla="*/ 466 h 1955"/>
                <a:gd name="T34" fmla="*/ 880 w 991"/>
                <a:gd name="T35" fmla="*/ 466 h 1955"/>
                <a:gd name="T36" fmla="*/ 880 w 991"/>
                <a:gd name="T37" fmla="*/ 364 h 1955"/>
                <a:gd name="T38" fmla="*/ 112 w 991"/>
                <a:gd name="T39" fmla="*/ 364 h 1955"/>
                <a:gd name="T40" fmla="*/ 112 w 991"/>
                <a:gd name="T41" fmla="*/ 201 h 1955"/>
                <a:gd name="T42" fmla="*/ 112 w 991"/>
                <a:gd name="T43" fmla="*/ 269 h 1955"/>
                <a:gd name="T44" fmla="*/ 880 w 991"/>
                <a:gd name="T45" fmla="*/ 269 h 1955"/>
                <a:gd name="T46" fmla="*/ 880 w 991"/>
                <a:gd name="T47" fmla="*/ 201 h 1955"/>
                <a:gd name="T48" fmla="*/ 112 w 991"/>
                <a:gd name="T49" fmla="*/ 201 h 1955"/>
                <a:gd name="T50" fmla="*/ 132 w 991"/>
                <a:gd name="T51" fmla="*/ 0 h 1955"/>
                <a:gd name="T52" fmla="*/ 859 w 991"/>
                <a:gd name="T53" fmla="*/ 0 h 1955"/>
                <a:gd name="T54" fmla="*/ 991 w 991"/>
                <a:gd name="T55" fmla="*/ 117 h 1955"/>
                <a:gd name="T56" fmla="*/ 991 w 991"/>
                <a:gd name="T57" fmla="*/ 1838 h 1955"/>
                <a:gd name="T58" fmla="*/ 859 w 991"/>
                <a:gd name="T59" fmla="*/ 1955 h 1955"/>
                <a:gd name="T60" fmla="*/ 132 w 991"/>
                <a:gd name="T61" fmla="*/ 1955 h 1955"/>
                <a:gd name="T62" fmla="*/ 0 w 991"/>
                <a:gd name="T63" fmla="*/ 1838 h 1955"/>
                <a:gd name="T64" fmla="*/ 0 w 991"/>
                <a:gd name="T65" fmla="*/ 117 h 1955"/>
                <a:gd name="T66" fmla="*/ 132 w 991"/>
                <a:gd name="T67" fmla="*/ 0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1" h="1955">
                  <a:moveTo>
                    <a:pt x="112" y="1688"/>
                  </a:moveTo>
                  <a:cubicBezTo>
                    <a:pt x="112" y="1756"/>
                    <a:pt x="112" y="1756"/>
                    <a:pt x="112" y="1756"/>
                  </a:cubicBezTo>
                  <a:cubicBezTo>
                    <a:pt x="880" y="1756"/>
                    <a:pt x="880" y="1756"/>
                    <a:pt x="880" y="1756"/>
                  </a:cubicBezTo>
                  <a:cubicBezTo>
                    <a:pt x="880" y="1688"/>
                    <a:pt x="880" y="1688"/>
                    <a:pt x="880" y="1688"/>
                  </a:cubicBezTo>
                  <a:cubicBezTo>
                    <a:pt x="112" y="1688"/>
                    <a:pt x="112" y="1688"/>
                    <a:pt x="112" y="1688"/>
                  </a:cubicBezTo>
                  <a:close/>
                  <a:moveTo>
                    <a:pt x="112" y="1537"/>
                  </a:moveTo>
                  <a:cubicBezTo>
                    <a:pt x="112" y="1606"/>
                    <a:pt x="112" y="1606"/>
                    <a:pt x="112" y="1606"/>
                  </a:cubicBezTo>
                  <a:cubicBezTo>
                    <a:pt x="265" y="1606"/>
                    <a:pt x="265" y="1606"/>
                    <a:pt x="265" y="1606"/>
                  </a:cubicBezTo>
                  <a:cubicBezTo>
                    <a:pt x="265" y="1537"/>
                    <a:pt x="265" y="1537"/>
                    <a:pt x="265" y="1537"/>
                  </a:cubicBezTo>
                  <a:cubicBezTo>
                    <a:pt x="112" y="1537"/>
                    <a:pt x="112" y="1537"/>
                    <a:pt x="112" y="1537"/>
                  </a:cubicBezTo>
                  <a:close/>
                  <a:moveTo>
                    <a:pt x="112" y="1387"/>
                  </a:moveTo>
                  <a:cubicBezTo>
                    <a:pt x="112" y="1455"/>
                    <a:pt x="112" y="1455"/>
                    <a:pt x="112" y="1455"/>
                  </a:cubicBezTo>
                  <a:cubicBezTo>
                    <a:pt x="265" y="1455"/>
                    <a:pt x="265" y="1455"/>
                    <a:pt x="265" y="1455"/>
                  </a:cubicBezTo>
                  <a:cubicBezTo>
                    <a:pt x="265" y="1387"/>
                    <a:pt x="265" y="1387"/>
                    <a:pt x="265" y="1387"/>
                  </a:cubicBezTo>
                  <a:cubicBezTo>
                    <a:pt x="112" y="1387"/>
                    <a:pt x="112" y="1387"/>
                    <a:pt x="112" y="1387"/>
                  </a:cubicBezTo>
                  <a:close/>
                  <a:moveTo>
                    <a:pt x="112" y="364"/>
                  </a:moveTo>
                  <a:cubicBezTo>
                    <a:pt x="112" y="466"/>
                    <a:pt x="112" y="466"/>
                    <a:pt x="112" y="466"/>
                  </a:cubicBezTo>
                  <a:cubicBezTo>
                    <a:pt x="880" y="466"/>
                    <a:pt x="880" y="466"/>
                    <a:pt x="880" y="466"/>
                  </a:cubicBezTo>
                  <a:cubicBezTo>
                    <a:pt x="880" y="364"/>
                    <a:pt x="880" y="364"/>
                    <a:pt x="880" y="364"/>
                  </a:cubicBezTo>
                  <a:cubicBezTo>
                    <a:pt x="112" y="364"/>
                    <a:pt x="112" y="364"/>
                    <a:pt x="112" y="364"/>
                  </a:cubicBezTo>
                  <a:close/>
                  <a:moveTo>
                    <a:pt x="112" y="201"/>
                  </a:moveTo>
                  <a:cubicBezTo>
                    <a:pt x="112" y="269"/>
                    <a:pt x="112" y="269"/>
                    <a:pt x="112" y="269"/>
                  </a:cubicBezTo>
                  <a:cubicBezTo>
                    <a:pt x="880" y="269"/>
                    <a:pt x="880" y="269"/>
                    <a:pt x="880" y="269"/>
                  </a:cubicBezTo>
                  <a:cubicBezTo>
                    <a:pt x="880" y="201"/>
                    <a:pt x="880" y="201"/>
                    <a:pt x="880" y="201"/>
                  </a:cubicBezTo>
                  <a:cubicBezTo>
                    <a:pt x="112" y="201"/>
                    <a:pt x="112" y="201"/>
                    <a:pt x="112" y="201"/>
                  </a:cubicBezTo>
                  <a:close/>
                  <a:moveTo>
                    <a:pt x="132" y="0"/>
                  </a:moveTo>
                  <a:cubicBezTo>
                    <a:pt x="859" y="0"/>
                    <a:pt x="859" y="0"/>
                    <a:pt x="859" y="0"/>
                  </a:cubicBezTo>
                  <a:cubicBezTo>
                    <a:pt x="932" y="0"/>
                    <a:pt x="991" y="53"/>
                    <a:pt x="991" y="117"/>
                  </a:cubicBezTo>
                  <a:cubicBezTo>
                    <a:pt x="991" y="1838"/>
                    <a:pt x="991" y="1838"/>
                    <a:pt x="991" y="1838"/>
                  </a:cubicBezTo>
                  <a:cubicBezTo>
                    <a:pt x="991" y="1903"/>
                    <a:pt x="932" y="1955"/>
                    <a:pt x="859" y="1955"/>
                  </a:cubicBezTo>
                  <a:cubicBezTo>
                    <a:pt x="132" y="1955"/>
                    <a:pt x="132" y="1955"/>
                    <a:pt x="132" y="1955"/>
                  </a:cubicBezTo>
                  <a:cubicBezTo>
                    <a:pt x="59" y="1955"/>
                    <a:pt x="0" y="1903"/>
                    <a:pt x="0" y="1838"/>
                  </a:cubicBezTo>
                  <a:cubicBezTo>
                    <a:pt x="0" y="117"/>
                    <a:pt x="0" y="117"/>
                    <a:pt x="0" y="117"/>
                  </a:cubicBezTo>
                  <a:cubicBezTo>
                    <a:pt x="0" y="53"/>
                    <a:pt x="59" y="0"/>
                    <a:pt x="132" y="0"/>
                  </a:cubicBezTo>
                  <a:close/>
                </a:path>
              </a:pathLst>
            </a:custGeom>
            <a:solidFill>
              <a:srgbClr val="FFFFFF"/>
            </a:solidFill>
            <a:ln w="25400"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4" name="Freeform 25"/>
            <p:cNvSpPr>
              <a:spLocks noEditPoints="1"/>
            </p:cNvSpPr>
            <p:nvPr/>
          </p:nvSpPr>
          <p:spPr bwMode="auto">
            <a:xfrm>
              <a:off x="11063097" y="2048969"/>
              <a:ext cx="619142" cy="528832"/>
            </a:xfrm>
            <a:custGeom>
              <a:avLst/>
              <a:gdLst>
                <a:gd name="T0" fmla="*/ 1227 w 1227"/>
                <a:gd name="T1" fmla="*/ 402 h 1049"/>
                <a:gd name="T2" fmla="*/ 1179 w 1227"/>
                <a:gd name="T3" fmla="*/ 450 h 1049"/>
                <a:gd name="T4" fmla="*/ 423 w 1227"/>
                <a:gd name="T5" fmla="*/ 438 h 1049"/>
                <a:gd name="T6" fmla="*/ 375 w 1227"/>
                <a:gd name="T7" fmla="*/ 390 h 1049"/>
                <a:gd name="T8" fmla="*/ 375 w 1227"/>
                <a:gd name="T9" fmla="*/ 48 h 1049"/>
                <a:gd name="T10" fmla="*/ 423 w 1227"/>
                <a:gd name="T11" fmla="*/ 0 h 1049"/>
                <a:gd name="T12" fmla="*/ 1179 w 1227"/>
                <a:gd name="T13" fmla="*/ 0 h 1049"/>
                <a:gd name="T14" fmla="*/ 1227 w 1227"/>
                <a:gd name="T15" fmla="*/ 48 h 1049"/>
                <a:gd name="T16" fmla="*/ 1227 w 1227"/>
                <a:gd name="T17" fmla="*/ 402 h 1049"/>
                <a:gd name="T18" fmla="*/ 922 w 1227"/>
                <a:gd name="T19" fmla="*/ 472 h 1049"/>
                <a:gd name="T20" fmla="*/ 874 w 1227"/>
                <a:gd name="T21" fmla="*/ 424 h 1049"/>
                <a:gd name="T22" fmla="*/ 68 w 1227"/>
                <a:gd name="T23" fmla="*/ 404 h 1049"/>
                <a:gd name="T24" fmla="*/ 20 w 1227"/>
                <a:gd name="T25" fmla="*/ 452 h 1049"/>
                <a:gd name="T26" fmla="*/ 0 w 1227"/>
                <a:gd name="T27" fmla="*/ 961 h 1049"/>
                <a:gd name="T28" fmla="*/ 48 w 1227"/>
                <a:gd name="T29" fmla="*/ 1009 h 1049"/>
                <a:gd name="T30" fmla="*/ 856 w 1227"/>
                <a:gd name="T31" fmla="*/ 1049 h 1049"/>
                <a:gd name="T32" fmla="*/ 904 w 1227"/>
                <a:gd name="T33" fmla="*/ 1001 h 1049"/>
                <a:gd name="T34" fmla="*/ 922 w 1227"/>
                <a:gd name="T35" fmla="*/ 472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7" h="1049">
                  <a:moveTo>
                    <a:pt x="1227" y="402"/>
                  </a:moveTo>
                  <a:cubicBezTo>
                    <a:pt x="1227" y="428"/>
                    <a:pt x="1205" y="450"/>
                    <a:pt x="1179" y="450"/>
                  </a:cubicBezTo>
                  <a:cubicBezTo>
                    <a:pt x="423" y="438"/>
                    <a:pt x="423" y="438"/>
                    <a:pt x="423" y="438"/>
                  </a:cubicBezTo>
                  <a:cubicBezTo>
                    <a:pt x="397" y="438"/>
                    <a:pt x="375" y="416"/>
                    <a:pt x="375" y="390"/>
                  </a:cubicBezTo>
                  <a:cubicBezTo>
                    <a:pt x="375" y="48"/>
                    <a:pt x="375" y="48"/>
                    <a:pt x="375" y="48"/>
                  </a:cubicBezTo>
                  <a:cubicBezTo>
                    <a:pt x="375" y="22"/>
                    <a:pt x="397" y="0"/>
                    <a:pt x="423" y="0"/>
                  </a:cubicBezTo>
                  <a:cubicBezTo>
                    <a:pt x="1179" y="0"/>
                    <a:pt x="1179" y="0"/>
                    <a:pt x="1179" y="0"/>
                  </a:cubicBezTo>
                  <a:cubicBezTo>
                    <a:pt x="1205" y="0"/>
                    <a:pt x="1227" y="22"/>
                    <a:pt x="1227" y="48"/>
                  </a:cubicBezTo>
                  <a:lnTo>
                    <a:pt x="1227" y="402"/>
                  </a:lnTo>
                  <a:close/>
                  <a:moveTo>
                    <a:pt x="922" y="472"/>
                  </a:moveTo>
                  <a:cubicBezTo>
                    <a:pt x="922" y="445"/>
                    <a:pt x="900" y="424"/>
                    <a:pt x="874" y="424"/>
                  </a:cubicBezTo>
                  <a:cubicBezTo>
                    <a:pt x="68" y="404"/>
                    <a:pt x="68" y="404"/>
                    <a:pt x="68" y="404"/>
                  </a:cubicBezTo>
                  <a:cubicBezTo>
                    <a:pt x="41" y="404"/>
                    <a:pt x="20" y="425"/>
                    <a:pt x="20" y="452"/>
                  </a:cubicBezTo>
                  <a:cubicBezTo>
                    <a:pt x="0" y="961"/>
                    <a:pt x="0" y="961"/>
                    <a:pt x="0" y="961"/>
                  </a:cubicBezTo>
                  <a:cubicBezTo>
                    <a:pt x="0" y="987"/>
                    <a:pt x="21" y="1009"/>
                    <a:pt x="48" y="1009"/>
                  </a:cubicBezTo>
                  <a:cubicBezTo>
                    <a:pt x="856" y="1049"/>
                    <a:pt x="856" y="1049"/>
                    <a:pt x="856" y="1049"/>
                  </a:cubicBezTo>
                  <a:cubicBezTo>
                    <a:pt x="883" y="1049"/>
                    <a:pt x="904" y="1027"/>
                    <a:pt x="904" y="1001"/>
                  </a:cubicBezTo>
                  <a:lnTo>
                    <a:pt x="922" y="4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Freeform 26"/>
            <p:cNvSpPr>
              <a:spLocks noEditPoints="1"/>
            </p:cNvSpPr>
            <p:nvPr/>
          </p:nvSpPr>
          <p:spPr bwMode="auto">
            <a:xfrm>
              <a:off x="11050071" y="2028997"/>
              <a:ext cx="632167" cy="548803"/>
            </a:xfrm>
            <a:custGeom>
              <a:avLst/>
              <a:gdLst>
                <a:gd name="T0" fmla="*/ 968 w 1251"/>
                <a:gd name="T1" fmla="*/ 471 h 1089"/>
                <a:gd name="T2" fmla="*/ 900 w 1251"/>
                <a:gd name="T3" fmla="*/ 1089 h 1089"/>
                <a:gd name="T4" fmla="*/ 0 w 1251"/>
                <a:gd name="T5" fmla="*/ 997 h 1089"/>
                <a:gd name="T6" fmla="*/ 65 w 1251"/>
                <a:gd name="T7" fmla="*/ 403 h 1089"/>
                <a:gd name="T8" fmla="*/ 65 w 1251"/>
                <a:gd name="T9" fmla="*/ 451 h 1089"/>
                <a:gd name="T10" fmla="*/ 939 w 1251"/>
                <a:gd name="T11" fmla="*/ 1076 h 1089"/>
                <a:gd name="T12" fmla="*/ 949 w 1251"/>
                <a:gd name="T13" fmla="*/ 1060 h 1089"/>
                <a:gd name="T14" fmla="*/ 56 w 1251"/>
                <a:gd name="T15" fmla="*/ 265 h 1089"/>
                <a:gd name="T16" fmla="*/ 21 w 1251"/>
                <a:gd name="T17" fmla="*/ 312 h 1089"/>
                <a:gd name="T18" fmla="*/ 284 w 1251"/>
                <a:gd name="T19" fmla="*/ 728 h 1089"/>
                <a:gd name="T20" fmla="*/ 408 w 1251"/>
                <a:gd name="T21" fmla="*/ 542 h 1089"/>
                <a:gd name="T22" fmla="*/ 335 w 1251"/>
                <a:gd name="T23" fmla="*/ 878 h 1089"/>
                <a:gd name="T24" fmla="*/ 426 w 1251"/>
                <a:gd name="T25" fmla="*/ 839 h 1089"/>
                <a:gd name="T26" fmla="*/ 625 w 1251"/>
                <a:gd name="T27" fmla="*/ 593 h 1089"/>
                <a:gd name="T28" fmla="*/ 549 w 1251"/>
                <a:gd name="T29" fmla="*/ 932 h 1089"/>
                <a:gd name="T30" fmla="*/ 284 w 1251"/>
                <a:gd name="T31" fmla="*/ 729 h 1089"/>
                <a:gd name="T32" fmla="*/ 473 w 1251"/>
                <a:gd name="T33" fmla="*/ 911 h 1089"/>
                <a:gd name="T34" fmla="*/ 635 w 1251"/>
                <a:gd name="T35" fmla="*/ 673 h 1089"/>
                <a:gd name="T36" fmla="*/ 369 w 1251"/>
                <a:gd name="T37" fmla="*/ 610 h 1089"/>
                <a:gd name="T38" fmla="*/ 411 w 1251"/>
                <a:gd name="T39" fmla="*/ 894 h 1089"/>
                <a:gd name="T40" fmla="*/ 970 w 1251"/>
                <a:gd name="T41" fmla="*/ 308 h 1089"/>
                <a:gd name="T42" fmla="*/ 946 w 1251"/>
                <a:gd name="T43" fmla="*/ 378 h 1089"/>
                <a:gd name="T44" fmla="*/ 29 w 1251"/>
                <a:gd name="T45" fmla="*/ 367 h 1089"/>
                <a:gd name="T46" fmla="*/ 56 w 1251"/>
                <a:gd name="T47" fmla="*/ 265 h 1089"/>
                <a:gd name="T48" fmla="*/ 897 w 1251"/>
                <a:gd name="T49" fmla="*/ 326 h 1089"/>
                <a:gd name="T50" fmla="*/ 868 w 1251"/>
                <a:gd name="T51" fmla="*/ 305 h 1089"/>
                <a:gd name="T52" fmla="*/ 892 w 1251"/>
                <a:gd name="T53" fmla="*/ 333 h 1089"/>
                <a:gd name="T54" fmla="*/ 837 w 1251"/>
                <a:gd name="T55" fmla="*/ 306 h 1089"/>
                <a:gd name="T56" fmla="*/ 778 w 1251"/>
                <a:gd name="T57" fmla="*/ 335 h 1089"/>
                <a:gd name="T58" fmla="*/ 946 w 1251"/>
                <a:gd name="T59" fmla="*/ 279 h 1089"/>
                <a:gd name="T60" fmla="*/ 963 w 1251"/>
                <a:gd name="T61" fmla="*/ 292 h 1089"/>
                <a:gd name="T62" fmla="*/ 956 w 1251"/>
                <a:gd name="T63" fmla="*/ 383 h 1089"/>
                <a:gd name="T64" fmla="*/ 966 w 1251"/>
                <a:gd name="T65" fmla="*/ 388 h 1089"/>
                <a:gd name="T66" fmla="*/ 1248 w 1251"/>
                <a:gd name="T67" fmla="*/ 34 h 1089"/>
                <a:gd name="T68" fmla="*/ 1221 w 1251"/>
                <a:gd name="T69" fmla="*/ 106 h 1089"/>
                <a:gd name="T70" fmla="*/ 303 w 1251"/>
                <a:gd name="T71" fmla="*/ 100 h 1089"/>
                <a:gd name="T72" fmla="*/ 295 w 1251"/>
                <a:gd name="T73" fmla="*/ 17 h 1089"/>
                <a:gd name="T74" fmla="*/ 1190 w 1251"/>
                <a:gd name="T75" fmla="*/ 74 h 1089"/>
                <a:gd name="T76" fmla="*/ 1155 w 1251"/>
                <a:gd name="T77" fmla="*/ 36 h 1089"/>
                <a:gd name="T78" fmla="*/ 1153 w 1251"/>
                <a:gd name="T79" fmla="*/ 73 h 1089"/>
                <a:gd name="T80" fmla="*/ 1111 w 1251"/>
                <a:gd name="T81" fmla="*/ 72 h 1089"/>
                <a:gd name="T82" fmla="*/ 1051 w 1251"/>
                <a:gd name="T83" fmla="*/ 73 h 1089"/>
                <a:gd name="T84" fmla="*/ 1062 w 1251"/>
                <a:gd name="T85" fmla="*/ 138 h 1089"/>
                <a:gd name="T86" fmla="*/ 1108 w 1251"/>
                <a:gd name="T87" fmla="*/ 263 h 1089"/>
                <a:gd name="T88" fmla="*/ 183 w 1251"/>
                <a:gd name="T89" fmla="*/ 232 h 1089"/>
                <a:gd name="T90" fmla="*/ 153 w 1251"/>
                <a:gd name="T91" fmla="*/ 233 h 1089"/>
                <a:gd name="T92" fmla="*/ 201 w 1251"/>
                <a:gd name="T93" fmla="*/ 133 h 1089"/>
                <a:gd name="T94" fmla="*/ 1051 w 1251"/>
                <a:gd name="T95" fmla="*/ 173 h 1089"/>
                <a:gd name="T96" fmla="*/ 1021 w 1251"/>
                <a:gd name="T97" fmla="*/ 192 h 1089"/>
                <a:gd name="T98" fmla="*/ 1031 w 1251"/>
                <a:gd name="T99" fmla="*/ 203 h 1089"/>
                <a:gd name="T100" fmla="*/ 937 w 1251"/>
                <a:gd name="T101" fmla="*/ 172 h 1089"/>
                <a:gd name="T102" fmla="*/ 869 w 1251"/>
                <a:gd name="T103" fmla="*/ 202 h 1089"/>
                <a:gd name="T104" fmla="*/ 999 w 1251"/>
                <a:gd name="T105" fmla="*/ 287 h 1089"/>
                <a:gd name="T106" fmla="*/ 1008 w 1251"/>
                <a:gd name="T107" fmla="*/ 337 h 1089"/>
                <a:gd name="T108" fmla="*/ 1037 w 1251"/>
                <a:gd name="T109" fmla="*/ 961 h 1089"/>
                <a:gd name="T110" fmla="*/ 1109 w 1251"/>
                <a:gd name="T111" fmla="*/ 339 h 1089"/>
                <a:gd name="T112" fmla="*/ 1196 w 1251"/>
                <a:gd name="T113" fmla="*/ 150 h 1089"/>
                <a:gd name="T114" fmla="*/ 1145 w 1251"/>
                <a:gd name="T115" fmla="*/ 180 h 1089"/>
                <a:gd name="T116" fmla="*/ 1130 w 1251"/>
                <a:gd name="T117" fmla="*/ 768 h 1089"/>
                <a:gd name="T118" fmla="*/ 1221 w 1251"/>
                <a:gd name="T119" fmla="*/ 793 h 1089"/>
                <a:gd name="T120" fmla="*/ 1214 w 1251"/>
                <a:gd name="T121" fmla="*/ 15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1" h="1089">
                  <a:moveTo>
                    <a:pt x="920" y="420"/>
                  </a:moveTo>
                  <a:cubicBezTo>
                    <a:pt x="929" y="419"/>
                    <a:pt x="935" y="421"/>
                    <a:pt x="941" y="423"/>
                  </a:cubicBezTo>
                  <a:cubicBezTo>
                    <a:pt x="944" y="426"/>
                    <a:pt x="951" y="431"/>
                    <a:pt x="954" y="434"/>
                  </a:cubicBezTo>
                  <a:cubicBezTo>
                    <a:pt x="958" y="439"/>
                    <a:pt x="962" y="445"/>
                    <a:pt x="966" y="450"/>
                  </a:cubicBezTo>
                  <a:cubicBezTo>
                    <a:pt x="966" y="456"/>
                    <a:pt x="967" y="465"/>
                    <a:pt x="968" y="471"/>
                  </a:cubicBezTo>
                  <a:cubicBezTo>
                    <a:pt x="949" y="1041"/>
                    <a:pt x="949" y="1041"/>
                    <a:pt x="949" y="1041"/>
                  </a:cubicBezTo>
                  <a:cubicBezTo>
                    <a:pt x="949" y="1047"/>
                    <a:pt x="947" y="1053"/>
                    <a:pt x="945" y="1060"/>
                  </a:cubicBezTo>
                  <a:cubicBezTo>
                    <a:pt x="943" y="1066"/>
                    <a:pt x="938" y="1073"/>
                    <a:pt x="935" y="1076"/>
                  </a:cubicBezTo>
                  <a:cubicBezTo>
                    <a:pt x="929" y="1080"/>
                    <a:pt x="924" y="1083"/>
                    <a:pt x="918" y="1087"/>
                  </a:cubicBezTo>
                  <a:cubicBezTo>
                    <a:pt x="912" y="1088"/>
                    <a:pt x="906" y="1089"/>
                    <a:pt x="900" y="1089"/>
                  </a:cubicBezTo>
                  <a:cubicBezTo>
                    <a:pt x="43" y="1049"/>
                    <a:pt x="43" y="1049"/>
                    <a:pt x="43" y="1049"/>
                  </a:cubicBezTo>
                  <a:cubicBezTo>
                    <a:pt x="37" y="1049"/>
                    <a:pt x="30" y="1047"/>
                    <a:pt x="27" y="1045"/>
                  </a:cubicBezTo>
                  <a:cubicBezTo>
                    <a:pt x="21" y="1042"/>
                    <a:pt x="17" y="1037"/>
                    <a:pt x="10" y="1032"/>
                  </a:cubicBezTo>
                  <a:cubicBezTo>
                    <a:pt x="7" y="1029"/>
                    <a:pt x="6" y="1023"/>
                    <a:pt x="3" y="1018"/>
                  </a:cubicBezTo>
                  <a:cubicBezTo>
                    <a:pt x="2" y="1012"/>
                    <a:pt x="1" y="1003"/>
                    <a:pt x="0" y="997"/>
                  </a:cubicBezTo>
                  <a:cubicBezTo>
                    <a:pt x="20" y="451"/>
                    <a:pt x="20" y="451"/>
                    <a:pt x="20" y="451"/>
                  </a:cubicBezTo>
                  <a:cubicBezTo>
                    <a:pt x="19" y="445"/>
                    <a:pt x="21" y="438"/>
                    <a:pt x="23" y="432"/>
                  </a:cubicBezTo>
                  <a:cubicBezTo>
                    <a:pt x="26" y="426"/>
                    <a:pt x="28" y="423"/>
                    <a:pt x="33" y="416"/>
                  </a:cubicBezTo>
                  <a:cubicBezTo>
                    <a:pt x="39" y="412"/>
                    <a:pt x="41" y="409"/>
                    <a:pt x="47" y="408"/>
                  </a:cubicBezTo>
                  <a:cubicBezTo>
                    <a:pt x="53" y="404"/>
                    <a:pt x="59" y="404"/>
                    <a:pt x="65" y="403"/>
                  </a:cubicBezTo>
                  <a:cubicBezTo>
                    <a:pt x="920" y="420"/>
                    <a:pt x="920" y="420"/>
                    <a:pt x="920" y="420"/>
                  </a:cubicBezTo>
                  <a:cubicBezTo>
                    <a:pt x="920" y="420"/>
                    <a:pt x="920" y="420"/>
                    <a:pt x="920" y="420"/>
                  </a:cubicBezTo>
                  <a:close/>
                  <a:moveTo>
                    <a:pt x="900" y="1038"/>
                  </a:moveTo>
                  <a:cubicBezTo>
                    <a:pt x="920" y="471"/>
                    <a:pt x="920" y="471"/>
                    <a:pt x="920" y="471"/>
                  </a:cubicBezTo>
                  <a:cubicBezTo>
                    <a:pt x="65" y="451"/>
                    <a:pt x="65" y="451"/>
                    <a:pt x="65" y="451"/>
                  </a:cubicBezTo>
                  <a:cubicBezTo>
                    <a:pt x="46" y="1000"/>
                    <a:pt x="46" y="1000"/>
                    <a:pt x="46" y="1000"/>
                  </a:cubicBezTo>
                  <a:cubicBezTo>
                    <a:pt x="900" y="1038"/>
                    <a:pt x="900" y="1038"/>
                    <a:pt x="900" y="1038"/>
                  </a:cubicBezTo>
                  <a:moveTo>
                    <a:pt x="953" y="1042"/>
                  </a:moveTo>
                  <a:cubicBezTo>
                    <a:pt x="954" y="1048"/>
                    <a:pt x="951" y="1054"/>
                    <a:pt x="949" y="1060"/>
                  </a:cubicBezTo>
                  <a:cubicBezTo>
                    <a:pt x="947" y="1066"/>
                    <a:pt x="941" y="1073"/>
                    <a:pt x="939" y="1076"/>
                  </a:cubicBezTo>
                  <a:cubicBezTo>
                    <a:pt x="933" y="1079"/>
                    <a:pt x="927" y="1083"/>
                    <a:pt x="921" y="1087"/>
                  </a:cubicBezTo>
                  <a:cubicBezTo>
                    <a:pt x="915" y="1087"/>
                    <a:pt x="909" y="1088"/>
                    <a:pt x="903" y="1089"/>
                  </a:cubicBezTo>
                  <a:cubicBezTo>
                    <a:pt x="909" y="1088"/>
                    <a:pt x="915" y="1087"/>
                    <a:pt x="921" y="1087"/>
                  </a:cubicBezTo>
                  <a:cubicBezTo>
                    <a:pt x="927" y="1083"/>
                    <a:pt x="933" y="1079"/>
                    <a:pt x="939" y="1076"/>
                  </a:cubicBezTo>
                  <a:cubicBezTo>
                    <a:pt x="941" y="1073"/>
                    <a:pt x="947" y="1066"/>
                    <a:pt x="949" y="1060"/>
                  </a:cubicBezTo>
                  <a:cubicBezTo>
                    <a:pt x="951" y="1054"/>
                    <a:pt x="954" y="1048"/>
                    <a:pt x="953" y="1042"/>
                  </a:cubicBezTo>
                  <a:close/>
                  <a:moveTo>
                    <a:pt x="21" y="312"/>
                  </a:moveTo>
                  <a:cubicBezTo>
                    <a:pt x="24" y="305"/>
                    <a:pt x="23" y="299"/>
                    <a:pt x="26" y="292"/>
                  </a:cubicBezTo>
                  <a:cubicBezTo>
                    <a:pt x="28" y="285"/>
                    <a:pt x="34" y="281"/>
                    <a:pt x="37" y="277"/>
                  </a:cubicBezTo>
                  <a:cubicBezTo>
                    <a:pt x="43" y="270"/>
                    <a:pt x="49" y="266"/>
                    <a:pt x="56" y="265"/>
                  </a:cubicBezTo>
                  <a:cubicBezTo>
                    <a:pt x="62" y="261"/>
                    <a:pt x="69" y="261"/>
                    <a:pt x="76" y="260"/>
                  </a:cubicBezTo>
                  <a:cubicBezTo>
                    <a:pt x="69" y="261"/>
                    <a:pt x="62" y="261"/>
                    <a:pt x="56" y="265"/>
                  </a:cubicBezTo>
                  <a:cubicBezTo>
                    <a:pt x="49" y="266"/>
                    <a:pt x="43" y="270"/>
                    <a:pt x="37" y="277"/>
                  </a:cubicBezTo>
                  <a:cubicBezTo>
                    <a:pt x="34" y="281"/>
                    <a:pt x="28" y="285"/>
                    <a:pt x="26" y="292"/>
                  </a:cubicBezTo>
                  <a:cubicBezTo>
                    <a:pt x="23" y="299"/>
                    <a:pt x="24" y="305"/>
                    <a:pt x="21" y="312"/>
                  </a:cubicBezTo>
                  <a:close/>
                  <a:moveTo>
                    <a:pt x="470" y="945"/>
                  </a:moveTo>
                  <a:cubicBezTo>
                    <a:pt x="442" y="943"/>
                    <a:pt x="418" y="937"/>
                    <a:pt x="395" y="925"/>
                  </a:cubicBezTo>
                  <a:cubicBezTo>
                    <a:pt x="373" y="912"/>
                    <a:pt x="353" y="897"/>
                    <a:pt x="335" y="878"/>
                  </a:cubicBezTo>
                  <a:cubicBezTo>
                    <a:pt x="321" y="859"/>
                    <a:pt x="306" y="837"/>
                    <a:pt x="297" y="811"/>
                  </a:cubicBezTo>
                  <a:cubicBezTo>
                    <a:pt x="288" y="785"/>
                    <a:pt x="285" y="758"/>
                    <a:pt x="284" y="728"/>
                  </a:cubicBezTo>
                  <a:cubicBezTo>
                    <a:pt x="286" y="701"/>
                    <a:pt x="292" y="673"/>
                    <a:pt x="304" y="651"/>
                  </a:cubicBezTo>
                  <a:cubicBezTo>
                    <a:pt x="313" y="625"/>
                    <a:pt x="328" y="602"/>
                    <a:pt x="347" y="585"/>
                  </a:cubicBezTo>
                  <a:cubicBezTo>
                    <a:pt x="362" y="565"/>
                    <a:pt x="385" y="553"/>
                    <a:pt x="408" y="542"/>
                  </a:cubicBezTo>
                  <a:cubicBezTo>
                    <a:pt x="433" y="532"/>
                    <a:pt x="457" y="526"/>
                    <a:pt x="484" y="529"/>
                  </a:cubicBezTo>
                  <a:cubicBezTo>
                    <a:pt x="457" y="526"/>
                    <a:pt x="433" y="532"/>
                    <a:pt x="408" y="542"/>
                  </a:cubicBezTo>
                  <a:cubicBezTo>
                    <a:pt x="385" y="553"/>
                    <a:pt x="362" y="565"/>
                    <a:pt x="347" y="585"/>
                  </a:cubicBezTo>
                  <a:cubicBezTo>
                    <a:pt x="328" y="602"/>
                    <a:pt x="313" y="625"/>
                    <a:pt x="304" y="651"/>
                  </a:cubicBezTo>
                  <a:cubicBezTo>
                    <a:pt x="292" y="673"/>
                    <a:pt x="286" y="701"/>
                    <a:pt x="284" y="728"/>
                  </a:cubicBezTo>
                  <a:cubicBezTo>
                    <a:pt x="285" y="758"/>
                    <a:pt x="288" y="785"/>
                    <a:pt x="297" y="811"/>
                  </a:cubicBezTo>
                  <a:cubicBezTo>
                    <a:pt x="306" y="837"/>
                    <a:pt x="321" y="859"/>
                    <a:pt x="335" y="878"/>
                  </a:cubicBezTo>
                  <a:cubicBezTo>
                    <a:pt x="353" y="897"/>
                    <a:pt x="373" y="912"/>
                    <a:pt x="395" y="925"/>
                  </a:cubicBezTo>
                  <a:cubicBezTo>
                    <a:pt x="418" y="937"/>
                    <a:pt x="442" y="943"/>
                    <a:pt x="470" y="945"/>
                  </a:cubicBezTo>
                  <a:close/>
                  <a:moveTo>
                    <a:pt x="431" y="631"/>
                  </a:moveTo>
                  <a:cubicBezTo>
                    <a:pt x="431" y="631"/>
                    <a:pt x="431" y="631"/>
                    <a:pt x="431" y="631"/>
                  </a:cubicBezTo>
                  <a:cubicBezTo>
                    <a:pt x="426" y="839"/>
                    <a:pt x="426" y="839"/>
                    <a:pt x="426" y="839"/>
                  </a:cubicBezTo>
                  <a:cubicBezTo>
                    <a:pt x="581" y="739"/>
                    <a:pt x="581" y="739"/>
                    <a:pt x="581" y="739"/>
                  </a:cubicBezTo>
                  <a:cubicBezTo>
                    <a:pt x="431" y="631"/>
                    <a:pt x="431" y="631"/>
                    <a:pt x="431" y="631"/>
                  </a:cubicBezTo>
                  <a:close/>
                  <a:moveTo>
                    <a:pt x="486" y="529"/>
                  </a:moveTo>
                  <a:cubicBezTo>
                    <a:pt x="514" y="528"/>
                    <a:pt x="539" y="534"/>
                    <a:pt x="564" y="546"/>
                  </a:cubicBezTo>
                  <a:cubicBezTo>
                    <a:pt x="587" y="556"/>
                    <a:pt x="607" y="571"/>
                    <a:pt x="625" y="593"/>
                  </a:cubicBezTo>
                  <a:cubicBezTo>
                    <a:pt x="642" y="612"/>
                    <a:pt x="657" y="634"/>
                    <a:pt x="667" y="660"/>
                  </a:cubicBezTo>
                  <a:cubicBezTo>
                    <a:pt x="676" y="686"/>
                    <a:pt x="679" y="713"/>
                    <a:pt x="677" y="744"/>
                  </a:cubicBezTo>
                  <a:cubicBezTo>
                    <a:pt x="677" y="771"/>
                    <a:pt x="672" y="799"/>
                    <a:pt x="660" y="824"/>
                  </a:cubicBezTo>
                  <a:cubicBezTo>
                    <a:pt x="648" y="850"/>
                    <a:pt x="632" y="873"/>
                    <a:pt x="613" y="890"/>
                  </a:cubicBezTo>
                  <a:cubicBezTo>
                    <a:pt x="597" y="907"/>
                    <a:pt x="575" y="922"/>
                    <a:pt x="549" y="932"/>
                  </a:cubicBezTo>
                  <a:cubicBezTo>
                    <a:pt x="526" y="943"/>
                    <a:pt x="499" y="947"/>
                    <a:pt x="472" y="947"/>
                  </a:cubicBezTo>
                  <a:cubicBezTo>
                    <a:pt x="447" y="944"/>
                    <a:pt x="419" y="939"/>
                    <a:pt x="396" y="926"/>
                  </a:cubicBezTo>
                  <a:cubicBezTo>
                    <a:pt x="374" y="914"/>
                    <a:pt x="353" y="898"/>
                    <a:pt x="336" y="879"/>
                  </a:cubicBezTo>
                  <a:cubicBezTo>
                    <a:pt x="321" y="860"/>
                    <a:pt x="307" y="838"/>
                    <a:pt x="297" y="812"/>
                  </a:cubicBezTo>
                  <a:cubicBezTo>
                    <a:pt x="288" y="786"/>
                    <a:pt x="285" y="759"/>
                    <a:pt x="284" y="729"/>
                  </a:cubicBezTo>
                  <a:cubicBezTo>
                    <a:pt x="287" y="702"/>
                    <a:pt x="292" y="674"/>
                    <a:pt x="305" y="651"/>
                  </a:cubicBezTo>
                  <a:cubicBezTo>
                    <a:pt x="313" y="626"/>
                    <a:pt x="329" y="603"/>
                    <a:pt x="348" y="585"/>
                  </a:cubicBezTo>
                  <a:cubicBezTo>
                    <a:pt x="364" y="565"/>
                    <a:pt x="386" y="553"/>
                    <a:pt x="409" y="541"/>
                  </a:cubicBezTo>
                  <a:cubicBezTo>
                    <a:pt x="435" y="532"/>
                    <a:pt x="459" y="526"/>
                    <a:pt x="486" y="529"/>
                  </a:cubicBezTo>
                  <a:close/>
                  <a:moveTo>
                    <a:pt x="473" y="911"/>
                  </a:moveTo>
                  <a:cubicBezTo>
                    <a:pt x="498" y="911"/>
                    <a:pt x="518" y="908"/>
                    <a:pt x="539" y="900"/>
                  </a:cubicBezTo>
                  <a:cubicBezTo>
                    <a:pt x="559" y="891"/>
                    <a:pt x="576" y="880"/>
                    <a:pt x="592" y="863"/>
                  </a:cubicBezTo>
                  <a:cubicBezTo>
                    <a:pt x="608" y="849"/>
                    <a:pt x="621" y="829"/>
                    <a:pt x="627" y="810"/>
                  </a:cubicBezTo>
                  <a:cubicBezTo>
                    <a:pt x="637" y="788"/>
                    <a:pt x="643" y="766"/>
                    <a:pt x="643" y="742"/>
                  </a:cubicBezTo>
                  <a:cubicBezTo>
                    <a:pt x="646" y="717"/>
                    <a:pt x="640" y="694"/>
                    <a:pt x="635" y="673"/>
                  </a:cubicBezTo>
                  <a:cubicBezTo>
                    <a:pt x="626" y="653"/>
                    <a:pt x="615" y="634"/>
                    <a:pt x="600" y="617"/>
                  </a:cubicBezTo>
                  <a:cubicBezTo>
                    <a:pt x="586" y="601"/>
                    <a:pt x="570" y="588"/>
                    <a:pt x="550" y="578"/>
                  </a:cubicBezTo>
                  <a:cubicBezTo>
                    <a:pt x="531" y="569"/>
                    <a:pt x="509" y="562"/>
                    <a:pt x="485" y="562"/>
                  </a:cubicBezTo>
                  <a:cubicBezTo>
                    <a:pt x="463" y="562"/>
                    <a:pt x="443" y="567"/>
                    <a:pt x="423" y="576"/>
                  </a:cubicBezTo>
                  <a:cubicBezTo>
                    <a:pt x="402" y="582"/>
                    <a:pt x="386" y="596"/>
                    <a:pt x="369" y="610"/>
                  </a:cubicBezTo>
                  <a:cubicBezTo>
                    <a:pt x="353" y="627"/>
                    <a:pt x="343" y="643"/>
                    <a:pt x="334" y="666"/>
                  </a:cubicBezTo>
                  <a:cubicBezTo>
                    <a:pt x="324" y="685"/>
                    <a:pt x="318" y="707"/>
                    <a:pt x="317" y="731"/>
                  </a:cubicBezTo>
                  <a:cubicBezTo>
                    <a:pt x="317" y="755"/>
                    <a:pt x="320" y="779"/>
                    <a:pt x="329" y="799"/>
                  </a:cubicBezTo>
                  <a:cubicBezTo>
                    <a:pt x="335" y="819"/>
                    <a:pt x="346" y="839"/>
                    <a:pt x="360" y="855"/>
                  </a:cubicBezTo>
                  <a:cubicBezTo>
                    <a:pt x="374" y="872"/>
                    <a:pt x="391" y="885"/>
                    <a:pt x="411" y="894"/>
                  </a:cubicBezTo>
                  <a:cubicBezTo>
                    <a:pt x="430" y="904"/>
                    <a:pt x="452" y="910"/>
                    <a:pt x="473" y="911"/>
                  </a:cubicBezTo>
                  <a:moveTo>
                    <a:pt x="927" y="273"/>
                  </a:moveTo>
                  <a:cubicBezTo>
                    <a:pt x="933" y="273"/>
                    <a:pt x="939" y="275"/>
                    <a:pt x="945" y="277"/>
                  </a:cubicBezTo>
                  <a:cubicBezTo>
                    <a:pt x="952" y="279"/>
                    <a:pt x="955" y="285"/>
                    <a:pt x="962" y="290"/>
                  </a:cubicBezTo>
                  <a:cubicBezTo>
                    <a:pt x="965" y="293"/>
                    <a:pt x="969" y="299"/>
                    <a:pt x="970" y="308"/>
                  </a:cubicBezTo>
                  <a:cubicBezTo>
                    <a:pt x="974" y="313"/>
                    <a:pt x="975" y="320"/>
                    <a:pt x="972" y="326"/>
                  </a:cubicBezTo>
                  <a:cubicBezTo>
                    <a:pt x="972" y="397"/>
                    <a:pt x="972" y="397"/>
                    <a:pt x="972" y="397"/>
                  </a:cubicBezTo>
                  <a:cubicBezTo>
                    <a:pt x="969" y="394"/>
                    <a:pt x="968" y="391"/>
                    <a:pt x="965" y="388"/>
                  </a:cubicBezTo>
                  <a:cubicBezTo>
                    <a:pt x="962" y="385"/>
                    <a:pt x="959" y="386"/>
                    <a:pt x="956" y="383"/>
                  </a:cubicBezTo>
                  <a:cubicBezTo>
                    <a:pt x="952" y="381"/>
                    <a:pt x="949" y="381"/>
                    <a:pt x="946" y="378"/>
                  </a:cubicBezTo>
                  <a:cubicBezTo>
                    <a:pt x="943" y="379"/>
                    <a:pt x="937" y="379"/>
                    <a:pt x="934" y="377"/>
                  </a:cubicBezTo>
                  <a:cubicBezTo>
                    <a:pt x="55" y="360"/>
                    <a:pt x="55" y="360"/>
                    <a:pt x="55" y="360"/>
                  </a:cubicBezTo>
                  <a:cubicBezTo>
                    <a:pt x="52" y="361"/>
                    <a:pt x="49" y="361"/>
                    <a:pt x="47" y="361"/>
                  </a:cubicBezTo>
                  <a:cubicBezTo>
                    <a:pt x="44" y="362"/>
                    <a:pt x="41" y="362"/>
                    <a:pt x="38" y="363"/>
                  </a:cubicBezTo>
                  <a:cubicBezTo>
                    <a:pt x="35" y="366"/>
                    <a:pt x="32" y="366"/>
                    <a:pt x="29" y="367"/>
                  </a:cubicBezTo>
                  <a:cubicBezTo>
                    <a:pt x="29" y="370"/>
                    <a:pt x="27" y="370"/>
                    <a:pt x="24" y="373"/>
                  </a:cubicBezTo>
                  <a:cubicBezTo>
                    <a:pt x="25" y="309"/>
                    <a:pt x="25" y="309"/>
                    <a:pt x="25" y="309"/>
                  </a:cubicBezTo>
                  <a:cubicBezTo>
                    <a:pt x="27" y="303"/>
                    <a:pt x="26" y="297"/>
                    <a:pt x="29" y="290"/>
                  </a:cubicBezTo>
                  <a:cubicBezTo>
                    <a:pt x="31" y="284"/>
                    <a:pt x="36" y="280"/>
                    <a:pt x="39" y="277"/>
                  </a:cubicBezTo>
                  <a:cubicBezTo>
                    <a:pt x="44" y="270"/>
                    <a:pt x="50" y="266"/>
                    <a:pt x="56" y="265"/>
                  </a:cubicBezTo>
                  <a:cubicBezTo>
                    <a:pt x="61" y="261"/>
                    <a:pt x="67" y="261"/>
                    <a:pt x="73" y="260"/>
                  </a:cubicBezTo>
                  <a:cubicBezTo>
                    <a:pt x="927" y="273"/>
                    <a:pt x="927" y="273"/>
                    <a:pt x="927" y="273"/>
                  </a:cubicBezTo>
                  <a:cubicBezTo>
                    <a:pt x="927" y="273"/>
                    <a:pt x="927" y="273"/>
                    <a:pt x="927" y="273"/>
                  </a:cubicBezTo>
                  <a:close/>
                  <a:moveTo>
                    <a:pt x="915" y="345"/>
                  </a:moveTo>
                  <a:cubicBezTo>
                    <a:pt x="897" y="326"/>
                    <a:pt x="897" y="326"/>
                    <a:pt x="897" y="326"/>
                  </a:cubicBezTo>
                  <a:cubicBezTo>
                    <a:pt x="916" y="308"/>
                    <a:pt x="916" y="308"/>
                    <a:pt x="916" y="308"/>
                  </a:cubicBezTo>
                  <a:cubicBezTo>
                    <a:pt x="904" y="307"/>
                    <a:pt x="904" y="307"/>
                    <a:pt x="904" y="307"/>
                  </a:cubicBezTo>
                  <a:cubicBezTo>
                    <a:pt x="891" y="321"/>
                    <a:pt x="891" y="321"/>
                    <a:pt x="891" y="321"/>
                  </a:cubicBezTo>
                  <a:cubicBezTo>
                    <a:pt x="880" y="307"/>
                    <a:pt x="880" y="307"/>
                    <a:pt x="880" y="307"/>
                  </a:cubicBezTo>
                  <a:cubicBezTo>
                    <a:pt x="868" y="305"/>
                    <a:pt x="868" y="305"/>
                    <a:pt x="868" y="305"/>
                  </a:cubicBezTo>
                  <a:cubicBezTo>
                    <a:pt x="885" y="328"/>
                    <a:pt x="885" y="328"/>
                    <a:pt x="885" y="328"/>
                  </a:cubicBezTo>
                  <a:cubicBezTo>
                    <a:pt x="866" y="345"/>
                    <a:pt x="866" y="345"/>
                    <a:pt x="866" y="345"/>
                  </a:cubicBezTo>
                  <a:cubicBezTo>
                    <a:pt x="878" y="344"/>
                    <a:pt x="878" y="344"/>
                    <a:pt x="878" y="344"/>
                  </a:cubicBezTo>
                  <a:cubicBezTo>
                    <a:pt x="878" y="344"/>
                    <a:pt x="878" y="344"/>
                    <a:pt x="878" y="344"/>
                  </a:cubicBezTo>
                  <a:cubicBezTo>
                    <a:pt x="892" y="333"/>
                    <a:pt x="892" y="333"/>
                    <a:pt x="892" y="333"/>
                  </a:cubicBezTo>
                  <a:cubicBezTo>
                    <a:pt x="896" y="339"/>
                    <a:pt x="896" y="339"/>
                    <a:pt x="896" y="339"/>
                  </a:cubicBezTo>
                  <a:cubicBezTo>
                    <a:pt x="903" y="347"/>
                    <a:pt x="903" y="347"/>
                    <a:pt x="903" y="347"/>
                  </a:cubicBezTo>
                  <a:cubicBezTo>
                    <a:pt x="915" y="345"/>
                    <a:pt x="915" y="345"/>
                    <a:pt x="915" y="345"/>
                  </a:cubicBezTo>
                  <a:moveTo>
                    <a:pt x="836" y="346"/>
                  </a:moveTo>
                  <a:cubicBezTo>
                    <a:pt x="837" y="306"/>
                    <a:pt x="837" y="306"/>
                    <a:pt x="837" y="306"/>
                  </a:cubicBezTo>
                  <a:cubicBezTo>
                    <a:pt x="805" y="307"/>
                    <a:pt x="805" y="307"/>
                    <a:pt x="805" y="307"/>
                  </a:cubicBezTo>
                  <a:cubicBezTo>
                    <a:pt x="803" y="344"/>
                    <a:pt x="803" y="344"/>
                    <a:pt x="803" y="344"/>
                  </a:cubicBezTo>
                  <a:cubicBezTo>
                    <a:pt x="836" y="346"/>
                    <a:pt x="836" y="346"/>
                    <a:pt x="836" y="346"/>
                  </a:cubicBezTo>
                  <a:moveTo>
                    <a:pt x="779" y="344"/>
                  </a:moveTo>
                  <a:cubicBezTo>
                    <a:pt x="778" y="335"/>
                    <a:pt x="778" y="335"/>
                    <a:pt x="778" y="335"/>
                  </a:cubicBezTo>
                  <a:cubicBezTo>
                    <a:pt x="736" y="334"/>
                    <a:pt x="736" y="334"/>
                    <a:pt x="736" y="334"/>
                  </a:cubicBezTo>
                  <a:cubicBezTo>
                    <a:pt x="734" y="343"/>
                    <a:pt x="734" y="343"/>
                    <a:pt x="734" y="343"/>
                  </a:cubicBezTo>
                  <a:cubicBezTo>
                    <a:pt x="779" y="344"/>
                    <a:pt x="779" y="344"/>
                    <a:pt x="779" y="344"/>
                  </a:cubicBezTo>
                  <a:moveTo>
                    <a:pt x="929" y="275"/>
                  </a:moveTo>
                  <a:cubicBezTo>
                    <a:pt x="934" y="275"/>
                    <a:pt x="940" y="277"/>
                    <a:pt x="946" y="279"/>
                  </a:cubicBezTo>
                  <a:cubicBezTo>
                    <a:pt x="953" y="281"/>
                    <a:pt x="956" y="287"/>
                    <a:pt x="963" y="292"/>
                  </a:cubicBezTo>
                  <a:cubicBezTo>
                    <a:pt x="966" y="294"/>
                    <a:pt x="969" y="299"/>
                    <a:pt x="970" y="308"/>
                  </a:cubicBezTo>
                  <a:cubicBezTo>
                    <a:pt x="974" y="314"/>
                    <a:pt x="975" y="319"/>
                    <a:pt x="973" y="326"/>
                  </a:cubicBezTo>
                  <a:cubicBezTo>
                    <a:pt x="975" y="319"/>
                    <a:pt x="974" y="314"/>
                    <a:pt x="970" y="308"/>
                  </a:cubicBezTo>
                  <a:cubicBezTo>
                    <a:pt x="969" y="299"/>
                    <a:pt x="966" y="294"/>
                    <a:pt x="963" y="292"/>
                  </a:cubicBezTo>
                  <a:cubicBezTo>
                    <a:pt x="956" y="287"/>
                    <a:pt x="953" y="281"/>
                    <a:pt x="946" y="279"/>
                  </a:cubicBezTo>
                  <a:cubicBezTo>
                    <a:pt x="940" y="277"/>
                    <a:pt x="934" y="275"/>
                    <a:pt x="929" y="275"/>
                  </a:cubicBezTo>
                  <a:close/>
                  <a:moveTo>
                    <a:pt x="974" y="396"/>
                  </a:moveTo>
                  <a:cubicBezTo>
                    <a:pt x="970" y="394"/>
                    <a:pt x="970" y="390"/>
                    <a:pt x="966" y="388"/>
                  </a:cubicBezTo>
                  <a:cubicBezTo>
                    <a:pt x="963" y="385"/>
                    <a:pt x="959" y="385"/>
                    <a:pt x="956" y="383"/>
                  </a:cubicBezTo>
                  <a:cubicBezTo>
                    <a:pt x="952" y="380"/>
                    <a:pt x="949" y="380"/>
                    <a:pt x="945" y="378"/>
                  </a:cubicBezTo>
                  <a:cubicBezTo>
                    <a:pt x="941" y="378"/>
                    <a:pt x="935" y="379"/>
                    <a:pt x="931" y="376"/>
                  </a:cubicBezTo>
                  <a:cubicBezTo>
                    <a:pt x="935" y="379"/>
                    <a:pt x="941" y="378"/>
                    <a:pt x="945" y="378"/>
                  </a:cubicBezTo>
                  <a:cubicBezTo>
                    <a:pt x="949" y="380"/>
                    <a:pt x="952" y="380"/>
                    <a:pt x="956" y="383"/>
                  </a:cubicBezTo>
                  <a:cubicBezTo>
                    <a:pt x="959" y="385"/>
                    <a:pt x="963" y="385"/>
                    <a:pt x="966" y="388"/>
                  </a:cubicBezTo>
                  <a:cubicBezTo>
                    <a:pt x="970" y="390"/>
                    <a:pt x="970" y="394"/>
                    <a:pt x="974" y="396"/>
                  </a:cubicBezTo>
                  <a:close/>
                  <a:moveTo>
                    <a:pt x="1202" y="0"/>
                  </a:moveTo>
                  <a:cubicBezTo>
                    <a:pt x="1208" y="2"/>
                    <a:pt x="1217" y="1"/>
                    <a:pt x="1220" y="4"/>
                  </a:cubicBezTo>
                  <a:cubicBezTo>
                    <a:pt x="1227" y="9"/>
                    <a:pt x="1233" y="11"/>
                    <a:pt x="1237" y="17"/>
                  </a:cubicBezTo>
                  <a:cubicBezTo>
                    <a:pt x="1241" y="23"/>
                    <a:pt x="1244" y="28"/>
                    <a:pt x="1248" y="34"/>
                  </a:cubicBezTo>
                  <a:cubicBezTo>
                    <a:pt x="1249" y="40"/>
                    <a:pt x="1250" y="46"/>
                    <a:pt x="1251" y="54"/>
                  </a:cubicBezTo>
                  <a:cubicBezTo>
                    <a:pt x="1247" y="124"/>
                    <a:pt x="1247" y="124"/>
                    <a:pt x="1247" y="124"/>
                  </a:cubicBezTo>
                  <a:cubicBezTo>
                    <a:pt x="1247" y="121"/>
                    <a:pt x="1244" y="119"/>
                    <a:pt x="1240" y="116"/>
                  </a:cubicBezTo>
                  <a:cubicBezTo>
                    <a:pt x="1237" y="113"/>
                    <a:pt x="1234" y="111"/>
                    <a:pt x="1230" y="108"/>
                  </a:cubicBezTo>
                  <a:cubicBezTo>
                    <a:pt x="1227" y="109"/>
                    <a:pt x="1224" y="106"/>
                    <a:pt x="1221" y="106"/>
                  </a:cubicBezTo>
                  <a:cubicBezTo>
                    <a:pt x="1218" y="104"/>
                    <a:pt x="1215" y="104"/>
                    <a:pt x="1209" y="105"/>
                  </a:cubicBezTo>
                  <a:cubicBezTo>
                    <a:pt x="309" y="99"/>
                    <a:pt x="309" y="99"/>
                    <a:pt x="309" y="99"/>
                  </a:cubicBezTo>
                  <a:cubicBezTo>
                    <a:pt x="309" y="99"/>
                    <a:pt x="309" y="99"/>
                    <a:pt x="309" y="99"/>
                  </a:cubicBezTo>
                  <a:cubicBezTo>
                    <a:pt x="306" y="100"/>
                    <a:pt x="306" y="100"/>
                    <a:pt x="306" y="100"/>
                  </a:cubicBezTo>
                  <a:cubicBezTo>
                    <a:pt x="303" y="100"/>
                    <a:pt x="303" y="100"/>
                    <a:pt x="303" y="100"/>
                  </a:cubicBezTo>
                  <a:cubicBezTo>
                    <a:pt x="300" y="100"/>
                    <a:pt x="300" y="100"/>
                    <a:pt x="300" y="100"/>
                  </a:cubicBezTo>
                  <a:cubicBezTo>
                    <a:pt x="279" y="100"/>
                    <a:pt x="279" y="100"/>
                    <a:pt x="279" y="100"/>
                  </a:cubicBezTo>
                  <a:cubicBezTo>
                    <a:pt x="279" y="52"/>
                    <a:pt x="279" y="52"/>
                    <a:pt x="279" y="52"/>
                  </a:cubicBezTo>
                  <a:cubicBezTo>
                    <a:pt x="281" y="42"/>
                    <a:pt x="280" y="37"/>
                    <a:pt x="285" y="30"/>
                  </a:cubicBezTo>
                  <a:cubicBezTo>
                    <a:pt x="287" y="24"/>
                    <a:pt x="290" y="20"/>
                    <a:pt x="295" y="17"/>
                  </a:cubicBezTo>
                  <a:cubicBezTo>
                    <a:pt x="298" y="10"/>
                    <a:pt x="303" y="6"/>
                    <a:pt x="309" y="6"/>
                  </a:cubicBezTo>
                  <a:cubicBezTo>
                    <a:pt x="315" y="2"/>
                    <a:pt x="321" y="1"/>
                    <a:pt x="327" y="1"/>
                  </a:cubicBezTo>
                  <a:cubicBezTo>
                    <a:pt x="1202" y="0"/>
                    <a:pt x="1202" y="0"/>
                    <a:pt x="1202" y="0"/>
                  </a:cubicBezTo>
                  <a:cubicBezTo>
                    <a:pt x="1202" y="0"/>
                    <a:pt x="1202" y="0"/>
                    <a:pt x="1202" y="0"/>
                  </a:cubicBezTo>
                  <a:close/>
                  <a:moveTo>
                    <a:pt x="1190" y="74"/>
                  </a:moveTo>
                  <a:cubicBezTo>
                    <a:pt x="1172" y="55"/>
                    <a:pt x="1172" y="55"/>
                    <a:pt x="1172" y="55"/>
                  </a:cubicBezTo>
                  <a:cubicBezTo>
                    <a:pt x="1191" y="35"/>
                    <a:pt x="1191" y="35"/>
                    <a:pt x="1191" y="35"/>
                  </a:cubicBezTo>
                  <a:cubicBezTo>
                    <a:pt x="1179" y="36"/>
                    <a:pt x="1179" y="36"/>
                    <a:pt x="1179" y="36"/>
                  </a:cubicBezTo>
                  <a:cubicBezTo>
                    <a:pt x="1165" y="47"/>
                    <a:pt x="1165" y="47"/>
                    <a:pt x="1165" y="47"/>
                  </a:cubicBezTo>
                  <a:cubicBezTo>
                    <a:pt x="1155" y="36"/>
                    <a:pt x="1155" y="36"/>
                    <a:pt x="1155" y="36"/>
                  </a:cubicBezTo>
                  <a:cubicBezTo>
                    <a:pt x="1143" y="35"/>
                    <a:pt x="1143" y="35"/>
                    <a:pt x="1143" y="35"/>
                  </a:cubicBezTo>
                  <a:cubicBezTo>
                    <a:pt x="1160" y="54"/>
                    <a:pt x="1160" y="54"/>
                    <a:pt x="1160" y="54"/>
                  </a:cubicBezTo>
                  <a:cubicBezTo>
                    <a:pt x="1142" y="74"/>
                    <a:pt x="1142" y="74"/>
                    <a:pt x="1142" y="74"/>
                  </a:cubicBezTo>
                  <a:cubicBezTo>
                    <a:pt x="1153" y="73"/>
                    <a:pt x="1153" y="73"/>
                    <a:pt x="1153" y="73"/>
                  </a:cubicBezTo>
                  <a:cubicBezTo>
                    <a:pt x="1153" y="73"/>
                    <a:pt x="1153" y="73"/>
                    <a:pt x="1153" y="73"/>
                  </a:cubicBezTo>
                  <a:cubicBezTo>
                    <a:pt x="1167" y="59"/>
                    <a:pt x="1167" y="59"/>
                    <a:pt x="1167" y="59"/>
                  </a:cubicBezTo>
                  <a:cubicBezTo>
                    <a:pt x="1170" y="64"/>
                    <a:pt x="1170" y="64"/>
                    <a:pt x="1170" y="64"/>
                  </a:cubicBezTo>
                  <a:cubicBezTo>
                    <a:pt x="1178" y="73"/>
                    <a:pt x="1178" y="73"/>
                    <a:pt x="1178" y="73"/>
                  </a:cubicBezTo>
                  <a:cubicBezTo>
                    <a:pt x="1190" y="74"/>
                    <a:pt x="1190" y="74"/>
                    <a:pt x="1190" y="74"/>
                  </a:cubicBezTo>
                  <a:moveTo>
                    <a:pt x="1111" y="72"/>
                  </a:moveTo>
                  <a:cubicBezTo>
                    <a:pt x="1113" y="35"/>
                    <a:pt x="1113" y="35"/>
                    <a:pt x="1113" y="35"/>
                  </a:cubicBezTo>
                  <a:cubicBezTo>
                    <a:pt x="1076" y="34"/>
                    <a:pt x="1076" y="34"/>
                    <a:pt x="1076" y="34"/>
                  </a:cubicBezTo>
                  <a:cubicBezTo>
                    <a:pt x="1075" y="73"/>
                    <a:pt x="1075" y="73"/>
                    <a:pt x="1075" y="73"/>
                  </a:cubicBezTo>
                  <a:cubicBezTo>
                    <a:pt x="1111" y="72"/>
                    <a:pt x="1111" y="72"/>
                    <a:pt x="1111" y="72"/>
                  </a:cubicBezTo>
                  <a:moveTo>
                    <a:pt x="1051" y="73"/>
                  </a:moveTo>
                  <a:cubicBezTo>
                    <a:pt x="1050" y="64"/>
                    <a:pt x="1050" y="64"/>
                    <a:pt x="1050" y="64"/>
                  </a:cubicBezTo>
                  <a:cubicBezTo>
                    <a:pt x="1004" y="64"/>
                    <a:pt x="1004" y="64"/>
                    <a:pt x="1004" y="64"/>
                  </a:cubicBezTo>
                  <a:cubicBezTo>
                    <a:pt x="1006" y="73"/>
                    <a:pt x="1006" y="73"/>
                    <a:pt x="1006" y="73"/>
                  </a:cubicBezTo>
                  <a:cubicBezTo>
                    <a:pt x="1051" y="73"/>
                    <a:pt x="1051" y="73"/>
                    <a:pt x="1051" y="73"/>
                  </a:cubicBezTo>
                  <a:moveTo>
                    <a:pt x="1062" y="138"/>
                  </a:moveTo>
                  <a:cubicBezTo>
                    <a:pt x="1068" y="140"/>
                    <a:pt x="1075" y="143"/>
                    <a:pt x="1081" y="145"/>
                  </a:cubicBezTo>
                  <a:cubicBezTo>
                    <a:pt x="1087" y="147"/>
                    <a:pt x="1091" y="150"/>
                    <a:pt x="1097" y="155"/>
                  </a:cubicBezTo>
                  <a:cubicBezTo>
                    <a:pt x="1101" y="161"/>
                    <a:pt x="1105" y="166"/>
                    <a:pt x="1105" y="172"/>
                  </a:cubicBezTo>
                  <a:cubicBezTo>
                    <a:pt x="1109" y="178"/>
                    <a:pt x="1110" y="184"/>
                    <a:pt x="1108" y="193"/>
                  </a:cubicBezTo>
                  <a:cubicBezTo>
                    <a:pt x="1108" y="263"/>
                    <a:pt x="1108" y="263"/>
                    <a:pt x="1108" y="263"/>
                  </a:cubicBezTo>
                  <a:cubicBezTo>
                    <a:pt x="1104" y="260"/>
                    <a:pt x="1104" y="257"/>
                    <a:pt x="1101" y="255"/>
                  </a:cubicBezTo>
                  <a:cubicBezTo>
                    <a:pt x="1097" y="252"/>
                    <a:pt x="1094" y="250"/>
                    <a:pt x="1091" y="247"/>
                  </a:cubicBezTo>
                  <a:cubicBezTo>
                    <a:pt x="1088" y="247"/>
                    <a:pt x="1084" y="245"/>
                    <a:pt x="1081" y="245"/>
                  </a:cubicBezTo>
                  <a:cubicBezTo>
                    <a:pt x="1078" y="242"/>
                    <a:pt x="1072" y="243"/>
                    <a:pt x="1069" y="244"/>
                  </a:cubicBezTo>
                  <a:cubicBezTo>
                    <a:pt x="183" y="232"/>
                    <a:pt x="183" y="232"/>
                    <a:pt x="183" y="232"/>
                  </a:cubicBezTo>
                  <a:cubicBezTo>
                    <a:pt x="183" y="232"/>
                    <a:pt x="183" y="232"/>
                    <a:pt x="183" y="232"/>
                  </a:cubicBezTo>
                  <a:cubicBezTo>
                    <a:pt x="180" y="233"/>
                    <a:pt x="180" y="233"/>
                    <a:pt x="180" y="233"/>
                  </a:cubicBezTo>
                  <a:cubicBezTo>
                    <a:pt x="177" y="233"/>
                    <a:pt x="177" y="233"/>
                    <a:pt x="177" y="233"/>
                  </a:cubicBezTo>
                  <a:cubicBezTo>
                    <a:pt x="177" y="233"/>
                    <a:pt x="177" y="233"/>
                    <a:pt x="174" y="233"/>
                  </a:cubicBezTo>
                  <a:cubicBezTo>
                    <a:pt x="153" y="233"/>
                    <a:pt x="153" y="233"/>
                    <a:pt x="153" y="233"/>
                  </a:cubicBezTo>
                  <a:cubicBezTo>
                    <a:pt x="156" y="181"/>
                    <a:pt x="156" y="181"/>
                    <a:pt x="156" y="181"/>
                  </a:cubicBezTo>
                  <a:cubicBezTo>
                    <a:pt x="155" y="175"/>
                    <a:pt x="157" y="168"/>
                    <a:pt x="160" y="162"/>
                  </a:cubicBezTo>
                  <a:cubicBezTo>
                    <a:pt x="162" y="156"/>
                    <a:pt x="164" y="152"/>
                    <a:pt x="169" y="146"/>
                  </a:cubicBezTo>
                  <a:cubicBezTo>
                    <a:pt x="172" y="142"/>
                    <a:pt x="178" y="139"/>
                    <a:pt x="183" y="135"/>
                  </a:cubicBezTo>
                  <a:cubicBezTo>
                    <a:pt x="189" y="134"/>
                    <a:pt x="195" y="133"/>
                    <a:pt x="201" y="133"/>
                  </a:cubicBezTo>
                  <a:cubicBezTo>
                    <a:pt x="1062" y="138"/>
                    <a:pt x="1062" y="138"/>
                    <a:pt x="1062" y="138"/>
                  </a:cubicBezTo>
                  <a:cubicBezTo>
                    <a:pt x="1062" y="138"/>
                    <a:pt x="1062" y="138"/>
                    <a:pt x="1062" y="138"/>
                  </a:cubicBezTo>
                  <a:close/>
                  <a:moveTo>
                    <a:pt x="1050" y="212"/>
                  </a:moveTo>
                  <a:cubicBezTo>
                    <a:pt x="1033" y="193"/>
                    <a:pt x="1033" y="193"/>
                    <a:pt x="1033" y="193"/>
                  </a:cubicBezTo>
                  <a:cubicBezTo>
                    <a:pt x="1051" y="173"/>
                    <a:pt x="1051" y="173"/>
                    <a:pt x="1051" y="173"/>
                  </a:cubicBezTo>
                  <a:cubicBezTo>
                    <a:pt x="1040" y="174"/>
                    <a:pt x="1040" y="174"/>
                    <a:pt x="1040" y="174"/>
                  </a:cubicBezTo>
                  <a:cubicBezTo>
                    <a:pt x="1026" y="185"/>
                    <a:pt x="1026" y="185"/>
                    <a:pt x="1026" y="185"/>
                  </a:cubicBezTo>
                  <a:cubicBezTo>
                    <a:pt x="1016" y="174"/>
                    <a:pt x="1016" y="174"/>
                    <a:pt x="1016" y="174"/>
                  </a:cubicBezTo>
                  <a:cubicBezTo>
                    <a:pt x="1003" y="173"/>
                    <a:pt x="1003" y="173"/>
                    <a:pt x="1003" y="173"/>
                  </a:cubicBezTo>
                  <a:cubicBezTo>
                    <a:pt x="1021" y="192"/>
                    <a:pt x="1021" y="192"/>
                    <a:pt x="1021" y="192"/>
                  </a:cubicBezTo>
                  <a:cubicBezTo>
                    <a:pt x="1002" y="209"/>
                    <a:pt x="1002" y="209"/>
                    <a:pt x="1002" y="209"/>
                  </a:cubicBezTo>
                  <a:cubicBezTo>
                    <a:pt x="1014" y="211"/>
                    <a:pt x="1014" y="211"/>
                    <a:pt x="1014" y="211"/>
                  </a:cubicBezTo>
                  <a:cubicBezTo>
                    <a:pt x="1014" y="211"/>
                    <a:pt x="1014" y="211"/>
                    <a:pt x="1014" y="211"/>
                  </a:cubicBezTo>
                  <a:cubicBezTo>
                    <a:pt x="1027" y="197"/>
                    <a:pt x="1027" y="197"/>
                    <a:pt x="1027" y="197"/>
                  </a:cubicBezTo>
                  <a:cubicBezTo>
                    <a:pt x="1031" y="203"/>
                    <a:pt x="1031" y="203"/>
                    <a:pt x="1031" y="203"/>
                  </a:cubicBezTo>
                  <a:cubicBezTo>
                    <a:pt x="1038" y="211"/>
                    <a:pt x="1038" y="211"/>
                    <a:pt x="1038" y="211"/>
                  </a:cubicBezTo>
                  <a:cubicBezTo>
                    <a:pt x="1050" y="212"/>
                    <a:pt x="1050" y="212"/>
                    <a:pt x="1050" y="212"/>
                  </a:cubicBezTo>
                  <a:moveTo>
                    <a:pt x="972" y="210"/>
                  </a:moveTo>
                  <a:cubicBezTo>
                    <a:pt x="974" y="173"/>
                    <a:pt x="974" y="173"/>
                    <a:pt x="974" y="173"/>
                  </a:cubicBezTo>
                  <a:cubicBezTo>
                    <a:pt x="937" y="172"/>
                    <a:pt x="937" y="172"/>
                    <a:pt x="937" y="172"/>
                  </a:cubicBezTo>
                  <a:cubicBezTo>
                    <a:pt x="936" y="208"/>
                    <a:pt x="936" y="208"/>
                    <a:pt x="936" y="208"/>
                  </a:cubicBezTo>
                  <a:cubicBezTo>
                    <a:pt x="972" y="210"/>
                    <a:pt x="972" y="210"/>
                    <a:pt x="972" y="210"/>
                  </a:cubicBezTo>
                  <a:moveTo>
                    <a:pt x="912" y="211"/>
                  </a:moveTo>
                  <a:cubicBezTo>
                    <a:pt x="911" y="202"/>
                    <a:pt x="911" y="202"/>
                    <a:pt x="911" y="202"/>
                  </a:cubicBezTo>
                  <a:cubicBezTo>
                    <a:pt x="869" y="202"/>
                    <a:pt x="869" y="202"/>
                    <a:pt x="869" y="202"/>
                  </a:cubicBezTo>
                  <a:cubicBezTo>
                    <a:pt x="867" y="211"/>
                    <a:pt x="867" y="211"/>
                    <a:pt x="867" y="211"/>
                  </a:cubicBezTo>
                  <a:cubicBezTo>
                    <a:pt x="912" y="211"/>
                    <a:pt x="912" y="211"/>
                    <a:pt x="912" y="211"/>
                  </a:cubicBezTo>
                  <a:moveTo>
                    <a:pt x="1060" y="285"/>
                  </a:moveTo>
                  <a:cubicBezTo>
                    <a:pt x="1060" y="285"/>
                    <a:pt x="1060" y="285"/>
                    <a:pt x="1060" y="285"/>
                  </a:cubicBezTo>
                  <a:cubicBezTo>
                    <a:pt x="999" y="287"/>
                    <a:pt x="999" y="287"/>
                    <a:pt x="999" y="287"/>
                  </a:cubicBezTo>
                  <a:cubicBezTo>
                    <a:pt x="999" y="290"/>
                    <a:pt x="1003" y="292"/>
                    <a:pt x="1003" y="295"/>
                  </a:cubicBezTo>
                  <a:cubicBezTo>
                    <a:pt x="1003" y="298"/>
                    <a:pt x="1004" y="304"/>
                    <a:pt x="1008" y="307"/>
                  </a:cubicBezTo>
                  <a:cubicBezTo>
                    <a:pt x="1008" y="310"/>
                    <a:pt x="1008" y="313"/>
                    <a:pt x="1009" y="319"/>
                  </a:cubicBezTo>
                  <a:cubicBezTo>
                    <a:pt x="1009" y="322"/>
                    <a:pt x="1010" y="324"/>
                    <a:pt x="1007" y="331"/>
                  </a:cubicBezTo>
                  <a:cubicBezTo>
                    <a:pt x="1007" y="331"/>
                    <a:pt x="1007" y="331"/>
                    <a:pt x="1008" y="337"/>
                  </a:cubicBezTo>
                  <a:cubicBezTo>
                    <a:pt x="1008" y="337"/>
                    <a:pt x="1008" y="337"/>
                    <a:pt x="1060" y="336"/>
                  </a:cubicBezTo>
                  <a:cubicBezTo>
                    <a:pt x="1060" y="336"/>
                    <a:pt x="1060" y="336"/>
                    <a:pt x="1040" y="909"/>
                  </a:cubicBezTo>
                  <a:cubicBezTo>
                    <a:pt x="1040" y="909"/>
                    <a:pt x="1040" y="909"/>
                    <a:pt x="988" y="907"/>
                  </a:cubicBezTo>
                  <a:cubicBezTo>
                    <a:pt x="988" y="907"/>
                    <a:pt x="988" y="907"/>
                    <a:pt x="988" y="958"/>
                  </a:cubicBezTo>
                  <a:cubicBezTo>
                    <a:pt x="988" y="958"/>
                    <a:pt x="988" y="958"/>
                    <a:pt x="1037" y="961"/>
                  </a:cubicBezTo>
                  <a:cubicBezTo>
                    <a:pt x="1043" y="960"/>
                    <a:pt x="1052" y="959"/>
                    <a:pt x="1058" y="955"/>
                  </a:cubicBezTo>
                  <a:cubicBezTo>
                    <a:pt x="1064" y="955"/>
                    <a:pt x="1069" y="951"/>
                    <a:pt x="1075" y="944"/>
                  </a:cubicBezTo>
                  <a:cubicBezTo>
                    <a:pt x="1077" y="941"/>
                    <a:pt x="1083" y="937"/>
                    <a:pt x="1085" y="931"/>
                  </a:cubicBezTo>
                  <a:cubicBezTo>
                    <a:pt x="1087" y="925"/>
                    <a:pt x="1090" y="918"/>
                    <a:pt x="1089" y="909"/>
                  </a:cubicBezTo>
                  <a:cubicBezTo>
                    <a:pt x="1089" y="909"/>
                    <a:pt x="1089" y="909"/>
                    <a:pt x="1109" y="339"/>
                  </a:cubicBezTo>
                  <a:cubicBezTo>
                    <a:pt x="1108" y="330"/>
                    <a:pt x="1107" y="324"/>
                    <a:pt x="1106" y="318"/>
                  </a:cubicBezTo>
                  <a:cubicBezTo>
                    <a:pt x="1103" y="313"/>
                    <a:pt x="1099" y="307"/>
                    <a:pt x="1095" y="302"/>
                  </a:cubicBezTo>
                  <a:cubicBezTo>
                    <a:pt x="1091" y="296"/>
                    <a:pt x="1085" y="294"/>
                    <a:pt x="1079" y="292"/>
                  </a:cubicBezTo>
                  <a:cubicBezTo>
                    <a:pt x="1075" y="286"/>
                    <a:pt x="1066" y="287"/>
                    <a:pt x="1060" y="285"/>
                  </a:cubicBezTo>
                  <a:close/>
                  <a:moveTo>
                    <a:pt x="1196" y="150"/>
                  </a:moveTo>
                  <a:cubicBezTo>
                    <a:pt x="1196" y="150"/>
                    <a:pt x="1196" y="150"/>
                    <a:pt x="1196" y="150"/>
                  </a:cubicBezTo>
                  <a:cubicBezTo>
                    <a:pt x="1135" y="148"/>
                    <a:pt x="1135" y="148"/>
                    <a:pt x="1135" y="148"/>
                  </a:cubicBezTo>
                  <a:cubicBezTo>
                    <a:pt x="1135" y="151"/>
                    <a:pt x="1139" y="154"/>
                    <a:pt x="1139" y="157"/>
                  </a:cubicBezTo>
                  <a:cubicBezTo>
                    <a:pt x="1140" y="163"/>
                    <a:pt x="1143" y="165"/>
                    <a:pt x="1143" y="168"/>
                  </a:cubicBezTo>
                  <a:cubicBezTo>
                    <a:pt x="1144" y="171"/>
                    <a:pt x="1144" y="177"/>
                    <a:pt x="1145" y="180"/>
                  </a:cubicBezTo>
                  <a:cubicBezTo>
                    <a:pt x="1145" y="183"/>
                    <a:pt x="1146" y="189"/>
                    <a:pt x="1146" y="192"/>
                  </a:cubicBezTo>
                  <a:cubicBezTo>
                    <a:pt x="1146" y="192"/>
                    <a:pt x="1146" y="192"/>
                    <a:pt x="1144" y="198"/>
                  </a:cubicBezTo>
                  <a:cubicBezTo>
                    <a:pt x="1144" y="198"/>
                    <a:pt x="1144" y="198"/>
                    <a:pt x="1194" y="201"/>
                  </a:cubicBezTo>
                  <a:cubicBezTo>
                    <a:pt x="1194" y="201"/>
                    <a:pt x="1194" y="201"/>
                    <a:pt x="1177" y="771"/>
                  </a:cubicBezTo>
                  <a:cubicBezTo>
                    <a:pt x="1177" y="771"/>
                    <a:pt x="1177" y="771"/>
                    <a:pt x="1130" y="768"/>
                  </a:cubicBezTo>
                  <a:cubicBezTo>
                    <a:pt x="1130" y="768"/>
                    <a:pt x="1130" y="768"/>
                    <a:pt x="1128" y="819"/>
                  </a:cubicBezTo>
                  <a:cubicBezTo>
                    <a:pt x="1128" y="819"/>
                    <a:pt x="1128" y="819"/>
                    <a:pt x="1178" y="822"/>
                  </a:cubicBezTo>
                  <a:cubicBezTo>
                    <a:pt x="1184" y="821"/>
                    <a:pt x="1189" y="820"/>
                    <a:pt x="1195" y="820"/>
                  </a:cubicBezTo>
                  <a:cubicBezTo>
                    <a:pt x="1201" y="816"/>
                    <a:pt x="1206" y="812"/>
                    <a:pt x="1211" y="809"/>
                  </a:cubicBezTo>
                  <a:cubicBezTo>
                    <a:pt x="1216" y="802"/>
                    <a:pt x="1219" y="799"/>
                    <a:pt x="1221" y="793"/>
                  </a:cubicBezTo>
                  <a:cubicBezTo>
                    <a:pt x="1226" y="786"/>
                    <a:pt x="1225" y="780"/>
                    <a:pt x="1227" y="771"/>
                  </a:cubicBezTo>
                  <a:cubicBezTo>
                    <a:pt x="1227" y="771"/>
                    <a:pt x="1227" y="771"/>
                    <a:pt x="1244" y="201"/>
                  </a:cubicBezTo>
                  <a:cubicBezTo>
                    <a:pt x="1242" y="192"/>
                    <a:pt x="1242" y="186"/>
                    <a:pt x="1238" y="180"/>
                  </a:cubicBezTo>
                  <a:cubicBezTo>
                    <a:pt x="1237" y="174"/>
                    <a:pt x="1234" y="169"/>
                    <a:pt x="1230" y="163"/>
                  </a:cubicBezTo>
                  <a:cubicBezTo>
                    <a:pt x="1224" y="158"/>
                    <a:pt x="1220" y="156"/>
                    <a:pt x="1214" y="153"/>
                  </a:cubicBezTo>
                  <a:cubicBezTo>
                    <a:pt x="1208" y="151"/>
                    <a:pt x="1202" y="149"/>
                    <a:pt x="1196" y="150"/>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099509933"/>
      </p:ext>
    </p:extLst>
  </p:cSld>
  <p:clrMapOvr>
    <a:masterClrMapping/>
  </p:clrMapOvr>
  <p:transition>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fade">
                                      <p:cBhvr>
                                        <p:cTn id="7" dur="500"/>
                                        <p:tgtEl>
                                          <p:spTgt spid="1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1"/>
                                        </p:tgtEl>
                                        <p:attrNameLst>
                                          <p:attrName>style.visibility</p:attrName>
                                        </p:attrNameLst>
                                      </p:cBhvr>
                                      <p:to>
                                        <p:strVal val="visible"/>
                                      </p:to>
                                    </p:set>
                                    <p:animEffect transition="in" filter="fade">
                                      <p:cBhvr>
                                        <p:cTn id="11" dur="500"/>
                                        <p:tgtEl>
                                          <p:spTgt spid="1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500"/>
                                        <p:tgtEl>
                                          <p:spTgt spid="12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3"/>
                                        </p:tgtEl>
                                        <p:attrNameLst>
                                          <p:attrName>style.visibility</p:attrName>
                                        </p:attrNameLst>
                                      </p:cBhvr>
                                      <p:to>
                                        <p:strVal val="visible"/>
                                      </p:to>
                                    </p:set>
                                    <p:animEffect transition="in" filter="fade">
                                      <p:cBhvr>
                                        <p:cTn id="19" dur="500"/>
                                        <p:tgtEl>
                                          <p:spTgt spid="123"/>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200"/>
                                        </p:tgtEl>
                                        <p:attrNameLst>
                                          <p:attrName>style.visibility</p:attrName>
                                        </p:attrNameLst>
                                      </p:cBhvr>
                                      <p:to>
                                        <p:strVal val="visible"/>
                                      </p:to>
                                    </p:set>
                                    <p:animEffect transition="in" filter="wipe(left)">
                                      <p:cBhvr>
                                        <p:cTn id="24" dur="500"/>
                                        <p:tgtEl>
                                          <p:spTgt spid="200"/>
                                        </p:tgtEl>
                                      </p:cBhvr>
                                    </p:animEffect>
                                  </p:childTnLst>
                                </p:cTn>
                              </p:par>
                              <p:par>
                                <p:cTn id="25" presetID="22" presetClass="entr" presetSubtype="8" fill="hold" nodeType="withEffect">
                                  <p:stCondLst>
                                    <p:cond delay="0"/>
                                  </p:stCondLst>
                                  <p:childTnLst>
                                    <p:set>
                                      <p:cBhvr>
                                        <p:cTn id="26" dur="1" fill="hold">
                                          <p:stCondLst>
                                            <p:cond delay="0"/>
                                          </p:stCondLst>
                                        </p:cTn>
                                        <p:tgtEl>
                                          <p:spTgt spid="217"/>
                                        </p:tgtEl>
                                        <p:attrNameLst>
                                          <p:attrName>style.visibility</p:attrName>
                                        </p:attrNameLst>
                                      </p:cBhvr>
                                      <p:to>
                                        <p:strVal val="visible"/>
                                      </p:to>
                                    </p:set>
                                    <p:animEffect transition="in" filter="wipe(left)">
                                      <p:cBhvr>
                                        <p:cTn id="27" dur="500"/>
                                        <p:tgtEl>
                                          <p:spTgt spid="217"/>
                                        </p:tgtEl>
                                      </p:cBhvr>
                                    </p:animEffect>
                                  </p:childTnLst>
                                </p:cTn>
                              </p:par>
                              <p:par>
                                <p:cTn id="28" presetID="22" presetClass="entr" presetSubtype="8" fill="hold" nodeType="withEffect">
                                  <p:stCondLst>
                                    <p:cond delay="0"/>
                                  </p:stCondLst>
                                  <p:childTnLst>
                                    <p:set>
                                      <p:cBhvr>
                                        <p:cTn id="29" dur="1" fill="hold">
                                          <p:stCondLst>
                                            <p:cond delay="0"/>
                                          </p:stCondLst>
                                        </p:cTn>
                                        <p:tgtEl>
                                          <p:spTgt spid="175"/>
                                        </p:tgtEl>
                                        <p:attrNameLst>
                                          <p:attrName>style.visibility</p:attrName>
                                        </p:attrNameLst>
                                      </p:cBhvr>
                                      <p:to>
                                        <p:strVal val="visible"/>
                                      </p:to>
                                    </p:set>
                                    <p:animEffect transition="in" filter="wipe(left)">
                                      <p:cBhvr>
                                        <p:cTn id="30" dur="500"/>
                                        <p:tgtEl>
                                          <p:spTgt spid="175"/>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191"/>
                                        </p:tgtEl>
                                        <p:attrNameLst>
                                          <p:attrName>style.visibility</p:attrName>
                                        </p:attrNameLst>
                                      </p:cBhvr>
                                      <p:to>
                                        <p:strVal val="visible"/>
                                      </p:to>
                                    </p:set>
                                    <p:animEffect transition="in" filter="wipe(left)">
                                      <p:cBhvr>
                                        <p:cTn id="35" dur="500"/>
                                        <p:tgtEl>
                                          <p:spTgt spid="191"/>
                                        </p:tgtEl>
                                      </p:cBhvr>
                                    </p:animEffect>
                                  </p:childTnLst>
                                </p:cTn>
                              </p:par>
                              <p:par>
                                <p:cTn id="36" presetID="22" presetClass="entr" presetSubtype="8" fill="hold" nodeType="withEffect">
                                  <p:stCondLst>
                                    <p:cond delay="0"/>
                                  </p:stCondLst>
                                  <p:childTnLst>
                                    <p:set>
                                      <p:cBhvr>
                                        <p:cTn id="37" dur="1" fill="hold">
                                          <p:stCondLst>
                                            <p:cond delay="0"/>
                                          </p:stCondLst>
                                        </p:cTn>
                                        <p:tgtEl>
                                          <p:spTgt spid="158"/>
                                        </p:tgtEl>
                                        <p:attrNameLst>
                                          <p:attrName>style.visibility</p:attrName>
                                        </p:attrNameLst>
                                      </p:cBhvr>
                                      <p:to>
                                        <p:strVal val="visible"/>
                                      </p:to>
                                    </p:set>
                                    <p:animEffect transition="in" filter="wipe(left)">
                                      <p:cBhvr>
                                        <p:cTn id="38" dur="500"/>
                                        <p:tgtEl>
                                          <p:spTgt spid="158"/>
                                        </p:tgtEl>
                                      </p:cBhvr>
                                    </p:animEffect>
                                  </p:childTnLst>
                                </p:cTn>
                              </p:par>
                              <p:par>
                                <p:cTn id="39" presetID="22" presetClass="entr" presetSubtype="8" fill="hold" nodeType="withEffect">
                                  <p:stCondLst>
                                    <p:cond delay="0"/>
                                  </p:stCondLst>
                                  <p:childTnLst>
                                    <p:set>
                                      <p:cBhvr>
                                        <p:cTn id="40" dur="1" fill="hold">
                                          <p:stCondLst>
                                            <p:cond delay="0"/>
                                          </p:stCondLst>
                                        </p:cTn>
                                        <p:tgtEl>
                                          <p:spTgt spid="171"/>
                                        </p:tgtEl>
                                        <p:attrNameLst>
                                          <p:attrName>style.visibility</p:attrName>
                                        </p:attrNameLst>
                                      </p:cBhvr>
                                      <p:to>
                                        <p:strVal val="visible"/>
                                      </p:to>
                                    </p:set>
                                    <p:animEffect transition="in" filter="wipe(left)">
                                      <p:cBhvr>
                                        <p:cTn id="41" dur="500"/>
                                        <p:tgtEl>
                                          <p:spTgt spid="171"/>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213"/>
                                        </p:tgtEl>
                                        <p:attrNameLst>
                                          <p:attrName>style.visibility</p:attrName>
                                        </p:attrNameLst>
                                      </p:cBhvr>
                                      <p:to>
                                        <p:strVal val="visible"/>
                                      </p:to>
                                    </p:set>
                                    <p:animEffect transition="in" filter="wipe(left)">
                                      <p:cBhvr>
                                        <p:cTn id="46" dur="500"/>
                                        <p:tgtEl>
                                          <p:spTgt spid="213"/>
                                        </p:tgtEl>
                                      </p:cBhvr>
                                    </p:animEffect>
                                  </p:childTnLst>
                                </p:cTn>
                              </p:par>
                              <p:par>
                                <p:cTn id="47" presetID="22" presetClass="entr" presetSubtype="8" fill="hold" nodeType="withEffect">
                                  <p:stCondLst>
                                    <p:cond delay="0"/>
                                  </p:stCondLst>
                                  <p:childTnLst>
                                    <p:set>
                                      <p:cBhvr>
                                        <p:cTn id="48" dur="1" fill="hold">
                                          <p:stCondLst>
                                            <p:cond delay="0"/>
                                          </p:stCondLst>
                                        </p:cTn>
                                        <p:tgtEl>
                                          <p:spTgt spid="149"/>
                                        </p:tgtEl>
                                        <p:attrNameLst>
                                          <p:attrName>style.visibility</p:attrName>
                                        </p:attrNameLst>
                                      </p:cBhvr>
                                      <p:to>
                                        <p:strVal val="visible"/>
                                      </p:to>
                                    </p:set>
                                    <p:animEffect transition="in" filter="wipe(left)">
                                      <p:cBhvr>
                                        <p:cTn id="49" dur="500"/>
                                        <p:tgtEl>
                                          <p:spTgt spid="149"/>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223"/>
                                        </p:tgtEl>
                                        <p:attrNameLst>
                                          <p:attrName>style.visibility</p:attrName>
                                        </p:attrNameLst>
                                      </p:cBhvr>
                                      <p:to>
                                        <p:strVal val="visible"/>
                                      </p:to>
                                    </p:set>
                                    <p:animEffect transition="in" filter="wipe(left)">
                                      <p:cBhvr>
                                        <p:cTn id="52" dur="500"/>
                                        <p:tgtEl>
                                          <p:spTgt spid="223"/>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nodeType="clickEffect">
                                  <p:stCondLst>
                                    <p:cond delay="0"/>
                                  </p:stCondLst>
                                  <p:childTnLst>
                                    <p:set>
                                      <p:cBhvr>
                                        <p:cTn id="56" dur="1" fill="hold">
                                          <p:stCondLst>
                                            <p:cond delay="0"/>
                                          </p:stCondLst>
                                        </p:cTn>
                                        <p:tgtEl>
                                          <p:spTgt spid="225"/>
                                        </p:tgtEl>
                                        <p:attrNameLst>
                                          <p:attrName>style.visibility</p:attrName>
                                        </p:attrNameLst>
                                      </p:cBhvr>
                                      <p:to>
                                        <p:strVal val="visible"/>
                                      </p:to>
                                    </p:set>
                                    <p:animEffect transition="in" filter="wipe(left)">
                                      <p:cBhvr>
                                        <p:cTn id="57" dur="500"/>
                                        <p:tgtEl>
                                          <p:spTgt spid="225"/>
                                        </p:tgtEl>
                                      </p:cBhvr>
                                    </p:animEffect>
                                  </p:childTnLst>
                                </p:cTn>
                              </p:par>
                              <p:par>
                                <p:cTn id="58" presetID="22" presetClass="entr" presetSubtype="8" fill="hold" nodeType="withEffect">
                                  <p:stCondLst>
                                    <p:cond delay="0"/>
                                  </p:stCondLst>
                                  <p:childTnLst>
                                    <p:set>
                                      <p:cBhvr>
                                        <p:cTn id="59" dur="1" fill="hold">
                                          <p:stCondLst>
                                            <p:cond delay="0"/>
                                          </p:stCondLst>
                                        </p:cTn>
                                        <p:tgtEl>
                                          <p:spTgt spid="229"/>
                                        </p:tgtEl>
                                        <p:attrNameLst>
                                          <p:attrName>style.visibility</p:attrName>
                                        </p:attrNameLst>
                                      </p:cBhvr>
                                      <p:to>
                                        <p:strVal val="visible"/>
                                      </p:to>
                                    </p:set>
                                    <p:animEffect transition="in" filter="wipe(left)">
                                      <p:cBhvr>
                                        <p:cTn id="60" dur="500"/>
                                        <p:tgtEl>
                                          <p:spTgt spid="229"/>
                                        </p:tgtEl>
                                      </p:cBhvr>
                                    </p:animEffect>
                                  </p:childTnLst>
                                </p:cTn>
                              </p:par>
                              <p:par>
                                <p:cTn id="61" presetID="22" presetClass="entr" presetSubtype="8" fill="hold" grpId="0" nodeType="withEffect">
                                  <p:stCondLst>
                                    <p:cond delay="0"/>
                                  </p:stCondLst>
                                  <p:childTnLst>
                                    <p:set>
                                      <p:cBhvr>
                                        <p:cTn id="62" dur="1" fill="hold">
                                          <p:stCondLst>
                                            <p:cond delay="0"/>
                                          </p:stCondLst>
                                        </p:cTn>
                                        <p:tgtEl>
                                          <p:spTgt spid="232"/>
                                        </p:tgtEl>
                                        <p:attrNameLst>
                                          <p:attrName>style.visibility</p:attrName>
                                        </p:attrNameLst>
                                      </p:cBhvr>
                                      <p:to>
                                        <p:strVal val="visible"/>
                                      </p:to>
                                    </p:set>
                                    <p:animEffect transition="in" filter="wipe(left)">
                                      <p:cBhvr>
                                        <p:cTn id="63" dur="500"/>
                                        <p:tgtEl>
                                          <p:spTgt spid="2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p:bldP spid="121" grpId="0"/>
      <p:bldP spid="122" grpId="0"/>
      <p:bldP spid="123" grpId="0"/>
      <p:bldP spid="223" grpId="0" animBg="1"/>
      <p:bldP spid="23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ectangle 168"/>
          <p:cNvSpPr/>
          <p:nvPr/>
        </p:nvSpPr>
        <p:spPr bwMode="auto">
          <a:xfrm>
            <a:off x="4357779" y="3927995"/>
            <a:ext cx="3697195" cy="103294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326411" rIns="186521" bIns="46628" numCol="1" rtlCol="0" anchor="t" anchorCtr="0" compatLnSpc="1">
            <a:prstTxWarp prst="textNoShape">
              <a:avLst/>
            </a:prstTxWarp>
          </a:bodyPr>
          <a:lstStyle/>
          <a:p>
            <a:pPr defTabSz="932290" fontAlgn="base">
              <a:spcBef>
                <a:spcPct val="0"/>
              </a:spcBef>
              <a:spcAft>
                <a:spcPct val="0"/>
              </a:spcAft>
            </a:pPr>
            <a:r>
              <a:rPr lang="en-US" sz="1428" b="1" kern="0" spc="-51" dirty="0">
                <a:solidFill>
                  <a:schemeClr val="tx1"/>
                </a:solidFill>
                <a:ea typeface="Segoe UI" pitchFamily="34" charset="0"/>
                <a:cs typeface="Segoe UI" pitchFamily="34" charset="0"/>
              </a:rPr>
              <a:t>User Profile Disk </a:t>
            </a:r>
            <a:r>
              <a:rPr lang="en-US" sz="1428" kern="0" spc="-51" dirty="0">
                <a:solidFill>
                  <a:schemeClr val="tx1"/>
                </a:solidFill>
                <a:ea typeface="Segoe UI" pitchFamily="34" charset="0"/>
                <a:cs typeface="Segoe UI" pitchFamily="34" charset="0"/>
              </a:rPr>
              <a:t>maintains user personalization in pooled </a:t>
            </a:r>
            <a:r>
              <a:rPr lang="en-US" sz="1428" kern="0" spc="-51" dirty="0" smtClean="0">
                <a:solidFill>
                  <a:schemeClr val="tx1"/>
                </a:solidFill>
                <a:ea typeface="Segoe UI" pitchFamily="34" charset="0"/>
                <a:cs typeface="Segoe UI" pitchFamily="34" charset="0"/>
              </a:rPr>
              <a:t>deployments.</a:t>
            </a:r>
            <a:endParaRPr lang="en-US" sz="1428" kern="0" spc="-51" dirty="0">
              <a:solidFill>
                <a:schemeClr val="tx1"/>
              </a:solidFill>
              <a:ea typeface="Segoe UI" pitchFamily="34" charset="0"/>
              <a:cs typeface="Segoe UI" pitchFamily="34" charset="0"/>
            </a:endParaRPr>
          </a:p>
        </p:txBody>
      </p:sp>
      <p:sp>
        <p:nvSpPr>
          <p:cNvPr id="170" name="Rectangle 169"/>
          <p:cNvSpPr/>
          <p:nvPr/>
        </p:nvSpPr>
        <p:spPr bwMode="auto">
          <a:xfrm>
            <a:off x="4357780" y="4516020"/>
            <a:ext cx="3697194" cy="88465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326411" rIns="186521" bIns="46628" numCol="1" rtlCol="0" anchor="t" anchorCtr="0" compatLnSpc="1">
            <a:prstTxWarp prst="textNoShape">
              <a:avLst/>
            </a:prstTxWarp>
          </a:bodyPr>
          <a:lstStyle/>
          <a:p>
            <a:pPr defTabSz="932290" fontAlgn="base">
              <a:spcBef>
                <a:spcPct val="0"/>
              </a:spcBef>
              <a:spcAft>
                <a:spcPct val="0"/>
              </a:spcAft>
            </a:pPr>
            <a:r>
              <a:rPr lang="en-US" sz="1428" b="1" kern="0" spc="-51" dirty="0">
                <a:solidFill>
                  <a:schemeClr val="tx1"/>
                </a:solidFill>
                <a:ea typeface="Segoe UI" pitchFamily="34" charset="0"/>
                <a:cs typeface="Segoe UI" pitchFamily="34" charset="0"/>
              </a:rPr>
              <a:t>Fair Share </a:t>
            </a:r>
            <a:r>
              <a:rPr lang="en-US" sz="1428" kern="0" spc="-51" dirty="0">
                <a:solidFill>
                  <a:schemeClr val="tx1"/>
                </a:solidFill>
                <a:ea typeface="Segoe UI" pitchFamily="34" charset="0"/>
                <a:cs typeface="Segoe UI" pitchFamily="34" charset="0"/>
              </a:rPr>
              <a:t>dynamically distributes bandwidth, CPU, and disk </a:t>
            </a:r>
            <a:r>
              <a:rPr lang="en-US" sz="1428" kern="0" spc="-51" dirty="0" smtClean="0">
                <a:solidFill>
                  <a:schemeClr val="tx1"/>
                </a:solidFill>
                <a:ea typeface="Segoe UI" pitchFamily="34" charset="0"/>
                <a:cs typeface="Segoe UI" pitchFamily="34" charset="0"/>
              </a:rPr>
              <a:t>use.</a:t>
            </a:r>
            <a:endParaRPr lang="en-US" sz="1428" kern="0" spc="-51" dirty="0">
              <a:solidFill>
                <a:schemeClr val="tx1"/>
              </a:solidFill>
              <a:ea typeface="Segoe UI" pitchFamily="34" charset="0"/>
              <a:cs typeface="Segoe UI" pitchFamily="34" charset="0"/>
            </a:endParaRPr>
          </a:p>
        </p:txBody>
      </p:sp>
      <p:sp>
        <p:nvSpPr>
          <p:cNvPr id="171" name="Rectangle 170"/>
          <p:cNvSpPr/>
          <p:nvPr/>
        </p:nvSpPr>
        <p:spPr bwMode="auto">
          <a:xfrm>
            <a:off x="4357779" y="5134787"/>
            <a:ext cx="3697195" cy="120886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326411" rIns="186521" bIns="46628" numCol="1" rtlCol="0" anchor="t" anchorCtr="0" compatLnSpc="1">
            <a:prstTxWarp prst="textNoShape">
              <a:avLst/>
            </a:prstTxWarp>
          </a:bodyPr>
          <a:lstStyle/>
          <a:p>
            <a:pPr defTabSz="932290" fontAlgn="base">
              <a:spcBef>
                <a:spcPct val="0"/>
              </a:spcBef>
              <a:spcAft>
                <a:spcPct val="0"/>
              </a:spcAft>
            </a:pPr>
            <a:r>
              <a:rPr lang="en-US" sz="1428" b="1" kern="0" spc="-51" dirty="0" smtClean="0">
                <a:solidFill>
                  <a:schemeClr val="tx1"/>
                </a:solidFill>
                <a:ea typeface="Segoe UI" pitchFamily="34" charset="0"/>
                <a:cs typeface="Segoe UI" pitchFamily="34" charset="0"/>
              </a:rPr>
              <a:t>Flexible storage </a:t>
            </a:r>
            <a:r>
              <a:rPr lang="en-US" sz="1428" b="1" kern="0" spc="-51" dirty="0">
                <a:solidFill>
                  <a:schemeClr val="tx1"/>
                </a:solidFill>
                <a:ea typeface="Segoe UI" pitchFamily="34" charset="0"/>
                <a:cs typeface="Segoe UI" pitchFamily="34" charset="0"/>
              </a:rPr>
              <a:t>options </a:t>
            </a:r>
            <a:r>
              <a:rPr lang="en-US" sz="1428" kern="0" spc="-51" dirty="0">
                <a:solidFill>
                  <a:schemeClr val="tx1"/>
                </a:solidFill>
                <a:ea typeface="Segoe UI" pitchFamily="34" charset="0"/>
                <a:cs typeface="Segoe UI" pitchFamily="34" charset="0"/>
              </a:rPr>
              <a:t>support direct-attached, network-attached, or storage area network (SAN) storage of virtual </a:t>
            </a:r>
            <a:r>
              <a:rPr lang="en-US" sz="1428" kern="0" spc="-51" dirty="0" smtClean="0">
                <a:solidFill>
                  <a:schemeClr val="tx1"/>
                </a:solidFill>
                <a:ea typeface="Segoe UI" pitchFamily="34" charset="0"/>
                <a:cs typeface="Segoe UI" pitchFamily="34" charset="0"/>
              </a:rPr>
              <a:t>machines.</a:t>
            </a:r>
            <a:endParaRPr lang="en-US" sz="1428" kern="0" spc="-51" dirty="0">
              <a:solidFill>
                <a:schemeClr val="tx1"/>
              </a:solidFill>
              <a:ea typeface="Segoe UI" pitchFamily="34" charset="0"/>
              <a:cs typeface="Segoe UI" pitchFamily="34" charset="0"/>
            </a:endParaRPr>
          </a:p>
        </p:txBody>
      </p:sp>
      <p:sp>
        <p:nvSpPr>
          <p:cNvPr id="173" name="Rectangle 172"/>
          <p:cNvSpPr/>
          <p:nvPr/>
        </p:nvSpPr>
        <p:spPr bwMode="auto">
          <a:xfrm>
            <a:off x="251008" y="3933687"/>
            <a:ext cx="3679641" cy="82512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326411" rIns="186521" bIns="46628" numCol="1" rtlCol="0" anchor="t" anchorCtr="0" compatLnSpc="1">
            <a:prstTxWarp prst="textNoShape">
              <a:avLst/>
            </a:prstTxWarp>
          </a:bodyPr>
          <a:lstStyle/>
          <a:p>
            <a:pPr defTabSz="932290" fontAlgn="base">
              <a:spcBef>
                <a:spcPct val="0"/>
              </a:spcBef>
              <a:spcAft>
                <a:spcPct val="0"/>
              </a:spcAft>
            </a:pPr>
            <a:r>
              <a:rPr lang="en-US" sz="1428" b="1" kern="0" spc="-51" dirty="0">
                <a:solidFill>
                  <a:schemeClr val="tx1"/>
                </a:solidFill>
                <a:ea typeface="Segoe UI" pitchFamily="34" charset="0"/>
                <a:cs typeface="Segoe UI" pitchFamily="34" charset="0"/>
              </a:rPr>
              <a:t>Easy deployment </a:t>
            </a:r>
            <a:r>
              <a:rPr lang="en-US" sz="1428" kern="0" spc="-51" dirty="0">
                <a:solidFill>
                  <a:schemeClr val="tx1"/>
                </a:solidFill>
                <a:ea typeface="Segoe UI" pitchFamily="34" charset="0"/>
                <a:cs typeface="Segoe UI" pitchFamily="34" charset="0"/>
              </a:rPr>
              <a:t>automates deploying and configuring server </a:t>
            </a:r>
            <a:r>
              <a:rPr lang="en-US" sz="1428" kern="0" spc="-51" dirty="0" smtClean="0">
                <a:solidFill>
                  <a:schemeClr val="tx1"/>
                </a:solidFill>
                <a:ea typeface="Segoe UI" pitchFamily="34" charset="0"/>
                <a:cs typeface="Segoe UI" pitchFamily="34" charset="0"/>
              </a:rPr>
              <a:t>roles.</a:t>
            </a:r>
            <a:endParaRPr lang="en-US" sz="1428" kern="0" spc="-51" dirty="0">
              <a:solidFill>
                <a:schemeClr val="tx1"/>
              </a:solidFill>
              <a:ea typeface="Segoe UI" pitchFamily="34" charset="0"/>
              <a:cs typeface="Segoe UI" pitchFamily="34" charset="0"/>
            </a:endParaRPr>
          </a:p>
        </p:txBody>
      </p:sp>
      <p:sp>
        <p:nvSpPr>
          <p:cNvPr id="174" name="Rectangle 173"/>
          <p:cNvSpPr/>
          <p:nvPr/>
        </p:nvSpPr>
        <p:spPr bwMode="auto">
          <a:xfrm>
            <a:off x="247650" y="4513263"/>
            <a:ext cx="3692524" cy="86518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326411" rIns="186521" bIns="46628" numCol="1" rtlCol="0" anchor="t" anchorCtr="0" compatLnSpc="1">
            <a:prstTxWarp prst="textNoShape">
              <a:avLst/>
            </a:prstTxWarp>
          </a:bodyPr>
          <a:lstStyle/>
          <a:p>
            <a:pPr defTabSz="932290" fontAlgn="base">
              <a:spcBef>
                <a:spcPct val="0"/>
              </a:spcBef>
              <a:spcAft>
                <a:spcPct val="0"/>
              </a:spcAft>
            </a:pPr>
            <a:r>
              <a:rPr lang="en-US" sz="1428" b="1" kern="0" spc="-51" dirty="0">
                <a:solidFill>
                  <a:schemeClr val="tx1"/>
                </a:solidFill>
                <a:ea typeface="Segoe UI" pitchFamily="34" charset="0"/>
                <a:cs typeface="Segoe UI" pitchFamily="34" charset="0"/>
              </a:rPr>
              <a:t>Unified administration </a:t>
            </a:r>
            <a:r>
              <a:rPr lang="en-US" sz="1428" kern="0" spc="-51" dirty="0">
                <a:solidFill>
                  <a:schemeClr val="tx1"/>
                </a:solidFill>
                <a:ea typeface="Segoe UI" pitchFamily="34" charset="0"/>
                <a:cs typeface="Segoe UI" pitchFamily="34" charset="0"/>
              </a:rPr>
              <a:t>uses a single, integrated console for </a:t>
            </a:r>
            <a:r>
              <a:rPr lang="en-US" sz="1428" kern="0" spc="-51" dirty="0" smtClean="0">
                <a:solidFill>
                  <a:schemeClr val="tx1"/>
                </a:solidFill>
                <a:ea typeface="Segoe UI" pitchFamily="34" charset="0"/>
                <a:cs typeface="Segoe UI" pitchFamily="34" charset="0"/>
              </a:rPr>
              <a:t>management.</a:t>
            </a:r>
            <a:endParaRPr lang="en-US" sz="1428" kern="0" spc="-51" dirty="0">
              <a:solidFill>
                <a:schemeClr val="tx1"/>
              </a:solidFill>
              <a:ea typeface="Segoe UI" pitchFamily="34" charset="0"/>
              <a:cs typeface="Segoe UI" pitchFamily="34" charset="0"/>
            </a:endParaRPr>
          </a:p>
        </p:txBody>
      </p:sp>
      <p:sp>
        <p:nvSpPr>
          <p:cNvPr id="175" name="Rectangle 174"/>
          <p:cNvSpPr/>
          <p:nvPr/>
        </p:nvSpPr>
        <p:spPr bwMode="auto">
          <a:xfrm>
            <a:off x="247650" y="5135945"/>
            <a:ext cx="3692524" cy="111086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326411" rIns="186521" bIns="46628" numCol="1" rtlCol="0" anchor="t" anchorCtr="0" compatLnSpc="1">
            <a:prstTxWarp prst="textNoShape">
              <a:avLst/>
            </a:prstTxWarp>
          </a:bodyPr>
          <a:lstStyle/>
          <a:p>
            <a:pPr defTabSz="932290" fontAlgn="base">
              <a:spcBef>
                <a:spcPct val="0"/>
              </a:spcBef>
              <a:spcAft>
                <a:spcPct val="0"/>
              </a:spcAft>
            </a:pPr>
            <a:r>
              <a:rPr lang="en-US" sz="1428" b="1" kern="0" spc="-51" dirty="0">
                <a:solidFill>
                  <a:schemeClr val="tx1"/>
                </a:solidFill>
                <a:ea typeface="Segoe UI" pitchFamily="34" charset="0"/>
                <a:cs typeface="Segoe UI" pitchFamily="34" charset="0"/>
              </a:rPr>
              <a:t>Streamlined management </a:t>
            </a:r>
            <a:r>
              <a:rPr lang="en-US" sz="1428" kern="0" spc="-51" dirty="0">
                <a:solidFill>
                  <a:schemeClr val="tx1"/>
                </a:solidFill>
                <a:ea typeface="Segoe UI" pitchFamily="34" charset="0"/>
                <a:cs typeface="Segoe UI" pitchFamily="34" charset="0"/>
              </a:rPr>
              <a:t>helps IT manage pooled and personal virtual </a:t>
            </a:r>
            <a:r>
              <a:rPr lang="en-US" sz="1428" kern="0" spc="-51" dirty="0" smtClean="0">
                <a:solidFill>
                  <a:schemeClr val="tx1"/>
                </a:solidFill>
                <a:ea typeface="Segoe UI" pitchFamily="34" charset="0"/>
                <a:cs typeface="Segoe UI" pitchFamily="34" charset="0"/>
              </a:rPr>
              <a:t>machines.</a:t>
            </a:r>
            <a:endParaRPr lang="en-US" sz="1428" kern="0" spc="-51" dirty="0">
              <a:solidFill>
                <a:schemeClr val="tx1"/>
              </a:solidFill>
              <a:ea typeface="Segoe UI" pitchFamily="34" charset="0"/>
              <a:cs typeface="Segoe UI" pitchFamily="34" charset="0"/>
            </a:endParaRPr>
          </a:p>
        </p:txBody>
      </p:sp>
      <p:sp>
        <p:nvSpPr>
          <p:cNvPr id="8" name="TextBox 7"/>
          <p:cNvSpPr txBox="1"/>
          <p:nvPr/>
        </p:nvSpPr>
        <p:spPr>
          <a:xfrm>
            <a:off x="457200" y="3684299"/>
            <a:ext cx="3473449" cy="626454"/>
          </a:xfrm>
          <a:prstGeom prst="rect">
            <a:avLst/>
          </a:prstGeom>
          <a:noFill/>
        </p:spPr>
        <p:txBody>
          <a:bodyPr wrap="square" lIns="147600" tIns="147600" rIns="147600" bIns="147600" rtlCol="0" anchor="ctr" anchorCtr="0">
            <a:noAutofit/>
          </a:bodyPr>
          <a:lstStyle/>
          <a:p>
            <a:pPr algn="ctr">
              <a:lnSpc>
                <a:spcPct val="90000"/>
              </a:lnSpc>
            </a:pPr>
            <a:r>
              <a:rPr lang="en-US" sz="2400" b="1" dirty="0" smtClean="0">
                <a:solidFill>
                  <a:schemeClr val="accent1"/>
                </a:solidFill>
              </a:rPr>
              <a:t>Efficient Management</a:t>
            </a:r>
            <a:endParaRPr lang="en-US" sz="2400" b="1" dirty="0">
              <a:solidFill>
                <a:schemeClr val="accent1"/>
              </a:solidFill>
            </a:endParaRPr>
          </a:p>
        </p:txBody>
      </p:sp>
      <p:sp>
        <p:nvSpPr>
          <p:cNvPr id="2" name="Title 1"/>
          <p:cNvSpPr>
            <a:spLocks noGrp="1"/>
          </p:cNvSpPr>
          <p:nvPr>
            <p:ph type="title"/>
          </p:nvPr>
        </p:nvSpPr>
        <p:spPr>
          <a:xfrm>
            <a:off x="291494" y="309016"/>
            <a:ext cx="11375536" cy="738664"/>
          </a:xfrm>
        </p:spPr>
        <p:txBody>
          <a:bodyPr/>
          <a:lstStyle/>
          <a:p>
            <a:r>
              <a:rPr lang="en-US" dirty="0" smtClean="0"/>
              <a:t>Solution Principles</a:t>
            </a:r>
            <a:endParaRPr lang="en-US" dirty="0"/>
          </a:p>
        </p:txBody>
      </p:sp>
      <p:sp>
        <p:nvSpPr>
          <p:cNvPr id="4" name="Slide Number Placeholder 3"/>
          <p:cNvSpPr>
            <a:spLocks noGrp="1"/>
          </p:cNvSpPr>
          <p:nvPr>
            <p:ph type="sldNum" sz="quarter" idx="4294967295"/>
          </p:nvPr>
        </p:nvSpPr>
        <p:spPr>
          <a:xfrm>
            <a:off x="23927436" y="6557369"/>
            <a:ext cx="233151" cy="131883"/>
          </a:xfrm>
          <a:prstGeom prst="rect">
            <a:avLst/>
          </a:prstGeom>
        </p:spPr>
        <p:txBody>
          <a:bodyPr/>
          <a:lstStyle/>
          <a:p>
            <a:pPr>
              <a:lnSpc>
                <a:spcPct val="90000"/>
              </a:lnSpc>
            </a:pPr>
            <a:fld id="{1BC86A1F-E589-44B2-A543-2EC98F5547A7}" type="slidenum">
              <a:rPr lang="en-US" smtClean="0"/>
              <a:pPr>
                <a:lnSpc>
                  <a:spcPct val="90000"/>
                </a:lnSpc>
              </a:pPr>
              <a:t>9</a:t>
            </a:fld>
            <a:endParaRPr lang="en-US" dirty="0"/>
          </a:p>
        </p:txBody>
      </p:sp>
      <p:sp>
        <p:nvSpPr>
          <p:cNvPr id="55" name="TextBox 54"/>
          <p:cNvSpPr txBox="1"/>
          <p:nvPr/>
        </p:nvSpPr>
        <p:spPr>
          <a:xfrm>
            <a:off x="8504237" y="3678490"/>
            <a:ext cx="3648075" cy="632929"/>
          </a:xfrm>
          <a:prstGeom prst="rect">
            <a:avLst/>
          </a:prstGeom>
          <a:noFill/>
        </p:spPr>
        <p:txBody>
          <a:bodyPr wrap="square" lIns="147600" tIns="147600" rIns="147600" bIns="147600" rtlCol="0" anchor="ctr">
            <a:noAutofit/>
          </a:bodyPr>
          <a:lstStyle/>
          <a:p>
            <a:pPr algn="ctr">
              <a:lnSpc>
                <a:spcPct val="90000"/>
              </a:lnSpc>
            </a:pPr>
            <a:r>
              <a:rPr lang="en-US" sz="2400" b="1" dirty="0">
                <a:solidFill>
                  <a:schemeClr val="accent1"/>
                </a:solidFill>
              </a:rPr>
              <a:t>Rich User </a:t>
            </a:r>
            <a:r>
              <a:rPr lang="en-US" sz="2400" b="1" dirty="0" smtClean="0">
                <a:solidFill>
                  <a:schemeClr val="accent1"/>
                </a:solidFill>
              </a:rPr>
              <a:t>Experience</a:t>
            </a:r>
            <a:endParaRPr lang="en-US" sz="2400" b="1" dirty="0">
              <a:solidFill>
                <a:schemeClr val="accent1"/>
              </a:solidFill>
            </a:endParaRPr>
          </a:p>
        </p:txBody>
      </p:sp>
      <p:sp>
        <p:nvSpPr>
          <p:cNvPr id="69" name="Rectangle 68"/>
          <p:cNvSpPr/>
          <p:nvPr/>
        </p:nvSpPr>
        <p:spPr bwMode="auto">
          <a:xfrm>
            <a:off x="8504236" y="5112014"/>
            <a:ext cx="3648076" cy="84063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326411" rIns="186521" bIns="46628" numCol="1" rtlCol="0" anchor="t" anchorCtr="0" compatLnSpc="1">
            <a:prstTxWarp prst="textNoShape">
              <a:avLst/>
            </a:prstTxWarp>
          </a:bodyPr>
          <a:lstStyle/>
          <a:p>
            <a:pPr defTabSz="932290" fontAlgn="base">
              <a:spcBef>
                <a:spcPct val="0"/>
              </a:spcBef>
              <a:spcAft>
                <a:spcPct val="0"/>
              </a:spcAft>
            </a:pPr>
            <a:r>
              <a:rPr lang="en-US" sz="1428" b="1" kern="0" spc="-51" dirty="0">
                <a:solidFill>
                  <a:schemeClr val="tx1"/>
                </a:solidFill>
                <a:ea typeface="Segoe UI" pitchFamily="34" charset="0"/>
                <a:cs typeface="Segoe UI" pitchFamily="34" charset="0"/>
              </a:rPr>
              <a:t>USB redirection </a:t>
            </a:r>
            <a:r>
              <a:rPr lang="en-US" sz="1428" kern="0" spc="-51" dirty="0">
                <a:solidFill>
                  <a:schemeClr val="tx1"/>
                </a:solidFill>
                <a:ea typeface="Segoe UI" pitchFamily="34" charset="0"/>
                <a:cs typeface="Segoe UI" pitchFamily="34" charset="0"/>
              </a:rPr>
              <a:t>enables access to locally attached devices in remote </a:t>
            </a:r>
            <a:r>
              <a:rPr lang="en-US" sz="1428" kern="0" spc="-51" dirty="0" smtClean="0">
                <a:solidFill>
                  <a:schemeClr val="tx1"/>
                </a:solidFill>
                <a:ea typeface="Segoe UI" pitchFamily="34" charset="0"/>
                <a:cs typeface="Segoe UI" pitchFamily="34" charset="0"/>
              </a:rPr>
              <a:t>desktops.</a:t>
            </a:r>
            <a:endParaRPr lang="en-US" sz="1428" kern="0" spc="-51" dirty="0">
              <a:solidFill>
                <a:schemeClr val="tx1"/>
              </a:solidFill>
              <a:ea typeface="Segoe UI" pitchFamily="34" charset="0"/>
              <a:cs typeface="Segoe UI" pitchFamily="34" charset="0"/>
            </a:endParaRPr>
          </a:p>
        </p:txBody>
      </p:sp>
      <p:sp>
        <p:nvSpPr>
          <p:cNvPr id="70" name="Rectangle 69"/>
          <p:cNvSpPr/>
          <p:nvPr/>
        </p:nvSpPr>
        <p:spPr bwMode="auto">
          <a:xfrm>
            <a:off x="8504236" y="3936719"/>
            <a:ext cx="3657601" cy="10605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326411" rIns="186521" bIns="46628" numCol="1" rtlCol="0" anchor="t" anchorCtr="0" compatLnSpc="1">
            <a:prstTxWarp prst="textNoShape">
              <a:avLst/>
            </a:prstTxWarp>
          </a:bodyPr>
          <a:lstStyle/>
          <a:p>
            <a:pPr defTabSz="932290" fontAlgn="base">
              <a:spcBef>
                <a:spcPct val="0"/>
              </a:spcBef>
              <a:spcAft>
                <a:spcPct val="0"/>
              </a:spcAft>
            </a:pPr>
            <a:r>
              <a:rPr lang="en-US" sz="1428" b="1" kern="0" spc="-51" dirty="0">
                <a:solidFill>
                  <a:schemeClr val="tx1"/>
                </a:solidFill>
                <a:ea typeface="Segoe UI" pitchFamily="34" charset="0"/>
                <a:cs typeface="Segoe UI" pitchFamily="34" charset="0"/>
              </a:rPr>
              <a:t>RemoteFX for wide area network (WAN) </a:t>
            </a:r>
            <a:r>
              <a:rPr lang="en-US" sz="1428" kern="0" spc="-51" dirty="0">
                <a:solidFill>
                  <a:schemeClr val="tx1"/>
                </a:solidFill>
                <a:ea typeface="Segoe UI" pitchFamily="34" charset="0"/>
                <a:cs typeface="Segoe UI" pitchFamily="34" charset="0"/>
              </a:rPr>
              <a:t>dynamically detects network conditions and tunes </a:t>
            </a:r>
            <a:r>
              <a:rPr lang="en-US" sz="1428" kern="0" spc="-51" dirty="0" smtClean="0">
                <a:solidFill>
                  <a:schemeClr val="tx1"/>
                </a:solidFill>
                <a:ea typeface="Segoe UI" pitchFamily="34" charset="0"/>
                <a:cs typeface="Segoe UI" pitchFamily="34" charset="0"/>
              </a:rPr>
              <a:t>experience.</a:t>
            </a:r>
            <a:endParaRPr lang="en-US" sz="1428" kern="0" spc="-51" dirty="0">
              <a:solidFill>
                <a:schemeClr val="tx1"/>
              </a:solidFill>
              <a:ea typeface="Segoe UI" pitchFamily="34" charset="0"/>
              <a:cs typeface="Segoe UI" pitchFamily="34" charset="0"/>
            </a:endParaRPr>
          </a:p>
        </p:txBody>
      </p:sp>
      <p:sp>
        <p:nvSpPr>
          <p:cNvPr id="73" name="Rectangle 72"/>
          <p:cNvSpPr/>
          <p:nvPr/>
        </p:nvSpPr>
        <p:spPr bwMode="auto">
          <a:xfrm>
            <a:off x="8504236" y="5562722"/>
            <a:ext cx="3648076" cy="148759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326411" rIns="186521" bIns="46628" numCol="1" rtlCol="0" anchor="t" anchorCtr="0" compatLnSpc="1">
            <a:prstTxWarp prst="textNoShape">
              <a:avLst/>
            </a:prstTxWarp>
          </a:bodyPr>
          <a:lstStyle/>
          <a:p>
            <a:pPr defTabSz="932290" fontAlgn="base">
              <a:spcBef>
                <a:spcPct val="0"/>
              </a:spcBef>
              <a:spcAft>
                <a:spcPct val="0"/>
              </a:spcAft>
            </a:pPr>
            <a:r>
              <a:rPr lang="en-US" sz="1428" b="1" kern="0" spc="-51" dirty="0">
                <a:solidFill>
                  <a:schemeClr val="tx1"/>
                </a:solidFill>
                <a:ea typeface="Segoe UI" pitchFamily="34" charset="0"/>
                <a:cs typeface="Segoe UI" pitchFamily="34" charset="0"/>
              </a:rPr>
              <a:t>Seamless experience </a:t>
            </a:r>
            <a:r>
              <a:rPr lang="en-US" sz="1428" kern="0" spc="-51" dirty="0">
                <a:solidFill>
                  <a:schemeClr val="tx1"/>
                </a:solidFill>
                <a:ea typeface="Segoe UI" pitchFamily="34" charset="0"/>
                <a:cs typeface="Segoe UI" pitchFamily="34" charset="0"/>
              </a:rPr>
              <a:t>supports multitouch, new Windows Experience, and Start menu </a:t>
            </a:r>
            <a:r>
              <a:rPr lang="en-US" sz="1428" kern="0" spc="-51" dirty="0" smtClean="0">
                <a:solidFill>
                  <a:schemeClr val="tx1"/>
                </a:solidFill>
                <a:ea typeface="Segoe UI" pitchFamily="34" charset="0"/>
                <a:cs typeface="Segoe UI" pitchFamily="34" charset="0"/>
              </a:rPr>
              <a:t>integration.</a:t>
            </a:r>
            <a:endParaRPr lang="en-US" sz="1428" kern="0" spc="-51" dirty="0">
              <a:solidFill>
                <a:schemeClr val="tx1"/>
              </a:solidFill>
              <a:ea typeface="Segoe UI" pitchFamily="34" charset="0"/>
              <a:cs typeface="Segoe UI" pitchFamily="34" charset="0"/>
            </a:endParaRPr>
          </a:p>
        </p:txBody>
      </p:sp>
      <p:sp>
        <p:nvSpPr>
          <p:cNvPr id="74" name="Rectangle 73"/>
          <p:cNvSpPr/>
          <p:nvPr/>
        </p:nvSpPr>
        <p:spPr bwMode="auto">
          <a:xfrm>
            <a:off x="8504236" y="4634617"/>
            <a:ext cx="3648076" cy="1563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326411" rIns="186521" bIns="46628" numCol="1" rtlCol="0" anchor="t" anchorCtr="0" compatLnSpc="1">
            <a:prstTxWarp prst="textNoShape">
              <a:avLst/>
            </a:prstTxWarp>
          </a:bodyPr>
          <a:lstStyle/>
          <a:p>
            <a:pPr defTabSz="932290" fontAlgn="base">
              <a:spcBef>
                <a:spcPct val="0"/>
              </a:spcBef>
              <a:spcAft>
                <a:spcPct val="0"/>
              </a:spcAft>
            </a:pPr>
            <a:r>
              <a:rPr lang="en-US" sz="1428" b="1" kern="0" spc="-51" dirty="0">
                <a:solidFill>
                  <a:schemeClr val="tx1"/>
                </a:solidFill>
                <a:ea typeface="Segoe UI" pitchFamily="34" charset="0"/>
                <a:cs typeface="Segoe UI" pitchFamily="34" charset="0"/>
              </a:rPr>
              <a:t>Graphics processing unit (GPU) support </a:t>
            </a:r>
            <a:r>
              <a:rPr lang="en-US" sz="1428" kern="0" spc="-51" dirty="0">
                <a:solidFill>
                  <a:schemeClr val="tx1"/>
                </a:solidFill>
                <a:ea typeface="Segoe UI" pitchFamily="34" charset="0"/>
                <a:cs typeface="Segoe UI" pitchFamily="34" charset="0"/>
              </a:rPr>
              <a:t>for both physical and software </a:t>
            </a:r>
            <a:r>
              <a:rPr lang="en-US" sz="1428" kern="0" spc="-51" dirty="0" smtClean="0">
                <a:solidFill>
                  <a:schemeClr val="tx1"/>
                </a:solidFill>
                <a:ea typeface="Segoe UI" pitchFamily="34" charset="0"/>
                <a:cs typeface="Segoe UI" pitchFamily="34" charset="0"/>
              </a:rPr>
              <a:t>GPUs.</a:t>
            </a:r>
            <a:endParaRPr lang="en-US" sz="1428" kern="0" spc="-51" dirty="0">
              <a:solidFill>
                <a:schemeClr val="tx1"/>
              </a:solidFill>
              <a:ea typeface="Segoe UI" pitchFamily="34" charset="0"/>
              <a:cs typeface="Segoe UI" pitchFamily="34" charset="0"/>
            </a:endParaRPr>
          </a:p>
        </p:txBody>
      </p:sp>
      <p:sp>
        <p:nvSpPr>
          <p:cNvPr id="136" name="TextBox 135"/>
          <p:cNvSpPr txBox="1"/>
          <p:nvPr/>
        </p:nvSpPr>
        <p:spPr>
          <a:xfrm>
            <a:off x="4357781" y="3684964"/>
            <a:ext cx="3528919" cy="626455"/>
          </a:xfrm>
          <a:prstGeom prst="rect">
            <a:avLst/>
          </a:prstGeom>
          <a:noFill/>
        </p:spPr>
        <p:txBody>
          <a:bodyPr wrap="square" lIns="147600" tIns="147600" rIns="147600" bIns="147600" rtlCol="0" anchor="ctr">
            <a:noAutofit/>
          </a:bodyPr>
          <a:lstStyle/>
          <a:p>
            <a:pPr algn="ctr">
              <a:lnSpc>
                <a:spcPct val="90000"/>
              </a:lnSpc>
            </a:pPr>
            <a:r>
              <a:rPr lang="en-US" sz="2400" b="1" dirty="0">
                <a:solidFill>
                  <a:schemeClr val="accent1"/>
                </a:solidFill>
              </a:rPr>
              <a:t>Best Value for VDI</a:t>
            </a:r>
          </a:p>
        </p:txBody>
      </p:sp>
      <p:grpSp>
        <p:nvGrpSpPr>
          <p:cNvPr id="19" name="Group 29"/>
          <p:cNvGrpSpPr>
            <a:grpSpLocks noChangeAspect="1"/>
          </p:cNvGrpSpPr>
          <p:nvPr/>
        </p:nvGrpSpPr>
        <p:grpSpPr bwMode="auto">
          <a:xfrm>
            <a:off x="5138590" y="1181824"/>
            <a:ext cx="1815499" cy="2365088"/>
            <a:chOff x="5121" y="2489"/>
            <a:chExt cx="882" cy="1149"/>
          </a:xfrm>
        </p:grpSpPr>
        <p:sp>
          <p:nvSpPr>
            <p:cNvPr id="20" name="AutoShape 28"/>
            <p:cNvSpPr>
              <a:spLocks noChangeAspect="1" noChangeArrowheads="1" noTextEdit="1"/>
            </p:cNvSpPr>
            <p:nvPr/>
          </p:nvSpPr>
          <p:spPr bwMode="auto">
            <a:xfrm>
              <a:off x="5121" y="2489"/>
              <a:ext cx="882" cy="1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0"/>
            <p:cNvSpPr>
              <a:spLocks noEditPoints="1"/>
            </p:cNvSpPr>
            <p:nvPr/>
          </p:nvSpPr>
          <p:spPr bwMode="auto">
            <a:xfrm>
              <a:off x="5403" y="2499"/>
              <a:ext cx="590" cy="1129"/>
            </a:xfrm>
            <a:custGeom>
              <a:avLst/>
              <a:gdLst>
                <a:gd name="T0" fmla="*/ 46 w 407"/>
                <a:gd name="T1" fmla="*/ 674 h 781"/>
                <a:gd name="T2" fmla="*/ 46 w 407"/>
                <a:gd name="T3" fmla="*/ 702 h 781"/>
                <a:gd name="T4" fmla="*/ 361 w 407"/>
                <a:gd name="T5" fmla="*/ 702 h 781"/>
                <a:gd name="T6" fmla="*/ 361 w 407"/>
                <a:gd name="T7" fmla="*/ 674 h 781"/>
                <a:gd name="T8" fmla="*/ 46 w 407"/>
                <a:gd name="T9" fmla="*/ 674 h 781"/>
                <a:gd name="T10" fmla="*/ 46 w 407"/>
                <a:gd name="T11" fmla="*/ 614 h 781"/>
                <a:gd name="T12" fmla="*/ 46 w 407"/>
                <a:gd name="T13" fmla="*/ 641 h 781"/>
                <a:gd name="T14" fmla="*/ 109 w 407"/>
                <a:gd name="T15" fmla="*/ 641 h 781"/>
                <a:gd name="T16" fmla="*/ 109 w 407"/>
                <a:gd name="T17" fmla="*/ 614 h 781"/>
                <a:gd name="T18" fmla="*/ 46 w 407"/>
                <a:gd name="T19" fmla="*/ 614 h 781"/>
                <a:gd name="T20" fmla="*/ 46 w 407"/>
                <a:gd name="T21" fmla="*/ 554 h 781"/>
                <a:gd name="T22" fmla="*/ 46 w 407"/>
                <a:gd name="T23" fmla="*/ 581 h 781"/>
                <a:gd name="T24" fmla="*/ 109 w 407"/>
                <a:gd name="T25" fmla="*/ 581 h 781"/>
                <a:gd name="T26" fmla="*/ 109 w 407"/>
                <a:gd name="T27" fmla="*/ 554 h 781"/>
                <a:gd name="T28" fmla="*/ 46 w 407"/>
                <a:gd name="T29" fmla="*/ 554 h 781"/>
                <a:gd name="T30" fmla="*/ 46 w 407"/>
                <a:gd name="T31" fmla="*/ 145 h 781"/>
                <a:gd name="T32" fmla="*/ 46 w 407"/>
                <a:gd name="T33" fmla="*/ 186 h 781"/>
                <a:gd name="T34" fmla="*/ 361 w 407"/>
                <a:gd name="T35" fmla="*/ 186 h 781"/>
                <a:gd name="T36" fmla="*/ 361 w 407"/>
                <a:gd name="T37" fmla="*/ 145 h 781"/>
                <a:gd name="T38" fmla="*/ 46 w 407"/>
                <a:gd name="T39" fmla="*/ 145 h 781"/>
                <a:gd name="T40" fmla="*/ 46 w 407"/>
                <a:gd name="T41" fmla="*/ 80 h 781"/>
                <a:gd name="T42" fmla="*/ 46 w 407"/>
                <a:gd name="T43" fmla="*/ 122 h 781"/>
                <a:gd name="T44" fmla="*/ 361 w 407"/>
                <a:gd name="T45" fmla="*/ 122 h 781"/>
                <a:gd name="T46" fmla="*/ 361 w 407"/>
                <a:gd name="T47" fmla="*/ 80 h 781"/>
                <a:gd name="T48" fmla="*/ 46 w 407"/>
                <a:gd name="T49" fmla="*/ 80 h 781"/>
                <a:gd name="T50" fmla="*/ 54 w 407"/>
                <a:gd name="T51" fmla="*/ 0 h 781"/>
                <a:gd name="T52" fmla="*/ 353 w 407"/>
                <a:gd name="T53" fmla="*/ 0 h 781"/>
                <a:gd name="T54" fmla="*/ 407 w 407"/>
                <a:gd name="T55" fmla="*/ 47 h 781"/>
                <a:gd name="T56" fmla="*/ 407 w 407"/>
                <a:gd name="T57" fmla="*/ 734 h 781"/>
                <a:gd name="T58" fmla="*/ 353 w 407"/>
                <a:gd name="T59" fmla="*/ 781 h 781"/>
                <a:gd name="T60" fmla="*/ 54 w 407"/>
                <a:gd name="T61" fmla="*/ 781 h 781"/>
                <a:gd name="T62" fmla="*/ 0 w 407"/>
                <a:gd name="T63" fmla="*/ 739 h 781"/>
                <a:gd name="T64" fmla="*/ 0 w 407"/>
                <a:gd name="T65" fmla="*/ 52 h 781"/>
                <a:gd name="T66" fmla="*/ 54 w 407"/>
                <a:gd name="T67" fmla="*/ 0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781">
                  <a:moveTo>
                    <a:pt x="46" y="674"/>
                  </a:moveTo>
                  <a:cubicBezTo>
                    <a:pt x="46" y="702"/>
                    <a:pt x="46" y="702"/>
                    <a:pt x="46" y="702"/>
                  </a:cubicBezTo>
                  <a:cubicBezTo>
                    <a:pt x="361" y="702"/>
                    <a:pt x="361" y="702"/>
                    <a:pt x="361" y="702"/>
                  </a:cubicBezTo>
                  <a:cubicBezTo>
                    <a:pt x="361" y="674"/>
                    <a:pt x="361" y="674"/>
                    <a:pt x="361" y="674"/>
                  </a:cubicBezTo>
                  <a:cubicBezTo>
                    <a:pt x="46" y="674"/>
                    <a:pt x="46" y="674"/>
                    <a:pt x="46" y="674"/>
                  </a:cubicBezTo>
                  <a:close/>
                  <a:moveTo>
                    <a:pt x="46" y="614"/>
                  </a:moveTo>
                  <a:cubicBezTo>
                    <a:pt x="46" y="641"/>
                    <a:pt x="46" y="641"/>
                    <a:pt x="46" y="641"/>
                  </a:cubicBezTo>
                  <a:cubicBezTo>
                    <a:pt x="109" y="641"/>
                    <a:pt x="109" y="641"/>
                    <a:pt x="109" y="641"/>
                  </a:cubicBezTo>
                  <a:cubicBezTo>
                    <a:pt x="109" y="614"/>
                    <a:pt x="109" y="614"/>
                    <a:pt x="109" y="614"/>
                  </a:cubicBezTo>
                  <a:cubicBezTo>
                    <a:pt x="46" y="614"/>
                    <a:pt x="46" y="614"/>
                    <a:pt x="46" y="614"/>
                  </a:cubicBezTo>
                  <a:close/>
                  <a:moveTo>
                    <a:pt x="46" y="554"/>
                  </a:moveTo>
                  <a:cubicBezTo>
                    <a:pt x="46" y="581"/>
                    <a:pt x="46" y="581"/>
                    <a:pt x="46" y="581"/>
                  </a:cubicBezTo>
                  <a:cubicBezTo>
                    <a:pt x="109" y="581"/>
                    <a:pt x="109" y="581"/>
                    <a:pt x="109" y="581"/>
                  </a:cubicBezTo>
                  <a:cubicBezTo>
                    <a:pt x="109" y="554"/>
                    <a:pt x="109" y="554"/>
                    <a:pt x="109" y="554"/>
                  </a:cubicBezTo>
                  <a:cubicBezTo>
                    <a:pt x="46" y="554"/>
                    <a:pt x="46" y="554"/>
                    <a:pt x="46" y="554"/>
                  </a:cubicBezTo>
                  <a:close/>
                  <a:moveTo>
                    <a:pt x="46" y="145"/>
                  </a:moveTo>
                  <a:cubicBezTo>
                    <a:pt x="46" y="186"/>
                    <a:pt x="46" y="186"/>
                    <a:pt x="46" y="186"/>
                  </a:cubicBezTo>
                  <a:cubicBezTo>
                    <a:pt x="361" y="186"/>
                    <a:pt x="361" y="186"/>
                    <a:pt x="361" y="186"/>
                  </a:cubicBezTo>
                  <a:cubicBezTo>
                    <a:pt x="361" y="145"/>
                    <a:pt x="361" y="145"/>
                    <a:pt x="361" y="145"/>
                  </a:cubicBezTo>
                  <a:cubicBezTo>
                    <a:pt x="46" y="145"/>
                    <a:pt x="46" y="145"/>
                    <a:pt x="46" y="145"/>
                  </a:cubicBezTo>
                  <a:close/>
                  <a:moveTo>
                    <a:pt x="46" y="80"/>
                  </a:moveTo>
                  <a:cubicBezTo>
                    <a:pt x="46" y="122"/>
                    <a:pt x="46" y="122"/>
                    <a:pt x="46" y="122"/>
                  </a:cubicBezTo>
                  <a:cubicBezTo>
                    <a:pt x="361" y="122"/>
                    <a:pt x="361" y="122"/>
                    <a:pt x="361" y="122"/>
                  </a:cubicBezTo>
                  <a:cubicBezTo>
                    <a:pt x="361" y="80"/>
                    <a:pt x="361" y="80"/>
                    <a:pt x="361" y="80"/>
                  </a:cubicBezTo>
                  <a:cubicBezTo>
                    <a:pt x="46" y="80"/>
                    <a:pt x="46" y="80"/>
                    <a:pt x="46" y="80"/>
                  </a:cubicBezTo>
                  <a:close/>
                  <a:moveTo>
                    <a:pt x="54" y="0"/>
                  </a:moveTo>
                  <a:cubicBezTo>
                    <a:pt x="353" y="0"/>
                    <a:pt x="353" y="0"/>
                    <a:pt x="353" y="0"/>
                  </a:cubicBezTo>
                  <a:cubicBezTo>
                    <a:pt x="383" y="0"/>
                    <a:pt x="407" y="21"/>
                    <a:pt x="407" y="47"/>
                  </a:cubicBezTo>
                  <a:cubicBezTo>
                    <a:pt x="407" y="734"/>
                    <a:pt x="407" y="734"/>
                    <a:pt x="407" y="734"/>
                  </a:cubicBezTo>
                  <a:cubicBezTo>
                    <a:pt x="407" y="760"/>
                    <a:pt x="383" y="781"/>
                    <a:pt x="353" y="781"/>
                  </a:cubicBezTo>
                  <a:cubicBezTo>
                    <a:pt x="54" y="781"/>
                    <a:pt x="54" y="781"/>
                    <a:pt x="54" y="781"/>
                  </a:cubicBezTo>
                  <a:cubicBezTo>
                    <a:pt x="25" y="781"/>
                    <a:pt x="0" y="760"/>
                    <a:pt x="0" y="739"/>
                  </a:cubicBezTo>
                  <a:cubicBezTo>
                    <a:pt x="0" y="52"/>
                    <a:pt x="0" y="52"/>
                    <a:pt x="0" y="52"/>
                  </a:cubicBezTo>
                  <a:cubicBezTo>
                    <a:pt x="0" y="21"/>
                    <a:pt x="25" y="0"/>
                    <a:pt x="54" y="0"/>
                  </a:cubicBezTo>
                  <a:close/>
                </a:path>
              </a:pathLst>
            </a:custGeom>
            <a:solidFill>
              <a:srgbClr val="FFFFFF"/>
            </a:solidFill>
            <a:ln w="2540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31"/>
            <p:cNvSpPr>
              <a:spLocks/>
            </p:cNvSpPr>
            <p:nvPr/>
          </p:nvSpPr>
          <p:spPr bwMode="auto">
            <a:xfrm>
              <a:off x="5154" y="2784"/>
              <a:ext cx="645" cy="474"/>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32"/>
            <p:cNvSpPr>
              <a:spLocks noEditPoints="1"/>
            </p:cNvSpPr>
            <p:nvPr/>
          </p:nvSpPr>
          <p:spPr bwMode="auto">
            <a:xfrm>
              <a:off x="5135" y="2761"/>
              <a:ext cx="697" cy="595"/>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 name="Group 23"/>
          <p:cNvGrpSpPr/>
          <p:nvPr/>
        </p:nvGrpSpPr>
        <p:grpSpPr>
          <a:xfrm>
            <a:off x="874803" y="1221458"/>
            <a:ext cx="2432049" cy="2292995"/>
            <a:chOff x="4468813" y="3567113"/>
            <a:chExt cx="1360487" cy="1282700"/>
          </a:xfrm>
          <a:solidFill>
            <a:srgbClr val="0070C0"/>
          </a:solidFill>
        </p:grpSpPr>
        <p:sp>
          <p:nvSpPr>
            <p:cNvPr id="25" name="Freeform 579"/>
            <p:cNvSpPr>
              <a:spLocks noEditPoints="1"/>
            </p:cNvSpPr>
            <p:nvPr/>
          </p:nvSpPr>
          <p:spPr bwMode="auto">
            <a:xfrm>
              <a:off x="4813300" y="3913188"/>
              <a:ext cx="668337" cy="668338"/>
            </a:xfrm>
            <a:custGeom>
              <a:avLst/>
              <a:gdLst>
                <a:gd name="T0" fmla="*/ 346 w 693"/>
                <a:gd name="T1" fmla="*/ 0 h 693"/>
                <a:gd name="T2" fmla="*/ 0 w 693"/>
                <a:gd name="T3" fmla="*/ 347 h 693"/>
                <a:gd name="T4" fmla="*/ 346 w 693"/>
                <a:gd name="T5" fmla="*/ 693 h 693"/>
                <a:gd name="T6" fmla="*/ 693 w 693"/>
                <a:gd name="T7" fmla="*/ 347 h 693"/>
                <a:gd name="T8" fmla="*/ 346 w 693"/>
                <a:gd name="T9" fmla="*/ 0 h 693"/>
                <a:gd name="T10" fmla="*/ 346 w 693"/>
                <a:gd name="T11" fmla="*/ 674 h 693"/>
                <a:gd name="T12" fmla="*/ 19 w 693"/>
                <a:gd name="T13" fmla="*/ 347 h 693"/>
                <a:gd name="T14" fmla="*/ 346 w 693"/>
                <a:gd name="T15" fmla="*/ 19 h 693"/>
                <a:gd name="T16" fmla="*/ 674 w 693"/>
                <a:gd name="T17" fmla="*/ 347 h 693"/>
                <a:gd name="T18" fmla="*/ 346 w 693"/>
                <a:gd name="T19" fmla="*/ 6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3" h="693">
                  <a:moveTo>
                    <a:pt x="346" y="0"/>
                  </a:moveTo>
                  <a:cubicBezTo>
                    <a:pt x="155" y="0"/>
                    <a:pt x="0" y="155"/>
                    <a:pt x="0" y="347"/>
                  </a:cubicBezTo>
                  <a:cubicBezTo>
                    <a:pt x="0" y="538"/>
                    <a:pt x="155" y="693"/>
                    <a:pt x="346" y="693"/>
                  </a:cubicBezTo>
                  <a:cubicBezTo>
                    <a:pt x="538" y="693"/>
                    <a:pt x="693" y="538"/>
                    <a:pt x="693" y="347"/>
                  </a:cubicBezTo>
                  <a:cubicBezTo>
                    <a:pt x="693" y="155"/>
                    <a:pt x="538" y="0"/>
                    <a:pt x="346" y="0"/>
                  </a:cubicBezTo>
                  <a:close/>
                  <a:moveTo>
                    <a:pt x="346" y="674"/>
                  </a:moveTo>
                  <a:cubicBezTo>
                    <a:pt x="165" y="674"/>
                    <a:pt x="19" y="527"/>
                    <a:pt x="19" y="347"/>
                  </a:cubicBezTo>
                  <a:cubicBezTo>
                    <a:pt x="19" y="166"/>
                    <a:pt x="165" y="19"/>
                    <a:pt x="346" y="19"/>
                  </a:cubicBezTo>
                  <a:cubicBezTo>
                    <a:pt x="527" y="19"/>
                    <a:pt x="674" y="166"/>
                    <a:pt x="674" y="347"/>
                  </a:cubicBezTo>
                  <a:cubicBezTo>
                    <a:pt x="674" y="527"/>
                    <a:pt x="527" y="674"/>
                    <a:pt x="346" y="6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80"/>
            <p:cNvSpPr>
              <a:spLocks/>
            </p:cNvSpPr>
            <p:nvPr/>
          </p:nvSpPr>
          <p:spPr bwMode="auto">
            <a:xfrm>
              <a:off x="4918075" y="4098925"/>
              <a:ext cx="260350" cy="355600"/>
            </a:xfrm>
            <a:custGeom>
              <a:avLst/>
              <a:gdLst>
                <a:gd name="T0" fmla="*/ 187 w 270"/>
                <a:gd name="T1" fmla="*/ 150 h 370"/>
                <a:gd name="T2" fmla="*/ 230 w 270"/>
                <a:gd name="T3" fmla="*/ 79 h 370"/>
                <a:gd name="T4" fmla="*/ 151 w 270"/>
                <a:gd name="T5" fmla="*/ 0 h 370"/>
                <a:gd name="T6" fmla="*/ 72 w 270"/>
                <a:gd name="T7" fmla="*/ 79 h 370"/>
                <a:gd name="T8" fmla="*/ 110 w 270"/>
                <a:gd name="T9" fmla="*/ 147 h 370"/>
                <a:gd name="T10" fmla="*/ 28 w 270"/>
                <a:gd name="T11" fmla="*/ 230 h 370"/>
                <a:gd name="T12" fmla="*/ 21 w 270"/>
                <a:gd name="T13" fmla="*/ 312 h 370"/>
                <a:gd name="T14" fmla="*/ 35 w 270"/>
                <a:gd name="T15" fmla="*/ 281 h 370"/>
                <a:gd name="T16" fmla="*/ 39 w 270"/>
                <a:gd name="T17" fmla="*/ 322 h 370"/>
                <a:gd name="T18" fmla="*/ 130 w 270"/>
                <a:gd name="T19" fmla="*/ 356 h 370"/>
                <a:gd name="T20" fmla="*/ 270 w 270"/>
                <a:gd name="T21" fmla="*/ 281 h 370"/>
                <a:gd name="T22" fmla="*/ 187 w 270"/>
                <a:gd name="T23" fmla="*/ 15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370">
                  <a:moveTo>
                    <a:pt x="187" y="150"/>
                  </a:moveTo>
                  <a:cubicBezTo>
                    <a:pt x="213" y="137"/>
                    <a:pt x="230" y="110"/>
                    <a:pt x="230" y="79"/>
                  </a:cubicBezTo>
                  <a:cubicBezTo>
                    <a:pt x="230" y="35"/>
                    <a:pt x="195" y="0"/>
                    <a:pt x="151" y="0"/>
                  </a:cubicBezTo>
                  <a:cubicBezTo>
                    <a:pt x="107" y="0"/>
                    <a:pt x="72" y="35"/>
                    <a:pt x="72" y="79"/>
                  </a:cubicBezTo>
                  <a:cubicBezTo>
                    <a:pt x="72" y="108"/>
                    <a:pt x="87" y="133"/>
                    <a:pt x="110" y="147"/>
                  </a:cubicBezTo>
                  <a:cubicBezTo>
                    <a:pt x="70" y="155"/>
                    <a:pt x="50" y="180"/>
                    <a:pt x="28" y="230"/>
                  </a:cubicBezTo>
                  <a:cubicBezTo>
                    <a:pt x="0" y="294"/>
                    <a:pt x="21" y="312"/>
                    <a:pt x="21" y="312"/>
                  </a:cubicBezTo>
                  <a:cubicBezTo>
                    <a:pt x="35" y="281"/>
                    <a:pt x="35" y="281"/>
                    <a:pt x="35" y="281"/>
                  </a:cubicBezTo>
                  <a:cubicBezTo>
                    <a:pt x="39" y="322"/>
                    <a:pt x="39" y="322"/>
                    <a:pt x="39" y="322"/>
                  </a:cubicBezTo>
                  <a:cubicBezTo>
                    <a:pt x="39" y="322"/>
                    <a:pt x="63" y="350"/>
                    <a:pt x="130" y="356"/>
                  </a:cubicBezTo>
                  <a:cubicBezTo>
                    <a:pt x="201" y="362"/>
                    <a:pt x="270" y="370"/>
                    <a:pt x="270" y="281"/>
                  </a:cubicBezTo>
                  <a:cubicBezTo>
                    <a:pt x="270" y="211"/>
                    <a:pt x="234" y="166"/>
                    <a:pt x="187"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581"/>
            <p:cNvSpPr>
              <a:spLocks noEditPoints="1"/>
            </p:cNvSpPr>
            <p:nvPr/>
          </p:nvSpPr>
          <p:spPr bwMode="auto">
            <a:xfrm>
              <a:off x="5003800" y="3567113"/>
              <a:ext cx="287337" cy="288925"/>
            </a:xfrm>
            <a:custGeom>
              <a:avLst/>
              <a:gdLst>
                <a:gd name="T0" fmla="*/ 149 w 299"/>
                <a:gd name="T1" fmla="*/ 0 h 299"/>
                <a:gd name="T2" fmla="*/ 0 w 299"/>
                <a:gd name="T3" fmla="*/ 150 h 299"/>
                <a:gd name="T4" fmla="*/ 149 w 299"/>
                <a:gd name="T5" fmla="*/ 299 h 299"/>
                <a:gd name="T6" fmla="*/ 299 w 299"/>
                <a:gd name="T7" fmla="*/ 150 h 299"/>
                <a:gd name="T8" fmla="*/ 149 w 299"/>
                <a:gd name="T9" fmla="*/ 0 h 299"/>
                <a:gd name="T10" fmla="*/ 149 w 299"/>
                <a:gd name="T11" fmla="*/ 280 h 299"/>
                <a:gd name="T12" fmla="*/ 19 w 299"/>
                <a:gd name="T13" fmla="*/ 150 h 299"/>
                <a:gd name="T14" fmla="*/ 149 w 299"/>
                <a:gd name="T15" fmla="*/ 19 h 299"/>
                <a:gd name="T16" fmla="*/ 280 w 299"/>
                <a:gd name="T17" fmla="*/ 150 h 299"/>
                <a:gd name="T18" fmla="*/ 149 w 299"/>
                <a:gd name="T19"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9" h="299">
                  <a:moveTo>
                    <a:pt x="149" y="0"/>
                  </a:moveTo>
                  <a:cubicBezTo>
                    <a:pt x="67" y="0"/>
                    <a:pt x="0" y="67"/>
                    <a:pt x="0" y="150"/>
                  </a:cubicBezTo>
                  <a:cubicBezTo>
                    <a:pt x="0" y="232"/>
                    <a:pt x="67" y="299"/>
                    <a:pt x="149" y="299"/>
                  </a:cubicBezTo>
                  <a:cubicBezTo>
                    <a:pt x="232" y="299"/>
                    <a:pt x="299" y="232"/>
                    <a:pt x="299" y="150"/>
                  </a:cubicBezTo>
                  <a:cubicBezTo>
                    <a:pt x="299" y="67"/>
                    <a:pt x="232" y="0"/>
                    <a:pt x="149" y="0"/>
                  </a:cubicBezTo>
                  <a:close/>
                  <a:moveTo>
                    <a:pt x="149" y="280"/>
                  </a:moveTo>
                  <a:cubicBezTo>
                    <a:pt x="77" y="280"/>
                    <a:pt x="19" y="222"/>
                    <a:pt x="19" y="150"/>
                  </a:cubicBezTo>
                  <a:cubicBezTo>
                    <a:pt x="19" y="78"/>
                    <a:pt x="77" y="19"/>
                    <a:pt x="149" y="19"/>
                  </a:cubicBezTo>
                  <a:cubicBezTo>
                    <a:pt x="221" y="19"/>
                    <a:pt x="280" y="78"/>
                    <a:pt x="280" y="150"/>
                  </a:cubicBezTo>
                  <a:cubicBezTo>
                    <a:pt x="280" y="222"/>
                    <a:pt x="221" y="280"/>
                    <a:pt x="149"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Rectangle 582"/>
            <p:cNvSpPr>
              <a:spLocks noChangeArrowheads="1"/>
            </p:cNvSpPr>
            <p:nvPr/>
          </p:nvSpPr>
          <p:spPr bwMode="auto">
            <a:xfrm>
              <a:off x="5138738" y="3836988"/>
              <a:ext cx="17462"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583"/>
            <p:cNvSpPr>
              <a:spLocks noEditPoints="1"/>
            </p:cNvSpPr>
            <p:nvPr/>
          </p:nvSpPr>
          <p:spPr bwMode="auto">
            <a:xfrm>
              <a:off x="4468813" y="3935413"/>
              <a:ext cx="322262" cy="323850"/>
            </a:xfrm>
            <a:custGeom>
              <a:avLst/>
              <a:gdLst>
                <a:gd name="T0" fmla="*/ 26 w 335"/>
                <a:gd name="T1" fmla="*/ 121 h 335"/>
                <a:gd name="T2" fmla="*/ 121 w 335"/>
                <a:gd name="T3" fmla="*/ 309 h 335"/>
                <a:gd name="T4" fmla="*/ 310 w 335"/>
                <a:gd name="T5" fmla="*/ 213 h 335"/>
                <a:gd name="T6" fmla="*/ 214 w 335"/>
                <a:gd name="T7" fmla="*/ 25 h 335"/>
                <a:gd name="T8" fmla="*/ 26 w 335"/>
                <a:gd name="T9" fmla="*/ 121 h 335"/>
                <a:gd name="T10" fmla="*/ 292 w 335"/>
                <a:gd name="T11" fmla="*/ 208 h 335"/>
                <a:gd name="T12" fmla="*/ 127 w 335"/>
                <a:gd name="T13" fmla="*/ 291 h 335"/>
                <a:gd name="T14" fmla="*/ 44 w 335"/>
                <a:gd name="T15" fmla="*/ 127 h 335"/>
                <a:gd name="T16" fmla="*/ 208 w 335"/>
                <a:gd name="T17" fmla="*/ 43 h 335"/>
                <a:gd name="T18" fmla="*/ 292 w 335"/>
                <a:gd name="T19" fmla="*/ 20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5" h="335">
                  <a:moveTo>
                    <a:pt x="26" y="121"/>
                  </a:moveTo>
                  <a:cubicBezTo>
                    <a:pt x="0" y="200"/>
                    <a:pt x="43" y="284"/>
                    <a:pt x="121" y="309"/>
                  </a:cubicBezTo>
                  <a:cubicBezTo>
                    <a:pt x="200" y="335"/>
                    <a:pt x="284" y="292"/>
                    <a:pt x="310" y="213"/>
                  </a:cubicBezTo>
                  <a:cubicBezTo>
                    <a:pt x="335" y="135"/>
                    <a:pt x="292" y="51"/>
                    <a:pt x="214" y="25"/>
                  </a:cubicBezTo>
                  <a:cubicBezTo>
                    <a:pt x="135" y="0"/>
                    <a:pt x="51" y="43"/>
                    <a:pt x="26" y="121"/>
                  </a:cubicBezTo>
                  <a:close/>
                  <a:moveTo>
                    <a:pt x="292" y="208"/>
                  </a:moveTo>
                  <a:cubicBezTo>
                    <a:pt x="269" y="276"/>
                    <a:pt x="196" y="314"/>
                    <a:pt x="127" y="291"/>
                  </a:cubicBezTo>
                  <a:cubicBezTo>
                    <a:pt x="59" y="269"/>
                    <a:pt x="21" y="195"/>
                    <a:pt x="44" y="127"/>
                  </a:cubicBezTo>
                  <a:cubicBezTo>
                    <a:pt x="66" y="58"/>
                    <a:pt x="139" y="21"/>
                    <a:pt x="208" y="43"/>
                  </a:cubicBezTo>
                  <a:cubicBezTo>
                    <a:pt x="276" y="65"/>
                    <a:pt x="314" y="139"/>
                    <a:pt x="292"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584"/>
            <p:cNvSpPr>
              <a:spLocks/>
            </p:cNvSpPr>
            <p:nvPr/>
          </p:nvSpPr>
          <p:spPr bwMode="auto">
            <a:xfrm>
              <a:off x="4746625" y="4125913"/>
              <a:ext cx="95250" cy="47625"/>
            </a:xfrm>
            <a:custGeom>
              <a:avLst/>
              <a:gdLst>
                <a:gd name="T0" fmla="*/ 4 w 60"/>
                <a:gd name="T1" fmla="*/ 0 h 30"/>
                <a:gd name="T2" fmla="*/ 60 w 60"/>
                <a:gd name="T3" fmla="*/ 19 h 30"/>
                <a:gd name="T4" fmla="*/ 56 w 60"/>
                <a:gd name="T5" fmla="*/ 30 h 30"/>
                <a:gd name="T6" fmla="*/ 0 w 60"/>
                <a:gd name="T7" fmla="*/ 12 h 30"/>
                <a:gd name="T8" fmla="*/ 4 w 60"/>
                <a:gd name="T9" fmla="*/ 0 h 30"/>
              </a:gdLst>
              <a:ahLst/>
              <a:cxnLst>
                <a:cxn ang="0">
                  <a:pos x="T0" y="T1"/>
                </a:cxn>
                <a:cxn ang="0">
                  <a:pos x="T2" y="T3"/>
                </a:cxn>
                <a:cxn ang="0">
                  <a:pos x="T4" y="T5"/>
                </a:cxn>
                <a:cxn ang="0">
                  <a:pos x="T6" y="T7"/>
                </a:cxn>
                <a:cxn ang="0">
                  <a:pos x="T8" y="T9"/>
                </a:cxn>
              </a:cxnLst>
              <a:rect l="0" t="0" r="r" b="b"/>
              <a:pathLst>
                <a:path w="60" h="30">
                  <a:moveTo>
                    <a:pt x="4" y="0"/>
                  </a:moveTo>
                  <a:lnTo>
                    <a:pt x="60" y="19"/>
                  </a:lnTo>
                  <a:lnTo>
                    <a:pt x="56" y="30"/>
                  </a:lnTo>
                  <a:lnTo>
                    <a:pt x="0" y="1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585"/>
            <p:cNvSpPr>
              <a:spLocks noEditPoints="1"/>
            </p:cNvSpPr>
            <p:nvPr/>
          </p:nvSpPr>
          <p:spPr bwMode="auto">
            <a:xfrm>
              <a:off x="5507038" y="3935413"/>
              <a:ext cx="322262" cy="323850"/>
            </a:xfrm>
            <a:custGeom>
              <a:avLst/>
              <a:gdLst>
                <a:gd name="T0" fmla="*/ 121 w 335"/>
                <a:gd name="T1" fmla="*/ 25 h 335"/>
                <a:gd name="T2" fmla="*/ 25 w 335"/>
                <a:gd name="T3" fmla="*/ 213 h 335"/>
                <a:gd name="T4" fmla="*/ 214 w 335"/>
                <a:gd name="T5" fmla="*/ 309 h 335"/>
                <a:gd name="T6" fmla="*/ 309 w 335"/>
                <a:gd name="T7" fmla="*/ 121 h 335"/>
                <a:gd name="T8" fmla="*/ 121 w 335"/>
                <a:gd name="T9" fmla="*/ 25 h 335"/>
                <a:gd name="T10" fmla="*/ 127 w 335"/>
                <a:gd name="T11" fmla="*/ 43 h 335"/>
                <a:gd name="T12" fmla="*/ 291 w 335"/>
                <a:gd name="T13" fmla="*/ 127 h 335"/>
                <a:gd name="T14" fmla="*/ 208 w 335"/>
                <a:gd name="T15" fmla="*/ 291 h 335"/>
                <a:gd name="T16" fmla="*/ 43 w 335"/>
                <a:gd name="T17" fmla="*/ 208 h 335"/>
                <a:gd name="T18" fmla="*/ 127 w 335"/>
                <a:gd name="T19" fmla="*/ 4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5" h="335">
                  <a:moveTo>
                    <a:pt x="121" y="25"/>
                  </a:moveTo>
                  <a:cubicBezTo>
                    <a:pt x="43" y="51"/>
                    <a:pt x="0" y="135"/>
                    <a:pt x="25" y="213"/>
                  </a:cubicBezTo>
                  <a:cubicBezTo>
                    <a:pt x="51" y="292"/>
                    <a:pt x="135" y="335"/>
                    <a:pt x="214" y="309"/>
                  </a:cubicBezTo>
                  <a:cubicBezTo>
                    <a:pt x="292" y="284"/>
                    <a:pt x="335" y="200"/>
                    <a:pt x="309" y="121"/>
                  </a:cubicBezTo>
                  <a:cubicBezTo>
                    <a:pt x="284" y="43"/>
                    <a:pt x="200" y="0"/>
                    <a:pt x="121" y="25"/>
                  </a:cubicBezTo>
                  <a:close/>
                  <a:moveTo>
                    <a:pt x="127" y="43"/>
                  </a:moveTo>
                  <a:cubicBezTo>
                    <a:pt x="196" y="21"/>
                    <a:pt x="269" y="58"/>
                    <a:pt x="291" y="127"/>
                  </a:cubicBezTo>
                  <a:cubicBezTo>
                    <a:pt x="314" y="195"/>
                    <a:pt x="276" y="269"/>
                    <a:pt x="208" y="291"/>
                  </a:cubicBezTo>
                  <a:cubicBezTo>
                    <a:pt x="139" y="314"/>
                    <a:pt x="66" y="276"/>
                    <a:pt x="43" y="208"/>
                  </a:cubicBezTo>
                  <a:cubicBezTo>
                    <a:pt x="21" y="139"/>
                    <a:pt x="59" y="65"/>
                    <a:pt x="12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86"/>
            <p:cNvSpPr>
              <a:spLocks/>
            </p:cNvSpPr>
            <p:nvPr/>
          </p:nvSpPr>
          <p:spPr bwMode="auto">
            <a:xfrm>
              <a:off x="5456238" y="4125913"/>
              <a:ext cx="95250" cy="47625"/>
            </a:xfrm>
            <a:custGeom>
              <a:avLst/>
              <a:gdLst>
                <a:gd name="T0" fmla="*/ 56 w 60"/>
                <a:gd name="T1" fmla="*/ 0 h 30"/>
                <a:gd name="T2" fmla="*/ 0 w 60"/>
                <a:gd name="T3" fmla="*/ 19 h 30"/>
                <a:gd name="T4" fmla="*/ 4 w 60"/>
                <a:gd name="T5" fmla="*/ 30 h 30"/>
                <a:gd name="T6" fmla="*/ 60 w 60"/>
                <a:gd name="T7" fmla="*/ 12 h 30"/>
                <a:gd name="T8" fmla="*/ 56 w 60"/>
                <a:gd name="T9" fmla="*/ 0 h 30"/>
              </a:gdLst>
              <a:ahLst/>
              <a:cxnLst>
                <a:cxn ang="0">
                  <a:pos x="T0" y="T1"/>
                </a:cxn>
                <a:cxn ang="0">
                  <a:pos x="T2" y="T3"/>
                </a:cxn>
                <a:cxn ang="0">
                  <a:pos x="T4" y="T5"/>
                </a:cxn>
                <a:cxn ang="0">
                  <a:pos x="T6" y="T7"/>
                </a:cxn>
                <a:cxn ang="0">
                  <a:pos x="T8" y="T9"/>
                </a:cxn>
              </a:cxnLst>
              <a:rect l="0" t="0" r="r" b="b"/>
              <a:pathLst>
                <a:path w="60" h="30">
                  <a:moveTo>
                    <a:pt x="56" y="0"/>
                  </a:moveTo>
                  <a:lnTo>
                    <a:pt x="0" y="19"/>
                  </a:lnTo>
                  <a:lnTo>
                    <a:pt x="4" y="30"/>
                  </a:lnTo>
                  <a:lnTo>
                    <a:pt x="60" y="12"/>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587"/>
            <p:cNvSpPr>
              <a:spLocks noEditPoints="1"/>
            </p:cNvSpPr>
            <p:nvPr/>
          </p:nvSpPr>
          <p:spPr bwMode="auto">
            <a:xfrm>
              <a:off x="4664075" y="4522788"/>
              <a:ext cx="325437" cy="327025"/>
            </a:xfrm>
            <a:custGeom>
              <a:avLst/>
              <a:gdLst>
                <a:gd name="T0" fmla="*/ 81 w 338"/>
                <a:gd name="T1" fmla="*/ 290 h 339"/>
                <a:gd name="T2" fmla="*/ 290 w 338"/>
                <a:gd name="T3" fmla="*/ 257 h 339"/>
                <a:gd name="T4" fmla="*/ 257 w 338"/>
                <a:gd name="T5" fmla="*/ 48 h 339"/>
                <a:gd name="T6" fmla="*/ 48 w 338"/>
                <a:gd name="T7" fmla="*/ 81 h 339"/>
                <a:gd name="T8" fmla="*/ 81 w 338"/>
                <a:gd name="T9" fmla="*/ 290 h 339"/>
                <a:gd name="T10" fmla="*/ 246 w 338"/>
                <a:gd name="T11" fmla="*/ 64 h 339"/>
                <a:gd name="T12" fmla="*/ 275 w 338"/>
                <a:gd name="T13" fmla="*/ 246 h 339"/>
                <a:gd name="T14" fmla="*/ 92 w 338"/>
                <a:gd name="T15" fmla="*/ 275 h 339"/>
                <a:gd name="T16" fmla="*/ 64 w 338"/>
                <a:gd name="T17" fmla="*/ 93 h 339"/>
                <a:gd name="T18" fmla="*/ 246 w 338"/>
                <a:gd name="T19" fmla="*/ 6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9">
                  <a:moveTo>
                    <a:pt x="81" y="290"/>
                  </a:moveTo>
                  <a:cubicBezTo>
                    <a:pt x="148" y="339"/>
                    <a:pt x="241" y="324"/>
                    <a:pt x="290" y="257"/>
                  </a:cubicBezTo>
                  <a:cubicBezTo>
                    <a:pt x="338" y="190"/>
                    <a:pt x="324" y="97"/>
                    <a:pt x="257" y="48"/>
                  </a:cubicBezTo>
                  <a:cubicBezTo>
                    <a:pt x="190" y="0"/>
                    <a:pt x="97" y="15"/>
                    <a:pt x="48" y="81"/>
                  </a:cubicBezTo>
                  <a:cubicBezTo>
                    <a:pt x="0" y="148"/>
                    <a:pt x="15" y="242"/>
                    <a:pt x="81" y="290"/>
                  </a:cubicBezTo>
                  <a:close/>
                  <a:moveTo>
                    <a:pt x="246" y="64"/>
                  </a:moveTo>
                  <a:cubicBezTo>
                    <a:pt x="304" y="106"/>
                    <a:pt x="317" y="188"/>
                    <a:pt x="275" y="246"/>
                  </a:cubicBezTo>
                  <a:cubicBezTo>
                    <a:pt x="232" y="304"/>
                    <a:pt x="151" y="317"/>
                    <a:pt x="92" y="275"/>
                  </a:cubicBezTo>
                  <a:cubicBezTo>
                    <a:pt x="34" y="232"/>
                    <a:pt x="21" y="151"/>
                    <a:pt x="64" y="93"/>
                  </a:cubicBezTo>
                  <a:cubicBezTo>
                    <a:pt x="106" y="34"/>
                    <a:pt x="187" y="21"/>
                    <a:pt x="246"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588"/>
            <p:cNvSpPr>
              <a:spLocks/>
            </p:cNvSpPr>
            <p:nvPr/>
          </p:nvSpPr>
          <p:spPr bwMode="auto">
            <a:xfrm>
              <a:off x="4892675" y="4502150"/>
              <a:ext cx="69850" cy="87313"/>
            </a:xfrm>
            <a:custGeom>
              <a:avLst/>
              <a:gdLst>
                <a:gd name="T0" fmla="*/ 0 w 44"/>
                <a:gd name="T1" fmla="*/ 48 h 55"/>
                <a:gd name="T2" fmla="*/ 35 w 44"/>
                <a:gd name="T3" fmla="*/ 0 h 55"/>
                <a:gd name="T4" fmla="*/ 44 w 44"/>
                <a:gd name="T5" fmla="*/ 7 h 55"/>
                <a:gd name="T6" fmla="*/ 9 w 44"/>
                <a:gd name="T7" fmla="*/ 55 h 55"/>
                <a:gd name="T8" fmla="*/ 0 w 44"/>
                <a:gd name="T9" fmla="*/ 48 h 55"/>
              </a:gdLst>
              <a:ahLst/>
              <a:cxnLst>
                <a:cxn ang="0">
                  <a:pos x="T0" y="T1"/>
                </a:cxn>
                <a:cxn ang="0">
                  <a:pos x="T2" y="T3"/>
                </a:cxn>
                <a:cxn ang="0">
                  <a:pos x="T4" y="T5"/>
                </a:cxn>
                <a:cxn ang="0">
                  <a:pos x="T6" y="T7"/>
                </a:cxn>
                <a:cxn ang="0">
                  <a:pos x="T8" y="T9"/>
                </a:cxn>
              </a:cxnLst>
              <a:rect l="0" t="0" r="r" b="b"/>
              <a:pathLst>
                <a:path w="44" h="55">
                  <a:moveTo>
                    <a:pt x="0" y="48"/>
                  </a:moveTo>
                  <a:lnTo>
                    <a:pt x="35" y="0"/>
                  </a:lnTo>
                  <a:lnTo>
                    <a:pt x="44" y="7"/>
                  </a:lnTo>
                  <a:lnTo>
                    <a:pt x="9" y="55"/>
                  </a:lnTo>
                  <a:lnTo>
                    <a:pt x="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589"/>
            <p:cNvSpPr>
              <a:spLocks noEditPoints="1"/>
            </p:cNvSpPr>
            <p:nvPr/>
          </p:nvSpPr>
          <p:spPr bwMode="auto">
            <a:xfrm>
              <a:off x="5291138" y="4522788"/>
              <a:ext cx="327025" cy="327025"/>
            </a:xfrm>
            <a:custGeom>
              <a:avLst/>
              <a:gdLst>
                <a:gd name="T0" fmla="*/ 257 w 339"/>
                <a:gd name="T1" fmla="*/ 290 h 339"/>
                <a:gd name="T2" fmla="*/ 290 w 339"/>
                <a:gd name="T3" fmla="*/ 81 h 339"/>
                <a:gd name="T4" fmla="*/ 81 w 339"/>
                <a:gd name="T5" fmla="*/ 48 h 339"/>
                <a:gd name="T6" fmla="*/ 48 w 339"/>
                <a:gd name="T7" fmla="*/ 257 h 339"/>
                <a:gd name="T8" fmla="*/ 257 w 339"/>
                <a:gd name="T9" fmla="*/ 290 h 339"/>
                <a:gd name="T10" fmla="*/ 93 w 339"/>
                <a:gd name="T11" fmla="*/ 64 h 339"/>
                <a:gd name="T12" fmla="*/ 275 w 339"/>
                <a:gd name="T13" fmla="*/ 93 h 339"/>
                <a:gd name="T14" fmla="*/ 246 w 339"/>
                <a:gd name="T15" fmla="*/ 275 h 339"/>
                <a:gd name="T16" fmla="*/ 64 w 339"/>
                <a:gd name="T17" fmla="*/ 246 h 339"/>
                <a:gd name="T18" fmla="*/ 93 w 339"/>
                <a:gd name="T19" fmla="*/ 6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9" h="339">
                  <a:moveTo>
                    <a:pt x="257" y="290"/>
                  </a:moveTo>
                  <a:cubicBezTo>
                    <a:pt x="324" y="242"/>
                    <a:pt x="339" y="148"/>
                    <a:pt x="290" y="81"/>
                  </a:cubicBezTo>
                  <a:cubicBezTo>
                    <a:pt x="242" y="15"/>
                    <a:pt x="148" y="0"/>
                    <a:pt x="81" y="48"/>
                  </a:cubicBezTo>
                  <a:cubicBezTo>
                    <a:pt x="15" y="97"/>
                    <a:pt x="0" y="190"/>
                    <a:pt x="48" y="257"/>
                  </a:cubicBezTo>
                  <a:cubicBezTo>
                    <a:pt x="97" y="324"/>
                    <a:pt x="190" y="339"/>
                    <a:pt x="257" y="290"/>
                  </a:cubicBezTo>
                  <a:close/>
                  <a:moveTo>
                    <a:pt x="93" y="64"/>
                  </a:moveTo>
                  <a:cubicBezTo>
                    <a:pt x="151" y="21"/>
                    <a:pt x="232" y="34"/>
                    <a:pt x="275" y="93"/>
                  </a:cubicBezTo>
                  <a:cubicBezTo>
                    <a:pt x="317" y="151"/>
                    <a:pt x="304" y="232"/>
                    <a:pt x="246" y="275"/>
                  </a:cubicBezTo>
                  <a:cubicBezTo>
                    <a:pt x="188" y="317"/>
                    <a:pt x="106" y="304"/>
                    <a:pt x="64" y="246"/>
                  </a:cubicBezTo>
                  <a:cubicBezTo>
                    <a:pt x="21" y="188"/>
                    <a:pt x="34" y="106"/>
                    <a:pt x="93"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590"/>
            <p:cNvSpPr>
              <a:spLocks/>
            </p:cNvSpPr>
            <p:nvPr/>
          </p:nvSpPr>
          <p:spPr bwMode="auto">
            <a:xfrm>
              <a:off x="5318125" y="4502150"/>
              <a:ext cx="69850" cy="87313"/>
            </a:xfrm>
            <a:custGeom>
              <a:avLst/>
              <a:gdLst>
                <a:gd name="T0" fmla="*/ 35 w 44"/>
                <a:gd name="T1" fmla="*/ 55 h 55"/>
                <a:gd name="T2" fmla="*/ 0 w 44"/>
                <a:gd name="T3" fmla="*/ 7 h 55"/>
                <a:gd name="T4" fmla="*/ 9 w 44"/>
                <a:gd name="T5" fmla="*/ 0 h 55"/>
                <a:gd name="T6" fmla="*/ 44 w 44"/>
                <a:gd name="T7" fmla="*/ 48 h 55"/>
                <a:gd name="T8" fmla="*/ 35 w 44"/>
                <a:gd name="T9" fmla="*/ 55 h 55"/>
              </a:gdLst>
              <a:ahLst/>
              <a:cxnLst>
                <a:cxn ang="0">
                  <a:pos x="T0" y="T1"/>
                </a:cxn>
                <a:cxn ang="0">
                  <a:pos x="T2" y="T3"/>
                </a:cxn>
                <a:cxn ang="0">
                  <a:pos x="T4" y="T5"/>
                </a:cxn>
                <a:cxn ang="0">
                  <a:pos x="T6" y="T7"/>
                </a:cxn>
                <a:cxn ang="0">
                  <a:pos x="T8" y="T9"/>
                </a:cxn>
              </a:cxnLst>
              <a:rect l="0" t="0" r="r" b="b"/>
              <a:pathLst>
                <a:path w="44" h="55">
                  <a:moveTo>
                    <a:pt x="35" y="55"/>
                  </a:moveTo>
                  <a:lnTo>
                    <a:pt x="0" y="7"/>
                  </a:lnTo>
                  <a:lnTo>
                    <a:pt x="9" y="0"/>
                  </a:lnTo>
                  <a:lnTo>
                    <a:pt x="44" y="48"/>
                  </a:lnTo>
                  <a:lnTo>
                    <a:pt x="35"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591"/>
            <p:cNvSpPr>
              <a:spLocks noEditPoints="1"/>
            </p:cNvSpPr>
            <p:nvPr/>
          </p:nvSpPr>
          <p:spPr bwMode="auto">
            <a:xfrm>
              <a:off x="5048250" y="3630613"/>
              <a:ext cx="176212" cy="169863"/>
            </a:xfrm>
            <a:custGeom>
              <a:avLst/>
              <a:gdLst>
                <a:gd name="T0" fmla="*/ 170 w 183"/>
                <a:gd name="T1" fmla="*/ 103 h 177"/>
                <a:gd name="T2" fmla="*/ 169 w 183"/>
                <a:gd name="T3" fmla="*/ 99 h 177"/>
                <a:gd name="T4" fmla="*/ 160 w 183"/>
                <a:gd name="T5" fmla="*/ 97 h 177"/>
                <a:gd name="T6" fmla="*/ 175 w 183"/>
                <a:gd name="T7" fmla="*/ 97 h 177"/>
                <a:gd name="T8" fmla="*/ 183 w 183"/>
                <a:gd name="T9" fmla="*/ 0 h 177"/>
                <a:gd name="T10" fmla="*/ 65 w 183"/>
                <a:gd name="T11" fmla="*/ 4 h 177"/>
                <a:gd name="T12" fmla="*/ 59 w 183"/>
                <a:gd name="T13" fmla="*/ 86 h 177"/>
                <a:gd name="T14" fmla="*/ 70 w 183"/>
                <a:gd name="T15" fmla="*/ 88 h 177"/>
                <a:gd name="T16" fmla="*/ 63 w 183"/>
                <a:gd name="T17" fmla="*/ 88 h 177"/>
                <a:gd name="T18" fmla="*/ 61 w 183"/>
                <a:gd name="T19" fmla="*/ 92 h 177"/>
                <a:gd name="T20" fmla="*/ 14 w 183"/>
                <a:gd name="T21" fmla="*/ 121 h 177"/>
                <a:gd name="T22" fmla="*/ 0 w 183"/>
                <a:gd name="T23" fmla="*/ 133 h 177"/>
                <a:gd name="T24" fmla="*/ 3 w 183"/>
                <a:gd name="T25" fmla="*/ 143 h 177"/>
                <a:gd name="T26" fmla="*/ 4 w 183"/>
                <a:gd name="T27" fmla="*/ 144 h 177"/>
                <a:gd name="T28" fmla="*/ 5 w 183"/>
                <a:gd name="T29" fmla="*/ 145 h 177"/>
                <a:gd name="T30" fmla="*/ 9 w 183"/>
                <a:gd name="T31" fmla="*/ 148 h 177"/>
                <a:gd name="T32" fmla="*/ 138 w 183"/>
                <a:gd name="T33" fmla="*/ 177 h 177"/>
                <a:gd name="T34" fmla="*/ 158 w 183"/>
                <a:gd name="T35" fmla="*/ 145 h 177"/>
                <a:gd name="T36" fmla="*/ 165 w 183"/>
                <a:gd name="T37" fmla="*/ 133 h 177"/>
                <a:gd name="T38" fmla="*/ 168 w 183"/>
                <a:gd name="T39" fmla="*/ 130 h 177"/>
                <a:gd name="T40" fmla="*/ 174 w 183"/>
                <a:gd name="T41" fmla="*/ 104 h 177"/>
                <a:gd name="T42" fmla="*/ 170 w 183"/>
                <a:gd name="T43" fmla="*/ 103 h 177"/>
                <a:gd name="T44" fmla="*/ 78 w 183"/>
                <a:gd name="T45" fmla="*/ 131 h 177"/>
                <a:gd name="T46" fmla="*/ 56 w 183"/>
                <a:gd name="T47" fmla="*/ 126 h 177"/>
                <a:gd name="T48" fmla="*/ 65 w 183"/>
                <a:gd name="T49" fmla="*/ 119 h 177"/>
                <a:gd name="T50" fmla="*/ 88 w 183"/>
                <a:gd name="T51" fmla="*/ 123 h 177"/>
                <a:gd name="T52" fmla="*/ 78 w 183"/>
                <a:gd name="T53" fmla="*/ 131 h 177"/>
                <a:gd name="T54" fmla="*/ 145 w 183"/>
                <a:gd name="T55" fmla="*/ 127 h 177"/>
                <a:gd name="T56" fmla="*/ 43 w 183"/>
                <a:gd name="T57" fmla="*/ 111 h 177"/>
                <a:gd name="T58" fmla="*/ 64 w 183"/>
                <a:gd name="T59" fmla="*/ 97 h 177"/>
                <a:gd name="T60" fmla="*/ 157 w 183"/>
                <a:gd name="T61" fmla="*/ 110 h 177"/>
                <a:gd name="T62" fmla="*/ 145 w 183"/>
                <a:gd name="T63" fmla="*/ 127 h 177"/>
                <a:gd name="T64" fmla="*/ 70 w 183"/>
                <a:gd name="T65" fmla="*/ 80 h 177"/>
                <a:gd name="T66" fmla="*/ 75 w 183"/>
                <a:gd name="T67" fmla="*/ 11 h 177"/>
                <a:gd name="T68" fmla="*/ 171 w 183"/>
                <a:gd name="T69" fmla="*/ 8 h 177"/>
                <a:gd name="T70" fmla="*/ 162 w 183"/>
                <a:gd name="T71" fmla="*/ 89 h 177"/>
                <a:gd name="T72" fmla="*/ 70 w 183"/>
                <a:gd name="T73" fmla="*/ 8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3" h="177">
                  <a:moveTo>
                    <a:pt x="170" y="103"/>
                  </a:moveTo>
                  <a:cubicBezTo>
                    <a:pt x="169" y="102"/>
                    <a:pt x="170" y="99"/>
                    <a:pt x="169" y="99"/>
                  </a:cubicBezTo>
                  <a:cubicBezTo>
                    <a:pt x="166" y="98"/>
                    <a:pt x="162" y="99"/>
                    <a:pt x="160" y="97"/>
                  </a:cubicBezTo>
                  <a:cubicBezTo>
                    <a:pt x="165" y="96"/>
                    <a:pt x="171" y="98"/>
                    <a:pt x="175" y="97"/>
                  </a:cubicBezTo>
                  <a:cubicBezTo>
                    <a:pt x="178" y="64"/>
                    <a:pt x="183" y="0"/>
                    <a:pt x="183" y="0"/>
                  </a:cubicBezTo>
                  <a:cubicBezTo>
                    <a:pt x="65" y="4"/>
                    <a:pt x="65" y="4"/>
                    <a:pt x="65" y="4"/>
                  </a:cubicBezTo>
                  <a:cubicBezTo>
                    <a:pt x="65" y="4"/>
                    <a:pt x="61" y="58"/>
                    <a:pt x="59" y="86"/>
                  </a:cubicBezTo>
                  <a:cubicBezTo>
                    <a:pt x="63" y="86"/>
                    <a:pt x="68" y="86"/>
                    <a:pt x="70" y="88"/>
                  </a:cubicBezTo>
                  <a:cubicBezTo>
                    <a:pt x="67" y="88"/>
                    <a:pt x="65" y="87"/>
                    <a:pt x="63" y="88"/>
                  </a:cubicBezTo>
                  <a:cubicBezTo>
                    <a:pt x="62" y="89"/>
                    <a:pt x="62" y="91"/>
                    <a:pt x="61" y="92"/>
                  </a:cubicBezTo>
                  <a:cubicBezTo>
                    <a:pt x="47" y="101"/>
                    <a:pt x="30" y="112"/>
                    <a:pt x="14" y="121"/>
                  </a:cubicBezTo>
                  <a:cubicBezTo>
                    <a:pt x="10" y="123"/>
                    <a:pt x="1" y="128"/>
                    <a:pt x="0" y="133"/>
                  </a:cubicBezTo>
                  <a:cubicBezTo>
                    <a:pt x="0" y="136"/>
                    <a:pt x="2" y="140"/>
                    <a:pt x="3" y="143"/>
                  </a:cubicBezTo>
                  <a:cubicBezTo>
                    <a:pt x="3" y="143"/>
                    <a:pt x="3" y="144"/>
                    <a:pt x="4" y="144"/>
                  </a:cubicBezTo>
                  <a:cubicBezTo>
                    <a:pt x="4" y="144"/>
                    <a:pt x="4" y="144"/>
                    <a:pt x="5" y="145"/>
                  </a:cubicBezTo>
                  <a:cubicBezTo>
                    <a:pt x="6" y="145"/>
                    <a:pt x="7" y="147"/>
                    <a:pt x="9" y="148"/>
                  </a:cubicBezTo>
                  <a:cubicBezTo>
                    <a:pt x="18" y="151"/>
                    <a:pt x="122" y="176"/>
                    <a:pt x="138" y="177"/>
                  </a:cubicBezTo>
                  <a:cubicBezTo>
                    <a:pt x="145" y="168"/>
                    <a:pt x="152" y="155"/>
                    <a:pt x="158" y="145"/>
                  </a:cubicBezTo>
                  <a:cubicBezTo>
                    <a:pt x="161" y="141"/>
                    <a:pt x="163" y="136"/>
                    <a:pt x="165" y="133"/>
                  </a:cubicBezTo>
                  <a:cubicBezTo>
                    <a:pt x="166" y="132"/>
                    <a:pt x="167" y="131"/>
                    <a:pt x="168" y="130"/>
                  </a:cubicBezTo>
                  <a:cubicBezTo>
                    <a:pt x="173" y="123"/>
                    <a:pt x="177" y="114"/>
                    <a:pt x="174" y="104"/>
                  </a:cubicBezTo>
                  <a:cubicBezTo>
                    <a:pt x="174" y="103"/>
                    <a:pt x="171" y="104"/>
                    <a:pt x="170" y="103"/>
                  </a:cubicBezTo>
                  <a:close/>
                  <a:moveTo>
                    <a:pt x="78" y="131"/>
                  </a:moveTo>
                  <a:cubicBezTo>
                    <a:pt x="56" y="126"/>
                    <a:pt x="56" y="126"/>
                    <a:pt x="56" y="126"/>
                  </a:cubicBezTo>
                  <a:cubicBezTo>
                    <a:pt x="65" y="119"/>
                    <a:pt x="65" y="119"/>
                    <a:pt x="65" y="119"/>
                  </a:cubicBezTo>
                  <a:cubicBezTo>
                    <a:pt x="88" y="123"/>
                    <a:pt x="88" y="123"/>
                    <a:pt x="88" y="123"/>
                  </a:cubicBezTo>
                  <a:lnTo>
                    <a:pt x="78" y="131"/>
                  </a:lnTo>
                  <a:close/>
                  <a:moveTo>
                    <a:pt x="145" y="127"/>
                  </a:moveTo>
                  <a:cubicBezTo>
                    <a:pt x="43" y="111"/>
                    <a:pt x="43" y="111"/>
                    <a:pt x="43" y="111"/>
                  </a:cubicBezTo>
                  <a:cubicBezTo>
                    <a:pt x="64" y="97"/>
                    <a:pt x="64" y="97"/>
                    <a:pt x="64" y="97"/>
                  </a:cubicBezTo>
                  <a:cubicBezTo>
                    <a:pt x="157" y="110"/>
                    <a:pt x="157" y="110"/>
                    <a:pt x="157" y="110"/>
                  </a:cubicBezTo>
                  <a:lnTo>
                    <a:pt x="145" y="127"/>
                  </a:lnTo>
                  <a:close/>
                  <a:moveTo>
                    <a:pt x="70" y="80"/>
                  </a:moveTo>
                  <a:cubicBezTo>
                    <a:pt x="75" y="11"/>
                    <a:pt x="75" y="11"/>
                    <a:pt x="75" y="11"/>
                  </a:cubicBezTo>
                  <a:cubicBezTo>
                    <a:pt x="171" y="8"/>
                    <a:pt x="171" y="8"/>
                    <a:pt x="171" y="8"/>
                  </a:cubicBezTo>
                  <a:cubicBezTo>
                    <a:pt x="162" y="89"/>
                    <a:pt x="162" y="89"/>
                    <a:pt x="162" y="89"/>
                  </a:cubicBezTo>
                  <a:lnTo>
                    <a:pt x="7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592"/>
            <p:cNvSpPr>
              <a:spLocks noEditPoints="1"/>
            </p:cNvSpPr>
            <p:nvPr/>
          </p:nvSpPr>
          <p:spPr bwMode="auto">
            <a:xfrm>
              <a:off x="5583238" y="3995738"/>
              <a:ext cx="168275" cy="190500"/>
            </a:xfrm>
            <a:custGeom>
              <a:avLst/>
              <a:gdLst>
                <a:gd name="T0" fmla="*/ 174 w 175"/>
                <a:gd name="T1" fmla="*/ 159 h 197"/>
                <a:gd name="T2" fmla="*/ 169 w 175"/>
                <a:gd name="T3" fmla="*/ 158 h 197"/>
                <a:gd name="T4" fmla="*/ 168 w 175"/>
                <a:gd name="T5" fmla="*/ 55 h 197"/>
                <a:gd name="T6" fmla="*/ 96 w 175"/>
                <a:gd name="T7" fmla="*/ 0 h 197"/>
                <a:gd name="T8" fmla="*/ 18 w 175"/>
                <a:gd name="T9" fmla="*/ 55 h 197"/>
                <a:gd name="T10" fmla="*/ 16 w 175"/>
                <a:gd name="T11" fmla="*/ 159 h 197"/>
                <a:gd name="T12" fmla="*/ 1 w 175"/>
                <a:gd name="T13" fmla="*/ 162 h 197"/>
                <a:gd name="T14" fmla="*/ 0 w 175"/>
                <a:gd name="T15" fmla="*/ 165 h 197"/>
                <a:gd name="T16" fmla="*/ 87 w 175"/>
                <a:gd name="T17" fmla="*/ 197 h 197"/>
                <a:gd name="T18" fmla="*/ 175 w 175"/>
                <a:gd name="T19" fmla="*/ 167 h 197"/>
                <a:gd name="T20" fmla="*/ 174 w 175"/>
                <a:gd name="T21" fmla="*/ 159 h 197"/>
                <a:gd name="T22" fmla="*/ 20 w 175"/>
                <a:gd name="T23" fmla="*/ 57 h 197"/>
                <a:gd name="T24" fmla="*/ 96 w 175"/>
                <a:gd name="T25" fmla="*/ 4 h 197"/>
                <a:gd name="T26" fmla="*/ 98 w 175"/>
                <a:gd name="T27" fmla="*/ 176 h 197"/>
                <a:gd name="T28" fmla="*/ 19 w 175"/>
                <a:gd name="T29" fmla="*/ 158 h 197"/>
                <a:gd name="T30" fmla="*/ 20 w 175"/>
                <a:gd name="T31" fmla="*/ 57 h 197"/>
                <a:gd name="T32" fmla="*/ 87 w 175"/>
                <a:gd name="T33" fmla="*/ 191 h 197"/>
                <a:gd name="T34" fmla="*/ 3 w 175"/>
                <a:gd name="T35" fmla="*/ 163 h 197"/>
                <a:gd name="T36" fmla="*/ 17 w 175"/>
                <a:gd name="T37" fmla="*/ 160 h 197"/>
                <a:gd name="T38" fmla="*/ 19 w 175"/>
                <a:gd name="T39" fmla="*/ 160 h 197"/>
                <a:gd name="T40" fmla="*/ 98 w 175"/>
                <a:gd name="T41" fmla="*/ 179 h 197"/>
                <a:gd name="T42" fmla="*/ 134 w 175"/>
                <a:gd name="T43" fmla="*/ 177 h 197"/>
                <a:gd name="T44" fmla="*/ 87 w 175"/>
                <a:gd name="T45" fmla="*/ 19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5" h="197">
                  <a:moveTo>
                    <a:pt x="174" y="159"/>
                  </a:moveTo>
                  <a:cubicBezTo>
                    <a:pt x="172" y="158"/>
                    <a:pt x="171" y="158"/>
                    <a:pt x="169" y="158"/>
                  </a:cubicBezTo>
                  <a:cubicBezTo>
                    <a:pt x="169" y="154"/>
                    <a:pt x="168" y="55"/>
                    <a:pt x="168" y="55"/>
                  </a:cubicBezTo>
                  <a:cubicBezTo>
                    <a:pt x="96" y="0"/>
                    <a:pt x="96" y="0"/>
                    <a:pt x="96" y="0"/>
                  </a:cubicBezTo>
                  <a:cubicBezTo>
                    <a:pt x="18" y="55"/>
                    <a:pt x="18" y="55"/>
                    <a:pt x="18" y="55"/>
                  </a:cubicBezTo>
                  <a:cubicBezTo>
                    <a:pt x="18" y="55"/>
                    <a:pt x="17" y="157"/>
                    <a:pt x="16" y="159"/>
                  </a:cubicBezTo>
                  <a:cubicBezTo>
                    <a:pt x="11" y="160"/>
                    <a:pt x="6" y="161"/>
                    <a:pt x="1" y="162"/>
                  </a:cubicBezTo>
                  <a:cubicBezTo>
                    <a:pt x="1" y="163"/>
                    <a:pt x="1" y="164"/>
                    <a:pt x="0" y="165"/>
                  </a:cubicBezTo>
                  <a:cubicBezTo>
                    <a:pt x="29" y="176"/>
                    <a:pt x="57" y="186"/>
                    <a:pt x="87" y="197"/>
                  </a:cubicBezTo>
                  <a:cubicBezTo>
                    <a:pt x="117" y="187"/>
                    <a:pt x="139" y="179"/>
                    <a:pt x="175" y="167"/>
                  </a:cubicBezTo>
                  <a:cubicBezTo>
                    <a:pt x="175" y="164"/>
                    <a:pt x="175" y="162"/>
                    <a:pt x="174" y="159"/>
                  </a:cubicBezTo>
                  <a:close/>
                  <a:moveTo>
                    <a:pt x="20" y="57"/>
                  </a:moveTo>
                  <a:cubicBezTo>
                    <a:pt x="96" y="4"/>
                    <a:pt x="96" y="4"/>
                    <a:pt x="96" y="4"/>
                  </a:cubicBezTo>
                  <a:cubicBezTo>
                    <a:pt x="98" y="176"/>
                    <a:pt x="98" y="176"/>
                    <a:pt x="98" y="176"/>
                  </a:cubicBezTo>
                  <a:cubicBezTo>
                    <a:pt x="91" y="176"/>
                    <a:pt x="25" y="160"/>
                    <a:pt x="19" y="158"/>
                  </a:cubicBezTo>
                  <a:cubicBezTo>
                    <a:pt x="19" y="154"/>
                    <a:pt x="20" y="57"/>
                    <a:pt x="20" y="57"/>
                  </a:cubicBezTo>
                  <a:close/>
                  <a:moveTo>
                    <a:pt x="87" y="191"/>
                  </a:moveTo>
                  <a:cubicBezTo>
                    <a:pt x="74" y="187"/>
                    <a:pt x="10" y="165"/>
                    <a:pt x="3" y="163"/>
                  </a:cubicBezTo>
                  <a:cubicBezTo>
                    <a:pt x="8" y="162"/>
                    <a:pt x="13" y="161"/>
                    <a:pt x="17" y="160"/>
                  </a:cubicBezTo>
                  <a:cubicBezTo>
                    <a:pt x="18" y="160"/>
                    <a:pt x="19" y="160"/>
                    <a:pt x="19" y="160"/>
                  </a:cubicBezTo>
                  <a:cubicBezTo>
                    <a:pt x="27" y="162"/>
                    <a:pt x="98" y="179"/>
                    <a:pt x="98" y="179"/>
                  </a:cubicBezTo>
                  <a:cubicBezTo>
                    <a:pt x="134" y="177"/>
                    <a:pt x="134" y="177"/>
                    <a:pt x="134" y="177"/>
                  </a:cubicBezTo>
                  <a:cubicBezTo>
                    <a:pt x="117" y="182"/>
                    <a:pt x="96" y="189"/>
                    <a:pt x="87"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593"/>
            <p:cNvSpPr>
              <a:spLocks/>
            </p:cNvSpPr>
            <p:nvPr/>
          </p:nvSpPr>
          <p:spPr bwMode="auto">
            <a:xfrm>
              <a:off x="5605463" y="4011613"/>
              <a:ext cx="65087" cy="49213"/>
            </a:xfrm>
            <a:custGeom>
              <a:avLst/>
              <a:gdLst>
                <a:gd name="T0" fmla="*/ 41 w 41"/>
                <a:gd name="T1" fmla="*/ 0 h 31"/>
                <a:gd name="T2" fmla="*/ 0 w 41"/>
                <a:gd name="T3" fmla="*/ 26 h 31"/>
                <a:gd name="T4" fmla="*/ 0 w 41"/>
                <a:gd name="T5" fmla="*/ 31 h 31"/>
                <a:gd name="T6" fmla="*/ 41 w 41"/>
                <a:gd name="T7" fmla="*/ 9 h 31"/>
                <a:gd name="T8" fmla="*/ 41 w 41"/>
                <a:gd name="T9" fmla="*/ 0 h 31"/>
              </a:gdLst>
              <a:ahLst/>
              <a:cxnLst>
                <a:cxn ang="0">
                  <a:pos x="T0" y="T1"/>
                </a:cxn>
                <a:cxn ang="0">
                  <a:pos x="T2" y="T3"/>
                </a:cxn>
                <a:cxn ang="0">
                  <a:pos x="T4" y="T5"/>
                </a:cxn>
                <a:cxn ang="0">
                  <a:pos x="T6" y="T7"/>
                </a:cxn>
                <a:cxn ang="0">
                  <a:pos x="T8" y="T9"/>
                </a:cxn>
              </a:cxnLst>
              <a:rect l="0" t="0" r="r" b="b"/>
              <a:pathLst>
                <a:path w="41" h="31">
                  <a:moveTo>
                    <a:pt x="41" y="0"/>
                  </a:moveTo>
                  <a:lnTo>
                    <a:pt x="0" y="26"/>
                  </a:lnTo>
                  <a:lnTo>
                    <a:pt x="0" y="31"/>
                  </a:lnTo>
                  <a:lnTo>
                    <a:pt x="41" y="9"/>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594"/>
            <p:cNvSpPr>
              <a:spLocks/>
            </p:cNvSpPr>
            <p:nvPr/>
          </p:nvSpPr>
          <p:spPr bwMode="auto">
            <a:xfrm>
              <a:off x="5605463" y="4121150"/>
              <a:ext cx="66675" cy="14288"/>
            </a:xfrm>
            <a:custGeom>
              <a:avLst/>
              <a:gdLst>
                <a:gd name="T0" fmla="*/ 42 w 42"/>
                <a:gd name="T1" fmla="*/ 0 h 9"/>
                <a:gd name="T2" fmla="*/ 0 w 42"/>
                <a:gd name="T3" fmla="*/ 1 h 9"/>
                <a:gd name="T4" fmla="*/ 0 w 42"/>
                <a:gd name="T5" fmla="*/ 7 h 9"/>
                <a:gd name="T6" fmla="*/ 42 w 42"/>
                <a:gd name="T7" fmla="*/ 9 h 9"/>
                <a:gd name="T8" fmla="*/ 42 w 42"/>
                <a:gd name="T9" fmla="*/ 0 h 9"/>
              </a:gdLst>
              <a:ahLst/>
              <a:cxnLst>
                <a:cxn ang="0">
                  <a:pos x="T0" y="T1"/>
                </a:cxn>
                <a:cxn ang="0">
                  <a:pos x="T2" y="T3"/>
                </a:cxn>
                <a:cxn ang="0">
                  <a:pos x="T4" y="T5"/>
                </a:cxn>
                <a:cxn ang="0">
                  <a:pos x="T6" y="T7"/>
                </a:cxn>
                <a:cxn ang="0">
                  <a:pos x="T8" y="T9"/>
                </a:cxn>
              </a:cxnLst>
              <a:rect l="0" t="0" r="r" b="b"/>
              <a:pathLst>
                <a:path w="42" h="9">
                  <a:moveTo>
                    <a:pt x="42" y="0"/>
                  </a:moveTo>
                  <a:lnTo>
                    <a:pt x="0" y="1"/>
                  </a:lnTo>
                  <a:lnTo>
                    <a:pt x="0" y="7"/>
                  </a:lnTo>
                  <a:lnTo>
                    <a:pt x="42" y="9"/>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595"/>
            <p:cNvSpPr>
              <a:spLocks/>
            </p:cNvSpPr>
            <p:nvPr/>
          </p:nvSpPr>
          <p:spPr bwMode="auto">
            <a:xfrm>
              <a:off x="5605463" y="4137025"/>
              <a:ext cx="66675" cy="20638"/>
            </a:xfrm>
            <a:custGeom>
              <a:avLst/>
              <a:gdLst>
                <a:gd name="T0" fmla="*/ 42 w 42"/>
                <a:gd name="T1" fmla="*/ 4 h 13"/>
                <a:gd name="T2" fmla="*/ 0 w 42"/>
                <a:gd name="T3" fmla="*/ 0 h 13"/>
                <a:gd name="T4" fmla="*/ 0 w 42"/>
                <a:gd name="T5" fmla="*/ 5 h 13"/>
                <a:gd name="T6" fmla="*/ 42 w 42"/>
                <a:gd name="T7" fmla="*/ 13 h 13"/>
                <a:gd name="T8" fmla="*/ 42 w 42"/>
                <a:gd name="T9" fmla="*/ 4 h 13"/>
              </a:gdLst>
              <a:ahLst/>
              <a:cxnLst>
                <a:cxn ang="0">
                  <a:pos x="T0" y="T1"/>
                </a:cxn>
                <a:cxn ang="0">
                  <a:pos x="T2" y="T3"/>
                </a:cxn>
                <a:cxn ang="0">
                  <a:pos x="T4" y="T5"/>
                </a:cxn>
                <a:cxn ang="0">
                  <a:pos x="T6" y="T7"/>
                </a:cxn>
                <a:cxn ang="0">
                  <a:pos x="T8" y="T9"/>
                </a:cxn>
              </a:cxnLst>
              <a:rect l="0" t="0" r="r" b="b"/>
              <a:pathLst>
                <a:path w="42" h="13">
                  <a:moveTo>
                    <a:pt x="42" y="4"/>
                  </a:moveTo>
                  <a:lnTo>
                    <a:pt x="0" y="0"/>
                  </a:lnTo>
                  <a:lnTo>
                    <a:pt x="0" y="5"/>
                  </a:lnTo>
                  <a:lnTo>
                    <a:pt x="42" y="13"/>
                  </a:lnTo>
                  <a:lnTo>
                    <a:pt x="4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596"/>
            <p:cNvSpPr>
              <a:spLocks/>
            </p:cNvSpPr>
            <p:nvPr/>
          </p:nvSpPr>
          <p:spPr bwMode="auto">
            <a:xfrm>
              <a:off x="5605463" y="4033838"/>
              <a:ext cx="65087" cy="41275"/>
            </a:xfrm>
            <a:custGeom>
              <a:avLst/>
              <a:gdLst>
                <a:gd name="T0" fmla="*/ 41 w 41"/>
                <a:gd name="T1" fmla="*/ 0 h 26"/>
                <a:gd name="T2" fmla="*/ 0 w 41"/>
                <a:gd name="T3" fmla="*/ 20 h 26"/>
                <a:gd name="T4" fmla="*/ 0 w 41"/>
                <a:gd name="T5" fmla="*/ 26 h 26"/>
                <a:gd name="T6" fmla="*/ 41 w 41"/>
                <a:gd name="T7" fmla="*/ 9 h 26"/>
                <a:gd name="T8" fmla="*/ 41 w 41"/>
                <a:gd name="T9" fmla="*/ 0 h 26"/>
              </a:gdLst>
              <a:ahLst/>
              <a:cxnLst>
                <a:cxn ang="0">
                  <a:pos x="T0" y="T1"/>
                </a:cxn>
                <a:cxn ang="0">
                  <a:pos x="T2" y="T3"/>
                </a:cxn>
                <a:cxn ang="0">
                  <a:pos x="T4" y="T5"/>
                </a:cxn>
                <a:cxn ang="0">
                  <a:pos x="T6" y="T7"/>
                </a:cxn>
                <a:cxn ang="0">
                  <a:pos x="T8" y="T9"/>
                </a:cxn>
              </a:cxnLst>
              <a:rect l="0" t="0" r="r" b="b"/>
              <a:pathLst>
                <a:path w="41" h="26">
                  <a:moveTo>
                    <a:pt x="41" y="0"/>
                  </a:moveTo>
                  <a:lnTo>
                    <a:pt x="0" y="20"/>
                  </a:lnTo>
                  <a:lnTo>
                    <a:pt x="0" y="26"/>
                  </a:lnTo>
                  <a:lnTo>
                    <a:pt x="41" y="9"/>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597"/>
            <p:cNvSpPr>
              <a:spLocks/>
            </p:cNvSpPr>
            <p:nvPr/>
          </p:nvSpPr>
          <p:spPr bwMode="auto">
            <a:xfrm>
              <a:off x="5605463" y="4098925"/>
              <a:ext cx="66675" cy="17463"/>
            </a:xfrm>
            <a:custGeom>
              <a:avLst/>
              <a:gdLst>
                <a:gd name="T0" fmla="*/ 42 w 42"/>
                <a:gd name="T1" fmla="*/ 0 h 11"/>
                <a:gd name="T2" fmla="*/ 0 w 42"/>
                <a:gd name="T3" fmla="*/ 7 h 11"/>
                <a:gd name="T4" fmla="*/ 0 w 42"/>
                <a:gd name="T5" fmla="*/ 11 h 11"/>
                <a:gd name="T6" fmla="*/ 42 w 42"/>
                <a:gd name="T7" fmla="*/ 9 h 11"/>
                <a:gd name="T8" fmla="*/ 42 w 42"/>
                <a:gd name="T9" fmla="*/ 0 h 11"/>
              </a:gdLst>
              <a:ahLst/>
              <a:cxnLst>
                <a:cxn ang="0">
                  <a:pos x="T0" y="T1"/>
                </a:cxn>
                <a:cxn ang="0">
                  <a:pos x="T2" y="T3"/>
                </a:cxn>
                <a:cxn ang="0">
                  <a:pos x="T4" y="T5"/>
                </a:cxn>
                <a:cxn ang="0">
                  <a:pos x="T6" y="T7"/>
                </a:cxn>
                <a:cxn ang="0">
                  <a:pos x="T8" y="T9"/>
                </a:cxn>
              </a:cxnLst>
              <a:rect l="0" t="0" r="r" b="b"/>
              <a:pathLst>
                <a:path w="42" h="11">
                  <a:moveTo>
                    <a:pt x="42" y="0"/>
                  </a:moveTo>
                  <a:lnTo>
                    <a:pt x="0" y="7"/>
                  </a:lnTo>
                  <a:lnTo>
                    <a:pt x="0" y="11"/>
                  </a:lnTo>
                  <a:lnTo>
                    <a:pt x="42" y="9"/>
                  </a:ln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598"/>
            <p:cNvSpPr>
              <a:spLocks/>
            </p:cNvSpPr>
            <p:nvPr/>
          </p:nvSpPr>
          <p:spPr bwMode="auto">
            <a:xfrm>
              <a:off x="5605463" y="4078288"/>
              <a:ext cx="66675" cy="25400"/>
            </a:xfrm>
            <a:custGeom>
              <a:avLst/>
              <a:gdLst>
                <a:gd name="T0" fmla="*/ 41 w 42"/>
                <a:gd name="T1" fmla="*/ 0 h 16"/>
                <a:gd name="T2" fmla="*/ 0 w 42"/>
                <a:gd name="T3" fmla="*/ 10 h 16"/>
                <a:gd name="T4" fmla="*/ 0 w 42"/>
                <a:gd name="T5" fmla="*/ 16 h 16"/>
                <a:gd name="T6" fmla="*/ 42 w 42"/>
                <a:gd name="T7" fmla="*/ 8 h 16"/>
                <a:gd name="T8" fmla="*/ 41 w 42"/>
                <a:gd name="T9" fmla="*/ 0 h 16"/>
              </a:gdLst>
              <a:ahLst/>
              <a:cxnLst>
                <a:cxn ang="0">
                  <a:pos x="T0" y="T1"/>
                </a:cxn>
                <a:cxn ang="0">
                  <a:pos x="T2" y="T3"/>
                </a:cxn>
                <a:cxn ang="0">
                  <a:pos x="T4" y="T5"/>
                </a:cxn>
                <a:cxn ang="0">
                  <a:pos x="T6" y="T7"/>
                </a:cxn>
                <a:cxn ang="0">
                  <a:pos x="T8" y="T9"/>
                </a:cxn>
              </a:cxnLst>
              <a:rect l="0" t="0" r="r" b="b"/>
              <a:pathLst>
                <a:path w="42" h="16">
                  <a:moveTo>
                    <a:pt x="41" y="0"/>
                  </a:moveTo>
                  <a:lnTo>
                    <a:pt x="0" y="10"/>
                  </a:lnTo>
                  <a:lnTo>
                    <a:pt x="0" y="16"/>
                  </a:lnTo>
                  <a:lnTo>
                    <a:pt x="42" y="8"/>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599"/>
            <p:cNvSpPr>
              <a:spLocks/>
            </p:cNvSpPr>
            <p:nvPr/>
          </p:nvSpPr>
          <p:spPr bwMode="auto">
            <a:xfrm>
              <a:off x="5605463" y="4056063"/>
              <a:ext cx="65087" cy="33338"/>
            </a:xfrm>
            <a:custGeom>
              <a:avLst/>
              <a:gdLst>
                <a:gd name="T0" fmla="*/ 41 w 41"/>
                <a:gd name="T1" fmla="*/ 0 h 21"/>
                <a:gd name="T2" fmla="*/ 0 w 41"/>
                <a:gd name="T3" fmla="*/ 15 h 21"/>
                <a:gd name="T4" fmla="*/ 0 w 41"/>
                <a:gd name="T5" fmla="*/ 21 h 21"/>
                <a:gd name="T6" fmla="*/ 41 w 41"/>
                <a:gd name="T7" fmla="*/ 8 h 21"/>
                <a:gd name="T8" fmla="*/ 41 w 41"/>
                <a:gd name="T9" fmla="*/ 0 h 21"/>
              </a:gdLst>
              <a:ahLst/>
              <a:cxnLst>
                <a:cxn ang="0">
                  <a:pos x="T0" y="T1"/>
                </a:cxn>
                <a:cxn ang="0">
                  <a:pos x="T2" y="T3"/>
                </a:cxn>
                <a:cxn ang="0">
                  <a:pos x="T4" y="T5"/>
                </a:cxn>
                <a:cxn ang="0">
                  <a:pos x="T6" y="T7"/>
                </a:cxn>
                <a:cxn ang="0">
                  <a:pos x="T8" y="T9"/>
                </a:cxn>
              </a:cxnLst>
              <a:rect l="0" t="0" r="r" b="b"/>
              <a:pathLst>
                <a:path w="41" h="21">
                  <a:moveTo>
                    <a:pt x="41" y="0"/>
                  </a:moveTo>
                  <a:lnTo>
                    <a:pt x="0" y="15"/>
                  </a:lnTo>
                  <a:lnTo>
                    <a:pt x="0" y="21"/>
                  </a:lnTo>
                  <a:lnTo>
                    <a:pt x="41" y="8"/>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600"/>
            <p:cNvSpPr>
              <a:spLocks noChangeArrowheads="1"/>
            </p:cNvSpPr>
            <p:nvPr/>
          </p:nvSpPr>
          <p:spPr bwMode="auto">
            <a:xfrm>
              <a:off x="5427663" y="4740275"/>
              <a:ext cx="11112" cy="11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601"/>
            <p:cNvSpPr>
              <a:spLocks/>
            </p:cNvSpPr>
            <p:nvPr/>
          </p:nvSpPr>
          <p:spPr bwMode="auto">
            <a:xfrm>
              <a:off x="5526088" y="46370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602"/>
            <p:cNvSpPr>
              <a:spLocks/>
            </p:cNvSpPr>
            <p:nvPr/>
          </p:nvSpPr>
          <p:spPr bwMode="auto">
            <a:xfrm>
              <a:off x="5526088" y="46116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603"/>
            <p:cNvSpPr>
              <a:spLocks/>
            </p:cNvSpPr>
            <p:nvPr/>
          </p:nvSpPr>
          <p:spPr bwMode="auto">
            <a:xfrm>
              <a:off x="5526088" y="46640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604"/>
            <p:cNvSpPr>
              <a:spLocks/>
            </p:cNvSpPr>
            <p:nvPr/>
          </p:nvSpPr>
          <p:spPr bwMode="auto">
            <a:xfrm>
              <a:off x="5387975" y="4632325"/>
              <a:ext cx="131762" cy="41275"/>
            </a:xfrm>
            <a:custGeom>
              <a:avLst/>
              <a:gdLst>
                <a:gd name="T0" fmla="*/ 2 w 137"/>
                <a:gd name="T1" fmla="*/ 37 h 44"/>
                <a:gd name="T2" fmla="*/ 2 w 137"/>
                <a:gd name="T3" fmla="*/ 37 h 44"/>
                <a:gd name="T4" fmla="*/ 3 w 137"/>
                <a:gd name="T5" fmla="*/ 38 h 44"/>
                <a:gd name="T6" fmla="*/ 4 w 137"/>
                <a:gd name="T7" fmla="*/ 38 h 44"/>
                <a:gd name="T8" fmla="*/ 5 w 137"/>
                <a:gd name="T9" fmla="*/ 38 h 44"/>
                <a:gd name="T10" fmla="*/ 6 w 137"/>
                <a:gd name="T11" fmla="*/ 38 h 44"/>
                <a:gd name="T12" fmla="*/ 6 w 137"/>
                <a:gd name="T13" fmla="*/ 38 h 44"/>
                <a:gd name="T14" fmla="*/ 7 w 137"/>
                <a:gd name="T15" fmla="*/ 38 h 44"/>
                <a:gd name="T16" fmla="*/ 8 w 137"/>
                <a:gd name="T17" fmla="*/ 38 h 44"/>
                <a:gd name="T18" fmla="*/ 78 w 137"/>
                <a:gd name="T19" fmla="*/ 44 h 44"/>
                <a:gd name="T20" fmla="*/ 79 w 137"/>
                <a:gd name="T21" fmla="*/ 44 h 44"/>
                <a:gd name="T22" fmla="*/ 81 w 137"/>
                <a:gd name="T23" fmla="*/ 44 h 44"/>
                <a:gd name="T24" fmla="*/ 82 w 137"/>
                <a:gd name="T25" fmla="*/ 44 h 44"/>
                <a:gd name="T26" fmla="*/ 83 w 137"/>
                <a:gd name="T27" fmla="*/ 44 h 44"/>
                <a:gd name="T28" fmla="*/ 85 w 137"/>
                <a:gd name="T29" fmla="*/ 44 h 44"/>
                <a:gd name="T30" fmla="*/ 88 w 137"/>
                <a:gd name="T31" fmla="*/ 44 h 44"/>
                <a:gd name="T32" fmla="*/ 90 w 137"/>
                <a:gd name="T33" fmla="*/ 44 h 44"/>
                <a:gd name="T34" fmla="*/ 91 w 137"/>
                <a:gd name="T35" fmla="*/ 44 h 44"/>
                <a:gd name="T36" fmla="*/ 92 w 137"/>
                <a:gd name="T37" fmla="*/ 44 h 44"/>
                <a:gd name="T38" fmla="*/ 93 w 137"/>
                <a:gd name="T39" fmla="*/ 43 h 44"/>
                <a:gd name="T40" fmla="*/ 94 w 137"/>
                <a:gd name="T41" fmla="*/ 43 h 44"/>
                <a:gd name="T42" fmla="*/ 95 w 137"/>
                <a:gd name="T43" fmla="*/ 43 h 44"/>
                <a:gd name="T44" fmla="*/ 96 w 137"/>
                <a:gd name="T45" fmla="*/ 43 h 44"/>
                <a:gd name="T46" fmla="*/ 96 w 137"/>
                <a:gd name="T47" fmla="*/ 42 h 44"/>
                <a:gd name="T48" fmla="*/ 136 w 137"/>
                <a:gd name="T49" fmla="*/ 21 h 44"/>
                <a:gd name="T50" fmla="*/ 136 w 137"/>
                <a:gd name="T51" fmla="*/ 21 h 44"/>
                <a:gd name="T52" fmla="*/ 136 w 137"/>
                <a:gd name="T53" fmla="*/ 21 h 44"/>
                <a:gd name="T54" fmla="*/ 137 w 137"/>
                <a:gd name="T55" fmla="*/ 20 h 44"/>
                <a:gd name="T56" fmla="*/ 137 w 137"/>
                <a:gd name="T57" fmla="*/ 3 h 44"/>
                <a:gd name="T58" fmla="*/ 137 w 137"/>
                <a:gd name="T59" fmla="*/ 3 h 44"/>
                <a:gd name="T60" fmla="*/ 97 w 137"/>
                <a:gd name="T61" fmla="*/ 18 h 44"/>
                <a:gd name="T62" fmla="*/ 96 w 137"/>
                <a:gd name="T63" fmla="*/ 18 h 44"/>
                <a:gd name="T64" fmla="*/ 96 w 137"/>
                <a:gd name="T65" fmla="*/ 18 h 44"/>
                <a:gd name="T66" fmla="*/ 95 w 137"/>
                <a:gd name="T67" fmla="*/ 18 h 44"/>
                <a:gd name="T68" fmla="*/ 94 w 137"/>
                <a:gd name="T69" fmla="*/ 19 h 44"/>
                <a:gd name="T70" fmla="*/ 93 w 137"/>
                <a:gd name="T71" fmla="*/ 19 h 44"/>
                <a:gd name="T72" fmla="*/ 92 w 137"/>
                <a:gd name="T73" fmla="*/ 19 h 44"/>
                <a:gd name="T74" fmla="*/ 90 w 137"/>
                <a:gd name="T75" fmla="*/ 19 h 44"/>
                <a:gd name="T76" fmla="*/ 88 w 137"/>
                <a:gd name="T77" fmla="*/ 19 h 44"/>
                <a:gd name="T78" fmla="*/ 86 w 137"/>
                <a:gd name="T79" fmla="*/ 19 h 44"/>
                <a:gd name="T80" fmla="*/ 85 w 137"/>
                <a:gd name="T81" fmla="*/ 19 h 44"/>
                <a:gd name="T82" fmla="*/ 83 w 137"/>
                <a:gd name="T83" fmla="*/ 19 h 44"/>
                <a:gd name="T84" fmla="*/ 82 w 137"/>
                <a:gd name="T85" fmla="*/ 19 h 44"/>
                <a:gd name="T86" fmla="*/ 80 w 137"/>
                <a:gd name="T87" fmla="*/ 19 h 44"/>
                <a:gd name="T88" fmla="*/ 79 w 137"/>
                <a:gd name="T89" fmla="*/ 19 h 44"/>
                <a:gd name="T90" fmla="*/ 9 w 137"/>
                <a:gd name="T91" fmla="*/ 14 h 44"/>
                <a:gd name="T92" fmla="*/ 8 w 137"/>
                <a:gd name="T93" fmla="*/ 14 h 44"/>
                <a:gd name="T94" fmla="*/ 7 w 137"/>
                <a:gd name="T95" fmla="*/ 14 h 44"/>
                <a:gd name="T96" fmla="*/ 6 w 137"/>
                <a:gd name="T97" fmla="*/ 13 h 44"/>
                <a:gd name="T98" fmla="*/ 1 w 137"/>
                <a:gd name="T99" fmla="*/ 16 h 44"/>
                <a:gd name="T100" fmla="*/ 1 w 137"/>
                <a:gd name="T101" fmla="*/ 37 h 44"/>
                <a:gd name="T102" fmla="*/ 1 w 137"/>
                <a:gd name="T103"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7" h="44">
                  <a:moveTo>
                    <a:pt x="1" y="37"/>
                  </a:moveTo>
                  <a:cubicBezTo>
                    <a:pt x="1" y="37"/>
                    <a:pt x="2" y="37"/>
                    <a:pt x="2" y="37"/>
                  </a:cubicBezTo>
                  <a:cubicBezTo>
                    <a:pt x="2" y="37"/>
                    <a:pt x="2" y="37"/>
                    <a:pt x="2" y="37"/>
                  </a:cubicBezTo>
                  <a:cubicBezTo>
                    <a:pt x="2" y="37"/>
                    <a:pt x="2" y="37"/>
                    <a:pt x="2" y="37"/>
                  </a:cubicBezTo>
                  <a:cubicBezTo>
                    <a:pt x="2" y="37"/>
                    <a:pt x="3" y="37"/>
                    <a:pt x="3" y="37"/>
                  </a:cubicBezTo>
                  <a:cubicBezTo>
                    <a:pt x="3" y="38"/>
                    <a:pt x="3" y="38"/>
                    <a:pt x="3" y="38"/>
                  </a:cubicBezTo>
                  <a:cubicBezTo>
                    <a:pt x="3" y="38"/>
                    <a:pt x="3" y="38"/>
                    <a:pt x="3" y="38"/>
                  </a:cubicBezTo>
                  <a:cubicBezTo>
                    <a:pt x="4" y="38"/>
                    <a:pt x="4" y="38"/>
                    <a:pt x="4" y="38"/>
                  </a:cubicBezTo>
                  <a:cubicBezTo>
                    <a:pt x="4" y="38"/>
                    <a:pt x="4" y="38"/>
                    <a:pt x="4" y="38"/>
                  </a:cubicBezTo>
                  <a:cubicBezTo>
                    <a:pt x="5" y="38"/>
                    <a:pt x="5" y="38"/>
                    <a:pt x="5" y="38"/>
                  </a:cubicBezTo>
                  <a:cubicBezTo>
                    <a:pt x="5" y="38"/>
                    <a:pt x="5" y="38"/>
                    <a:pt x="5" y="38"/>
                  </a:cubicBezTo>
                  <a:cubicBezTo>
                    <a:pt x="5" y="38"/>
                    <a:pt x="5" y="38"/>
                    <a:pt x="6" y="38"/>
                  </a:cubicBezTo>
                  <a:cubicBezTo>
                    <a:pt x="6" y="38"/>
                    <a:pt x="6" y="38"/>
                    <a:pt x="6" y="38"/>
                  </a:cubicBezTo>
                  <a:cubicBezTo>
                    <a:pt x="6" y="38"/>
                    <a:pt x="6" y="38"/>
                    <a:pt x="6" y="38"/>
                  </a:cubicBezTo>
                  <a:cubicBezTo>
                    <a:pt x="7" y="38"/>
                    <a:pt x="7" y="38"/>
                    <a:pt x="7" y="38"/>
                  </a:cubicBezTo>
                  <a:cubicBezTo>
                    <a:pt x="7" y="38"/>
                    <a:pt x="7" y="38"/>
                    <a:pt x="7" y="38"/>
                  </a:cubicBezTo>
                  <a:cubicBezTo>
                    <a:pt x="8" y="38"/>
                    <a:pt x="8" y="38"/>
                    <a:pt x="8" y="38"/>
                  </a:cubicBezTo>
                  <a:cubicBezTo>
                    <a:pt x="8" y="38"/>
                    <a:pt x="8" y="38"/>
                    <a:pt x="8" y="38"/>
                  </a:cubicBezTo>
                  <a:cubicBezTo>
                    <a:pt x="9" y="38"/>
                    <a:pt x="9" y="38"/>
                    <a:pt x="9" y="39"/>
                  </a:cubicBezTo>
                  <a:cubicBezTo>
                    <a:pt x="78" y="44"/>
                    <a:pt x="78" y="44"/>
                    <a:pt x="78" y="44"/>
                  </a:cubicBezTo>
                  <a:cubicBezTo>
                    <a:pt x="78" y="44"/>
                    <a:pt x="78" y="44"/>
                    <a:pt x="79" y="44"/>
                  </a:cubicBezTo>
                  <a:cubicBezTo>
                    <a:pt x="79" y="44"/>
                    <a:pt x="79" y="44"/>
                    <a:pt x="79" y="44"/>
                  </a:cubicBezTo>
                  <a:cubicBezTo>
                    <a:pt x="80" y="44"/>
                    <a:pt x="80" y="44"/>
                    <a:pt x="80" y="44"/>
                  </a:cubicBezTo>
                  <a:cubicBezTo>
                    <a:pt x="80" y="44"/>
                    <a:pt x="81" y="44"/>
                    <a:pt x="81" y="44"/>
                  </a:cubicBezTo>
                  <a:cubicBezTo>
                    <a:pt x="81" y="44"/>
                    <a:pt x="81" y="44"/>
                    <a:pt x="82" y="44"/>
                  </a:cubicBezTo>
                  <a:cubicBezTo>
                    <a:pt x="82" y="44"/>
                    <a:pt x="82" y="44"/>
                    <a:pt x="82" y="44"/>
                  </a:cubicBezTo>
                  <a:cubicBezTo>
                    <a:pt x="82" y="44"/>
                    <a:pt x="83" y="44"/>
                    <a:pt x="83" y="44"/>
                  </a:cubicBezTo>
                  <a:cubicBezTo>
                    <a:pt x="83" y="44"/>
                    <a:pt x="83" y="44"/>
                    <a:pt x="83" y="44"/>
                  </a:cubicBezTo>
                  <a:cubicBezTo>
                    <a:pt x="84" y="44"/>
                    <a:pt x="84" y="44"/>
                    <a:pt x="85" y="44"/>
                  </a:cubicBezTo>
                  <a:cubicBezTo>
                    <a:pt x="85" y="44"/>
                    <a:pt x="85" y="44"/>
                    <a:pt x="85" y="44"/>
                  </a:cubicBezTo>
                  <a:cubicBezTo>
                    <a:pt x="85" y="44"/>
                    <a:pt x="86" y="44"/>
                    <a:pt x="86" y="44"/>
                  </a:cubicBezTo>
                  <a:cubicBezTo>
                    <a:pt x="87" y="44"/>
                    <a:pt x="87" y="44"/>
                    <a:pt x="88" y="44"/>
                  </a:cubicBezTo>
                  <a:cubicBezTo>
                    <a:pt x="88" y="44"/>
                    <a:pt x="88" y="44"/>
                    <a:pt x="88" y="44"/>
                  </a:cubicBezTo>
                  <a:cubicBezTo>
                    <a:pt x="89" y="44"/>
                    <a:pt x="89" y="44"/>
                    <a:pt x="90" y="44"/>
                  </a:cubicBezTo>
                  <a:cubicBezTo>
                    <a:pt x="90" y="44"/>
                    <a:pt x="90" y="44"/>
                    <a:pt x="90" y="44"/>
                  </a:cubicBezTo>
                  <a:cubicBezTo>
                    <a:pt x="91" y="44"/>
                    <a:pt x="91" y="44"/>
                    <a:pt x="91" y="44"/>
                  </a:cubicBezTo>
                  <a:cubicBezTo>
                    <a:pt x="91" y="44"/>
                    <a:pt x="91" y="44"/>
                    <a:pt x="92" y="44"/>
                  </a:cubicBezTo>
                  <a:cubicBezTo>
                    <a:pt x="92" y="44"/>
                    <a:pt x="92" y="44"/>
                    <a:pt x="92" y="44"/>
                  </a:cubicBezTo>
                  <a:cubicBezTo>
                    <a:pt x="92" y="43"/>
                    <a:pt x="93" y="43"/>
                    <a:pt x="93" y="43"/>
                  </a:cubicBezTo>
                  <a:cubicBezTo>
                    <a:pt x="93" y="43"/>
                    <a:pt x="93" y="43"/>
                    <a:pt x="93" y="43"/>
                  </a:cubicBezTo>
                  <a:cubicBezTo>
                    <a:pt x="93" y="43"/>
                    <a:pt x="94" y="43"/>
                    <a:pt x="94" y="43"/>
                  </a:cubicBezTo>
                  <a:cubicBezTo>
                    <a:pt x="94" y="43"/>
                    <a:pt x="94" y="43"/>
                    <a:pt x="94" y="43"/>
                  </a:cubicBezTo>
                  <a:cubicBezTo>
                    <a:pt x="94" y="43"/>
                    <a:pt x="94" y="43"/>
                    <a:pt x="95" y="43"/>
                  </a:cubicBezTo>
                  <a:cubicBezTo>
                    <a:pt x="95" y="43"/>
                    <a:pt x="95" y="43"/>
                    <a:pt x="95" y="43"/>
                  </a:cubicBezTo>
                  <a:cubicBezTo>
                    <a:pt x="95" y="43"/>
                    <a:pt x="95" y="43"/>
                    <a:pt x="96" y="43"/>
                  </a:cubicBezTo>
                  <a:cubicBezTo>
                    <a:pt x="96" y="43"/>
                    <a:pt x="96" y="43"/>
                    <a:pt x="96" y="43"/>
                  </a:cubicBezTo>
                  <a:cubicBezTo>
                    <a:pt x="96" y="43"/>
                    <a:pt x="96" y="43"/>
                    <a:pt x="96" y="43"/>
                  </a:cubicBezTo>
                  <a:cubicBezTo>
                    <a:pt x="96" y="43"/>
                    <a:pt x="96" y="43"/>
                    <a:pt x="96" y="42"/>
                  </a:cubicBezTo>
                  <a:cubicBezTo>
                    <a:pt x="97" y="42"/>
                    <a:pt x="97" y="42"/>
                    <a:pt x="97" y="42"/>
                  </a:cubicBezTo>
                  <a:cubicBezTo>
                    <a:pt x="136" y="21"/>
                    <a:pt x="136" y="21"/>
                    <a:pt x="136" y="21"/>
                  </a:cubicBezTo>
                  <a:cubicBezTo>
                    <a:pt x="136" y="21"/>
                    <a:pt x="136" y="21"/>
                    <a:pt x="136" y="21"/>
                  </a:cubicBezTo>
                  <a:cubicBezTo>
                    <a:pt x="136" y="21"/>
                    <a:pt x="136" y="21"/>
                    <a:pt x="136" y="21"/>
                  </a:cubicBezTo>
                  <a:cubicBezTo>
                    <a:pt x="136" y="21"/>
                    <a:pt x="136" y="21"/>
                    <a:pt x="136" y="21"/>
                  </a:cubicBezTo>
                  <a:cubicBezTo>
                    <a:pt x="136" y="21"/>
                    <a:pt x="136" y="21"/>
                    <a:pt x="136" y="21"/>
                  </a:cubicBezTo>
                  <a:cubicBezTo>
                    <a:pt x="137" y="21"/>
                    <a:pt x="137" y="20"/>
                    <a:pt x="137" y="20"/>
                  </a:cubicBezTo>
                  <a:cubicBezTo>
                    <a:pt x="137" y="20"/>
                    <a:pt x="137" y="20"/>
                    <a:pt x="137" y="20"/>
                  </a:cubicBezTo>
                  <a:cubicBezTo>
                    <a:pt x="137" y="20"/>
                    <a:pt x="137" y="20"/>
                    <a:pt x="137" y="20"/>
                  </a:cubicBezTo>
                  <a:cubicBezTo>
                    <a:pt x="137" y="3"/>
                    <a:pt x="137" y="3"/>
                    <a:pt x="137" y="3"/>
                  </a:cubicBezTo>
                  <a:cubicBezTo>
                    <a:pt x="137" y="3"/>
                    <a:pt x="137" y="3"/>
                    <a:pt x="137" y="3"/>
                  </a:cubicBezTo>
                  <a:cubicBezTo>
                    <a:pt x="137" y="3"/>
                    <a:pt x="137" y="3"/>
                    <a:pt x="137" y="3"/>
                  </a:cubicBezTo>
                  <a:cubicBezTo>
                    <a:pt x="137" y="2"/>
                    <a:pt x="135" y="1"/>
                    <a:pt x="130" y="0"/>
                  </a:cubicBezTo>
                  <a:cubicBezTo>
                    <a:pt x="97" y="18"/>
                    <a:pt x="97" y="18"/>
                    <a:pt x="97" y="18"/>
                  </a:cubicBezTo>
                  <a:cubicBezTo>
                    <a:pt x="97" y="18"/>
                    <a:pt x="97" y="18"/>
                    <a:pt x="96" y="18"/>
                  </a:cubicBezTo>
                  <a:cubicBezTo>
                    <a:pt x="96" y="18"/>
                    <a:pt x="96" y="18"/>
                    <a:pt x="96" y="18"/>
                  </a:cubicBezTo>
                  <a:cubicBezTo>
                    <a:pt x="96" y="18"/>
                    <a:pt x="96" y="18"/>
                    <a:pt x="96" y="18"/>
                  </a:cubicBezTo>
                  <a:cubicBezTo>
                    <a:pt x="96" y="18"/>
                    <a:pt x="96" y="18"/>
                    <a:pt x="96" y="18"/>
                  </a:cubicBezTo>
                  <a:cubicBezTo>
                    <a:pt x="95" y="18"/>
                    <a:pt x="95" y="18"/>
                    <a:pt x="95" y="18"/>
                  </a:cubicBezTo>
                  <a:cubicBezTo>
                    <a:pt x="95" y="18"/>
                    <a:pt x="95" y="18"/>
                    <a:pt x="95" y="18"/>
                  </a:cubicBezTo>
                  <a:cubicBezTo>
                    <a:pt x="94" y="18"/>
                    <a:pt x="94" y="18"/>
                    <a:pt x="94" y="18"/>
                  </a:cubicBezTo>
                  <a:cubicBezTo>
                    <a:pt x="94" y="18"/>
                    <a:pt x="94" y="19"/>
                    <a:pt x="94" y="19"/>
                  </a:cubicBezTo>
                  <a:cubicBezTo>
                    <a:pt x="94" y="19"/>
                    <a:pt x="93" y="19"/>
                    <a:pt x="93" y="19"/>
                  </a:cubicBezTo>
                  <a:cubicBezTo>
                    <a:pt x="93" y="19"/>
                    <a:pt x="93" y="19"/>
                    <a:pt x="93" y="19"/>
                  </a:cubicBezTo>
                  <a:cubicBezTo>
                    <a:pt x="93" y="19"/>
                    <a:pt x="93" y="19"/>
                    <a:pt x="92" y="19"/>
                  </a:cubicBezTo>
                  <a:cubicBezTo>
                    <a:pt x="92" y="19"/>
                    <a:pt x="92" y="19"/>
                    <a:pt x="92" y="19"/>
                  </a:cubicBezTo>
                  <a:cubicBezTo>
                    <a:pt x="91" y="19"/>
                    <a:pt x="91" y="19"/>
                    <a:pt x="91" y="19"/>
                  </a:cubicBezTo>
                  <a:cubicBezTo>
                    <a:pt x="91" y="19"/>
                    <a:pt x="91" y="19"/>
                    <a:pt x="90" y="19"/>
                  </a:cubicBezTo>
                  <a:cubicBezTo>
                    <a:pt x="90" y="19"/>
                    <a:pt x="90" y="19"/>
                    <a:pt x="90" y="19"/>
                  </a:cubicBezTo>
                  <a:cubicBezTo>
                    <a:pt x="89" y="19"/>
                    <a:pt x="89" y="19"/>
                    <a:pt x="88" y="19"/>
                  </a:cubicBezTo>
                  <a:cubicBezTo>
                    <a:pt x="88" y="19"/>
                    <a:pt x="88" y="19"/>
                    <a:pt x="88" y="19"/>
                  </a:cubicBezTo>
                  <a:cubicBezTo>
                    <a:pt x="87" y="19"/>
                    <a:pt x="87" y="19"/>
                    <a:pt x="86" y="19"/>
                  </a:cubicBezTo>
                  <a:cubicBezTo>
                    <a:pt x="86" y="19"/>
                    <a:pt x="85" y="19"/>
                    <a:pt x="85" y="19"/>
                  </a:cubicBezTo>
                  <a:cubicBezTo>
                    <a:pt x="85" y="19"/>
                    <a:pt x="85" y="19"/>
                    <a:pt x="85" y="19"/>
                  </a:cubicBezTo>
                  <a:cubicBezTo>
                    <a:pt x="84" y="19"/>
                    <a:pt x="84" y="19"/>
                    <a:pt x="83" y="19"/>
                  </a:cubicBezTo>
                  <a:cubicBezTo>
                    <a:pt x="83" y="19"/>
                    <a:pt x="83" y="19"/>
                    <a:pt x="83" y="19"/>
                  </a:cubicBezTo>
                  <a:cubicBezTo>
                    <a:pt x="83" y="19"/>
                    <a:pt x="82" y="19"/>
                    <a:pt x="82" y="19"/>
                  </a:cubicBezTo>
                  <a:cubicBezTo>
                    <a:pt x="82" y="19"/>
                    <a:pt x="82" y="19"/>
                    <a:pt x="82" y="19"/>
                  </a:cubicBezTo>
                  <a:cubicBezTo>
                    <a:pt x="81" y="19"/>
                    <a:pt x="81" y="19"/>
                    <a:pt x="81" y="19"/>
                  </a:cubicBezTo>
                  <a:cubicBezTo>
                    <a:pt x="80" y="19"/>
                    <a:pt x="80" y="19"/>
                    <a:pt x="80" y="19"/>
                  </a:cubicBezTo>
                  <a:cubicBezTo>
                    <a:pt x="80" y="19"/>
                    <a:pt x="80" y="19"/>
                    <a:pt x="79" y="19"/>
                  </a:cubicBezTo>
                  <a:cubicBezTo>
                    <a:pt x="79" y="19"/>
                    <a:pt x="79" y="19"/>
                    <a:pt x="79" y="19"/>
                  </a:cubicBezTo>
                  <a:cubicBezTo>
                    <a:pt x="79" y="19"/>
                    <a:pt x="78" y="19"/>
                    <a:pt x="78" y="19"/>
                  </a:cubicBezTo>
                  <a:cubicBezTo>
                    <a:pt x="9" y="14"/>
                    <a:pt x="9" y="14"/>
                    <a:pt x="9" y="14"/>
                  </a:cubicBezTo>
                  <a:cubicBezTo>
                    <a:pt x="9" y="14"/>
                    <a:pt x="9" y="14"/>
                    <a:pt x="8" y="14"/>
                  </a:cubicBezTo>
                  <a:cubicBezTo>
                    <a:pt x="8" y="14"/>
                    <a:pt x="8" y="14"/>
                    <a:pt x="8" y="14"/>
                  </a:cubicBezTo>
                  <a:cubicBezTo>
                    <a:pt x="8" y="14"/>
                    <a:pt x="8" y="14"/>
                    <a:pt x="7" y="14"/>
                  </a:cubicBezTo>
                  <a:cubicBezTo>
                    <a:pt x="7" y="14"/>
                    <a:pt x="7" y="14"/>
                    <a:pt x="7" y="14"/>
                  </a:cubicBezTo>
                  <a:cubicBezTo>
                    <a:pt x="7" y="14"/>
                    <a:pt x="7" y="14"/>
                    <a:pt x="6" y="13"/>
                  </a:cubicBezTo>
                  <a:cubicBezTo>
                    <a:pt x="6" y="13"/>
                    <a:pt x="6" y="13"/>
                    <a:pt x="6" y="13"/>
                  </a:cubicBezTo>
                  <a:cubicBezTo>
                    <a:pt x="6" y="13"/>
                    <a:pt x="6" y="13"/>
                    <a:pt x="6" y="13"/>
                  </a:cubicBezTo>
                  <a:cubicBezTo>
                    <a:pt x="1" y="16"/>
                    <a:pt x="1" y="16"/>
                    <a:pt x="1" y="16"/>
                  </a:cubicBezTo>
                  <a:cubicBezTo>
                    <a:pt x="1" y="16"/>
                    <a:pt x="0" y="16"/>
                    <a:pt x="0" y="16"/>
                  </a:cubicBezTo>
                  <a:cubicBezTo>
                    <a:pt x="1" y="37"/>
                    <a:pt x="1" y="37"/>
                    <a:pt x="1" y="37"/>
                  </a:cubicBezTo>
                  <a:cubicBezTo>
                    <a:pt x="1" y="37"/>
                    <a:pt x="1" y="37"/>
                    <a:pt x="1" y="37"/>
                  </a:cubicBezTo>
                  <a:cubicBezTo>
                    <a:pt x="1" y="37"/>
                    <a:pt x="1" y="37"/>
                    <a:pt x="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605"/>
            <p:cNvSpPr>
              <a:spLocks/>
            </p:cNvSpPr>
            <p:nvPr/>
          </p:nvSpPr>
          <p:spPr bwMode="auto">
            <a:xfrm>
              <a:off x="5387975" y="4600575"/>
              <a:ext cx="131762" cy="42863"/>
            </a:xfrm>
            <a:custGeom>
              <a:avLst/>
              <a:gdLst>
                <a:gd name="T0" fmla="*/ 1 w 137"/>
                <a:gd name="T1" fmla="*/ 38 h 45"/>
                <a:gd name="T2" fmla="*/ 2 w 137"/>
                <a:gd name="T3" fmla="*/ 38 h 45"/>
                <a:gd name="T4" fmla="*/ 2 w 137"/>
                <a:gd name="T5" fmla="*/ 38 h 45"/>
                <a:gd name="T6" fmla="*/ 3 w 137"/>
                <a:gd name="T7" fmla="*/ 38 h 45"/>
                <a:gd name="T8" fmla="*/ 4 w 137"/>
                <a:gd name="T9" fmla="*/ 38 h 45"/>
                <a:gd name="T10" fmla="*/ 5 w 137"/>
                <a:gd name="T11" fmla="*/ 39 h 45"/>
                <a:gd name="T12" fmla="*/ 6 w 137"/>
                <a:gd name="T13" fmla="*/ 39 h 45"/>
                <a:gd name="T14" fmla="*/ 6 w 137"/>
                <a:gd name="T15" fmla="*/ 39 h 45"/>
                <a:gd name="T16" fmla="*/ 7 w 137"/>
                <a:gd name="T17" fmla="*/ 39 h 45"/>
                <a:gd name="T18" fmla="*/ 8 w 137"/>
                <a:gd name="T19" fmla="*/ 39 h 45"/>
                <a:gd name="T20" fmla="*/ 78 w 137"/>
                <a:gd name="T21" fmla="*/ 45 h 45"/>
                <a:gd name="T22" fmla="*/ 79 w 137"/>
                <a:gd name="T23" fmla="*/ 45 h 45"/>
                <a:gd name="T24" fmla="*/ 81 w 137"/>
                <a:gd name="T25" fmla="*/ 45 h 45"/>
                <a:gd name="T26" fmla="*/ 82 w 137"/>
                <a:gd name="T27" fmla="*/ 45 h 45"/>
                <a:gd name="T28" fmla="*/ 83 w 137"/>
                <a:gd name="T29" fmla="*/ 45 h 45"/>
                <a:gd name="T30" fmla="*/ 85 w 137"/>
                <a:gd name="T31" fmla="*/ 45 h 45"/>
                <a:gd name="T32" fmla="*/ 88 w 137"/>
                <a:gd name="T33" fmla="*/ 45 h 45"/>
                <a:gd name="T34" fmla="*/ 90 w 137"/>
                <a:gd name="T35" fmla="*/ 44 h 45"/>
                <a:gd name="T36" fmla="*/ 91 w 137"/>
                <a:gd name="T37" fmla="*/ 44 h 45"/>
                <a:gd name="T38" fmla="*/ 92 w 137"/>
                <a:gd name="T39" fmla="*/ 44 h 45"/>
                <a:gd name="T40" fmla="*/ 93 w 137"/>
                <a:gd name="T41" fmla="*/ 44 h 45"/>
                <a:gd name="T42" fmla="*/ 94 w 137"/>
                <a:gd name="T43" fmla="*/ 44 h 45"/>
                <a:gd name="T44" fmla="*/ 95 w 137"/>
                <a:gd name="T45" fmla="*/ 44 h 45"/>
                <a:gd name="T46" fmla="*/ 96 w 137"/>
                <a:gd name="T47" fmla="*/ 43 h 45"/>
                <a:gd name="T48" fmla="*/ 96 w 137"/>
                <a:gd name="T49" fmla="*/ 43 h 45"/>
                <a:gd name="T50" fmla="*/ 136 w 137"/>
                <a:gd name="T51" fmla="*/ 23 h 45"/>
                <a:gd name="T52" fmla="*/ 136 w 137"/>
                <a:gd name="T53" fmla="*/ 23 h 45"/>
                <a:gd name="T54" fmla="*/ 136 w 137"/>
                <a:gd name="T55" fmla="*/ 22 h 45"/>
                <a:gd name="T56" fmla="*/ 137 w 137"/>
                <a:gd name="T57" fmla="*/ 22 h 45"/>
                <a:gd name="T58" fmla="*/ 137 w 137"/>
                <a:gd name="T59" fmla="*/ 7 h 45"/>
                <a:gd name="T60" fmla="*/ 137 w 137"/>
                <a:gd name="T61" fmla="*/ 7 h 45"/>
                <a:gd name="T62" fmla="*/ 59 w 137"/>
                <a:gd name="T63" fmla="*/ 0 h 45"/>
                <a:gd name="T64" fmla="*/ 1 w 137"/>
                <a:gd name="T65" fmla="*/ 17 h 45"/>
                <a:gd name="T66" fmla="*/ 0 w 137"/>
                <a:gd name="T67" fmla="*/ 37 h 45"/>
                <a:gd name="T68" fmla="*/ 1 w 137"/>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45">
                  <a:moveTo>
                    <a:pt x="1" y="37"/>
                  </a:moveTo>
                  <a:cubicBezTo>
                    <a:pt x="1" y="37"/>
                    <a:pt x="1" y="38"/>
                    <a:pt x="1" y="38"/>
                  </a:cubicBezTo>
                  <a:cubicBezTo>
                    <a:pt x="1" y="38"/>
                    <a:pt x="1" y="38"/>
                    <a:pt x="1" y="38"/>
                  </a:cubicBezTo>
                  <a:cubicBezTo>
                    <a:pt x="1" y="38"/>
                    <a:pt x="2" y="38"/>
                    <a:pt x="2" y="38"/>
                  </a:cubicBezTo>
                  <a:cubicBezTo>
                    <a:pt x="2" y="38"/>
                    <a:pt x="2" y="38"/>
                    <a:pt x="2" y="38"/>
                  </a:cubicBezTo>
                  <a:cubicBezTo>
                    <a:pt x="2" y="38"/>
                    <a:pt x="2" y="38"/>
                    <a:pt x="2" y="38"/>
                  </a:cubicBezTo>
                  <a:cubicBezTo>
                    <a:pt x="2" y="38"/>
                    <a:pt x="3" y="38"/>
                    <a:pt x="3" y="38"/>
                  </a:cubicBezTo>
                  <a:cubicBezTo>
                    <a:pt x="3" y="38"/>
                    <a:pt x="3" y="38"/>
                    <a:pt x="3" y="38"/>
                  </a:cubicBezTo>
                  <a:cubicBezTo>
                    <a:pt x="3" y="38"/>
                    <a:pt x="3" y="38"/>
                    <a:pt x="3" y="38"/>
                  </a:cubicBezTo>
                  <a:cubicBezTo>
                    <a:pt x="4" y="38"/>
                    <a:pt x="4" y="38"/>
                    <a:pt x="4" y="38"/>
                  </a:cubicBezTo>
                  <a:cubicBezTo>
                    <a:pt x="4" y="38"/>
                    <a:pt x="4" y="39"/>
                    <a:pt x="4" y="39"/>
                  </a:cubicBezTo>
                  <a:cubicBezTo>
                    <a:pt x="5" y="39"/>
                    <a:pt x="5" y="39"/>
                    <a:pt x="5" y="39"/>
                  </a:cubicBezTo>
                  <a:cubicBezTo>
                    <a:pt x="5" y="39"/>
                    <a:pt x="5" y="39"/>
                    <a:pt x="5" y="39"/>
                  </a:cubicBezTo>
                  <a:cubicBezTo>
                    <a:pt x="5" y="39"/>
                    <a:pt x="5" y="39"/>
                    <a:pt x="6" y="39"/>
                  </a:cubicBezTo>
                  <a:cubicBezTo>
                    <a:pt x="6" y="39"/>
                    <a:pt x="6" y="39"/>
                    <a:pt x="6" y="39"/>
                  </a:cubicBezTo>
                  <a:cubicBezTo>
                    <a:pt x="6" y="39"/>
                    <a:pt x="6" y="39"/>
                    <a:pt x="6" y="39"/>
                  </a:cubicBezTo>
                  <a:cubicBezTo>
                    <a:pt x="7" y="39"/>
                    <a:pt x="7" y="39"/>
                    <a:pt x="7" y="39"/>
                  </a:cubicBezTo>
                  <a:cubicBezTo>
                    <a:pt x="7" y="39"/>
                    <a:pt x="7" y="39"/>
                    <a:pt x="7" y="39"/>
                  </a:cubicBezTo>
                  <a:cubicBezTo>
                    <a:pt x="8" y="39"/>
                    <a:pt x="8" y="39"/>
                    <a:pt x="8" y="39"/>
                  </a:cubicBezTo>
                  <a:cubicBezTo>
                    <a:pt x="8" y="39"/>
                    <a:pt x="8" y="39"/>
                    <a:pt x="8" y="39"/>
                  </a:cubicBezTo>
                  <a:cubicBezTo>
                    <a:pt x="9" y="39"/>
                    <a:pt x="9" y="39"/>
                    <a:pt x="9" y="39"/>
                  </a:cubicBezTo>
                  <a:cubicBezTo>
                    <a:pt x="78" y="45"/>
                    <a:pt x="78" y="45"/>
                    <a:pt x="78" y="45"/>
                  </a:cubicBezTo>
                  <a:cubicBezTo>
                    <a:pt x="78" y="45"/>
                    <a:pt x="78" y="45"/>
                    <a:pt x="79" y="45"/>
                  </a:cubicBezTo>
                  <a:cubicBezTo>
                    <a:pt x="79" y="45"/>
                    <a:pt x="79" y="45"/>
                    <a:pt x="79" y="45"/>
                  </a:cubicBezTo>
                  <a:cubicBezTo>
                    <a:pt x="80" y="45"/>
                    <a:pt x="80" y="45"/>
                    <a:pt x="80" y="45"/>
                  </a:cubicBezTo>
                  <a:cubicBezTo>
                    <a:pt x="80" y="45"/>
                    <a:pt x="81" y="45"/>
                    <a:pt x="81" y="45"/>
                  </a:cubicBezTo>
                  <a:cubicBezTo>
                    <a:pt x="81" y="45"/>
                    <a:pt x="81" y="45"/>
                    <a:pt x="82" y="45"/>
                  </a:cubicBezTo>
                  <a:cubicBezTo>
                    <a:pt x="82" y="45"/>
                    <a:pt x="82" y="45"/>
                    <a:pt x="82" y="45"/>
                  </a:cubicBezTo>
                  <a:cubicBezTo>
                    <a:pt x="82" y="45"/>
                    <a:pt x="83" y="45"/>
                    <a:pt x="83" y="45"/>
                  </a:cubicBezTo>
                  <a:cubicBezTo>
                    <a:pt x="83" y="45"/>
                    <a:pt x="83" y="45"/>
                    <a:pt x="83" y="45"/>
                  </a:cubicBezTo>
                  <a:cubicBezTo>
                    <a:pt x="84" y="45"/>
                    <a:pt x="84" y="45"/>
                    <a:pt x="85" y="45"/>
                  </a:cubicBezTo>
                  <a:cubicBezTo>
                    <a:pt x="85" y="45"/>
                    <a:pt x="85" y="45"/>
                    <a:pt x="85" y="45"/>
                  </a:cubicBezTo>
                  <a:cubicBezTo>
                    <a:pt x="85" y="45"/>
                    <a:pt x="86" y="45"/>
                    <a:pt x="86" y="45"/>
                  </a:cubicBezTo>
                  <a:cubicBezTo>
                    <a:pt x="87" y="45"/>
                    <a:pt x="87" y="45"/>
                    <a:pt x="88" y="45"/>
                  </a:cubicBezTo>
                  <a:cubicBezTo>
                    <a:pt x="88" y="45"/>
                    <a:pt x="88" y="45"/>
                    <a:pt x="88" y="45"/>
                  </a:cubicBezTo>
                  <a:cubicBezTo>
                    <a:pt x="89" y="45"/>
                    <a:pt x="89" y="45"/>
                    <a:pt x="90" y="44"/>
                  </a:cubicBezTo>
                  <a:cubicBezTo>
                    <a:pt x="90" y="44"/>
                    <a:pt x="90" y="44"/>
                    <a:pt x="90" y="44"/>
                  </a:cubicBezTo>
                  <a:cubicBezTo>
                    <a:pt x="91" y="44"/>
                    <a:pt x="91" y="44"/>
                    <a:pt x="91" y="44"/>
                  </a:cubicBezTo>
                  <a:cubicBezTo>
                    <a:pt x="91" y="44"/>
                    <a:pt x="91" y="44"/>
                    <a:pt x="92" y="44"/>
                  </a:cubicBezTo>
                  <a:cubicBezTo>
                    <a:pt x="92" y="44"/>
                    <a:pt x="92" y="44"/>
                    <a:pt x="92" y="44"/>
                  </a:cubicBezTo>
                  <a:cubicBezTo>
                    <a:pt x="92" y="44"/>
                    <a:pt x="93" y="44"/>
                    <a:pt x="93" y="44"/>
                  </a:cubicBezTo>
                  <a:cubicBezTo>
                    <a:pt x="93" y="44"/>
                    <a:pt x="93" y="44"/>
                    <a:pt x="93" y="44"/>
                  </a:cubicBezTo>
                  <a:cubicBezTo>
                    <a:pt x="93" y="44"/>
                    <a:pt x="94" y="44"/>
                    <a:pt x="94" y="44"/>
                  </a:cubicBezTo>
                  <a:cubicBezTo>
                    <a:pt x="94" y="44"/>
                    <a:pt x="94" y="44"/>
                    <a:pt x="94" y="44"/>
                  </a:cubicBezTo>
                  <a:cubicBezTo>
                    <a:pt x="94" y="44"/>
                    <a:pt x="94" y="44"/>
                    <a:pt x="95" y="44"/>
                  </a:cubicBezTo>
                  <a:cubicBezTo>
                    <a:pt x="95" y="44"/>
                    <a:pt x="95" y="44"/>
                    <a:pt x="95" y="44"/>
                  </a:cubicBezTo>
                  <a:cubicBezTo>
                    <a:pt x="95" y="44"/>
                    <a:pt x="95" y="43"/>
                    <a:pt x="96" y="43"/>
                  </a:cubicBezTo>
                  <a:cubicBezTo>
                    <a:pt x="96" y="43"/>
                    <a:pt x="96" y="43"/>
                    <a:pt x="96" y="43"/>
                  </a:cubicBezTo>
                  <a:cubicBezTo>
                    <a:pt x="96" y="43"/>
                    <a:pt x="96" y="43"/>
                    <a:pt x="96" y="43"/>
                  </a:cubicBezTo>
                  <a:cubicBezTo>
                    <a:pt x="96" y="43"/>
                    <a:pt x="96" y="43"/>
                    <a:pt x="96" y="43"/>
                  </a:cubicBezTo>
                  <a:cubicBezTo>
                    <a:pt x="97" y="43"/>
                    <a:pt x="97" y="43"/>
                    <a:pt x="97" y="43"/>
                  </a:cubicBezTo>
                  <a:cubicBezTo>
                    <a:pt x="136" y="23"/>
                    <a:pt x="136" y="23"/>
                    <a:pt x="136" y="23"/>
                  </a:cubicBezTo>
                  <a:cubicBezTo>
                    <a:pt x="136" y="23"/>
                    <a:pt x="136" y="23"/>
                    <a:pt x="136" y="23"/>
                  </a:cubicBezTo>
                  <a:cubicBezTo>
                    <a:pt x="136" y="23"/>
                    <a:pt x="136" y="23"/>
                    <a:pt x="136" y="23"/>
                  </a:cubicBezTo>
                  <a:cubicBezTo>
                    <a:pt x="136" y="23"/>
                    <a:pt x="136" y="23"/>
                    <a:pt x="136" y="22"/>
                  </a:cubicBezTo>
                  <a:cubicBezTo>
                    <a:pt x="136" y="22"/>
                    <a:pt x="136" y="22"/>
                    <a:pt x="136" y="22"/>
                  </a:cubicBezTo>
                  <a:cubicBezTo>
                    <a:pt x="137" y="22"/>
                    <a:pt x="137" y="22"/>
                    <a:pt x="137" y="22"/>
                  </a:cubicBezTo>
                  <a:cubicBezTo>
                    <a:pt x="137" y="22"/>
                    <a:pt x="137" y="22"/>
                    <a:pt x="137" y="22"/>
                  </a:cubicBezTo>
                  <a:cubicBezTo>
                    <a:pt x="137" y="22"/>
                    <a:pt x="137" y="22"/>
                    <a:pt x="137" y="22"/>
                  </a:cubicBezTo>
                  <a:cubicBezTo>
                    <a:pt x="137" y="7"/>
                    <a:pt x="137" y="7"/>
                    <a:pt x="137" y="7"/>
                  </a:cubicBezTo>
                  <a:cubicBezTo>
                    <a:pt x="137" y="7"/>
                    <a:pt x="137" y="7"/>
                    <a:pt x="137" y="7"/>
                  </a:cubicBezTo>
                  <a:cubicBezTo>
                    <a:pt x="137" y="7"/>
                    <a:pt x="137" y="7"/>
                    <a:pt x="137" y="7"/>
                  </a:cubicBezTo>
                  <a:cubicBezTo>
                    <a:pt x="137" y="6"/>
                    <a:pt x="133" y="5"/>
                    <a:pt x="127" y="4"/>
                  </a:cubicBezTo>
                  <a:cubicBezTo>
                    <a:pt x="59" y="0"/>
                    <a:pt x="59" y="0"/>
                    <a:pt x="59" y="0"/>
                  </a:cubicBezTo>
                  <a:cubicBezTo>
                    <a:pt x="51" y="0"/>
                    <a:pt x="42" y="0"/>
                    <a:pt x="39" y="2"/>
                  </a:cubicBezTo>
                  <a:cubicBezTo>
                    <a:pt x="1" y="17"/>
                    <a:pt x="1" y="17"/>
                    <a:pt x="1" y="17"/>
                  </a:cubicBezTo>
                  <a:cubicBezTo>
                    <a:pt x="0" y="17"/>
                    <a:pt x="0" y="17"/>
                    <a:pt x="0" y="17"/>
                  </a:cubicBezTo>
                  <a:cubicBezTo>
                    <a:pt x="0" y="37"/>
                    <a:pt x="0" y="37"/>
                    <a:pt x="0" y="37"/>
                  </a:cubicBezTo>
                  <a:cubicBezTo>
                    <a:pt x="0" y="37"/>
                    <a:pt x="0" y="37"/>
                    <a:pt x="0" y="37"/>
                  </a:cubicBezTo>
                  <a:cubicBezTo>
                    <a:pt x="0" y="37"/>
                    <a:pt x="0" y="37"/>
                    <a:pt x="1" y="37"/>
                  </a:cubicBezTo>
                  <a:cubicBezTo>
                    <a:pt x="1" y="37"/>
                    <a:pt x="1" y="37"/>
                    <a:pt x="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606"/>
            <p:cNvSpPr>
              <a:spLocks noEditPoints="1"/>
            </p:cNvSpPr>
            <p:nvPr/>
          </p:nvSpPr>
          <p:spPr bwMode="auto">
            <a:xfrm>
              <a:off x="5387975" y="4692650"/>
              <a:ext cx="131762" cy="85725"/>
            </a:xfrm>
            <a:custGeom>
              <a:avLst/>
              <a:gdLst>
                <a:gd name="T0" fmla="*/ 129 w 136"/>
                <a:gd name="T1" fmla="*/ 0 h 89"/>
                <a:gd name="T2" fmla="*/ 95 w 136"/>
                <a:gd name="T3" fmla="*/ 19 h 89"/>
                <a:gd name="T4" fmla="*/ 95 w 136"/>
                <a:gd name="T5" fmla="*/ 20 h 89"/>
                <a:gd name="T6" fmla="*/ 94 w 136"/>
                <a:gd name="T7" fmla="*/ 20 h 89"/>
                <a:gd name="T8" fmla="*/ 93 w 136"/>
                <a:gd name="T9" fmla="*/ 20 h 89"/>
                <a:gd name="T10" fmla="*/ 92 w 136"/>
                <a:gd name="T11" fmla="*/ 20 h 89"/>
                <a:gd name="T12" fmla="*/ 91 w 136"/>
                <a:gd name="T13" fmla="*/ 21 h 89"/>
                <a:gd name="T14" fmla="*/ 90 w 136"/>
                <a:gd name="T15" fmla="*/ 21 h 89"/>
                <a:gd name="T16" fmla="*/ 89 w 136"/>
                <a:gd name="T17" fmla="*/ 21 h 89"/>
                <a:gd name="T18" fmla="*/ 87 w 136"/>
                <a:gd name="T19" fmla="*/ 21 h 89"/>
                <a:gd name="T20" fmla="*/ 84 w 136"/>
                <a:gd name="T21" fmla="*/ 21 h 89"/>
                <a:gd name="T22" fmla="*/ 82 w 136"/>
                <a:gd name="T23" fmla="*/ 21 h 89"/>
                <a:gd name="T24" fmla="*/ 81 w 136"/>
                <a:gd name="T25" fmla="*/ 21 h 89"/>
                <a:gd name="T26" fmla="*/ 80 w 136"/>
                <a:gd name="T27" fmla="*/ 21 h 89"/>
                <a:gd name="T28" fmla="*/ 78 w 136"/>
                <a:gd name="T29" fmla="*/ 21 h 89"/>
                <a:gd name="T30" fmla="*/ 77 w 136"/>
                <a:gd name="T31" fmla="*/ 21 h 89"/>
                <a:gd name="T32" fmla="*/ 7 w 136"/>
                <a:gd name="T33" fmla="*/ 15 h 89"/>
                <a:gd name="T34" fmla="*/ 6 w 136"/>
                <a:gd name="T35" fmla="*/ 15 h 89"/>
                <a:gd name="T36" fmla="*/ 5 w 136"/>
                <a:gd name="T37" fmla="*/ 15 h 89"/>
                <a:gd name="T38" fmla="*/ 5 w 136"/>
                <a:gd name="T39" fmla="*/ 15 h 89"/>
                <a:gd name="T40" fmla="*/ 1 w 136"/>
                <a:gd name="T41" fmla="*/ 79 h 89"/>
                <a:gd name="T42" fmla="*/ 2 w 136"/>
                <a:gd name="T43" fmla="*/ 79 h 89"/>
                <a:gd name="T44" fmla="*/ 3 w 136"/>
                <a:gd name="T45" fmla="*/ 80 h 89"/>
                <a:gd name="T46" fmla="*/ 3 w 136"/>
                <a:gd name="T47" fmla="*/ 80 h 89"/>
                <a:gd name="T48" fmla="*/ 4 w 136"/>
                <a:gd name="T49" fmla="*/ 80 h 89"/>
                <a:gd name="T50" fmla="*/ 5 w 136"/>
                <a:gd name="T51" fmla="*/ 80 h 89"/>
                <a:gd name="T52" fmla="*/ 6 w 136"/>
                <a:gd name="T53" fmla="*/ 80 h 89"/>
                <a:gd name="T54" fmla="*/ 7 w 136"/>
                <a:gd name="T55" fmla="*/ 80 h 89"/>
                <a:gd name="T56" fmla="*/ 8 w 136"/>
                <a:gd name="T57" fmla="*/ 80 h 89"/>
                <a:gd name="T58" fmla="*/ 8 w 136"/>
                <a:gd name="T59" fmla="*/ 81 h 89"/>
                <a:gd name="T60" fmla="*/ 77 w 136"/>
                <a:gd name="T61" fmla="*/ 89 h 89"/>
                <a:gd name="T62" fmla="*/ 78 w 136"/>
                <a:gd name="T63" fmla="*/ 89 h 89"/>
                <a:gd name="T64" fmla="*/ 80 w 136"/>
                <a:gd name="T65" fmla="*/ 89 h 89"/>
                <a:gd name="T66" fmla="*/ 81 w 136"/>
                <a:gd name="T67" fmla="*/ 89 h 89"/>
                <a:gd name="T68" fmla="*/ 82 w 136"/>
                <a:gd name="T69" fmla="*/ 89 h 89"/>
                <a:gd name="T70" fmla="*/ 84 w 136"/>
                <a:gd name="T71" fmla="*/ 89 h 89"/>
                <a:gd name="T72" fmla="*/ 87 w 136"/>
                <a:gd name="T73" fmla="*/ 89 h 89"/>
                <a:gd name="T74" fmla="*/ 89 w 136"/>
                <a:gd name="T75" fmla="*/ 89 h 89"/>
                <a:gd name="T76" fmla="*/ 90 w 136"/>
                <a:gd name="T77" fmla="*/ 89 h 89"/>
                <a:gd name="T78" fmla="*/ 91 w 136"/>
                <a:gd name="T79" fmla="*/ 88 h 89"/>
                <a:gd name="T80" fmla="*/ 92 w 136"/>
                <a:gd name="T81" fmla="*/ 88 h 89"/>
                <a:gd name="T82" fmla="*/ 93 w 136"/>
                <a:gd name="T83" fmla="*/ 88 h 89"/>
                <a:gd name="T84" fmla="*/ 94 w 136"/>
                <a:gd name="T85" fmla="*/ 88 h 89"/>
                <a:gd name="T86" fmla="*/ 95 w 136"/>
                <a:gd name="T87" fmla="*/ 88 h 89"/>
                <a:gd name="T88" fmla="*/ 95 w 136"/>
                <a:gd name="T89" fmla="*/ 87 h 89"/>
                <a:gd name="T90" fmla="*/ 96 w 136"/>
                <a:gd name="T91" fmla="*/ 87 h 89"/>
                <a:gd name="T92" fmla="*/ 136 w 136"/>
                <a:gd name="T93" fmla="*/ 2 h 89"/>
                <a:gd name="T94" fmla="*/ 43 w 136"/>
                <a:gd name="T95" fmla="*/ 63 h 89"/>
                <a:gd name="T96" fmla="*/ 43 w 136"/>
                <a:gd name="T97" fmla="*/ 52 h 89"/>
                <a:gd name="T98" fmla="*/ 43 w 136"/>
                <a:gd name="T99" fmla="*/ 6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89">
                  <a:moveTo>
                    <a:pt x="136" y="2"/>
                  </a:moveTo>
                  <a:cubicBezTo>
                    <a:pt x="136" y="1"/>
                    <a:pt x="134" y="0"/>
                    <a:pt x="129" y="0"/>
                  </a:cubicBezTo>
                  <a:cubicBezTo>
                    <a:pt x="96" y="19"/>
                    <a:pt x="96" y="19"/>
                    <a:pt x="96" y="19"/>
                  </a:cubicBezTo>
                  <a:cubicBezTo>
                    <a:pt x="96" y="19"/>
                    <a:pt x="96" y="19"/>
                    <a:pt x="95" y="19"/>
                  </a:cubicBezTo>
                  <a:cubicBezTo>
                    <a:pt x="95" y="20"/>
                    <a:pt x="95" y="20"/>
                    <a:pt x="95" y="20"/>
                  </a:cubicBezTo>
                  <a:cubicBezTo>
                    <a:pt x="95" y="20"/>
                    <a:pt x="95" y="20"/>
                    <a:pt x="95" y="20"/>
                  </a:cubicBezTo>
                  <a:cubicBezTo>
                    <a:pt x="95" y="20"/>
                    <a:pt x="95" y="20"/>
                    <a:pt x="95" y="20"/>
                  </a:cubicBezTo>
                  <a:cubicBezTo>
                    <a:pt x="94" y="20"/>
                    <a:pt x="94" y="20"/>
                    <a:pt x="94" y="20"/>
                  </a:cubicBezTo>
                  <a:cubicBezTo>
                    <a:pt x="94" y="20"/>
                    <a:pt x="94" y="20"/>
                    <a:pt x="94" y="20"/>
                  </a:cubicBezTo>
                  <a:cubicBezTo>
                    <a:pt x="93" y="20"/>
                    <a:pt x="93" y="20"/>
                    <a:pt x="93" y="20"/>
                  </a:cubicBezTo>
                  <a:cubicBezTo>
                    <a:pt x="93" y="20"/>
                    <a:pt x="93" y="20"/>
                    <a:pt x="93" y="20"/>
                  </a:cubicBezTo>
                  <a:cubicBezTo>
                    <a:pt x="93" y="20"/>
                    <a:pt x="92" y="20"/>
                    <a:pt x="92" y="20"/>
                  </a:cubicBezTo>
                  <a:cubicBezTo>
                    <a:pt x="92" y="20"/>
                    <a:pt x="92" y="20"/>
                    <a:pt x="92" y="20"/>
                  </a:cubicBezTo>
                  <a:cubicBezTo>
                    <a:pt x="92" y="20"/>
                    <a:pt x="91" y="20"/>
                    <a:pt x="91" y="21"/>
                  </a:cubicBezTo>
                  <a:cubicBezTo>
                    <a:pt x="91" y="21"/>
                    <a:pt x="91" y="21"/>
                    <a:pt x="91" y="21"/>
                  </a:cubicBezTo>
                  <a:cubicBezTo>
                    <a:pt x="90" y="21"/>
                    <a:pt x="90" y="21"/>
                    <a:pt x="90" y="21"/>
                  </a:cubicBezTo>
                  <a:cubicBezTo>
                    <a:pt x="90" y="21"/>
                    <a:pt x="90" y="21"/>
                    <a:pt x="89" y="21"/>
                  </a:cubicBezTo>
                  <a:cubicBezTo>
                    <a:pt x="89" y="21"/>
                    <a:pt x="89" y="21"/>
                    <a:pt x="89" y="21"/>
                  </a:cubicBezTo>
                  <a:cubicBezTo>
                    <a:pt x="88" y="21"/>
                    <a:pt x="88" y="21"/>
                    <a:pt x="87" y="21"/>
                  </a:cubicBezTo>
                  <a:cubicBezTo>
                    <a:pt x="87" y="21"/>
                    <a:pt x="87" y="21"/>
                    <a:pt x="87" y="21"/>
                  </a:cubicBezTo>
                  <a:cubicBezTo>
                    <a:pt x="86" y="21"/>
                    <a:pt x="86" y="21"/>
                    <a:pt x="85" y="21"/>
                  </a:cubicBezTo>
                  <a:cubicBezTo>
                    <a:pt x="85" y="21"/>
                    <a:pt x="84" y="21"/>
                    <a:pt x="84" y="21"/>
                  </a:cubicBezTo>
                  <a:cubicBezTo>
                    <a:pt x="84" y="21"/>
                    <a:pt x="84" y="21"/>
                    <a:pt x="84" y="21"/>
                  </a:cubicBezTo>
                  <a:cubicBezTo>
                    <a:pt x="83" y="21"/>
                    <a:pt x="83" y="21"/>
                    <a:pt x="82" y="21"/>
                  </a:cubicBezTo>
                  <a:cubicBezTo>
                    <a:pt x="82" y="21"/>
                    <a:pt x="82" y="21"/>
                    <a:pt x="82" y="21"/>
                  </a:cubicBezTo>
                  <a:cubicBezTo>
                    <a:pt x="82" y="21"/>
                    <a:pt x="81" y="21"/>
                    <a:pt x="81" y="21"/>
                  </a:cubicBezTo>
                  <a:cubicBezTo>
                    <a:pt x="81" y="21"/>
                    <a:pt x="81" y="21"/>
                    <a:pt x="81" y="21"/>
                  </a:cubicBezTo>
                  <a:cubicBezTo>
                    <a:pt x="80" y="21"/>
                    <a:pt x="80" y="21"/>
                    <a:pt x="80" y="21"/>
                  </a:cubicBezTo>
                  <a:cubicBezTo>
                    <a:pt x="80" y="21"/>
                    <a:pt x="79" y="21"/>
                    <a:pt x="79" y="21"/>
                  </a:cubicBezTo>
                  <a:cubicBezTo>
                    <a:pt x="79" y="21"/>
                    <a:pt x="79" y="21"/>
                    <a:pt x="78" y="21"/>
                  </a:cubicBezTo>
                  <a:cubicBezTo>
                    <a:pt x="78" y="21"/>
                    <a:pt x="78" y="21"/>
                    <a:pt x="78" y="21"/>
                  </a:cubicBezTo>
                  <a:cubicBezTo>
                    <a:pt x="77" y="21"/>
                    <a:pt x="77" y="21"/>
                    <a:pt x="77" y="21"/>
                  </a:cubicBezTo>
                  <a:cubicBezTo>
                    <a:pt x="8" y="16"/>
                    <a:pt x="8" y="16"/>
                    <a:pt x="8" y="16"/>
                  </a:cubicBezTo>
                  <a:cubicBezTo>
                    <a:pt x="8" y="15"/>
                    <a:pt x="8" y="15"/>
                    <a:pt x="7" y="15"/>
                  </a:cubicBezTo>
                  <a:cubicBezTo>
                    <a:pt x="7" y="15"/>
                    <a:pt x="7" y="15"/>
                    <a:pt x="7" y="15"/>
                  </a:cubicBezTo>
                  <a:cubicBezTo>
                    <a:pt x="7" y="15"/>
                    <a:pt x="7" y="15"/>
                    <a:pt x="6" y="15"/>
                  </a:cubicBezTo>
                  <a:cubicBezTo>
                    <a:pt x="6" y="15"/>
                    <a:pt x="6" y="15"/>
                    <a:pt x="6" y="15"/>
                  </a:cubicBezTo>
                  <a:cubicBezTo>
                    <a:pt x="6" y="15"/>
                    <a:pt x="6" y="15"/>
                    <a:pt x="5" y="15"/>
                  </a:cubicBezTo>
                  <a:cubicBezTo>
                    <a:pt x="5" y="15"/>
                    <a:pt x="5" y="15"/>
                    <a:pt x="5" y="15"/>
                  </a:cubicBezTo>
                  <a:cubicBezTo>
                    <a:pt x="5" y="15"/>
                    <a:pt x="5" y="15"/>
                    <a:pt x="5" y="15"/>
                  </a:cubicBezTo>
                  <a:cubicBezTo>
                    <a:pt x="0" y="18"/>
                    <a:pt x="0" y="18"/>
                    <a:pt x="0" y="18"/>
                  </a:cubicBezTo>
                  <a:cubicBezTo>
                    <a:pt x="1" y="79"/>
                    <a:pt x="1" y="79"/>
                    <a:pt x="1" y="79"/>
                  </a:cubicBezTo>
                  <a:cubicBezTo>
                    <a:pt x="1" y="79"/>
                    <a:pt x="2" y="79"/>
                    <a:pt x="2" y="79"/>
                  </a:cubicBezTo>
                  <a:cubicBezTo>
                    <a:pt x="2" y="79"/>
                    <a:pt x="2" y="79"/>
                    <a:pt x="2" y="79"/>
                  </a:cubicBezTo>
                  <a:cubicBezTo>
                    <a:pt x="2" y="79"/>
                    <a:pt x="2" y="79"/>
                    <a:pt x="2" y="79"/>
                  </a:cubicBezTo>
                  <a:cubicBezTo>
                    <a:pt x="2" y="80"/>
                    <a:pt x="2" y="80"/>
                    <a:pt x="3" y="80"/>
                  </a:cubicBezTo>
                  <a:cubicBezTo>
                    <a:pt x="3" y="80"/>
                    <a:pt x="3" y="80"/>
                    <a:pt x="3" y="80"/>
                  </a:cubicBezTo>
                  <a:cubicBezTo>
                    <a:pt x="3" y="80"/>
                    <a:pt x="3" y="80"/>
                    <a:pt x="3" y="80"/>
                  </a:cubicBezTo>
                  <a:cubicBezTo>
                    <a:pt x="4" y="80"/>
                    <a:pt x="4" y="80"/>
                    <a:pt x="4" y="80"/>
                  </a:cubicBezTo>
                  <a:cubicBezTo>
                    <a:pt x="4" y="80"/>
                    <a:pt x="4" y="80"/>
                    <a:pt x="4" y="80"/>
                  </a:cubicBezTo>
                  <a:cubicBezTo>
                    <a:pt x="4" y="80"/>
                    <a:pt x="5" y="80"/>
                    <a:pt x="5" y="80"/>
                  </a:cubicBezTo>
                  <a:cubicBezTo>
                    <a:pt x="5" y="80"/>
                    <a:pt x="5" y="80"/>
                    <a:pt x="5" y="80"/>
                  </a:cubicBezTo>
                  <a:cubicBezTo>
                    <a:pt x="5" y="80"/>
                    <a:pt x="5" y="80"/>
                    <a:pt x="5" y="80"/>
                  </a:cubicBezTo>
                  <a:cubicBezTo>
                    <a:pt x="6" y="80"/>
                    <a:pt x="6" y="80"/>
                    <a:pt x="6" y="80"/>
                  </a:cubicBezTo>
                  <a:cubicBezTo>
                    <a:pt x="6" y="80"/>
                    <a:pt x="6" y="80"/>
                    <a:pt x="6" y="80"/>
                  </a:cubicBezTo>
                  <a:cubicBezTo>
                    <a:pt x="7" y="80"/>
                    <a:pt x="7" y="80"/>
                    <a:pt x="7" y="80"/>
                  </a:cubicBezTo>
                  <a:cubicBezTo>
                    <a:pt x="7" y="80"/>
                    <a:pt x="7" y="80"/>
                    <a:pt x="7" y="80"/>
                  </a:cubicBezTo>
                  <a:cubicBezTo>
                    <a:pt x="7" y="80"/>
                    <a:pt x="8" y="80"/>
                    <a:pt x="8" y="80"/>
                  </a:cubicBezTo>
                  <a:cubicBezTo>
                    <a:pt x="8" y="80"/>
                    <a:pt x="8" y="80"/>
                    <a:pt x="8" y="80"/>
                  </a:cubicBezTo>
                  <a:cubicBezTo>
                    <a:pt x="8" y="80"/>
                    <a:pt x="8" y="81"/>
                    <a:pt x="8" y="81"/>
                  </a:cubicBezTo>
                  <a:cubicBezTo>
                    <a:pt x="9" y="81"/>
                    <a:pt x="9" y="81"/>
                    <a:pt x="9" y="81"/>
                  </a:cubicBezTo>
                  <a:cubicBezTo>
                    <a:pt x="77" y="89"/>
                    <a:pt x="77" y="89"/>
                    <a:pt x="77" y="89"/>
                  </a:cubicBezTo>
                  <a:cubicBezTo>
                    <a:pt x="77" y="89"/>
                    <a:pt x="77" y="89"/>
                    <a:pt x="78" y="89"/>
                  </a:cubicBezTo>
                  <a:cubicBezTo>
                    <a:pt x="78" y="89"/>
                    <a:pt x="78" y="89"/>
                    <a:pt x="78" y="89"/>
                  </a:cubicBezTo>
                  <a:cubicBezTo>
                    <a:pt x="79" y="89"/>
                    <a:pt x="79" y="89"/>
                    <a:pt x="79" y="89"/>
                  </a:cubicBezTo>
                  <a:cubicBezTo>
                    <a:pt x="79" y="89"/>
                    <a:pt x="80" y="89"/>
                    <a:pt x="80" y="89"/>
                  </a:cubicBezTo>
                  <a:cubicBezTo>
                    <a:pt x="80" y="89"/>
                    <a:pt x="80" y="89"/>
                    <a:pt x="81" y="89"/>
                  </a:cubicBezTo>
                  <a:cubicBezTo>
                    <a:pt x="81" y="89"/>
                    <a:pt x="81" y="89"/>
                    <a:pt x="81" y="89"/>
                  </a:cubicBezTo>
                  <a:cubicBezTo>
                    <a:pt x="81" y="89"/>
                    <a:pt x="82" y="89"/>
                    <a:pt x="82" y="89"/>
                  </a:cubicBezTo>
                  <a:cubicBezTo>
                    <a:pt x="82" y="89"/>
                    <a:pt x="82" y="89"/>
                    <a:pt x="82" y="89"/>
                  </a:cubicBezTo>
                  <a:cubicBezTo>
                    <a:pt x="83" y="89"/>
                    <a:pt x="83" y="89"/>
                    <a:pt x="84" y="89"/>
                  </a:cubicBezTo>
                  <a:cubicBezTo>
                    <a:pt x="84" y="89"/>
                    <a:pt x="84" y="89"/>
                    <a:pt x="84" y="89"/>
                  </a:cubicBezTo>
                  <a:cubicBezTo>
                    <a:pt x="84" y="89"/>
                    <a:pt x="85" y="89"/>
                    <a:pt x="85" y="89"/>
                  </a:cubicBezTo>
                  <a:cubicBezTo>
                    <a:pt x="86" y="89"/>
                    <a:pt x="86" y="89"/>
                    <a:pt x="87" y="89"/>
                  </a:cubicBezTo>
                  <a:cubicBezTo>
                    <a:pt x="87" y="89"/>
                    <a:pt x="87" y="89"/>
                    <a:pt x="87" y="89"/>
                  </a:cubicBezTo>
                  <a:cubicBezTo>
                    <a:pt x="88" y="89"/>
                    <a:pt x="88" y="89"/>
                    <a:pt x="89" y="89"/>
                  </a:cubicBezTo>
                  <a:cubicBezTo>
                    <a:pt x="89" y="89"/>
                    <a:pt x="89" y="89"/>
                    <a:pt x="89" y="89"/>
                  </a:cubicBezTo>
                  <a:cubicBezTo>
                    <a:pt x="90" y="89"/>
                    <a:pt x="90" y="89"/>
                    <a:pt x="90" y="89"/>
                  </a:cubicBezTo>
                  <a:cubicBezTo>
                    <a:pt x="90" y="89"/>
                    <a:pt x="90" y="88"/>
                    <a:pt x="91" y="88"/>
                  </a:cubicBezTo>
                  <a:cubicBezTo>
                    <a:pt x="91" y="88"/>
                    <a:pt x="91" y="88"/>
                    <a:pt x="91" y="88"/>
                  </a:cubicBezTo>
                  <a:cubicBezTo>
                    <a:pt x="92" y="88"/>
                    <a:pt x="92" y="88"/>
                    <a:pt x="92" y="88"/>
                  </a:cubicBezTo>
                  <a:cubicBezTo>
                    <a:pt x="92" y="88"/>
                    <a:pt x="92" y="88"/>
                    <a:pt x="92" y="88"/>
                  </a:cubicBezTo>
                  <a:cubicBezTo>
                    <a:pt x="92" y="88"/>
                    <a:pt x="93" y="88"/>
                    <a:pt x="93" y="88"/>
                  </a:cubicBezTo>
                  <a:cubicBezTo>
                    <a:pt x="93" y="88"/>
                    <a:pt x="93" y="88"/>
                    <a:pt x="93" y="88"/>
                  </a:cubicBezTo>
                  <a:cubicBezTo>
                    <a:pt x="93" y="88"/>
                    <a:pt x="93" y="88"/>
                    <a:pt x="93" y="88"/>
                  </a:cubicBezTo>
                  <a:cubicBezTo>
                    <a:pt x="93" y="88"/>
                    <a:pt x="93" y="88"/>
                    <a:pt x="94" y="88"/>
                  </a:cubicBezTo>
                  <a:cubicBezTo>
                    <a:pt x="94" y="88"/>
                    <a:pt x="94" y="88"/>
                    <a:pt x="94" y="88"/>
                  </a:cubicBezTo>
                  <a:cubicBezTo>
                    <a:pt x="94" y="88"/>
                    <a:pt x="94" y="88"/>
                    <a:pt x="95" y="88"/>
                  </a:cubicBezTo>
                  <a:cubicBezTo>
                    <a:pt x="95" y="88"/>
                    <a:pt x="95" y="88"/>
                    <a:pt x="95" y="88"/>
                  </a:cubicBezTo>
                  <a:cubicBezTo>
                    <a:pt x="95" y="88"/>
                    <a:pt x="95" y="87"/>
                    <a:pt x="95" y="87"/>
                  </a:cubicBezTo>
                  <a:cubicBezTo>
                    <a:pt x="95" y="87"/>
                    <a:pt x="95" y="87"/>
                    <a:pt x="95" y="87"/>
                  </a:cubicBezTo>
                  <a:cubicBezTo>
                    <a:pt x="96" y="87"/>
                    <a:pt x="96" y="87"/>
                    <a:pt x="96" y="87"/>
                  </a:cubicBezTo>
                  <a:cubicBezTo>
                    <a:pt x="135" y="57"/>
                    <a:pt x="135" y="57"/>
                    <a:pt x="135" y="57"/>
                  </a:cubicBezTo>
                  <a:cubicBezTo>
                    <a:pt x="135" y="57"/>
                    <a:pt x="136" y="23"/>
                    <a:pt x="136" y="2"/>
                  </a:cubicBezTo>
                  <a:cubicBezTo>
                    <a:pt x="136" y="2"/>
                    <a:pt x="136" y="2"/>
                    <a:pt x="136" y="2"/>
                  </a:cubicBezTo>
                  <a:close/>
                  <a:moveTo>
                    <a:pt x="43" y="63"/>
                  </a:moveTo>
                  <a:cubicBezTo>
                    <a:pt x="40" y="63"/>
                    <a:pt x="38" y="60"/>
                    <a:pt x="38" y="57"/>
                  </a:cubicBezTo>
                  <a:cubicBezTo>
                    <a:pt x="38" y="54"/>
                    <a:pt x="40" y="52"/>
                    <a:pt x="43" y="52"/>
                  </a:cubicBezTo>
                  <a:cubicBezTo>
                    <a:pt x="46" y="52"/>
                    <a:pt x="48" y="54"/>
                    <a:pt x="48" y="57"/>
                  </a:cubicBezTo>
                  <a:cubicBezTo>
                    <a:pt x="48" y="60"/>
                    <a:pt x="46" y="63"/>
                    <a:pt x="43"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07"/>
            <p:cNvSpPr>
              <a:spLocks/>
            </p:cNvSpPr>
            <p:nvPr/>
          </p:nvSpPr>
          <p:spPr bwMode="auto">
            <a:xfrm>
              <a:off x="5387975" y="4660900"/>
              <a:ext cx="131762" cy="44450"/>
            </a:xfrm>
            <a:custGeom>
              <a:avLst/>
              <a:gdLst>
                <a:gd name="T0" fmla="*/ 1 w 136"/>
                <a:gd name="T1" fmla="*/ 39 h 46"/>
                <a:gd name="T2" fmla="*/ 2 w 136"/>
                <a:gd name="T3" fmla="*/ 39 h 46"/>
                <a:gd name="T4" fmla="*/ 3 w 136"/>
                <a:gd name="T5" fmla="*/ 39 h 46"/>
                <a:gd name="T6" fmla="*/ 4 w 136"/>
                <a:gd name="T7" fmla="*/ 39 h 46"/>
                <a:gd name="T8" fmla="*/ 5 w 136"/>
                <a:gd name="T9" fmla="*/ 39 h 46"/>
                <a:gd name="T10" fmla="*/ 5 w 136"/>
                <a:gd name="T11" fmla="*/ 40 h 46"/>
                <a:gd name="T12" fmla="*/ 6 w 136"/>
                <a:gd name="T13" fmla="*/ 40 h 46"/>
                <a:gd name="T14" fmla="*/ 7 w 136"/>
                <a:gd name="T15" fmla="*/ 40 h 46"/>
                <a:gd name="T16" fmla="*/ 77 w 136"/>
                <a:gd name="T17" fmla="*/ 45 h 46"/>
                <a:gd name="T18" fmla="*/ 78 w 136"/>
                <a:gd name="T19" fmla="*/ 45 h 46"/>
                <a:gd name="T20" fmla="*/ 80 w 136"/>
                <a:gd name="T21" fmla="*/ 45 h 46"/>
                <a:gd name="T22" fmla="*/ 81 w 136"/>
                <a:gd name="T23" fmla="*/ 46 h 46"/>
                <a:gd name="T24" fmla="*/ 82 w 136"/>
                <a:gd name="T25" fmla="*/ 46 h 46"/>
                <a:gd name="T26" fmla="*/ 84 w 136"/>
                <a:gd name="T27" fmla="*/ 45 h 46"/>
                <a:gd name="T28" fmla="*/ 87 w 136"/>
                <a:gd name="T29" fmla="*/ 45 h 46"/>
                <a:gd name="T30" fmla="*/ 89 w 136"/>
                <a:gd name="T31" fmla="*/ 45 h 46"/>
                <a:gd name="T32" fmla="*/ 90 w 136"/>
                <a:gd name="T33" fmla="*/ 45 h 46"/>
                <a:gd name="T34" fmla="*/ 91 w 136"/>
                <a:gd name="T35" fmla="*/ 45 h 46"/>
                <a:gd name="T36" fmla="*/ 92 w 136"/>
                <a:gd name="T37" fmla="*/ 45 h 46"/>
                <a:gd name="T38" fmla="*/ 93 w 136"/>
                <a:gd name="T39" fmla="*/ 45 h 46"/>
                <a:gd name="T40" fmla="*/ 94 w 136"/>
                <a:gd name="T41" fmla="*/ 44 h 46"/>
                <a:gd name="T42" fmla="*/ 95 w 136"/>
                <a:gd name="T43" fmla="*/ 44 h 46"/>
                <a:gd name="T44" fmla="*/ 95 w 136"/>
                <a:gd name="T45" fmla="*/ 44 h 46"/>
                <a:gd name="T46" fmla="*/ 135 w 136"/>
                <a:gd name="T47" fmla="*/ 21 h 46"/>
                <a:gd name="T48" fmla="*/ 135 w 136"/>
                <a:gd name="T49" fmla="*/ 21 h 46"/>
                <a:gd name="T50" fmla="*/ 135 w 136"/>
                <a:gd name="T51" fmla="*/ 21 h 46"/>
                <a:gd name="T52" fmla="*/ 136 w 136"/>
                <a:gd name="T53" fmla="*/ 20 h 46"/>
                <a:gd name="T54" fmla="*/ 136 w 136"/>
                <a:gd name="T55" fmla="*/ 3 h 46"/>
                <a:gd name="T56" fmla="*/ 136 w 136"/>
                <a:gd name="T57" fmla="*/ 3 h 46"/>
                <a:gd name="T58" fmla="*/ 96 w 136"/>
                <a:gd name="T59" fmla="*/ 19 h 46"/>
                <a:gd name="T60" fmla="*/ 95 w 136"/>
                <a:gd name="T61" fmla="*/ 19 h 46"/>
                <a:gd name="T62" fmla="*/ 95 w 136"/>
                <a:gd name="T63" fmla="*/ 19 h 46"/>
                <a:gd name="T64" fmla="*/ 94 w 136"/>
                <a:gd name="T65" fmla="*/ 20 h 46"/>
                <a:gd name="T66" fmla="*/ 93 w 136"/>
                <a:gd name="T67" fmla="*/ 20 h 46"/>
                <a:gd name="T68" fmla="*/ 92 w 136"/>
                <a:gd name="T69" fmla="*/ 20 h 46"/>
                <a:gd name="T70" fmla="*/ 91 w 136"/>
                <a:gd name="T71" fmla="*/ 20 h 46"/>
                <a:gd name="T72" fmla="*/ 89 w 136"/>
                <a:gd name="T73" fmla="*/ 20 h 46"/>
                <a:gd name="T74" fmla="*/ 87 w 136"/>
                <a:gd name="T75" fmla="*/ 21 h 46"/>
                <a:gd name="T76" fmla="*/ 85 w 136"/>
                <a:gd name="T77" fmla="*/ 21 h 46"/>
                <a:gd name="T78" fmla="*/ 84 w 136"/>
                <a:gd name="T79" fmla="*/ 21 h 46"/>
                <a:gd name="T80" fmla="*/ 82 w 136"/>
                <a:gd name="T81" fmla="*/ 21 h 46"/>
                <a:gd name="T82" fmla="*/ 81 w 136"/>
                <a:gd name="T83" fmla="*/ 21 h 46"/>
                <a:gd name="T84" fmla="*/ 79 w 136"/>
                <a:gd name="T85" fmla="*/ 21 h 46"/>
                <a:gd name="T86" fmla="*/ 78 w 136"/>
                <a:gd name="T87" fmla="*/ 21 h 46"/>
                <a:gd name="T88" fmla="*/ 8 w 136"/>
                <a:gd name="T89" fmla="*/ 15 h 46"/>
                <a:gd name="T90" fmla="*/ 7 w 136"/>
                <a:gd name="T91" fmla="*/ 15 h 46"/>
                <a:gd name="T92" fmla="*/ 6 w 136"/>
                <a:gd name="T93" fmla="*/ 15 h 46"/>
                <a:gd name="T94" fmla="*/ 5 w 136"/>
                <a:gd name="T95" fmla="*/ 15 h 46"/>
                <a:gd name="T96" fmla="*/ 0 w 136"/>
                <a:gd name="T97" fmla="*/ 17 h 46"/>
                <a:gd name="T98" fmla="*/ 1 w 136"/>
                <a:gd name="T99" fmla="*/ 3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46">
                  <a:moveTo>
                    <a:pt x="1" y="39"/>
                  </a:moveTo>
                  <a:cubicBezTo>
                    <a:pt x="1" y="39"/>
                    <a:pt x="1" y="39"/>
                    <a:pt x="1" y="39"/>
                  </a:cubicBezTo>
                  <a:cubicBezTo>
                    <a:pt x="1" y="39"/>
                    <a:pt x="2" y="39"/>
                    <a:pt x="2" y="39"/>
                  </a:cubicBezTo>
                  <a:cubicBezTo>
                    <a:pt x="2" y="39"/>
                    <a:pt x="2" y="39"/>
                    <a:pt x="2" y="39"/>
                  </a:cubicBezTo>
                  <a:cubicBezTo>
                    <a:pt x="2" y="39"/>
                    <a:pt x="2" y="39"/>
                    <a:pt x="2" y="39"/>
                  </a:cubicBezTo>
                  <a:cubicBezTo>
                    <a:pt x="3" y="39"/>
                    <a:pt x="3" y="39"/>
                    <a:pt x="3" y="39"/>
                  </a:cubicBezTo>
                  <a:cubicBezTo>
                    <a:pt x="3" y="39"/>
                    <a:pt x="3" y="39"/>
                    <a:pt x="3" y="39"/>
                  </a:cubicBezTo>
                  <a:cubicBezTo>
                    <a:pt x="4" y="39"/>
                    <a:pt x="4" y="39"/>
                    <a:pt x="4" y="39"/>
                  </a:cubicBezTo>
                  <a:cubicBezTo>
                    <a:pt x="4" y="39"/>
                    <a:pt x="4" y="39"/>
                    <a:pt x="4" y="39"/>
                  </a:cubicBezTo>
                  <a:cubicBezTo>
                    <a:pt x="4" y="39"/>
                    <a:pt x="4" y="39"/>
                    <a:pt x="5" y="39"/>
                  </a:cubicBezTo>
                  <a:cubicBezTo>
                    <a:pt x="5" y="39"/>
                    <a:pt x="5" y="40"/>
                    <a:pt x="5" y="40"/>
                  </a:cubicBezTo>
                  <a:cubicBezTo>
                    <a:pt x="5" y="40"/>
                    <a:pt x="5" y="40"/>
                    <a:pt x="5" y="40"/>
                  </a:cubicBezTo>
                  <a:cubicBezTo>
                    <a:pt x="6" y="40"/>
                    <a:pt x="6" y="40"/>
                    <a:pt x="6" y="40"/>
                  </a:cubicBezTo>
                  <a:cubicBezTo>
                    <a:pt x="6" y="40"/>
                    <a:pt x="6" y="40"/>
                    <a:pt x="6" y="40"/>
                  </a:cubicBezTo>
                  <a:cubicBezTo>
                    <a:pt x="7" y="40"/>
                    <a:pt x="7" y="40"/>
                    <a:pt x="7" y="40"/>
                  </a:cubicBezTo>
                  <a:cubicBezTo>
                    <a:pt x="7" y="40"/>
                    <a:pt x="7" y="40"/>
                    <a:pt x="7" y="40"/>
                  </a:cubicBezTo>
                  <a:cubicBezTo>
                    <a:pt x="8" y="40"/>
                    <a:pt x="8" y="40"/>
                    <a:pt x="8" y="40"/>
                  </a:cubicBezTo>
                  <a:cubicBezTo>
                    <a:pt x="77" y="45"/>
                    <a:pt x="77" y="45"/>
                    <a:pt x="77" y="45"/>
                  </a:cubicBezTo>
                  <a:cubicBezTo>
                    <a:pt x="77" y="45"/>
                    <a:pt x="77" y="45"/>
                    <a:pt x="78" y="45"/>
                  </a:cubicBezTo>
                  <a:cubicBezTo>
                    <a:pt x="78" y="45"/>
                    <a:pt x="78" y="45"/>
                    <a:pt x="78" y="45"/>
                  </a:cubicBezTo>
                  <a:cubicBezTo>
                    <a:pt x="79" y="45"/>
                    <a:pt x="79" y="45"/>
                    <a:pt x="79" y="45"/>
                  </a:cubicBezTo>
                  <a:cubicBezTo>
                    <a:pt x="79" y="45"/>
                    <a:pt x="80" y="45"/>
                    <a:pt x="80" y="45"/>
                  </a:cubicBezTo>
                  <a:cubicBezTo>
                    <a:pt x="80" y="45"/>
                    <a:pt x="80" y="45"/>
                    <a:pt x="81" y="46"/>
                  </a:cubicBezTo>
                  <a:cubicBezTo>
                    <a:pt x="81" y="46"/>
                    <a:pt x="81" y="46"/>
                    <a:pt x="81" y="46"/>
                  </a:cubicBezTo>
                  <a:cubicBezTo>
                    <a:pt x="81" y="46"/>
                    <a:pt x="82" y="46"/>
                    <a:pt x="82" y="46"/>
                  </a:cubicBezTo>
                  <a:cubicBezTo>
                    <a:pt x="82" y="46"/>
                    <a:pt x="82" y="46"/>
                    <a:pt x="82" y="46"/>
                  </a:cubicBezTo>
                  <a:cubicBezTo>
                    <a:pt x="83" y="46"/>
                    <a:pt x="83" y="46"/>
                    <a:pt x="84" y="45"/>
                  </a:cubicBezTo>
                  <a:cubicBezTo>
                    <a:pt x="84" y="45"/>
                    <a:pt x="84" y="45"/>
                    <a:pt x="84" y="45"/>
                  </a:cubicBezTo>
                  <a:cubicBezTo>
                    <a:pt x="84" y="45"/>
                    <a:pt x="85" y="45"/>
                    <a:pt x="85" y="45"/>
                  </a:cubicBezTo>
                  <a:cubicBezTo>
                    <a:pt x="86" y="45"/>
                    <a:pt x="86" y="45"/>
                    <a:pt x="87" y="45"/>
                  </a:cubicBezTo>
                  <a:cubicBezTo>
                    <a:pt x="87" y="45"/>
                    <a:pt x="87" y="45"/>
                    <a:pt x="87" y="45"/>
                  </a:cubicBezTo>
                  <a:cubicBezTo>
                    <a:pt x="88" y="45"/>
                    <a:pt x="88" y="45"/>
                    <a:pt x="89" y="45"/>
                  </a:cubicBezTo>
                  <a:cubicBezTo>
                    <a:pt x="89" y="45"/>
                    <a:pt x="89" y="45"/>
                    <a:pt x="89" y="45"/>
                  </a:cubicBezTo>
                  <a:cubicBezTo>
                    <a:pt x="90" y="45"/>
                    <a:pt x="90" y="45"/>
                    <a:pt x="90" y="45"/>
                  </a:cubicBezTo>
                  <a:cubicBezTo>
                    <a:pt x="90" y="45"/>
                    <a:pt x="90" y="45"/>
                    <a:pt x="91" y="45"/>
                  </a:cubicBezTo>
                  <a:cubicBezTo>
                    <a:pt x="91" y="45"/>
                    <a:pt x="91" y="45"/>
                    <a:pt x="91" y="45"/>
                  </a:cubicBezTo>
                  <a:cubicBezTo>
                    <a:pt x="91" y="45"/>
                    <a:pt x="92" y="45"/>
                    <a:pt x="92" y="45"/>
                  </a:cubicBezTo>
                  <a:cubicBezTo>
                    <a:pt x="92" y="45"/>
                    <a:pt x="92" y="45"/>
                    <a:pt x="92" y="45"/>
                  </a:cubicBezTo>
                  <a:cubicBezTo>
                    <a:pt x="92" y="45"/>
                    <a:pt x="93" y="45"/>
                    <a:pt x="93" y="45"/>
                  </a:cubicBezTo>
                  <a:cubicBezTo>
                    <a:pt x="93" y="45"/>
                    <a:pt x="93" y="45"/>
                    <a:pt x="93" y="45"/>
                  </a:cubicBezTo>
                  <a:cubicBezTo>
                    <a:pt x="93" y="45"/>
                    <a:pt x="93" y="44"/>
                    <a:pt x="94" y="44"/>
                  </a:cubicBezTo>
                  <a:cubicBezTo>
                    <a:pt x="94" y="44"/>
                    <a:pt x="94" y="44"/>
                    <a:pt x="94" y="44"/>
                  </a:cubicBezTo>
                  <a:cubicBezTo>
                    <a:pt x="94" y="44"/>
                    <a:pt x="94" y="44"/>
                    <a:pt x="95" y="44"/>
                  </a:cubicBezTo>
                  <a:cubicBezTo>
                    <a:pt x="95" y="44"/>
                    <a:pt x="95" y="44"/>
                    <a:pt x="95" y="44"/>
                  </a:cubicBezTo>
                  <a:cubicBezTo>
                    <a:pt x="95" y="44"/>
                    <a:pt x="95" y="44"/>
                    <a:pt x="95" y="44"/>
                  </a:cubicBezTo>
                  <a:cubicBezTo>
                    <a:pt x="95" y="44"/>
                    <a:pt x="95" y="44"/>
                    <a:pt x="95" y="44"/>
                  </a:cubicBezTo>
                  <a:cubicBezTo>
                    <a:pt x="96" y="44"/>
                    <a:pt x="96" y="44"/>
                    <a:pt x="96" y="44"/>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5" y="21"/>
                    <a:pt x="135" y="21"/>
                    <a:pt x="135" y="21"/>
                  </a:cubicBezTo>
                  <a:cubicBezTo>
                    <a:pt x="136" y="21"/>
                    <a:pt x="136" y="21"/>
                    <a:pt x="136" y="20"/>
                  </a:cubicBezTo>
                  <a:cubicBezTo>
                    <a:pt x="136" y="20"/>
                    <a:pt x="136" y="20"/>
                    <a:pt x="136" y="20"/>
                  </a:cubicBezTo>
                  <a:cubicBezTo>
                    <a:pt x="136" y="20"/>
                    <a:pt x="136" y="20"/>
                    <a:pt x="136" y="20"/>
                  </a:cubicBezTo>
                  <a:cubicBezTo>
                    <a:pt x="136" y="3"/>
                    <a:pt x="136" y="3"/>
                    <a:pt x="136" y="3"/>
                  </a:cubicBezTo>
                  <a:cubicBezTo>
                    <a:pt x="136" y="3"/>
                    <a:pt x="136" y="3"/>
                    <a:pt x="136" y="3"/>
                  </a:cubicBezTo>
                  <a:cubicBezTo>
                    <a:pt x="136" y="3"/>
                    <a:pt x="136" y="3"/>
                    <a:pt x="136" y="3"/>
                  </a:cubicBezTo>
                  <a:cubicBezTo>
                    <a:pt x="136" y="2"/>
                    <a:pt x="134" y="1"/>
                    <a:pt x="129" y="0"/>
                  </a:cubicBezTo>
                  <a:cubicBezTo>
                    <a:pt x="96" y="19"/>
                    <a:pt x="96" y="19"/>
                    <a:pt x="96" y="19"/>
                  </a:cubicBezTo>
                  <a:cubicBezTo>
                    <a:pt x="96" y="19"/>
                    <a:pt x="96" y="19"/>
                    <a:pt x="95" y="19"/>
                  </a:cubicBezTo>
                  <a:cubicBezTo>
                    <a:pt x="95" y="19"/>
                    <a:pt x="95" y="19"/>
                    <a:pt x="95" y="19"/>
                  </a:cubicBezTo>
                  <a:cubicBezTo>
                    <a:pt x="95" y="19"/>
                    <a:pt x="95" y="19"/>
                    <a:pt x="95" y="19"/>
                  </a:cubicBezTo>
                  <a:cubicBezTo>
                    <a:pt x="95" y="19"/>
                    <a:pt x="95" y="19"/>
                    <a:pt x="95" y="19"/>
                  </a:cubicBezTo>
                  <a:cubicBezTo>
                    <a:pt x="94" y="19"/>
                    <a:pt x="94" y="20"/>
                    <a:pt x="94" y="20"/>
                  </a:cubicBezTo>
                  <a:cubicBezTo>
                    <a:pt x="94" y="20"/>
                    <a:pt x="94" y="20"/>
                    <a:pt x="94" y="20"/>
                  </a:cubicBezTo>
                  <a:cubicBezTo>
                    <a:pt x="93" y="20"/>
                    <a:pt x="93" y="20"/>
                    <a:pt x="93" y="20"/>
                  </a:cubicBezTo>
                  <a:cubicBezTo>
                    <a:pt x="93" y="20"/>
                    <a:pt x="93" y="20"/>
                    <a:pt x="93" y="20"/>
                  </a:cubicBezTo>
                  <a:cubicBezTo>
                    <a:pt x="93" y="20"/>
                    <a:pt x="92" y="20"/>
                    <a:pt x="92" y="20"/>
                  </a:cubicBezTo>
                  <a:cubicBezTo>
                    <a:pt x="92" y="20"/>
                    <a:pt x="92" y="20"/>
                    <a:pt x="92" y="20"/>
                  </a:cubicBezTo>
                  <a:cubicBezTo>
                    <a:pt x="92" y="20"/>
                    <a:pt x="92" y="20"/>
                    <a:pt x="91" y="20"/>
                  </a:cubicBezTo>
                  <a:cubicBezTo>
                    <a:pt x="91" y="20"/>
                    <a:pt x="91" y="20"/>
                    <a:pt x="91" y="20"/>
                  </a:cubicBezTo>
                  <a:cubicBezTo>
                    <a:pt x="90" y="20"/>
                    <a:pt x="90" y="20"/>
                    <a:pt x="90" y="20"/>
                  </a:cubicBezTo>
                  <a:cubicBezTo>
                    <a:pt x="90" y="20"/>
                    <a:pt x="90" y="20"/>
                    <a:pt x="89" y="20"/>
                  </a:cubicBezTo>
                  <a:cubicBezTo>
                    <a:pt x="89" y="20"/>
                    <a:pt x="89" y="20"/>
                    <a:pt x="89" y="20"/>
                  </a:cubicBezTo>
                  <a:cubicBezTo>
                    <a:pt x="88" y="21"/>
                    <a:pt x="88" y="21"/>
                    <a:pt x="87" y="21"/>
                  </a:cubicBezTo>
                  <a:cubicBezTo>
                    <a:pt x="87" y="21"/>
                    <a:pt x="87" y="21"/>
                    <a:pt x="87" y="21"/>
                  </a:cubicBezTo>
                  <a:cubicBezTo>
                    <a:pt x="86" y="21"/>
                    <a:pt x="86" y="21"/>
                    <a:pt x="85" y="21"/>
                  </a:cubicBezTo>
                  <a:cubicBezTo>
                    <a:pt x="85" y="21"/>
                    <a:pt x="84" y="21"/>
                    <a:pt x="84" y="21"/>
                  </a:cubicBezTo>
                  <a:cubicBezTo>
                    <a:pt x="84" y="21"/>
                    <a:pt x="84" y="21"/>
                    <a:pt x="84" y="21"/>
                  </a:cubicBezTo>
                  <a:cubicBezTo>
                    <a:pt x="83" y="21"/>
                    <a:pt x="83" y="21"/>
                    <a:pt x="82" y="21"/>
                  </a:cubicBezTo>
                  <a:cubicBezTo>
                    <a:pt x="82" y="21"/>
                    <a:pt x="82" y="21"/>
                    <a:pt x="82" y="21"/>
                  </a:cubicBezTo>
                  <a:cubicBezTo>
                    <a:pt x="82" y="21"/>
                    <a:pt x="81" y="21"/>
                    <a:pt x="81" y="21"/>
                  </a:cubicBezTo>
                  <a:cubicBezTo>
                    <a:pt x="81" y="21"/>
                    <a:pt x="81" y="21"/>
                    <a:pt x="81" y="21"/>
                  </a:cubicBezTo>
                  <a:cubicBezTo>
                    <a:pt x="80" y="21"/>
                    <a:pt x="80" y="21"/>
                    <a:pt x="80" y="21"/>
                  </a:cubicBezTo>
                  <a:cubicBezTo>
                    <a:pt x="79" y="21"/>
                    <a:pt x="79" y="21"/>
                    <a:pt x="79" y="21"/>
                  </a:cubicBezTo>
                  <a:cubicBezTo>
                    <a:pt x="79" y="21"/>
                    <a:pt x="79" y="21"/>
                    <a:pt x="78" y="21"/>
                  </a:cubicBezTo>
                  <a:cubicBezTo>
                    <a:pt x="78" y="21"/>
                    <a:pt x="78" y="21"/>
                    <a:pt x="78" y="21"/>
                  </a:cubicBezTo>
                  <a:cubicBezTo>
                    <a:pt x="78" y="21"/>
                    <a:pt x="77" y="21"/>
                    <a:pt x="77" y="21"/>
                  </a:cubicBezTo>
                  <a:cubicBezTo>
                    <a:pt x="8" y="15"/>
                    <a:pt x="8" y="15"/>
                    <a:pt x="8" y="15"/>
                  </a:cubicBezTo>
                  <a:cubicBezTo>
                    <a:pt x="8" y="15"/>
                    <a:pt x="8" y="15"/>
                    <a:pt x="7" y="15"/>
                  </a:cubicBezTo>
                  <a:cubicBezTo>
                    <a:pt x="7" y="15"/>
                    <a:pt x="7" y="15"/>
                    <a:pt x="7" y="15"/>
                  </a:cubicBezTo>
                  <a:cubicBezTo>
                    <a:pt x="7" y="15"/>
                    <a:pt x="7" y="15"/>
                    <a:pt x="6" y="15"/>
                  </a:cubicBezTo>
                  <a:cubicBezTo>
                    <a:pt x="6" y="15"/>
                    <a:pt x="6" y="15"/>
                    <a:pt x="6" y="15"/>
                  </a:cubicBezTo>
                  <a:cubicBezTo>
                    <a:pt x="6" y="15"/>
                    <a:pt x="6" y="15"/>
                    <a:pt x="5" y="15"/>
                  </a:cubicBezTo>
                  <a:cubicBezTo>
                    <a:pt x="5" y="15"/>
                    <a:pt x="5" y="15"/>
                    <a:pt x="5" y="15"/>
                  </a:cubicBezTo>
                  <a:cubicBezTo>
                    <a:pt x="5" y="15"/>
                    <a:pt x="5" y="15"/>
                    <a:pt x="5" y="15"/>
                  </a:cubicBezTo>
                  <a:cubicBezTo>
                    <a:pt x="0" y="17"/>
                    <a:pt x="0" y="17"/>
                    <a:pt x="0" y="17"/>
                  </a:cubicBezTo>
                  <a:cubicBezTo>
                    <a:pt x="0" y="38"/>
                    <a:pt x="0" y="38"/>
                    <a:pt x="0" y="38"/>
                  </a:cubicBezTo>
                  <a:cubicBezTo>
                    <a:pt x="0" y="38"/>
                    <a:pt x="1" y="38"/>
                    <a:pt x="1" y="39"/>
                  </a:cubicBezTo>
                  <a:cubicBezTo>
                    <a:pt x="1" y="39"/>
                    <a:pt x="1" y="39"/>
                    <a:pt x="1"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608"/>
            <p:cNvSpPr>
              <a:spLocks noEditPoints="1"/>
            </p:cNvSpPr>
            <p:nvPr/>
          </p:nvSpPr>
          <p:spPr bwMode="auto">
            <a:xfrm>
              <a:off x="4740275" y="4645025"/>
              <a:ext cx="171450" cy="109538"/>
            </a:xfrm>
            <a:custGeom>
              <a:avLst/>
              <a:gdLst>
                <a:gd name="T0" fmla="*/ 168 w 177"/>
                <a:gd name="T1" fmla="*/ 0 h 114"/>
                <a:gd name="T2" fmla="*/ 9 w 177"/>
                <a:gd name="T3" fmla="*/ 0 h 114"/>
                <a:gd name="T4" fmla="*/ 0 w 177"/>
                <a:gd name="T5" fmla="*/ 9 h 114"/>
                <a:gd name="T6" fmla="*/ 0 w 177"/>
                <a:gd name="T7" fmla="*/ 106 h 114"/>
                <a:gd name="T8" fmla="*/ 9 w 177"/>
                <a:gd name="T9" fmla="*/ 114 h 114"/>
                <a:gd name="T10" fmla="*/ 168 w 177"/>
                <a:gd name="T11" fmla="*/ 114 h 114"/>
                <a:gd name="T12" fmla="*/ 177 w 177"/>
                <a:gd name="T13" fmla="*/ 106 h 114"/>
                <a:gd name="T14" fmla="*/ 177 w 177"/>
                <a:gd name="T15" fmla="*/ 9 h 114"/>
                <a:gd name="T16" fmla="*/ 168 w 177"/>
                <a:gd name="T17" fmla="*/ 0 h 114"/>
                <a:gd name="T18" fmla="*/ 168 w 177"/>
                <a:gd name="T19" fmla="*/ 106 h 114"/>
                <a:gd name="T20" fmla="*/ 168 w 177"/>
                <a:gd name="T21" fmla="*/ 106 h 114"/>
                <a:gd name="T22" fmla="*/ 9 w 177"/>
                <a:gd name="T23" fmla="*/ 106 h 114"/>
                <a:gd name="T24" fmla="*/ 9 w 177"/>
                <a:gd name="T25" fmla="*/ 106 h 114"/>
                <a:gd name="T26" fmla="*/ 9 w 177"/>
                <a:gd name="T27" fmla="*/ 9 h 114"/>
                <a:gd name="T28" fmla="*/ 9 w 177"/>
                <a:gd name="T29" fmla="*/ 9 h 114"/>
                <a:gd name="T30" fmla="*/ 168 w 177"/>
                <a:gd name="T31" fmla="*/ 9 h 114"/>
                <a:gd name="T32" fmla="*/ 168 w 177"/>
                <a:gd name="T33" fmla="*/ 9 h 114"/>
                <a:gd name="T34" fmla="*/ 168 w 177"/>
                <a:gd name="T35" fmla="*/ 106 h 114"/>
                <a:gd name="T36" fmla="*/ 168 w 177"/>
                <a:gd name="T37" fmla="*/ 10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114">
                  <a:moveTo>
                    <a:pt x="168" y="0"/>
                  </a:moveTo>
                  <a:cubicBezTo>
                    <a:pt x="9" y="0"/>
                    <a:pt x="9" y="0"/>
                    <a:pt x="9" y="0"/>
                  </a:cubicBezTo>
                  <a:cubicBezTo>
                    <a:pt x="4" y="0"/>
                    <a:pt x="0" y="4"/>
                    <a:pt x="0" y="9"/>
                  </a:cubicBezTo>
                  <a:cubicBezTo>
                    <a:pt x="0" y="106"/>
                    <a:pt x="0" y="106"/>
                    <a:pt x="0" y="106"/>
                  </a:cubicBezTo>
                  <a:cubicBezTo>
                    <a:pt x="0" y="111"/>
                    <a:pt x="4" y="114"/>
                    <a:pt x="9" y="114"/>
                  </a:cubicBezTo>
                  <a:cubicBezTo>
                    <a:pt x="168" y="114"/>
                    <a:pt x="168" y="114"/>
                    <a:pt x="168" y="114"/>
                  </a:cubicBezTo>
                  <a:cubicBezTo>
                    <a:pt x="173" y="114"/>
                    <a:pt x="177" y="111"/>
                    <a:pt x="177" y="106"/>
                  </a:cubicBezTo>
                  <a:cubicBezTo>
                    <a:pt x="177" y="9"/>
                    <a:pt x="177" y="9"/>
                    <a:pt x="177" y="9"/>
                  </a:cubicBezTo>
                  <a:cubicBezTo>
                    <a:pt x="177" y="4"/>
                    <a:pt x="173" y="0"/>
                    <a:pt x="168" y="0"/>
                  </a:cubicBezTo>
                  <a:close/>
                  <a:moveTo>
                    <a:pt x="168" y="106"/>
                  </a:moveTo>
                  <a:cubicBezTo>
                    <a:pt x="168" y="106"/>
                    <a:pt x="168" y="106"/>
                    <a:pt x="168" y="106"/>
                  </a:cubicBezTo>
                  <a:cubicBezTo>
                    <a:pt x="9" y="106"/>
                    <a:pt x="9" y="106"/>
                    <a:pt x="9" y="106"/>
                  </a:cubicBezTo>
                  <a:cubicBezTo>
                    <a:pt x="9" y="106"/>
                    <a:pt x="9" y="106"/>
                    <a:pt x="9" y="106"/>
                  </a:cubicBezTo>
                  <a:cubicBezTo>
                    <a:pt x="9" y="9"/>
                    <a:pt x="9" y="9"/>
                    <a:pt x="9" y="9"/>
                  </a:cubicBezTo>
                  <a:cubicBezTo>
                    <a:pt x="9" y="9"/>
                    <a:pt x="9" y="9"/>
                    <a:pt x="9" y="9"/>
                  </a:cubicBezTo>
                  <a:cubicBezTo>
                    <a:pt x="168" y="9"/>
                    <a:pt x="168" y="9"/>
                    <a:pt x="168" y="9"/>
                  </a:cubicBezTo>
                  <a:cubicBezTo>
                    <a:pt x="168" y="9"/>
                    <a:pt x="168" y="9"/>
                    <a:pt x="168" y="9"/>
                  </a:cubicBezTo>
                  <a:cubicBezTo>
                    <a:pt x="168" y="106"/>
                    <a:pt x="168" y="106"/>
                    <a:pt x="168" y="106"/>
                  </a:cubicBezTo>
                  <a:cubicBezTo>
                    <a:pt x="168" y="106"/>
                    <a:pt x="168" y="106"/>
                    <a:pt x="168"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609"/>
            <p:cNvSpPr>
              <a:spLocks/>
            </p:cNvSpPr>
            <p:nvPr/>
          </p:nvSpPr>
          <p:spPr bwMode="auto">
            <a:xfrm>
              <a:off x="4740275" y="4622800"/>
              <a:ext cx="171450" cy="20638"/>
            </a:xfrm>
            <a:custGeom>
              <a:avLst/>
              <a:gdLst>
                <a:gd name="T0" fmla="*/ 168 w 177"/>
                <a:gd name="T1" fmla="*/ 0 h 21"/>
                <a:gd name="T2" fmla="*/ 9 w 177"/>
                <a:gd name="T3" fmla="*/ 0 h 21"/>
                <a:gd name="T4" fmla="*/ 0 w 177"/>
                <a:gd name="T5" fmla="*/ 9 h 21"/>
                <a:gd name="T6" fmla="*/ 0 w 177"/>
                <a:gd name="T7" fmla="*/ 20 h 21"/>
                <a:gd name="T8" fmla="*/ 6 w 177"/>
                <a:gd name="T9" fmla="*/ 18 h 21"/>
                <a:gd name="T10" fmla="*/ 170 w 177"/>
                <a:gd name="T11" fmla="*/ 18 h 21"/>
                <a:gd name="T12" fmla="*/ 177 w 177"/>
                <a:gd name="T13" fmla="*/ 21 h 21"/>
                <a:gd name="T14" fmla="*/ 177 w 177"/>
                <a:gd name="T15" fmla="*/ 9 h 21"/>
                <a:gd name="T16" fmla="*/ 168 w 177"/>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21">
                  <a:moveTo>
                    <a:pt x="168" y="0"/>
                  </a:moveTo>
                  <a:cubicBezTo>
                    <a:pt x="9" y="0"/>
                    <a:pt x="9" y="0"/>
                    <a:pt x="9" y="0"/>
                  </a:cubicBezTo>
                  <a:cubicBezTo>
                    <a:pt x="4" y="0"/>
                    <a:pt x="0" y="4"/>
                    <a:pt x="0" y="9"/>
                  </a:cubicBezTo>
                  <a:cubicBezTo>
                    <a:pt x="0" y="20"/>
                    <a:pt x="0" y="20"/>
                    <a:pt x="0" y="20"/>
                  </a:cubicBezTo>
                  <a:cubicBezTo>
                    <a:pt x="2" y="19"/>
                    <a:pt x="4" y="18"/>
                    <a:pt x="6" y="18"/>
                  </a:cubicBezTo>
                  <a:cubicBezTo>
                    <a:pt x="170" y="18"/>
                    <a:pt x="170" y="18"/>
                    <a:pt x="170" y="18"/>
                  </a:cubicBezTo>
                  <a:cubicBezTo>
                    <a:pt x="173" y="18"/>
                    <a:pt x="175" y="19"/>
                    <a:pt x="177" y="21"/>
                  </a:cubicBezTo>
                  <a:cubicBezTo>
                    <a:pt x="177" y="9"/>
                    <a:pt x="177" y="9"/>
                    <a:pt x="177" y="9"/>
                  </a:cubicBezTo>
                  <a:cubicBezTo>
                    <a:pt x="177" y="4"/>
                    <a:pt x="173" y="0"/>
                    <a:pt x="16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10"/>
            <p:cNvSpPr>
              <a:spLocks noEditPoints="1"/>
            </p:cNvSpPr>
            <p:nvPr/>
          </p:nvSpPr>
          <p:spPr bwMode="auto">
            <a:xfrm>
              <a:off x="4816475" y="4679950"/>
              <a:ext cx="52387" cy="52388"/>
            </a:xfrm>
            <a:custGeom>
              <a:avLst/>
              <a:gdLst>
                <a:gd name="T0" fmla="*/ 48 w 55"/>
                <a:gd name="T1" fmla="*/ 36 h 54"/>
                <a:gd name="T2" fmla="*/ 54 w 55"/>
                <a:gd name="T3" fmla="*/ 31 h 54"/>
                <a:gd name="T4" fmla="*/ 54 w 55"/>
                <a:gd name="T5" fmla="*/ 24 h 54"/>
                <a:gd name="T6" fmla="*/ 48 w 55"/>
                <a:gd name="T7" fmla="*/ 19 h 54"/>
                <a:gd name="T8" fmla="*/ 49 w 55"/>
                <a:gd name="T9" fmla="*/ 11 h 54"/>
                <a:gd name="T10" fmla="*/ 44 w 55"/>
                <a:gd name="T11" fmla="*/ 6 h 54"/>
                <a:gd name="T12" fmla="*/ 36 w 55"/>
                <a:gd name="T13" fmla="*/ 7 h 54"/>
                <a:gd name="T14" fmla="*/ 31 w 55"/>
                <a:gd name="T15" fmla="*/ 0 h 54"/>
                <a:gd name="T16" fmla="*/ 23 w 55"/>
                <a:gd name="T17" fmla="*/ 0 h 54"/>
                <a:gd name="T18" fmla="*/ 19 w 55"/>
                <a:gd name="T19" fmla="*/ 7 h 54"/>
                <a:gd name="T20" fmla="*/ 11 w 55"/>
                <a:gd name="T21" fmla="*/ 6 h 54"/>
                <a:gd name="T22" fmla="*/ 6 w 55"/>
                <a:gd name="T23" fmla="*/ 11 h 54"/>
                <a:gd name="T24" fmla="*/ 7 w 55"/>
                <a:gd name="T25" fmla="*/ 19 h 54"/>
                <a:gd name="T26" fmla="*/ 0 w 55"/>
                <a:gd name="T27" fmla="*/ 24 h 54"/>
                <a:gd name="T28" fmla="*/ 0 w 55"/>
                <a:gd name="T29" fmla="*/ 31 h 54"/>
                <a:gd name="T30" fmla="*/ 7 w 55"/>
                <a:gd name="T31" fmla="*/ 35 h 54"/>
                <a:gd name="T32" fmla="*/ 6 w 55"/>
                <a:gd name="T33" fmla="*/ 43 h 54"/>
                <a:gd name="T34" fmla="*/ 11 w 55"/>
                <a:gd name="T35" fmla="*/ 49 h 54"/>
                <a:gd name="T36" fmla="*/ 19 w 55"/>
                <a:gd name="T37" fmla="*/ 47 h 54"/>
                <a:gd name="T38" fmla="*/ 23 w 55"/>
                <a:gd name="T39" fmla="*/ 54 h 54"/>
                <a:gd name="T40" fmla="*/ 31 w 55"/>
                <a:gd name="T41" fmla="*/ 54 h 54"/>
                <a:gd name="T42" fmla="*/ 36 w 55"/>
                <a:gd name="T43" fmla="*/ 47 h 54"/>
                <a:gd name="T44" fmla="*/ 44 w 55"/>
                <a:gd name="T45" fmla="*/ 49 h 54"/>
                <a:gd name="T46" fmla="*/ 49 w 55"/>
                <a:gd name="T47" fmla="*/ 43 h 54"/>
                <a:gd name="T48" fmla="*/ 48 w 55"/>
                <a:gd name="T49" fmla="*/ 36 h 54"/>
                <a:gd name="T50" fmla="*/ 21 w 55"/>
                <a:gd name="T51" fmla="*/ 42 h 54"/>
                <a:gd name="T52" fmla="*/ 12 w 55"/>
                <a:gd name="T53" fmla="*/ 21 h 54"/>
                <a:gd name="T54" fmla="*/ 34 w 55"/>
                <a:gd name="T55" fmla="*/ 12 h 54"/>
                <a:gd name="T56" fmla="*/ 42 w 55"/>
                <a:gd name="T57" fmla="*/ 34 h 54"/>
                <a:gd name="T58" fmla="*/ 21 w 55"/>
                <a:gd name="T59"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54">
                  <a:moveTo>
                    <a:pt x="48" y="36"/>
                  </a:moveTo>
                  <a:cubicBezTo>
                    <a:pt x="49" y="33"/>
                    <a:pt x="51" y="31"/>
                    <a:pt x="54" y="31"/>
                  </a:cubicBezTo>
                  <a:cubicBezTo>
                    <a:pt x="55" y="28"/>
                    <a:pt x="55" y="26"/>
                    <a:pt x="54" y="24"/>
                  </a:cubicBezTo>
                  <a:cubicBezTo>
                    <a:pt x="51" y="23"/>
                    <a:pt x="49" y="22"/>
                    <a:pt x="48" y="19"/>
                  </a:cubicBezTo>
                  <a:cubicBezTo>
                    <a:pt x="47" y="16"/>
                    <a:pt x="47" y="13"/>
                    <a:pt x="49" y="11"/>
                  </a:cubicBezTo>
                  <a:cubicBezTo>
                    <a:pt x="48" y="9"/>
                    <a:pt x="46" y="7"/>
                    <a:pt x="44" y="6"/>
                  </a:cubicBezTo>
                  <a:cubicBezTo>
                    <a:pt x="42" y="7"/>
                    <a:pt x="39" y="8"/>
                    <a:pt x="36" y="7"/>
                  </a:cubicBezTo>
                  <a:cubicBezTo>
                    <a:pt x="33" y="6"/>
                    <a:pt x="31" y="3"/>
                    <a:pt x="31" y="0"/>
                  </a:cubicBezTo>
                  <a:cubicBezTo>
                    <a:pt x="29" y="0"/>
                    <a:pt x="26" y="0"/>
                    <a:pt x="23" y="0"/>
                  </a:cubicBezTo>
                  <a:cubicBezTo>
                    <a:pt x="23" y="3"/>
                    <a:pt x="21" y="6"/>
                    <a:pt x="19" y="7"/>
                  </a:cubicBezTo>
                  <a:cubicBezTo>
                    <a:pt x="16" y="8"/>
                    <a:pt x="13" y="7"/>
                    <a:pt x="11" y="6"/>
                  </a:cubicBezTo>
                  <a:cubicBezTo>
                    <a:pt x="9" y="7"/>
                    <a:pt x="7" y="9"/>
                    <a:pt x="6" y="11"/>
                  </a:cubicBezTo>
                  <a:cubicBezTo>
                    <a:pt x="7" y="13"/>
                    <a:pt x="8" y="16"/>
                    <a:pt x="7" y="19"/>
                  </a:cubicBezTo>
                  <a:cubicBezTo>
                    <a:pt x="6" y="22"/>
                    <a:pt x="3" y="23"/>
                    <a:pt x="0" y="24"/>
                  </a:cubicBezTo>
                  <a:cubicBezTo>
                    <a:pt x="0" y="26"/>
                    <a:pt x="0" y="28"/>
                    <a:pt x="0" y="31"/>
                  </a:cubicBezTo>
                  <a:cubicBezTo>
                    <a:pt x="3" y="31"/>
                    <a:pt x="6" y="33"/>
                    <a:pt x="7" y="35"/>
                  </a:cubicBezTo>
                  <a:cubicBezTo>
                    <a:pt x="8" y="38"/>
                    <a:pt x="7" y="41"/>
                    <a:pt x="6" y="43"/>
                  </a:cubicBezTo>
                  <a:cubicBezTo>
                    <a:pt x="7" y="45"/>
                    <a:pt x="9" y="47"/>
                    <a:pt x="11" y="49"/>
                  </a:cubicBezTo>
                  <a:cubicBezTo>
                    <a:pt x="13" y="47"/>
                    <a:pt x="16" y="46"/>
                    <a:pt x="19" y="47"/>
                  </a:cubicBezTo>
                  <a:cubicBezTo>
                    <a:pt x="21" y="49"/>
                    <a:pt x="23" y="51"/>
                    <a:pt x="23" y="54"/>
                  </a:cubicBezTo>
                  <a:cubicBezTo>
                    <a:pt x="26" y="54"/>
                    <a:pt x="29" y="54"/>
                    <a:pt x="31" y="54"/>
                  </a:cubicBezTo>
                  <a:cubicBezTo>
                    <a:pt x="32" y="51"/>
                    <a:pt x="33" y="49"/>
                    <a:pt x="36" y="47"/>
                  </a:cubicBezTo>
                  <a:cubicBezTo>
                    <a:pt x="39" y="46"/>
                    <a:pt x="42" y="47"/>
                    <a:pt x="44" y="49"/>
                  </a:cubicBezTo>
                  <a:cubicBezTo>
                    <a:pt x="46" y="47"/>
                    <a:pt x="48" y="45"/>
                    <a:pt x="49" y="43"/>
                  </a:cubicBezTo>
                  <a:cubicBezTo>
                    <a:pt x="47" y="41"/>
                    <a:pt x="47" y="38"/>
                    <a:pt x="48" y="36"/>
                  </a:cubicBezTo>
                  <a:close/>
                  <a:moveTo>
                    <a:pt x="21" y="42"/>
                  </a:moveTo>
                  <a:cubicBezTo>
                    <a:pt x="13" y="39"/>
                    <a:pt x="9" y="29"/>
                    <a:pt x="12" y="21"/>
                  </a:cubicBezTo>
                  <a:cubicBezTo>
                    <a:pt x="16" y="12"/>
                    <a:pt x="25" y="8"/>
                    <a:pt x="34" y="12"/>
                  </a:cubicBezTo>
                  <a:cubicBezTo>
                    <a:pt x="42" y="16"/>
                    <a:pt x="46" y="25"/>
                    <a:pt x="42" y="34"/>
                  </a:cubicBezTo>
                  <a:cubicBezTo>
                    <a:pt x="39" y="42"/>
                    <a:pt x="29" y="46"/>
                    <a:pt x="2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11"/>
            <p:cNvSpPr>
              <a:spLocks noEditPoints="1"/>
            </p:cNvSpPr>
            <p:nvPr/>
          </p:nvSpPr>
          <p:spPr bwMode="auto">
            <a:xfrm>
              <a:off x="4830763" y="4692650"/>
              <a:ext cx="23812" cy="25400"/>
            </a:xfrm>
            <a:custGeom>
              <a:avLst/>
              <a:gdLst>
                <a:gd name="T0" fmla="*/ 17 w 25"/>
                <a:gd name="T1" fmla="*/ 3 h 26"/>
                <a:gd name="T2" fmla="*/ 2 w 25"/>
                <a:gd name="T3" fmla="*/ 9 h 26"/>
                <a:gd name="T4" fmla="*/ 8 w 25"/>
                <a:gd name="T5" fmla="*/ 23 h 26"/>
                <a:gd name="T6" fmla="*/ 23 w 25"/>
                <a:gd name="T7" fmla="*/ 18 h 26"/>
                <a:gd name="T8" fmla="*/ 17 w 25"/>
                <a:gd name="T9" fmla="*/ 3 h 26"/>
                <a:gd name="T10" fmla="*/ 10 w 25"/>
                <a:gd name="T11" fmla="*/ 18 h 26"/>
                <a:gd name="T12" fmla="*/ 7 w 25"/>
                <a:gd name="T13" fmla="*/ 11 h 26"/>
                <a:gd name="T14" fmla="*/ 15 w 25"/>
                <a:gd name="T15" fmla="*/ 8 h 26"/>
                <a:gd name="T16" fmla="*/ 18 w 25"/>
                <a:gd name="T17" fmla="*/ 15 h 26"/>
                <a:gd name="T18" fmla="*/ 10 w 25"/>
                <a:gd name="T19"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6">
                  <a:moveTo>
                    <a:pt x="17" y="3"/>
                  </a:moveTo>
                  <a:cubicBezTo>
                    <a:pt x="11" y="0"/>
                    <a:pt x="4" y="3"/>
                    <a:pt x="2" y="9"/>
                  </a:cubicBezTo>
                  <a:cubicBezTo>
                    <a:pt x="0" y="14"/>
                    <a:pt x="2" y="21"/>
                    <a:pt x="8" y="23"/>
                  </a:cubicBezTo>
                  <a:cubicBezTo>
                    <a:pt x="14" y="26"/>
                    <a:pt x="20" y="23"/>
                    <a:pt x="23" y="18"/>
                  </a:cubicBezTo>
                  <a:cubicBezTo>
                    <a:pt x="25" y="12"/>
                    <a:pt x="22" y="5"/>
                    <a:pt x="17" y="3"/>
                  </a:cubicBezTo>
                  <a:close/>
                  <a:moveTo>
                    <a:pt x="10" y="18"/>
                  </a:moveTo>
                  <a:cubicBezTo>
                    <a:pt x="7" y="17"/>
                    <a:pt x="6" y="14"/>
                    <a:pt x="7" y="11"/>
                  </a:cubicBezTo>
                  <a:cubicBezTo>
                    <a:pt x="8" y="8"/>
                    <a:pt x="12" y="7"/>
                    <a:pt x="15" y="8"/>
                  </a:cubicBezTo>
                  <a:cubicBezTo>
                    <a:pt x="18" y="9"/>
                    <a:pt x="19" y="12"/>
                    <a:pt x="18" y="15"/>
                  </a:cubicBezTo>
                  <a:cubicBezTo>
                    <a:pt x="16" y="18"/>
                    <a:pt x="13" y="20"/>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12"/>
            <p:cNvSpPr>
              <a:spLocks noEditPoints="1"/>
            </p:cNvSpPr>
            <p:nvPr/>
          </p:nvSpPr>
          <p:spPr bwMode="auto">
            <a:xfrm>
              <a:off x="4786313" y="4665663"/>
              <a:ext cx="33337" cy="34925"/>
            </a:xfrm>
            <a:custGeom>
              <a:avLst/>
              <a:gdLst>
                <a:gd name="T0" fmla="*/ 31 w 35"/>
                <a:gd name="T1" fmla="*/ 24 h 36"/>
                <a:gd name="T2" fmla="*/ 35 w 35"/>
                <a:gd name="T3" fmla="*/ 21 h 36"/>
                <a:gd name="T4" fmla="*/ 35 w 35"/>
                <a:gd name="T5" fmla="*/ 16 h 36"/>
                <a:gd name="T6" fmla="*/ 31 w 35"/>
                <a:gd name="T7" fmla="*/ 13 h 36"/>
                <a:gd name="T8" fmla="*/ 32 w 35"/>
                <a:gd name="T9" fmla="*/ 8 h 36"/>
                <a:gd name="T10" fmla="*/ 28 w 35"/>
                <a:gd name="T11" fmla="*/ 4 h 36"/>
                <a:gd name="T12" fmla="*/ 23 w 35"/>
                <a:gd name="T13" fmla="*/ 5 h 36"/>
                <a:gd name="T14" fmla="*/ 20 w 35"/>
                <a:gd name="T15" fmla="*/ 1 h 36"/>
                <a:gd name="T16" fmla="*/ 15 w 35"/>
                <a:gd name="T17" fmla="*/ 1 h 36"/>
                <a:gd name="T18" fmla="*/ 12 w 35"/>
                <a:gd name="T19" fmla="*/ 5 h 36"/>
                <a:gd name="T20" fmla="*/ 6 w 35"/>
                <a:gd name="T21" fmla="*/ 4 h 36"/>
                <a:gd name="T22" fmla="*/ 3 w 35"/>
                <a:gd name="T23" fmla="*/ 8 h 36"/>
                <a:gd name="T24" fmla="*/ 4 w 35"/>
                <a:gd name="T25" fmla="*/ 13 h 36"/>
                <a:gd name="T26" fmla="*/ 0 w 35"/>
                <a:gd name="T27" fmla="*/ 16 h 36"/>
                <a:gd name="T28" fmla="*/ 0 w 35"/>
                <a:gd name="T29" fmla="*/ 21 h 36"/>
                <a:gd name="T30" fmla="*/ 4 w 35"/>
                <a:gd name="T31" fmla="*/ 24 h 36"/>
                <a:gd name="T32" fmla="*/ 3 w 35"/>
                <a:gd name="T33" fmla="*/ 29 h 36"/>
                <a:gd name="T34" fmla="*/ 6 w 35"/>
                <a:gd name="T35" fmla="*/ 32 h 36"/>
                <a:gd name="T36" fmla="*/ 12 w 35"/>
                <a:gd name="T37" fmla="*/ 32 h 36"/>
                <a:gd name="T38" fmla="*/ 15 w 35"/>
                <a:gd name="T39" fmla="*/ 36 h 36"/>
                <a:gd name="T40" fmla="*/ 20 w 35"/>
                <a:gd name="T41" fmla="*/ 36 h 36"/>
                <a:gd name="T42" fmla="*/ 23 w 35"/>
                <a:gd name="T43" fmla="*/ 32 h 36"/>
                <a:gd name="T44" fmla="*/ 28 w 35"/>
                <a:gd name="T45" fmla="*/ 32 h 36"/>
                <a:gd name="T46" fmla="*/ 32 w 35"/>
                <a:gd name="T47" fmla="*/ 29 h 36"/>
                <a:gd name="T48" fmla="*/ 31 w 35"/>
                <a:gd name="T49" fmla="*/ 24 h 36"/>
                <a:gd name="T50" fmla="*/ 13 w 35"/>
                <a:gd name="T51" fmla="*/ 28 h 36"/>
                <a:gd name="T52" fmla="*/ 7 w 35"/>
                <a:gd name="T53" fmla="*/ 14 h 36"/>
                <a:gd name="T54" fmla="*/ 22 w 35"/>
                <a:gd name="T55" fmla="*/ 8 h 36"/>
                <a:gd name="T56" fmla="*/ 27 w 35"/>
                <a:gd name="T57" fmla="*/ 23 h 36"/>
                <a:gd name="T58" fmla="*/ 13 w 35"/>
                <a:gd name="T59"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36">
                  <a:moveTo>
                    <a:pt x="31" y="24"/>
                  </a:moveTo>
                  <a:cubicBezTo>
                    <a:pt x="32" y="22"/>
                    <a:pt x="33" y="21"/>
                    <a:pt x="35" y="21"/>
                  </a:cubicBezTo>
                  <a:cubicBezTo>
                    <a:pt x="35" y="19"/>
                    <a:pt x="35" y="18"/>
                    <a:pt x="35" y="16"/>
                  </a:cubicBezTo>
                  <a:cubicBezTo>
                    <a:pt x="33" y="16"/>
                    <a:pt x="32" y="15"/>
                    <a:pt x="31" y="13"/>
                  </a:cubicBezTo>
                  <a:cubicBezTo>
                    <a:pt x="30" y="11"/>
                    <a:pt x="30" y="9"/>
                    <a:pt x="32" y="8"/>
                  </a:cubicBezTo>
                  <a:cubicBezTo>
                    <a:pt x="31" y="6"/>
                    <a:pt x="30" y="5"/>
                    <a:pt x="28" y="4"/>
                  </a:cubicBezTo>
                  <a:cubicBezTo>
                    <a:pt x="27" y="5"/>
                    <a:pt x="25" y="6"/>
                    <a:pt x="23" y="5"/>
                  </a:cubicBezTo>
                  <a:cubicBezTo>
                    <a:pt x="21" y="4"/>
                    <a:pt x="20" y="3"/>
                    <a:pt x="20" y="1"/>
                  </a:cubicBezTo>
                  <a:cubicBezTo>
                    <a:pt x="18" y="0"/>
                    <a:pt x="16" y="0"/>
                    <a:pt x="15" y="1"/>
                  </a:cubicBezTo>
                  <a:cubicBezTo>
                    <a:pt x="15" y="3"/>
                    <a:pt x="13" y="4"/>
                    <a:pt x="12" y="5"/>
                  </a:cubicBezTo>
                  <a:cubicBezTo>
                    <a:pt x="10" y="6"/>
                    <a:pt x="8" y="5"/>
                    <a:pt x="6" y="4"/>
                  </a:cubicBezTo>
                  <a:cubicBezTo>
                    <a:pt x="5" y="5"/>
                    <a:pt x="4" y="6"/>
                    <a:pt x="3" y="8"/>
                  </a:cubicBezTo>
                  <a:cubicBezTo>
                    <a:pt x="4" y="9"/>
                    <a:pt x="5" y="11"/>
                    <a:pt x="4" y="13"/>
                  </a:cubicBezTo>
                  <a:cubicBezTo>
                    <a:pt x="3" y="15"/>
                    <a:pt x="2" y="16"/>
                    <a:pt x="0" y="16"/>
                  </a:cubicBezTo>
                  <a:cubicBezTo>
                    <a:pt x="0" y="18"/>
                    <a:pt x="0" y="19"/>
                    <a:pt x="0" y="21"/>
                  </a:cubicBezTo>
                  <a:cubicBezTo>
                    <a:pt x="2" y="21"/>
                    <a:pt x="3" y="22"/>
                    <a:pt x="4" y="24"/>
                  </a:cubicBezTo>
                  <a:cubicBezTo>
                    <a:pt x="5" y="26"/>
                    <a:pt x="4" y="28"/>
                    <a:pt x="3" y="29"/>
                  </a:cubicBezTo>
                  <a:cubicBezTo>
                    <a:pt x="4" y="30"/>
                    <a:pt x="5" y="31"/>
                    <a:pt x="6" y="32"/>
                  </a:cubicBezTo>
                  <a:cubicBezTo>
                    <a:pt x="8" y="31"/>
                    <a:pt x="10" y="31"/>
                    <a:pt x="12" y="32"/>
                  </a:cubicBezTo>
                  <a:cubicBezTo>
                    <a:pt x="13" y="32"/>
                    <a:pt x="15" y="34"/>
                    <a:pt x="15" y="36"/>
                  </a:cubicBezTo>
                  <a:cubicBezTo>
                    <a:pt x="17" y="36"/>
                    <a:pt x="18" y="36"/>
                    <a:pt x="20" y="36"/>
                  </a:cubicBezTo>
                  <a:cubicBezTo>
                    <a:pt x="20" y="34"/>
                    <a:pt x="21" y="32"/>
                    <a:pt x="23" y="32"/>
                  </a:cubicBezTo>
                  <a:cubicBezTo>
                    <a:pt x="25" y="31"/>
                    <a:pt x="27" y="31"/>
                    <a:pt x="28" y="32"/>
                  </a:cubicBezTo>
                  <a:cubicBezTo>
                    <a:pt x="29" y="31"/>
                    <a:pt x="31" y="30"/>
                    <a:pt x="32" y="29"/>
                  </a:cubicBezTo>
                  <a:cubicBezTo>
                    <a:pt x="30" y="28"/>
                    <a:pt x="30" y="26"/>
                    <a:pt x="31" y="24"/>
                  </a:cubicBezTo>
                  <a:close/>
                  <a:moveTo>
                    <a:pt x="13" y="28"/>
                  </a:moveTo>
                  <a:cubicBezTo>
                    <a:pt x="8" y="26"/>
                    <a:pt x="5" y="20"/>
                    <a:pt x="7" y="14"/>
                  </a:cubicBezTo>
                  <a:cubicBezTo>
                    <a:pt x="10" y="9"/>
                    <a:pt x="16" y="6"/>
                    <a:pt x="22" y="8"/>
                  </a:cubicBezTo>
                  <a:cubicBezTo>
                    <a:pt x="27" y="11"/>
                    <a:pt x="30" y="17"/>
                    <a:pt x="27" y="23"/>
                  </a:cubicBezTo>
                  <a:cubicBezTo>
                    <a:pt x="25" y="28"/>
                    <a:pt x="19" y="31"/>
                    <a:pt x="13"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13"/>
            <p:cNvSpPr>
              <a:spLocks noEditPoints="1"/>
            </p:cNvSpPr>
            <p:nvPr/>
          </p:nvSpPr>
          <p:spPr bwMode="auto">
            <a:xfrm>
              <a:off x="4794250" y="4675188"/>
              <a:ext cx="17462" cy="15875"/>
            </a:xfrm>
            <a:custGeom>
              <a:avLst/>
              <a:gdLst>
                <a:gd name="T0" fmla="*/ 11 w 17"/>
                <a:gd name="T1" fmla="*/ 2 h 17"/>
                <a:gd name="T2" fmla="*/ 2 w 17"/>
                <a:gd name="T3" fmla="*/ 5 h 17"/>
                <a:gd name="T4" fmla="*/ 5 w 17"/>
                <a:gd name="T5" fmla="*/ 15 h 17"/>
                <a:gd name="T6" fmla="*/ 15 w 17"/>
                <a:gd name="T7" fmla="*/ 11 h 17"/>
                <a:gd name="T8" fmla="*/ 11 w 17"/>
                <a:gd name="T9" fmla="*/ 2 h 17"/>
                <a:gd name="T10" fmla="*/ 7 w 17"/>
                <a:gd name="T11" fmla="*/ 12 h 17"/>
                <a:gd name="T12" fmla="*/ 5 w 17"/>
                <a:gd name="T13" fmla="*/ 7 h 17"/>
                <a:gd name="T14" fmla="*/ 10 w 17"/>
                <a:gd name="T15" fmla="*/ 5 h 17"/>
                <a:gd name="T16" fmla="*/ 12 w 17"/>
                <a:gd name="T17" fmla="*/ 10 h 17"/>
                <a:gd name="T18" fmla="*/ 7 w 17"/>
                <a:gd name="T19"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7">
                  <a:moveTo>
                    <a:pt x="11" y="2"/>
                  </a:moveTo>
                  <a:cubicBezTo>
                    <a:pt x="7" y="0"/>
                    <a:pt x="3" y="2"/>
                    <a:pt x="2" y="5"/>
                  </a:cubicBezTo>
                  <a:cubicBezTo>
                    <a:pt x="0" y="9"/>
                    <a:pt x="2" y="14"/>
                    <a:pt x="5" y="15"/>
                  </a:cubicBezTo>
                  <a:cubicBezTo>
                    <a:pt x="9" y="17"/>
                    <a:pt x="14" y="15"/>
                    <a:pt x="15" y="11"/>
                  </a:cubicBezTo>
                  <a:cubicBezTo>
                    <a:pt x="17" y="7"/>
                    <a:pt x="15" y="3"/>
                    <a:pt x="11" y="2"/>
                  </a:cubicBezTo>
                  <a:close/>
                  <a:moveTo>
                    <a:pt x="7" y="12"/>
                  </a:moveTo>
                  <a:cubicBezTo>
                    <a:pt x="5" y="11"/>
                    <a:pt x="4" y="9"/>
                    <a:pt x="5" y="7"/>
                  </a:cubicBezTo>
                  <a:cubicBezTo>
                    <a:pt x="6" y="5"/>
                    <a:pt x="8" y="4"/>
                    <a:pt x="10" y="5"/>
                  </a:cubicBezTo>
                  <a:cubicBezTo>
                    <a:pt x="12" y="6"/>
                    <a:pt x="13" y="8"/>
                    <a:pt x="12" y="10"/>
                  </a:cubicBezTo>
                  <a:cubicBezTo>
                    <a:pt x="11" y="12"/>
                    <a:pt x="9" y="13"/>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14"/>
            <p:cNvSpPr>
              <a:spLocks noEditPoints="1"/>
            </p:cNvSpPr>
            <p:nvPr/>
          </p:nvSpPr>
          <p:spPr bwMode="auto">
            <a:xfrm>
              <a:off x="4540250" y="4003675"/>
              <a:ext cx="176212" cy="187325"/>
            </a:xfrm>
            <a:custGeom>
              <a:avLst/>
              <a:gdLst>
                <a:gd name="T0" fmla="*/ 183 w 183"/>
                <a:gd name="T1" fmla="*/ 77 h 193"/>
                <a:gd name="T2" fmla="*/ 107 w 183"/>
                <a:gd name="T3" fmla="*/ 122 h 193"/>
                <a:gd name="T4" fmla="*/ 7 w 183"/>
                <a:gd name="T5" fmla="*/ 52 h 193"/>
                <a:gd name="T6" fmla="*/ 2 w 183"/>
                <a:gd name="T7" fmla="*/ 55 h 193"/>
                <a:gd name="T8" fmla="*/ 1 w 183"/>
                <a:gd name="T9" fmla="*/ 57 h 193"/>
                <a:gd name="T10" fmla="*/ 0 w 183"/>
                <a:gd name="T11" fmla="*/ 59 h 193"/>
                <a:gd name="T12" fmla="*/ 0 w 183"/>
                <a:gd name="T13" fmla="*/ 80 h 193"/>
                <a:gd name="T14" fmla="*/ 1 w 183"/>
                <a:gd name="T15" fmla="*/ 82 h 193"/>
                <a:gd name="T16" fmla="*/ 4 w 183"/>
                <a:gd name="T17" fmla="*/ 85 h 193"/>
                <a:gd name="T18" fmla="*/ 8 w 183"/>
                <a:gd name="T19" fmla="*/ 84 h 193"/>
                <a:gd name="T20" fmla="*/ 21 w 183"/>
                <a:gd name="T21" fmla="*/ 106 h 193"/>
                <a:gd name="T22" fmla="*/ 15 w 183"/>
                <a:gd name="T23" fmla="*/ 74 h 193"/>
                <a:gd name="T24" fmla="*/ 6 w 183"/>
                <a:gd name="T25" fmla="*/ 82 h 193"/>
                <a:gd name="T26" fmla="*/ 4 w 183"/>
                <a:gd name="T27" fmla="*/ 82 h 193"/>
                <a:gd name="T28" fmla="*/ 3 w 183"/>
                <a:gd name="T29" fmla="*/ 81 h 193"/>
                <a:gd name="T30" fmla="*/ 3 w 183"/>
                <a:gd name="T31" fmla="*/ 79 h 193"/>
                <a:gd name="T32" fmla="*/ 3 w 183"/>
                <a:gd name="T33" fmla="*/ 59 h 193"/>
                <a:gd name="T34" fmla="*/ 4 w 183"/>
                <a:gd name="T35" fmla="*/ 57 h 193"/>
                <a:gd name="T36" fmla="*/ 15 w 183"/>
                <a:gd name="T37" fmla="*/ 55 h 193"/>
                <a:gd name="T38" fmla="*/ 82 w 183"/>
                <a:gd name="T39" fmla="*/ 115 h 193"/>
                <a:gd name="T40" fmla="*/ 82 w 183"/>
                <a:gd name="T41" fmla="*/ 104 h 193"/>
                <a:gd name="T42" fmla="*/ 82 w 183"/>
                <a:gd name="T43" fmla="*/ 104 h 193"/>
                <a:gd name="T44" fmla="*/ 90 w 183"/>
                <a:gd name="T45" fmla="*/ 131 h 193"/>
                <a:gd name="T46" fmla="*/ 87 w 183"/>
                <a:gd name="T47" fmla="*/ 131 h 193"/>
                <a:gd name="T48" fmla="*/ 86 w 183"/>
                <a:gd name="T49" fmla="*/ 130 h 193"/>
                <a:gd name="T50" fmla="*/ 86 w 183"/>
                <a:gd name="T51" fmla="*/ 129 h 193"/>
                <a:gd name="T52" fmla="*/ 85 w 183"/>
                <a:gd name="T53" fmla="*/ 108 h 193"/>
                <a:gd name="T54" fmla="*/ 86 w 183"/>
                <a:gd name="T55" fmla="*/ 107 h 193"/>
                <a:gd name="T56" fmla="*/ 87 w 183"/>
                <a:gd name="T57" fmla="*/ 106 h 193"/>
                <a:gd name="T58" fmla="*/ 91 w 183"/>
                <a:gd name="T59" fmla="*/ 124 h 193"/>
                <a:gd name="T60" fmla="*/ 3 w 183"/>
                <a:gd name="T61" fmla="*/ 113 h 193"/>
                <a:gd name="T62" fmla="*/ 1 w 183"/>
                <a:gd name="T63" fmla="*/ 115 h 193"/>
                <a:gd name="T64" fmla="*/ 0 w 183"/>
                <a:gd name="T65" fmla="*/ 117 h 193"/>
                <a:gd name="T66" fmla="*/ 0 w 183"/>
                <a:gd name="T67" fmla="*/ 138 h 193"/>
                <a:gd name="T68" fmla="*/ 1 w 183"/>
                <a:gd name="T69" fmla="*/ 141 h 193"/>
                <a:gd name="T70" fmla="*/ 3 w 183"/>
                <a:gd name="T71" fmla="*/ 143 h 193"/>
                <a:gd name="T72" fmla="*/ 7 w 183"/>
                <a:gd name="T73" fmla="*/ 144 h 193"/>
                <a:gd name="T74" fmla="*/ 14 w 183"/>
                <a:gd name="T75" fmla="*/ 140 h 193"/>
                <a:gd name="T76" fmla="*/ 83 w 183"/>
                <a:gd name="T77" fmla="*/ 188 h 193"/>
                <a:gd name="T78" fmla="*/ 83 w 183"/>
                <a:gd name="T79" fmla="*/ 190 h 193"/>
                <a:gd name="T80" fmla="*/ 87 w 183"/>
                <a:gd name="T81" fmla="*/ 193 h 193"/>
                <a:gd name="T82" fmla="*/ 90 w 183"/>
                <a:gd name="T83" fmla="*/ 193 h 193"/>
                <a:gd name="T84" fmla="*/ 100 w 183"/>
                <a:gd name="T85" fmla="*/ 191 h 193"/>
                <a:gd name="T86" fmla="*/ 85 w 183"/>
                <a:gd name="T87" fmla="*/ 167 h 193"/>
                <a:gd name="T88" fmla="*/ 86 w 183"/>
                <a:gd name="T89" fmla="*/ 166 h 193"/>
                <a:gd name="T90" fmla="*/ 87 w 183"/>
                <a:gd name="T91" fmla="*/ 165 h 193"/>
                <a:gd name="T92" fmla="*/ 96 w 183"/>
                <a:gd name="T93" fmla="*/ 166 h 193"/>
                <a:gd name="T94" fmla="*/ 96 w 183"/>
                <a:gd name="T95" fmla="*/ 186 h 193"/>
                <a:gd name="T96" fmla="*/ 88 w 183"/>
                <a:gd name="T97" fmla="*/ 190 h 193"/>
                <a:gd name="T98" fmla="*/ 86 w 183"/>
                <a:gd name="T99" fmla="*/ 189 h 193"/>
                <a:gd name="T100" fmla="*/ 86 w 183"/>
                <a:gd name="T101" fmla="*/ 188 h 193"/>
                <a:gd name="T102" fmla="*/ 85 w 183"/>
                <a:gd name="T103" fmla="*/ 167 h 193"/>
                <a:gd name="T104" fmla="*/ 57 w 183"/>
                <a:gd name="T105" fmla="*/ 141 h 193"/>
                <a:gd name="T106" fmla="*/ 57 w 183"/>
                <a:gd name="T107" fmla="*/ 152 h 193"/>
                <a:gd name="T108" fmla="*/ 11 w 183"/>
                <a:gd name="T109" fmla="*/ 132 h 193"/>
                <a:gd name="T110" fmla="*/ 7 w 183"/>
                <a:gd name="T111" fmla="*/ 141 h 193"/>
                <a:gd name="T112" fmla="*/ 4 w 183"/>
                <a:gd name="T113" fmla="*/ 141 h 193"/>
                <a:gd name="T114" fmla="*/ 3 w 183"/>
                <a:gd name="T115" fmla="*/ 140 h 193"/>
                <a:gd name="T116" fmla="*/ 3 w 183"/>
                <a:gd name="T117" fmla="*/ 138 h 193"/>
                <a:gd name="T118" fmla="*/ 3 w 183"/>
                <a:gd name="T119" fmla="*/ 118 h 193"/>
                <a:gd name="T120" fmla="*/ 4 w 183"/>
                <a:gd name="T121" fmla="*/ 116 h 193"/>
                <a:gd name="T122" fmla="*/ 11 w 183"/>
                <a:gd name="T123" fmla="*/ 11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3" h="193">
                  <a:moveTo>
                    <a:pt x="101" y="191"/>
                  </a:moveTo>
                  <a:cubicBezTo>
                    <a:pt x="183" y="134"/>
                    <a:pt x="183" y="134"/>
                    <a:pt x="183" y="134"/>
                  </a:cubicBezTo>
                  <a:cubicBezTo>
                    <a:pt x="183" y="106"/>
                    <a:pt x="183" y="106"/>
                    <a:pt x="183" y="106"/>
                  </a:cubicBezTo>
                  <a:cubicBezTo>
                    <a:pt x="159" y="92"/>
                    <a:pt x="159" y="92"/>
                    <a:pt x="159" y="92"/>
                  </a:cubicBezTo>
                  <a:cubicBezTo>
                    <a:pt x="183" y="77"/>
                    <a:pt x="183" y="77"/>
                    <a:pt x="183" y="77"/>
                  </a:cubicBezTo>
                  <a:cubicBezTo>
                    <a:pt x="183" y="47"/>
                    <a:pt x="183" y="47"/>
                    <a:pt x="183" y="47"/>
                  </a:cubicBezTo>
                  <a:cubicBezTo>
                    <a:pt x="102" y="0"/>
                    <a:pt x="102" y="0"/>
                    <a:pt x="102" y="0"/>
                  </a:cubicBezTo>
                  <a:cubicBezTo>
                    <a:pt x="21" y="47"/>
                    <a:pt x="21" y="47"/>
                    <a:pt x="21" y="47"/>
                  </a:cubicBezTo>
                  <a:cubicBezTo>
                    <a:pt x="107" y="96"/>
                    <a:pt x="107" y="96"/>
                    <a:pt x="107" y="96"/>
                  </a:cubicBezTo>
                  <a:cubicBezTo>
                    <a:pt x="107" y="122"/>
                    <a:pt x="107" y="122"/>
                    <a:pt x="107" y="122"/>
                  </a:cubicBezTo>
                  <a:cubicBezTo>
                    <a:pt x="101" y="132"/>
                    <a:pt x="101" y="132"/>
                    <a:pt x="101" y="132"/>
                  </a:cubicBezTo>
                  <a:cubicBezTo>
                    <a:pt x="101" y="99"/>
                    <a:pt x="101" y="99"/>
                    <a:pt x="101" y="99"/>
                  </a:cubicBezTo>
                  <a:cubicBezTo>
                    <a:pt x="67" y="80"/>
                    <a:pt x="67" y="80"/>
                    <a:pt x="67" y="80"/>
                  </a:cubicBezTo>
                  <a:cubicBezTo>
                    <a:pt x="7" y="46"/>
                    <a:pt x="7" y="46"/>
                    <a:pt x="7" y="46"/>
                  </a:cubicBezTo>
                  <a:cubicBezTo>
                    <a:pt x="7" y="52"/>
                    <a:pt x="7" y="52"/>
                    <a:pt x="7" y="52"/>
                  </a:cubicBezTo>
                  <a:cubicBezTo>
                    <a:pt x="3" y="54"/>
                    <a:pt x="3" y="54"/>
                    <a:pt x="3" y="54"/>
                  </a:cubicBezTo>
                  <a:cubicBezTo>
                    <a:pt x="3" y="55"/>
                    <a:pt x="3" y="55"/>
                    <a:pt x="3" y="55"/>
                  </a:cubicBezTo>
                  <a:cubicBezTo>
                    <a:pt x="3" y="55"/>
                    <a:pt x="3" y="55"/>
                    <a:pt x="3" y="55"/>
                  </a:cubicBezTo>
                  <a:cubicBezTo>
                    <a:pt x="3" y="55"/>
                    <a:pt x="2" y="55"/>
                    <a:pt x="2" y="55"/>
                  </a:cubicBezTo>
                  <a:cubicBezTo>
                    <a:pt x="2" y="55"/>
                    <a:pt x="2" y="55"/>
                    <a:pt x="2" y="55"/>
                  </a:cubicBezTo>
                  <a:cubicBezTo>
                    <a:pt x="2" y="55"/>
                    <a:pt x="2" y="56"/>
                    <a:pt x="2" y="56"/>
                  </a:cubicBezTo>
                  <a:cubicBezTo>
                    <a:pt x="1" y="56"/>
                    <a:pt x="1" y="56"/>
                    <a:pt x="1" y="56"/>
                  </a:cubicBezTo>
                  <a:cubicBezTo>
                    <a:pt x="1" y="56"/>
                    <a:pt x="1" y="56"/>
                    <a:pt x="1" y="56"/>
                  </a:cubicBezTo>
                  <a:cubicBezTo>
                    <a:pt x="1" y="57"/>
                    <a:pt x="1" y="57"/>
                    <a:pt x="1" y="57"/>
                  </a:cubicBezTo>
                  <a:cubicBezTo>
                    <a:pt x="1" y="57"/>
                    <a:pt x="1" y="57"/>
                    <a:pt x="1" y="57"/>
                  </a:cubicBezTo>
                  <a:cubicBezTo>
                    <a:pt x="1" y="57"/>
                    <a:pt x="1" y="57"/>
                    <a:pt x="1" y="57"/>
                  </a:cubicBezTo>
                  <a:cubicBezTo>
                    <a:pt x="1" y="57"/>
                    <a:pt x="0" y="57"/>
                    <a:pt x="0" y="58"/>
                  </a:cubicBezTo>
                  <a:cubicBezTo>
                    <a:pt x="0" y="58"/>
                    <a:pt x="0" y="58"/>
                    <a:pt x="0" y="58"/>
                  </a:cubicBezTo>
                  <a:cubicBezTo>
                    <a:pt x="0" y="58"/>
                    <a:pt x="0" y="58"/>
                    <a:pt x="0" y="59"/>
                  </a:cubicBezTo>
                  <a:cubicBezTo>
                    <a:pt x="0" y="59"/>
                    <a:pt x="0" y="59"/>
                    <a:pt x="0" y="59"/>
                  </a:cubicBezTo>
                  <a:cubicBezTo>
                    <a:pt x="0" y="59"/>
                    <a:pt x="0" y="59"/>
                    <a:pt x="0" y="59"/>
                  </a:cubicBezTo>
                  <a:cubicBezTo>
                    <a:pt x="0" y="79"/>
                    <a:pt x="0" y="79"/>
                    <a:pt x="0" y="79"/>
                  </a:cubicBezTo>
                  <a:cubicBezTo>
                    <a:pt x="0" y="80"/>
                    <a:pt x="0" y="80"/>
                    <a:pt x="0" y="80"/>
                  </a:cubicBezTo>
                  <a:cubicBezTo>
                    <a:pt x="0" y="80"/>
                    <a:pt x="0" y="80"/>
                    <a:pt x="0" y="80"/>
                  </a:cubicBezTo>
                  <a:cubicBezTo>
                    <a:pt x="0" y="80"/>
                    <a:pt x="0" y="80"/>
                    <a:pt x="0" y="80"/>
                  </a:cubicBezTo>
                  <a:cubicBezTo>
                    <a:pt x="0" y="80"/>
                    <a:pt x="0" y="81"/>
                    <a:pt x="0" y="81"/>
                  </a:cubicBezTo>
                  <a:cubicBezTo>
                    <a:pt x="0" y="81"/>
                    <a:pt x="0" y="81"/>
                    <a:pt x="0" y="81"/>
                  </a:cubicBezTo>
                  <a:cubicBezTo>
                    <a:pt x="0" y="82"/>
                    <a:pt x="1" y="82"/>
                    <a:pt x="1" y="82"/>
                  </a:cubicBezTo>
                  <a:cubicBezTo>
                    <a:pt x="1" y="82"/>
                    <a:pt x="1" y="82"/>
                    <a:pt x="1" y="82"/>
                  </a:cubicBezTo>
                  <a:cubicBezTo>
                    <a:pt x="1" y="82"/>
                    <a:pt x="1" y="82"/>
                    <a:pt x="1" y="82"/>
                  </a:cubicBezTo>
                  <a:cubicBezTo>
                    <a:pt x="1" y="82"/>
                    <a:pt x="1" y="82"/>
                    <a:pt x="1" y="82"/>
                  </a:cubicBezTo>
                  <a:cubicBezTo>
                    <a:pt x="1" y="83"/>
                    <a:pt x="1" y="83"/>
                    <a:pt x="2" y="83"/>
                  </a:cubicBezTo>
                  <a:cubicBezTo>
                    <a:pt x="2" y="84"/>
                    <a:pt x="2" y="84"/>
                    <a:pt x="3" y="84"/>
                  </a:cubicBezTo>
                  <a:cubicBezTo>
                    <a:pt x="3" y="84"/>
                    <a:pt x="3" y="84"/>
                    <a:pt x="3" y="84"/>
                  </a:cubicBezTo>
                  <a:cubicBezTo>
                    <a:pt x="3" y="85"/>
                    <a:pt x="4" y="85"/>
                    <a:pt x="4" y="85"/>
                  </a:cubicBezTo>
                  <a:cubicBezTo>
                    <a:pt x="4" y="85"/>
                    <a:pt x="4" y="85"/>
                    <a:pt x="4" y="85"/>
                  </a:cubicBezTo>
                  <a:cubicBezTo>
                    <a:pt x="5" y="85"/>
                    <a:pt x="5" y="85"/>
                    <a:pt x="6" y="85"/>
                  </a:cubicBezTo>
                  <a:cubicBezTo>
                    <a:pt x="6" y="85"/>
                    <a:pt x="7" y="85"/>
                    <a:pt x="7" y="85"/>
                  </a:cubicBezTo>
                  <a:cubicBezTo>
                    <a:pt x="7" y="85"/>
                    <a:pt x="7" y="85"/>
                    <a:pt x="7" y="85"/>
                  </a:cubicBezTo>
                  <a:cubicBezTo>
                    <a:pt x="8" y="85"/>
                    <a:pt x="8" y="85"/>
                    <a:pt x="8" y="84"/>
                  </a:cubicBezTo>
                  <a:cubicBezTo>
                    <a:pt x="9" y="84"/>
                    <a:pt x="9" y="84"/>
                    <a:pt x="9" y="84"/>
                  </a:cubicBezTo>
                  <a:cubicBezTo>
                    <a:pt x="9" y="84"/>
                    <a:pt x="9" y="84"/>
                    <a:pt x="9" y="84"/>
                  </a:cubicBezTo>
                  <a:cubicBezTo>
                    <a:pt x="14" y="82"/>
                    <a:pt x="14" y="82"/>
                    <a:pt x="14" y="82"/>
                  </a:cubicBezTo>
                  <a:cubicBezTo>
                    <a:pt x="38" y="96"/>
                    <a:pt x="38" y="96"/>
                    <a:pt x="38" y="96"/>
                  </a:cubicBezTo>
                  <a:cubicBezTo>
                    <a:pt x="21" y="106"/>
                    <a:pt x="21" y="106"/>
                    <a:pt x="21" y="106"/>
                  </a:cubicBezTo>
                  <a:cubicBezTo>
                    <a:pt x="107" y="155"/>
                    <a:pt x="107" y="155"/>
                    <a:pt x="107" y="155"/>
                  </a:cubicBezTo>
                  <a:cubicBezTo>
                    <a:pt x="107" y="180"/>
                    <a:pt x="107" y="180"/>
                    <a:pt x="107" y="180"/>
                  </a:cubicBezTo>
                  <a:lnTo>
                    <a:pt x="101" y="191"/>
                  </a:lnTo>
                  <a:close/>
                  <a:moveTo>
                    <a:pt x="11" y="73"/>
                  </a:moveTo>
                  <a:cubicBezTo>
                    <a:pt x="12" y="72"/>
                    <a:pt x="14" y="73"/>
                    <a:pt x="15" y="74"/>
                  </a:cubicBezTo>
                  <a:cubicBezTo>
                    <a:pt x="16" y="76"/>
                    <a:pt x="15" y="78"/>
                    <a:pt x="14" y="78"/>
                  </a:cubicBezTo>
                  <a:cubicBezTo>
                    <a:pt x="7" y="82"/>
                    <a:pt x="7" y="82"/>
                    <a:pt x="7" y="82"/>
                  </a:cubicBezTo>
                  <a:cubicBezTo>
                    <a:pt x="7" y="82"/>
                    <a:pt x="7" y="82"/>
                    <a:pt x="7" y="82"/>
                  </a:cubicBezTo>
                  <a:cubicBezTo>
                    <a:pt x="7" y="82"/>
                    <a:pt x="7" y="82"/>
                    <a:pt x="7" y="82"/>
                  </a:cubicBezTo>
                  <a:cubicBezTo>
                    <a:pt x="7" y="82"/>
                    <a:pt x="6" y="82"/>
                    <a:pt x="6" y="82"/>
                  </a:cubicBezTo>
                  <a:cubicBezTo>
                    <a:pt x="6" y="82"/>
                    <a:pt x="6" y="82"/>
                    <a:pt x="6" y="82"/>
                  </a:cubicBezTo>
                  <a:cubicBezTo>
                    <a:pt x="6" y="82"/>
                    <a:pt x="5" y="82"/>
                    <a:pt x="5" y="82"/>
                  </a:cubicBezTo>
                  <a:cubicBezTo>
                    <a:pt x="5" y="82"/>
                    <a:pt x="5" y="82"/>
                    <a:pt x="5" y="82"/>
                  </a:cubicBezTo>
                  <a:cubicBezTo>
                    <a:pt x="5" y="82"/>
                    <a:pt x="5" y="82"/>
                    <a:pt x="4" y="82"/>
                  </a:cubicBezTo>
                  <a:cubicBezTo>
                    <a:pt x="4" y="82"/>
                    <a:pt x="4" y="82"/>
                    <a:pt x="4" y="82"/>
                  </a:cubicBezTo>
                  <a:cubicBezTo>
                    <a:pt x="4" y="82"/>
                    <a:pt x="4" y="82"/>
                    <a:pt x="4" y="81"/>
                  </a:cubicBezTo>
                  <a:cubicBezTo>
                    <a:pt x="4" y="81"/>
                    <a:pt x="4" y="81"/>
                    <a:pt x="4" y="81"/>
                  </a:cubicBezTo>
                  <a:cubicBezTo>
                    <a:pt x="4" y="81"/>
                    <a:pt x="3" y="81"/>
                    <a:pt x="3" y="81"/>
                  </a:cubicBezTo>
                  <a:cubicBezTo>
                    <a:pt x="3" y="81"/>
                    <a:pt x="3" y="81"/>
                    <a:pt x="3" y="81"/>
                  </a:cubicBezTo>
                  <a:cubicBezTo>
                    <a:pt x="3" y="81"/>
                    <a:pt x="3" y="81"/>
                    <a:pt x="3" y="81"/>
                  </a:cubicBezTo>
                  <a:cubicBezTo>
                    <a:pt x="3" y="81"/>
                    <a:pt x="3" y="80"/>
                    <a:pt x="3" y="80"/>
                  </a:cubicBezTo>
                  <a:cubicBezTo>
                    <a:pt x="3" y="80"/>
                    <a:pt x="3" y="80"/>
                    <a:pt x="3" y="80"/>
                  </a:cubicBezTo>
                  <a:cubicBezTo>
                    <a:pt x="3" y="80"/>
                    <a:pt x="3" y="80"/>
                    <a:pt x="3" y="80"/>
                  </a:cubicBezTo>
                  <a:cubicBezTo>
                    <a:pt x="3" y="80"/>
                    <a:pt x="3" y="80"/>
                    <a:pt x="3" y="79"/>
                  </a:cubicBezTo>
                  <a:cubicBezTo>
                    <a:pt x="3" y="79"/>
                    <a:pt x="3" y="79"/>
                    <a:pt x="3" y="79"/>
                  </a:cubicBezTo>
                  <a:cubicBezTo>
                    <a:pt x="3" y="60"/>
                    <a:pt x="3" y="60"/>
                    <a:pt x="3" y="60"/>
                  </a:cubicBezTo>
                  <a:cubicBezTo>
                    <a:pt x="3" y="59"/>
                    <a:pt x="3" y="59"/>
                    <a:pt x="3" y="59"/>
                  </a:cubicBezTo>
                  <a:cubicBezTo>
                    <a:pt x="3" y="59"/>
                    <a:pt x="3" y="59"/>
                    <a:pt x="3" y="59"/>
                  </a:cubicBezTo>
                  <a:cubicBezTo>
                    <a:pt x="3" y="59"/>
                    <a:pt x="3" y="59"/>
                    <a:pt x="3" y="59"/>
                  </a:cubicBezTo>
                  <a:cubicBezTo>
                    <a:pt x="3" y="59"/>
                    <a:pt x="3" y="59"/>
                    <a:pt x="3" y="59"/>
                  </a:cubicBezTo>
                  <a:cubicBezTo>
                    <a:pt x="3" y="58"/>
                    <a:pt x="3" y="58"/>
                    <a:pt x="3" y="58"/>
                  </a:cubicBezTo>
                  <a:cubicBezTo>
                    <a:pt x="3" y="58"/>
                    <a:pt x="3" y="58"/>
                    <a:pt x="3" y="58"/>
                  </a:cubicBezTo>
                  <a:cubicBezTo>
                    <a:pt x="3" y="58"/>
                    <a:pt x="3" y="58"/>
                    <a:pt x="3" y="58"/>
                  </a:cubicBezTo>
                  <a:cubicBezTo>
                    <a:pt x="4" y="58"/>
                    <a:pt x="4" y="58"/>
                    <a:pt x="4" y="58"/>
                  </a:cubicBezTo>
                  <a:cubicBezTo>
                    <a:pt x="4" y="58"/>
                    <a:pt x="4" y="57"/>
                    <a:pt x="4" y="57"/>
                  </a:cubicBezTo>
                  <a:cubicBezTo>
                    <a:pt x="4" y="57"/>
                    <a:pt x="4" y="57"/>
                    <a:pt x="4" y="57"/>
                  </a:cubicBezTo>
                  <a:cubicBezTo>
                    <a:pt x="4" y="57"/>
                    <a:pt x="4" y="57"/>
                    <a:pt x="4" y="57"/>
                  </a:cubicBezTo>
                  <a:cubicBezTo>
                    <a:pt x="4" y="57"/>
                    <a:pt x="4" y="57"/>
                    <a:pt x="4" y="57"/>
                  </a:cubicBezTo>
                  <a:cubicBezTo>
                    <a:pt x="11" y="53"/>
                    <a:pt x="11" y="53"/>
                    <a:pt x="11" y="53"/>
                  </a:cubicBezTo>
                  <a:cubicBezTo>
                    <a:pt x="12" y="53"/>
                    <a:pt x="14" y="53"/>
                    <a:pt x="15" y="55"/>
                  </a:cubicBezTo>
                  <a:cubicBezTo>
                    <a:pt x="16" y="56"/>
                    <a:pt x="15" y="58"/>
                    <a:pt x="14" y="58"/>
                  </a:cubicBezTo>
                  <a:cubicBezTo>
                    <a:pt x="9" y="61"/>
                    <a:pt x="9" y="61"/>
                    <a:pt x="9" y="61"/>
                  </a:cubicBezTo>
                  <a:cubicBezTo>
                    <a:pt x="9" y="74"/>
                    <a:pt x="9" y="74"/>
                    <a:pt x="9" y="74"/>
                  </a:cubicBezTo>
                  <a:lnTo>
                    <a:pt x="11" y="73"/>
                  </a:lnTo>
                  <a:close/>
                  <a:moveTo>
                    <a:pt x="82" y="115"/>
                  </a:moveTo>
                  <a:cubicBezTo>
                    <a:pt x="57" y="100"/>
                    <a:pt x="57" y="100"/>
                    <a:pt x="57" y="100"/>
                  </a:cubicBezTo>
                  <a:cubicBezTo>
                    <a:pt x="57" y="93"/>
                    <a:pt x="57" y="93"/>
                    <a:pt x="57" y="93"/>
                  </a:cubicBezTo>
                  <a:cubicBezTo>
                    <a:pt x="82" y="108"/>
                    <a:pt x="82" y="108"/>
                    <a:pt x="82" y="108"/>
                  </a:cubicBezTo>
                  <a:lnTo>
                    <a:pt x="82" y="115"/>
                  </a:lnTo>
                  <a:close/>
                  <a:moveTo>
                    <a:pt x="82" y="104"/>
                  </a:moveTo>
                  <a:cubicBezTo>
                    <a:pt x="57" y="89"/>
                    <a:pt x="57" y="89"/>
                    <a:pt x="57" y="89"/>
                  </a:cubicBezTo>
                  <a:cubicBezTo>
                    <a:pt x="57" y="82"/>
                    <a:pt x="57" y="82"/>
                    <a:pt x="57" y="82"/>
                  </a:cubicBezTo>
                  <a:cubicBezTo>
                    <a:pt x="59" y="84"/>
                    <a:pt x="59" y="84"/>
                    <a:pt x="59" y="84"/>
                  </a:cubicBezTo>
                  <a:cubicBezTo>
                    <a:pt x="82" y="97"/>
                    <a:pt x="82" y="97"/>
                    <a:pt x="82" y="97"/>
                  </a:cubicBezTo>
                  <a:lnTo>
                    <a:pt x="82" y="104"/>
                  </a:lnTo>
                  <a:close/>
                  <a:moveTo>
                    <a:pt x="93" y="122"/>
                  </a:moveTo>
                  <a:cubicBezTo>
                    <a:pt x="95" y="122"/>
                    <a:pt x="97" y="122"/>
                    <a:pt x="97" y="123"/>
                  </a:cubicBezTo>
                  <a:cubicBezTo>
                    <a:pt x="98" y="125"/>
                    <a:pt x="98" y="127"/>
                    <a:pt x="96" y="127"/>
                  </a:cubicBezTo>
                  <a:cubicBezTo>
                    <a:pt x="90" y="131"/>
                    <a:pt x="90" y="131"/>
                    <a:pt x="90" y="131"/>
                  </a:cubicBezTo>
                  <a:cubicBezTo>
                    <a:pt x="90" y="131"/>
                    <a:pt x="90" y="131"/>
                    <a:pt x="90" y="131"/>
                  </a:cubicBezTo>
                  <a:cubicBezTo>
                    <a:pt x="89" y="131"/>
                    <a:pt x="89" y="131"/>
                    <a:pt x="89" y="131"/>
                  </a:cubicBezTo>
                  <a:cubicBezTo>
                    <a:pt x="89" y="131"/>
                    <a:pt x="89" y="131"/>
                    <a:pt x="89" y="131"/>
                  </a:cubicBezTo>
                  <a:cubicBezTo>
                    <a:pt x="89" y="131"/>
                    <a:pt x="89" y="131"/>
                    <a:pt x="88" y="131"/>
                  </a:cubicBezTo>
                  <a:cubicBezTo>
                    <a:pt x="88" y="131"/>
                    <a:pt x="88" y="131"/>
                    <a:pt x="88" y="131"/>
                  </a:cubicBezTo>
                  <a:cubicBezTo>
                    <a:pt x="88" y="131"/>
                    <a:pt x="88" y="131"/>
                    <a:pt x="87" y="131"/>
                  </a:cubicBezTo>
                  <a:cubicBezTo>
                    <a:pt x="87" y="131"/>
                    <a:pt x="87" y="131"/>
                    <a:pt x="87" y="131"/>
                  </a:cubicBezTo>
                  <a:cubicBezTo>
                    <a:pt x="87" y="131"/>
                    <a:pt x="87" y="131"/>
                    <a:pt x="87" y="131"/>
                  </a:cubicBezTo>
                  <a:cubicBezTo>
                    <a:pt x="87" y="131"/>
                    <a:pt x="86" y="131"/>
                    <a:pt x="86" y="130"/>
                  </a:cubicBezTo>
                  <a:cubicBezTo>
                    <a:pt x="86" y="130"/>
                    <a:pt x="86" y="130"/>
                    <a:pt x="86" y="130"/>
                  </a:cubicBezTo>
                  <a:cubicBezTo>
                    <a:pt x="86" y="130"/>
                    <a:pt x="86" y="130"/>
                    <a:pt x="86" y="130"/>
                  </a:cubicBezTo>
                  <a:cubicBezTo>
                    <a:pt x="86" y="130"/>
                    <a:pt x="86" y="130"/>
                    <a:pt x="86" y="130"/>
                  </a:cubicBezTo>
                  <a:cubicBezTo>
                    <a:pt x="86" y="130"/>
                    <a:pt x="86" y="130"/>
                    <a:pt x="86" y="130"/>
                  </a:cubicBezTo>
                  <a:cubicBezTo>
                    <a:pt x="86" y="130"/>
                    <a:pt x="86" y="129"/>
                    <a:pt x="86" y="129"/>
                  </a:cubicBezTo>
                  <a:cubicBezTo>
                    <a:pt x="86" y="129"/>
                    <a:pt x="86" y="129"/>
                    <a:pt x="86" y="129"/>
                  </a:cubicBezTo>
                  <a:cubicBezTo>
                    <a:pt x="86" y="129"/>
                    <a:pt x="86" y="129"/>
                    <a:pt x="86" y="129"/>
                  </a:cubicBezTo>
                  <a:cubicBezTo>
                    <a:pt x="85" y="129"/>
                    <a:pt x="85" y="129"/>
                    <a:pt x="85" y="129"/>
                  </a:cubicBezTo>
                  <a:cubicBezTo>
                    <a:pt x="85" y="129"/>
                    <a:pt x="85" y="128"/>
                    <a:pt x="85" y="128"/>
                  </a:cubicBezTo>
                  <a:cubicBezTo>
                    <a:pt x="85" y="109"/>
                    <a:pt x="85" y="109"/>
                    <a:pt x="85" y="109"/>
                  </a:cubicBezTo>
                  <a:cubicBezTo>
                    <a:pt x="85" y="109"/>
                    <a:pt x="85" y="108"/>
                    <a:pt x="85" y="108"/>
                  </a:cubicBezTo>
                  <a:cubicBezTo>
                    <a:pt x="85" y="108"/>
                    <a:pt x="85" y="108"/>
                    <a:pt x="85" y="108"/>
                  </a:cubicBezTo>
                  <a:cubicBezTo>
                    <a:pt x="86" y="108"/>
                    <a:pt x="86" y="108"/>
                    <a:pt x="86" y="108"/>
                  </a:cubicBezTo>
                  <a:cubicBezTo>
                    <a:pt x="86" y="108"/>
                    <a:pt x="86" y="108"/>
                    <a:pt x="86" y="108"/>
                  </a:cubicBezTo>
                  <a:cubicBezTo>
                    <a:pt x="86" y="108"/>
                    <a:pt x="86" y="107"/>
                    <a:pt x="86" y="107"/>
                  </a:cubicBezTo>
                  <a:cubicBezTo>
                    <a:pt x="86" y="107"/>
                    <a:pt x="86" y="107"/>
                    <a:pt x="86" y="107"/>
                  </a:cubicBezTo>
                  <a:cubicBezTo>
                    <a:pt x="86" y="107"/>
                    <a:pt x="86" y="107"/>
                    <a:pt x="86" y="107"/>
                  </a:cubicBezTo>
                  <a:cubicBezTo>
                    <a:pt x="86" y="107"/>
                    <a:pt x="86" y="107"/>
                    <a:pt x="86" y="107"/>
                  </a:cubicBezTo>
                  <a:cubicBezTo>
                    <a:pt x="86" y="107"/>
                    <a:pt x="86" y="107"/>
                    <a:pt x="86" y="106"/>
                  </a:cubicBezTo>
                  <a:cubicBezTo>
                    <a:pt x="86" y="106"/>
                    <a:pt x="87" y="106"/>
                    <a:pt x="87" y="106"/>
                  </a:cubicBezTo>
                  <a:cubicBezTo>
                    <a:pt x="87" y="106"/>
                    <a:pt x="87" y="106"/>
                    <a:pt x="87" y="106"/>
                  </a:cubicBezTo>
                  <a:cubicBezTo>
                    <a:pt x="87" y="106"/>
                    <a:pt x="87" y="106"/>
                    <a:pt x="87" y="106"/>
                  </a:cubicBezTo>
                  <a:cubicBezTo>
                    <a:pt x="93" y="102"/>
                    <a:pt x="93" y="102"/>
                    <a:pt x="93" y="102"/>
                  </a:cubicBezTo>
                  <a:cubicBezTo>
                    <a:pt x="95" y="102"/>
                    <a:pt x="97" y="102"/>
                    <a:pt x="97" y="104"/>
                  </a:cubicBezTo>
                  <a:cubicBezTo>
                    <a:pt x="98" y="105"/>
                    <a:pt x="98" y="107"/>
                    <a:pt x="96" y="107"/>
                  </a:cubicBezTo>
                  <a:cubicBezTo>
                    <a:pt x="91" y="110"/>
                    <a:pt x="91" y="110"/>
                    <a:pt x="91" y="110"/>
                  </a:cubicBezTo>
                  <a:cubicBezTo>
                    <a:pt x="91" y="124"/>
                    <a:pt x="91" y="124"/>
                    <a:pt x="91" y="124"/>
                  </a:cubicBezTo>
                  <a:lnTo>
                    <a:pt x="93" y="122"/>
                  </a:lnTo>
                  <a:close/>
                  <a:moveTo>
                    <a:pt x="7" y="111"/>
                  </a:moveTo>
                  <a:cubicBezTo>
                    <a:pt x="3" y="113"/>
                    <a:pt x="3" y="113"/>
                    <a:pt x="3" y="113"/>
                  </a:cubicBezTo>
                  <a:cubicBezTo>
                    <a:pt x="3" y="113"/>
                    <a:pt x="3" y="113"/>
                    <a:pt x="3" y="113"/>
                  </a:cubicBezTo>
                  <a:cubicBezTo>
                    <a:pt x="3" y="113"/>
                    <a:pt x="3" y="113"/>
                    <a:pt x="3" y="113"/>
                  </a:cubicBezTo>
                  <a:cubicBezTo>
                    <a:pt x="3" y="113"/>
                    <a:pt x="2" y="114"/>
                    <a:pt x="2" y="114"/>
                  </a:cubicBezTo>
                  <a:cubicBezTo>
                    <a:pt x="2" y="114"/>
                    <a:pt x="2" y="114"/>
                    <a:pt x="2" y="114"/>
                  </a:cubicBezTo>
                  <a:cubicBezTo>
                    <a:pt x="2" y="114"/>
                    <a:pt x="2" y="114"/>
                    <a:pt x="2" y="114"/>
                  </a:cubicBezTo>
                  <a:cubicBezTo>
                    <a:pt x="1" y="115"/>
                    <a:pt x="1" y="115"/>
                    <a:pt x="1" y="115"/>
                  </a:cubicBezTo>
                  <a:cubicBezTo>
                    <a:pt x="1" y="115"/>
                    <a:pt x="1" y="115"/>
                    <a:pt x="1" y="115"/>
                  </a:cubicBezTo>
                  <a:cubicBezTo>
                    <a:pt x="1" y="115"/>
                    <a:pt x="1" y="115"/>
                    <a:pt x="1" y="115"/>
                  </a:cubicBezTo>
                  <a:cubicBezTo>
                    <a:pt x="1" y="115"/>
                    <a:pt x="1" y="115"/>
                    <a:pt x="1" y="115"/>
                  </a:cubicBezTo>
                  <a:cubicBezTo>
                    <a:pt x="1" y="116"/>
                    <a:pt x="1" y="116"/>
                    <a:pt x="1" y="116"/>
                  </a:cubicBezTo>
                  <a:cubicBezTo>
                    <a:pt x="1" y="116"/>
                    <a:pt x="0" y="116"/>
                    <a:pt x="0" y="116"/>
                  </a:cubicBezTo>
                  <a:cubicBezTo>
                    <a:pt x="0" y="117"/>
                    <a:pt x="0" y="117"/>
                    <a:pt x="0" y="117"/>
                  </a:cubicBezTo>
                  <a:cubicBezTo>
                    <a:pt x="0" y="117"/>
                    <a:pt x="0" y="117"/>
                    <a:pt x="0" y="117"/>
                  </a:cubicBezTo>
                  <a:cubicBezTo>
                    <a:pt x="0" y="118"/>
                    <a:pt x="0" y="118"/>
                    <a:pt x="0" y="118"/>
                  </a:cubicBezTo>
                  <a:cubicBezTo>
                    <a:pt x="0" y="118"/>
                    <a:pt x="0" y="118"/>
                    <a:pt x="0" y="118"/>
                  </a:cubicBezTo>
                  <a:cubicBezTo>
                    <a:pt x="0" y="138"/>
                    <a:pt x="0" y="138"/>
                    <a:pt x="0" y="138"/>
                  </a:cubicBezTo>
                  <a:cubicBezTo>
                    <a:pt x="0" y="138"/>
                    <a:pt x="0" y="138"/>
                    <a:pt x="0" y="138"/>
                  </a:cubicBezTo>
                  <a:cubicBezTo>
                    <a:pt x="0" y="138"/>
                    <a:pt x="0" y="138"/>
                    <a:pt x="0" y="138"/>
                  </a:cubicBezTo>
                  <a:cubicBezTo>
                    <a:pt x="0" y="139"/>
                    <a:pt x="0" y="139"/>
                    <a:pt x="0" y="139"/>
                  </a:cubicBezTo>
                  <a:cubicBezTo>
                    <a:pt x="0" y="139"/>
                    <a:pt x="0" y="139"/>
                    <a:pt x="0" y="140"/>
                  </a:cubicBezTo>
                  <a:cubicBezTo>
                    <a:pt x="0" y="140"/>
                    <a:pt x="0" y="140"/>
                    <a:pt x="0" y="140"/>
                  </a:cubicBezTo>
                  <a:cubicBezTo>
                    <a:pt x="0" y="140"/>
                    <a:pt x="1" y="140"/>
                    <a:pt x="1" y="141"/>
                  </a:cubicBezTo>
                  <a:cubicBezTo>
                    <a:pt x="1" y="141"/>
                    <a:pt x="1" y="141"/>
                    <a:pt x="1" y="141"/>
                  </a:cubicBezTo>
                  <a:cubicBezTo>
                    <a:pt x="1" y="141"/>
                    <a:pt x="1" y="141"/>
                    <a:pt x="1" y="141"/>
                  </a:cubicBezTo>
                  <a:cubicBezTo>
                    <a:pt x="1" y="141"/>
                    <a:pt x="1" y="141"/>
                    <a:pt x="1" y="141"/>
                  </a:cubicBezTo>
                  <a:cubicBezTo>
                    <a:pt x="1" y="141"/>
                    <a:pt x="1" y="142"/>
                    <a:pt x="2" y="142"/>
                  </a:cubicBezTo>
                  <a:cubicBezTo>
                    <a:pt x="2" y="142"/>
                    <a:pt x="2" y="143"/>
                    <a:pt x="3" y="143"/>
                  </a:cubicBezTo>
                  <a:cubicBezTo>
                    <a:pt x="3" y="143"/>
                    <a:pt x="3" y="143"/>
                    <a:pt x="3" y="143"/>
                  </a:cubicBezTo>
                  <a:cubicBezTo>
                    <a:pt x="3" y="143"/>
                    <a:pt x="4" y="144"/>
                    <a:pt x="4" y="144"/>
                  </a:cubicBezTo>
                  <a:cubicBezTo>
                    <a:pt x="4" y="144"/>
                    <a:pt x="4" y="144"/>
                    <a:pt x="4" y="144"/>
                  </a:cubicBezTo>
                  <a:cubicBezTo>
                    <a:pt x="5" y="144"/>
                    <a:pt x="5" y="144"/>
                    <a:pt x="6" y="144"/>
                  </a:cubicBezTo>
                  <a:cubicBezTo>
                    <a:pt x="6" y="144"/>
                    <a:pt x="7" y="144"/>
                    <a:pt x="7" y="144"/>
                  </a:cubicBezTo>
                  <a:cubicBezTo>
                    <a:pt x="7" y="144"/>
                    <a:pt x="7" y="144"/>
                    <a:pt x="7" y="144"/>
                  </a:cubicBezTo>
                  <a:cubicBezTo>
                    <a:pt x="8" y="144"/>
                    <a:pt x="8" y="143"/>
                    <a:pt x="8" y="143"/>
                  </a:cubicBezTo>
                  <a:cubicBezTo>
                    <a:pt x="9" y="143"/>
                    <a:pt x="9" y="143"/>
                    <a:pt x="9" y="143"/>
                  </a:cubicBezTo>
                  <a:cubicBezTo>
                    <a:pt x="9" y="143"/>
                    <a:pt x="9" y="143"/>
                    <a:pt x="9" y="143"/>
                  </a:cubicBezTo>
                  <a:cubicBezTo>
                    <a:pt x="14" y="140"/>
                    <a:pt x="14" y="140"/>
                    <a:pt x="14" y="140"/>
                  </a:cubicBezTo>
                  <a:cubicBezTo>
                    <a:pt x="83" y="181"/>
                    <a:pt x="83" y="181"/>
                    <a:pt x="83" y="181"/>
                  </a:cubicBezTo>
                  <a:cubicBezTo>
                    <a:pt x="83" y="187"/>
                    <a:pt x="83" y="187"/>
                    <a:pt x="83" y="187"/>
                  </a:cubicBezTo>
                  <a:cubicBezTo>
                    <a:pt x="83" y="187"/>
                    <a:pt x="83" y="187"/>
                    <a:pt x="83" y="187"/>
                  </a:cubicBezTo>
                  <a:cubicBezTo>
                    <a:pt x="83" y="187"/>
                    <a:pt x="83" y="187"/>
                    <a:pt x="83" y="187"/>
                  </a:cubicBezTo>
                  <a:cubicBezTo>
                    <a:pt x="83" y="188"/>
                    <a:pt x="83" y="188"/>
                    <a:pt x="83" y="188"/>
                  </a:cubicBezTo>
                  <a:cubicBezTo>
                    <a:pt x="83" y="188"/>
                    <a:pt x="83" y="188"/>
                    <a:pt x="83" y="189"/>
                  </a:cubicBezTo>
                  <a:cubicBezTo>
                    <a:pt x="83" y="189"/>
                    <a:pt x="83" y="189"/>
                    <a:pt x="83" y="189"/>
                  </a:cubicBezTo>
                  <a:cubicBezTo>
                    <a:pt x="83" y="189"/>
                    <a:pt x="83" y="189"/>
                    <a:pt x="83" y="190"/>
                  </a:cubicBezTo>
                  <a:cubicBezTo>
                    <a:pt x="83" y="190"/>
                    <a:pt x="83" y="190"/>
                    <a:pt x="83" y="190"/>
                  </a:cubicBezTo>
                  <a:cubicBezTo>
                    <a:pt x="83" y="190"/>
                    <a:pt x="83" y="190"/>
                    <a:pt x="83" y="190"/>
                  </a:cubicBezTo>
                  <a:cubicBezTo>
                    <a:pt x="83" y="190"/>
                    <a:pt x="83" y="190"/>
                    <a:pt x="83" y="190"/>
                  </a:cubicBezTo>
                  <a:cubicBezTo>
                    <a:pt x="84" y="191"/>
                    <a:pt x="84" y="191"/>
                    <a:pt x="84" y="191"/>
                  </a:cubicBezTo>
                  <a:cubicBezTo>
                    <a:pt x="85" y="192"/>
                    <a:pt x="85" y="192"/>
                    <a:pt x="85" y="192"/>
                  </a:cubicBezTo>
                  <a:cubicBezTo>
                    <a:pt x="86" y="192"/>
                    <a:pt x="86" y="192"/>
                    <a:pt x="86" y="192"/>
                  </a:cubicBezTo>
                  <a:cubicBezTo>
                    <a:pt x="86" y="192"/>
                    <a:pt x="86" y="193"/>
                    <a:pt x="87" y="193"/>
                  </a:cubicBezTo>
                  <a:cubicBezTo>
                    <a:pt x="87" y="193"/>
                    <a:pt x="87" y="193"/>
                    <a:pt x="87" y="193"/>
                  </a:cubicBezTo>
                  <a:cubicBezTo>
                    <a:pt x="87" y="193"/>
                    <a:pt x="87" y="193"/>
                    <a:pt x="87" y="193"/>
                  </a:cubicBezTo>
                  <a:cubicBezTo>
                    <a:pt x="87" y="193"/>
                    <a:pt x="88" y="193"/>
                    <a:pt x="88" y="193"/>
                  </a:cubicBezTo>
                  <a:cubicBezTo>
                    <a:pt x="89" y="193"/>
                    <a:pt x="89" y="193"/>
                    <a:pt x="90" y="193"/>
                  </a:cubicBezTo>
                  <a:cubicBezTo>
                    <a:pt x="90" y="193"/>
                    <a:pt x="90" y="193"/>
                    <a:pt x="90" y="193"/>
                  </a:cubicBezTo>
                  <a:cubicBezTo>
                    <a:pt x="90" y="193"/>
                    <a:pt x="91" y="192"/>
                    <a:pt x="91" y="192"/>
                  </a:cubicBezTo>
                  <a:cubicBezTo>
                    <a:pt x="91" y="192"/>
                    <a:pt x="91" y="192"/>
                    <a:pt x="91" y="192"/>
                  </a:cubicBezTo>
                  <a:cubicBezTo>
                    <a:pt x="91" y="192"/>
                    <a:pt x="91" y="192"/>
                    <a:pt x="91" y="192"/>
                  </a:cubicBezTo>
                  <a:cubicBezTo>
                    <a:pt x="97" y="189"/>
                    <a:pt x="97" y="189"/>
                    <a:pt x="97" y="189"/>
                  </a:cubicBezTo>
                  <a:cubicBezTo>
                    <a:pt x="100" y="191"/>
                    <a:pt x="100" y="191"/>
                    <a:pt x="100" y="191"/>
                  </a:cubicBezTo>
                  <a:cubicBezTo>
                    <a:pt x="101" y="191"/>
                    <a:pt x="101" y="191"/>
                    <a:pt x="101" y="191"/>
                  </a:cubicBezTo>
                  <a:cubicBezTo>
                    <a:pt x="101" y="158"/>
                    <a:pt x="101" y="158"/>
                    <a:pt x="101" y="158"/>
                  </a:cubicBezTo>
                  <a:cubicBezTo>
                    <a:pt x="7" y="104"/>
                    <a:pt x="7" y="104"/>
                    <a:pt x="7" y="104"/>
                  </a:cubicBezTo>
                  <a:lnTo>
                    <a:pt x="7" y="111"/>
                  </a:lnTo>
                  <a:close/>
                  <a:moveTo>
                    <a:pt x="85" y="167"/>
                  </a:moveTo>
                  <a:cubicBezTo>
                    <a:pt x="85" y="167"/>
                    <a:pt x="85" y="167"/>
                    <a:pt x="85" y="167"/>
                  </a:cubicBezTo>
                  <a:cubicBezTo>
                    <a:pt x="85" y="167"/>
                    <a:pt x="85" y="167"/>
                    <a:pt x="85" y="167"/>
                  </a:cubicBezTo>
                  <a:cubicBezTo>
                    <a:pt x="86" y="167"/>
                    <a:pt x="86" y="167"/>
                    <a:pt x="86" y="167"/>
                  </a:cubicBezTo>
                  <a:cubicBezTo>
                    <a:pt x="86" y="167"/>
                    <a:pt x="86" y="166"/>
                    <a:pt x="86" y="166"/>
                  </a:cubicBezTo>
                  <a:cubicBezTo>
                    <a:pt x="86" y="166"/>
                    <a:pt x="86" y="166"/>
                    <a:pt x="86" y="166"/>
                  </a:cubicBezTo>
                  <a:cubicBezTo>
                    <a:pt x="86" y="166"/>
                    <a:pt x="86" y="166"/>
                    <a:pt x="86" y="166"/>
                  </a:cubicBezTo>
                  <a:cubicBezTo>
                    <a:pt x="86" y="166"/>
                    <a:pt x="86" y="166"/>
                    <a:pt x="86" y="166"/>
                  </a:cubicBezTo>
                  <a:cubicBezTo>
                    <a:pt x="86" y="166"/>
                    <a:pt x="86" y="165"/>
                    <a:pt x="86" y="165"/>
                  </a:cubicBezTo>
                  <a:cubicBezTo>
                    <a:pt x="86" y="165"/>
                    <a:pt x="86" y="165"/>
                    <a:pt x="86" y="165"/>
                  </a:cubicBezTo>
                  <a:cubicBezTo>
                    <a:pt x="86" y="165"/>
                    <a:pt x="87" y="165"/>
                    <a:pt x="87" y="165"/>
                  </a:cubicBezTo>
                  <a:cubicBezTo>
                    <a:pt x="87" y="165"/>
                    <a:pt x="87" y="165"/>
                    <a:pt x="87" y="165"/>
                  </a:cubicBezTo>
                  <a:cubicBezTo>
                    <a:pt x="87" y="165"/>
                    <a:pt x="87" y="165"/>
                    <a:pt x="87" y="165"/>
                  </a:cubicBezTo>
                  <a:cubicBezTo>
                    <a:pt x="93" y="161"/>
                    <a:pt x="93" y="161"/>
                    <a:pt x="93" y="161"/>
                  </a:cubicBezTo>
                  <a:cubicBezTo>
                    <a:pt x="95" y="160"/>
                    <a:pt x="97" y="161"/>
                    <a:pt x="97" y="162"/>
                  </a:cubicBezTo>
                  <a:cubicBezTo>
                    <a:pt x="98" y="164"/>
                    <a:pt x="98" y="165"/>
                    <a:pt x="96" y="166"/>
                  </a:cubicBezTo>
                  <a:cubicBezTo>
                    <a:pt x="91" y="169"/>
                    <a:pt x="91" y="169"/>
                    <a:pt x="91" y="169"/>
                  </a:cubicBezTo>
                  <a:cubicBezTo>
                    <a:pt x="91" y="182"/>
                    <a:pt x="91" y="182"/>
                    <a:pt x="91" y="182"/>
                  </a:cubicBezTo>
                  <a:cubicBezTo>
                    <a:pt x="93" y="181"/>
                    <a:pt x="93" y="181"/>
                    <a:pt x="93" y="181"/>
                  </a:cubicBezTo>
                  <a:cubicBezTo>
                    <a:pt x="95" y="180"/>
                    <a:pt x="97" y="181"/>
                    <a:pt x="97" y="182"/>
                  </a:cubicBezTo>
                  <a:cubicBezTo>
                    <a:pt x="98" y="184"/>
                    <a:pt x="98" y="185"/>
                    <a:pt x="96" y="186"/>
                  </a:cubicBezTo>
                  <a:cubicBezTo>
                    <a:pt x="90" y="190"/>
                    <a:pt x="90" y="190"/>
                    <a:pt x="90" y="190"/>
                  </a:cubicBezTo>
                  <a:cubicBezTo>
                    <a:pt x="90" y="190"/>
                    <a:pt x="90" y="190"/>
                    <a:pt x="90" y="190"/>
                  </a:cubicBezTo>
                  <a:cubicBezTo>
                    <a:pt x="89" y="190"/>
                    <a:pt x="89" y="190"/>
                    <a:pt x="89" y="190"/>
                  </a:cubicBezTo>
                  <a:cubicBezTo>
                    <a:pt x="89" y="190"/>
                    <a:pt x="89" y="190"/>
                    <a:pt x="89" y="190"/>
                  </a:cubicBezTo>
                  <a:cubicBezTo>
                    <a:pt x="89" y="190"/>
                    <a:pt x="89" y="190"/>
                    <a:pt x="88" y="190"/>
                  </a:cubicBezTo>
                  <a:cubicBezTo>
                    <a:pt x="88" y="190"/>
                    <a:pt x="88" y="190"/>
                    <a:pt x="88" y="190"/>
                  </a:cubicBezTo>
                  <a:cubicBezTo>
                    <a:pt x="88" y="190"/>
                    <a:pt x="88" y="190"/>
                    <a:pt x="87" y="190"/>
                  </a:cubicBezTo>
                  <a:cubicBezTo>
                    <a:pt x="87" y="190"/>
                    <a:pt x="87" y="190"/>
                    <a:pt x="87" y="190"/>
                  </a:cubicBezTo>
                  <a:cubicBezTo>
                    <a:pt x="87" y="190"/>
                    <a:pt x="87" y="190"/>
                    <a:pt x="87" y="190"/>
                  </a:cubicBezTo>
                  <a:cubicBezTo>
                    <a:pt x="87" y="190"/>
                    <a:pt x="86" y="189"/>
                    <a:pt x="86" y="189"/>
                  </a:cubicBezTo>
                  <a:cubicBezTo>
                    <a:pt x="86" y="189"/>
                    <a:pt x="86" y="189"/>
                    <a:pt x="86" y="189"/>
                  </a:cubicBezTo>
                  <a:cubicBezTo>
                    <a:pt x="86" y="189"/>
                    <a:pt x="86" y="189"/>
                    <a:pt x="86" y="189"/>
                  </a:cubicBezTo>
                  <a:cubicBezTo>
                    <a:pt x="86" y="189"/>
                    <a:pt x="86" y="189"/>
                    <a:pt x="86" y="189"/>
                  </a:cubicBezTo>
                  <a:cubicBezTo>
                    <a:pt x="86" y="189"/>
                    <a:pt x="86" y="188"/>
                    <a:pt x="86" y="188"/>
                  </a:cubicBezTo>
                  <a:cubicBezTo>
                    <a:pt x="86" y="188"/>
                    <a:pt x="86" y="188"/>
                    <a:pt x="86" y="188"/>
                  </a:cubicBezTo>
                  <a:cubicBezTo>
                    <a:pt x="86" y="188"/>
                    <a:pt x="86" y="188"/>
                    <a:pt x="86" y="188"/>
                  </a:cubicBezTo>
                  <a:cubicBezTo>
                    <a:pt x="86" y="188"/>
                    <a:pt x="86" y="188"/>
                    <a:pt x="86" y="188"/>
                  </a:cubicBezTo>
                  <a:cubicBezTo>
                    <a:pt x="85" y="188"/>
                    <a:pt x="85" y="187"/>
                    <a:pt x="85" y="187"/>
                  </a:cubicBezTo>
                  <a:cubicBezTo>
                    <a:pt x="85" y="187"/>
                    <a:pt x="85" y="187"/>
                    <a:pt x="85" y="187"/>
                  </a:cubicBezTo>
                  <a:lnTo>
                    <a:pt x="85" y="167"/>
                  </a:lnTo>
                  <a:close/>
                  <a:moveTo>
                    <a:pt x="57" y="141"/>
                  </a:moveTo>
                  <a:cubicBezTo>
                    <a:pt x="82" y="156"/>
                    <a:pt x="82" y="156"/>
                    <a:pt x="82" y="156"/>
                  </a:cubicBezTo>
                  <a:cubicBezTo>
                    <a:pt x="82" y="163"/>
                    <a:pt x="82" y="163"/>
                    <a:pt x="82" y="163"/>
                  </a:cubicBezTo>
                  <a:cubicBezTo>
                    <a:pt x="57" y="148"/>
                    <a:pt x="57" y="148"/>
                    <a:pt x="57" y="148"/>
                  </a:cubicBezTo>
                  <a:lnTo>
                    <a:pt x="57" y="141"/>
                  </a:lnTo>
                  <a:close/>
                  <a:moveTo>
                    <a:pt x="57" y="152"/>
                  </a:moveTo>
                  <a:cubicBezTo>
                    <a:pt x="82" y="167"/>
                    <a:pt x="82" y="167"/>
                    <a:pt x="82" y="167"/>
                  </a:cubicBezTo>
                  <a:cubicBezTo>
                    <a:pt x="82" y="174"/>
                    <a:pt x="82" y="174"/>
                    <a:pt x="82" y="174"/>
                  </a:cubicBezTo>
                  <a:cubicBezTo>
                    <a:pt x="57" y="159"/>
                    <a:pt x="57" y="159"/>
                    <a:pt x="57" y="159"/>
                  </a:cubicBezTo>
                  <a:lnTo>
                    <a:pt x="57" y="152"/>
                  </a:lnTo>
                  <a:close/>
                  <a:moveTo>
                    <a:pt x="15" y="113"/>
                  </a:moveTo>
                  <a:cubicBezTo>
                    <a:pt x="16" y="115"/>
                    <a:pt x="15" y="116"/>
                    <a:pt x="14" y="117"/>
                  </a:cubicBezTo>
                  <a:cubicBezTo>
                    <a:pt x="9" y="120"/>
                    <a:pt x="9" y="120"/>
                    <a:pt x="9" y="120"/>
                  </a:cubicBezTo>
                  <a:cubicBezTo>
                    <a:pt x="9" y="133"/>
                    <a:pt x="9" y="133"/>
                    <a:pt x="9" y="133"/>
                  </a:cubicBezTo>
                  <a:cubicBezTo>
                    <a:pt x="11" y="132"/>
                    <a:pt x="11" y="132"/>
                    <a:pt x="11" y="132"/>
                  </a:cubicBezTo>
                  <a:cubicBezTo>
                    <a:pt x="12" y="131"/>
                    <a:pt x="14" y="132"/>
                    <a:pt x="15" y="133"/>
                  </a:cubicBezTo>
                  <a:cubicBezTo>
                    <a:pt x="16" y="135"/>
                    <a:pt x="15" y="136"/>
                    <a:pt x="14" y="137"/>
                  </a:cubicBezTo>
                  <a:cubicBezTo>
                    <a:pt x="7" y="141"/>
                    <a:pt x="7" y="141"/>
                    <a:pt x="7" y="141"/>
                  </a:cubicBezTo>
                  <a:cubicBezTo>
                    <a:pt x="7" y="141"/>
                    <a:pt x="7" y="141"/>
                    <a:pt x="7" y="141"/>
                  </a:cubicBezTo>
                  <a:cubicBezTo>
                    <a:pt x="7" y="141"/>
                    <a:pt x="7" y="141"/>
                    <a:pt x="7" y="141"/>
                  </a:cubicBezTo>
                  <a:cubicBezTo>
                    <a:pt x="7" y="141"/>
                    <a:pt x="6" y="141"/>
                    <a:pt x="6" y="141"/>
                  </a:cubicBezTo>
                  <a:cubicBezTo>
                    <a:pt x="6" y="141"/>
                    <a:pt x="6" y="141"/>
                    <a:pt x="6" y="141"/>
                  </a:cubicBezTo>
                  <a:cubicBezTo>
                    <a:pt x="6" y="141"/>
                    <a:pt x="5" y="141"/>
                    <a:pt x="5" y="141"/>
                  </a:cubicBezTo>
                  <a:cubicBezTo>
                    <a:pt x="5" y="141"/>
                    <a:pt x="5" y="141"/>
                    <a:pt x="5" y="141"/>
                  </a:cubicBezTo>
                  <a:cubicBezTo>
                    <a:pt x="5" y="141"/>
                    <a:pt x="5" y="141"/>
                    <a:pt x="4" y="141"/>
                  </a:cubicBezTo>
                  <a:cubicBezTo>
                    <a:pt x="4" y="141"/>
                    <a:pt x="4" y="141"/>
                    <a:pt x="4" y="141"/>
                  </a:cubicBezTo>
                  <a:cubicBezTo>
                    <a:pt x="4" y="140"/>
                    <a:pt x="4" y="140"/>
                    <a:pt x="4" y="140"/>
                  </a:cubicBezTo>
                  <a:cubicBezTo>
                    <a:pt x="4" y="140"/>
                    <a:pt x="4" y="140"/>
                    <a:pt x="4" y="140"/>
                  </a:cubicBezTo>
                  <a:cubicBezTo>
                    <a:pt x="4" y="140"/>
                    <a:pt x="3" y="140"/>
                    <a:pt x="3" y="140"/>
                  </a:cubicBezTo>
                  <a:cubicBezTo>
                    <a:pt x="3" y="140"/>
                    <a:pt x="3" y="140"/>
                    <a:pt x="3" y="140"/>
                  </a:cubicBezTo>
                  <a:cubicBezTo>
                    <a:pt x="3" y="139"/>
                    <a:pt x="3" y="139"/>
                    <a:pt x="3" y="139"/>
                  </a:cubicBezTo>
                  <a:cubicBezTo>
                    <a:pt x="3" y="139"/>
                    <a:pt x="3" y="139"/>
                    <a:pt x="3" y="139"/>
                  </a:cubicBezTo>
                  <a:cubicBezTo>
                    <a:pt x="3" y="139"/>
                    <a:pt x="3" y="139"/>
                    <a:pt x="3" y="139"/>
                  </a:cubicBezTo>
                  <a:cubicBezTo>
                    <a:pt x="3" y="139"/>
                    <a:pt x="3" y="139"/>
                    <a:pt x="3" y="139"/>
                  </a:cubicBezTo>
                  <a:cubicBezTo>
                    <a:pt x="3" y="138"/>
                    <a:pt x="3" y="138"/>
                    <a:pt x="3" y="138"/>
                  </a:cubicBezTo>
                  <a:cubicBezTo>
                    <a:pt x="3" y="138"/>
                    <a:pt x="3" y="138"/>
                    <a:pt x="3" y="138"/>
                  </a:cubicBezTo>
                  <a:cubicBezTo>
                    <a:pt x="3" y="118"/>
                    <a:pt x="3" y="118"/>
                    <a:pt x="3" y="118"/>
                  </a:cubicBezTo>
                  <a:cubicBezTo>
                    <a:pt x="3" y="118"/>
                    <a:pt x="3" y="118"/>
                    <a:pt x="3" y="118"/>
                  </a:cubicBezTo>
                  <a:cubicBezTo>
                    <a:pt x="3" y="118"/>
                    <a:pt x="3" y="118"/>
                    <a:pt x="3" y="118"/>
                  </a:cubicBezTo>
                  <a:cubicBezTo>
                    <a:pt x="3" y="118"/>
                    <a:pt x="3" y="118"/>
                    <a:pt x="3" y="118"/>
                  </a:cubicBezTo>
                  <a:cubicBezTo>
                    <a:pt x="3" y="118"/>
                    <a:pt x="3" y="117"/>
                    <a:pt x="3" y="117"/>
                  </a:cubicBezTo>
                  <a:cubicBezTo>
                    <a:pt x="3" y="117"/>
                    <a:pt x="3" y="117"/>
                    <a:pt x="3" y="117"/>
                  </a:cubicBezTo>
                  <a:cubicBezTo>
                    <a:pt x="3" y="117"/>
                    <a:pt x="3" y="117"/>
                    <a:pt x="3" y="117"/>
                  </a:cubicBezTo>
                  <a:cubicBezTo>
                    <a:pt x="3" y="117"/>
                    <a:pt x="3" y="117"/>
                    <a:pt x="3" y="117"/>
                  </a:cubicBezTo>
                  <a:cubicBezTo>
                    <a:pt x="4" y="117"/>
                    <a:pt x="4" y="116"/>
                    <a:pt x="4" y="116"/>
                  </a:cubicBezTo>
                  <a:cubicBezTo>
                    <a:pt x="4" y="116"/>
                    <a:pt x="4" y="116"/>
                    <a:pt x="4" y="116"/>
                  </a:cubicBezTo>
                  <a:cubicBezTo>
                    <a:pt x="4" y="116"/>
                    <a:pt x="4" y="116"/>
                    <a:pt x="4" y="116"/>
                  </a:cubicBezTo>
                  <a:cubicBezTo>
                    <a:pt x="4" y="116"/>
                    <a:pt x="4" y="116"/>
                    <a:pt x="4" y="116"/>
                  </a:cubicBezTo>
                  <a:cubicBezTo>
                    <a:pt x="4" y="116"/>
                    <a:pt x="4" y="116"/>
                    <a:pt x="4" y="116"/>
                  </a:cubicBezTo>
                  <a:cubicBezTo>
                    <a:pt x="11" y="112"/>
                    <a:pt x="11" y="112"/>
                    <a:pt x="11" y="112"/>
                  </a:cubicBezTo>
                  <a:cubicBezTo>
                    <a:pt x="12" y="111"/>
                    <a:pt x="14" y="112"/>
                    <a:pt x="15"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5"/>
            <p:cNvSpPr>
              <a:spLocks noEditPoints="1"/>
            </p:cNvSpPr>
            <p:nvPr/>
          </p:nvSpPr>
          <p:spPr bwMode="auto">
            <a:xfrm>
              <a:off x="4529138" y="3994150"/>
              <a:ext cx="196850" cy="204788"/>
            </a:xfrm>
            <a:custGeom>
              <a:avLst/>
              <a:gdLst>
                <a:gd name="T0" fmla="*/ 86 w 203"/>
                <a:gd name="T1" fmla="*/ 207 h 212"/>
                <a:gd name="T2" fmla="*/ 93 w 203"/>
                <a:gd name="T3" fmla="*/ 207 h 212"/>
                <a:gd name="T4" fmla="*/ 99 w 203"/>
                <a:gd name="T5" fmla="*/ 212 h 212"/>
                <a:gd name="T6" fmla="*/ 106 w 203"/>
                <a:gd name="T7" fmla="*/ 206 h 212"/>
                <a:gd name="T8" fmla="*/ 119 w 203"/>
                <a:gd name="T9" fmla="*/ 205 h 212"/>
                <a:gd name="T10" fmla="*/ 136 w 203"/>
                <a:gd name="T11" fmla="*/ 190 h 212"/>
                <a:gd name="T12" fmla="*/ 73 w 203"/>
                <a:gd name="T13" fmla="*/ 190 h 212"/>
                <a:gd name="T14" fmla="*/ 83 w 203"/>
                <a:gd name="T15" fmla="*/ 196 h 212"/>
                <a:gd name="T16" fmla="*/ 147 w 203"/>
                <a:gd name="T17" fmla="*/ 187 h 212"/>
                <a:gd name="T18" fmla="*/ 65 w 203"/>
                <a:gd name="T19" fmla="*/ 183 h 212"/>
                <a:gd name="T20" fmla="*/ 179 w 203"/>
                <a:gd name="T21" fmla="*/ 164 h 212"/>
                <a:gd name="T22" fmla="*/ 31 w 203"/>
                <a:gd name="T23" fmla="*/ 163 h 212"/>
                <a:gd name="T24" fmla="*/ 11 w 203"/>
                <a:gd name="T25" fmla="*/ 162 h 212"/>
                <a:gd name="T26" fmla="*/ 13 w 203"/>
                <a:gd name="T27" fmla="*/ 159 h 212"/>
                <a:gd name="T28" fmla="*/ 24 w 203"/>
                <a:gd name="T29" fmla="*/ 159 h 212"/>
                <a:gd name="T30" fmla="*/ 12 w 203"/>
                <a:gd name="T31" fmla="*/ 163 h 212"/>
                <a:gd name="T32" fmla="*/ 187 w 203"/>
                <a:gd name="T33" fmla="*/ 160 h 212"/>
                <a:gd name="T34" fmla="*/ 0 w 203"/>
                <a:gd name="T35" fmla="*/ 149 h 212"/>
                <a:gd name="T36" fmla="*/ 4 w 203"/>
                <a:gd name="T37" fmla="*/ 139 h 212"/>
                <a:gd name="T38" fmla="*/ 5 w 203"/>
                <a:gd name="T39" fmla="*/ 150 h 212"/>
                <a:gd name="T40" fmla="*/ 199 w 203"/>
                <a:gd name="T41" fmla="*/ 129 h 212"/>
                <a:gd name="T42" fmla="*/ 0 w 203"/>
                <a:gd name="T43" fmla="*/ 127 h 212"/>
                <a:gd name="T44" fmla="*/ 1 w 203"/>
                <a:gd name="T45" fmla="*/ 124 h 212"/>
                <a:gd name="T46" fmla="*/ 4 w 203"/>
                <a:gd name="T47" fmla="*/ 118 h 212"/>
                <a:gd name="T48" fmla="*/ 5 w 203"/>
                <a:gd name="T49" fmla="*/ 116 h 212"/>
                <a:gd name="T50" fmla="*/ 5 w 203"/>
                <a:gd name="T51" fmla="*/ 116 h 212"/>
                <a:gd name="T52" fmla="*/ 8 w 203"/>
                <a:gd name="T53" fmla="*/ 119 h 212"/>
                <a:gd name="T54" fmla="*/ 7 w 203"/>
                <a:gd name="T55" fmla="*/ 120 h 212"/>
                <a:gd name="T56" fmla="*/ 5 w 203"/>
                <a:gd name="T57" fmla="*/ 125 h 212"/>
                <a:gd name="T58" fmla="*/ 4 w 203"/>
                <a:gd name="T59" fmla="*/ 127 h 212"/>
                <a:gd name="T60" fmla="*/ 194 w 203"/>
                <a:gd name="T61" fmla="*/ 106 h 212"/>
                <a:gd name="T62" fmla="*/ 10 w 203"/>
                <a:gd name="T63" fmla="*/ 108 h 212"/>
                <a:gd name="T64" fmla="*/ 13 w 203"/>
                <a:gd name="T65" fmla="*/ 100 h 212"/>
                <a:gd name="T66" fmla="*/ 17 w 203"/>
                <a:gd name="T67" fmla="*/ 108 h 212"/>
                <a:gd name="T68" fmla="*/ 184 w 203"/>
                <a:gd name="T69" fmla="*/ 99 h 212"/>
                <a:gd name="T70" fmla="*/ 186 w 203"/>
                <a:gd name="T71" fmla="*/ 103 h 212"/>
                <a:gd name="T72" fmla="*/ 1 w 203"/>
                <a:gd name="T73" fmla="*/ 93 h 212"/>
                <a:gd name="T74" fmla="*/ 4 w 203"/>
                <a:gd name="T75" fmla="*/ 83 h 212"/>
                <a:gd name="T76" fmla="*/ 5 w 203"/>
                <a:gd name="T77" fmla="*/ 93 h 212"/>
                <a:gd name="T78" fmla="*/ 2 w 203"/>
                <a:gd name="T79" fmla="*/ 96 h 212"/>
                <a:gd name="T80" fmla="*/ 199 w 203"/>
                <a:gd name="T81" fmla="*/ 86 h 212"/>
                <a:gd name="T82" fmla="*/ 1 w 203"/>
                <a:gd name="T83" fmla="*/ 65 h 212"/>
                <a:gd name="T84" fmla="*/ 3 w 203"/>
                <a:gd name="T85" fmla="*/ 59 h 212"/>
                <a:gd name="T86" fmla="*/ 6 w 203"/>
                <a:gd name="T87" fmla="*/ 62 h 212"/>
                <a:gd name="T88" fmla="*/ 5 w 203"/>
                <a:gd name="T89" fmla="*/ 66 h 212"/>
                <a:gd name="T90" fmla="*/ 199 w 203"/>
                <a:gd name="T91" fmla="*/ 62 h 212"/>
                <a:gd name="T92" fmla="*/ 203 w 203"/>
                <a:gd name="T93" fmla="*/ 56 h 212"/>
                <a:gd name="T94" fmla="*/ 9 w 203"/>
                <a:gd name="T95" fmla="*/ 49 h 212"/>
                <a:gd name="T96" fmla="*/ 21 w 203"/>
                <a:gd name="T97" fmla="*/ 49 h 212"/>
                <a:gd name="T98" fmla="*/ 10 w 203"/>
                <a:gd name="T99" fmla="*/ 52 h 212"/>
                <a:gd name="T100" fmla="*/ 34 w 203"/>
                <a:gd name="T101" fmla="*/ 48 h 212"/>
                <a:gd name="T102" fmla="*/ 190 w 203"/>
                <a:gd name="T103" fmla="*/ 43 h 212"/>
                <a:gd name="T104" fmla="*/ 66 w 203"/>
                <a:gd name="T105" fmla="*/ 27 h 212"/>
                <a:gd name="T106" fmla="*/ 156 w 203"/>
                <a:gd name="T107" fmla="*/ 26 h 212"/>
                <a:gd name="T108" fmla="*/ 72 w 203"/>
                <a:gd name="T109" fmla="*/ 23 h 212"/>
                <a:gd name="T110" fmla="*/ 74 w 203"/>
                <a:gd name="T111" fmla="*/ 24 h 212"/>
                <a:gd name="T112" fmla="*/ 149 w 203"/>
                <a:gd name="T113" fmla="*/ 21 h 212"/>
                <a:gd name="T114" fmla="*/ 106 w 203"/>
                <a:gd name="T115" fmla="*/ 6 h 212"/>
                <a:gd name="T116" fmla="*/ 118 w 203"/>
                <a:gd name="T117" fmla="*/ 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212">
                  <a:moveTo>
                    <a:pt x="95" y="212"/>
                  </a:moveTo>
                  <a:cubicBezTo>
                    <a:pt x="95" y="212"/>
                    <a:pt x="94" y="212"/>
                    <a:pt x="94" y="211"/>
                  </a:cubicBezTo>
                  <a:cubicBezTo>
                    <a:pt x="94" y="211"/>
                    <a:pt x="94" y="211"/>
                    <a:pt x="94" y="211"/>
                  </a:cubicBezTo>
                  <a:cubicBezTo>
                    <a:pt x="93" y="211"/>
                    <a:pt x="92" y="211"/>
                    <a:pt x="91" y="210"/>
                  </a:cubicBezTo>
                  <a:cubicBezTo>
                    <a:pt x="91" y="210"/>
                    <a:pt x="91" y="210"/>
                    <a:pt x="91" y="210"/>
                  </a:cubicBezTo>
                  <a:cubicBezTo>
                    <a:pt x="91" y="210"/>
                    <a:pt x="91" y="210"/>
                    <a:pt x="90" y="210"/>
                  </a:cubicBezTo>
                  <a:cubicBezTo>
                    <a:pt x="90" y="210"/>
                    <a:pt x="90" y="210"/>
                    <a:pt x="90" y="210"/>
                  </a:cubicBezTo>
                  <a:cubicBezTo>
                    <a:pt x="89" y="209"/>
                    <a:pt x="88" y="208"/>
                    <a:pt x="87" y="208"/>
                  </a:cubicBezTo>
                  <a:cubicBezTo>
                    <a:pt x="87" y="208"/>
                    <a:pt x="87" y="208"/>
                    <a:pt x="87" y="208"/>
                  </a:cubicBezTo>
                  <a:cubicBezTo>
                    <a:pt x="87" y="207"/>
                    <a:pt x="87" y="207"/>
                    <a:pt x="86" y="207"/>
                  </a:cubicBezTo>
                  <a:cubicBezTo>
                    <a:pt x="86" y="207"/>
                    <a:pt x="86" y="207"/>
                    <a:pt x="86" y="207"/>
                  </a:cubicBezTo>
                  <a:cubicBezTo>
                    <a:pt x="86" y="206"/>
                    <a:pt x="86" y="204"/>
                    <a:pt x="87" y="204"/>
                  </a:cubicBezTo>
                  <a:cubicBezTo>
                    <a:pt x="87" y="204"/>
                    <a:pt x="87" y="204"/>
                    <a:pt x="87" y="204"/>
                  </a:cubicBezTo>
                  <a:cubicBezTo>
                    <a:pt x="88" y="203"/>
                    <a:pt x="89" y="203"/>
                    <a:pt x="90" y="204"/>
                  </a:cubicBezTo>
                  <a:cubicBezTo>
                    <a:pt x="90" y="204"/>
                    <a:pt x="90" y="204"/>
                    <a:pt x="90" y="204"/>
                  </a:cubicBezTo>
                  <a:cubicBezTo>
                    <a:pt x="90" y="204"/>
                    <a:pt x="90" y="205"/>
                    <a:pt x="90" y="205"/>
                  </a:cubicBezTo>
                  <a:cubicBezTo>
                    <a:pt x="90" y="205"/>
                    <a:pt x="90" y="205"/>
                    <a:pt x="90" y="205"/>
                  </a:cubicBezTo>
                  <a:cubicBezTo>
                    <a:pt x="91" y="205"/>
                    <a:pt x="92" y="206"/>
                    <a:pt x="92" y="206"/>
                  </a:cubicBezTo>
                  <a:cubicBezTo>
                    <a:pt x="92" y="206"/>
                    <a:pt x="92" y="206"/>
                    <a:pt x="92" y="206"/>
                  </a:cubicBezTo>
                  <a:cubicBezTo>
                    <a:pt x="92" y="206"/>
                    <a:pt x="93" y="207"/>
                    <a:pt x="93" y="207"/>
                  </a:cubicBezTo>
                  <a:cubicBezTo>
                    <a:pt x="93" y="207"/>
                    <a:pt x="93" y="207"/>
                    <a:pt x="93" y="207"/>
                  </a:cubicBezTo>
                  <a:cubicBezTo>
                    <a:pt x="94" y="207"/>
                    <a:pt x="94" y="207"/>
                    <a:pt x="95" y="208"/>
                  </a:cubicBezTo>
                  <a:cubicBezTo>
                    <a:pt x="95" y="208"/>
                    <a:pt x="95" y="208"/>
                    <a:pt x="95" y="208"/>
                  </a:cubicBezTo>
                  <a:cubicBezTo>
                    <a:pt x="95" y="208"/>
                    <a:pt x="96" y="208"/>
                    <a:pt x="96" y="208"/>
                  </a:cubicBezTo>
                  <a:cubicBezTo>
                    <a:pt x="96" y="208"/>
                    <a:pt x="96" y="208"/>
                    <a:pt x="96" y="208"/>
                  </a:cubicBezTo>
                  <a:cubicBezTo>
                    <a:pt x="97" y="208"/>
                    <a:pt x="98" y="208"/>
                    <a:pt x="99" y="208"/>
                  </a:cubicBezTo>
                  <a:cubicBezTo>
                    <a:pt x="99" y="208"/>
                    <a:pt x="99" y="208"/>
                    <a:pt x="99" y="208"/>
                  </a:cubicBezTo>
                  <a:cubicBezTo>
                    <a:pt x="100" y="208"/>
                    <a:pt x="101" y="209"/>
                    <a:pt x="101" y="210"/>
                  </a:cubicBezTo>
                  <a:cubicBezTo>
                    <a:pt x="101" y="210"/>
                    <a:pt x="101" y="210"/>
                    <a:pt x="101" y="210"/>
                  </a:cubicBezTo>
                  <a:cubicBezTo>
                    <a:pt x="101" y="211"/>
                    <a:pt x="100" y="212"/>
                    <a:pt x="99" y="212"/>
                  </a:cubicBezTo>
                  <a:cubicBezTo>
                    <a:pt x="99" y="212"/>
                    <a:pt x="99" y="212"/>
                    <a:pt x="99" y="212"/>
                  </a:cubicBezTo>
                  <a:cubicBezTo>
                    <a:pt x="97" y="212"/>
                    <a:pt x="96" y="212"/>
                    <a:pt x="95" y="212"/>
                  </a:cubicBezTo>
                  <a:close/>
                  <a:moveTo>
                    <a:pt x="110" y="210"/>
                  </a:moveTo>
                  <a:cubicBezTo>
                    <a:pt x="109" y="210"/>
                    <a:pt x="108" y="210"/>
                    <a:pt x="107" y="210"/>
                  </a:cubicBezTo>
                  <a:cubicBezTo>
                    <a:pt x="107" y="210"/>
                    <a:pt x="107" y="210"/>
                    <a:pt x="107" y="210"/>
                  </a:cubicBezTo>
                  <a:cubicBezTo>
                    <a:pt x="106" y="210"/>
                    <a:pt x="105" y="209"/>
                    <a:pt x="105" y="209"/>
                  </a:cubicBezTo>
                  <a:cubicBezTo>
                    <a:pt x="105" y="209"/>
                    <a:pt x="105" y="209"/>
                    <a:pt x="105" y="209"/>
                  </a:cubicBezTo>
                  <a:cubicBezTo>
                    <a:pt x="104" y="208"/>
                    <a:pt x="105" y="207"/>
                    <a:pt x="106" y="206"/>
                  </a:cubicBezTo>
                  <a:cubicBezTo>
                    <a:pt x="106" y="206"/>
                    <a:pt x="106" y="206"/>
                    <a:pt x="106" y="206"/>
                  </a:cubicBezTo>
                  <a:cubicBezTo>
                    <a:pt x="106" y="206"/>
                    <a:pt x="106" y="206"/>
                    <a:pt x="106" y="206"/>
                  </a:cubicBezTo>
                  <a:cubicBezTo>
                    <a:pt x="106" y="206"/>
                    <a:pt x="107" y="206"/>
                    <a:pt x="108" y="206"/>
                  </a:cubicBezTo>
                  <a:cubicBezTo>
                    <a:pt x="108" y="206"/>
                    <a:pt x="108" y="206"/>
                    <a:pt x="108" y="206"/>
                  </a:cubicBezTo>
                  <a:cubicBezTo>
                    <a:pt x="108" y="206"/>
                    <a:pt x="109" y="206"/>
                    <a:pt x="110" y="206"/>
                  </a:cubicBezTo>
                  <a:cubicBezTo>
                    <a:pt x="110" y="206"/>
                    <a:pt x="110" y="206"/>
                    <a:pt x="110" y="206"/>
                  </a:cubicBezTo>
                  <a:cubicBezTo>
                    <a:pt x="111" y="206"/>
                    <a:pt x="111" y="206"/>
                    <a:pt x="111" y="206"/>
                  </a:cubicBezTo>
                  <a:cubicBezTo>
                    <a:pt x="113" y="206"/>
                    <a:pt x="114" y="206"/>
                    <a:pt x="115" y="205"/>
                  </a:cubicBezTo>
                  <a:cubicBezTo>
                    <a:pt x="115" y="205"/>
                    <a:pt x="115" y="205"/>
                    <a:pt x="115" y="205"/>
                  </a:cubicBezTo>
                  <a:cubicBezTo>
                    <a:pt x="117" y="204"/>
                    <a:pt x="117" y="204"/>
                    <a:pt x="117" y="204"/>
                  </a:cubicBezTo>
                  <a:cubicBezTo>
                    <a:pt x="117" y="204"/>
                    <a:pt x="119" y="204"/>
                    <a:pt x="119" y="205"/>
                  </a:cubicBezTo>
                  <a:cubicBezTo>
                    <a:pt x="119" y="205"/>
                    <a:pt x="119" y="205"/>
                    <a:pt x="119" y="205"/>
                  </a:cubicBezTo>
                  <a:cubicBezTo>
                    <a:pt x="120" y="206"/>
                    <a:pt x="120" y="207"/>
                    <a:pt x="119" y="207"/>
                  </a:cubicBezTo>
                  <a:cubicBezTo>
                    <a:pt x="119" y="207"/>
                    <a:pt x="119" y="207"/>
                    <a:pt x="119" y="207"/>
                  </a:cubicBezTo>
                  <a:cubicBezTo>
                    <a:pt x="117" y="209"/>
                    <a:pt x="117" y="209"/>
                    <a:pt x="117" y="209"/>
                  </a:cubicBezTo>
                  <a:cubicBezTo>
                    <a:pt x="115" y="210"/>
                    <a:pt x="113" y="210"/>
                    <a:pt x="111" y="210"/>
                  </a:cubicBezTo>
                  <a:cubicBezTo>
                    <a:pt x="111" y="210"/>
                    <a:pt x="111" y="210"/>
                    <a:pt x="111" y="210"/>
                  </a:cubicBezTo>
                  <a:cubicBezTo>
                    <a:pt x="110" y="210"/>
                    <a:pt x="110" y="210"/>
                    <a:pt x="110" y="210"/>
                  </a:cubicBezTo>
                  <a:close/>
                  <a:moveTo>
                    <a:pt x="126" y="200"/>
                  </a:moveTo>
                  <a:cubicBezTo>
                    <a:pt x="125" y="199"/>
                    <a:pt x="126" y="198"/>
                    <a:pt x="126" y="197"/>
                  </a:cubicBezTo>
                  <a:cubicBezTo>
                    <a:pt x="126" y="197"/>
                    <a:pt x="126" y="197"/>
                    <a:pt x="126" y="197"/>
                  </a:cubicBezTo>
                  <a:cubicBezTo>
                    <a:pt x="136" y="190"/>
                    <a:pt x="136" y="190"/>
                    <a:pt x="136" y="190"/>
                  </a:cubicBezTo>
                  <a:cubicBezTo>
                    <a:pt x="137" y="190"/>
                    <a:pt x="138" y="190"/>
                    <a:pt x="139" y="191"/>
                  </a:cubicBezTo>
                  <a:cubicBezTo>
                    <a:pt x="139" y="191"/>
                    <a:pt x="139" y="191"/>
                    <a:pt x="139" y="191"/>
                  </a:cubicBezTo>
                  <a:cubicBezTo>
                    <a:pt x="140" y="192"/>
                    <a:pt x="139" y="193"/>
                    <a:pt x="139" y="194"/>
                  </a:cubicBezTo>
                  <a:cubicBezTo>
                    <a:pt x="139" y="194"/>
                    <a:pt x="139" y="194"/>
                    <a:pt x="139" y="194"/>
                  </a:cubicBezTo>
                  <a:cubicBezTo>
                    <a:pt x="129" y="201"/>
                    <a:pt x="129" y="201"/>
                    <a:pt x="129" y="201"/>
                  </a:cubicBezTo>
                  <a:cubicBezTo>
                    <a:pt x="128" y="201"/>
                    <a:pt x="128" y="201"/>
                    <a:pt x="128" y="201"/>
                  </a:cubicBezTo>
                  <a:cubicBezTo>
                    <a:pt x="128" y="201"/>
                    <a:pt x="128" y="201"/>
                    <a:pt x="128" y="201"/>
                  </a:cubicBezTo>
                  <a:cubicBezTo>
                    <a:pt x="127" y="201"/>
                    <a:pt x="126" y="201"/>
                    <a:pt x="126" y="200"/>
                  </a:cubicBezTo>
                  <a:close/>
                  <a:moveTo>
                    <a:pt x="83" y="196"/>
                  </a:moveTo>
                  <a:cubicBezTo>
                    <a:pt x="73" y="190"/>
                    <a:pt x="73" y="190"/>
                    <a:pt x="73" y="190"/>
                  </a:cubicBezTo>
                  <a:cubicBezTo>
                    <a:pt x="72" y="189"/>
                    <a:pt x="72" y="188"/>
                    <a:pt x="72" y="187"/>
                  </a:cubicBezTo>
                  <a:cubicBezTo>
                    <a:pt x="72" y="187"/>
                    <a:pt x="72" y="187"/>
                    <a:pt x="72" y="187"/>
                  </a:cubicBezTo>
                  <a:cubicBezTo>
                    <a:pt x="73" y="186"/>
                    <a:pt x="74" y="186"/>
                    <a:pt x="75" y="187"/>
                  </a:cubicBezTo>
                  <a:cubicBezTo>
                    <a:pt x="75" y="187"/>
                    <a:pt x="75" y="187"/>
                    <a:pt x="75" y="187"/>
                  </a:cubicBezTo>
                  <a:cubicBezTo>
                    <a:pt x="85" y="193"/>
                    <a:pt x="85" y="193"/>
                    <a:pt x="85" y="193"/>
                  </a:cubicBezTo>
                  <a:cubicBezTo>
                    <a:pt x="86" y="193"/>
                    <a:pt x="86" y="194"/>
                    <a:pt x="86" y="195"/>
                  </a:cubicBezTo>
                  <a:cubicBezTo>
                    <a:pt x="86" y="195"/>
                    <a:pt x="86" y="195"/>
                    <a:pt x="86" y="195"/>
                  </a:cubicBezTo>
                  <a:cubicBezTo>
                    <a:pt x="86" y="196"/>
                    <a:pt x="85" y="196"/>
                    <a:pt x="84" y="196"/>
                  </a:cubicBezTo>
                  <a:cubicBezTo>
                    <a:pt x="84" y="196"/>
                    <a:pt x="84" y="196"/>
                    <a:pt x="84" y="196"/>
                  </a:cubicBezTo>
                  <a:cubicBezTo>
                    <a:pt x="84" y="196"/>
                    <a:pt x="83" y="196"/>
                    <a:pt x="83" y="196"/>
                  </a:cubicBezTo>
                  <a:close/>
                  <a:moveTo>
                    <a:pt x="146" y="186"/>
                  </a:moveTo>
                  <a:cubicBezTo>
                    <a:pt x="145" y="185"/>
                    <a:pt x="145" y="184"/>
                    <a:pt x="146" y="184"/>
                  </a:cubicBezTo>
                  <a:cubicBezTo>
                    <a:pt x="146" y="184"/>
                    <a:pt x="146" y="184"/>
                    <a:pt x="146" y="184"/>
                  </a:cubicBezTo>
                  <a:cubicBezTo>
                    <a:pt x="156" y="177"/>
                    <a:pt x="156" y="177"/>
                    <a:pt x="156" y="177"/>
                  </a:cubicBezTo>
                  <a:cubicBezTo>
                    <a:pt x="157" y="176"/>
                    <a:pt x="158" y="176"/>
                    <a:pt x="159" y="177"/>
                  </a:cubicBezTo>
                  <a:cubicBezTo>
                    <a:pt x="159" y="177"/>
                    <a:pt x="159" y="177"/>
                    <a:pt x="159" y="177"/>
                  </a:cubicBezTo>
                  <a:cubicBezTo>
                    <a:pt x="159" y="178"/>
                    <a:pt x="159" y="179"/>
                    <a:pt x="158" y="180"/>
                  </a:cubicBezTo>
                  <a:cubicBezTo>
                    <a:pt x="158" y="180"/>
                    <a:pt x="158" y="180"/>
                    <a:pt x="158" y="180"/>
                  </a:cubicBezTo>
                  <a:cubicBezTo>
                    <a:pt x="148" y="187"/>
                    <a:pt x="148" y="187"/>
                    <a:pt x="148" y="187"/>
                  </a:cubicBezTo>
                  <a:cubicBezTo>
                    <a:pt x="148" y="187"/>
                    <a:pt x="148" y="187"/>
                    <a:pt x="147" y="187"/>
                  </a:cubicBezTo>
                  <a:cubicBezTo>
                    <a:pt x="147" y="187"/>
                    <a:pt x="147" y="187"/>
                    <a:pt x="147" y="187"/>
                  </a:cubicBezTo>
                  <a:cubicBezTo>
                    <a:pt x="147" y="187"/>
                    <a:pt x="146" y="187"/>
                    <a:pt x="146" y="186"/>
                  </a:cubicBezTo>
                  <a:close/>
                  <a:moveTo>
                    <a:pt x="62" y="184"/>
                  </a:moveTo>
                  <a:cubicBezTo>
                    <a:pt x="52" y="178"/>
                    <a:pt x="52" y="178"/>
                    <a:pt x="52" y="178"/>
                  </a:cubicBezTo>
                  <a:cubicBezTo>
                    <a:pt x="51" y="177"/>
                    <a:pt x="51" y="176"/>
                    <a:pt x="51" y="175"/>
                  </a:cubicBezTo>
                  <a:cubicBezTo>
                    <a:pt x="51" y="175"/>
                    <a:pt x="51" y="175"/>
                    <a:pt x="51" y="175"/>
                  </a:cubicBezTo>
                  <a:cubicBezTo>
                    <a:pt x="52" y="174"/>
                    <a:pt x="53" y="174"/>
                    <a:pt x="54" y="174"/>
                  </a:cubicBezTo>
                  <a:cubicBezTo>
                    <a:pt x="54" y="174"/>
                    <a:pt x="54" y="174"/>
                    <a:pt x="54" y="174"/>
                  </a:cubicBezTo>
                  <a:cubicBezTo>
                    <a:pt x="65" y="180"/>
                    <a:pt x="65" y="180"/>
                    <a:pt x="65" y="180"/>
                  </a:cubicBezTo>
                  <a:cubicBezTo>
                    <a:pt x="65" y="181"/>
                    <a:pt x="66" y="182"/>
                    <a:pt x="65" y="183"/>
                  </a:cubicBezTo>
                  <a:cubicBezTo>
                    <a:pt x="65" y="183"/>
                    <a:pt x="65" y="183"/>
                    <a:pt x="65" y="183"/>
                  </a:cubicBezTo>
                  <a:cubicBezTo>
                    <a:pt x="65" y="184"/>
                    <a:pt x="64" y="184"/>
                    <a:pt x="63" y="184"/>
                  </a:cubicBezTo>
                  <a:cubicBezTo>
                    <a:pt x="63" y="184"/>
                    <a:pt x="63" y="184"/>
                    <a:pt x="63" y="184"/>
                  </a:cubicBezTo>
                  <a:cubicBezTo>
                    <a:pt x="63" y="184"/>
                    <a:pt x="63" y="184"/>
                    <a:pt x="62" y="184"/>
                  </a:cubicBezTo>
                  <a:close/>
                  <a:moveTo>
                    <a:pt x="165" y="173"/>
                  </a:moveTo>
                  <a:cubicBezTo>
                    <a:pt x="165" y="172"/>
                    <a:pt x="165" y="171"/>
                    <a:pt x="166" y="170"/>
                  </a:cubicBezTo>
                  <a:cubicBezTo>
                    <a:pt x="166" y="170"/>
                    <a:pt x="166" y="170"/>
                    <a:pt x="166" y="170"/>
                  </a:cubicBezTo>
                  <a:cubicBezTo>
                    <a:pt x="176" y="163"/>
                    <a:pt x="176" y="163"/>
                    <a:pt x="176" y="163"/>
                  </a:cubicBezTo>
                  <a:cubicBezTo>
                    <a:pt x="177" y="162"/>
                    <a:pt x="178" y="163"/>
                    <a:pt x="179" y="164"/>
                  </a:cubicBezTo>
                  <a:cubicBezTo>
                    <a:pt x="179" y="164"/>
                    <a:pt x="179" y="164"/>
                    <a:pt x="179" y="164"/>
                  </a:cubicBezTo>
                  <a:cubicBezTo>
                    <a:pt x="179" y="164"/>
                    <a:pt x="179" y="166"/>
                    <a:pt x="178" y="166"/>
                  </a:cubicBezTo>
                  <a:cubicBezTo>
                    <a:pt x="178" y="166"/>
                    <a:pt x="178" y="166"/>
                    <a:pt x="178" y="166"/>
                  </a:cubicBezTo>
                  <a:cubicBezTo>
                    <a:pt x="168" y="173"/>
                    <a:pt x="168" y="173"/>
                    <a:pt x="168" y="173"/>
                  </a:cubicBezTo>
                  <a:cubicBezTo>
                    <a:pt x="168" y="173"/>
                    <a:pt x="167" y="174"/>
                    <a:pt x="167" y="174"/>
                  </a:cubicBezTo>
                  <a:cubicBezTo>
                    <a:pt x="167" y="174"/>
                    <a:pt x="167" y="174"/>
                    <a:pt x="167" y="174"/>
                  </a:cubicBezTo>
                  <a:cubicBezTo>
                    <a:pt x="166" y="174"/>
                    <a:pt x="166" y="173"/>
                    <a:pt x="165" y="173"/>
                  </a:cubicBezTo>
                  <a:close/>
                  <a:moveTo>
                    <a:pt x="42" y="172"/>
                  </a:moveTo>
                  <a:cubicBezTo>
                    <a:pt x="31" y="166"/>
                    <a:pt x="31" y="166"/>
                    <a:pt x="31" y="166"/>
                  </a:cubicBezTo>
                  <a:cubicBezTo>
                    <a:pt x="30" y="165"/>
                    <a:pt x="30" y="164"/>
                    <a:pt x="31" y="163"/>
                  </a:cubicBezTo>
                  <a:cubicBezTo>
                    <a:pt x="31" y="163"/>
                    <a:pt x="31" y="163"/>
                    <a:pt x="31" y="163"/>
                  </a:cubicBezTo>
                  <a:cubicBezTo>
                    <a:pt x="31" y="162"/>
                    <a:pt x="33" y="162"/>
                    <a:pt x="33" y="162"/>
                  </a:cubicBezTo>
                  <a:cubicBezTo>
                    <a:pt x="33" y="162"/>
                    <a:pt x="33" y="162"/>
                    <a:pt x="33" y="162"/>
                  </a:cubicBezTo>
                  <a:cubicBezTo>
                    <a:pt x="44" y="168"/>
                    <a:pt x="44" y="168"/>
                    <a:pt x="44" y="168"/>
                  </a:cubicBezTo>
                  <a:cubicBezTo>
                    <a:pt x="45" y="169"/>
                    <a:pt x="45" y="170"/>
                    <a:pt x="45" y="171"/>
                  </a:cubicBezTo>
                  <a:cubicBezTo>
                    <a:pt x="45" y="171"/>
                    <a:pt x="45" y="171"/>
                    <a:pt x="45" y="171"/>
                  </a:cubicBezTo>
                  <a:cubicBezTo>
                    <a:pt x="44" y="172"/>
                    <a:pt x="43" y="172"/>
                    <a:pt x="43" y="172"/>
                  </a:cubicBezTo>
                  <a:cubicBezTo>
                    <a:pt x="43" y="172"/>
                    <a:pt x="43" y="172"/>
                    <a:pt x="43" y="172"/>
                  </a:cubicBezTo>
                  <a:cubicBezTo>
                    <a:pt x="42" y="172"/>
                    <a:pt x="42" y="172"/>
                    <a:pt x="42" y="172"/>
                  </a:cubicBezTo>
                  <a:close/>
                  <a:moveTo>
                    <a:pt x="12" y="163"/>
                  </a:moveTo>
                  <a:cubicBezTo>
                    <a:pt x="12" y="163"/>
                    <a:pt x="11" y="162"/>
                    <a:pt x="11" y="162"/>
                  </a:cubicBezTo>
                  <a:cubicBezTo>
                    <a:pt x="11" y="162"/>
                    <a:pt x="11" y="162"/>
                    <a:pt x="11" y="162"/>
                  </a:cubicBezTo>
                  <a:cubicBezTo>
                    <a:pt x="10" y="162"/>
                    <a:pt x="10" y="162"/>
                    <a:pt x="10" y="162"/>
                  </a:cubicBezTo>
                  <a:cubicBezTo>
                    <a:pt x="10" y="162"/>
                    <a:pt x="10" y="162"/>
                    <a:pt x="10" y="162"/>
                  </a:cubicBezTo>
                  <a:cubicBezTo>
                    <a:pt x="9" y="161"/>
                    <a:pt x="8" y="160"/>
                    <a:pt x="9" y="159"/>
                  </a:cubicBezTo>
                  <a:cubicBezTo>
                    <a:pt x="9" y="159"/>
                    <a:pt x="9" y="159"/>
                    <a:pt x="9" y="159"/>
                  </a:cubicBezTo>
                  <a:cubicBezTo>
                    <a:pt x="9" y="158"/>
                    <a:pt x="10" y="158"/>
                    <a:pt x="11" y="158"/>
                  </a:cubicBezTo>
                  <a:cubicBezTo>
                    <a:pt x="11" y="158"/>
                    <a:pt x="11" y="158"/>
                    <a:pt x="11" y="158"/>
                  </a:cubicBezTo>
                  <a:cubicBezTo>
                    <a:pt x="12" y="158"/>
                    <a:pt x="12" y="158"/>
                    <a:pt x="12" y="158"/>
                  </a:cubicBezTo>
                  <a:cubicBezTo>
                    <a:pt x="12" y="158"/>
                    <a:pt x="12" y="158"/>
                    <a:pt x="12" y="158"/>
                  </a:cubicBezTo>
                  <a:cubicBezTo>
                    <a:pt x="12" y="159"/>
                    <a:pt x="13" y="159"/>
                    <a:pt x="13" y="159"/>
                  </a:cubicBezTo>
                  <a:cubicBezTo>
                    <a:pt x="13" y="159"/>
                    <a:pt x="13" y="159"/>
                    <a:pt x="13" y="159"/>
                  </a:cubicBezTo>
                  <a:cubicBezTo>
                    <a:pt x="14" y="159"/>
                    <a:pt x="15" y="159"/>
                    <a:pt x="16" y="159"/>
                  </a:cubicBezTo>
                  <a:cubicBezTo>
                    <a:pt x="16" y="159"/>
                    <a:pt x="16" y="159"/>
                    <a:pt x="16" y="159"/>
                  </a:cubicBezTo>
                  <a:cubicBezTo>
                    <a:pt x="17" y="159"/>
                    <a:pt x="18" y="159"/>
                    <a:pt x="19" y="159"/>
                  </a:cubicBezTo>
                  <a:cubicBezTo>
                    <a:pt x="19" y="159"/>
                    <a:pt x="19" y="159"/>
                    <a:pt x="19" y="159"/>
                  </a:cubicBezTo>
                  <a:cubicBezTo>
                    <a:pt x="19" y="159"/>
                    <a:pt x="19" y="159"/>
                    <a:pt x="19" y="159"/>
                  </a:cubicBezTo>
                  <a:cubicBezTo>
                    <a:pt x="19" y="159"/>
                    <a:pt x="19" y="159"/>
                    <a:pt x="19" y="159"/>
                  </a:cubicBezTo>
                  <a:cubicBezTo>
                    <a:pt x="20" y="158"/>
                    <a:pt x="21" y="158"/>
                    <a:pt x="21" y="158"/>
                  </a:cubicBezTo>
                  <a:cubicBezTo>
                    <a:pt x="21" y="158"/>
                    <a:pt x="21" y="158"/>
                    <a:pt x="21" y="158"/>
                  </a:cubicBezTo>
                  <a:cubicBezTo>
                    <a:pt x="22" y="157"/>
                    <a:pt x="23" y="158"/>
                    <a:pt x="24" y="159"/>
                  </a:cubicBezTo>
                  <a:cubicBezTo>
                    <a:pt x="24" y="159"/>
                    <a:pt x="24" y="159"/>
                    <a:pt x="24" y="159"/>
                  </a:cubicBezTo>
                  <a:cubicBezTo>
                    <a:pt x="24" y="160"/>
                    <a:pt x="24" y="161"/>
                    <a:pt x="23" y="161"/>
                  </a:cubicBezTo>
                  <a:cubicBezTo>
                    <a:pt x="23" y="161"/>
                    <a:pt x="23" y="161"/>
                    <a:pt x="23" y="161"/>
                  </a:cubicBezTo>
                  <a:cubicBezTo>
                    <a:pt x="22" y="162"/>
                    <a:pt x="21" y="162"/>
                    <a:pt x="20" y="162"/>
                  </a:cubicBezTo>
                  <a:cubicBezTo>
                    <a:pt x="20" y="162"/>
                    <a:pt x="20" y="162"/>
                    <a:pt x="20" y="162"/>
                  </a:cubicBezTo>
                  <a:cubicBezTo>
                    <a:pt x="20" y="163"/>
                    <a:pt x="20" y="163"/>
                    <a:pt x="20" y="163"/>
                  </a:cubicBezTo>
                  <a:cubicBezTo>
                    <a:pt x="20" y="163"/>
                    <a:pt x="20" y="163"/>
                    <a:pt x="20" y="163"/>
                  </a:cubicBezTo>
                  <a:cubicBezTo>
                    <a:pt x="18" y="163"/>
                    <a:pt x="17" y="163"/>
                    <a:pt x="16" y="163"/>
                  </a:cubicBezTo>
                  <a:cubicBezTo>
                    <a:pt x="16" y="163"/>
                    <a:pt x="16" y="163"/>
                    <a:pt x="16" y="163"/>
                  </a:cubicBezTo>
                  <a:cubicBezTo>
                    <a:pt x="15" y="163"/>
                    <a:pt x="13" y="163"/>
                    <a:pt x="12" y="163"/>
                  </a:cubicBezTo>
                  <a:close/>
                  <a:moveTo>
                    <a:pt x="185" y="159"/>
                  </a:moveTo>
                  <a:cubicBezTo>
                    <a:pt x="184" y="158"/>
                    <a:pt x="185" y="157"/>
                    <a:pt x="186" y="156"/>
                  </a:cubicBezTo>
                  <a:cubicBezTo>
                    <a:pt x="186" y="156"/>
                    <a:pt x="186" y="156"/>
                    <a:pt x="186" y="156"/>
                  </a:cubicBezTo>
                  <a:cubicBezTo>
                    <a:pt x="195" y="149"/>
                    <a:pt x="195" y="149"/>
                    <a:pt x="195" y="149"/>
                  </a:cubicBezTo>
                  <a:cubicBezTo>
                    <a:pt x="196" y="149"/>
                    <a:pt x="198" y="149"/>
                    <a:pt x="198" y="150"/>
                  </a:cubicBezTo>
                  <a:cubicBezTo>
                    <a:pt x="198" y="150"/>
                    <a:pt x="198" y="150"/>
                    <a:pt x="198" y="150"/>
                  </a:cubicBezTo>
                  <a:cubicBezTo>
                    <a:pt x="199" y="151"/>
                    <a:pt x="199" y="152"/>
                    <a:pt x="198" y="153"/>
                  </a:cubicBezTo>
                  <a:cubicBezTo>
                    <a:pt x="198" y="153"/>
                    <a:pt x="198" y="153"/>
                    <a:pt x="198" y="153"/>
                  </a:cubicBezTo>
                  <a:cubicBezTo>
                    <a:pt x="188" y="160"/>
                    <a:pt x="188" y="160"/>
                    <a:pt x="188" y="160"/>
                  </a:cubicBezTo>
                  <a:cubicBezTo>
                    <a:pt x="188" y="160"/>
                    <a:pt x="187" y="160"/>
                    <a:pt x="187" y="160"/>
                  </a:cubicBezTo>
                  <a:cubicBezTo>
                    <a:pt x="187" y="160"/>
                    <a:pt x="187" y="160"/>
                    <a:pt x="187" y="160"/>
                  </a:cubicBezTo>
                  <a:cubicBezTo>
                    <a:pt x="186" y="160"/>
                    <a:pt x="185" y="160"/>
                    <a:pt x="185" y="159"/>
                  </a:cubicBezTo>
                  <a:close/>
                  <a:moveTo>
                    <a:pt x="1" y="152"/>
                  </a:moveTo>
                  <a:cubicBezTo>
                    <a:pt x="1" y="152"/>
                    <a:pt x="1" y="152"/>
                    <a:pt x="1" y="151"/>
                  </a:cubicBezTo>
                  <a:cubicBezTo>
                    <a:pt x="1" y="151"/>
                    <a:pt x="1" y="151"/>
                    <a:pt x="1" y="151"/>
                  </a:cubicBezTo>
                  <a:cubicBezTo>
                    <a:pt x="1" y="151"/>
                    <a:pt x="0" y="150"/>
                    <a:pt x="0" y="149"/>
                  </a:cubicBezTo>
                  <a:cubicBezTo>
                    <a:pt x="0" y="149"/>
                    <a:pt x="0" y="149"/>
                    <a:pt x="0" y="149"/>
                  </a:cubicBezTo>
                  <a:cubicBezTo>
                    <a:pt x="0" y="149"/>
                    <a:pt x="0" y="149"/>
                    <a:pt x="0" y="149"/>
                  </a:cubicBezTo>
                  <a:cubicBezTo>
                    <a:pt x="0" y="149"/>
                    <a:pt x="0" y="149"/>
                    <a:pt x="0" y="149"/>
                  </a:cubicBezTo>
                  <a:cubicBezTo>
                    <a:pt x="0" y="149"/>
                    <a:pt x="0" y="149"/>
                    <a:pt x="0" y="149"/>
                  </a:cubicBezTo>
                  <a:cubicBezTo>
                    <a:pt x="0" y="149"/>
                    <a:pt x="0" y="149"/>
                    <a:pt x="0" y="149"/>
                  </a:cubicBezTo>
                  <a:cubicBezTo>
                    <a:pt x="0" y="149"/>
                    <a:pt x="0" y="148"/>
                    <a:pt x="0" y="148"/>
                  </a:cubicBezTo>
                  <a:cubicBezTo>
                    <a:pt x="0" y="148"/>
                    <a:pt x="0" y="148"/>
                    <a:pt x="0" y="148"/>
                  </a:cubicBezTo>
                  <a:cubicBezTo>
                    <a:pt x="0" y="148"/>
                    <a:pt x="0" y="148"/>
                    <a:pt x="0" y="147"/>
                  </a:cubicBezTo>
                  <a:cubicBezTo>
                    <a:pt x="0" y="147"/>
                    <a:pt x="0" y="147"/>
                    <a:pt x="0" y="147"/>
                  </a:cubicBezTo>
                  <a:cubicBezTo>
                    <a:pt x="0" y="139"/>
                    <a:pt x="0" y="139"/>
                    <a:pt x="0" y="139"/>
                  </a:cubicBezTo>
                  <a:cubicBezTo>
                    <a:pt x="0" y="138"/>
                    <a:pt x="1" y="137"/>
                    <a:pt x="2" y="137"/>
                  </a:cubicBezTo>
                  <a:cubicBezTo>
                    <a:pt x="2" y="137"/>
                    <a:pt x="2" y="137"/>
                    <a:pt x="2" y="137"/>
                  </a:cubicBezTo>
                  <a:cubicBezTo>
                    <a:pt x="3" y="137"/>
                    <a:pt x="4" y="138"/>
                    <a:pt x="4" y="139"/>
                  </a:cubicBezTo>
                  <a:cubicBezTo>
                    <a:pt x="4" y="139"/>
                    <a:pt x="4" y="139"/>
                    <a:pt x="4" y="139"/>
                  </a:cubicBezTo>
                  <a:cubicBezTo>
                    <a:pt x="4" y="147"/>
                    <a:pt x="4" y="147"/>
                    <a:pt x="4" y="147"/>
                  </a:cubicBezTo>
                  <a:cubicBezTo>
                    <a:pt x="4" y="147"/>
                    <a:pt x="4" y="148"/>
                    <a:pt x="4" y="148"/>
                  </a:cubicBezTo>
                  <a:cubicBezTo>
                    <a:pt x="4" y="148"/>
                    <a:pt x="4" y="148"/>
                    <a:pt x="4" y="148"/>
                  </a:cubicBezTo>
                  <a:cubicBezTo>
                    <a:pt x="4" y="148"/>
                    <a:pt x="4" y="148"/>
                    <a:pt x="4" y="148"/>
                  </a:cubicBezTo>
                  <a:cubicBezTo>
                    <a:pt x="4" y="148"/>
                    <a:pt x="4" y="148"/>
                    <a:pt x="4" y="148"/>
                  </a:cubicBezTo>
                  <a:cubicBezTo>
                    <a:pt x="4" y="149"/>
                    <a:pt x="4" y="149"/>
                    <a:pt x="4" y="149"/>
                  </a:cubicBezTo>
                  <a:cubicBezTo>
                    <a:pt x="4" y="149"/>
                    <a:pt x="4" y="149"/>
                    <a:pt x="4" y="149"/>
                  </a:cubicBezTo>
                  <a:cubicBezTo>
                    <a:pt x="4" y="149"/>
                    <a:pt x="4" y="149"/>
                    <a:pt x="4" y="149"/>
                  </a:cubicBezTo>
                  <a:cubicBezTo>
                    <a:pt x="4" y="149"/>
                    <a:pt x="4" y="149"/>
                    <a:pt x="4" y="149"/>
                  </a:cubicBezTo>
                  <a:cubicBezTo>
                    <a:pt x="4" y="149"/>
                    <a:pt x="4" y="150"/>
                    <a:pt x="5" y="150"/>
                  </a:cubicBezTo>
                  <a:cubicBezTo>
                    <a:pt x="5" y="150"/>
                    <a:pt x="5" y="150"/>
                    <a:pt x="5" y="150"/>
                  </a:cubicBezTo>
                  <a:cubicBezTo>
                    <a:pt x="5" y="150"/>
                    <a:pt x="5" y="151"/>
                    <a:pt x="5" y="151"/>
                  </a:cubicBezTo>
                  <a:cubicBezTo>
                    <a:pt x="5" y="151"/>
                    <a:pt x="5" y="151"/>
                    <a:pt x="5" y="151"/>
                  </a:cubicBezTo>
                  <a:cubicBezTo>
                    <a:pt x="5" y="152"/>
                    <a:pt x="4" y="153"/>
                    <a:pt x="3" y="153"/>
                  </a:cubicBezTo>
                  <a:cubicBezTo>
                    <a:pt x="3" y="153"/>
                    <a:pt x="3" y="153"/>
                    <a:pt x="3" y="153"/>
                  </a:cubicBezTo>
                  <a:cubicBezTo>
                    <a:pt x="3" y="153"/>
                    <a:pt x="3" y="153"/>
                    <a:pt x="3" y="153"/>
                  </a:cubicBezTo>
                  <a:cubicBezTo>
                    <a:pt x="3" y="153"/>
                    <a:pt x="3" y="153"/>
                    <a:pt x="3" y="153"/>
                  </a:cubicBezTo>
                  <a:cubicBezTo>
                    <a:pt x="2" y="153"/>
                    <a:pt x="1" y="153"/>
                    <a:pt x="1" y="152"/>
                  </a:cubicBezTo>
                  <a:close/>
                  <a:moveTo>
                    <a:pt x="199" y="141"/>
                  </a:moveTo>
                  <a:cubicBezTo>
                    <a:pt x="199" y="129"/>
                    <a:pt x="199" y="129"/>
                    <a:pt x="199" y="129"/>
                  </a:cubicBezTo>
                  <a:cubicBezTo>
                    <a:pt x="199" y="128"/>
                    <a:pt x="200" y="127"/>
                    <a:pt x="201" y="127"/>
                  </a:cubicBezTo>
                  <a:cubicBezTo>
                    <a:pt x="201" y="127"/>
                    <a:pt x="201" y="127"/>
                    <a:pt x="201" y="127"/>
                  </a:cubicBezTo>
                  <a:cubicBezTo>
                    <a:pt x="203" y="127"/>
                    <a:pt x="203" y="128"/>
                    <a:pt x="203" y="129"/>
                  </a:cubicBezTo>
                  <a:cubicBezTo>
                    <a:pt x="203" y="129"/>
                    <a:pt x="203" y="129"/>
                    <a:pt x="203" y="129"/>
                  </a:cubicBezTo>
                  <a:cubicBezTo>
                    <a:pt x="203" y="141"/>
                    <a:pt x="203" y="141"/>
                    <a:pt x="203" y="141"/>
                  </a:cubicBezTo>
                  <a:cubicBezTo>
                    <a:pt x="203" y="142"/>
                    <a:pt x="203" y="143"/>
                    <a:pt x="201" y="143"/>
                  </a:cubicBezTo>
                  <a:cubicBezTo>
                    <a:pt x="201" y="143"/>
                    <a:pt x="201" y="143"/>
                    <a:pt x="201" y="143"/>
                  </a:cubicBezTo>
                  <a:cubicBezTo>
                    <a:pt x="200" y="143"/>
                    <a:pt x="199" y="142"/>
                    <a:pt x="199" y="141"/>
                  </a:cubicBezTo>
                  <a:close/>
                  <a:moveTo>
                    <a:pt x="2" y="129"/>
                  </a:moveTo>
                  <a:cubicBezTo>
                    <a:pt x="1" y="129"/>
                    <a:pt x="0" y="129"/>
                    <a:pt x="0" y="127"/>
                  </a:cubicBezTo>
                  <a:cubicBezTo>
                    <a:pt x="0" y="127"/>
                    <a:pt x="0" y="127"/>
                    <a:pt x="0" y="127"/>
                  </a:cubicBezTo>
                  <a:cubicBezTo>
                    <a:pt x="0" y="127"/>
                    <a:pt x="0" y="126"/>
                    <a:pt x="0" y="125"/>
                  </a:cubicBezTo>
                  <a:cubicBezTo>
                    <a:pt x="0" y="125"/>
                    <a:pt x="0" y="125"/>
                    <a:pt x="0" y="125"/>
                  </a:cubicBezTo>
                  <a:cubicBezTo>
                    <a:pt x="0" y="125"/>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4"/>
                    <a:pt x="1" y="124"/>
                    <a:pt x="1" y="124"/>
                  </a:cubicBezTo>
                  <a:cubicBezTo>
                    <a:pt x="1" y="123"/>
                    <a:pt x="1" y="123"/>
                    <a:pt x="1" y="123"/>
                  </a:cubicBezTo>
                  <a:cubicBezTo>
                    <a:pt x="1" y="123"/>
                    <a:pt x="1" y="123"/>
                    <a:pt x="1" y="123"/>
                  </a:cubicBezTo>
                  <a:cubicBezTo>
                    <a:pt x="1" y="122"/>
                    <a:pt x="2" y="121"/>
                    <a:pt x="2" y="120"/>
                  </a:cubicBezTo>
                  <a:cubicBezTo>
                    <a:pt x="2" y="120"/>
                    <a:pt x="2" y="120"/>
                    <a:pt x="2" y="120"/>
                  </a:cubicBezTo>
                  <a:cubicBezTo>
                    <a:pt x="2" y="120"/>
                    <a:pt x="2" y="120"/>
                    <a:pt x="2" y="120"/>
                  </a:cubicBezTo>
                  <a:cubicBezTo>
                    <a:pt x="2" y="120"/>
                    <a:pt x="2" y="120"/>
                    <a:pt x="2" y="120"/>
                  </a:cubicBezTo>
                  <a:cubicBezTo>
                    <a:pt x="2" y="119"/>
                    <a:pt x="3" y="119"/>
                    <a:pt x="3" y="119"/>
                  </a:cubicBezTo>
                  <a:cubicBezTo>
                    <a:pt x="3" y="119"/>
                    <a:pt x="3" y="119"/>
                    <a:pt x="3" y="119"/>
                  </a:cubicBezTo>
                  <a:cubicBezTo>
                    <a:pt x="3" y="119"/>
                    <a:pt x="3" y="118"/>
                    <a:pt x="4" y="118"/>
                  </a:cubicBezTo>
                  <a:cubicBezTo>
                    <a:pt x="4" y="118"/>
                    <a:pt x="4" y="118"/>
                    <a:pt x="4" y="118"/>
                  </a:cubicBezTo>
                  <a:cubicBezTo>
                    <a:pt x="4" y="117"/>
                    <a:pt x="4" y="117"/>
                    <a:pt x="4" y="117"/>
                  </a:cubicBezTo>
                  <a:cubicBezTo>
                    <a:pt x="4" y="117"/>
                    <a:pt x="4" y="117"/>
                    <a:pt x="4" y="117"/>
                  </a:cubicBezTo>
                  <a:cubicBezTo>
                    <a:pt x="5" y="117"/>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5" y="116"/>
                    <a:pt x="5" y="116"/>
                    <a:pt x="5" y="116"/>
                  </a:cubicBezTo>
                  <a:cubicBezTo>
                    <a:pt x="6" y="115"/>
                    <a:pt x="8" y="115"/>
                    <a:pt x="8" y="116"/>
                  </a:cubicBezTo>
                  <a:cubicBezTo>
                    <a:pt x="8" y="116"/>
                    <a:pt x="8" y="116"/>
                    <a:pt x="8" y="116"/>
                  </a:cubicBezTo>
                  <a:cubicBezTo>
                    <a:pt x="9" y="117"/>
                    <a:pt x="9" y="118"/>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8" y="119"/>
                    <a:pt x="8" y="119"/>
                  </a:cubicBezTo>
                  <a:cubicBezTo>
                    <a:pt x="8" y="119"/>
                    <a:pt x="7" y="119"/>
                    <a:pt x="7" y="120"/>
                  </a:cubicBezTo>
                  <a:cubicBezTo>
                    <a:pt x="7" y="120"/>
                    <a:pt x="7" y="120"/>
                    <a:pt x="7" y="120"/>
                  </a:cubicBezTo>
                  <a:cubicBezTo>
                    <a:pt x="7" y="120"/>
                    <a:pt x="7" y="120"/>
                    <a:pt x="7" y="120"/>
                  </a:cubicBezTo>
                  <a:cubicBezTo>
                    <a:pt x="7" y="120"/>
                    <a:pt x="7" y="120"/>
                    <a:pt x="7" y="120"/>
                  </a:cubicBezTo>
                  <a:cubicBezTo>
                    <a:pt x="7" y="120"/>
                    <a:pt x="6" y="121"/>
                    <a:pt x="6" y="121"/>
                  </a:cubicBezTo>
                  <a:cubicBezTo>
                    <a:pt x="6" y="121"/>
                    <a:pt x="6" y="121"/>
                    <a:pt x="6" y="121"/>
                  </a:cubicBezTo>
                  <a:cubicBezTo>
                    <a:pt x="6" y="121"/>
                    <a:pt x="6" y="122"/>
                    <a:pt x="6" y="122"/>
                  </a:cubicBezTo>
                  <a:cubicBezTo>
                    <a:pt x="6" y="122"/>
                    <a:pt x="6" y="122"/>
                    <a:pt x="6" y="122"/>
                  </a:cubicBezTo>
                  <a:cubicBezTo>
                    <a:pt x="6" y="122"/>
                    <a:pt x="6" y="122"/>
                    <a:pt x="6" y="122"/>
                  </a:cubicBezTo>
                  <a:cubicBezTo>
                    <a:pt x="6" y="122"/>
                    <a:pt x="6" y="122"/>
                    <a:pt x="6" y="122"/>
                  </a:cubicBezTo>
                  <a:cubicBezTo>
                    <a:pt x="5" y="123"/>
                    <a:pt x="5" y="123"/>
                    <a:pt x="5" y="124"/>
                  </a:cubicBezTo>
                  <a:cubicBezTo>
                    <a:pt x="5" y="124"/>
                    <a:pt x="5" y="124"/>
                    <a:pt x="5" y="124"/>
                  </a:cubicBezTo>
                  <a:cubicBezTo>
                    <a:pt x="5" y="124"/>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5" y="125"/>
                    <a:pt x="5" y="125"/>
                    <a:pt x="5" y="125"/>
                  </a:cubicBezTo>
                  <a:cubicBezTo>
                    <a:pt x="4" y="125"/>
                    <a:pt x="4" y="126"/>
                    <a:pt x="4" y="126"/>
                  </a:cubicBezTo>
                  <a:cubicBezTo>
                    <a:pt x="4" y="126"/>
                    <a:pt x="4" y="126"/>
                    <a:pt x="4" y="126"/>
                  </a:cubicBezTo>
                  <a:cubicBezTo>
                    <a:pt x="4" y="126"/>
                    <a:pt x="4" y="127"/>
                    <a:pt x="4" y="127"/>
                  </a:cubicBezTo>
                  <a:cubicBezTo>
                    <a:pt x="4" y="127"/>
                    <a:pt x="4" y="127"/>
                    <a:pt x="4" y="127"/>
                  </a:cubicBezTo>
                  <a:cubicBezTo>
                    <a:pt x="4" y="129"/>
                    <a:pt x="3" y="129"/>
                    <a:pt x="2" y="129"/>
                  </a:cubicBezTo>
                  <a:cubicBezTo>
                    <a:pt x="2" y="129"/>
                    <a:pt x="2" y="129"/>
                    <a:pt x="2" y="129"/>
                  </a:cubicBezTo>
                  <a:cubicBezTo>
                    <a:pt x="2" y="129"/>
                    <a:pt x="2" y="129"/>
                    <a:pt x="2" y="129"/>
                  </a:cubicBezTo>
                  <a:close/>
                  <a:moveTo>
                    <a:pt x="199" y="117"/>
                  </a:moveTo>
                  <a:cubicBezTo>
                    <a:pt x="199" y="115"/>
                    <a:pt x="199" y="115"/>
                    <a:pt x="199" y="115"/>
                  </a:cubicBezTo>
                  <a:cubicBezTo>
                    <a:pt x="199" y="113"/>
                    <a:pt x="198" y="111"/>
                    <a:pt x="196" y="110"/>
                  </a:cubicBezTo>
                  <a:cubicBezTo>
                    <a:pt x="196" y="110"/>
                    <a:pt x="196" y="110"/>
                    <a:pt x="196" y="110"/>
                  </a:cubicBezTo>
                  <a:cubicBezTo>
                    <a:pt x="195" y="109"/>
                    <a:pt x="195" y="109"/>
                    <a:pt x="195" y="109"/>
                  </a:cubicBezTo>
                  <a:cubicBezTo>
                    <a:pt x="194" y="108"/>
                    <a:pt x="194" y="107"/>
                    <a:pt x="194" y="106"/>
                  </a:cubicBezTo>
                  <a:cubicBezTo>
                    <a:pt x="194" y="106"/>
                    <a:pt x="194" y="106"/>
                    <a:pt x="194" y="106"/>
                  </a:cubicBezTo>
                  <a:cubicBezTo>
                    <a:pt x="195" y="105"/>
                    <a:pt x="196" y="105"/>
                    <a:pt x="197" y="105"/>
                  </a:cubicBezTo>
                  <a:cubicBezTo>
                    <a:pt x="197" y="105"/>
                    <a:pt x="197" y="105"/>
                    <a:pt x="197" y="105"/>
                  </a:cubicBezTo>
                  <a:cubicBezTo>
                    <a:pt x="198" y="106"/>
                    <a:pt x="198" y="106"/>
                    <a:pt x="198" y="106"/>
                  </a:cubicBezTo>
                  <a:cubicBezTo>
                    <a:pt x="202" y="108"/>
                    <a:pt x="203" y="111"/>
                    <a:pt x="203" y="115"/>
                  </a:cubicBezTo>
                  <a:cubicBezTo>
                    <a:pt x="203" y="115"/>
                    <a:pt x="203" y="115"/>
                    <a:pt x="203" y="115"/>
                  </a:cubicBezTo>
                  <a:cubicBezTo>
                    <a:pt x="203" y="117"/>
                    <a:pt x="203" y="117"/>
                    <a:pt x="203" y="117"/>
                  </a:cubicBezTo>
                  <a:cubicBezTo>
                    <a:pt x="203" y="118"/>
                    <a:pt x="203" y="119"/>
                    <a:pt x="201" y="119"/>
                  </a:cubicBezTo>
                  <a:cubicBezTo>
                    <a:pt x="201" y="119"/>
                    <a:pt x="201" y="119"/>
                    <a:pt x="201" y="119"/>
                  </a:cubicBezTo>
                  <a:cubicBezTo>
                    <a:pt x="200" y="119"/>
                    <a:pt x="199" y="118"/>
                    <a:pt x="199" y="117"/>
                  </a:cubicBezTo>
                  <a:close/>
                  <a:moveTo>
                    <a:pt x="10" y="108"/>
                  </a:moveTo>
                  <a:cubicBezTo>
                    <a:pt x="10" y="108"/>
                    <a:pt x="10" y="106"/>
                    <a:pt x="11" y="106"/>
                  </a:cubicBezTo>
                  <a:cubicBezTo>
                    <a:pt x="11" y="106"/>
                    <a:pt x="11" y="106"/>
                    <a:pt x="11" y="106"/>
                  </a:cubicBezTo>
                  <a:cubicBezTo>
                    <a:pt x="11" y="105"/>
                    <a:pt x="12" y="105"/>
                    <a:pt x="13" y="104"/>
                  </a:cubicBezTo>
                  <a:cubicBezTo>
                    <a:pt x="13" y="104"/>
                    <a:pt x="13" y="104"/>
                    <a:pt x="13" y="104"/>
                  </a:cubicBezTo>
                  <a:cubicBezTo>
                    <a:pt x="13" y="104"/>
                    <a:pt x="13" y="104"/>
                    <a:pt x="12" y="104"/>
                  </a:cubicBezTo>
                  <a:cubicBezTo>
                    <a:pt x="12" y="104"/>
                    <a:pt x="12" y="104"/>
                    <a:pt x="12" y="104"/>
                  </a:cubicBezTo>
                  <a:cubicBezTo>
                    <a:pt x="11" y="104"/>
                    <a:pt x="11" y="103"/>
                    <a:pt x="11" y="102"/>
                  </a:cubicBezTo>
                  <a:cubicBezTo>
                    <a:pt x="11" y="102"/>
                    <a:pt x="11" y="102"/>
                    <a:pt x="11" y="102"/>
                  </a:cubicBezTo>
                  <a:cubicBezTo>
                    <a:pt x="11" y="100"/>
                    <a:pt x="12" y="100"/>
                    <a:pt x="13" y="100"/>
                  </a:cubicBezTo>
                  <a:cubicBezTo>
                    <a:pt x="13" y="100"/>
                    <a:pt x="13" y="100"/>
                    <a:pt x="13" y="100"/>
                  </a:cubicBezTo>
                  <a:cubicBezTo>
                    <a:pt x="14" y="100"/>
                    <a:pt x="15" y="100"/>
                    <a:pt x="16" y="100"/>
                  </a:cubicBezTo>
                  <a:cubicBezTo>
                    <a:pt x="16" y="100"/>
                    <a:pt x="16" y="100"/>
                    <a:pt x="16" y="100"/>
                  </a:cubicBezTo>
                  <a:cubicBezTo>
                    <a:pt x="18" y="100"/>
                    <a:pt x="18" y="102"/>
                    <a:pt x="19" y="102"/>
                  </a:cubicBezTo>
                  <a:cubicBezTo>
                    <a:pt x="19" y="102"/>
                    <a:pt x="19" y="102"/>
                    <a:pt x="19" y="102"/>
                  </a:cubicBezTo>
                  <a:cubicBezTo>
                    <a:pt x="19" y="103"/>
                    <a:pt x="19" y="104"/>
                    <a:pt x="19" y="105"/>
                  </a:cubicBezTo>
                  <a:cubicBezTo>
                    <a:pt x="19" y="105"/>
                    <a:pt x="19" y="105"/>
                    <a:pt x="19" y="105"/>
                  </a:cubicBezTo>
                  <a:cubicBezTo>
                    <a:pt x="19" y="105"/>
                    <a:pt x="19" y="106"/>
                    <a:pt x="19" y="106"/>
                  </a:cubicBezTo>
                  <a:cubicBezTo>
                    <a:pt x="19" y="106"/>
                    <a:pt x="19" y="106"/>
                    <a:pt x="19" y="106"/>
                  </a:cubicBezTo>
                  <a:cubicBezTo>
                    <a:pt x="18" y="106"/>
                    <a:pt x="18" y="107"/>
                    <a:pt x="17" y="108"/>
                  </a:cubicBezTo>
                  <a:cubicBezTo>
                    <a:pt x="17" y="108"/>
                    <a:pt x="17" y="108"/>
                    <a:pt x="17" y="108"/>
                  </a:cubicBezTo>
                  <a:cubicBezTo>
                    <a:pt x="15" y="108"/>
                    <a:pt x="14" y="108"/>
                    <a:pt x="13" y="109"/>
                  </a:cubicBezTo>
                  <a:cubicBezTo>
                    <a:pt x="13" y="109"/>
                    <a:pt x="13" y="109"/>
                    <a:pt x="13" y="109"/>
                  </a:cubicBezTo>
                  <a:cubicBezTo>
                    <a:pt x="13" y="109"/>
                    <a:pt x="12" y="109"/>
                    <a:pt x="12" y="109"/>
                  </a:cubicBezTo>
                  <a:cubicBezTo>
                    <a:pt x="12" y="109"/>
                    <a:pt x="12" y="109"/>
                    <a:pt x="12" y="109"/>
                  </a:cubicBezTo>
                  <a:cubicBezTo>
                    <a:pt x="11" y="109"/>
                    <a:pt x="11" y="109"/>
                    <a:pt x="10" y="108"/>
                  </a:cubicBezTo>
                  <a:close/>
                  <a:moveTo>
                    <a:pt x="185" y="103"/>
                  </a:moveTo>
                  <a:cubicBezTo>
                    <a:pt x="184" y="102"/>
                    <a:pt x="184" y="102"/>
                    <a:pt x="184" y="102"/>
                  </a:cubicBezTo>
                  <a:cubicBezTo>
                    <a:pt x="183" y="102"/>
                    <a:pt x="183" y="101"/>
                    <a:pt x="183" y="101"/>
                  </a:cubicBezTo>
                  <a:cubicBezTo>
                    <a:pt x="183" y="101"/>
                    <a:pt x="183" y="101"/>
                    <a:pt x="183" y="101"/>
                  </a:cubicBezTo>
                  <a:cubicBezTo>
                    <a:pt x="183" y="100"/>
                    <a:pt x="183" y="99"/>
                    <a:pt x="184" y="99"/>
                  </a:cubicBezTo>
                  <a:cubicBezTo>
                    <a:pt x="184" y="99"/>
                    <a:pt x="184" y="99"/>
                    <a:pt x="184" y="99"/>
                  </a:cubicBezTo>
                  <a:cubicBezTo>
                    <a:pt x="193" y="93"/>
                    <a:pt x="193" y="93"/>
                    <a:pt x="193" y="93"/>
                  </a:cubicBezTo>
                  <a:cubicBezTo>
                    <a:pt x="194" y="93"/>
                    <a:pt x="196" y="93"/>
                    <a:pt x="196" y="94"/>
                  </a:cubicBezTo>
                  <a:cubicBezTo>
                    <a:pt x="196" y="94"/>
                    <a:pt x="196" y="94"/>
                    <a:pt x="196" y="94"/>
                  </a:cubicBezTo>
                  <a:cubicBezTo>
                    <a:pt x="197" y="95"/>
                    <a:pt x="196" y="96"/>
                    <a:pt x="195" y="97"/>
                  </a:cubicBezTo>
                  <a:cubicBezTo>
                    <a:pt x="195" y="97"/>
                    <a:pt x="195" y="97"/>
                    <a:pt x="195" y="97"/>
                  </a:cubicBezTo>
                  <a:cubicBezTo>
                    <a:pt x="188" y="101"/>
                    <a:pt x="188" y="101"/>
                    <a:pt x="188" y="101"/>
                  </a:cubicBezTo>
                  <a:cubicBezTo>
                    <a:pt x="187" y="102"/>
                    <a:pt x="187" y="102"/>
                    <a:pt x="187" y="102"/>
                  </a:cubicBezTo>
                  <a:cubicBezTo>
                    <a:pt x="187" y="102"/>
                    <a:pt x="187" y="102"/>
                    <a:pt x="187" y="102"/>
                  </a:cubicBezTo>
                  <a:cubicBezTo>
                    <a:pt x="187" y="103"/>
                    <a:pt x="186" y="103"/>
                    <a:pt x="186" y="103"/>
                  </a:cubicBezTo>
                  <a:cubicBezTo>
                    <a:pt x="186" y="103"/>
                    <a:pt x="186" y="103"/>
                    <a:pt x="186" y="103"/>
                  </a:cubicBezTo>
                  <a:cubicBezTo>
                    <a:pt x="185" y="103"/>
                    <a:pt x="185" y="103"/>
                    <a:pt x="185" y="103"/>
                  </a:cubicBezTo>
                  <a:close/>
                  <a:moveTo>
                    <a:pt x="2" y="96"/>
                  </a:moveTo>
                  <a:cubicBezTo>
                    <a:pt x="2" y="96"/>
                    <a:pt x="2" y="96"/>
                    <a:pt x="2" y="96"/>
                  </a:cubicBezTo>
                  <a:cubicBezTo>
                    <a:pt x="2" y="96"/>
                    <a:pt x="2" y="96"/>
                    <a:pt x="2" y="96"/>
                  </a:cubicBezTo>
                  <a:cubicBezTo>
                    <a:pt x="2" y="95"/>
                    <a:pt x="2" y="95"/>
                    <a:pt x="1" y="95"/>
                  </a:cubicBezTo>
                  <a:cubicBezTo>
                    <a:pt x="1" y="95"/>
                    <a:pt x="1" y="95"/>
                    <a:pt x="1" y="95"/>
                  </a:cubicBezTo>
                  <a:cubicBezTo>
                    <a:pt x="1" y="94"/>
                    <a:pt x="1" y="94"/>
                    <a:pt x="1" y="94"/>
                  </a:cubicBezTo>
                  <a:cubicBezTo>
                    <a:pt x="1" y="94"/>
                    <a:pt x="1" y="93"/>
                    <a:pt x="1" y="93"/>
                  </a:cubicBezTo>
                  <a:cubicBezTo>
                    <a:pt x="1" y="93"/>
                    <a:pt x="1" y="93"/>
                    <a:pt x="1" y="93"/>
                  </a:cubicBezTo>
                  <a:cubicBezTo>
                    <a:pt x="1" y="92"/>
                    <a:pt x="0" y="91"/>
                    <a:pt x="0" y="91"/>
                  </a:cubicBezTo>
                  <a:cubicBezTo>
                    <a:pt x="0" y="91"/>
                    <a:pt x="0" y="91"/>
                    <a:pt x="0" y="91"/>
                  </a:cubicBezTo>
                  <a:cubicBezTo>
                    <a:pt x="0" y="90"/>
                    <a:pt x="0" y="90"/>
                    <a:pt x="0" y="90"/>
                  </a:cubicBezTo>
                  <a:cubicBezTo>
                    <a:pt x="0" y="90"/>
                    <a:pt x="0" y="90"/>
                    <a:pt x="0" y="90"/>
                  </a:cubicBezTo>
                  <a:cubicBezTo>
                    <a:pt x="0" y="90"/>
                    <a:pt x="0" y="89"/>
                    <a:pt x="0" y="89"/>
                  </a:cubicBezTo>
                  <a:cubicBezTo>
                    <a:pt x="0" y="89"/>
                    <a:pt x="0" y="89"/>
                    <a:pt x="0" y="89"/>
                  </a:cubicBezTo>
                  <a:cubicBezTo>
                    <a:pt x="0" y="83"/>
                    <a:pt x="0" y="83"/>
                    <a:pt x="0" y="83"/>
                  </a:cubicBezTo>
                  <a:cubicBezTo>
                    <a:pt x="0" y="82"/>
                    <a:pt x="1" y="81"/>
                    <a:pt x="2" y="81"/>
                  </a:cubicBezTo>
                  <a:cubicBezTo>
                    <a:pt x="2" y="81"/>
                    <a:pt x="2" y="81"/>
                    <a:pt x="2" y="81"/>
                  </a:cubicBezTo>
                  <a:cubicBezTo>
                    <a:pt x="3" y="81"/>
                    <a:pt x="4" y="82"/>
                    <a:pt x="4" y="83"/>
                  </a:cubicBezTo>
                  <a:cubicBezTo>
                    <a:pt x="4" y="83"/>
                    <a:pt x="4" y="83"/>
                    <a:pt x="4" y="83"/>
                  </a:cubicBezTo>
                  <a:cubicBezTo>
                    <a:pt x="4" y="89"/>
                    <a:pt x="4" y="89"/>
                    <a:pt x="4" y="89"/>
                  </a:cubicBezTo>
                  <a:cubicBezTo>
                    <a:pt x="4" y="89"/>
                    <a:pt x="4" y="89"/>
                    <a:pt x="4" y="90"/>
                  </a:cubicBezTo>
                  <a:cubicBezTo>
                    <a:pt x="4" y="90"/>
                    <a:pt x="4" y="90"/>
                    <a:pt x="4" y="90"/>
                  </a:cubicBezTo>
                  <a:cubicBezTo>
                    <a:pt x="4" y="90"/>
                    <a:pt x="4" y="90"/>
                    <a:pt x="4" y="90"/>
                  </a:cubicBezTo>
                  <a:cubicBezTo>
                    <a:pt x="4" y="90"/>
                    <a:pt x="4" y="90"/>
                    <a:pt x="4" y="90"/>
                  </a:cubicBezTo>
                  <a:cubicBezTo>
                    <a:pt x="4" y="91"/>
                    <a:pt x="4" y="91"/>
                    <a:pt x="5" y="92"/>
                  </a:cubicBezTo>
                  <a:cubicBezTo>
                    <a:pt x="5" y="92"/>
                    <a:pt x="5" y="92"/>
                    <a:pt x="5" y="92"/>
                  </a:cubicBezTo>
                  <a:cubicBezTo>
                    <a:pt x="5" y="92"/>
                    <a:pt x="5" y="92"/>
                    <a:pt x="5" y="93"/>
                  </a:cubicBezTo>
                  <a:cubicBezTo>
                    <a:pt x="5" y="93"/>
                    <a:pt x="5" y="93"/>
                    <a:pt x="5" y="93"/>
                  </a:cubicBezTo>
                  <a:cubicBezTo>
                    <a:pt x="5" y="93"/>
                    <a:pt x="5" y="93"/>
                    <a:pt x="5" y="93"/>
                  </a:cubicBezTo>
                  <a:cubicBezTo>
                    <a:pt x="5" y="93"/>
                    <a:pt x="5" y="94"/>
                    <a:pt x="5" y="94"/>
                  </a:cubicBezTo>
                  <a:cubicBezTo>
                    <a:pt x="5" y="94"/>
                    <a:pt x="5" y="94"/>
                    <a:pt x="5" y="94"/>
                  </a:cubicBezTo>
                  <a:cubicBezTo>
                    <a:pt x="5" y="94"/>
                    <a:pt x="5" y="94"/>
                    <a:pt x="5" y="94"/>
                  </a:cubicBezTo>
                  <a:cubicBezTo>
                    <a:pt x="5" y="94"/>
                    <a:pt x="5" y="94"/>
                    <a:pt x="5" y="94"/>
                  </a:cubicBezTo>
                  <a:cubicBezTo>
                    <a:pt x="6" y="95"/>
                    <a:pt x="6" y="96"/>
                    <a:pt x="5" y="97"/>
                  </a:cubicBezTo>
                  <a:cubicBezTo>
                    <a:pt x="5" y="97"/>
                    <a:pt x="5" y="97"/>
                    <a:pt x="5" y="97"/>
                  </a:cubicBezTo>
                  <a:cubicBezTo>
                    <a:pt x="4" y="97"/>
                    <a:pt x="4" y="97"/>
                    <a:pt x="4" y="97"/>
                  </a:cubicBezTo>
                  <a:cubicBezTo>
                    <a:pt x="4" y="97"/>
                    <a:pt x="4" y="97"/>
                    <a:pt x="4" y="97"/>
                  </a:cubicBezTo>
                  <a:cubicBezTo>
                    <a:pt x="3" y="97"/>
                    <a:pt x="2" y="96"/>
                    <a:pt x="2" y="96"/>
                  </a:cubicBezTo>
                  <a:close/>
                  <a:moveTo>
                    <a:pt x="199" y="86"/>
                  </a:moveTo>
                  <a:cubicBezTo>
                    <a:pt x="199" y="74"/>
                    <a:pt x="199" y="74"/>
                    <a:pt x="199" y="74"/>
                  </a:cubicBezTo>
                  <a:cubicBezTo>
                    <a:pt x="199" y="73"/>
                    <a:pt x="200" y="72"/>
                    <a:pt x="201" y="72"/>
                  </a:cubicBezTo>
                  <a:cubicBezTo>
                    <a:pt x="201" y="72"/>
                    <a:pt x="201" y="72"/>
                    <a:pt x="201" y="72"/>
                  </a:cubicBezTo>
                  <a:cubicBezTo>
                    <a:pt x="203" y="72"/>
                    <a:pt x="203" y="73"/>
                    <a:pt x="203" y="74"/>
                  </a:cubicBezTo>
                  <a:cubicBezTo>
                    <a:pt x="203" y="74"/>
                    <a:pt x="203" y="74"/>
                    <a:pt x="203" y="74"/>
                  </a:cubicBezTo>
                  <a:cubicBezTo>
                    <a:pt x="203" y="86"/>
                    <a:pt x="203" y="86"/>
                    <a:pt x="203" y="86"/>
                  </a:cubicBezTo>
                  <a:cubicBezTo>
                    <a:pt x="203" y="87"/>
                    <a:pt x="203" y="88"/>
                    <a:pt x="201" y="88"/>
                  </a:cubicBezTo>
                  <a:cubicBezTo>
                    <a:pt x="201" y="88"/>
                    <a:pt x="201" y="88"/>
                    <a:pt x="201" y="88"/>
                  </a:cubicBezTo>
                  <a:cubicBezTo>
                    <a:pt x="200" y="88"/>
                    <a:pt x="199" y="87"/>
                    <a:pt x="199" y="86"/>
                  </a:cubicBezTo>
                  <a:close/>
                  <a:moveTo>
                    <a:pt x="0" y="71"/>
                  </a:moveTo>
                  <a:cubicBezTo>
                    <a:pt x="0" y="69"/>
                    <a:pt x="0" y="69"/>
                    <a:pt x="0" y="69"/>
                  </a:cubicBezTo>
                  <a:cubicBezTo>
                    <a:pt x="0" y="68"/>
                    <a:pt x="0" y="67"/>
                    <a:pt x="0" y="66"/>
                  </a:cubicBezTo>
                  <a:cubicBezTo>
                    <a:pt x="0" y="66"/>
                    <a:pt x="0" y="66"/>
                    <a:pt x="0" y="66"/>
                  </a:cubicBezTo>
                  <a:cubicBezTo>
                    <a:pt x="0" y="66"/>
                    <a:pt x="1" y="66"/>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5"/>
                    <a:pt x="1" y="65"/>
                  </a:cubicBezTo>
                  <a:cubicBezTo>
                    <a:pt x="1" y="65"/>
                    <a:pt x="1" y="64"/>
                    <a:pt x="1" y="64"/>
                  </a:cubicBezTo>
                  <a:cubicBezTo>
                    <a:pt x="1" y="64"/>
                    <a:pt x="1" y="64"/>
                    <a:pt x="1" y="64"/>
                  </a:cubicBezTo>
                  <a:cubicBezTo>
                    <a:pt x="1" y="63"/>
                    <a:pt x="2" y="62"/>
                    <a:pt x="2" y="62"/>
                  </a:cubicBezTo>
                  <a:cubicBezTo>
                    <a:pt x="2" y="62"/>
                    <a:pt x="2" y="62"/>
                    <a:pt x="2" y="62"/>
                  </a:cubicBezTo>
                  <a:cubicBezTo>
                    <a:pt x="2" y="61"/>
                    <a:pt x="3" y="61"/>
                    <a:pt x="3" y="60"/>
                  </a:cubicBezTo>
                  <a:cubicBezTo>
                    <a:pt x="3" y="60"/>
                    <a:pt x="3" y="60"/>
                    <a:pt x="3" y="60"/>
                  </a:cubicBezTo>
                  <a:cubicBezTo>
                    <a:pt x="3" y="60"/>
                    <a:pt x="3" y="60"/>
                    <a:pt x="3" y="59"/>
                  </a:cubicBezTo>
                  <a:cubicBezTo>
                    <a:pt x="3" y="59"/>
                    <a:pt x="3" y="59"/>
                    <a:pt x="3" y="59"/>
                  </a:cubicBezTo>
                  <a:cubicBezTo>
                    <a:pt x="4" y="59"/>
                    <a:pt x="4" y="59"/>
                    <a:pt x="4" y="59"/>
                  </a:cubicBezTo>
                  <a:cubicBezTo>
                    <a:pt x="4" y="59"/>
                    <a:pt x="4" y="59"/>
                    <a:pt x="4" y="59"/>
                  </a:cubicBezTo>
                  <a:cubicBezTo>
                    <a:pt x="4" y="58"/>
                    <a:pt x="6" y="58"/>
                    <a:pt x="7" y="59"/>
                  </a:cubicBezTo>
                  <a:cubicBezTo>
                    <a:pt x="7" y="59"/>
                    <a:pt x="7" y="59"/>
                    <a:pt x="7" y="59"/>
                  </a:cubicBezTo>
                  <a:cubicBezTo>
                    <a:pt x="7" y="59"/>
                    <a:pt x="8" y="61"/>
                    <a:pt x="7" y="61"/>
                  </a:cubicBezTo>
                  <a:cubicBezTo>
                    <a:pt x="7" y="61"/>
                    <a:pt x="7" y="61"/>
                    <a:pt x="7" y="61"/>
                  </a:cubicBezTo>
                  <a:cubicBezTo>
                    <a:pt x="7" y="61"/>
                    <a:pt x="7" y="62"/>
                    <a:pt x="7" y="62"/>
                  </a:cubicBezTo>
                  <a:cubicBezTo>
                    <a:pt x="7" y="62"/>
                    <a:pt x="7" y="62"/>
                    <a:pt x="7" y="62"/>
                  </a:cubicBezTo>
                  <a:cubicBezTo>
                    <a:pt x="6" y="62"/>
                    <a:pt x="6" y="62"/>
                    <a:pt x="6" y="62"/>
                  </a:cubicBezTo>
                  <a:cubicBezTo>
                    <a:pt x="6" y="62"/>
                    <a:pt x="6" y="62"/>
                    <a:pt x="6" y="62"/>
                  </a:cubicBezTo>
                  <a:cubicBezTo>
                    <a:pt x="6" y="62"/>
                    <a:pt x="6" y="62"/>
                    <a:pt x="6" y="62"/>
                  </a:cubicBezTo>
                  <a:cubicBezTo>
                    <a:pt x="6" y="62"/>
                    <a:pt x="6" y="62"/>
                    <a:pt x="6" y="62"/>
                  </a:cubicBezTo>
                  <a:cubicBezTo>
                    <a:pt x="6" y="62"/>
                    <a:pt x="6" y="62"/>
                    <a:pt x="6" y="62"/>
                  </a:cubicBezTo>
                  <a:cubicBezTo>
                    <a:pt x="6" y="62"/>
                    <a:pt x="6" y="63"/>
                    <a:pt x="6" y="63"/>
                  </a:cubicBezTo>
                  <a:cubicBezTo>
                    <a:pt x="6" y="63"/>
                    <a:pt x="6" y="63"/>
                    <a:pt x="6" y="63"/>
                  </a:cubicBezTo>
                  <a:cubicBezTo>
                    <a:pt x="5" y="64"/>
                    <a:pt x="5" y="64"/>
                    <a:pt x="5" y="65"/>
                  </a:cubicBezTo>
                  <a:cubicBezTo>
                    <a:pt x="5" y="65"/>
                    <a:pt x="5" y="65"/>
                    <a:pt x="5" y="65"/>
                  </a:cubicBezTo>
                  <a:cubicBezTo>
                    <a:pt x="5" y="65"/>
                    <a:pt x="5" y="66"/>
                    <a:pt x="5" y="66"/>
                  </a:cubicBezTo>
                  <a:cubicBezTo>
                    <a:pt x="5" y="66"/>
                    <a:pt x="5" y="66"/>
                    <a:pt x="5" y="66"/>
                  </a:cubicBezTo>
                  <a:cubicBezTo>
                    <a:pt x="5" y="66"/>
                    <a:pt x="5" y="66"/>
                    <a:pt x="5" y="66"/>
                  </a:cubicBezTo>
                  <a:cubicBezTo>
                    <a:pt x="5" y="66"/>
                    <a:pt x="5" y="66"/>
                    <a:pt x="5" y="66"/>
                  </a:cubicBezTo>
                  <a:cubicBezTo>
                    <a:pt x="4" y="67"/>
                    <a:pt x="4" y="67"/>
                    <a:pt x="4" y="67"/>
                  </a:cubicBezTo>
                  <a:cubicBezTo>
                    <a:pt x="4" y="67"/>
                    <a:pt x="4" y="67"/>
                    <a:pt x="4" y="67"/>
                  </a:cubicBezTo>
                  <a:cubicBezTo>
                    <a:pt x="4" y="68"/>
                    <a:pt x="4" y="68"/>
                    <a:pt x="4" y="69"/>
                  </a:cubicBezTo>
                  <a:cubicBezTo>
                    <a:pt x="4" y="69"/>
                    <a:pt x="4" y="69"/>
                    <a:pt x="4" y="69"/>
                  </a:cubicBezTo>
                  <a:cubicBezTo>
                    <a:pt x="4" y="71"/>
                    <a:pt x="4" y="71"/>
                    <a:pt x="4" y="71"/>
                  </a:cubicBezTo>
                  <a:cubicBezTo>
                    <a:pt x="4" y="72"/>
                    <a:pt x="3" y="73"/>
                    <a:pt x="2" y="73"/>
                  </a:cubicBezTo>
                  <a:cubicBezTo>
                    <a:pt x="2" y="73"/>
                    <a:pt x="2" y="73"/>
                    <a:pt x="2" y="73"/>
                  </a:cubicBezTo>
                  <a:cubicBezTo>
                    <a:pt x="1" y="73"/>
                    <a:pt x="0" y="72"/>
                    <a:pt x="0" y="71"/>
                  </a:cubicBezTo>
                  <a:close/>
                  <a:moveTo>
                    <a:pt x="199" y="62"/>
                  </a:moveTo>
                  <a:cubicBezTo>
                    <a:pt x="199" y="56"/>
                    <a:pt x="199" y="56"/>
                    <a:pt x="199" y="56"/>
                  </a:cubicBezTo>
                  <a:cubicBezTo>
                    <a:pt x="199" y="55"/>
                    <a:pt x="199" y="53"/>
                    <a:pt x="198" y="52"/>
                  </a:cubicBezTo>
                  <a:cubicBezTo>
                    <a:pt x="198" y="52"/>
                    <a:pt x="198" y="52"/>
                    <a:pt x="198" y="52"/>
                  </a:cubicBezTo>
                  <a:cubicBezTo>
                    <a:pt x="198" y="52"/>
                    <a:pt x="198" y="52"/>
                    <a:pt x="198" y="52"/>
                  </a:cubicBezTo>
                  <a:cubicBezTo>
                    <a:pt x="197" y="51"/>
                    <a:pt x="197" y="50"/>
                    <a:pt x="198" y="49"/>
                  </a:cubicBezTo>
                  <a:cubicBezTo>
                    <a:pt x="198" y="49"/>
                    <a:pt x="198" y="49"/>
                    <a:pt x="198" y="49"/>
                  </a:cubicBezTo>
                  <a:cubicBezTo>
                    <a:pt x="199" y="49"/>
                    <a:pt x="200" y="49"/>
                    <a:pt x="201" y="50"/>
                  </a:cubicBezTo>
                  <a:cubicBezTo>
                    <a:pt x="201" y="50"/>
                    <a:pt x="201" y="50"/>
                    <a:pt x="201" y="50"/>
                  </a:cubicBezTo>
                  <a:cubicBezTo>
                    <a:pt x="202" y="51"/>
                    <a:pt x="203" y="54"/>
                    <a:pt x="203" y="56"/>
                  </a:cubicBezTo>
                  <a:cubicBezTo>
                    <a:pt x="203" y="56"/>
                    <a:pt x="203" y="56"/>
                    <a:pt x="203" y="56"/>
                  </a:cubicBezTo>
                  <a:cubicBezTo>
                    <a:pt x="203" y="62"/>
                    <a:pt x="203" y="62"/>
                    <a:pt x="203" y="62"/>
                  </a:cubicBezTo>
                  <a:cubicBezTo>
                    <a:pt x="203" y="63"/>
                    <a:pt x="203" y="64"/>
                    <a:pt x="201" y="64"/>
                  </a:cubicBezTo>
                  <a:cubicBezTo>
                    <a:pt x="201" y="64"/>
                    <a:pt x="201" y="64"/>
                    <a:pt x="201" y="64"/>
                  </a:cubicBezTo>
                  <a:cubicBezTo>
                    <a:pt x="200" y="64"/>
                    <a:pt x="199" y="63"/>
                    <a:pt x="199" y="62"/>
                  </a:cubicBezTo>
                  <a:close/>
                  <a:moveTo>
                    <a:pt x="6" y="62"/>
                  </a:moveTo>
                  <a:cubicBezTo>
                    <a:pt x="6" y="62"/>
                    <a:pt x="6" y="62"/>
                    <a:pt x="6" y="62"/>
                  </a:cubicBezTo>
                  <a:cubicBezTo>
                    <a:pt x="6" y="62"/>
                    <a:pt x="6" y="62"/>
                    <a:pt x="6" y="62"/>
                  </a:cubicBezTo>
                  <a:close/>
                  <a:moveTo>
                    <a:pt x="9" y="52"/>
                  </a:moveTo>
                  <a:cubicBezTo>
                    <a:pt x="8" y="51"/>
                    <a:pt x="8" y="50"/>
                    <a:pt x="9" y="49"/>
                  </a:cubicBezTo>
                  <a:cubicBezTo>
                    <a:pt x="9" y="49"/>
                    <a:pt x="9" y="49"/>
                    <a:pt x="9" y="49"/>
                  </a:cubicBezTo>
                  <a:cubicBezTo>
                    <a:pt x="9" y="48"/>
                    <a:pt x="9" y="48"/>
                    <a:pt x="10" y="47"/>
                  </a:cubicBezTo>
                  <a:cubicBezTo>
                    <a:pt x="10" y="47"/>
                    <a:pt x="10" y="47"/>
                    <a:pt x="10" y="47"/>
                  </a:cubicBezTo>
                  <a:cubicBezTo>
                    <a:pt x="12" y="46"/>
                    <a:pt x="14" y="45"/>
                    <a:pt x="17" y="45"/>
                  </a:cubicBezTo>
                  <a:cubicBezTo>
                    <a:pt x="17" y="45"/>
                    <a:pt x="17" y="45"/>
                    <a:pt x="17" y="45"/>
                  </a:cubicBezTo>
                  <a:cubicBezTo>
                    <a:pt x="17" y="45"/>
                    <a:pt x="17" y="45"/>
                    <a:pt x="18" y="45"/>
                  </a:cubicBezTo>
                  <a:cubicBezTo>
                    <a:pt x="18" y="45"/>
                    <a:pt x="18" y="45"/>
                    <a:pt x="18" y="45"/>
                  </a:cubicBezTo>
                  <a:cubicBezTo>
                    <a:pt x="21" y="45"/>
                    <a:pt x="21" y="45"/>
                    <a:pt x="21" y="45"/>
                  </a:cubicBezTo>
                  <a:cubicBezTo>
                    <a:pt x="23" y="45"/>
                    <a:pt x="23" y="46"/>
                    <a:pt x="23" y="47"/>
                  </a:cubicBezTo>
                  <a:cubicBezTo>
                    <a:pt x="23" y="47"/>
                    <a:pt x="23" y="47"/>
                    <a:pt x="23" y="47"/>
                  </a:cubicBezTo>
                  <a:cubicBezTo>
                    <a:pt x="23" y="49"/>
                    <a:pt x="22" y="49"/>
                    <a:pt x="21" y="49"/>
                  </a:cubicBezTo>
                  <a:cubicBezTo>
                    <a:pt x="21" y="49"/>
                    <a:pt x="21" y="49"/>
                    <a:pt x="21" y="49"/>
                  </a:cubicBezTo>
                  <a:cubicBezTo>
                    <a:pt x="17" y="49"/>
                    <a:pt x="17" y="49"/>
                    <a:pt x="17" y="49"/>
                  </a:cubicBezTo>
                  <a:cubicBezTo>
                    <a:pt x="17" y="49"/>
                    <a:pt x="17" y="49"/>
                    <a:pt x="17" y="49"/>
                  </a:cubicBezTo>
                  <a:cubicBezTo>
                    <a:pt x="17" y="49"/>
                    <a:pt x="17" y="49"/>
                    <a:pt x="17" y="49"/>
                  </a:cubicBezTo>
                  <a:cubicBezTo>
                    <a:pt x="15" y="49"/>
                    <a:pt x="14" y="49"/>
                    <a:pt x="13" y="50"/>
                  </a:cubicBezTo>
                  <a:cubicBezTo>
                    <a:pt x="13" y="50"/>
                    <a:pt x="13" y="50"/>
                    <a:pt x="13" y="50"/>
                  </a:cubicBezTo>
                  <a:cubicBezTo>
                    <a:pt x="12" y="51"/>
                    <a:pt x="12" y="51"/>
                    <a:pt x="12" y="51"/>
                  </a:cubicBezTo>
                  <a:cubicBezTo>
                    <a:pt x="12" y="51"/>
                    <a:pt x="12" y="51"/>
                    <a:pt x="12" y="51"/>
                  </a:cubicBezTo>
                  <a:cubicBezTo>
                    <a:pt x="11" y="52"/>
                    <a:pt x="11" y="52"/>
                    <a:pt x="10" y="52"/>
                  </a:cubicBezTo>
                  <a:cubicBezTo>
                    <a:pt x="10" y="52"/>
                    <a:pt x="10" y="52"/>
                    <a:pt x="10" y="52"/>
                  </a:cubicBezTo>
                  <a:cubicBezTo>
                    <a:pt x="10" y="52"/>
                    <a:pt x="9" y="52"/>
                    <a:pt x="9" y="52"/>
                  </a:cubicBezTo>
                  <a:close/>
                  <a:moveTo>
                    <a:pt x="31" y="47"/>
                  </a:moveTo>
                  <a:cubicBezTo>
                    <a:pt x="30" y="46"/>
                    <a:pt x="31" y="45"/>
                    <a:pt x="32" y="45"/>
                  </a:cubicBezTo>
                  <a:cubicBezTo>
                    <a:pt x="32" y="45"/>
                    <a:pt x="32" y="45"/>
                    <a:pt x="32" y="45"/>
                  </a:cubicBezTo>
                  <a:cubicBezTo>
                    <a:pt x="42" y="39"/>
                    <a:pt x="42" y="39"/>
                    <a:pt x="42" y="39"/>
                  </a:cubicBezTo>
                  <a:cubicBezTo>
                    <a:pt x="43" y="38"/>
                    <a:pt x="44" y="38"/>
                    <a:pt x="45" y="39"/>
                  </a:cubicBezTo>
                  <a:cubicBezTo>
                    <a:pt x="45" y="39"/>
                    <a:pt x="45" y="39"/>
                    <a:pt x="45" y="39"/>
                  </a:cubicBezTo>
                  <a:cubicBezTo>
                    <a:pt x="45" y="40"/>
                    <a:pt x="45" y="41"/>
                    <a:pt x="44" y="42"/>
                  </a:cubicBezTo>
                  <a:cubicBezTo>
                    <a:pt x="44" y="42"/>
                    <a:pt x="44" y="42"/>
                    <a:pt x="44" y="42"/>
                  </a:cubicBezTo>
                  <a:cubicBezTo>
                    <a:pt x="34" y="48"/>
                    <a:pt x="34" y="48"/>
                    <a:pt x="34" y="48"/>
                  </a:cubicBezTo>
                  <a:cubicBezTo>
                    <a:pt x="33" y="48"/>
                    <a:pt x="33" y="48"/>
                    <a:pt x="33" y="48"/>
                  </a:cubicBezTo>
                  <a:cubicBezTo>
                    <a:pt x="33" y="48"/>
                    <a:pt x="33" y="48"/>
                    <a:pt x="33" y="48"/>
                  </a:cubicBezTo>
                  <a:cubicBezTo>
                    <a:pt x="32" y="48"/>
                    <a:pt x="31" y="48"/>
                    <a:pt x="31" y="47"/>
                  </a:cubicBezTo>
                  <a:close/>
                  <a:moveTo>
                    <a:pt x="188" y="46"/>
                  </a:moveTo>
                  <a:cubicBezTo>
                    <a:pt x="178" y="40"/>
                    <a:pt x="178" y="40"/>
                    <a:pt x="178" y="40"/>
                  </a:cubicBezTo>
                  <a:cubicBezTo>
                    <a:pt x="177" y="40"/>
                    <a:pt x="177" y="38"/>
                    <a:pt x="177" y="38"/>
                  </a:cubicBezTo>
                  <a:cubicBezTo>
                    <a:pt x="177" y="38"/>
                    <a:pt x="177" y="38"/>
                    <a:pt x="177" y="38"/>
                  </a:cubicBezTo>
                  <a:cubicBezTo>
                    <a:pt x="178" y="37"/>
                    <a:pt x="179" y="36"/>
                    <a:pt x="180" y="37"/>
                  </a:cubicBezTo>
                  <a:cubicBezTo>
                    <a:pt x="180" y="37"/>
                    <a:pt x="180" y="37"/>
                    <a:pt x="180" y="37"/>
                  </a:cubicBezTo>
                  <a:cubicBezTo>
                    <a:pt x="190" y="43"/>
                    <a:pt x="190" y="43"/>
                    <a:pt x="190" y="43"/>
                  </a:cubicBezTo>
                  <a:cubicBezTo>
                    <a:pt x="191" y="43"/>
                    <a:pt x="191" y="45"/>
                    <a:pt x="191" y="46"/>
                  </a:cubicBezTo>
                  <a:cubicBezTo>
                    <a:pt x="191" y="46"/>
                    <a:pt x="191" y="46"/>
                    <a:pt x="191" y="46"/>
                  </a:cubicBezTo>
                  <a:cubicBezTo>
                    <a:pt x="191" y="46"/>
                    <a:pt x="190" y="47"/>
                    <a:pt x="189" y="47"/>
                  </a:cubicBezTo>
                  <a:cubicBezTo>
                    <a:pt x="189" y="47"/>
                    <a:pt x="189" y="47"/>
                    <a:pt x="189" y="47"/>
                  </a:cubicBezTo>
                  <a:cubicBezTo>
                    <a:pt x="189" y="47"/>
                    <a:pt x="189" y="46"/>
                    <a:pt x="188" y="46"/>
                  </a:cubicBezTo>
                  <a:close/>
                  <a:moveTo>
                    <a:pt x="52" y="35"/>
                  </a:moveTo>
                  <a:cubicBezTo>
                    <a:pt x="51" y="34"/>
                    <a:pt x="51" y="33"/>
                    <a:pt x="52" y="33"/>
                  </a:cubicBezTo>
                  <a:cubicBezTo>
                    <a:pt x="52" y="33"/>
                    <a:pt x="52" y="33"/>
                    <a:pt x="52" y="33"/>
                  </a:cubicBezTo>
                  <a:cubicBezTo>
                    <a:pt x="63" y="27"/>
                    <a:pt x="63" y="27"/>
                    <a:pt x="63" y="27"/>
                  </a:cubicBezTo>
                  <a:cubicBezTo>
                    <a:pt x="64" y="26"/>
                    <a:pt x="65" y="26"/>
                    <a:pt x="66" y="27"/>
                  </a:cubicBezTo>
                  <a:cubicBezTo>
                    <a:pt x="66" y="27"/>
                    <a:pt x="66" y="27"/>
                    <a:pt x="66" y="27"/>
                  </a:cubicBezTo>
                  <a:cubicBezTo>
                    <a:pt x="66" y="28"/>
                    <a:pt x="66" y="29"/>
                    <a:pt x="65" y="30"/>
                  </a:cubicBezTo>
                  <a:cubicBezTo>
                    <a:pt x="65" y="30"/>
                    <a:pt x="65" y="30"/>
                    <a:pt x="65" y="30"/>
                  </a:cubicBezTo>
                  <a:cubicBezTo>
                    <a:pt x="54" y="36"/>
                    <a:pt x="54" y="36"/>
                    <a:pt x="54" y="36"/>
                  </a:cubicBezTo>
                  <a:cubicBezTo>
                    <a:pt x="54" y="36"/>
                    <a:pt x="54" y="36"/>
                    <a:pt x="53" y="36"/>
                  </a:cubicBezTo>
                  <a:cubicBezTo>
                    <a:pt x="53" y="36"/>
                    <a:pt x="53" y="36"/>
                    <a:pt x="53" y="36"/>
                  </a:cubicBezTo>
                  <a:cubicBezTo>
                    <a:pt x="53" y="36"/>
                    <a:pt x="52" y="36"/>
                    <a:pt x="52" y="35"/>
                  </a:cubicBezTo>
                  <a:close/>
                  <a:moveTo>
                    <a:pt x="167" y="34"/>
                  </a:moveTo>
                  <a:cubicBezTo>
                    <a:pt x="157" y="28"/>
                    <a:pt x="157" y="28"/>
                    <a:pt x="157" y="28"/>
                  </a:cubicBezTo>
                  <a:cubicBezTo>
                    <a:pt x="156" y="28"/>
                    <a:pt x="156" y="26"/>
                    <a:pt x="156" y="26"/>
                  </a:cubicBezTo>
                  <a:cubicBezTo>
                    <a:pt x="156" y="26"/>
                    <a:pt x="156" y="26"/>
                    <a:pt x="156" y="26"/>
                  </a:cubicBezTo>
                  <a:cubicBezTo>
                    <a:pt x="157" y="25"/>
                    <a:pt x="158" y="24"/>
                    <a:pt x="159" y="25"/>
                  </a:cubicBezTo>
                  <a:cubicBezTo>
                    <a:pt x="159" y="25"/>
                    <a:pt x="159" y="25"/>
                    <a:pt x="159" y="25"/>
                  </a:cubicBezTo>
                  <a:cubicBezTo>
                    <a:pt x="169" y="31"/>
                    <a:pt x="169" y="31"/>
                    <a:pt x="169" y="31"/>
                  </a:cubicBezTo>
                  <a:cubicBezTo>
                    <a:pt x="170" y="31"/>
                    <a:pt x="171" y="33"/>
                    <a:pt x="170" y="34"/>
                  </a:cubicBezTo>
                  <a:cubicBezTo>
                    <a:pt x="170" y="34"/>
                    <a:pt x="170" y="34"/>
                    <a:pt x="170" y="34"/>
                  </a:cubicBezTo>
                  <a:cubicBezTo>
                    <a:pt x="170" y="34"/>
                    <a:pt x="169" y="35"/>
                    <a:pt x="168" y="35"/>
                  </a:cubicBezTo>
                  <a:cubicBezTo>
                    <a:pt x="168" y="35"/>
                    <a:pt x="168" y="35"/>
                    <a:pt x="168" y="35"/>
                  </a:cubicBezTo>
                  <a:cubicBezTo>
                    <a:pt x="168" y="35"/>
                    <a:pt x="168" y="34"/>
                    <a:pt x="167" y="34"/>
                  </a:cubicBezTo>
                  <a:close/>
                  <a:moveTo>
                    <a:pt x="72" y="23"/>
                  </a:moveTo>
                  <a:cubicBezTo>
                    <a:pt x="72" y="22"/>
                    <a:pt x="72" y="21"/>
                    <a:pt x="73" y="21"/>
                  </a:cubicBezTo>
                  <a:cubicBezTo>
                    <a:pt x="73" y="21"/>
                    <a:pt x="73" y="21"/>
                    <a:pt x="73" y="21"/>
                  </a:cubicBezTo>
                  <a:cubicBezTo>
                    <a:pt x="84" y="15"/>
                    <a:pt x="84" y="15"/>
                    <a:pt x="84" y="15"/>
                  </a:cubicBezTo>
                  <a:cubicBezTo>
                    <a:pt x="85" y="14"/>
                    <a:pt x="86" y="14"/>
                    <a:pt x="86" y="15"/>
                  </a:cubicBezTo>
                  <a:cubicBezTo>
                    <a:pt x="86" y="15"/>
                    <a:pt x="86" y="15"/>
                    <a:pt x="86" y="15"/>
                  </a:cubicBezTo>
                  <a:cubicBezTo>
                    <a:pt x="87" y="16"/>
                    <a:pt x="87" y="17"/>
                    <a:pt x="86" y="18"/>
                  </a:cubicBezTo>
                  <a:cubicBezTo>
                    <a:pt x="86" y="18"/>
                    <a:pt x="86" y="18"/>
                    <a:pt x="86" y="18"/>
                  </a:cubicBezTo>
                  <a:cubicBezTo>
                    <a:pt x="75" y="24"/>
                    <a:pt x="75" y="24"/>
                    <a:pt x="75" y="24"/>
                  </a:cubicBezTo>
                  <a:cubicBezTo>
                    <a:pt x="75" y="24"/>
                    <a:pt x="75" y="24"/>
                    <a:pt x="74" y="24"/>
                  </a:cubicBezTo>
                  <a:cubicBezTo>
                    <a:pt x="74" y="24"/>
                    <a:pt x="74" y="24"/>
                    <a:pt x="74" y="24"/>
                  </a:cubicBezTo>
                  <a:cubicBezTo>
                    <a:pt x="74" y="24"/>
                    <a:pt x="73" y="24"/>
                    <a:pt x="72" y="23"/>
                  </a:cubicBezTo>
                  <a:close/>
                  <a:moveTo>
                    <a:pt x="147" y="22"/>
                  </a:moveTo>
                  <a:cubicBezTo>
                    <a:pt x="136" y="16"/>
                    <a:pt x="136" y="16"/>
                    <a:pt x="136" y="16"/>
                  </a:cubicBezTo>
                  <a:cubicBezTo>
                    <a:pt x="135" y="16"/>
                    <a:pt x="135" y="14"/>
                    <a:pt x="136" y="13"/>
                  </a:cubicBezTo>
                  <a:cubicBezTo>
                    <a:pt x="136" y="13"/>
                    <a:pt x="136" y="13"/>
                    <a:pt x="136" y="13"/>
                  </a:cubicBezTo>
                  <a:cubicBezTo>
                    <a:pt x="136" y="13"/>
                    <a:pt x="137" y="12"/>
                    <a:pt x="138" y="13"/>
                  </a:cubicBezTo>
                  <a:cubicBezTo>
                    <a:pt x="138" y="13"/>
                    <a:pt x="138" y="13"/>
                    <a:pt x="138" y="13"/>
                  </a:cubicBezTo>
                  <a:cubicBezTo>
                    <a:pt x="149" y="19"/>
                    <a:pt x="149" y="19"/>
                    <a:pt x="149" y="19"/>
                  </a:cubicBezTo>
                  <a:cubicBezTo>
                    <a:pt x="150" y="19"/>
                    <a:pt x="150" y="21"/>
                    <a:pt x="149" y="21"/>
                  </a:cubicBezTo>
                  <a:cubicBezTo>
                    <a:pt x="149" y="21"/>
                    <a:pt x="149" y="21"/>
                    <a:pt x="149" y="21"/>
                  </a:cubicBezTo>
                  <a:cubicBezTo>
                    <a:pt x="149" y="22"/>
                    <a:pt x="148" y="22"/>
                    <a:pt x="148" y="22"/>
                  </a:cubicBezTo>
                  <a:cubicBezTo>
                    <a:pt x="148" y="22"/>
                    <a:pt x="148" y="22"/>
                    <a:pt x="148" y="22"/>
                  </a:cubicBezTo>
                  <a:cubicBezTo>
                    <a:pt x="147" y="22"/>
                    <a:pt x="147" y="22"/>
                    <a:pt x="147" y="22"/>
                  </a:cubicBezTo>
                  <a:close/>
                  <a:moveTo>
                    <a:pt x="93" y="11"/>
                  </a:moveTo>
                  <a:cubicBezTo>
                    <a:pt x="93" y="10"/>
                    <a:pt x="93" y="9"/>
                    <a:pt x="94" y="9"/>
                  </a:cubicBezTo>
                  <a:cubicBezTo>
                    <a:pt x="94" y="9"/>
                    <a:pt x="94" y="9"/>
                    <a:pt x="94" y="9"/>
                  </a:cubicBezTo>
                  <a:cubicBezTo>
                    <a:pt x="104" y="3"/>
                    <a:pt x="104" y="3"/>
                    <a:pt x="104" y="3"/>
                  </a:cubicBezTo>
                  <a:cubicBezTo>
                    <a:pt x="105" y="2"/>
                    <a:pt x="107" y="2"/>
                    <a:pt x="107" y="3"/>
                  </a:cubicBezTo>
                  <a:cubicBezTo>
                    <a:pt x="107" y="3"/>
                    <a:pt x="107" y="3"/>
                    <a:pt x="107" y="3"/>
                  </a:cubicBezTo>
                  <a:cubicBezTo>
                    <a:pt x="108" y="4"/>
                    <a:pt x="107" y="5"/>
                    <a:pt x="106" y="6"/>
                  </a:cubicBezTo>
                  <a:cubicBezTo>
                    <a:pt x="106" y="6"/>
                    <a:pt x="106" y="6"/>
                    <a:pt x="106" y="6"/>
                  </a:cubicBezTo>
                  <a:cubicBezTo>
                    <a:pt x="96" y="12"/>
                    <a:pt x="96" y="12"/>
                    <a:pt x="96" y="12"/>
                  </a:cubicBezTo>
                  <a:cubicBezTo>
                    <a:pt x="96" y="12"/>
                    <a:pt x="95" y="12"/>
                    <a:pt x="95" y="12"/>
                  </a:cubicBezTo>
                  <a:cubicBezTo>
                    <a:pt x="95" y="12"/>
                    <a:pt x="95" y="12"/>
                    <a:pt x="95" y="12"/>
                  </a:cubicBezTo>
                  <a:cubicBezTo>
                    <a:pt x="94" y="12"/>
                    <a:pt x="94" y="12"/>
                    <a:pt x="93" y="11"/>
                  </a:cubicBezTo>
                  <a:close/>
                  <a:moveTo>
                    <a:pt x="126" y="10"/>
                  </a:moveTo>
                  <a:cubicBezTo>
                    <a:pt x="116" y="4"/>
                    <a:pt x="116" y="4"/>
                    <a:pt x="116" y="4"/>
                  </a:cubicBezTo>
                  <a:cubicBezTo>
                    <a:pt x="115" y="4"/>
                    <a:pt x="114" y="2"/>
                    <a:pt x="115" y="1"/>
                  </a:cubicBezTo>
                  <a:cubicBezTo>
                    <a:pt x="115" y="1"/>
                    <a:pt x="115" y="1"/>
                    <a:pt x="115" y="1"/>
                  </a:cubicBezTo>
                  <a:cubicBezTo>
                    <a:pt x="115" y="0"/>
                    <a:pt x="117" y="0"/>
                    <a:pt x="118" y="1"/>
                  </a:cubicBezTo>
                  <a:cubicBezTo>
                    <a:pt x="118" y="1"/>
                    <a:pt x="118" y="1"/>
                    <a:pt x="118" y="1"/>
                  </a:cubicBezTo>
                  <a:cubicBezTo>
                    <a:pt x="118" y="1"/>
                    <a:pt x="118" y="1"/>
                    <a:pt x="118" y="1"/>
                  </a:cubicBezTo>
                  <a:cubicBezTo>
                    <a:pt x="128" y="7"/>
                    <a:pt x="128" y="7"/>
                    <a:pt x="128" y="7"/>
                  </a:cubicBezTo>
                  <a:cubicBezTo>
                    <a:pt x="129" y="7"/>
                    <a:pt x="129" y="9"/>
                    <a:pt x="129" y="9"/>
                  </a:cubicBezTo>
                  <a:cubicBezTo>
                    <a:pt x="129" y="9"/>
                    <a:pt x="129" y="9"/>
                    <a:pt x="129" y="9"/>
                  </a:cubicBezTo>
                  <a:cubicBezTo>
                    <a:pt x="128" y="10"/>
                    <a:pt x="128" y="10"/>
                    <a:pt x="127" y="10"/>
                  </a:cubicBezTo>
                  <a:cubicBezTo>
                    <a:pt x="127" y="10"/>
                    <a:pt x="127" y="10"/>
                    <a:pt x="127" y="10"/>
                  </a:cubicBezTo>
                  <a:cubicBezTo>
                    <a:pt x="127" y="10"/>
                    <a:pt x="126" y="10"/>
                    <a:pt x="12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16"/>
            <p:cNvSpPr>
              <a:spLocks noEditPoints="1"/>
            </p:cNvSpPr>
            <p:nvPr/>
          </p:nvSpPr>
          <p:spPr bwMode="auto">
            <a:xfrm>
              <a:off x="5094288" y="4049713"/>
              <a:ext cx="269875" cy="320675"/>
            </a:xfrm>
            <a:custGeom>
              <a:avLst/>
              <a:gdLst>
                <a:gd name="T0" fmla="*/ 6 w 279"/>
                <a:gd name="T1" fmla="*/ 0 h 333"/>
                <a:gd name="T2" fmla="*/ 12 w 279"/>
                <a:gd name="T3" fmla="*/ 50 h 333"/>
                <a:gd name="T4" fmla="*/ 254 w 279"/>
                <a:gd name="T5" fmla="*/ 43 h 333"/>
                <a:gd name="T6" fmla="*/ 33 w 279"/>
                <a:gd name="T7" fmla="*/ 202 h 333"/>
                <a:gd name="T8" fmla="*/ 110 w 279"/>
                <a:gd name="T9" fmla="*/ 239 h 333"/>
                <a:gd name="T10" fmla="*/ 98 w 279"/>
                <a:gd name="T11" fmla="*/ 330 h 333"/>
                <a:gd name="T12" fmla="*/ 233 w 279"/>
                <a:gd name="T13" fmla="*/ 285 h 333"/>
                <a:gd name="T14" fmla="*/ 243 w 279"/>
                <a:gd name="T15" fmla="*/ 267 h 333"/>
                <a:gd name="T16" fmla="*/ 279 w 279"/>
                <a:gd name="T17" fmla="*/ 44 h 333"/>
                <a:gd name="T18" fmla="*/ 56 w 279"/>
                <a:gd name="T19" fmla="*/ 108 h 333"/>
                <a:gd name="T20" fmla="*/ 87 w 279"/>
                <a:gd name="T21" fmla="*/ 118 h 333"/>
                <a:gd name="T22" fmla="*/ 94 w 279"/>
                <a:gd name="T23" fmla="*/ 130 h 333"/>
                <a:gd name="T24" fmla="*/ 83 w 279"/>
                <a:gd name="T25" fmla="*/ 148 h 333"/>
                <a:gd name="T26" fmla="*/ 102 w 279"/>
                <a:gd name="T27" fmla="*/ 177 h 333"/>
                <a:gd name="T28" fmla="*/ 96 w 279"/>
                <a:gd name="T29" fmla="*/ 150 h 333"/>
                <a:gd name="T30" fmla="*/ 107 w 279"/>
                <a:gd name="T31" fmla="*/ 132 h 333"/>
                <a:gd name="T32" fmla="*/ 88 w 279"/>
                <a:gd name="T33" fmla="*/ 104 h 333"/>
                <a:gd name="T34" fmla="*/ 72 w 279"/>
                <a:gd name="T35" fmla="*/ 110 h 333"/>
                <a:gd name="T36" fmla="*/ 83 w 279"/>
                <a:gd name="T37" fmla="*/ 89 h 333"/>
                <a:gd name="T38" fmla="*/ 65 w 279"/>
                <a:gd name="T39" fmla="*/ 62 h 333"/>
                <a:gd name="T40" fmla="*/ 70 w 279"/>
                <a:gd name="T41" fmla="*/ 88 h 333"/>
                <a:gd name="T42" fmla="*/ 56 w 279"/>
                <a:gd name="T43" fmla="*/ 108 h 333"/>
                <a:gd name="T44" fmla="*/ 126 w 279"/>
                <a:gd name="T45" fmla="*/ 181 h 333"/>
                <a:gd name="T46" fmla="*/ 151 w 279"/>
                <a:gd name="T47" fmla="*/ 159 h 333"/>
                <a:gd name="T48" fmla="*/ 145 w 279"/>
                <a:gd name="T49" fmla="*/ 138 h 333"/>
                <a:gd name="T50" fmla="*/ 155 w 279"/>
                <a:gd name="T51" fmla="*/ 128 h 333"/>
                <a:gd name="T52" fmla="*/ 191 w 279"/>
                <a:gd name="T53" fmla="*/ 145 h 333"/>
                <a:gd name="T54" fmla="*/ 197 w 279"/>
                <a:gd name="T55" fmla="*/ 166 h 333"/>
                <a:gd name="T56" fmla="*/ 185 w 279"/>
                <a:gd name="T57" fmla="*/ 190 h 333"/>
                <a:gd name="T58" fmla="*/ 211 w 279"/>
                <a:gd name="T59" fmla="*/ 168 h 333"/>
                <a:gd name="T60" fmla="*/ 205 w 279"/>
                <a:gd name="T61" fmla="*/ 147 h 333"/>
                <a:gd name="T62" fmla="*/ 216 w 279"/>
                <a:gd name="T63" fmla="*/ 122 h 333"/>
                <a:gd name="T64" fmla="*/ 193 w 279"/>
                <a:gd name="T65" fmla="*/ 128 h 333"/>
                <a:gd name="T66" fmla="*/ 179 w 279"/>
                <a:gd name="T67" fmla="*/ 103 h 333"/>
                <a:gd name="T68" fmla="*/ 191 w 279"/>
                <a:gd name="T69" fmla="*/ 78 h 333"/>
                <a:gd name="T70" fmla="*/ 166 w 279"/>
                <a:gd name="T71" fmla="*/ 101 h 333"/>
                <a:gd name="T72" fmla="*/ 171 w 279"/>
                <a:gd name="T73" fmla="*/ 125 h 333"/>
                <a:gd name="T74" fmla="*/ 156 w 279"/>
                <a:gd name="T75" fmla="*/ 114 h 333"/>
                <a:gd name="T76" fmla="*/ 132 w 279"/>
                <a:gd name="T77" fmla="*/ 136 h 333"/>
                <a:gd name="T78" fmla="*/ 138 w 279"/>
                <a:gd name="T79" fmla="*/ 15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33">
                  <a:moveTo>
                    <a:pt x="271" y="34"/>
                  </a:moveTo>
                  <a:cubicBezTo>
                    <a:pt x="6" y="0"/>
                    <a:pt x="6" y="0"/>
                    <a:pt x="6" y="0"/>
                  </a:cubicBezTo>
                  <a:cubicBezTo>
                    <a:pt x="0" y="45"/>
                    <a:pt x="0" y="45"/>
                    <a:pt x="0" y="45"/>
                  </a:cubicBezTo>
                  <a:cubicBezTo>
                    <a:pt x="4" y="46"/>
                    <a:pt x="8" y="48"/>
                    <a:pt x="12" y="50"/>
                  </a:cubicBezTo>
                  <a:cubicBezTo>
                    <a:pt x="17" y="13"/>
                    <a:pt x="17" y="13"/>
                    <a:pt x="17" y="13"/>
                  </a:cubicBezTo>
                  <a:cubicBezTo>
                    <a:pt x="254" y="43"/>
                    <a:pt x="254" y="43"/>
                    <a:pt x="254" y="43"/>
                  </a:cubicBezTo>
                  <a:cubicBezTo>
                    <a:pt x="229" y="240"/>
                    <a:pt x="229" y="240"/>
                    <a:pt x="229" y="240"/>
                  </a:cubicBezTo>
                  <a:cubicBezTo>
                    <a:pt x="33" y="202"/>
                    <a:pt x="33" y="202"/>
                    <a:pt x="33" y="202"/>
                  </a:cubicBezTo>
                  <a:cubicBezTo>
                    <a:pt x="45" y="209"/>
                    <a:pt x="56" y="219"/>
                    <a:pt x="65" y="230"/>
                  </a:cubicBezTo>
                  <a:cubicBezTo>
                    <a:pt x="110" y="239"/>
                    <a:pt x="110" y="239"/>
                    <a:pt x="110" y="239"/>
                  </a:cubicBezTo>
                  <a:cubicBezTo>
                    <a:pt x="98" y="241"/>
                    <a:pt x="87" y="244"/>
                    <a:pt x="77" y="247"/>
                  </a:cubicBezTo>
                  <a:cubicBezTo>
                    <a:pt x="90" y="270"/>
                    <a:pt x="97" y="298"/>
                    <a:pt x="98" y="330"/>
                  </a:cubicBezTo>
                  <a:cubicBezTo>
                    <a:pt x="109" y="332"/>
                    <a:pt x="122" y="333"/>
                    <a:pt x="136" y="333"/>
                  </a:cubicBezTo>
                  <a:cubicBezTo>
                    <a:pt x="189" y="333"/>
                    <a:pt x="233" y="312"/>
                    <a:pt x="233" y="285"/>
                  </a:cubicBezTo>
                  <a:cubicBezTo>
                    <a:pt x="233" y="277"/>
                    <a:pt x="228" y="269"/>
                    <a:pt x="220" y="262"/>
                  </a:cubicBezTo>
                  <a:cubicBezTo>
                    <a:pt x="243" y="267"/>
                    <a:pt x="243" y="267"/>
                    <a:pt x="243" y="267"/>
                  </a:cubicBezTo>
                  <a:cubicBezTo>
                    <a:pt x="256" y="249"/>
                    <a:pt x="256" y="249"/>
                    <a:pt x="256" y="249"/>
                  </a:cubicBezTo>
                  <a:cubicBezTo>
                    <a:pt x="279" y="44"/>
                    <a:pt x="279" y="44"/>
                    <a:pt x="279" y="44"/>
                  </a:cubicBezTo>
                  <a:lnTo>
                    <a:pt x="271" y="34"/>
                  </a:lnTo>
                  <a:close/>
                  <a:moveTo>
                    <a:pt x="56" y="108"/>
                  </a:moveTo>
                  <a:cubicBezTo>
                    <a:pt x="56" y="110"/>
                    <a:pt x="57" y="112"/>
                    <a:pt x="57" y="114"/>
                  </a:cubicBezTo>
                  <a:cubicBezTo>
                    <a:pt x="87" y="118"/>
                    <a:pt x="87" y="118"/>
                    <a:pt x="87" y="118"/>
                  </a:cubicBezTo>
                  <a:cubicBezTo>
                    <a:pt x="86" y="129"/>
                    <a:pt x="86" y="129"/>
                    <a:pt x="86" y="129"/>
                  </a:cubicBezTo>
                  <a:cubicBezTo>
                    <a:pt x="94" y="130"/>
                    <a:pt x="94" y="130"/>
                    <a:pt x="94" y="130"/>
                  </a:cubicBezTo>
                  <a:cubicBezTo>
                    <a:pt x="91" y="150"/>
                    <a:pt x="91" y="150"/>
                    <a:pt x="91" y="150"/>
                  </a:cubicBezTo>
                  <a:cubicBezTo>
                    <a:pt x="83" y="148"/>
                    <a:pt x="83" y="148"/>
                    <a:pt x="83" y="148"/>
                  </a:cubicBezTo>
                  <a:cubicBezTo>
                    <a:pt x="81" y="173"/>
                    <a:pt x="81" y="173"/>
                    <a:pt x="81" y="173"/>
                  </a:cubicBezTo>
                  <a:cubicBezTo>
                    <a:pt x="102" y="177"/>
                    <a:pt x="102" y="177"/>
                    <a:pt x="102" y="177"/>
                  </a:cubicBezTo>
                  <a:cubicBezTo>
                    <a:pt x="105" y="152"/>
                    <a:pt x="105" y="152"/>
                    <a:pt x="105" y="152"/>
                  </a:cubicBezTo>
                  <a:cubicBezTo>
                    <a:pt x="96" y="150"/>
                    <a:pt x="96" y="150"/>
                    <a:pt x="96" y="150"/>
                  </a:cubicBezTo>
                  <a:cubicBezTo>
                    <a:pt x="99" y="131"/>
                    <a:pt x="99" y="131"/>
                    <a:pt x="99" y="131"/>
                  </a:cubicBezTo>
                  <a:cubicBezTo>
                    <a:pt x="107" y="132"/>
                    <a:pt x="107" y="132"/>
                    <a:pt x="107" y="132"/>
                  </a:cubicBezTo>
                  <a:cubicBezTo>
                    <a:pt x="110" y="107"/>
                    <a:pt x="110" y="107"/>
                    <a:pt x="110" y="107"/>
                  </a:cubicBezTo>
                  <a:cubicBezTo>
                    <a:pt x="88" y="104"/>
                    <a:pt x="88" y="104"/>
                    <a:pt x="88" y="104"/>
                  </a:cubicBezTo>
                  <a:cubicBezTo>
                    <a:pt x="87" y="113"/>
                    <a:pt x="87" y="113"/>
                    <a:pt x="87" y="113"/>
                  </a:cubicBezTo>
                  <a:cubicBezTo>
                    <a:pt x="72" y="110"/>
                    <a:pt x="72" y="110"/>
                    <a:pt x="72" y="110"/>
                  </a:cubicBezTo>
                  <a:cubicBezTo>
                    <a:pt x="75" y="88"/>
                    <a:pt x="75" y="88"/>
                    <a:pt x="75" y="88"/>
                  </a:cubicBezTo>
                  <a:cubicBezTo>
                    <a:pt x="83" y="89"/>
                    <a:pt x="83" y="89"/>
                    <a:pt x="83" y="89"/>
                  </a:cubicBezTo>
                  <a:cubicBezTo>
                    <a:pt x="85" y="64"/>
                    <a:pt x="85" y="64"/>
                    <a:pt x="85" y="64"/>
                  </a:cubicBezTo>
                  <a:cubicBezTo>
                    <a:pt x="65" y="62"/>
                    <a:pt x="65" y="62"/>
                    <a:pt x="65" y="62"/>
                  </a:cubicBezTo>
                  <a:cubicBezTo>
                    <a:pt x="62" y="87"/>
                    <a:pt x="62" y="87"/>
                    <a:pt x="62" y="87"/>
                  </a:cubicBezTo>
                  <a:cubicBezTo>
                    <a:pt x="70" y="88"/>
                    <a:pt x="70" y="88"/>
                    <a:pt x="70" y="88"/>
                  </a:cubicBezTo>
                  <a:cubicBezTo>
                    <a:pt x="67" y="110"/>
                    <a:pt x="67" y="110"/>
                    <a:pt x="67" y="110"/>
                  </a:cubicBezTo>
                  <a:lnTo>
                    <a:pt x="56" y="108"/>
                  </a:lnTo>
                  <a:close/>
                  <a:moveTo>
                    <a:pt x="129" y="155"/>
                  </a:moveTo>
                  <a:cubicBezTo>
                    <a:pt x="126" y="181"/>
                    <a:pt x="126" y="181"/>
                    <a:pt x="126" y="181"/>
                  </a:cubicBezTo>
                  <a:cubicBezTo>
                    <a:pt x="148" y="184"/>
                    <a:pt x="148" y="184"/>
                    <a:pt x="148" y="184"/>
                  </a:cubicBezTo>
                  <a:cubicBezTo>
                    <a:pt x="151" y="159"/>
                    <a:pt x="151" y="159"/>
                    <a:pt x="151" y="159"/>
                  </a:cubicBezTo>
                  <a:cubicBezTo>
                    <a:pt x="143" y="157"/>
                    <a:pt x="143" y="157"/>
                    <a:pt x="143" y="157"/>
                  </a:cubicBezTo>
                  <a:cubicBezTo>
                    <a:pt x="145" y="138"/>
                    <a:pt x="145" y="138"/>
                    <a:pt x="145" y="138"/>
                  </a:cubicBezTo>
                  <a:cubicBezTo>
                    <a:pt x="153" y="139"/>
                    <a:pt x="153" y="139"/>
                    <a:pt x="153" y="139"/>
                  </a:cubicBezTo>
                  <a:cubicBezTo>
                    <a:pt x="155" y="128"/>
                    <a:pt x="155" y="128"/>
                    <a:pt x="155" y="128"/>
                  </a:cubicBezTo>
                  <a:cubicBezTo>
                    <a:pt x="192" y="134"/>
                    <a:pt x="192" y="134"/>
                    <a:pt x="192" y="134"/>
                  </a:cubicBezTo>
                  <a:cubicBezTo>
                    <a:pt x="191" y="145"/>
                    <a:pt x="191" y="145"/>
                    <a:pt x="191" y="145"/>
                  </a:cubicBezTo>
                  <a:cubicBezTo>
                    <a:pt x="199" y="146"/>
                    <a:pt x="199" y="146"/>
                    <a:pt x="199" y="146"/>
                  </a:cubicBezTo>
                  <a:cubicBezTo>
                    <a:pt x="197" y="166"/>
                    <a:pt x="197" y="166"/>
                    <a:pt x="197" y="166"/>
                  </a:cubicBezTo>
                  <a:cubicBezTo>
                    <a:pt x="188" y="164"/>
                    <a:pt x="188" y="164"/>
                    <a:pt x="188" y="164"/>
                  </a:cubicBezTo>
                  <a:cubicBezTo>
                    <a:pt x="185" y="190"/>
                    <a:pt x="185" y="190"/>
                    <a:pt x="185" y="190"/>
                  </a:cubicBezTo>
                  <a:cubicBezTo>
                    <a:pt x="208" y="194"/>
                    <a:pt x="208" y="194"/>
                    <a:pt x="208" y="194"/>
                  </a:cubicBezTo>
                  <a:cubicBezTo>
                    <a:pt x="211" y="168"/>
                    <a:pt x="211" y="168"/>
                    <a:pt x="211" y="168"/>
                  </a:cubicBezTo>
                  <a:cubicBezTo>
                    <a:pt x="202" y="167"/>
                    <a:pt x="202" y="167"/>
                    <a:pt x="202" y="167"/>
                  </a:cubicBezTo>
                  <a:cubicBezTo>
                    <a:pt x="205" y="147"/>
                    <a:pt x="205" y="147"/>
                    <a:pt x="205" y="147"/>
                  </a:cubicBezTo>
                  <a:cubicBezTo>
                    <a:pt x="213" y="148"/>
                    <a:pt x="213" y="148"/>
                    <a:pt x="213" y="148"/>
                  </a:cubicBezTo>
                  <a:cubicBezTo>
                    <a:pt x="216" y="122"/>
                    <a:pt x="216" y="122"/>
                    <a:pt x="216" y="122"/>
                  </a:cubicBezTo>
                  <a:cubicBezTo>
                    <a:pt x="194" y="119"/>
                    <a:pt x="194" y="119"/>
                    <a:pt x="194" y="119"/>
                  </a:cubicBezTo>
                  <a:cubicBezTo>
                    <a:pt x="193" y="128"/>
                    <a:pt x="193" y="128"/>
                    <a:pt x="193" y="128"/>
                  </a:cubicBezTo>
                  <a:cubicBezTo>
                    <a:pt x="176" y="125"/>
                    <a:pt x="176" y="125"/>
                    <a:pt x="176" y="125"/>
                  </a:cubicBezTo>
                  <a:cubicBezTo>
                    <a:pt x="179" y="103"/>
                    <a:pt x="179" y="103"/>
                    <a:pt x="179" y="103"/>
                  </a:cubicBezTo>
                  <a:cubicBezTo>
                    <a:pt x="188" y="104"/>
                    <a:pt x="188" y="104"/>
                    <a:pt x="188" y="104"/>
                  </a:cubicBezTo>
                  <a:cubicBezTo>
                    <a:pt x="191" y="78"/>
                    <a:pt x="191" y="78"/>
                    <a:pt x="191" y="78"/>
                  </a:cubicBezTo>
                  <a:cubicBezTo>
                    <a:pt x="168" y="75"/>
                    <a:pt x="168" y="75"/>
                    <a:pt x="168" y="75"/>
                  </a:cubicBezTo>
                  <a:cubicBezTo>
                    <a:pt x="166" y="101"/>
                    <a:pt x="166" y="101"/>
                    <a:pt x="166" y="101"/>
                  </a:cubicBezTo>
                  <a:cubicBezTo>
                    <a:pt x="174" y="102"/>
                    <a:pt x="174" y="102"/>
                    <a:pt x="174" y="102"/>
                  </a:cubicBezTo>
                  <a:cubicBezTo>
                    <a:pt x="171" y="125"/>
                    <a:pt x="171" y="125"/>
                    <a:pt x="171" y="125"/>
                  </a:cubicBezTo>
                  <a:cubicBezTo>
                    <a:pt x="155" y="122"/>
                    <a:pt x="155" y="122"/>
                    <a:pt x="155" y="122"/>
                  </a:cubicBezTo>
                  <a:cubicBezTo>
                    <a:pt x="156" y="114"/>
                    <a:pt x="156" y="114"/>
                    <a:pt x="156" y="114"/>
                  </a:cubicBezTo>
                  <a:cubicBezTo>
                    <a:pt x="135" y="110"/>
                    <a:pt x="135" y="110"/>
                    <a:pt x="135" y="110"/>
                  </a:cubicBezTo>
                  <a:cubicBezTo>
                    <a:pt x="132" y="136"/>
                    <a:pt x="132" y="136"/>
                    <a:pt x="132" y="136"/>
                  </a:cubicBezTo>
                  <a:cubicBezTo>
                    <a:pt x="140" y="137"/>
                    <a:pt x="140" y="137"/>
                    <a:pt x="140" y="137"/>
                  </a:cubicBezTo>
                  <a:cubicBezTo>
                    <a:pt x="138" y="157"/>
                    <a:pt x="138" y="157"/>
                    <a:pt x="138" y="157"/>
                  </a:cubicBezTo>
                  <a:lnTo>
                    <a:pt x="129"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p:cNvGrpSpPr/>
          <p:nvPr/>
        </p:nvGrpSpPr>
        <p:grpSpPr>
          <a:xfrm>
            <a:off x="8999601" y="1391974"/>
            <a:ext cx="2489555" cy="1944787"/>
            <a:chOff x="8999601" y="1391974"/>
            <a:chExt cx="2489555" cy="1944787"/>
          </a:xfrm>
        </p:grpSpPr>
        <p:grpSp>
          <p:nvGrpSpPr>
            <p:cNvPr id="67" name="Group 4"/>
            <p:cNvGrpSpPr>
              <a:grpSpLocks noChangeAspect="1"/>
            </p:cNvGrpSpPr>
            <p:nvPr/>
          </p:nvGrpSpPr>
          <p:grpSpPr bwMode="auto">
            <a:xfrm>
              <a:off x="8999601" y="1508911"/>
              <a:ext cx="1152864" cy="1742289"/>
              <a:chOff x="2629" y="260"/>
              <a:chExt cx="2574" cy="3890"/>
            </a:xfrm>
            <a:solidFill>
              <a:srgbClr val="0070C0"/>
            </a:solidFill>
          </p:grpSpPr>
          <p:sp>
            <p:nvSpPr>
              <p:cNvPr id="75" name="Freeform 6"/>
              <p:cNvSpPr>
                <a:spLocks/>
              </p:cNvSpPr>
              <p:nvPr/>
            </p:nvSpPr>
            <p:spPr bwMode="auto">
              <a:xfrm>
                <a:off x="3160" y="260"/>
                <a:ext cx="1502" cy="1502"/>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7"/>
              <p:cNvSpPr>
                <a:spLocks/>
              </p:cNvSpPr>
              <p:nvPr/>
            </p:nvSpPr>
            <p:spPr bwMode="auto">
              <a:xfrm>
                <a:off x="2629" y="1595"/>
                <a:ext cx="2574" cy="2555"/>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8" name="Group 4"/>
            <p:cNvGrpSpPr>
              <a:grpSpLocks noChangeAspect="1"/>
            </p:cNvGrpSpPr>
            <p:nvPr/>
          </p:nvGrpSpPr>
          <p:grpSpPr bwMode="auto">
            <a:xfrm>
              <a:off x="10336292" y="1508911"/>
              <a:ext cx="1152864" cy="1742289"/>
              <a:chOff x="2629" y="260"/>
              <a:chExt cx="2574" cy="3890"/>
            </a:xfrm>
            <a:solidFill>
              <a:srgbClr val="0070C0"/>
            </a:solidFill>
          </p:grpSpPr>
          <p:sp>
            <p:nvSpPr>
              <p:cNvPr id="71" name="Freeform 6"/>
              <p:cNvSpPr>
                <a:spLocks/>
              </p:cNvSpPr>
              <p:nvPr/>
            </p:nvSpPr>
            <p:spPr bwMode="auto">
              <a:xfrm>
                <a:off x="3160" y="260"/>
                <a:ext cx="1502" cy="1502"/>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2" name="Freeform 7"/>
              <p:cNvSpPr>
                <a:spLocks/>
              </p:cNvSpPr>
              <p:nvPr/>
            </p:nvSpPr>
            <p:spPr bwMode="auto">
              <a:xfrm>
                <a:off x="2629" y="1595"/>
                <a:ext cx="2574" cy="2555"/>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5" name="Group 4"/>
            <p:cNvGrpSpPr>
              <a:grpSpLocks noChangeAspect="1"/>
            </p:cNvGrpSpPr>
            <p:nvPr/>
          </p:nvGrpSpPr>
          <p:grpSpPr bwMode="auto">
            <a:xfrm>
              <a:off x="9604579" y="1391974"/>
              <a:ext cx="1286856" cy="1944787"/>
              <a:chOff x="2629" y="260"/>
              <a:chExt cx="2574" cy="3890"/>
            </a:xfrm>
            <a:solidFill>
              <a:srgbClr val="0070C0"/>
            </a:solidFill>
          </p:grpSpPr>
          <p:sp>
            <p:nvSpPr>
              <p:cNvPr id="77" name="Freeform 6"/>
              <p:cNvSpPr>
                <a:spLocks/>
              </p:cNvSpPr>
              <p:nvPr/>
            </p:nvSpPr>
            <p:spPr bwMode="auto">
              <a:xfrm>
                <a:off x="3160" y="260"/>
                <a:ext cx="1502" cy="1502"/>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442359"/>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8" name="Freeform 7"/>
              <p:cNvSpPr>
                <a:spLocks/>
              </p:cNvSpPr>
              <p:nvPr/>
            </p:nvSpPr>
            <p:spPr bwMode="auto">
              <a:xfrm>
                <a:off x="2629" y="1595"/>
                <a:ext cx="2574" cy="2555"/>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442359"/>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11462028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2MqdPhtLEKLQe1xstNtxA"/>
</p:tagLst>
</file>

<file path=ppt/theme/theme1.xml><?xml version="1.0" encoding="utf-8"?>
<a:theme xmlns:a="http://schemas.openxmlformats.org/drawingml/2006/main" name="7-30269_Server &amp; Tools Business_16x9">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VDITheme">
  <a:themeElements>
    <a:clrScheme name="MicrosoftThemColours">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rmAutofit/>
      </a:bodyPr>
      <a:lstStyle>
        <a:defPPr>
          <a:lnSpc>
            <a:spcPct val="90000"/>
          </a:lnSpc>
          <a:defRPr sz="1224" cap="all" dirty="0" smtClean="0">
            <a:solidFill>
              <a:srgbClr val="FFFFFF"/>
            </a:soli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222DCAB731EA542AA8D914629D7F073" ma:contentTypeVersion="0" ma:contentTypeDescription="Create a new document." ma:contentTypeScope="" ma:versionID="e62fe055c4087a71a3b6e369f955b4ab">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AEBEF8F3-84ED-46D9-B278-B4DAC9E989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STB_External_Template_16x9</Template>
  <TotalTime>2501</TotalTime>
  <Words>5160</Words>
  <Application>Microsoft Office PowerPoint</Application>
  <PresentationFormat>Custom</PresentationFormat>
  <Paragraphs>565</Paragraphs>
  <Slides>50</Slides>
  <Notes>50</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50</vt:i4>
      </vt:variant>
    </vt:vector>
  </HeadingPairs>
  <TitlesOfParts>
    <vt:vector size="63" baseType="lpstr">
      <vt:lpstr>ＭＳ Ｐゴシック</vt:lpstr>
      <vt:lpstr>Arial</vt:lpstr>
      <vt:lpstr>Consolas</vt:lpstr>
      <vt:lpstr>Segoe</vt:lpstr>
      <vt:lpstr>Segoe Light</vt:lpstr>
      <vt:lpstr>Segoe UI</vt:lpstr>
      <vt:lpstr>Segoe UI Light</vt:lpstr>
      <vt:lpstr>Trebuchet MS</vt:lpstr>
      <vt:lpstr>Wingdings</vt:lpstr>
      <vt:lpstr>7-30269_Server &amp; Tools Business_16x9</vt:lpstr>
      <vt:lpstr>VDITheme</vt:lpstr>
      <vt:lpstr>TechEd_2013_Template_16x9</vt:lpstr>
      <vt:lpstr>think-cell Slide</vt:lpstr>
      <vt:lpstr>PowerPoint Presentation</vt:lpstr>
      <vt:lpstr>What’s New in Windows Server 2012 VDI and RDS</vt:lpstr>
      <vt:lpstr>Disclaimer</vt:lpstr>
      <vt:lpstr>Today’s challenges</vt:lpstr>
      <vt:lpstr>People-centric IT</vt:lpstr>
      <vt:lpstr>Why Microsoft VDI?</vt:lpstr>
      <vt:lpstr>VDI  with Windows Server 2012 </vt:lpstr>
      <vt:lpstr>Choosing the Right VDI Architecture</vt:lpstr>
      <vt:lpstr>Solution Principles</vt:lpstr>
      <vt:lpstr>Efficient management with simple deployment, intuitive administration, and scalability</vt:lpstr>
      <vt:lpstr>Easy deployment with automation</vt:lpstr>
      <vt:lpstr>Unified administration that is intuitive to manage</vt:lpstr>
      <vt:lpstr>Streamlined management of virtual machines for scalability</vt:lpstr>
      <vt:lpstr>PowerPoint Presentation</vt:lpstr>
      <vt:lpstr>Best value for VDI with key platform capabilities</vt:lpstr>
      <vt:lpstr>User Profile Disk</vt:lpstr>
      <vt:lpstr>Personalization with User Profile Disk</vt:lpstr>
      <vt:lpstr>Fair Share</vt:lpstr>
      <vt:lpstr>Multiple storage options</vt:lpstr>
      <vt:lpstr>Storage options</vt:lpstr>
      <vt:lpstr>Comparing and reducing VDI costs</vt:lpstr>
      <vt:lpstr>High availability</vt:lpstr>
      <vt:lpstr>High availability</vt:lpstr>
      <vt:lpstr>Rich user experience with RemoteFX</vt:lpstr>
      <vt:lpstr>What is a rich user experience?</vt:lpstr>
      <vt:lpstr>RemoteFX over LAN or WAN</vt:lpstr>
      <vt:lpstr>RemoteFX adaptive graphics</vt:lpstr>
      <vt:lpstr>RemoteFX progressive rendering</vt:lpstr>
      <vt:lpstr>RemoteFX for WAN </vt:lpstr>
      <vt:lpstr>RemoteFX Media Streaming</vt:lpstr>
      <vt:lpstr>RemoteFX USB device redirection</vt:lpstr>
      <vt:lpstr>Choice of GPU on server</vt:lpstr>
      <vt:lpstr>New for R2</vt:lpstr>
      <vt:lpstr>PowerPoint Presentation</vt:lpstr>
      <vt:lpstr>Top features to answer challenges</vt:lpstr>
      <vt:lpstr>Related content</vt:lpstr>
      <vt:lpstr>For More Information</vt:lpstr>
      <vt:lpstr>Resources</vt:lpstr>
      <vt:lpstr>Complete an evaluation on CommNet and enter to win!</vt:lpstr>
      <vt:lpstr>Windows Track Resources</vt:lpstr>
      <vt:lpstr>Resources</vt:lpstr>
      <vt:lpstr>For More Information</vt:lpstr>
      <vt:lpstr>Complete an evaluation on CommNet and enter to win!</vt:lpstr>
      <vt:lpstr>Evaluate this session</vt:lpstr>
      <vt:lpstr>PowerPoint Presentation</vt:lpstr>
      <vt:lpstr>Appendix</vt:lpstr>
      <vt:lpstr>Microsoft and Citrix better together</vt:lpstr>
      <vt:lpstr>Why Citrix for Desktop Virtualization?  Work anywhere, made anywhere </vt:lpstr>
      <vt:lpstr>RemoteFX rich ecosystem</vt:lpstr>
      <vt:lpstr>RemoteFX thin client logo</vt:lpstr>
    </vt:vector>
  </TitlesOfParts>
  <Manager>sherrie.lotito@microsoft.com</Manager>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CA-B350: What's New in Windows Server 2012 Virtual Desktop Infrastructure and Remote Desktop Services</dc:title>
  <dc:subject>TechEd2013</dc:subject>
  <dc:creator>Adam Carter</dc:creator>
  <cp:keywords>TechEd2013</cp:keywords>
  <dc:description>Template: Brittany Hart, Silver Fox Productions: Editor - Sherrie Lotito, 
WCA-B350: What's New in Windows Server 2012 Virtual Desktop Infrastructure and Remote Desktop Services
Author: Adam Carter
Formatting: Kate Kuzel, Silver Fox Productions, Inc.
Audience Type: Internal</dc:description>
  <cp:lastModifiedBy>Shows</cp:lastModifiedBy>
  <cp:revision>201</cp:revision>
  <dcterms:created xsi:type="dcterms:W3CDTF">2013-04-22T18:22:13Z</dcterms:created>
  <dcterms:modified xsi:type="dcterms:W3CDTF">2013-06-03T19:3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22DCAB731EA542AA8D914629D7F073</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ies>
</file>